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charts/chart1.xml" ContentType="application/vnd.openxmlformats-officedocument.drawingml.chart+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notesSlides/notesSlide1.xml" ContentType="application/vnd.openxmlformats-officedocument.presentationml.notesSlide+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notesSlides/notesSlide2.xml" ContentType="application/vnd.openxmlformats-officedocument.presentationml.notesSlide+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notesSlides/notesSlide3.xml" ContentType="application/vnd.openxmlformats-officedocument.presentationml.notesSlide+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notesSlides/notesSlide4.xml" ContentType="application/vnd.openxmlformats-officedocument.presentationml.notesSlide+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notesSlides/notesSlide5.xml" ContentType="application/vnd.openxmlformats-officedocument.presentationml.notesSlide+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notesSlides/notesSlide6.xml" ContentType="application/vnd.openxmlformats-officedocument.presentationml.notesSlide+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22"/>
  </p:notesMasterIdLst>
  <p:handoutMasterIdLst>
    <p:handoutMasterId r:id="rId23"/>
  </p:handoutMasterIdLst>
  <p:sldIdLst>
    <p:sldId id="317" r:id="rId6"/>
    <p:sldId id="323" r:id="rId7"/>
    <p:sldId id="281" r:id="rId8"/>
    <p:sldId id="334" r:id="rId9"/>
    <p:sldId id="638" r:id="rId10"/>
    <p:sldId id="639" r:id="rId11"/>
    <p:sldId id="640" r:id="rId12"/>
    <p:sldId id="641" r:id="rId13"/>
    <p:sldId id="328" r:id="rId14"/>
    <p:sldId id="324" r:id="rId15"/>
    <p:sldId id="318" r:id="rId16"/>
    <p:sldId id="319" r:id="rId17"/>
    <p:sldId id="327" r:id="rId18"/>
    <p:sldId id="310" r:id="rId19"/>
    <p:sldId id="330" r:id="rId20"/>
    <p:sldId id="637" r:id="rId21"/>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8" orient="horz" pos="2205" userDrawn="1">
          <p15:clr>
            <a:srgbClr val="A4A3A4"/>
          </p15:clr>
        </p15:guide>
        <p15:guide id="39" pos="365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FFAB4C3-03AD-AFA5-25D2-092657F778EE}" name="Lisa Porzel" initials="LP" userId="29C+lIA7OfrKtR2LxRr+iVjWw3Xgf00oLJiK2Vr5hR0=" providerId="None"/>
  <p188:author id="{605F07DD-B5AA-63A8-DE94-622D470DFF01}" name="Porzel, Lisa (GfK)" initials="PL(" userId="S::Lisa.Porzel@gfk.com::ad9f5f94-31c3-42b6-b504-cab3c7581b9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Lisa Porzel" initials="LP" lastIdx="10" clrIdx="6">
    <p:extLst>
      <p:ext uri="{19B8F6BF-5375-455C-9EA6-DF929625EA0E}">
        <p15:presenceInfo xmlns:p15="http://schemas.microsoft.com/office/powerpoint/2012/main" userId="29C+lIA7OfrKtR2LxRr+iVjWw3Xgf00oLJiK2Vr5hR0=" providerId="None"/>
      </p:ext>
    </p:extLst>
  </p:cmAuthor>
  <p:cmAuthor id="1" name="sw" initials="sw" lastIdx="4" clrIdx="0">
    <p:extLst>
      <p:ext uri="{19B8F6BF-5375-455C-9EA6-DF929625EA0E}">
        <p15:presenceInfo xmlns:p15="http://schemas.microsoft.com/office/powerpoint/2012/main" userId="sw" providerId="None"/>
      </p:ext>
    </p:extLst>
  </p:cmAuthor>
  <p:cmAuthor id="2" name="Beggiora, Eleonora (GfK)" initials="BE(" lastIdx="99" clrIdx="1">
    <p:extLst>
      <p:ext uri="{19B8F6BF-5375-455C-9EA6-DF929625EA0E}">
        <p15:presenceInfo xmlns:p15="http://schemas.microsoft.com/office/powerpoint/2012/main" userId="S::Eleonora.Beggiora@gfk.com::7cb21c95-c60a-4b84-b767-f9d9a8ee545a" providerId="AD"/>
      </p:ext>
    </p:extLst>
  </p:cmAuthor>
  <p:cmAuthor id="3" name="Christian Kirga" initials="CK" lastIdx="6" clrIdx="2">
    <p:extLst>
      <p:ext uri="{19B8F6BF-5375-455C-9EA6-DF929625EA0E}">
        <p15:presenceInfo xmlns:p15="http://schemas.microsoft.com/office/powerpoint/2012/main" userId="Christian Kirga" providerId="None"/>
      </p:ext>
    </p:extLst>
  </p:cmAuthor>
  <p:cmAuthor id="4" name="Porzel, Lisa (GfK)" initials="PL(" lastIdx="85" clrIdx="3">
    <p:extLst>
      <p:ext uri="{19B8F6BF-5375-455C-9EA6-DF929625EA0E}">
        <p15:presenceInfo xmlns:p15="http://schemas.microsoft.com/office/powerpoint/2012/main" userId="S::Lisa.Porzel@gfk.com::ad9f5f94-31c3-42b6-b504-cab3c7581b95" providerId="AD"/>
      </p:ext>
    </p:extLst>
  </p:cmAuthor>
  <p:cmAuthor id="5" name="Michaela Kapalla" initials="MK" lastIdx="7" clrIdx="4">
    <p:extLst>
      <p:ext uri="{19B8F6BF-5375-455C-9EA6-DF929625EA0E}">
        <p15:presenceInfo xmlns:p15="http://schemas.microsoft.com/office/powerpoint/2012/main" userId="S::michaela.kapalla@k16.de::e52af406-79fd-4186-9efd-f0b365e7fc59" providerId="AD"/>
      </p:ext>
    </p:extLst>
  </p:cmAuthor>
  <p:cmAuthor id="6" name="de-Clerk, Christian (GfK)" initials="d(" lastIdx="1" clrIdx="5">
    <p:extLst>
      <p:ext uri="{19B8F6BF-5375-455C-9EA6-DF929625EA0E}">
        <p15:presenceInfo xmlns:p15="http://schemas.microsoft.com/office/powerpoint/2012/main" userId="S::christian.de-clerk@gfk.com::20e74028-6fe6-4d57-897a-ca3f0129f14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115FB49-3FBE-41CF-8DFC-A938FE5134F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115FB49-3FBE-41CF-8DFC-A938FE5134F0}" styleName="GfK">
    <a:wholeTbl>
      <a:tcTxStyle>
        <a:fontRef idx="minor">
          <a:scrgbClr r="0" g="0" b="0"/>
        </a:fontRef>
        <a:schemeClr val="tx1"/>
      </a:tcTxStyle>
      <a:tcStyle>
        <a:tcBdr>
          <a:left>
            <a:ln>
              <a:noFill/>
            </a:ln>
          </a:left>
          <a:right>
            <a:ln>
              <a:noFill/>
            </a:ln>
          </a:right>
          <a:top>
            <a:ln>
              <a:noFill/>
            </a:ln>
          </a:top>
          <a:bottom>
            <a:ln>
              <a:noFill/>
            </a:ln>
          </a:bottom>
          <a:insideH>
            <a:ln w="6350" cmpd="sng">
              <a:solidFill>
                <a:schemeClr val="tx1"/>
              </a:solid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727" autoAdjust="0"/>
    <p:restoredTop sz="96327" autoAdjust="0"/>
  </p:normalViewPr>
  <p:slideViewPr>
    <p:cSldViewPr showGuides="1">
      <p:cViewPr varScale="1">
        <p:scale>
          <a:sx n="67" d="100"/>
          <a:sy n="67" d="100"/>
        </p:scale>
        <p:origin x="728" y="44"/>
      </p:cViewPr>
      <p:guideLst>
        <p:guide orient="horz" pos="2205"/>
        <p:guide pos="3659"/>
      </p:guideLst>
    </p:cSldViewPr>
  </p:slideViewPr>
  <p:notesTextViewPr>
    <p:cViewPr>
      <p:scale>
        <a:sx n="1" d="1"/>
        <a:sy n="1" d="1"/>
      </p:scale>
      <p:origin x="0" y="0"/>
    </p:cViewPr>
  </p:notesTextViewPr>
  <p:sorterViewPr>
    <p:cViewPr>
      <p:scale>
        <a:sx n="40" d="100"/>
        <a:sy n="40" d="100"/>
      </p:scale>
      <p:origin x="0" y="0"/>
    </p:cViewPr>
  </p:sorterViewPr>
  <p:notesViewPr>
    <p:cSldViewPr showGuides="1">
      <p:cViewPr varScale="1">
        <p:scale>
          <a:sx n="51" d="100"/>
          <a:sy n="51" d="100"/>
        </p:scale>
        <p:origin x="2692" y="3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8/10/relationships/authors" Target="author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tin, Antonieta (GfK)" userId="ac86dd75-144a-443f-b395-a4f46be81899" providerId="ADAL" clId="{B29CF89D-40A4-492B-BCFF-8290F3A34A00}"/>
    <pc:docChg chg="undo custSel modSld">
      <pc:chgData name="Martin, Antonieta (GfK)" userId="ac86dd75-144a-443f-b395-a4f46be81899" providerId="ADAL" clId="{B29CF89D-40A4-492B-BCFF-8290F3A34A00}" dt="2024-01-25T16:51:40.524" v="93" actId="20577"/>
      <pc:docMkLst>
        <pc:docMk/>
      </pc:docMkLst>
      <pc:sldChg chg="modSp mod">
        <pc:chgData name="Martin, Antonieta (GfK)" userId="ac86dd75-144a-443f-b395-a4f46be81899" providerId="ADAL" clId="{B29CF89D-40A4-492B-BCFF-8290F3A34A00}" dt="2024-01-25T16:51:40.524" v="93" actId="20577"/>
        <pc:sldMkLst>
          <pc:docMk/>
          <pc:sldMk cId="3700040897" sldId="319"/>
        </pc:sldMkLst>
        <pc:spChg chg="mod">
          <ac:chgData name="Martin, Antonieta (GfK)" userId="ac86dd75-144a-443f-b395-a4f46be81899" providerId="ADAL" clId="{B29CF89D-40A4-492B-BCFF-8290F3A34A00}" dt="2024-01-25T16:51:40.524" v="93" actId="20577"/>
          <ac:spMkLst>
            <pc:docMk/>
            <pc:sldMk cId="3700040897" sldId="319"/>
            <ac:spMk id="39" creationId="{DEEF316A-77F3-1125-C588-ACDDF3C2CAA0}"/>
          </ac:spMkLst>
        </pc:spChg>
      </pc:sldChg>
      <pc:sldChg chg="delSp modSp mod">
        <pc:chgData name="Martin, Antonieta (GfK)" userId="ac86dd75-144a-443f-b395-a4f46be81899" providerId="ADAL" clId="{B29CF89D-40A4-492B-BCFF-8290F3A34A00}" dt="2024-01-25T16:50:57.561" v="91" actId="20577"/>
        <pc:sldMkLst>
          <pc:docMk/>
          <pc:sldMk cId="211241053" sldId="334"/>
        </pc:sldMkLst>
        <pc:spChg chg="mod">
          <ac:chgData name="Martin, Antonieta (GfK)" userId="ac86dd75-144a-443f-b395-a4f46be81899" providerId="ADAL" clId="{B29CF89D-40A4-492B-BCFF-8290F3A34A00}" dt="2024-01-25T16:50:57.561" v="91" actId="20577"/>
          <ac:spMkLst>
            <pc:docMk/>
            <pc:sldMk cId="211241053" sldId="334"/>
            <ac:spMk id="6" creationId="{6B6C1560-AA83-086F-0F72-D0A307B438FA}"/>
          </ac:spMkLst>
        </pc:spChg>
        <pc:spChg chg="del">
          <ac:chgData name="Martin, Antonieta (GfK)" userId="ac86dd75-144a-443f-b395-a4f46be81899" providerId="ADAL" clId="{B29CF89D-40A4-492B-BCFF-8290F3A34A00}" dt="2024-01-25T16:47:28.899" v="23" actId="478"/>
          <ac:spMkLst>
            <pc:docMk/>
            <pc:sldMk cId="211241053" sldId="334"/>
            <ac:spMk id="8" creationId="{697ABA9D-6019-00E7-4B13-612611CA9355}"/>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13659449061712E-2"/>
          <c:y val="5.0535597581312514E-2"/>
          <c:w val="0.86675911595245736"/>
          <c:h val="0.87817501352108618"/>
        </c:manualLayout>
      </c:layout>
      <c:lineChart>
        <c:grouping val="standard"/>
        <c:varyColors val="0"/>
        <c:ser>
          <c:idx val="6"/>
          <c:order val="0"/>
          <c:marker>
            <c:symbol val="circle"/>
            <c:size val="3"/>
            <c:spPr>
              <a:solidFill>
                <a:srgbClr val="002060"/>
              </a:solidFill>
              <a:ln>
                <a:solidFill>
                  <a:srgbClr val="002060"/>
                </a:solidFill>
              </a:ln>
            </c:spPr>
          </c:marker>
          <c:cat>
            <c:numRef>
              <c:f>Sheet1!$A$218:$A$289</c:f>
              <c:numCache>
                <c:formatCode>mmm\-yy</c:formatCode>
                <c:ptCount val="72"/>
                <c:pt idx="0">
                  <c:v>43101</c:v>
                </c:pt>
                <c:pt idx="1">
                  <c:v>43132</c:v>
                </c:pt>
                <c:pt idx="2">
                  <c:v>43160</c:v>
                </c:pt>
                <c:pt idx="3">
                  <c:v>43191</c:v>
                </c:pt>
                <c:pt idx="4">
                  <c:v>43221</c:v>
                </c:pt>
                <c:pt idx="5">
                  <c:v>43252</c:v>
                </c:pt>
                <c:pt idx="6">
                  <c:v>43282</c:v>
                </c:pt>
                <c:pt idx="7">
                  <c:v>43313</c:v>
                </c:pt>
                <c:pt idx="8">
                  <c:v>43344</c:v>
                </c:pt>
                <c:pt idx="9">
                  <c:v>43374</c:v>
                </c:pt>
                <c:pt idx="10">
                  <c:v>43405</c:v>
                </c:pt>
                <c:pt idx="11">
                  <c:v>43435</c:v>
                </c:pt>
                <c:pt idx="12">
                  <c:v>43466</c:v>
                </c:pt>
                <c:pt idx="13">
                  <c:v>43497</c:v>
                </c:pt>
                <c:pt idx="14">
                  <c:v>43525</c:v>
                </c:pt>
                <c:pt idx="15">
                  <c:v>43556</c:v>
                </c:pt>
                <c:pt idx="16">
                  <c:v>43586</c:v>
                </c:pt>
                <c:pt idx="17">
                  <c:v>43617</c:v>
                </c:pt>
                <c:pt idx="18">
                  <c:v>43647</c:v>
                </c:pt>
                <c:pt idx="19">
                  <c:v>43678</c:v>
                </c:pt>
                <c:pt idx="20">
                  <c:v>43709</c:v>
                </c:pt>
                <c:pt idx="21">
                  <c:v>43739</c:v>
                </c:pt>
                <c:pt idx="22">
                  <c:v>43770</c:v>
                </c:pt>
                <c:pt idx="23">
                  <c:v>43800</c:v>
                </c:pt>
                <c:pt idx="24">
                  <c:v>43831</c:v>
                </c:pt>
                <c:pt idx="25">
                  <c:v>43862</c:v>
                </c:pt>
                <c:pt idx="26">
                  <c:v>43891</c:v>
                </c:pt>
                <c:pt idx="27">
                  <c:v>43922</c:v>
                </c:pt>
                <c:pt idx="28">
                  <c:v>43952</c:v>
                </c:pt>
                <c:pt idx="29">
                  <c:v>43983</c:v>
                </c:pt>
                <c:pt idx="30">
                  <c:v>44013</c:v>
                </c:pt>
                <c:pt idx="31">
                  <c:v>44044</c:v>
                </c:pt>
                <c:pt idx="32">
                  <c:v>44075</c:v>
                </c:pt>
                <c:pt idx="33">
                  <c:v>44105</c:v>
                </c:pt>
                <c:pt idx="34">
                  <c:v>44136</c:v>
                </c:pt>
                <c:pt idx="35">
                  <c:v>44166</c:v>
                </c:pt>
                <c:pt idx="36">
                  <c:v>44197</c:v>
                </c:pt>
                <c:pt idx="37">
                  <c:v>44228</c:v>
                </c:pt>
                <c:pt idx="38">
                  <c:v>44256</c:v>
                </c:pt>
                <c:pt idx="39">
                  <c:v>44287</c:v>
                </c:pt>
                <c:pt idx="40">
                  <c:v>44317</c:v>
                </c:pt>
                <c:pt idx="41">
                  <c:v>44348</c:v>
                </c:pt>
                <c:pt idx="42">
                  <c:v>44378</c:v>
                </c:pt>
                <c:pt idx="43">
                  <c:v>44409</c:v>
                </c:pt>
                <c:pt idx="44">
                  <c:v>44440</c:v>
                </c:pt>
                <c:pt idx="45">
                  <c:v>44470</c:v>
                </c:pt>
                <c:pt idx="46">
                  <c:v>44501</c:v>
                </c:pt>
                <c:pt idx="47">
                  <c:v>44531</c:v>
                </c:pt>
                <c:pt idx="48">
                  <c:v>44562</c:v>
                </c:pt>
                <c:pt idx="49">
                  <c:v>44593</c:v>
                </c:pt>
                <c:pt idx="50">
                  <c:v>44621</c:v>
                </c:pt>
                <c:pt idx="51">
                  <c:v>44652</c:v>
                </c:pt>
                <c:pt idx="52">
                  <c:v>44682</c:v>
                </c:pt>
                <c:pt idx="53">
                  <c:v>44713</c:v>
                </c:pt>
                <c:pt idx="54">
                  <c:v>44743</c:v>
                </c:pt>
                <c:pt idx="55">
                  <c:v>44774</c:v>
                </c:pt>
                <c:pt idx="56">
                  <c:v>44805</c:v>
                </c:pt>
                <c:pt idx="57">
                  <c:v>44835</c:v>
                </c:pt>
                <c:pt idx="58">
                  <c:v>44866</c:v>
                </c:pt>
                <c:pt idx="59">
                  <c:v>44896</c:v>
                </c:pt>
                <c:pt idx="60">
                  <c:v>44927</c:v>
                </c:pt>
                <c:pt idx="61">
                  <c:v>44958</c:v>
                </c:pt>
                <c:pt idx="62">
                  <c:v>44986</c:v>
                </c:pt>
                <c:pt idx="63">
                  <c:v>45017</c:v>
                </c:pt>
                <c:pt idx="64">
                  <c:v>45047</c:v>
                </c:pt>
                <c:pt idx="65">
                  <c:v>45078</c:v>
                </c:pt>
                <c:pt idx="66">
                  <c:v>45108</c:v>
                </c:pt>
                <c:pt idx="67">
                  <c:v>45139</c:v>
                </c:pt>
                <c:pt idx="68">
                  <c:v>45170</c:v>
                </c:pt>
                <c:pt idx="69">
                  <c:v>45200</c:v>
                </c:pt>
                <c:pt idx="70">
                  <c:v>45231</c:v>
                </c:pt>
                <c:pt idx="71">
                  <c:v>45261</c:v>
                </c:pt>
              </c:numCache>
            </c:numRef>
          </c:cat>
          <c:val>
            <c:numRef>
              <c:f>Sheet1!$B$218:$B$289</c:f>
              <c:numCache>
                <c:formatCode>General</c:formatCode>
                <c:ptCount val="72"/>
              </c:numCache>
            </c:numRef>
          </c:val>
          <c:smooth val="1"/>
          <c:extLst>
            <c:ext xmlns:c16="http://schemas.microsoft.com/office/drawing/2014/chart" uri="{C3380CC4-5D6E-409C-BE32-E72D297353CC}">
              <c16:uniqueId val="{00000001-8814-40D8-B4A6-9C6B2D89DC76}"/>
            </c:ext>
          </c:extLst>
        </c:ser>
        <c:ser>
          <c:idx val="0"/>
          <c:order val="1"/>
          <c:spPr>
            <a:ln w="19049" cap="rnd">
              <a:solidFill>
                <a:schemeClr val="accent2"/>
              </a:solidFill>
              <a:prstDash val="solid"/>
            </a:ln>
          </c:spPr>
          <c:marker>
            <c:symbol val="circle"/>
            <c:size val="3"/>
            <c:spPr>
              <a:solidFill>
                <a:srgbClr val="002060"/>
              </a:solidFill>
              <a:ln>
                <a:solidFill>
                  <a:srgbClr val="002060"/>
                </a:solidFill>
              </a:ln>
            </c:spPr>
          </c:marker>
          <c:cat>
            <c:numRef>
              <c:f>Sheet1!$A$218:$A$289</c:f>
              <c:numCache>
                <c:formatCode>mmm\-yy</c:formatCode>
                <c:ptCount val="72"/>
                <c:pt idx="0">
                  <c:v>43101</c:v>
                </c:pt>
                <c:pt idx="1">
                  <c:v>43132</c:v>
                </c:pt>
                <c:pt idx="2">
                  <c:v>43160</c:v>
                </c:pt>
                <c:pt idx="3">
                  <c:v>43191</c:v>
                </c:pt>
                <c:pt idx="4">
                  <c:v>43221</c:v>
                </c:pt>
                <c:pt idx="5">
                  <c:v>43252</c:v>
                </c:pt>
                <c:pt idx="6">
                  <c:v>43282</c:v>
                </c:pt>
                <c:pt idx="7">
                  <c:v>43313</c:v>
                </c:pt>
                <c:pt idx="8">
                  <c:v>43344</c:v>
                </c:pt>
                <c:pt idx="9">
                  <c:v>43374</c:v>
                </c:pt>
                <c:pt idx="10">
                  <c:v>43405</c:v>
                </c:pt>
                <c:pt idx="11">
                  <c:v>43435</c:v>
                </c:pt>
                <c:pt idx="12">
                  <c:v>43466</c:v>
                </c:pt>
                <c:pt idx="13">
                  <c:v>43497</c:v>
                </c:pt>
                <c:pt idx="14">
                  <c:v>43525</c:v>
                </c:pt>
                <c:pt idx="15">
                  <c:v>43556</c:v>
                </c:pt>
                <c:pt idx="16">
                  <c:v>43586</c:v>
                </c:pt>
                <c:pt idx="17">
                  <c:v>43617</c:v>
                </c:pt>
                <c:pt idx="18">
                  <c:v>43647</c:v>
                </c:pt>
                <c:pt idx="19">
                  <c:v>43678</c:v>
                </c:pt>
                <c:pt idx="20">
                  <c:v>43709</c:v>
                </c:pt>
                <c:pt idx="21">
                  <c:v>43739</c:v>
                </c:pt>
                <c:pt idx="22">
                  <c:v>43770</c:v>
                </c:pt>
                <c:pt idx="23">
                  <c:v>43800</c:v>
                </c:pt>
                <c:pt idx="24">
                  <c:v>43831</c:v>
                </c:pt>
                <c:pt idx="25">
                  <c:v>43862</c:v>
                </c:pt>
                <c:pt idx="26">
                  <c:v>43891</c:v>
                </c:pt>
                <c:pt idx="27">
                  <c:v>43922</c:v>
                </c:pt>
                <c:pt idx="28">
                  <c:v>43952</c:v>
                </c:pt>
                <c:pt idx="29">
                  <c:v>43983</c:v>
                </c:pt>
                <c:pt idx="30">
                  <c:v>44013</c:v>
                </c:pt>
                <c:pt idx="31">
                  <c:v>44044</c:v>
                </c:pt>
                <c:pt idx="32">
                  <c:v>44075</c:v>
                </c:pt>
                <c:pt idx="33">
                  <c:v>44105</c:v>
                </c:pt>
                <c:pt idx="34">
                  <c:v>44136</c:v>
                </c:pt>
                <c:pt idx="35">
                  <c:v>44166</c:v>
                </c:pt>
                <c:pt idx="36">
                  <c:v>44197</c:v>
                </c:pt>
                <c:pt idx="37">
                  <c:v>44228</c:v>
                </c:pt>
                <c:pt idx="38">
                  <c:v>44256</c:v>
                </c:pt>
                <c:pt idx="39">
                  <c:v>44287</c:v>
                </c:pt>
                <c:pt idx="40">
                  <c:v>44317</c:v>
                </c:pt>
                <c:pt idx="41">
                  <c:v>44348</c:v>
                </c:pt>
                <c:pt idx="42">
                  <c:v>44378</c:v>
                </c:pt>
                <c:pt idx="43">
                  <c:v>44409</c:v>
                </c:pt>
                <c:pt idx="44">
                  <c:v>44440</c:v>
                </c:pt>
                <c:pt idx="45">
                  <c:v>44470</c:v>
                </c:pt>
                <c:pt idx="46">
                  <c:v>44501</c:v>
                </c:pt>
                <c:pt idx="47">
                  <c:v>44531</c:v>
                </c:pt>
                <c:pt idx="48">
                  <c:v>44562</c:v>
                </c:pt>
                <c:pt idx="49">
                  <c:v>44593</c:v>
                </c:pt>
                <c:pt idx="50">
                  <c:v>44621</c:v>
                </c:pt>
                <c:pt idx="51">
                  <c:v>44652</c:v>
                </c:pt>
                <c:pt idx="52">
                  <c:v>44682</c:v>
                </c:pt>
                <c:pt idx="53">
                  <c:v>44713</c:v>
                </c:pt>
                <c:pt idx="54">
                  <c:v>44743</c:v>
                </c:pt>
                <c:pt idx="55">
                  <c:v>44774</c:v>
                </c:pt>
                <c:pt idx="56">
                  <c:v>44805</c:v>
                </c:pt>
                <c:pt idx="57">
                  <c:v>44835</c:v>
                </c:pt>
                <c:pt idx="58">
                  <c:v>44866</c:v>
                </c:pt>
                <c:pt idx="59">
                  <c:v>44896</c:v>
                </c:pt>
                <c:pt idx="60">
                  <c:v>44927</c:v>
                </c:pt>
                <c:pt idx="61">
                  <c:v>44958</c:v>
                </c:pt>
                <c:pt idx="62">
                  <c:v>44986</c:v>
                </c:pt>
                <c:pt idx="63">
                  <c:v>45017</c:v>
                </c:pt>
                <c:pt idx="64">
                  <c:v>45047</c:v>
                </c:pt>
                <c:pt idx="65">
                  <c:v>45078</c:v>
                </c:pt>
                <c:pt idx="66">
                  <c:v>45108</c:v>
                </c:pt>
                <c:pt idx="67">
                  <c:v>45139</c:v>
                </c:pt>
                <c:pt idx="68">
                  <c:v>45170</c:v>
                </c:pt>
                <c:pt idx="69">
                  <c:v>45200</c:v>
                </c:pt>
                <c:pt idx="70">
                  <c:v>45231</c:v>
                </c:pt>
                <c:pt idx="71">
                  <c:v>45261</c:v>
                </c:pt>
              </c:numCache>
            </c:numRef>
          </c:cat>
          <c:val>
            <c:numRef>
              <c:f>Sheet1!$C$218:$C$289</c:f>
              <c:numCache>
                <c:formatCode>0.0</c:formatCode>
                <c:ptCount val="72"/>
                <c:pt idx="0">
                  <c:v>22.342566000000001</c:v>
                </c:pt>
                <c:pt idx="1">
                  <c:v>21.51998</c:v>
                </c:pt>
                <c:pt idx="2">
                  <c:v>20.563776000000001</c:v>
                </c:pt>
                <c:pt idx="3">
                  <c:v>19.399999999999999</c:v>
                </c:pt>
                <c:pt idx="4">
                  <c:v>22.7</c:v>
                </c:pt>
                <c:pt idx="5">
                  <c:v>23.2</c:v>
                </c:pt>
                <c:pt idx="6" formatCode="General">
                  <c:v>24</c:v>
                </c:pt>
                <c:pt idx="7" formatCode="General">
                  <c:v>23.5</c:v>
                </c:pt>
                <c:pt idx="8" formatCode="General">
                  <c:v>22.2</c:v>
                </c:pt>
                <c:pt idx="9" formatCode="General">
                  <c:v>23.6</c:v>
                </c:pt>
                <c:pt idx="10" formatCode="General">
                  <c:v>22.7</c:v>
                </c:pt>
                <c:pt idx="11" formatCode="General">
                  <c:v>19.5</c:v>
                </c:pt>
                <c:pt idx="12" formatCode="General">
                  <c:v>19.100000000000001</c:v>
                </c:pt>
                <c:pt idx="13" formatCode="General">
                  <c:v>21.5</c:v>
                </c:pt>
                <c:pt idx="14" formatCode="General">
                  <c:v>21.2</c:v>
                </c:pt>
                <c:pt idx="15" formatCode="General">
                  <c:v>18.5</c:v>
                </c:pt>
                <c:pt idx="16" formatCode="General">
                  <c:v>22.4</c:v>
                </c:pt>
                <c:pt idx="17" formatCode="General">
                  <c:v>21.1</c:v>
                </c:pt>
                <c:pt idx="18" formatCode="General">
                  <c:v>22.3</c:v>
                </c:pt>
                <c:pt idx="19" formatCode="General">
                  <c:v>21.9</c:v>
                </c:pt>
                <c:pt idx="20" formatCode="General">
                  <c:v>23.6</c:v>
                </c:pt>
                <c:pt idx="21" formatCode="General">
                  <c:v>20.9</c:v>
                </c:pt>
                <c:pt idx="22" formatCode="General">
                  <c:v>20.7</c:v>
                </c:pt>
                <c:pt idx="23" formatCode="General">
                  <c:v>19.8</c:v>
                </c:pt>
                <c:pt idx="24" formatCode="General">
                  <c:v>17.899999999999999</c:v>
                </c:pt>
                <c:pt idx="25" formatCode="General">
                  <c:v>19.100000000000001</c:v>
                </c:pt>
                <c:pt idx="26" formatCode="General">
                  <c:v>13.6</c:v>
                </c:pt>
                <c:pt idx="27" formatCode="General">
                  <c:v>-19.100000000000001</c:v>
                </c:pt>
                <c:pt idx="28" formatCode="General">
                  <c:v>-9.5</c:v>
                </c:pt>
                <c:pt idx="29" formatCode="General">
                  <c:v>-3.4</c:v>
                </c:pt>
                <c:pt idx="30" formatCode="General">
                  <c:v>-4.0999999999999996</c:v>
                </c:pt>
                <c:pt idx="31" formatCode="General">
                  <c:v>-5</c:v>
                </c:pt>
                <c:pt idx="32" formatCode="General">
                  <c:v>-6.7</c:v>
                </c:pt>
                <c:pt idx="33" formatCode="General">
                  <c:v>-9.6</c:v>
                </c:pt>
                <c:pt idx="34" formatCode="General">
                  <c:v>-13.4</c:v>
                </c:pt>
                <c:pt idx="35" formatCode="General">
                  <c:v>-6</c:v>
                </c:pt>
                <c:pt idx="36" formatCode="General">
                  <c:v>-7.1</c:v>
                </c:pt>
                <c:pt idx="37" formatCode="General">
                  <c:v>-5.4</c:v>
                </c:pt>
                <c:pt idx="38" formatCode="General">
                  <c:v>4.0999999999999996</c:v>
                </c:pt>
                <c:pt idx="39" formatCode="General">
                  <c:v>12</c:v>
                </c:pt>
                <c:pt idx="40" formatCode="General">
                  <c:v>15.6</c:v>
                </c:pt>
                <c:pt idx="41" formatCode="General">
                  <c:v>20.3</c:v>
                </c:pt>
                <c:pt idx="42" formatCode="General">
                  <c:v>18.5</c:v>
                </c:pt>
                <c:pt idx="43" formatCode="General">
                  <c:v>18.3</c:v>
                </c:pt>
                <c:pt idx="44" formatCode="General">
                  <c:v>20.7</c:v>
                </c:pt>
                <c:pt idx="45" formatCode="General">
                  <c:v>21.3</c:v>
                </c:pt>
                <c:pt idx="46" formatCode="General">
                  <c:v>16.399999999999999</c:v>
                </c:pt>
                <c:pt idx="47" formatCode="General">
                  <c:v>12.8</c:v>
                </c:pt>
                <c:pt idx="48" formatCode="General">
                  <c:v>12.1</c:v>
                </c:pt>
                <c:pt idx="49" formatCode="General">
                  <c:v>10.5</c:v>
                </c:pt>
                <c:pt idx="50" formatCode="General">
                  <c:v>-1.4</c:v>
                </c:pt>
                <c:pt idx="51" formatCode="General">
                  <c:v>-7.2</c:v>
                </c:pt>
                <c:pt idx="52" formatCode="General">
                  <c:v>-7.5</c:v>
                </c:pt>
                <c:pt idx="53" formatCode="General">
                  <c:v>-13.2</c:v>
                </c:pt>
                <c:pt idx="54" formatCode="General">
                  <c:v>-16.7</c:v>
                </c:pt>
                <c:pt idx="55" formatCode="General">
                  <c:v>-18.3</c:v>
                </c:pt>
                <c:pt idx="56" formatCode="General">
                  <c:v>-22.5</c:v>
                </c:pt>
                <c:pt idx="57" formatCode="General">
                  <c:v>-22.4</c:v>
                </c:pt>
                <c:pt idx="58" formatCode="General">
                  <c:v>-17.399999999999999</c:v>
                </c:pt>
                <c:pt idx="59" formatCode="General">
                  <c:v>-18.100000000000001</c:v>
                </c:pt>
                <c:pt idx="60" formatCode="General">
                  <c:v>-17.100000000000001</c:v>
                </c:pt>
                <c:pt idx="61" formatCode="General">
                  <c:v>-15</c:v>
                </c:pt>
                <c:pt idx="62" formatCode="General">
                  <c:v>-13.4</c:v>
                </c:pt>
                <c:pt idx="63" formatCode="General">
                  <c:v>-10.9</c:v>
                </c:pt>
                <c:pt idx="64" formatCode="General">
                  <c:v>-11.2</c:v>
                </c:pt>
                <c:pt idx="65" formatCode="General">
                  <c:v>-11</c:v>
                </c:pt>
                <c:pt idx="66" formatCode="General">
                  <c:v>-9.9</c:v>
                </c:pt>
                <c:pt idx="67" formatCode="General">
                  <c:v>-10.1</c:v>
                </c:pt>
                <c:pt idx="68" formatCode="General">
                  <c:v>-11.6</c:v>
                </c:pt>
                <c:pt idx="69" formatCode="General">
                  <c:v>-11.6</c:v>
                </c:pt>
                <c:pt idx="70" formatCode="General">
                  <c:v>-10.4</c:v>
                </c:pt>
                <c:pt idx="71" formatCode="General">
                  <c:v>-7.6</c:v>
                </c:pt>
              </c:numCache>
            </c:numRef>
          </c:val>
          <c:smooth val="1"/>
          <c:extLst>
            <c:ext xmlns:c16="http://schemas.microsoft.com/office/drawing/2014/chart" uri="{C3380CC4-5D6E-409C-BE32-E72D297353CC}">
              <c16:uniqueId val="{00000000-97EA-41A5-910B-E51235CFCE0E}"/>
            </c:ext>
          </c:extLst>
        </c:ser>
        <c:dLbls>
          <c:showLegendKey val="0"/>
          <c:showVal val="0"/>
          <c:showCatName val="0"/>
          <c:showSerName val="0"/>
          <c:showPercent val="0"/>
          <c:showBubbleSize val="0"/>
        </c:dLbls>
        <c:marker val="1"/>
        <c:smooth val="0"/>
        <c:axId val="739554672"/>
        <c:axId val="739554280"/>
      </c:lineChart>
      <c:dateAx>
        <c:axId val="739554672"/>
        <c:scaling>
          <c:orientation val="minMax"/>
          <c:max val="45261"/>
          <c:min val="43101"/>
        </c:scaling>
        <c:delete val="1"/>
        <c:axPos val="b"/>
        <c:majorGridlines>
          <c:spPr>
            <a:ln w="13919">
              <a:noFill/>
              <a:prstDash val="solid"/>
            </a:ln>
          </c:spPr>
        </c:majorGridlines>
        <c:numFmt formatCode="General" sourceLinked="0"/>
        <c:majorTickMark val="out"/>
        <c:minorTickMark val="none"/>
        <c:tickLblPos val="nextTo"/>
        <c:crossAx val="739554280"/>
        <c:crosses val="autoZero"/>
        <c:auto val="1"/>
        <c:lblOffset val="100"/>
        <c:baseTimeUnit val="months"/>
        <c:majorUnit val="12"/>
        <c:minorUnit val="12"/>
      </c:dateAx>
      <c:valAx>
        <c:axId val="739554280"/>
        <c:scaling>
          <c:orientation val="minMax"/>
          <c:max val="25"/>
          <c:min val="-25"/>
        </c:scaling>
        <c:delete val="0"/>
        <c:axPos val="l"/>
        <c:majorGridlines>
          <c:spPr>
            <a:ln w="9525">
              <a:solidFill>
                <a:schemeClr val="bg2">
                  <a:lumMod val="20000"/>
                  <a:lumOff val="80000"/>
                </a:schemeClr>
              </a:solidFill>
              <a:prstDash val="solid"/>
            </a:ln>
          </c:spPr>
        </c:majorGridlines>
        <c:numFmt formatCode="General" sourceLinked="1"/>
        <c:majorTickMark val="none"/>
        <c:minorTickMark val="none"/>
        <c:tickLblPos val="nextTo"/>
        <c:spPr>
          <a:ln w="9525">
            <a:solidFill>
              <a:srgbClr val="C0C0C0"/>
            </a:solidFill>
            <a:prstDash val="solid"/>
          </a:ln>
        </c:spPr>
        <c:txPr>
          <a:bodyPr rot="0" vert="horz"/>
          <a:lstStyle/>
          <a:p>
            <a:pPr>
              <a:defRPr b="0"/>
            </a:pPr>
            <a:endParaRPr lang="es-ES"/>
          </a:p>
        </c:txPr>
        <c:crossAx val="739554672"/>
        <c:crosses val="autoZero"/>
        <c:crossBetween val="midCat"/>
        <c:majorUnit val="5"/>
      </c:valAx>
      <c:spPr>
        <a:noFill/>
        <a:ln w="13919">
          <a:noFill/>
          <a:prstDash val="solid"/>
        </a:ln>
      </c:spPr>
    </c:plotArea>
    <c:plotVisOnly val="1"/>
    <c:dispBlanksAs val="gap"/>
    <c:showDLblsOverMax val="0"/>
  </c:chart>
  <c:spPr>
    <a:noFill/>
    <a:ln>
      <a:noFill/>
    </a:ln>
  </c:spPr>
  <c:txPr>
    <a:bodyPr/>
    <a:lstStyle/>
    <a:p>
      <a:pPr>
        <a:defRPr sz="1200" b="1" i="0" u="none" strike="noStrike" baseline="0">
          <a:solidFill>
            <a:srgbClr val="000000"/>
          </a:solidFill>
          <a:latin typeface="+mn-lt"/>
          <a:ea typeface="Arial"/>
          <a:cs typeface="Arial"/>
        </a:defRPr>
      </a:pPr>
      <a:endParaRPr lang="es-E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sz="quarter" idx="1"/>
          </p:nvPr>
        </p:nvSpPr>
        <p:spPr>
          <a:xfrm>
            <a:off x="476673" y="8460456"/>
            <a:ext cx="864096" cy="216000"/>
          </a:xfrm>
          <a:prstGeom prst="rect">
            <a:avLst/>
          </a:prstGeom>
        </p:spPr>
        <p:txBody>
          <a:bodyPr vert="horz" lIns="0" tIns="0" rIns="0" bIns="0" rtlCol="0" anchor="ctr"/>
          <a:lstStyle>
            <a:lvl1pPr algn="r">
              <a:defRPr sz="1200"/>
            </a:lvl1pPr>
          </a:lstStyle>
          <a:p>
            <a:pPr algn="l"/>
            <a:fld id="{F0A3B1F8-6D62-4D30-9D58-5CC5D51CE00D}" type="datetimeFigureOut">
              <a:rPr lang="en-US" sz="800" smtClean="0"/>
              <a:pPr algn="l"/>
              <a:t>1/25/2024</a:t>
            </a:fld>
            <a:endParaRPr lang="en-US" sz="800" dirty="0"/>
          </a:p>
        </p:txBody>
      </p:sp>
      <p:sp>
        <p:nvSpPr>
          <p:cNvPr id="4" name="Footer Placeholder 3"/>
          <p:cNvSpPr>
            <a:spLocks noGrp="1"/>
          </p:cNvSpPr>
          <p:nvPr>
            <p:ph type="ftr" sz="quarter" idx="2"/>
          </p:nvPr>
        </p:nvSpPr>
        <p:spPr>
          <a:xfrm>
            <a:off x="1484784" y="8460456"/>
            <a:ext cx="4248472" cy="216000"/>
          </a:xfrm>
          <a:prstGeom prst="rect">
            <a:avLst/>
          </a:prstGeom>
        </p:spPr>
        <p:txBody>
          <a:bodyPr vert="horz" lIns="0" tIns="0" rIns="0" bIns="0" rtlCol="0" anchor="ctr"/>
          <a:lstStyle>
            <a:lvl1pPr algn="l">
              <a:defRPr sz="1200"/>
            </a:lvl1pPr>
          </a:lstStyle>
          <a:p>
            <a:endParaRPr lang="en-US" sz="800" dirty="0"/>
          </a:p>
        </p:txBody>
      </p:sp>
      <p:sp>
        <p:nvSpPr>
          <p:cNvPr id="5" name="Slide Number Placeholder 4"/>
          <p:cNvSpPr>
            <a:spLocks noGrp="1"/>
          </p:cNvSpPr>
          <p:nvPr>
            <p:ph type="sldNum" sz="quarter" idx="3"/>
          </p:nvPr>
        </p:nvSpPr>
        <p:spPr>
          <a:xfrm>
            <a:off x="5834235" y="8460456"/>
            <a:ext cx="547093" cy="216000"/>
          </a:xfrm>
          <a:prstGeom prst="rect">
            <a:avLst/>
          </a:prstGeom>
        </p:spPr>
        <p:txBody>
          <a:bodyPr vert="horz" lIns="0" tIns="0" rIns="0" bIns="0" rtlCol="0" anchor="ctr"/>
          <a:lstStyle>
            <a:lvl1pPr algn="r">
              <a:defRPr sz="1200"/>
            </a:lvl1pPr>
          </a:lstStyle>
          <a:p>
            <a:fld id="{28FA928F-0A46-4B66-9905-FB1D800EB32E}" type="slidenum">
              <a:rPr lang="en-US" sz="800" smtClean="0"/>
              <a:t>‹Nº›</a:t>
            </a:fld>
            <a:endParaRPr lang="en-US" sz="800" dirty="0"/>
          </a:p>
        </p:txBody>
      </p:sp>
    </p:spTree>
    <p:extLst>
      <p:ext uri="{BB962C8B-B14F-4D97-AF65-F5344CB8AC3E}">
        <p14:creationId xmlns:p14="http://schemas.microsoft.com/office/powerpoint/2010/main" val="16231216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idx="1"/>
          </p:nvPr>
        </p:nvSpPr>
        <p:spPr>
          <a:xfrm>
            <a:off x="692697" y="8460456"/>
            <a:ext cx="720079" cy="216000"/>
          </a:xfrm>
          <a:prstGeom prst="rect">
            <a:avLst/>
          </a:prstGeom>
        </p:spPr>
        <p:txBody>
          <a:bodyPr vert="horz" lIns="0" tIns="0" rIns="0" bIns="0" rtlCol="0" anchor="ctr"/>
          <a:lstStyle>
            <a:lvl1pPr algn="l">
              <a:defRPr sz="800">
                <a:solidFill>
                  <a:schemeClr val="tx1"/>
                </a:solidFill>
              </a:defRPr>
            </a:lvl1pPr>
          </a:lstStyle>
          <a:p>
            <a:pPr algn="l"/>
            <a:fld id="{8045A0D1-07B4-46FF-9F04-18BB5AAA8479}" type="datetimeFigureOut">
              <a:rPr lang="en-US" smtClean="0"/>
              <a:pPr algn="l"/>
              <a:t>1/25/2024</a:t>
            </a:fld>
            <a:endParaRPr lang="en-US" dirty="0"/>
          </a:p>
        </p:txBody>
      </p:sp>
      <p:sp>
        <p:nvSpPr>
          <p:cNvPr id="4" name="Slide Image Placeholder 3"/>
          <p:cNvSpPr>
            <a:spLocks noGrp="1" noRot="1" noChangeAspect="1"/>
          </p:cNvSpPr>
          <p:nvPr>
            <p:ph type="sldImg" idx="2"/>
          </p:nvPr>
        </p:nvSpPr>
        <p:spPr>
          <a:xfrm>
            <a:off x="685800" y="612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068000"/>
            <a:ext cx="5486400" cy="4176408"/>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6" name="Footer Placeholder 5"/>
          <p:cNvSpPr>
            <a:spLocks noGrp="1"/>
          </p:cNvSpPr>
          <p:nvPr>
            <p:ph type="ftr" sz="quarter" idx="4"/>
          </p:nvPr>
        </p:nvSpPr>
        <p:spPr>
          <a:xfrm>
            <a:off x="1628800" y="8460456"/>
            <a:ext cx="4032448" cy="216000"/>
          </a:xfrm>
          <a:prstGeom prst="rect">
            <a:avLst/>
          </a:prstGeom>
        </p:spPr>
        <p:txBody>
          <a:bodyPr vert="horz" lIns="0" tIns="0" rIns="0" bIns="0" rtlCol="0" anchor="ctr"/>
          <a:lstStyle>
            <a:lvl1pPr algn="l">
              <a:defRPr sz="800">
                <a:solidFill>
                  <a:schemeClr val="tx1"/>
                </a:solidFill>
              </a:defRPr>
            </a:lvl1pPr>
          </a:lstStyle>
          <a:p>
            <a:endParaRPr lang="en-US" dirty="0"/>
          </a:p>
        </p:txBody>
      </p:sp>
      <p:sp>
        <p:nvSpPr>
          <p:cNvPr id="7" name="Slide Number Placeholder 6"/>
          <p:cNvSpPr>
            <a:spLocks noGrp="1"/>
          </p:cNvSpPr>
          <p:nvPr>
            <p:ph type="sldNum" sz="quarter" idx="5"/>
          </p:nvPr>
        </p:nvSpPr>
        <p:spPr>
          <a:xfrm>
            <a:off x="5733256" y="8460456"/>
            <a:ext cx="475085" cy="216000"/>
          </a:xfrm>
          <a:prstGeom prst="rect">
            <a:avLst/>
          </a:prstGeom>
        </p:spPr>
        <p:txBody>
          <a:bodyPr vert="horz" lIns="0" tIns="0" rIns="0" bIns="0" rtlCol="0" anchor="ctr"/>
          <a:lstStyle>
            <a:lvl1pPr algn="r">
              <a:defRPr sz="800">
                <a:solidFill>
                  <a:schemeClr val="tx1"/>
                </a:solidFill>
              </a:defRPr>
            </a:lvl1pPr>
          </a:lstStyle>
          <a:p>
            <a:fld id="{7A99B2F4-8F99-4FDD-A50D-433216698ED4}" type="slidenum">
              <a:rPr lang="en-US" smtClean="0"/>
              <a:pPr/>
              <a:t>‹Nº›</a:t>
            </a:fld>
            <a:endParaRPr lang="en-US" dirty="0"/>
          </a:p>
        </p:txBody>
      </p:sp>
    </p:spTree>
    <p:extLst>
      <p:ext uri="{BB962C8B-B14F-4D97-AF65-F5344CB8AC3E}">
        <p14:creationId xmlns:p14="http://schemas.microsoft.com/office/powerpoint/2010/main" val="362850185"/>
      </p:ext>
    </p:extLst>
  </p:cSld>
  <p:clrMap bg1="lt1" tx1="dk1" bg2="lt2" tx2="dk2" accent1="accent1" accent2="accent2" accent3="accent3" accent4="accent4" accent5="accent5" accent6="accent6" hlink="hlink" folHlink="folHlink"/>
  <p:notesStyle>
    <a:lvl1pPr marL="180000" indent="-180000" algn="l" defTabSz="914400" rtl="0" eaLnBrk="1" latinLnBrk="0" hangingPunct="1">
      <a:lnSpc>
        <a:spcPct val="100000"/>
      </a:lnSpc>
      <a:spcBef>
        <a:spcPts val="1000"/>
      </a:spcBef>
      <a:buClrTx/>
      <a:buSzPct val="80000"/>
      <a:buFont typeface="Wingdings" panose="05000000000000000000" pitchFamily="2" charset="2"/>
      <a:buChar char="n"/>
      <a:defRPr sz="1100" kern="1200">
        <a:solidFill>
          <a:schemeClr val="tx1"/>
        </a:solidFill>
        <a:latin typeface="+mn-lt"/>
        <a:ea typeface="+mn-ea"/>
        <a:cs typeface="+mn-cs"/>
      </a:defRPr>
    </a:lvl1pPr>
    <a:lvl2pPr marL="354013" indent="-171450" algn="l" defTabSz="914400" rtl="0" eaLnBrk="1" latinLnBrk="0" hangingPunct="1">
      <a:lnSpc>
        <a:spcPct val="100000"/>
      </a:lnSpc>
      <a:spcBef>
        <a:spcPts val="1000"/>
      </a:spcBef>
      <a:buClrTx/>
      <a:buSzPct val="80000"/>
      <a:buFont typeface="Wingdings" panose="05000000000000000000" pitchFamily="2" charset="2"/>
      <a:buChar char="o"/>
      <a:defRPr sz="1100" kern="1200">
        <a:solidFill>
          <a:schemeClr val="tx1"/>
        </a:solidFill>
        <a:latin typeface="+mn-lt"/>
        <a:ea typeface="+mn-ea"/>
        <a:cs typeface="+mn-cs"/>
      </a:defRPr>
    </a:lvl2pPr>
    <a:lvl3pPr marL="536575" indent="-182563" algn="l" defTabSz="914400" rtl="0" eaLnBrk="1" latinLnBrk="0" hangingPunct="1">
      <a:lnSpc>
        <a:spcPct val="100000"/>
      </a:lnSpc>
      <a:spcBef>
        <a:spcPts val="1000"/>
      </a:spcBef>
      <a:buClrTx/>
      <a:buSzPct val="80000"/>
      <a:buFont typeface="Wingdings" panose="05000000000000000000" pitchFamily="2" charset="2"/>
      <a:buChar char="n"/>
      <a:defRPr sz="1100" kern="1200">
        <a:solidFill>
          <a:schemeClr val="tx1"/>
        </a:solidFill>
        <a:latin typeface="+mn-lt"/>
        <a:ea typeface="+mn-ea"/>
        <a:cs typeface="+mn-cs"/>
      </a:defRPr>
    </a:lvl3pPr>
    <a:lvl4pPr marL="719138" indent="-182563" algn="l" defTabSz="914400" rtl="0" eaLnBrk="1" latinLnBrk="0" hangingPunct="1">
      <a:lnSpc>
        <a:spcPct val="100000"/>
      </a:lnSpc>
      <a:spcBef>
        <a:spcPts val="1000"/>
      </a:spcBef>
      <a:buClrTx/>
      <a:buSzPct val="80000"/>
      <a:buFont typeface="Wingdings" panose="05000000000000000000" pitchFamily="2" charset="2"/>
      <a:buChar char="o"/>
      <a:defRPr sz="1100" kern="1200">
        <a:solidFill>
          <a:schemeClr val="tx1"/>
        </a:solidFill>
        <a:latin typeface="+mn-lt"/>
        <a:ea typeface="+mn-ea"/>
        <a:cs typeface="+mn-cs"/>
      </a:defRPr>
    </a:lvl4pPr>
    <a:lvl5pPr marL="719138" indent="0" algn="l" defTabSz="987425" rtl="0" eaLnBrk="1" latinLnBrk="0" hangingPunct="1">
      <a:lnSpc>
        <a:spcPct val="100000"/>
      </a:lnSpc>
      <a:spcBef>
        <a:spcPts val="1000"/>
      </a:spcBef>
      <a:buClr>
        <a:schemeClr val="tx2"/>
      </a:buClr>
      <a:buFont typeface="Wingdings" panose="05000000000000000000" pitchFamily="2" charset="2"/>
      <a:buNone/>
      <a:defRPr sz="1100" kern="1200">
        <a:solidFill>
          <a:schemeClr val="tx1"/>
        </a:solidFill>
        <a:latin typeface="+mn-lt"/>
        <a:ea typeface="+mn-ea"/>
        <a:cs typeface="+mn-cs"/>
      </a:defRPr>
    </a:lvl5pPr>
    <a:lvl6pPr marL="719138" indent="0" algn="l" defTabSz="987425" rtl="0" eaLnBrk="1" latinLnBrk="0" hangingPunct="1">
      <a:lnSpc>
        <a:spcPct val="100000"/>
      </a:lnSpc>
      <a:spcBef>
        <a:spcPts val="1000"/>
      </a:spcBef>
      <a:buFont typeface="Arial" panose="020B0604020202020204" pitchFamily="34" charset="0"/>
      <a:buNone/>
      <a:defRPr sz="1100" kern="1200">
        <a:solidFill>
          <a:schemeClr val="tx1"/>
        </a:solidFill>
        <a:latin typeface="+mn-lt"/>
        <a:ea typeface="+mn-ea"/>
        <a:cs typeface="+mn-cs"/>
      </a:defRPr>
    </a:lvl6pPr>
    <a:lvl7pPr marL="719138" indent="0" algn="l" defTabSz="987425" rtl="0" eaLnBrk="1" latinLnBrk="0" hangingPunct="1">
      <a:lnSpc>
        <a:spcPct val="100000"/>
      </a:lnSpc>
      <a:spcBef>
        <a:spcPts val="1000"/>
      </a:spcBef>
      <a:buFont typeface="Arial" panose="020B0604020202020204" pitchFamily="34" charset="0"/>
      <a:buNone/>
      <a:defRPr sz="1100" kern="1200">
        <a:solidFill>
          <a:schemeClr val="tx1"/>
        </a:solidFill>
        <a:latin typeface="+mn-lt"/>
        <a:ea typeface="+mn-ea"/>
        <a:cs typeface="+mn-cs"/>
      </a:defRPr>
    </a:lvl7pPr>
    <a:lvl8pPr marL="719138" indent="0" algn="l" defTabSz="987425" rtl="0" eaLnBrk="1" latinLnBrk="0" hangingPunct="1">
      <a:lnSpc>
        <a:spcPct val="100000"/>
      </a:lnSpc>
      <a:spcBef>
        <a:spcPts val="1000"/>
      </a:spcBef>
      <a:buFont typeface="Arial" panose="020B0604020202020204" pitchFamily="34" charset="0"/>
      <a:buNone/>
      <a:defRPr sz="1100" kern="1200">
        <a:solidFill>
          <a:schemeClr val="tx1"/>
        </a:solidFill>
        <a:latin typeface="+mn-lt"/>
        <a:ea typeface="+mn-ea"/>
        <a:cs typeface="+mn-cs"/>
      </a:defRPr>
    </a:lvl8pPr>
    <a:lvl9pPr marL="719138" indent="0" algn="l" defTabSz="987425" rtl="0" eaLnBrk="1" latinLnBrk="0" hangingPunct="1">
      <a:lnSpc>
        <a:spcPct val="100000"/>
      </a:lnSpc>
      <a:spcBef>
        <a:spcPts val="1000"/>
      </a:spcBef>
      <a:buFont typeface="Arial" panose="020B0604020202020204" pitchFamily="34" charset="0"/>
      <a:buNone/>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0375" y="782638"/>
            <a:ext cx="5876925" cy="330517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988593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0375" y="782638"/>
            <a:ext cx="5876925" cy="330517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627112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0375" y="782638"/>
            <a:ext cx="5876925" cy="330517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704408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0375" y="782638"/>
            <a:ext cx="5876925" cy="330517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988593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0375" y="782638"/>
            <a:ext cx="5876925" cy="330517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627112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0375" y="782638"/>
            <a:ext cx="5876925" cy="3305175"/>
          </a:xfrm>
        </p:spPr>
      </p:sp>
      <p:sp>
        <p:nvSpPr>
          <p:cNvPr id="3" name="Notizenplatzhalt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0704408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0375" y="782638"/>
            <a:ext cx="5876925" cy="3305175"/>
          </a:xfrm>
        </p:spPr>
      </p:sp>
      <p:sp>
        <p:nvSpPr>
          <p:cNvPr id="3" name="Notizenplatzhalter 2"/>
          <p:cNvSpPr>
            <a:spLocks noGrp="1"/>
          </p:cNvSpPr>
          <p:nvPr>
            <p:ph type="body" idx="1"/>
          </p:nvPr>
        </p:nvSpPr>
        <p:spPr/>
        <p:txBody>
          <a:bodyPr/>
          <a:lstStyle/>
          <a:p>
            <a:endParaRPr lang="en-US"/>
          </a:p>
        </p:txBody>
      </p:sp>
    </p:spTree>
    <p:extLst>
      <p:ext uri="{BB962C8B-B14F-4D97-AF65-F5344CB8AC3E}">
        <p14:creationId xmlns:p14="http://schemas.microsoft.com/office/powerpoint/2010/main" val="41034627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12775"/>
            <a:ext cx="54864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99B2F4-8F99-4FDD-A50D-433216698ED4}" type="slidenum">
              <a:rPr lang="en-US" smtClean="0"/>
              <a:pPr/>
              <a:t>16</a:t>
            </a:fld>
            <a:endParaRPr lang="en-US"/>
          </a:p>
        </p:txBody>
      </p:sp>
    </p:spTree>
    <p:extLst>
      <p:ext uri="{BB962C8B-B14F-4D97-AF65-F5344CB8AC3E}">
        <p14:creationId xmlns:p14="http://schemas.microsoft.com/office/powerpoint/2010/main" val="10629623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5.emf"/><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7.pn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9.jp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2.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3.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5.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56.xml"/><Relationship Id="rId5" Type="http://schemas.openxmlformats.org/officeDocument/2006/relationships/image" Target="../media/image5.emf"/><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0.emf"/><Relationship Id="rId4" Type="http://schemas.openxmlformats.org/officeDocument/2006/relationships/oleObject" Target="../embeddings/oleObject56.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10.emf"/><Relationship Id="rId4"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61.xml"/><Relationship Id="rId4" Type="http://schemas.openxmlformats.org/officeDocument/2006/relationships/image" Target="../media/image1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4.emf"/><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4.emf"/><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1">
    <p:bg>
      <p:bgRef idx="1001">
        <a:schemeClr val="bg1"/>
      </p:bgRef>
    </p:bg>
    <p:spTree>
      <p:nvGrpSpPr>
        <p:cNvPr id="1" name=""/>
        <p:cNvGrpSpPr/>
        <p:nvPr/>
      </p:nvGrpSpPr>
      <p:grpSpPr>
        <a:xfrm>
          <a:off x="0" y="0"/>
          <a:ext cx="0" cy="0"/>
          <a:chOff x="0" y="0"/>
          <a:chExt cx="0" cy="0"/>
        </a:xfrm>
      </p:grpSpPr>
      <p:graphicFrame>
        <p:nvGraphicFramePr>
          <p:cNvPr id="5" name="Objekt 4">
            <a:extLst>
              <a:ext uri="{FF2B5EF4-FFF2-40B4-BE49-F238E27FC236}">
                <a16:creationId xmlns:a16="http://schemas.microsoft.com/office/drawing/2014/main" id="{6F6F565A-2FBD-2DDB-6C1A-5AFD36BF8860}"/>
              </a:ext>
            </a:extLst>
          </p:cNvPr>
          <p:cNvGraphicFramePr>
            <a:graphicFrameLocks noChangeAspect="1"/>
          </p:cNvGraphicFramePr>
          <p:nvPr userDrawn="1">
            <p:custDataLst>
              <p:tags r:id="rId1"/>
            </p:custDataLst>
            <p:extLst>
              <p:ext uri="{D42A27DB-BD31-4B8C-83A1-F6EECF244321}">
                <p14:modId xmlns:p14="http://schemas.microsoft.com/office/powerpoint/2010/main" val="1199154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5" name="Objekt 4">
                        <a:extLst>
                          <a:ext uri="{FF2B5EF4-FFF2-40B4-BE49-F238E27FC236}">
                            <a16:creationId xmlns:a16="http://schemas.microsoft.com/office/drawing/2014/main" id="{6F6F565A-2FBD-2DDB-6C1A-5AFD36BF88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7" name="Gruppieren 26">
            <a:extLst>
              <a:ext uri="{FF2B5EF4-FFF2-40B4-BE49-F238E27FC236}">
                <a16:creationId xmlns:a16="http://schemas.microsoft.com/office/drawing/2014/main" id="{202E9A05-D6AC-86B6-21A1-07786C4B14DC}"/>
              </a:ext>
            </a:extLst>
          </p:cNvPr>
          <p:cNvGrpSpPr/>
          <p:nvPr userDrawn="1"/>
        </p:nvGrpSpPr>
        <p:grpSpPr>
          <a:xfrm>
            <a:off x="317360" y="1484784"/>
            <a:ext cx="11539280" cy="4626512"/>
            <a:chOff x="317360" y="1484784"/>
            <a:chExt cx="11539280" cy="4626512"/>
          </a:xfrm>
        </p:grpSpPr>
        <p:sp>
          <p:nvSpPr>
            <p:cNvPr id="320" name="Rechteck 319">
              <a:extLst>
                <a:ext uri="{FF2B5EF4-FFF2-40B4-BE49-F238E27FC236}">
                  <a16:creationId xmlns:a16="http://schemas.microsoft.com/office/drawing/2014/main" id="{D14891D3-B39A-E064-9E80-6B171ED2DEDB}"/>
                </a:ext>
              </a:extLst>
            </p:cNvPr>
            <p:cNvSpPr/>
            <p:nvPr userDrawn="1"/>
          </p:nvSpPr>
          <p:spPr bwMode="gray">
            <a:xfrm>
              <a:off x="1126257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21" name="Rechteck 320">
              <a:extLst>
                <a:ext uri="{FF2B5EF4-FFF2-40B4-BE49-F238E27FC236}">
                  <a16:creationId xmlns:a16="http://schemas.microsoft.com/office/drawing/2014/main" id="{042FEF74-41A0-B7C0-4227-93A6ADCBD640}"/>
                </a:ext>
              </a:extLst>
            </p:cNvPr>
            <p:cNvSpPr/>
            <p:nvPr userDrawn="1"/>
          </p:nvSpPr>
          <p:spPr bwMode="gray">
            <a:xfrm>
              <a:off x="1068651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22" name="Rechteck 321">
              <a:extLst>
                <a:ext uri="{FF2B5EF4-FFF2-40B4-BE49-F238E27FC236}">
                  <a16:creationId xmlns:a16="http://schemas.microsoft.com/office/drawing/2014/main" id="{256F0E1A-D9C5-EB4B-BCF4-FF25094CB619}"/>
                </a:ext>
              </a:extLst>
            </p:cNvPr>
            <p:cNvSpPr/>
            <p:nvPr userDrawn="1"/>
          </p:nvSpPr>
          <p:spPr bwMode="gray">
            <a:xfrm>
              <a:off x="1011044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23" name="Rechteck 322">
              <a:extLst>
                <a:ext uri="{FF2B5EF4-FFF2-40B4-BE49-F238E27FC236}">
                  <a16:creationId xmlns:a16="http://schemas.microsoft.com/office/drawing/2014/main" id="{6CA2FAE1-CFA0-1C00-C3D5-1CCDEE7FD13F}"/>
                </a:ext>
              </a:extLst>
            </p:cNvPr>
            <p:cNvSpPr/>
            <p:nvPr userDrawn="1"/>
          </p:nvSpPr>
          <p:spPr bwMode="gray">
            <a:xfrm>
              <a:off x="953438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24" name="Rechteck 323">
              <a:extLst>
                <a:ext uri="{FF2B5EF4-FFF2-40B4-BE49-F238E27FC236}">
                  <a16:creationId xmlns:a16="http://schemas.microsoft.com/office/drawing/2014/main" id="{05DBF1DC-4542-0631-0996-1ADEAB8234D5}"/>
                </a:ext>
              </a:extLst>
            </p:cNvPr>
            <p:cNvSpPr/>
            <p:nvPr userDrawn="1"/>
          </p:nvSpPr>
          <p:spPr bwMode="gray">
            <a:xfrm>
              <a:off x="895832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25" name="Rechteck 324">
              <a:extLst>
                <a:ext uri="{FF2B5EF4-FFF2-40B4-BE49-F238E27FC236}">
                  <a16:creationId xmlns:a16="http://schemas.microsoft.com/office/drawing/2014/main" id="{70CD91D3-2139-ED41-F624-15AC66E1B8E3}"/>
                </a:ext>
              </a:extLst>
            </p:cNvPr>
            <p:cNvSpPr/>
            <p:nvPr userDrawn="1"/>
          </p:nvSpPr>
          <p:spPr bwMode="gray">
            <a:xfrm>
              <a:off x="838225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26" name="Rechteck 325">
              <a:extLst>
                <a:ext uri="{FF2B5EF4-FFF2-40B4-BE49-F238E27FC236}">
                  <a16:creationId xmlns:a16="http://schemas.microsoft.com/office/drawing/2014/main" id="{D20FF978-CCC0-DB24-0145-6052C711F29F}"/>
                </a:ext>
              </a:extLst>
            </p:cNvPr>
            <p:cNvSpPr/>
            <p:nvPr userDrawn="1"/>
          </p:nvSpPr>
          <p:spPr bwMode="gray">
            <a:xfrm>
              <a:off x="780619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27" name="Rechteck 326">
              <a:extLst>
                <a:ext uri="{FF2B5EF4-FFF2-40B4-BE49-F238E27FC236}">
                  <a16:creationId xmlns:a16="http://schemas.microsoft.com/office/drawing/2014/main" id="{52CC65B5-2D80-0C03-43AC-B2508787F111}"/>
                </a:ext>
              </a:extLst>
            </p:cNvPr>
            <p:cNvSpPr/>
            <p:nvPr userDrawn="1"/>
          </p:nvSpPr>
          <p:spPr bwMode="gray">
            <a:xfrm>
              <a:off x="723012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28" name="Rechteck 327">
              <a:extLst>
                <a:ext uri="{FF2B5EF4-FFF2-40B4-BE49-F238E27FC236}">
                  <a16:creationId xmlns:a16="http://schemas.microsoft.com/office/drawing/2014/main" id="{632EB6B1-4DA2-0CC4-FF6A-EC850A4A879A}"/>
                </a:ext>
              </a:extLst>
            </p:cNvPr>
            <p:cNvSpPr/>
            <p:nvPr userDrawn="1"/>
          </p:nvSpPr>
          <p:spPr bwMode="gray">
            <a:xfrm>
              <a:off x="665406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29" name="Rechteck 328">
              <a:extLst>
                <a:ext uri="{FF2B5EF4-FFF2-40B4-BE49-F238E27FC236}">
                  <a16:creationId xmlns:a16="http://schemas.microsoft.com/office/drawing/2014/main" id="{2EA2C81F-AB55-71D5-A005-C8A334DDF2EB}"/>
                </a:ext>
              </a:extLst>
            </p:cNvPr>
            <p:cNvSpPr/>
            <p:nvPr userDrawn="1"/>
          </p:nvSpPr>
          <p:spPr bwMode="gray">
            <a:xfrm>
              <a:off x="607800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30" name="Rechteck 329">
              <a:extLst>
                <a:ext uri="{FF2B5EF4-FFF2-40B4-BE49-F238E27FC236}">
                  <a16:creationId xmlns:a16="http://schemas.microsoft.com/office/drawing/2014/main" id="{2D7B8A3A-C3FB-7CBD-B861-4E8D370C9FB4}"/>
                </a:ext>
              </a:extLst>
            </p:cNvPr>
            <p:cNvSpPr/>
            <p:nvPr userDrawn="1"/>
          </p:nvSpPr>
          <p:spPr bwMode="gray">
            <a:xfrm>
              <a:off x="550193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31" name="Rechteck 330">
              <a:extLst>
                <a:ext uri="{FF2B5EF4-FFF2-40B4-BE49-F238E27FC236}">
                  <a16:creationId xmlns:a16="http://schemas.microsoft.com/office/drawing/2014/main" id="{FA49C035-29A3-CA75-1426-55EC62C8E8AA}"/>
                </a:ext>
              </a:extLst>
            </p:cNvPr>
            <p:cNvSpPr/>
            <p:nvPr userDrawn="1"/>
          </p:nvSpPr>
          <p:spPr bwMode="gray">
            <a:xfrm>
              <a:off x="492587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32" name="Rechteck 331">
              <a:extLst>
                <a:ext uri="{FF2B5EF4-FFF2-40B4-BE49-F238E27FC236}">
                  <a16:creationId xmlns:a16="http://schemas.microsoft.com/office/drawing/2014/main" id="{AB4785A5-325C-7C74-7A22-A5F28E3821A6}"/>
                </a:ext>
              </a:extLst>
            </p:cNvPr>
            <p:cNvSpPr/>
            <p:nvPr userDrawn="1"/>
          </p:nvSpPr>
          <p:spPr bwMode="gray">
            <a:xfrm>
              <a:off x="434980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33" name="Rechteck 332">
              <a:extLst>
                <a:ext uri="{FF2B5EF4-FFF2-40B4-BE49-F238E27FC236}">
                  <a16:creationId xmlns:a16="http://schemas.microsoft.com/office/drawing/2014/main" id="{D5F56FFA-BEA7-6558-A229-0648E123C3BB}"/>
                </a:ext>
              </a:extLst>
            </p:cNvPr>
            <p:cNvSpPr/>
            <p:nvPr userDrawn="1"/>
          </p:nvSpPr>
          <p:spPr bwMode="gray">
            <a:xfrm>
              <a:off x="377374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34" name="Rechteck 333">
              <a:extLst>
                <a:ext uri="{FF2B5EF4-FFF2-40B4-BE49-F238E27FC236}">
                  <a16:creationId xmlns:a16="http://schemas.microsoft.com/office/drawing/2014/main" id="{966714FA-E03A-C889-9596-6A67CA27A216}"/>
                </a:ext>
              </a:extLst>
            </p:cNvPr>
            <p:cNvSpPr/>
            <p:nvPr userDrawn="1"/>
          </p:nvSpPr>
          <p:spPr bwMode="gray">
            <a:xfrm>
              <a:off x="319768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35" name="Rechteck 334">
              <a:extLst>
                <a:ext uri="{FF2B5EF4-FFF2-40B4-BE49-F238E27FC236}">
                  <a16:creationId xmlns:a16="http://schemas.microsoft.com/office/drawing/2014/main" id="{75503E29-78A4-5CF9-EC35-D54EB4F4433A}"/>
                </a:ext>
              </a:extLst>
            </p:cNvPr>
            <p:cNvSpPr/>
            <p:nvPr userDrawn="1"/>
          </p:nvSpPr>
          <p:spPr bwMode="gray">
            <a:xfrm>
              <a:off x="262161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36" name="Rechteck 335">
              <a:extLst>
                <a:ext uri="{FF2B5EF4-FFF2-40B4-BE49-F238E27FC236}">
                  <a16:creationId xmlns:a16="http://schemas.microsoft.com/office/drawing/2014/main" id="{B619CF6B-FDE0-4D9A-578C-39024E4EC1B6}"/>
                </a:ext>
              </a:extLst>
            </p:cNvPr>
            <p:cNvSpPr/>
            <p:nvPr userDrawn="1"/>
          </p:nvSpPr>
          <p:spPr bwMode="gray">
            <a:xfrm>
              <a:off x="204555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37" name="Rechteck 336">
              <a:extLst>
                <a:ext uri="{FF2B5EF4-FFF2-40B4-BE49-F238E27FC236}">
                  <a16:creationId xmlns:a16="http://schemas.microsoft.com/office/drawing/2014/main" id="{41E63D41-54B9-2A2B-85D6-EF7670525ABC}"/>
                </a:ext>
              </a:extLst>
            </p:cNvPr>
            <p:cNvSpPr/>
            <p:nvPr userDrawn="1"/>
          </p:nvSpPr>
          <p:spPr bwMode="gray">
            <a:xfrm>
              <a:off x="146948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38" name="Rechteck 337">
              <a:extLst>
                <a:ext uri="{FF2B5EF4-FFF2-40B4-BE49-F238E27FC236}">
                  <a16:creationId xmlns:a16="http://schemas.microsoft.com/office/drawing/2014/main" id="{3CF7AA32-5166-FAA3-6304-501B69258350}"/>
                </a:ext>
              </a:extLst>
            </p:cNvPr>
            <p:cNvSpPr/>
            <p:nvPr userDrawn="1"/>
          </p:nvSpPr>
          <p:spPr bwMode="gray">
            <a:xfrm>
              <a:off x="89342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39" name="Rechteck 338">
              <a:extLst>
                <a:ext uri="{FF2B5EF4-FFF2-40B4-BE49-F238E27FC236}">
                  <a16:creationId xmlns:a16="http://schemas.microsoft.com/office/drawing/2014/main" id="{56C86588-1742-072E-AD56-DE4A2B073973}"/>
                </a:ext>
              </a:extLst>
            </p:cNvPr>
            <p:cNvSpPr/>
            <p:nvPr userDrawn="1"/>
          </p:nvSpPr>
          <p:spPr bwMode="gray">
            <a:xfrm>
              <a:off x="31736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40" name="Rechteck 339">
              <a:extLst>
                <a:ext uri="{FF2B5EF4-FFF2-40B4-BE49-F238E27FC236}">
                  <a16:creationId xmlns:a16="http://schemas.microsoft.com/office/drawing/2014/main" id="{DEC7A06F-4D15-955D-FFBB-E3981C2BFC4A}"/>
                </a:ext>
              </a:extLst>
            </p:cNvPr>
            <p:cNvSpPr/>
            <p:nvPr userDrawn="1"/>
          </p:nvSpPr>
          <p:spPr bwMode="gray">
            <a:xfrm>
              <a:off x="1126257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41" name="Rechteck 340">
              <a:extLst>
                <a:ext uri="{FF2B5EF4-FFF2-40B4-BE49-F238E27FC236}">
                  <a16:creationId xmlns:a16="http://schemas.microsoft.com/office/drawing/2014/main" id="{35668A96-E069-176C-4441-C4452EB07CF9}"/>
                </a:ext>
              </a:extLst>
            </p:cNvPr>
            <p:cNvSpPr/>
            <p:nvPr userDrawn="1"/>
          </p:nvSpPr>
          <p:spPr bwMode="gray">
            <a:xfrm>
              <a:off x="1068651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42" name="Rechteck 341">
              <a:extLst>
                <a:ext uri="{FF2B5EF4-FFF2-40B4-BE49-F238E27FC236}">
                  <a16:creationId xmlns:a16="http://schemas.microsoft.com/office/drawing/2014/main" id="{1E9B275D-E49B-84C4-A738-D67BA55618AF}"/>
                </a:ext>
              </a:extLst>
            </p:cNvPr>
            <p:cNvSpPr/>
            <p:nvPr userDrawn="1"/>
          </p:nvSpPr>
          <p:spPr bwMode="gray">
            <a:xfrm>
              <a:off x="1011044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43" name="Rechteck 342">
              <a:extLst>
                <a:ext uri="{FF2B5EF4-FFF2-40B4-BE49-F238E27FC236}">
                  <a16:creationId xmlns:a16="http://schemas.microsoft.com/office/drawing/2014/main" id="{3FC91A6E-B70D-76CA-FCC2-3372A0E13FDC}"/>
                </a:ext>
              </a:extLst>
            </p:cNvPr>
            <p:cNvSpPr/>
            <p:nvPr userDrawn="1"/>
          </p:nvSpPr>
          <p:spPr bwMode="gray">
            <a:xfrm>
              <a:off x="953438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44" name="Rechteck 343">
              <a:extLst>
                <a:ext uri="{FF2B5EF4-FFF2-40B4-BE49-F238E27FC236}">
                  <a16:creationId xmlns:a16="http://schemas.microsoft.com/office/drawing/2014/main" id="{1701BEAE-7069-88CC-34EE-72EDA6059C43}"/>
                </a:ext>
              </a:extLst>
            </p:cNvPr>
            <p:cNvSpPr/>
            <p:nvPr userDrawn="1"/>
          </p:nvSpPr>
          <p:spPr bwMode="gray">
            <a:xfrm>
              <a:off x="895832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45" name="Rechteck 344">
              <a:extLst>
                <a:ext uri="{FF2B5EF4-FFF2-40B4-BE49-F238E27FC236}">
                  <a16:creationId xmlns:a16="http://schemas.microsoft.com/office/drawing/2014/main" id="{7673B43E-5061-4FD0-D3E5-8A67C63D600B}"/>
                </a:ext>
              </a:extLst>
            </p:cNvPr>
            <p:cNvSpPr/>
            <p:nvPr userDrawn="1"/>
          </p:nvSpPr>
          <p:spPr bwMode="gray">
            <a:xfrm>
              <a:off x="838225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46" name="Rechteck 345">
              <a:extLst>
                <a:ext uri="{FF2B5EF4-FFF2-40B4-BE49-F238E27FC236}">
                  <a16:creationId xmlns:a16="http://schemas.microsoft.com/office/drawing/2014/main" id="{18983EEA-73D0-DFC8-25A5-0E0027772099}"/>
                </a:ext>
              </a:extLst>
            </p:cNvPr>
            <p:cNvSpPr/>
            <p:nvPr userDrawn="1"/>
          </p:nvSpPr>
          <p:spPr bwMode="gray">
            <a:xfrm>
              <a:off x="780619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47" name="Rechteck 346">
              <a:extLst>
                <a:ext uri="{FF2B5EF4-FFF2-40B4-BE49-F238E27FC236}">
                  <a16:creationId xmlns:a16="http://schemas.microsoft.com/office/drawing/2014/main" id="{C07556CA-3AEC-4B9E-7A01-8C057D331A35}"/>
                </a:ext>
              </a:extLst>
            </p:cNvPr>
            <p:cNvSpPr/>
            <p:nvPr userDrawn="1"/>
          </p:nvSpPr>
          <p:spPr bwMode="gray">
            <a:xfrm>
              <a:off x="723012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48" name="Rechteck 347">
              <a:extLst>
                <a:ext uri="{FF2B5EF4-FFF2-40B4-BE49-F238E27FC236}">
                  <a16:creationId xmlns:a16="http://schemas.microsoft.com/office/drawing/2014/main" id="{C667880C-30C6-6647-E5CA-6E7BBBEDBFC6}"/>
                </a:ext>
              </a:extLst>
            </p:cNvPr>
            <p:cNvSpPr/>
            <p:nvPr userDrawn="1"/>
          </p:nvSpPr>
          <p:spPr bwMode="gray">
            <a:xfrm>
              <a:off x="665406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49" name="Rechteck 348">
              <a:extLst>
                <a:ext uri="{FF2B5EF4-FFF2-40B4-BE49-F238E27FC236}">
                  <a16:creationId xmlns:a16="http://schemas.microsoft.com/office/drawing/2014/main" id="{D5D2A593-CDF5-2FAE-2410-F29A7D30FAA4}"/>
                </a:ext>
              </a:extLst>
            </p:cNvPr>
            <p:cNvSpPr/>
            <p:nvPr userDrawn="1"/>
          </p:nvSpPr>
          <p:spPr bwMode="gray">
            <a:xfrm>
              <a:off x="607800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50" name="Rechteck 349">
              <a:extLst>
                <a:ext uri="{FF2B5EF4-FFF2-40B4-BE49-F238E27FC236}">
                  <a16:creationId xmlns:a16="http://schemas.microsoft.com/office/drawing/2014/main" id="{F0AD9BB8-A09C-1731-6B45-A51012A28393}"/>
                </a:ext>
              </a:extLst>
            </p:cNvPr>
            <p:cNvSpPr/>
            <p:nvPr userDrawn="1"/>
          </p:nvSpPr>
          <p:spPr bwMode="gray">
            <a:xfrm>
              <a:off x="550193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51" name="Rechteck 350">
              <a:extLst>
                <a:ext uri="{FF2B5EF4-FFF2-40B4-BE49-F238E27FC236}">
                  <a16:creationId xmlns:a16="http://schemas.microsoft.com/office/drawing/2014/main" id="{A624A2C7-0E03-1F74-BDC1-AEFEDF222371}"/>
                </a:ext>
              </a:extLst>
            </p:cNvPr>
            <p:cNvSpPr/>
            <p:nvPr userDrawn="1"/>
          </p:nvSpPr>
          <p:spPr bwMode="gray">
            <a:xfrm>
              <a:off x="492587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52" name="Rechteck 351">
              <a:extLst>
                <a:ext uri="{FF2B5EF4-FFF2-40B4-BE49-F238E27FC236}">
                  <a16:creationId xmlns:a16="http://schemas.microsoft.com/office/drawing/2014/main" id="{94C580EC-6A3F-0E7B-932E-9A6285395D5D}"/>
                </a:ext>
              </a:extLst>
            </p:cNvPr>
            <p:cNvSpPr/>
            <p:nvPr userDrawn="1"/>
          </p:nvSpPr>
          <p:spPr bwMode="gray">
            <a:xfrm>
              <a:off x="434980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53" name="Rechteck 352">
              <a:extLst>
                <a:ext uri="{FF2B5EF4-FFF2-40B4-BE49-F238E27FC236}">
                  <a16:creationId xmlns:a16="http://schemas.microsoft.com/office/drawing/2014/main" id="{9808D5AB-522A-8743-CA5E-5739A9CBA25A}"/>
                </a:ext>
              </a:extLst>
            </p:cNvPr>
            <p:cNvSpPr/>
            <p:nvPr userDrawn="1"/>
          </p:nvSpPr>
          <p:spPr bwMode="gray">
            <a:xfrm>
              <a:off x="377374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54" name="Rechteck 353">
              <a:extLst>
                <a:ext uri="{FF2B5EF4-FFF2-40B4-BE49-F238E27FC236}">
                  <a16:creationId xmlns:a16="http://schemas.microsoft.com/office/drawing/2014/main" id="{F4E71B55-7DF4-EE9B-D7E1-2544FE738109}"/>
                </a:ext>
              </a:extLst>
            </p:cNvPr>
            <p:cNvSpPr/>
            <p:nvPr userDrawn="1"/>
          </p:nvSpPr>
          <p:spPr bwMode="gray">
            <a:xfrm>
              <a:off x="319768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55" name="Rechteck 354">
              <a:extLst>
                <a:ext uri="{FF2B5EF4-FFF2-40B4-BE49-F238E27FC236}">
                  <a16:creationId xmlns:a16="http://schemas.microsoft.com/office/drawing/2014/main" id="{C40D1DE5-1570-ADB8-5CB5-40C70A556F42}"/>
                </a:ext>
              </a:extLst>
            </p:cNvPr>
            <p:cNvSpPr/>
            <p:nvPr userDrawn="1"/>
          </p:nvSpPr>
          <p:spPr bwMode="gray">
            <a:xfrm>
              <a:off x="262161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56" name="Rechteck 355">
              <a:extLst>
                <a:ext uri="{FF2B5EF4-FFF2-40B4-BE49-F238E27FC236}">
                  <a16:creationId xmlns:a16="http://schemas.microsoft.com/office/drawing/2014/main" id="{BD4AF9DB-7AF2-C01C-A0DE-C982333AAB2B}"/>
                </a:ext>
              </a:extLst>
            </p:cNvPr>
            <p:cNvSpPr/>
            <p:nvPr userDrawn="1"/>
          </p:nvSpPr>
          <p:spPr bwMode="gray">
            <a:xfrm>
              <a:off x="204555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57" name="Rechteck 356">
              <a:extLst>
                <a:ext uri="{FF2B5EF4-FFF2-40B4-BE49-F238E27FC236}">
                  <a16:creationId xmlns:a16="http://schemas.microsoft.com/office/drawing/2014/main" id="{FB4DCA97-3C18-542A-CF3E-8E6D71A472B3}"/>
                </a:ext>
              </a:extLst>
            </p:cNvPr>
            <p:cNvSpPr/>
            <p:nvPr userDrawn="1"/>
          </p:nvSpPr>
          <p:spPr bwMode="gray">
            <a:xfrm>
              <a:off x="146948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58" name="Rechteck 357">
              <a:extLst>
                <a:ext uri="{FF2B5EF4-FFF2-40B4-BE49-F238E27FC236}">
                  <a16:creationId xmlns:a16="http://schemas.microsoft.com/office/drawing/2014/main" id="{5966E40C-5198-1A8C-828A-9FABC051E2C4}"/>
                </a:ext>
              </a:extLst>
            </p:cNvPr>
            <p:cNvSpPr/>
            <p:nvPr userDrawn="1"/>
          </p:nvSpPr>
          <p:spPr bwMode="gray">
            <a:xfrm>
              <a:off x="89342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59" name="Rechteck 358">
              <a:extLst>
                <a:ext uri="{FF2B5EF4-FFF2-40B4-BE49-F238E27FC236}">
                  <a16:creationId xmlns:a16="http://schemas.microsoft.com/office/drawing/2014/main" id="{4C948779-50DD-0159-5ADE-ABE811F2F2F7}"/>
                </a:ext>
              </a:extLst>
            </p:cNvPr>
            <p:cNvSpPr/>
            <p:nvPr userDrawn="1"/>
          </p:nvSpPr>
          <p:spPr bwMode="gray">
            <a:xfrm>
              <a:off x="31736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60" name="Rechteck 359">
              <a:extLst>
                <a:ext uri="{FF2B5EF4-FFF2-40B4-BE49-F238E27FC236}">
                  <a16:creationId xmlns:a16="http://schemas.microsoft.com/office/drawing/2014/main" id="{7BD4457A-907B-04D3-3FF0-4293F1B9EE11}"/>
                </a:ext>
              </a:extLst>
            </p:cNvPr>
            <p:cNvSpPr/>
            <p:nvPr userDrawn="1"/>
          </p:nvSpPr>
          <p:spPr bwMode="gray">
            <a:xfrm>
              <a:off x="1126257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61" name="Rechteck 360">
              <a:extLst>
                <a:ext uri="{FF2B5EF4-FFF2-40B4-BE49-F238E27FC236}">
                  <a16:creationId xmlns:a16="http://schemas.microsoft.com/office/drawing/2014/main" id="{66ACC75F-FB7B-24A6-2997-93DDCBE25195}"/>
                </a:ext>
              </a:extLst>
            </p:cNvPr>
            <p:cNvSpPr/>
            <p:nvPr userDrawn="1"/>
          </p:nvSpPr>
          <p:spPr bwMode="gray">
            <a:xfrm>
              <a:off x="1068651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62" name="Rechteck 361">
              <a:extLst>
                <a:ext uri="{FF2B5EF4-FFF2-40B4-BE49-F238E27FC236}">
                  <a16:creationId xmlns:a16="http://schemas.microsoft.com/office/drawing/2014/main" id="{DD4743DC-B534-1F22-16EA-F7054A33A9B3}"/>
                </a:ext>
              </a:extLst>
            </p:cNvPr>
            <p:cNvSpPr/>
            <p:nvPr userDrawn="1"/>
          </p:nvSpPr>
          <p:spPr bwMode="gray">
            <a:xfrm>
              <a:off x="1011044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63" name="Rechteck 362">
              <a:extLst>
                <a:ext uri="{FF2B5EF4-FFF2-40B4-BE49-F238E27FC236}">
                  <a16:creationId xmlns:a16="http://schemas.microsoft.com/office/drawing/2014/main" id="{D76A61A9-D96A-28AD-EA43-0D50D5095F85}"/>
                </a:ext>
              </a:extLst>
            </p:cNvPr>
            <p:cNvSpPr/>
            <p:nvPr userDrawn="1"/>
          </p:nvSpPr>
          <p:spPr bwMode="gray">
            <a:xfrm>
              <a:off x="953438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64" name="Rechteck 363">
              <a:extLst>
                <a:ext uri="{FF2B5EF4-FFF2-40B4-BE49-F238E27FC236}">
                  <a16:creationId xmlns:a16="http://schemas.microsoft.com/office/drawing/2014/main" id="{8C089AA5-044E-C2B9-9876-CB7B6D3ACD01}"/>
                </a:ext>
              </a:extLst>
            </p:cNvPr>
            <p:cNvSpPr/>
            <p:nvPr userDrawn="1"/>
          </p:nvSpPr>
          <p:spPr bwMode="gray">
            <a:xfrm>
              <a:off x="895832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65" name="Rechteck 364">
              <a:extLst>
                <a:ext uri="{FF2B5EF4-FFF2-40B4-BE49-F238E27FC236}">
                  <a16:creationId xmlns:a16="http://schemas.microsoft.com/office/drawing/2014/main" id="{3285D6AC-C5F6-6026-F303-E37DEDD90B7D}"/>
                </a:ext>
              </a:extLst>
            </p:cNvPr>
            <p:cNvSpPr/>
            <p:nvPr userDrawn="1"/>
          </p:nvSpPr>
          <p:spPr bwMode="gray">
            <a:xfrm>
              <a:off x="838225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66" name="Rechteck 365">
              <a:extLst>
                <a:ext uri="{FF2B5EF4-FFF2-40B4-BE49-F238E27FC236}">
                  <a16:creationId xmlns:a16="http://schemas.microsoft.com/office/drawing/2014/main" id="{657B8F54-0C0F-2CAC-76CB-D0008B6DAF31}"/>
                </a:ext>
              </a:extLst>
            </p:cNvPr>
            <p:cNvSpPr/>
            <p:nvPr userDrawn="1"/>
          </p:nvSpPr>
          <p:spPr bwMode="gray">
            <a:xfrm>
              <a:off x="780619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67" name="Rechteck 366">
              <a:extLst>
                <a:ext uri="{FF2B5EF4-FFF2-40B4-BE49-F238E27FC236}">
                  <a16:creationId xmlns:a16="http://schemas.microsoft.com/office/drawing/2014/main" id="{0E25D48E-EAFA-AB6C-E40C-BF0CB21C9768}"/>
                </a:ext>
              </a:extLst>
            </p:cNvPr>
            <p:cNvSpPr/>
            <p:nvPr userDrawn="1"/>
          </p:nvSpPr>
          <p:spPr bwMode="gray">
            <a:xfrm>
              <a:off x="723012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68" name="Rechteck 367">
              <a:extLst>
                <a:ext uri="{FF2B5EF4-FFF2-40B4-BE49-F238E27FC236}">
                  <a16:creationId xmlns:a16="http://schemas.microsoft.com/office/drawing/2014/main" id="{ABCB3C10-674E-E4A1-3DA0-CF1258C3E82F}"/>
                </a:ext>
              </a:extLst>
            </p:cNvPr>
            <p:cNvSpPr/>
            <p:nvPr userDrawn="1"/>
          </p:nvSpPr>
          <p:spPr bwMode="gray">
            <a:xfrm>
              <a:off x="665406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69" name="Rechteck 368">
              <a:extLst>
                <a:ext uri="{FF2B5EF4-FFF2-40B4-BE49-F238E27FC236}">
                  <a16:creationId xmlns:a16="http://schemas.microsoft.com/office/drawing/2014/main" id="{6E41A791-925B-8FB4-6D98-C880D5BD37DF}"/>
                </a:ext>
              </a:extLst>
            </p:cNvPr>
            <p:cNvSpPr/>
            <p:nvPr userDrawn="1"/>
          </p:nvSpPr>
          <p:spPr bwMode="gray">
            <a:xfrm>
              <a:off x="607800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70" name="Rechteck 369">
              <a:extLst>
                <a:ext uri="{FF2B5EF4-FFF2-40B4-BE49-F238E27FC236}">
                  <a16:creationId xmlns:a16="http://schemas.microsoft.com/office/drawing/2014/main" id="{C7546793-AE59-3843-E9EB-578625C7533D}"/>
                </a:ext>
              </a:extLst>
            </p:cNvPr>
            <p:cNvSpPr/>
            <p:nvPr userDrawn="1"/>
          </p:nvSpPr>
          <p:spPr bwMode="gray">
            <a:xfrm>
              <a:off x="550193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71" name="Rechteck 370">
              <a:extLst>
                <a:ext uri="{FF2B5EF4-FFF2-40B4-BE49-F238E27FC236}">
                  <a16:creationId xmlns:a16="http://schemas.microsoft.com/office/drawing/2014/main" id="{0A352CEB-E50F-6C02-902C-325E372FDDF9}"/>
                </a:ext>
              </a:extLst>
            </p:cNvPr>
            <p:cNvSpPr/>
            <p:nvPr userDrawn="1"/>
          </p:nvSpPr>
          <p:spPr bwMode="gray">
            <a:xfrm>
              <a:off x="492587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72" name="Rechteck 371">
              <a:extLst>
                <a:ext uri="{FF2B5EF4-FFF2-40B4-BE49-F238E27FC236}">
                  <a16:creationId xmlns:a16="http://schemas.microsoft.com/office/drawing/2014/main" id="{CEE2A8FD-44E0-648D-DC7F-2187033898DC}"/>
                </a:ext>
              </a:extLst>
            </p:cNvPr>
            <p:cNvSpPr/>
            <p:nvPr userDrawn="1"/>
          </p:nvSpPr>
          <p:spPr bwMode="gray">
            <a:xfrm>
              <a:off x="434980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73" name="Rechteck 372">
              <a:extLst>
                <a:ext uri="{FF2B5EF4-FFF2-40B4-BE49-F238E27FC236}">
                  <a16:creationId xmlns:a16="http://schemas.microsoft.com/office/drawing/2014/main" id="{7813DF5E-A2A2-4AC1-A795-18FC84183C76}"/>
                </a:ext>
              </a:extLst>
            </p:cNvPr>
            <p:cNvSpPr/>
            <p:nvPr userDrawn="1"/>
          </p:nvSpPr>
          <p:spPr bwMode="gray">
            <a:xfrm>
              <a:off x="377374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74" name="Rechteck 373">
              <a:extLst>
                <a:ext uri="{FF2B5EF4-FFF2-40B4-BE49-F238E27FC236}">
                  <a16:creationId xmlns:a16="http://schemas.microsoft.com/office/drawing/2014/main" id="{DEFF319F-E1EA-1AF0-521D-BED1A9AB99A1}"/>
                </a:ext>
              </a:extLst>
            </p:cNvPr>
            <p:cNvSpPr/>
            <p:nvPr userDrawn="1"/>
          </p:nvSpPr>
          <p:spPr bwMode="gray">
            <a:xfrm>
              <a:off x="319768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75" name="Rechteck 374">
              <a:extLst>
                <a:ext uri="{FF2B5EF4-FFF2-40B4-BE49-F238E27FC236}">
                  <a16:creationId xmlns:a16="http://schemas.microsoft.com/office/drawing/2014/main" id="{2EBD3B3F-EF19-A6B1-BD00-0BF477253F8E}"/>
                </a:ext>
              </a:extLst>
            </p:cNvPr>
            <p:cNvSpPr/>
            <p:nvPr userDrawn="1"/>
          </p:nvSpPr>
          <p:spPr bwMode="gray">
            <a:xfrm>
              <a:off x="262161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76" name="Rechteck 375">
              <a:extLst>
                <a:ext uri="{FF2B5EF4-FFF2-40B4-BE49-F238E27FC236}">
                  <a16:creationId xmlns:a16="http://schemas.microsoft.com/office/drawing/2014/main" id="{8D80EE55-2328-FAC9-B709-B4DF01A0D1E2}"/>
                </a:ext>
              </a:extLst>
            </p:cNvPr>
            <p:cNvSpPr/>
            <p:nvPr userDrawn="1"/>
          </p:nvSpPr>
          <p:spPr bwMode="gray">
            <a:xfrm>
              <a:off x="204555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77" name="Rechteck 376">
              <a:extLst>
                <a:ext uri="{FF2B5EF4-FFF2-40B4-BE49-F238E27FC236}">
                  <a16:creationId xmlns:a16="http://schemas.microsoft.com/office/drawing/2014/main" id="{1F8F8410-FDE2-25C3-7287-6EA3950BAFF6}"/>
                </a:ext>
              </a:extLst>
            </p:cNvPr>
            <p:cNvSpPr/>
            <p:nvPr userDrawn="1"/>
          </p:nvSpPr>
          <p:spPr bwMode="gray">
            <a:xfrm>
              <a:off x="146948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78" name="Rechteck 377">
              <a:extLst>
                <a:ext uri="{FF2B5EF4-FFF2-40B4-BE49-F238E27FC236}">
                  <a16:creationId xmlns:a16="http://schemas.microsoft.com/office/drawing/2014/main" id="{4D003229-4213-0A9F-0B31-C7F845BE9D85}"/>
                </a:ext>
              </a:extLst>
            </p:cNvPr>
            <p:cNvSpPr/>
            <p:nvPr userDrawn="1"/>
          </p:nvSpPr>
          <p:spPr bwMode="gray">
            <a:xfrm>
              <a:off x="89342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79" name="Rechteck 378">
              <a:extLst>
                <a:ext uri="{FF2B5EF4-FFF2-40B4-BE49-F238E27FC236}">
                  <a16:creationId xmlns:a16="http://schemas.microsoft.com/office/drawing/2014/main" id="{C96709AC-7282-DEC7-C2EA-E35066C8E7BF}"/>
                </a:ext>
              </a:extLst>
            </p:cNvPr>
            <p:cNvSpPr/>
            <p:nvPr userDrawn="1"/>
          </p:nvSpPr>
          <p:spPr bwMode="gray">
            <a:xfrm>
              <a:off x="31736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80" name="Rechteck 379">
              <a:extLst>
                <a:ext uri="{FF2B5EF4-FFF2-40B4-BE49-F238E27FC236}">
                  <a16:creationId xmlns:a16="http://schemas.microsoft.com/office/drawing/2014/main" id="{E6E4BFC1-A7FA-F0EC-96BC-38E357FFA072}"/>
                </a:ext>
              </a:extLst>
            </p:cNvPr>
            <p:cNvSpPr/>
            <p:nvPr userDrawn="1"/>
          </p:nvSpPr>
          <p:spPr bwMode="gray">
            <a:xfrm>
              <a:off x="1126257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81" name="Rechteck 380">
              <a:extLst>
                <a:ext uri="{FF2B5EF4-FFF2-40B4-BE49-F238E27FC236}">
                  <a16:creationId xmlns:a16="http://schemas.microsoft.com/office/drawing/2014/main" id="{C33D3262-11F9-EC91-A516-23A52F77B601}"/>
                </a:ext>
              </a:extLst>
            </p:cNvPr>
            <p:cNvSpPr/>
            <p:nvPr userDrawn="1"/>
          </p:nvSpPr>
          <p:spPr bwMode="gray">
            <a:xfrm>
              <a:off x="1068651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82" name="Rechteck 381">
              <a:extLst>
                <a:ext uri="{FF2B5EF4-FFF2-40B4-BE49-F238E27FC236}">
                  <a16:creationId xmlns:a16="http://schemas.microsoft.com/office/drawing/2014/main" id="{D29C1DD7-9E50-9925-6F3B-C72224F3854F}"/>
                </a:ext>
              </a:extLst>
            </p:cNvPr>
            <p:cNvSpPr/>
            <p:nvPr userDrawn="1"/>
          </p:nvSpPr>
          <p:spPr bwMode="gray">
            <a:xfrm>
              <a:off x="1011044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83" name="Rechteck 382">
              <a:extLst>
                <a:ext uri="{FF2B5EF4-FFF2-40B4-BE49-F238E27FC236}">
                  <a16:creationId xmlns:a16="http://schemas.microsoft.com/office/drawing/2014/main" id="{8E0AE0F7-B52D-45C2-9757-3848510B093F}"/>
                </a:ext>
              </a:extLst>
            </p:cNvPr>
            <p:cNvSpPr/>
            <p:nvPr userDrawn="1"/>
          </p:nvSpPr>
          <p:spPr bwMode="gray">
            <a:xfrm>
              <a:off x="953438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84" name="Rechteck 383">
              <a:extLst>
                <a:ext uri="{FF2B5EF4-FFF2-40B4-BE49-F238E27FC236}">
                  <a16:creationId xmlns:a16="http://schemas.microsoft.com/office/drawing/2014/main" id="{23F8F106-A788-3784-CD81-7DB3ABD434D5}"/>
                </a:ext>
              </a:extLst>
            </p:cNvPr>
            <p:cNvSpPr/>
            <p:nvPr userDrawn="1"/>
          </p:nvSpPr>
          <p:spPr bwMode="gray">
            <a:xfrm>
              <a:off x="895832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85" name="Rechteck 384">
              <a:extLst>
                <a:ext uri="{FF2B5EF4-FFF2-40B4-BE49-F238E27FC236}">
                  <a16:creationId xmlns:a16="http://schemas.microsoft.com/office/drawing/2014/main" id="{13663F37-4798-07E4-FD5E-0BD0D097F692}"/>
                </a:ext>
              </a:extLst>
            </p:cNvPr>
            <p:cNvSpPr/>
            <p:nvPr userDrawn="1"/>
          </p:nvSpPr>
          <p:spPr bwMode="gray">
            <a:xfrm>
              <a:off x="838225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86" name="Rechteck 385">
              <a:extLst>
                <a:ext uri="{FF2B5EF4-FFF2-40B4-BE49-F238E27FC236}">
                  <a16:creationId xmlns:a16="http://schemas.microsoft.com/office/drawing/2014/main" id="{9C02C0D0-5266-DD60-5F8B-282BCF3B2DB3}"/>
                </a:ext>
              </a:extLst>
            </p:cNvPr>
            <p:cNvSpPr/>
            <p:nvPr userDrawn="1"/>
          </p:nvSpPr>
          <p:spPr bwMode="gray">
            <a:xfrm>
              <a:off x="780619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87" name="Rechteck 386">
              <a:extLst>
                <a:ext uri="{FF2B5EF4-FFF2-40B4-BE49-F238E27FC236}">
                  <a16:creationId xmlns:a16="http://schemas.microsoft.com/office/drawing/2014/main" id="{1046AC9C-4CFF-BE06-CA43-D93D094D6A52}"/>
                </a:ext>
              </a:extLst>
            </p:cNvPr>
            <p:cNvSpPr/>
            <p:nvPr userDrawn="1"/>
          </p:nvSpPr>
          <p:spPr bwMode="gray">
            <a:xfrm>
              <a:off x="723012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88" name="Rechteck 387">
              <a:extLst>
                <a:ext uri="{FF2B5EF4-FFF2-40B4-BE49-F238E27FC236}">
                  <a16:creationId xmlns:a16="http://schemas.microsoft.com/office/drawing/2014/main" id="{B288B19E-700F-BB4F-0065-FDED57729692}"/>
                </a:ext>
              </a:extLst>
            </p:cNvPr>
            <p:cNvSpPr/>
            <p:nvPr userDrawn="1"/>
          </p:nvSpPr>
          <p:spPr bwMode="gray">
            <a:xfrm>
              <a:off x="665406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89" name="Rechteck 388">
              <a:extLst>
                <a:ext uri="{FF2B5EF4-FFF2-40B4-BE49-F238E27FC236}">
                  <a16:creationId xmlns:a16="http://schemas.microsoft.com/office/drawing/2014/main" id="{040F2319-1297-4F77-4D7C-5C514BAEAF89}"/>
                </a:ext>
              </a:extLst>
            </p:cNvPr>
            <p:cNvSpPr/>
            <p:nvPr userDrawn="1"/>
          </p:nvSpPr>
          <p:spPr bwMode="gray">
            <a:xfrm>
              <a:off x="607800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90" name="Rechteck 389">
              <a:extLst>
                <a:ext uri="{FF2B5EF4-FFF2-40B4-BE49-F238E27FC236}">
                  <a16:creationId xmlns:a16="http://schemas.microsoft.com/office/drawing/2014/main" id="{49AA0938-0B76-0776-175F-1E7D637F61E5}"/>
                </a:ext>
              </a:extLst>
            </p:cNvPr>
            <p:cNvSpPr/>
            <p:nvPr userDrawn="1"/>
          </p:nvSpPr>
          <p:spPr bwMode="gray">
            <a:xfrm>
              <a:off x="550193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91" name="Rechteck 390">
              <a:extLst>
                <a:ext uri="{FF2B5EF4-FFF2-40B4-BE49-F238E27FC236}">
                  <a16:creationId xmlns:a16="http://schemas.microsoft.com/office/drawing/2014/main" id="{B7B4D9ED-865F-E28D-935E-238F89CA2AFA}"/>
                </a:ext>
              </a:extLst>
            </p:cNvPr>
            <p:cNvSpPr/>
            <p:nvPr userDrawn="1"/>
          </p:nvSpPr>
          <p:spPr bwMode="gray">
            <a:xfrm>
              <a:off x="492587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92" name="Rechteck 391">
              <a:extLst>
                <a:ext uri="{FF2B5EF4-FFF2-40B4-BE49-F238E27FC236}">
                  <a16:creationId xmlns:a16="http://schemas.microsoft.com/office/drawing/2014/main" id="{BC947004-4BA8-C005-A512-73353739D23A}"/>
                </a:ext>
              </a:extLst>
            </p:cNvPr>
            <p:cNvSpPr/>
            <p:nvPr userDrawn="1"/>
          </p:nvSpPr>
          <p:spPr bwMode="gray">
            <a:xfrm>
              <a:off x="434980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93" name="Rechteck 392">
              <a:extLst>
                <a:ext uri="{FF2B5EF4-FFF2-40B4-BE49-F238E27FC236}">
                  <a16:creationId xmlns:a16="http://schemas.microsoft.com/office/drawing/2014/main" id="{36F2C2A5-129C-6FFE-B7DB-1116248D5162}"/>
                </a:ext>
              </a:extLst>
            </p:cNvPr>
            <p:cNvSpPr/>
            <p:nvPr userDrawn="1"/>
          </p:nvSpPr>
          <p:spPr bwMode="gray">
            <a:xfrm>
              <a:off x="377374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94" name="Rechteck 393">
              <a:extLst>
                <a:ext uri="{FF2B5EF4-FFF2-40B4-BE49-F238E27FC236}">
                  <a16:creationId xmlns:a16="http://schemas.microsoft.com/office/drawing/2014/main" id="{3E4ECD15-47CE-91D6-DE81-B9DFFEB2384E}"/>
                </a:ext>
              </a:extLst>
            </p:cNvPr>
            <p:cNvSpPr/>
            <p:nvPr userDrawn="1"/>
          </p:nvSpPr>
          <p:spPr bwMode="gray">
            <a:xfrm>
              <a:off x="319768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95" name="Rechteck 394">
              <a:extLst>
                <a:ext uri="{FF2B5EF4-FFF2-40B4-BE49-F238E27FC236}">
                  <a16:creationId xmlns:a16="http://schemas.microsoft.com/office/drawing/2014/main" id="{612AD0B2-1B3A-A0FB-24EF-1BE1FFE5A2BD}"/>
                </a:ext>
              </a:extLst>
            </p:cNvPr>
            <p:cNvSpPr/>
            <p:nvPr userDrawn="1"/>
          </p:nvSpPr>
          <p:spPr bwMode="gray">
            <a:xfrm>
              <a:off x="262161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96" name="Rechteck 395">
              <a:extLst>
                <a:ext uri="{FF2B5EF4-FFF2-40B4-BE49-F238E27FC236}">
                  <a16:creationId xmlns:a16="http://schemas.microsoft.com/office/drawing/2014/main" id="{E67BA379-596C-F949-AF24-245EB4F5644A}"/>
                </a:ext>
              </a:extLst>
            </p:cNvPr>
            <p:cNvSpPr/>
            <p:nvPr userDrawn="1"/>
          </p:nvSpPr>
          <p:spPr bwMode="gray">
            <a:xfrm>
              <a:off x="204555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97" name="Rechteck 396">
              <a:extLst>
                <a:ext uri="{FF2B5EF4-FFF2-40B4-BE49-F238E27FC236}">
                  <a16:creationId xmlns:a16="http://schemas.microsoft.com/office/drawing/2014/main" id="{B6D56B5B-9C7E-DD35-C912-19CC33A1D05F}"/>
                </a:ext>
              </a:extLst>
            </p:cNvPr>
            <p:cNvSpPr/>
            <p:nvPr userDrawn="1"/>
          </p:nvSpPr>
          <p:spPr bwMode="gray">
            <a:xfrm>
              <a:off x="146948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98" name="Rechteck 397">
              <a:extLst>
                <a:ext uri="{FF2B5EF4-FFF2-40B4-BE49-F238E27FC236}">
                  <a16:creationId xmlns:a16="http://schemas.microsoft.com/office/drawing/2014/main" id="{2F5AE12B-9AE9-F65B-F4B0-7D666E449167}"/>
                </a:ext>
              </a:extLst>
            </p:cNvPr>
            <p:cNvSpPr/>
            <p:nvPr userDrawn="1"/>
          </p:nvSpPr>
          <p:spPr bwMode="gray">
            <a:xfrm>
              <a:off x="89342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99" name="Rechteck 398">
              <a:extLst>
                <a:ext uri="{FF2B5EF4-FFF2-40B4-BE49-F238E27FC236}">
                  <a16:creationId xmlns:a16="http://schemas.microsoft.com/office/drawing/2014/main" id="{7BBFDB86-91AB-592A-F1DA-C708D314F09E}"/>
                </a:ext>
              </a:extLst>
            </p:cNvPr>
            <p:cNvSpPr/>
            <p:nvPr userDrawn="1"/>
          </p:nvSpPr>
          <p:spPr bwMode="gray">
            <a:xfrm>
              <a:off x="31736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00" name="Rechteck 399">
              <a:extLst>
                <a:ext uri="{FF2B5EF4-FFF2-40B4-BE49-F238E27FC236}">
                  <a16:creationId xmlns:a16="http://schemas.microsoft.com/office/drawing/2014/main" id="{943ABC66-8C50-774D-2CE4-05AFE3365331}"/>
                </a:ext>
              </a:extLst>
            </p:cNvPr>
            <p:cNvSpPr/>
            <p:nvPr userDrawn="1"/>
          </p:nvSpPr>
          <p:spPr bwMode="gray">
            <a:xfrm>
              <a:off x="1126257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01" name="Rechteck 400">
              <a:extLst>
                <a:ext uri="{FF2B5EF4-FFF2-40B4-BE49-F238E27FC236}">
                  <a16:creationId xmlns:a16="http://schemas.microsoft.com/office/drawing/2014/main" id="{1CEBF6A5-17B9-9C11-0D9F-E71345915B7E}"/>
                </a:ext>
              </a:extLst>
            </p:cNvPr>
            <p:cNvSpPr/>
            <p:nvPr userDrawn="1"/>
          </p:nvSpPr>
          <p:spPr bwMode="gray">
            <a:xfrm>
              <a:off x="1068651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02" name="Rechteck 401">
              <a:extLst>
                <a:ext uri="{FF2B5EF4-FFF2-40B4-BE49-F238E27FC236}">
                  <a16:creationId xmlns:a16="http://schemas.microsoft.com/office/drawing/2014/main" id="{E26904B5-A3E8-C7FA-22B9-608812AAB1D6}"/>
                </a:ext>
              </a:extLst>
            </p:cNvPr>
            <p:cNvSpPr/>
            <p:nvPr userDrawn="1"/>
          </p:nvSpPr>
          <p:spPr bwMode="gray">
            <a:xfrm>
              <a:off x="1011044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03" name="Rechteck 402">
              <a:extLst>
                <a:ext uri="{FF2B5EF4-FFF2-40B4-BE49-F238E27FC236}">
                  <a16:creationId xmlns:a16="http://schemas.microsoft.com/office/drawing/2014/main" id="{E50229C0-4838-2CE2-9634-68B888F7A575}"/>
                </a:ext>
              </a:extLst>
            </p:cNvPr>
            <p:cNvSpPr/>
            <p:nvPr userDrawn="1"/>
          </p:nvSpPr>
          <p:spPr bwMode="gray">
            <a:xfrm>
              <a:off x="953438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04" name="Rechteck 403">
              <a:extLst>
                <a:ext uri="{FF2B5EF4-FFF2-40B4-BE49-F238E27FC236}">
                  <a16:creationId xmlns:a16="http://schemas.microsoft.com/office/drawing/2014/main" id="{B25DEFA7-3420-8B57-BDB1-629731DE1B58}"/>
                </a:ext>
              </a:extLst>
            </p:cNvPr>
            <p:cNvSpPr/>
            <p:nvPr userDrawn="1"/>
          </p:nvSpPr>
          <p:spPr bwMode="gray">
            <a:xfrm>
              <a:off x="895832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05" name="Rechteck 404">
              <a:extLst>
                <a:ext uri="{FF2B5EF4-FFF2-40B4-BE49-F238E27FC236}">
                  <a16:creationId xmlns:a16="http://schemas.microsoft.com/office/drawing/2014/main" id="{44ED2640-C191-E45B-8784-B040AD8A8776}"/>
                </a:ext>
              </a:extLst>
            </p:cNvPr>
            <p:cNvSpPr/>
            <p:nvPr userDrawn="1"/>
          </p:nvSpPr>
          <p:spPr bwMode="gray">
            <a:xfrm>
              <a:off x="838225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06" name="Rechteck 405">
              <a:extLst>
                <a:ext uri="{FF2B5EF4-FFF2-40B4-BE49-F238E27FC236}">
                  <a16:creationId xmlns:a16="http://schemas.microsoft.com/office/drawing/2014/main" id="{F970726E-05ED-5C31-F819-E35042BDA686}"/>
                </a:ext>
              </a:extLst>
            </p:cNvPr>
            <p:cNvSpPr/>
            <p:nvPr userDrawn="1"/>
          </p:nvSpPr>
          <p:spPr bwMode="gray">
            <a:xfrm>
              <a:off x="780619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07" name="Rechteck 406">
              <a:extLst>
                <a:ext uri="{FF2B5EF4-FFF2-40B4-BE49-F238E27FC236}">
                  <a16:creationId xmlns:a16="http://schemas.microsoft.com/office/drawing/2014/main" id="{06BB9F1A-E928-B51C-7C1F-1D688897D04C}"/>
                </a:ext>
              </a:extLst>
            </p:cNvPr>
            <p:cNvSpPr/>
            <p:nvPr userDrawn="1"/>
          </p:nvSpPr>
          <p:spPr bwMode="gray">
            <a:xfrm>
              <a:off x="723012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08" name="Rechteck 407">
              <a:extLst>
                <a:ext uri="{FF2B5EF4-FFF2-40B4-BE49-F238E27FC236}">
                  <a16:creationId xmlns:a16="http://schemas.microsoft.com/office/drawing/2014/main" id="{83FB06E2-1065-6F15-8706-1D838053E659}"/>
                </a:ext>
              </a:extLst>
            </p:cNvPr>
            <p:cNvSpPr/>
            <p:nvPr userDrawn="1"/>
          </p:nvSpPr>
          <p:spPr bwMode="gray">
            <a:xfrm>
              <a:off x="665406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09" name="Rechteck 408">
              <a:extLst>
                <a:ext uri="{FF2B5EF4-FFF2-40B4-BE49-F238E27FC236}">
                  <a16:creationId xmlns:a16="http://schemas.microsoft.com/office/drawing/2014/main" id="{CC6FB027-B39F-FC46-1156-447AD73FC30B}"/>
                </a:ext>
              </a:extLst>
            </p:cNvPr>
            <p:cNvSpPr/>
            <p:nvPr userDrawn="1"/>
          </p:nvSpPr>
          <p:spPr bwMode="gray">
            <a:xfrm>
              <a:off x="607800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10" name="Rechteck 409">
              <a:extLst>
                <a:ext uri="{FF2B5EF4-FFF2-40B4-BE49-F238E27FC236}">
                  <a16:creationId xmlns:a16="http://schemas.microsoft.com/office/drawing/2014/main" id="{B9F84312-3C7E-DB23-A24A-52F4B6D37364}"/>
                </a:ext>
              </a:extLst>
            </p:cNvPr>
            <p:cNvSpPr/>
            <p:nvPr userDrawn="1"/>
          </p:nvSpPr>
          <p:spPr bwMode="gray">
            <a:xfrm>
              <a:off x="550193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11" name="Rechteck 410">
              <a:extLst>
                <a:ext uri="{FF2B5EF4-FFF2-40B4-BE49-F238E27FC236}">
                  <a16:creationId xmlns:a16="http://schemas.microsoft.com/office/drawing/2014/main" id="{A89C164D-8908-CD16-20E6-3227EEA887F8}"/>
                </a:ext>
              </a:extLst>
            </p:cNvPr>
            <p:cNvSpPr/>
            <p:nvPr userDrawn="1"/>
          </p:nvSpPr>
          <p:spPr bwMode="gray">
            <a:xfrm>
              <a:off x="492587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12" name="Rechteck 411">
              <a:extLst>
                <a:ext uri="{FF2B5EF4-FFF2-40B4-BE49-F238E27FC236}">
                  <a16:creationId xmlns:a16="http://schemas.microsoft.com/office/drawing/2014/main" id="{52243A59-6055-D0BA-4D6D-C098E2A366AE}"/>
                </a:ext>
              </a:extLst>
            </p:cNvPr>
            <p:cNvSpPr/>
            <p:nvPr userDrawn="1"/>
          </p:nvSpPr>
          <p:spPr bwMode="gray">
            <a:xfrm>
              <a:off x="434980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13" name="Rechteck 412">
              <a:extLst>
                <a:ext uri="{FF2B5EF4-FFF2-40B4-BE49-F238E27FC236}">
                  <a16:creationId xmlns:a16="http://schemas.microsoft.com/office/drawing/2014/main" id="{91741F6B-BFA9-46A1-1FCC-26997B766558}"/>
                </a:ext>
              </a:extLst>
            </p:cNvPr>
            <p:cNvSpPr/>
            <p:nvPr userDrawn="1"/>
          </p:nvSpPr>
          <p:spPr bwMode="gray">
            <a:xfrm>
              <a:off x="377374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14" name="Rechteck 413">
              <a:extLst>
                <a:ext uri="{FF2B5EF4-FFF2-40B4-BE49-F238E27FC236}">
                  <a16:creationId xmlns:a16="http://schemas.microsoft.com/office/drawing/2014/main" id="{DCB57A32-1B33-0AD4-7ED4-F8F1D2922A78}"/>
                </a:ext>
              </a:extLst>
            </p:cNvPr>
            <p:cNvSpPr/>
            <p:nvPr userDrawn="1"/>
          </p:nvSpPr>
          <p:spPr bwMode="gray">
            <a:xfrm>
              <a:off x="319768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15" name="Rechteck 414">
              <a:extLst>
                <a:ext uri="{FF2B5EF4-FFF2-40B4-BE49-F238E27FC236}">
                  <a16:creationId xmlns:a16="http://schemas.microsoft.com/office/drawing/2014/main" id="{2C9C24BB-E176-8027-BA0A-C91AC765870F}"/>
                </a:ext>
              </a:extLst>
            </p:cNvPr>
            <p:cNvSpPr/>
            <p:nvPr userDrawn="1"/>
          </p:nvSpPr>
          <p:spPr bwMode="gray">
            <a:xfrm>
              <a:off x="262161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16" name="Rechteck 415">
              <a:extLst>
                <a:ext uri="{FF2B5EF4-FFF2-40B4-BE49-F238E27FC236}">
                  <a16:creationId xmlns:a16="http://schemas.microsoft.com/office/drawing/2014/main" id="{281F537D-31F4-37D0-4CC3-28F1B17B7EBF}"/>
                </a:ext>
              </a:extLst>
            </p:cNvPr>
            <p:cNvSpPr/>
            <p:nvPr userDrawn="1"/>
          </p:nvSpPr>
          <p:spPr bwMode="gray">
            <a:xfrm>
              <a:off x="204555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17" name="Rechteck 416">
              <a:extLst>
                <a:ext uri="{FF2B5EF4-FFF2-40B4-BE49-F238E27FC236}">
                  <a16:creationId xmlns:a16="http://schemas.microsoft.com/office/drawing/2014/main" id="{D444915F-2391-9654-869C-6FEE98313915}"/>
                </a:ext>
              </a:extLst>
            </p:cNvPr>
            <p:cNvSpPr/>
            <p:nvPr userDrawn="1"/>
          </p:nvSpPr>
          <p:spPr bwMode="gray">
            <a:xfrm>
              <a:off x="146948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18" name="Rechteck 417">
              <a:extLst>
                <a:ext uri="{FF2B5EF4-FFF2-40B4-BE49-F238E27FC236}">
                  <a16:creationId xmlns:a16="http://schemas.microsoft.com/office/drawing/2014/main" id="{E88F791F-C3AD-7482-C2AE-340902A90C5B}"/>
                </a:ext>
              </a:extLst>
            </p:cNvPr>
            <p:cNvSpPr/>
            <p:nvPr userDrawn="1"/>
          </p:nvSpPr>
          <p:spPr bwMode="gray">
            <a:xfrm>
              <a:off x="89342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19" name="Rechteck 418">
              <a:extLst>
                <a:ext uri="{FF2B5EF4-FFF2-40B4-BE49-F238E27FC236}">
                  <a16:creationId xmlns:a16="http://schemas.microsoft.com/office/drawing/2014/main" id="{69DB140F-91C4-8A64-E62A-C3C17AA99747}"/>
                </a:ext>
              </a:extLst>
            </p:cNvPr>
            <p:cNvSpPr/>
            <p:nvPr userDrawn="1"/>
          </p:nvSpPr>
          <p:spPr bwMode="gray">
            <a:xfrm>
              <a:off x="31736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20" name="Rechteck 419">
              <a:extLst>
                <a:ext uri="{FF2B5EF4-FFF2-40B4-BE49-F238E27FC236}">
                  <a16:creationId xmlns:a16="http://schemas.microsoft.com/office/drawing/2014/main" id="{0047327B-E581-5A8F-18DC-A88198390003}"/>
                </a:ext>
              </a:extLst>
            </p:cNvPr>
            <p:cNvSpPr/>
            <p:nvPr userDrawn="1"/>
          </p:nvSpPr>
          <p:spPr bwMode="gray">
            <a:xfrm>
              <a:off x="1126257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21" name="Rechteck 420">
              <a:extLst>
                <a:ext uri="{FF2B5EF4-FFF2-40B4-BE49-F238E27FC236}">
                  <a16:creationId xmlns:a16="http://schemas.microsoft.com/office/drawing/2014/main" id="{4BEB2568-0C0C-7C60-ED53-EFB6250A4FD4}"/>
                </a:ext>
              </a:extLst>
            </p:cNvPr>
            <p:cNvSpPr/>
            <p:nvPr userDrawn="1"/>
          </p:nvSpPr>
          <p:spPr bwMode="gray">
            <a:xfrm>
              <a:off x="1068651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22" name="Rechteck 421">
              <a:extLst>
                <a:ext uri="{FF2B5EF4-FFF2-40B4-BE49-F238E27FC236}">
                  <a16:creationId xmlns:a16="http://schemas.microsoft.com/office/drawing/2014/main" id="{CAD2991D-9DBE-59CD-B355-5A4C3E16F2C0}"/>
                </a:ext>
              </a:extLst>
            </p:cNvPr>
            <p:cNvSpPr/>
            <p:nvPr userDrawn="1"/>
          </p:nvSpPr>
          <p:spPr bwMode="gray">
            <a:xfrm>
              <a:off x="1011044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23" name="Rechteck 422">
              <a:extLst>
                <a:ext uri="{FF2B5EF4-FFF2-40B4-BE49-F238E27FC236}">
                  <a16:creationId xmlns:a16="http://schemas.microsoft.com/office/drawing/2014/main" id="{8AA9DADD-7AD3-612E-4C19-F6B64670A13F}"/>
                </a:ext>
              </a:extLst>
            </p:cNvPr>
            <p:cNvSpPr/>
            <p:nvPr userDrawn="1"/>
          </p:nvSpPr>
          <p:spPr bwMode="gray">
            <a:xfrm>
              <a:off x="953438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24" name="Rechteck 423">
              <a:extLst>
                <a:ext uri="{FF2B5EF4-FFF2-40B4-BE49-F238E27FC236}">
                  <a16:creationId xmlns:a16="http://schemas.microsoft.com/office/drawing/2014/main" id="{ED791ABC-1C65-B645-4237-9D894F96003E}"/>
                </a:ext>
              </a:extLst>
            </p:cNvPr>
            <p:cNvSpPr/>
            <p:nvPr userDrawn="1"/>
          </p:nvSpPr>
          <p:spPr bwMode="gray">
            <a:xfrm>
              <a:off x="895832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25" name="Rechteck 424">
              <a:extLst>
                <a:ext uri="{FF2B5EF4-FFF2-40B4-BE49-F238E27FC236}">
                  <a16:creationId xmlns:a16="http://schemas.microsoft.com/office/drawing/2014/main" id="{B30F6B30-EE3E-338A-ACE4-213CB33E1D04}"/>
                </a:ext>
              </a:extLst>
            </p:cNvPr>
            <p:cNvSpPr/>
            <p:nvPr userDrawn="1"/>
          </p:nvSpPr>
          <p:spPr bwMode="gray">
            <a:xfrm>
              <a:off x="838225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26" name="Rechteck 425">
              <a:extLst>
                <a:ext uri="{FF2B5EF4-FFF2-40B4-BE49-F238E27FC236}">
                  <a16:creationId xmlns:a16="http://schemas.microsoft.com/office/drawing/2014/main" id="{30CFEB06-87A6-03C6-2FEB-B9017EA909BD}"/>
                </a:ext>
              </a:extLst>
            </p:cNvPr>
            <p:cNvSpPr/>
            <p:nvPr userDrawn="1"/>
          </p:nvSpPr>
          <p:spPr bwMode="gray">
            <a:xfrm>
              <a:off x="780619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27" name="Rechteck 426">
              <a:extLst>
                <a:ext uri="{FF2B5EF4-FFF2-40B4-BE49-F238E27FC236}">
                  <a16:creationId xmlns:a16="http://schemas.microsoft.com/office/drawing/2014/main" id="{487BCAAF-D755-2EB2-248E-FB50A95D7EB9}"/>
                </a:ext>
              </a:extLst>
            </p:cNvPr>
            <p:cNvSpPr/>
            <p:nvPr userDrawn="1"/>
          </p:nvSpPr>
          <p:spPr bwMode="gray">
            <a:xfrm>
              <a:off x="723012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28" name="Rechteck 427">
              <a:extLst>
                <a:ext uri="{FF2B5EF4-FFF2-40B4-BE49-F238E27FC236}">
                  <a16:creationId xmlns:a16="http://schemas.microsoft.com/office/drawing/2014/main" id="{96527860-23C2-C6C4-FAAF-556140F96AB0}"/>
                </a:ext>
              </a:extLst>
            </p:cNvPr>
            <p:cNvSpPr/>
            <p:nvPr userDrawn="1"/>
          </p:nvSpPr>
          <p:spPr bwMode="gray">
            <a:xfrm>
              <a:off x="665406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29" name="Rechteck 428">
              <a:extLst>
                <a:ext uri="{FF2B5EF4-FFF2-40B4-BE49-F238E27FC236}">
                  <a16:creationId xmlns:a16="http://schemas.microsoft.com/office/drawing/2014/main" id="{95BB4A34-EFAC-1FD8-B034-ED6B607BFC43}"/>
                </a:ext>
              </a:extLst>
            </p:cNvPr>
            <p:cNvSpPr/>
            <p:nvPr userDrawn="1"/>
          </p:nvSpPr>
          <p:spPr bwMode="gray">
            <a:xfrm>
              <a:off x="607800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30" name="Rechteck 429">
              <a:extLst>
                <a:ext uri="{FF2B5EF4-FFF2-40B4-BE49-F238E27FC236}">
                  <a16:creationId xmlns:a16="http://schemas.microsoft.com/office/drawing/2014/main" id="{985CF680-DF9F-FC8D-FD90-1FC93DD70E6B}"/>
                </a:ext>
              </a:extLst>
            </p:cNvPr>
            <p:cNvSpPr/>
            <p:nvPr userDrawn="1"/>
          </p:nvSpPr>
          <p:spPr bwMode="gray">
            <a:xfrm>
              <a:off x="550193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31" name="Rechteck 430">
              <a:extLst>
                <a:ext uri="{FF2B5EF4-FFF2-40B4-BE49-F238E27FC236}">
                  <a16:creationId xmlns:a16="http://schemas.microsoft.com/office/drawing/2014/main" id="{6356689C-C154-B5D2-5F8E-716D70E0796D}"/>
                </a:ext>
              </a:extLst>
            </p:cNvPr>
            <p:cNvSpPr/>
            <p:nvPr userDrawn="1"/>
          </p:nvSpPr>
          <p:spPr bwMode="gray">
            <a:xfrm>
              <a:off x="492587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32" name="Rechteck 431">
              <a:extLst>
                <a:ext uri="{FF2B5EF4-FFF2-40B4-BE49-F238E27FC236}">
                  <a16:creationId xmlns:a16="http://schemas.microsoft.com/office/drawing/2014/main" id="{9A7BA83A-25DF-E638-6B30-74DD3BD8462C}"/>
                </a:ext>
              </a:extLst>
            </p:cNvPr>
            <p:cNvSpPr/>
            <p:nvPr userDrawn="1"/>
          </p:nvSpPr>
          <p:spPr bwMode="gray">
            <a:xfrm>
              <a:off x="434980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33" name="Rechteck 432">
              <a:extLst>
                <a:ext uri="{FF2B5EF4-FFF2-40B4-BE49-F238E27FC236}">
                  <a16:creationId xmlns:a16="http://schemas.microsoft.com/office/drawing/2014/main" id="{EF67970E-F893-B40F-81F9-A2A19F253D8D}"/>
                </a:ext>
              </a:extLst>
            </p:cNvPr>
            <p:cNvSpPr/>
            <p:nvPr userDrawn="1"/>
          </p:nvSpPr>
          <p:spPr bwMode="gray">
            <a:xfrm>
              <a:off x="377374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34" name="Rechteck 433">
              <a:extLst>
                <a:ext uri="{FF2B5EF4-FFF2-40B4-BE49-F238E27FC236}">
                  <a16:creationId xmlns:a16="http://schemas.microsoft.com/office/drawing/2014/main" id="{4C05C191-4669-DCD3-DEF9-2EFB098D5D09}"/>
                </a:ext>
              </a:extLst>
            </p:cNvPr>
            <p:cNvSpPr/>
            <p:nvPr userDrawn="1"/>
          </p:nvSpPr>
          <p:spPr bwMode="gray">
            <a:xfrm>
              <a:off x="319768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35" name="Rechteck 434">
              <a:extLst>
                <a:ext uri="{FF2B5EF4-FFF2-40B4-BE49-F238E27FC236}">
                  <a16:creationId xmlns:a16="http://schemas.microsoft.com/office/drawing/2014/main" id="{0C742378-3D5F-2EBD-2376-4164D5AB84D8}"/>
                </a:ext>
              </a:extLst>
            </p:cNvPr>
            <p:cNvSpPr/>
            <p:nvPr userDrawn="1"/>
          </p:nvSpPr>
          <p:spPr bwMode="gray">
            <a:xfrm>
              <a:off x="262161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36" name="Rechteck 435">
              <a:extLst>
                <a:ext uri="{FF2B5EF4-FFF2-40B4-BE49-F238E27FC236}">
                  <a16:creationId xmlns:a16="http://schemas.microsoft.com/office/drawing/2014/main" id="{EDE2541F-D383-B2B7-CB4B-1E7711E37395}"/>
                </a:ext>
              </a:extLst>
            </p:cNvPr>
            <p:cNvSpPr/>
            <p:nvPr userDrawn="1"/>
          </p:nvSpPr>
          <p:spPr bwMode="gray">
            <a:xfrm>
              <a:off x="204555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37" name="Rechteck 436">
              <a:extLst>
                <a:ext uri="{FF2B5EF4-FFF2-40B4-BE49-F238E27FC236}">
                  <a16:creationId xmlns:a16="http://schemas.microsoft.com/office/drawing/2014/main" id="{0DFE596F-6BD3-CC8E-2CDA-3365DCFC9A33}"/>
                </a:ext>
              </a:extLst>
            </p:cNvPr>
            <p:cNvSpPr/>
            <p:nvPr userDrawn="1"/>
          </p:nvSpPr>
          <p:spPr bwMode="gray">
            <a:xfrm>
              <a:off x="146948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38" name="Rechteck 437">
              <a:extLst>
                <a:ext uri="{FF2B5EF4-FFF2-40B4-BE49-F238E27FC236}">
                  <a16:creationId xmlns:a16="http://schemas.microsoft.com/office/drawing/2014/main" id="{A25E979B-13A5-0F5C-5478-BF1D1F20E01A}"/>
                </a:ext>
              </a:extLst>
            </p:cNvPr>
            <p:cNvSpPr/>
            <p:nvPr userDrawn="1"/>
          </p:nvSpPr>
          <p:spPr bwMode="gray">
            <a:xfrm>
              <a:off x="89342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39" name="Rechteck 438">
              <a:extLst>
                <a:ext uri="{FF2B5EF4-FFF2-40B4-BE49-F238E27FC236}">
                  <a16:creationId xmlns:a16="http://schemas.microsoft.com/office/drawing/2014/main" id="{2C01381D-D1E8-6E53-D685-F37CEF488C65}"/>
                </a:ext>
              </a:extLst>
            </p:cNvPr>
            <p:cNvSpPr/>
            <p:nvPr userDrawn="1"/>
          </p:nvSpPr>
          <p:spPr bwMode="gray">
            <a:xfrm>
              <a:off x="31736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40" name="Rechteck 439">
              <a:extLst>
                <a:ext uri="{FF2B5EF4-FFF2-40B4-BE49-F238E27FC236}">
                  <a16:creationId xmlns:a16="http://schemas.microsoft.com/office/drawing/2014/main" id="{2EE9D937-167F-802B-4068-CF3D3363C448}"/>
                </a:ext>
              </a:extLst>
            </p:cNvPr>
            <p:cNvSpPr/>
            <p:nvPr userDrawn="1"/>
          </p:nvSpPr>
          <p:spPr bwMode="gray">
            <a:xfrm>
              <a:off x="1126257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41" name="Rechteck 440">
              <a:extLst>
                <a:ext uri="{FF2B5EF4-FFF2-40B4-BE49-F238E27FC236}">
                  <a16:creationId xmlns:a16="http://schemas.microsoft.com/office/drawing/2014/main" id="{6F2E16EC-4E07-401A-8870-6ED611BEF906}"/>
                </a:ext>
              </a:extLst>
            </p:cNvPr>
            <p:cNvSpPr/>
            <p:nvPr userDrawn="1"/>
          </p:nvSpPr>
          <p:spPr bwMode="gray">
            <a:xfrm>
              <a:off x="1068651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42" name="Rechteck 441">
              <a:extLst>
                <a:ext uri="{FF2B5EF4-FFF2-40B4-BE49-F238E27FC236}">
                  <a16:creationId xmlns:a16="http://schemas.microsoft.com/office/drawing/2014/main" id="{8F09EDA1-1247-06B0-CCA1-F60F3BCCF6B0}"/>
                </a:ext>
              </a:extLst>
            </p:cNvPr>
            <p:cNvSpPr/>
            <p:nvPr userDrawn="1"/>
          </p:nvSpPr>
          <p:spPr bwMode="gray">
            <a:xfrm>
              <a:off x="1011044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43" name="Rechteck 442">
              <a:extLst>
                <a:ext uri="{FF2B5EF4-FFF2-40B4-BE49-F238E27FC236}">
                  <a16:creationId xmlns:a16="http://schemas.microsoft.com/office/drawing/2014/main" id="{7B87F17B-4914-2111-1797-EDCFB1EBE718}"/>
                </a:ext>
              </a:extLst>
            </p:cNvPr>
            <p:cNvSpPr/>
            <p:nvPr userDrawn="1"/>
          </p:nvSpPr>
          <p:spPr bwMode="gray">
            <a:xfrm>
              <a:off x="953438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44" name="Rechteck 443">
              <a:extLst>
                <a:ext uri="{FF2B5EF4-FFF2-40B4-BE49-F238E27FC236}">
                  <a16:creationId xmlns:a16="http://schemas.microsoft.com/office/drawing/2014/main" id="{D84AB883-229C-0245-F65D-793D539DD63F}"/>
                </a:ext>
              </a:extLst>
            </p:cNvPr>
            <p:cNvSpPr/>
            <p:nvPr userDrawn="1"/>
          </p:nvSpPr>
          <p:spPr bwMode="gray">
            <a:xfrm>
              <a:off x="895832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45" name="Rechteck 444">
              <a:extLst>
                <a:ext uri="{FF2B5EF4-FFF2-40B4-BE49-F238E27FC236}">
                  <a16:creationId xmlns:a16="http://schemas.microsoft.com/office/drawing/2014/main" id="{AFE62772-955F-F8BB-5C88-5B8564E9F6DC}"/>
                </a:ext>
              </a:extLst>
            </p:cNvPr>
            <p:cNvSpPr/>
            <p:nvPr userDrawn="1"/>
          </p:nvSpPr>
          <p:spPr bwMode="gray">
            <a:xfrm>
              <a:off x="838225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46" name="Rechteck 445">
              <a:extLst>
                <a:ext uri="{FF2B5EF4-FFF2-40B4-BE49-F238E27FC236}">
                  <a16:creationId xmlns:a16="http://schemas.microsoft.com/office/drawing/2014/main" id="{A8746817-FB8E-3080-E10D-C9FC2FACDCEF}"/>
                </a:ext>
              </a:extLst>
            </p:cNvPr>
            <p:cNvSpPr/>
            <p:nvPr userDrawn="1"/>
          </p:nvSpPr>
          <p:spPr bwMode="gray">
            <a:xfrm>
              <a:off x="780619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47" name="Rechteck 446">
              <a:extLst>
                <a:ext uri="{FF2B5EF4-FFF2-40B4-BE49-F238E27FC236}">
                  <a16:creationId xmlns:a16="http://schemas.microsoft.com/office/drawing/2014/main" id="{45CB5F68-EB1D-6D42-3194-FE2FAB711828}"/>
                </a:ext>
              </a:extLst>
            </p:cNvPr>
            <p:cNvSpPr/>
            <p:nvPr userDrawn="1"/>
          </p:nvSpPr>
          <p:spPr bwMode="gray">
            <a:xfrm>
              <a:off x="723012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48" name="Rechteck 447">
              <a:extLst>
                <a:ext uri="{FF2B5EF4-FFF2-40B4-BE49-F238E27FC236}">
                  <a16:creationId xmlns:a16="http://schemas.microsoft.com/office/drawing/2014/main" id="{63803731-76B7-CA31-0722-33D389136873}"/>
                </a:ext>
              </a:extLst>
            </p:cNvPr>
            <p:cNvSpPr/>
            <p:nvPr userDrawn="1"/>
          </p:nvSpPr>
          <p:spPr bwMode="gray">
            <a:xfrm>
              <a:off x="665406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49" name="Rechteck 448">
              <a:extLst>
                <a:ext uri="{FF2B5EF4-FFF2-40B4-BE49-F238E27FC236}">
                  <a16:creationId xmlns:a16="http://schemas.microsoft.com/office/drawing/2014/main" id="{957E74FA-5FA1-79D2-5BDC-347A173C741C}"/>
                </a:ext>
              </a:extLst>
            </p:cNvPr>
            <p:cNvSpPr/>
            <p:nvPr userDrawn="1"/>
          </p:nvSpPr>
          <p:spPr bwMode="gray">
            <a:xfrm>
              <a:off x="607800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50" name="Rechteck 449">
              <a:extLst>
                <a:ext uri="{FF2B5EF4-FFF2-40B4-BE49-F238E27FC236}">
                  <a16:creationId xmlns:a16="http://schemas.microsoft.com/office/drawing/2014/main" id="{91FC935A-78B4-8207-5B93-89AF8B003EC4}"/>
                </a:ext>
              </a:extLst>
            </p:cNvPr>
            <p:cNvSpPr/>
            <p:nvPr userDrawn="1"/>
          </p:nvSpPr>
          <p:spPr bwMode="gray">
            <a:xfrm>
              <a:off x="550193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51" name="Rechteck 450">
              <a:extLst>
                <a:ext uri="{FF2B5EF4-FFF2-40B4-BE49-F238E27FC236}">
                  <a16:creationId xmlns:a16="http://schemas.microsoft.com/office/drawing/2014/main" id="{8B00A5B6-94EC-167B-AABF-A61EDB2B6E9B}"/>
                </a:ext>
              </a:extLst>
            </p:cNvPr>
            <p:cNvSpPr/>
            <p:nvPr userDrawn="1"/>
          </p:nvSpPr>
          <p:spPr bwMode="gray">
            <a:xfrm>
              <a:off x="492587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52" name="Rechteck 451">
              <a:extLst>
                <a:ext uri="{FF2B5EF4-FFF2-40B4-BE49-F238E27FC236}">
                  <a16:creationId xmlns:a16="http://schemas.microsoft.com/office/drawing/2014/main" id="{DF85AEA1-11AB-411E-181D-0F78BCC637D7}"/>
                </a:ext>
              </a:extLst>
            </p:cNvPr>
            <p:cNvSpPr/>
            <p:nvPr userDrawn="1"/>
          </p:nvSpPr>
          <p:spPr bwMode="gray">
            <a:xfrm>
              <a:off x="434980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53" name="Rechteck 452">
              <a:extLst>
                <a:ext uri="{FF2B5EF4-FFF2-40B4-BE49-F238E27FC236}">
                  <a16:creationId xmlns:a16="http://schemas.microsoft.com/office/drawing/2014/main" id="{4D864F37-BB63-E3EA-75EC-F094331B17E1}"/>
                </a:ext>
              </a:extLst>
            </p:cNvPr>
            <p:cNvSpPr/>
            <p:nvPr userDrawn="1"/>
          </p:nvSpPr>
          <p:spPr bwMode="gray">
            <a:xfrm>
              <a:off x="377374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54" name="Rechteck 453">
              <a:extLst>
                <a:ext uri="{FF2B5EF4-FFF2-40B4-BE49-F238E27FC236}">
                  <a16:creationId xmlns:a16="http://schemas.microsoft.com/office/drawing/2014/main" id="{55BFC3C8-920F-0ED5-67A0-A52057681B3A}"/>
                </a:ext>
              </a:extLst>
            </p:cNvPr>
            <p:cNvSpPr/>
            <p:nvPr userDrawn="1"/>
          </p:nvSpPr>
          <p:spPr bwMode="gray">
            <a:xfrm>
              <a:off x="319768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55" name="Rechteck 454">
              <a:extLst>
                <a:ext uri="{FF2B5EF4-FFF2-40B4-BE49-F238E27FC236}">
                  <a16:creationId xmlns:a16="http://schemas.microsoft.com/office/drawing/2014/main" id="{A851B47C-E8DF-5C46-A75D-83300091428E}"/>
                </a:ext>
              </a:extLst>
            </p:cNvPr>
            <p:cNvSpPr/>
            <p:nvPr userDrawn="1"/>
          </p:nvSpPr>
          <p:spPr bwMode="gray">
            <a:xfrm>
              <a:off x="262161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56" name="Rechteck 455">
              <a:extLst>
                <a:ext uri="{FF2B5EF4-FFF2-40B4-BE49-F238E27FC236}">
                  <a16:creationId xmlns:a16="http://schemas.microsoft.com/office/drawing/2014/main" id="{6C833D9A-1876-1757-1852-D33C8D44D1E8}"/>
                </a:ext>
              </a:extLst>
            </p:cNvPr>
            <p:cNvSpPr/>
            <p:nvPr userDrawn="1"/>
          </p:nvSpPr>
          <p:spPr bwMode="gray">
            <a:xfrm>
              <a:off x="204555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57" name="Rechteck 456">
              <a:extLst>
                <a:ext uri="{FF2B5EF4-FFF2-40B4-BE49-F238E27FC236}">
                  <a16:creationId xmlns:a16="http://schemas.microsoft.com/office/drawing/2014/main" id="{9F148829-1AAF-580C-E95D-FBC5B840EBDF}"/>
                </a:ext>
              </a:extLst>
            </p:cNvPr>
            <p:cNvSpPr/>
            <p:nvPr userDrawn="1"/>
          </p:nvSpPr>
          <p:spPr bwMode="gray">
            <a:xfrm>
              <a:off x="146948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58" name="Rechteck 457">
              <a:extLst>
                <a:ext uri="{FF2B5EF4-FFF2-40B4-BE49-F238E27FC236}">
                  <a16:creationId xmlns:a16="http://schemas.microsoft.com/office/drawing/2014/main" id="{EB2D2870-5C17-3854-5994-71AD3D36D0A5}"/>
                </a:ext>
              </a:extLst>
            </p:cNvPr>
            <p:cNvSpPr/>
            <p:nvPr userDrawn="1"/>
          </p:nvSpPr>
          <p:spPr bwMode="gray">
            <a:xfrm>
              <a:off x="89342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59" name="Rechteck 458">
              <a:extLst>
                <a:ext uri="{FF2B5EF4-FFF2-40B4-BE49-F238E27FC236}">
                  <a16:creationId xmlns:a16="http://schemas.microsoft.com/office/drawing/2014/main" id="{2445CAE6-04E0-9FDD-2F20-0FBEEBA65E92}"/>
                </a:ext>
              </a:extLst>
            </p:cNvPr>
            <p:cNvSpPr/>
            <p:nvPr userDrawn="1"/>
          </p:nvSpPr>
          <p:spPr bwMode="gray">
            <a:xfrm>
              <a:off x="31736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0" name="Rechteck 459">
              <a:extLst>
                <a:ext uri="{FF2B5EF4-FFF2-40B4-BE49-F238E27FC236}">
                  <a16:creationId xmlns:a16="http://schemas.microsoft.com/office/drawing/2014/main" id="{A0F02605-85DB-7D08-18B3-D919DF8BA207}"/>
                </a:ext>
              </a:extLst>
            </p:cNvPr>
            <p:cNvSpPr/>
            <p:nvPr userDrawn="1"/>
          </p:nvSpPr>
          <p:spPr bwMode="gray">
            <a:xfrm>
              <a:off x="1126257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1" name="Rechteck 460">
              <a:extLst>
                <a:ext uri="{FF2B5EF4-FFF2-40B4-BE49-F238E27FC236}">
                  <a16:creationId xmlns:a16="http://schemas.microsoft.com/office/drawing/2014/main" id="{54BDA29D-9810-6400-5577-6D1CDDA5E9CD}"/>
                </a:ext>
              </a:extLst>
            </p:cNvPr>
            <p:cNvSpPr/>
            <p:nvPr userDrawn="1"/>
          </p:nvSpPr>
          <p:spPr bwMode="gray">
            <a:xfrm>
              <a:off x="1068651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2" name="Rechteck 461">
              <a:extLst>
                <a:ext uri="{FF2B5EF4-FFF2-40B4-BE49-F238E27FC236}">
                  <a16:creationId xmlns:a16="http://schemas.microsoft.com/office/drawing/2014/main" id="{A3365CA3-0FCA-6BA6-1491-807ED3CDD0AC}"/>
                </a:ext>
              </a:extLst>
            </p:cNvPr>
            <p:cNvSpPr/>
            <p:nvPr userDrawn="1"/>
          </p:nvSpPr>
          <p:spPr bwMode="gray">
            <a:xfrm>
              <a:off x="1011044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3" name="Rechteck 462">
              <a:extLst>
                <a:ext uri="{FF2B5EF4-FFF2-40B4-BE49-F238E27FC236}">
                  <a16:creationId xmlns:a16="http://schemas.microsoft.com/office/drawing/2014/main" id="{42D0014B-0417-062D-95DA-7CEC027515E7}"/>
                </a:ext>
              </a:extLst>
            </p:cNvPr>
            <p:cNvSpPr/>
            <p:nvPr userDrawn="1"/>
          </p:nvSpPr>
          <p:spPr bwMode="gray">
            <a:xfrm>
              <a:off x="953438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4" name="Rechteck 463">
              <a:extLst>
                <a:ext uri="{FF2B5EF4-FFF2-40B4-BE49-F238E27FC236}">
                  <a16:creationId xmlns:a16="http://schemas.microsoft.com/office/drawing/2014/main" id="{2DFC1326-03DD-CE82-9C78-2BB759CDA6F1}"/>
                </a:ext>
              </a:extLst>
            </p:cNvPr>
            <p:cNvSpPr/>
            <p:nvPr userDrawn="1"/>
          </p:nvSpPr>
          <p:spPr bwMode="gray">
            <a:xfrm>
              <a:off x="895832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5" name="Rechteck 464">
              <a:extLst>
                <a:ext uri="{FF2B5EF4-FFF2-40B4-BE49-F238E27FC236}">
                  <a16:creationId xmlns:a16="http://schemas.microsoft.com/office/drawing/2014/main" id="{4A73BDD0-0411-7B05-21BF-7214C4DCF7EC}"/>
                </a:ext>
              </a:extLst>
            </p:cNvPr>
            <p:cNvSpPr/>
            <p:nvPr userDrawn="1"/>
          </p:nvSpPr>
          <p:spPr bwMode="gray">
            <a:xfrm>
              <a:off x="838225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6" name="Rechteck 465">
              <a:extLst>
                <a:ext uri="{FF2B5EF4-FFF2-40B4-BE49-F238E27FC236}">
                  <a16:creationId xmlns:a16="http://schemas.microsoft.com/office/drawing/2014/main" id="{7E7675FD-4CBC-27F3-1394-6ED528FA577A}"/>
                </a:ext>
              </a:extLst>
            </p:cNvPr>
            <p:cNvSpPr/>
            <p:nvPr userDrawn="1"/>
          </p:nvSpPr>
          <p:spPr bwMode="gray">
            <a:xfrm>
              <a:off x="780619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7" name="Rechteck 466">
              <a:extLst>
                <a:ext uri="{FF2B5EF4-FFF2-40B4-BE49-F238E27FC236}">
                  <a16:creationId xmlns:a16="http://schemas.microsoft.com/office/drawing/2014/main" id="{C185ECDA-60E7-0591-F932-85AFA40C583D}"/>
                </a:ext>
              </a:extLst>
            </p:cNvPr>
            <p:cNvSpPr/>
            <p:nvPr userDrawn="1"/>
          </p:nvSpPr>
          <p:spPr bwMode="gray">
            <a:xfrm>
              <a:off x="723012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8" name="Rechteck 467">
              <a:extLst>
                <a:ext uri="{FF2B5EF4-FFF2-40B4-BE49-F238E27FC236}">
                  <a16:creationId xmlns:a16="http://schemas.microsoft.com/office/drawing/2014/main" id="{3B34091A-1622-22C5-24F4-8CA1B23D55E8}"/>
                </a:ext>
              </a:extLst>
            </p:cNvPr>
            <p:cNvSpPr/>
            <p:nvPr userDrawn="1"/>
          </p:nvSpPr>
          <p:spPr bwMode="gray">
            <a:xfrm>
              <a:off x="665406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9" name="Rechteck 468">
              <a:extLst>
                <a:ext uri="{FF2B5EF4-FFF2-40B4-BE49-F238E27FC236}">
                  <a16:creationId xmlns:a16="http://schemas.microsoft.com/office/drawing/2014/main" id="{62C745D6-D842-AA7D-F36F-11E4521CE35C}"/>
                </a:ext>
              </a:extLst>
            </p:cNvPr>
            <p:cNvSpPr/>
            <p:nvPr userDrawn="1"/>
          </p:nvSpPr>
          <p:spPr bwMode="gray">
            <a:xfrm>
              <a:off x="607800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0" name="Rechteck 469">
              <a:extLst>
                <a:ext uri="{FF2B5EF4-FFF2-40B4-BE49-F238E27FC236}">
                  <a16:creationId xmlns:a16="http://schemas.microsoft.com/office/drawing/2014/main" id="{EB1AD898-EC0A-5F48-4C60-55E54AE9D539}"/>
                </a:ext>
              </a:extLst>
            </p:cNvPr>
            <p:cNvSpPr/>
            <p:nvPr userDrawn="1"/>
          </p:nvSpPr>
          <p:spPr bwMode="gray">
            <a:xfrm>
              <a:off x="550193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1" name="Rechteck 470">
              <a:extLst>
                <a:ext uri="{FF2B5EF4-FFF2-40B4-BE49-F238E27FC236}">
                  <a16:creationId xmlns:a16="http://schemas.microsoft.com/office/drawing/2014/main" id="{D510243F-DC39-D6D3-1921-AD59F1380AB8}"/>
                </a:ext>
              </a:extLst>
            </p:cNvPr>
            <p:cNvSpPr/>
            <p:nvPr userDrawn="1"/>
          </p:nvSpPr>
          <p:spPr bwMode="gray">
            <a:xfrm>
              <a:off x="492587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2" name="Rechteck 471">
              <a:extLst>
                <a:ext uri="{FF2B5EF4-FFF2-40B4-BE49-F238E27FC236}">
                  <a16:creationId xmlns:a16="http://schemas.microsoft.com/office/drawing/2014/main" id="{3C63C9E5-8DFB-A0D0-B939-8A1A4C03A1C4}"/>
                </a:ext>
              </a:extLst>
            </p:cNvPr>
            <p:cNvSpPr/>
            <p:nvPr userDrawn="1"/>
          </p:nvSpPr>
          <p:spPr bwMode="gray">
            <a:xfrm>
              <a:off x="434980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3" name="Rechteck 472">
              <a:extLst>
                <a:ext uri="{FF2B5EF4-FFF2-40B4-BE49-F238E27FC236}">
                  <a16:creationId xmlns:a16="http://schemas.microsoft.com/office/drawing/2014/main" id="{DD0B09ED-4C1A-4B2C-770B-F20E42004FF7}"/>
                </a:ext>
              </a:extLst>
            </p:cNvPr>
            <p:cNvSpPr/>
            <p:nvPr userDrawn="1"/>
          </p:nvSpPr>
          <p:spPr bwMode="gray">
            <a:xfrm>
              <a:off x="377374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4" name="Rechteck 473">
              <a:extLst>
                <a:ext uri="{FF2B5EF4-FFF2-40B4-BE49-F238E27FC236}">
                  <a16:creationId xmlns:a16="http://schemas.microsoft.com/office/drawing/2014/main" id="{4720B075-3C88-0998-AA15-371BE1E322C9}"/>
                </a:ext>
              </a:extLst>
            </p:cNvPr>
            <p:cNvSpPr/>
            <p:nvPr userDrawn="1"/>
          </p:nvSpPr>
          <p:spPr bwMode="gray">
            <a:xfrm>
              <a:off x="319768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5" name="Rechteck 474">
              <a:extLst>
                <a:ext uri="{FF2B5EF4-FFF2-40B4-BE49-F238E27FC236}">
                  <a16:creationId xmlns:a16="http://schemas.microsoft.com/office/drawing/2014/main" id="{980FE126-3490-CDFD-3AEE-21FAE9172D4E}"/>
                </a:ext>
              </a:extLst>
            </p:cNvPr>
            <p:cNvSpPr/>
            <p:nvPr userDrawn="1"/>
          </p:nvSpPr>
          <p:spPr bwMode="gray">
            <a:xfrm>
              <a:off x="262161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6" name="Rechteck 475">
              <a:extLst>
                <a:ext uri="{FF2B5EF4-FFF2-40B4-BE49-F238E27FC236}">
                  <a16:creationId xmlns:a16="http://schemas.microsoft.com/office/drawing/2014/main" id="{D348BE69-FD1D-CA5E-A01A-BF7337382106}"/>
                </a:ext>
              </a:extLst>
            </p:cNvPr>
            <p:cNvSpPr/>
            <p:nvPr userDrawn="1"/>
          </p:nvSpPr>
          <p:spPr bwMode="gray">
            <a:xfrm>
              <a:off x="204555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7" name="Rechteck 476">
              <a:extLst>
                <a:ext uri="{FF2B5EF4-FFF2-40B4-BE49-F238E27FC236}">
                  <a16:creationId xmlns:a16="http://schemas.microsoft.com/office/drawing/2014/main" id="{A10122E8-C382-B547-75DD-B1C3C5E64CBB}"/>
                </a:ext>
              </a:extLst>
            </p:cNvPr>
            <p:cNvSpPr/>
            <p:nvPr userDrawn="1"/>
          </p:nvSpPr>
          <p:spPr bwMode="gray">
            <a:xfrm>
              <a:off x="146948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8" name="Rechteck 477">
              <a:extLst>
                <a:ext uri="{FF2B5EF4-FFF2-40B4-BE49-F238E27FC236}">
                  <a16:creationId xmlns:a16="http://schemas.microsoft.com/office/drawing/2014/main" id="{D0D65EE5-1C70-9C41-3968-BFAF71A6A0E9}"/>
                </a:ext>
              </a:extLst>
            </p:cNvPr>
            <p:cNvSpPr/>
            <p:nvPr userDrawn="1"/>
          </p:nvSpPr>
          <p:spPr bwMode="gray">
            <a:xfrm>
              <a:off x="89342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9" name="Rechteck 478">
              <a:extLst>
                <a:ext uri="{FF2B5EF4-FFF2-40B4-BE49-F238E27FC236}">
                  <a16:creationId xmlns:a16="http://schemas.microsoft.com/office/drawing/2014/main" id="{5A10EA56-DA7B-AD76-3E3B-BDFD6C6938BF}"/>
                </a:ext>
              </a:extLst>
            </p:cNvPr>
            <p:cNvSpPr/>
            <p:nvPr userDrawn="1"/>
          </p:nvSpPr>
          <p:spPr bwMode="gray">
            <a:xfrm>
              <a:off x="31736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0" name="Rechteck 479">
              <a:extLst>
                <a:ext uri="{FF2B5EF4-FFF2-40B4-BE49-F238E27FC236}">
                  <a16:creationId xmlns:a16="http://schemas.microsoft.com/office/drawing/2014/main" id="{01F485A2-71DE-D917-26B6-824139F607C5}"/>
                </a:ext>
              </a:extLst>
            </p:cNvPr>
            <p:cNvSpPr/>
            <p:nvPr userDrawn="1"/>
          </p:nvSpPr>
          <p:spPr bwMode="gray">
            <a:xfrm>
              <a:off x="1126257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1" name="Rechteck 480">
              <a:extLst>
                <a:ext uri="{FF2B5EF4-FFF2-40B4-BE49-F238E27FC236}">
                  <a16:creationId xmlns:a16="http://schemas.microsoft.com/office/drawing/2014/main" id="{32A8A79A-D129-6CAA-1F7D-E6886AE8A566}"/>
                </a:ext>
              </a:extLst>
            </p:cNvPr>
            <p:cNvSpPr/>
            <p:nvPr userDrawn="1"/>
          </p:nvSpPr>
          <p:spPr bwMode="gray">
            <a:xfrm>
              <a:off x="1068651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2" name="Rechteck 481">
              <a:extLst>
                <a:ext uri="{FF2B5EF4-FFF2-40B4-BE49-F238E27FC236}">
                  <a16:creationId xmlns:a16="http://schemas.microsoft.com/office/drawing/2014/main" id="{B83B9A01-235C-8709-0DFD-D716CCCC00C7}"/>
                </a:ext>
              </a:extLst>
            </p:cNvPr>
            <p:cNvSpPr/>
            <p:nvPr userDrawn="1"/>
          </p:nvSpPr>
          <p:spPr bwMode="gray">
            <a:xfrm>
              <a:off x="1011044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3" name="Rechteck 482">
              <a:extLst>
                <a:ext uri="{FF2B5EF4-FFF2-40B4-BE49-F238E27FC236}">
                  <a16:creationId xmlns:a16="http://schemas.microsoft.com/office/drawing/2014/main" id="{AA75BDF7-206A-3449-183F-E0B9F780C067}"/>
                </a:ext>
              </a:extLst>
            </p:cNvPr>
            <p:cNvSpPr/>
            <p:nvPr userDrawn="1"/>
          </p:nvSpPr>
          <p:spPr bwMode="gray">
            <a:xfrm>
              <a:off x="953438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4" name="Rechteck 483">
              <a:extLst>
                <a:ext uri="{FF2B5EF4-FFF2-40B4-BE49-F238E27FC236}">
                  <a16:creationId xmlns:a16="http://schemas.microsoft.com/office/drawing/2014/main" id="{62302A35-5C9A-3F9F-5A24-19D7C40E7FC2}"/>
                </a:ext>
              </a:extLst>
            </p:cNvPr>
            <p:cNvSpPr/>
            <p:nvPr userDrawn="1"/>
          </p:nvSpPr>
          <p:spPr bwMode="gray">
            <a:xfrm>
              <a:off x="895832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5" name="Rechteck 484">
              <a:extLst>
                <a:ext uri="{FF2B5EF4-FFF2-40B4-BE49-F238E27FC236}">
                  <a16:creationId xmlns:a16="http://schemas.microsoft.com/office/drawing/2014/main" id="{EB47CB6F-06AF-9F88-BFEA-DC76F567101C}"/>
                </a:ext>
              </a:extLst>
            </p:cNvPr>
            <p:cNvSpPr/>
            <p:nvPr userDrawn="1"/>
          </p:nvSpPr>
          <p:spPr bwMode="gray">
            <a:xfrm>
              <a:off x="838225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6" name="Rechteck 485">
              <a:extLst>
                <a:ext uri="{FF2B5EF4-FFF2-40B4-BE49-F238E27FC236}">
                  <a16:creationId xmlns:a16="http://schemas.microsoft.com/office/drawing/2014/main" id="{AFB5B81F-2A67-864C-8B4B-892F1853D7A2}"/>
                </a:ext>
              </a:extLst>
            </p:cNvPr>
            <p:cNvSpPr/>
            <p:nvPr userDrawn="1"/>
          </p:nvSpPr>
          <p:spPr bwMode="gray">
            <a:xfrm>
              <a:off x="780619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7" name="Rechteck 486">
              <a:extLst>
                <a:ext uri="{FF2B5EF4-FFF2-40B4-BE49-F238E27FC236}">
                  <a16:creationId xmlns:a16="http://schemas.microsoft.com/office/drawing/2014/main" id="{109832F4-4B2D-52AC-5273-9BD59642140A}"/>
                </a:ext>
              </a:extLst>
            </p:cNvPr>
            <p:cNvSpPr/>
            <p:nvPr userDrawn="1"/>
          </p:nvSpPr>
          <p:spPr bwMode="gray">
            <a:xfrm>
              <a:off x="723012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8" name="Rechteck 487">
              <a:extLst>
                <a:ext uri="{FF2B5EF4-FFF2-40B4-BE49-F238E27FC236}">
                  <a16:creationId xmlns:a16="http://schemas.microsoft.com/office/drawing/2014/main" id="{85BD5AF2-4FA8-50A4-EAAC-2B55E06F709C}"/>
                </a:ext>
              </a:extLst>
            </p:cNvPr>
            <p:cNvSpPr/>
            <p:nvPr userDrawn="1"/>
          </p:nvSpPr>
          <p:spPr bwMode="gray">
            <a:xfrm>
              <a:off x="665406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9" name="Rechteck 488">
              <a:extLst>
                <a:ext uri="{FF2B5EF4-FFF2-40B4-BE49-F238E27FC236}">
                  <a16:creationId xmlns:a16="http://schemas.microsoft.com/office/drawing/2014/main" id="{AF3CBA34-91D7-297F-1F49-DFA476D86ACB}"/>
                </a:ext>
              </a:extLst>
            </p:cNvPr>
            <p:cNvSpPr/>
            <p:nvPr userDrawn="1"/>
          </p:nvSpPr>
          <p:spPr bwMode="gray">
            <a:xfrm>
              <a:off x="607800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0" name="Rechteck 489">
              <a:extLst>
                <a:ext uri="{FF2B5EF4-FFF2-40B4-BE49-F238E27FC236}">
                  <a16:creationId xmlns:a16="http://schemas.microsoft.com/office/drawing/2014/main" id="{5F480BEF-1443-295B-C04D-4295B8A5B334}"/>
                </a:ext>
              </a:extLst>
            </p:cNvPr>
            <p:cNvSpPr/>
            <p:nvPr userDrawn="1"/>
          </p:nvSpPr>
          <p:spPr bwMode="gray">
            <a:xfrm>
              <a:off x="550193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1" name="Rechteck 490">
              <a:extLst>
                <a:ext uri="{FF2B5EF4-FFF2-40B4-BE49-F238E27FC236}">
                  <a16:creationId xmlns:a16="http://schemas.microsoft.com/office/drawing/2014/main" id="{41E522BA-C3D8-358F-DB19-0D97E695EB51}"/>
                </a:ext>
              </a:extLst>
            </p:cNvPr>
            <p:cNvSpPr/>
            <p:nvPr userDrawn="1"/>
          </p:nvSpPr>
          <p:spPr bwMode="gray">
            <a:xfrm>
              <a:off x="492587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2" name="Rechteck 491">
              <a:extLst>
                <a:ext uri="{FF2B5EF4-FFF2-40B4-BE49-F238E27FC236}">
                  <a16:creationId xmlns:a16="http://schemas.microsoft.com/office/drawing/2014/main" id="{AA2D4AD9-B64F-F3BD-45D0-428BFCAF92C4}"/>
                </a:ext>
              </a:extLst>
            </p:cNvPr>
            <p:cNvSpPr/>
            <p:nvPr userDrawn="1"/>
          </p:nvSpPr>
          <p:spPr bwMode="gray">
            <a:xfrm>
              <a:off x="434980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3" name="Rechteck 492">
              <a:extLst>
                <a:ext uri="{FF2B5EF4-FFF2-40B4-BE49-F238E27FC236}">
                  <a16:creationId xmlns:a16="http://schemas.microsoft.com/office/drawing/2014/main" id="{076956BC-6E00-31AA-3F21-6214CD043A41}"/>
                </a:ext>
              </a:extLst>
            </p:cNvPr>
            <p:cNvSpPr/>
            <p:nvPr userDrawn="1"/>
          </p:nvSpPr>
          <p:spPr bwMode="gray">
            <a:xfrm>
              <a:off x="377374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4" name="Rechteck 493">
              <a:extLst>
                <a:ext uri="{FF2B5EF4-FFF2-40B4-BE49-F238E27FC236}">
                  <a16:creationId xmlns:a16="http://schemas.microsoft.com/office/drawing/2014/main" id="{449F5748-7A35-1D2C-AC24-AD275D651600}"/>
                </a:ext>
              </a:extLst>
            </p:cNvPr>
            <p:cNvSpPr/>
            <p:nvPr userDrawn="1"/>
          </p:nvSpPr>
          <p:spPr bwMode="gray">
            <a:xfrm>
              <a:off x="319768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5" name="Rechteck 494">
              <a:extLst>
                <a:ext uri="{FF2B5EF4-FFF2-40B4-BE49-F238E27FC236}">
                  <a16:creationId xmlns:a16="http://schemas.microsoft.com/office/drawing/2014/main" id="{61ADD7FD-318E-07A7-BDFF-D0E3BCC5F9CD}"/>
                </a:ext>
              </a:extLst>
            </p:cNvPr>
            <p:cNvSpPr/>
            <p:nvPr userDrawn="1"/>
          </p:nvSpPr>
          <p:spPr bwMode="gray">
            <a:xfrm>
              <a:off x="262161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6" name="Rechteck 495">
              <a:extLst>
                <a:ext uri="{FF2B5EF4-FFF2-40B4-BE49-F238E27FC236}">
                  <a16:creationId xmlns:a16="http://schemas.microsoft.com/office/drawing/2014/main" id="{3B14EA70-AF8F-6713-8C1E-735896B97931}"/>
                </a:ext>
              </a:extLst>
            </p:cNvPr>
            <p:cNvSpPr/>
            <p:nvPr userDrawn="1"/>
          </p:nvSpPr>
          <p:spPr bwMode="gray">
            <a:xfrm>
              <a:off x="204555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7" name="Rechteck 496">
              <a:extLst>
                <a:ext uri="{FF2B5EF4-FFF2-40B4-BE49-F238E27FC236}">
                  <a16:creationId xmlns:a16="http://schemas.microsoft.com/office/drawing/2014/main" id="{E50D70F4-5D0B-F3EE-BADA-7B01DD1CA7D5}"/>
                </a:ext>
              </a:extLst>
            </p:cNvPr>
            <p:cNvSpPr/>
            <p:nvPr userDrawn="1"/>
          </p:nvSpPr>
          <p:spPr bwMode="gray">
            <a:xfrm>
              <a:off x="146948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8" name="Rechteck 497">
              <a:extLst>
                <a:ext uri="{FF2B5EF4-FFF2-40B4-BE49-F238E27FC236}">
                  <a16:creationId xmlns:a16="http://schemas.microsoft.com/office/drawing/2014/main" id="{D62338B0-9DFA-5283-807C-CCA69E40D162}"/>
                </a:ext>
              </a:extLst>
            </p:cNvPr>
            <p:cNvSpPr/>
            <p:nvPr userDrawn="1"/>
          </p:nvSpPr>
          <p:spPr bwMode="gray">
            <a:xfrm>
              <a:off x="89342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9" name="Rechteck 498">
              <a:extLst>
                <a:ext uri="{FF2B5EF4-FFF2-40B4-BE49-F238E27FC236}">
                  <a16:creationId xmlns:a16="http://schemas.microsoft.com/office/drawing/2014/main" id="{E799901C-EF68-3DEA-5678-D0CE0DDDDF0A}"/>
                </a:ext>
              </a:extLst>
            </p:cNvPr>
            <p:cNvSpPr/>
            <p:nvPr userDrawn="1"/>
          </p:nvSpPr>
          <p:spPr bwMode="gray">
            <a:xfrm>
              <a:off x="31736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93" name="Rechteck 792">
              <a:extLst>
                <a:ext uri="{FF2B5EF4-FFF2-40B4-BE49-F238E27FC236}">
                  <a16:creationId xmlns:a16="http://schemas.microsoft.com/office/drawing/2014/main" id="{871623F0-ECD7-2DFC-2FEC-32DEA712108D}"/>
                </a:ext>
              </a:extLst>
            </p:cNvPr>
            <p:cNvSpPr/>
            <p:nvPr userDrawn="1"/>
          </p:nvSpPr>
          <p:spPr bwMode="gray">
            <a:xfrm>
              <a:off x="1183864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94" name="Rechteck 793">
              <a:extLst>
                <a:ext uri="{FF2B5EF4-FFF2-40B4-BE49-F238E27FC236}">
                  <a16:creationId xmlns:a16="http://schemas.microsoft.com/office/drawing/2014/main" id="{CCF88651-E0D9-2E33-D52A-5F7F79C81449}"/>
                </a:ext>
              </a:extLst>
            </p:cNvPr>
            <p:cNvSpPr/>
            <p:nvPr userDrawn="1"/>
          </p:nvSpPr>
          <p:spPr bwMode="gray">
            <a:xfrm>
              <a:off x="1183864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95" name="Rechteck 794">
              <a:extLst>
                <a:ext uri="{FF2B5EF4-FFF2-40B4-BE49-F238E27FC236}">
                  <a16:creationId xmlns:a16="http://schemas.microsoft.com/office/drawing/2014/main" id="{FEC66FD3-F1E5-9151-EEB5-53AC523D15B5}"/>
                </a:ext>
              </a:extLst>
            </p:cNvPr>
            <p:cNvSpPr/>
            <p:nvPr userDrawn="1"/>
          </p:nvSpPr>
          <p:spPr bwMode="gray">
            <a:xfrm>
              <a:off x="1183864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96" name="Rechteck 795">
              <a:extLst>
                <a:ext uri="{FF2B5EF4-FFF2-40B4-BE49-F238E27FC236}">
                  <a16:creationId xmlns:a16="http://schemas.microsoft.com/office/drawing/2014/main" id="{B4E464F8-DB23-372C-2163-5D1ED8E1DD1A}"/>
                </a:ext>
              </a:extLst>
            </p:cNvPr>
            <p:cNvSpPr/>
            <p:nvPr userDrawn="1"/>
          </p:nvSpPr>
          <p:spPr bwMode="gray">
            <a:xfrm>
              <a:off x="1183864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97" name="Rechteck 796">
              <a:extLst>
                <a:ext uri="{FF2B5EF4-FFF2-40B4-BE49-F238E27FC236}">
                  <a16:creationId xmlns:a16="http://schemas.microsoft.com/office/drawing/2014/main" id="{BC8E099F-4E49-ACFC-E853-4BD8E72C1CBB}"/>
                </a:ext>
              </a:extLst>
            </p:cNvPr>
            <p:cNvSpPr/>
            <p:nvPr userDrawn="1"/>
          </p:nvSpPr>
          <p:spPr bwMode="gray">
            <a:xfrm>
              <a:off x="1183864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98" name="Rechteck 797">
              <a:extLst>
                <a:ext uri="{FF2B5EF4-FFF2-40B4-BE49-F238E27FC236}">
                  <a16:creationId xmlns:a16="http://schemas.microsoft.com/office/drawing/2014/main" id="{6FB5ECAB-1A03-13BA-C3A3-A406E8D52C93}"/>
                </a:ext>
              </a:extLst>
            </p:cNvPr>
            <p:cNvSpPr/>
            <p:nvPr userDrawn="1"/>
          </p:nvSpPr>
          <p:spPr bwMode="gray">
            <a:xfrm>
              <a:off x="1183864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99" name="Rechteck 798">
              <a:extLst>
                <a:ext uri="{FF2B5EF4-FFF2-40B4-BE49-F238E27FC236}">
                  <a16:creationId xmlns:a16="http://schemas.microsoft.com/office/drawing/2014/main" id="{9462935E-4C14-63B4-E925-4E21062B9BBB}"/>
                </a:ext>
              </a:extLst>
            </p:cNvPr>
            <p:cNvSpPr/>
            <p:nvPr userDrawn="1"/>
          </p:nvSpPr>
          <p:spPr bwMode="gray">
            <a:xfrm>
              <a:off x="1183864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00" name="Rechteck 799">
              <a:extLst>
                <a:ext uri="{FF2B5EF4-FFF2-40B4-BE49-F238E27FC236}">
                  <a16:creationId xmlns:a16="http://schemas.microsoft.com/office/drawing/2014/main" id="{274C6D87-70C0-6E97-3AE8-BD6E38FA39BD}"/>
                </a:ext>
              </a:extLst>
            </p:cNvPr>
            <p:cNvSpPr/>
            <p:nvPr userDrawn="1"/>
          </p:nvSpPr>
          <p:spPr bwMode="gray">
            <a:xfrm>
              <a:off x="1183864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01" name="Rechteck 800">
              <a:extLst>
                <a:ext uri="{FF2B5EF4-FFF2-40B4-BE49-F238E27FC236}">
                  <a16:creationId xmlns:a16="http://schemas.microsoft.com/office/drawing/2014/main" id="{4FCC511F-CF1E-AB13-C02F-255EEE9A89CA}"/>
                </a:ext>
              </a:extLst>
            </p:cNvPr>
            <p:cNvSpPr/>
            <p:nvPr userDrawn="1"/>
          </p:nvSpPr>
          <p:spPr bwMode="gray">
            <a:xfrm>
              <a:off x="1183864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grpSp>
      <p:cxnSp>
        <p:nvCxnSpPr>
          <p:cNvPr id="282" name="Line">
            <a:extLst>
              <a:ext uri="{FF2B5EF4-FFF2-40B4-BE49-F238E27FC236}">
                <a16:creationId xmlns:a16="http://schemas.microsoft.com/office/drawing/2014/main" id="{399F49D9-B9A4-483A-BA51-8793314B45DA}"/>
              </a:ext>
              <a:ext uri="{C183D7F6-B498-43B3-948B-1728B52AA6E4}">
                <adec:decorative xmlns:adec="http://schemas.microsoft.com/office/drawing/2017/decorative" val="1"/>
              </a:ext>
            </a:extLst>
          </p:cNvPr>
          <p:cNvCxnSpPr>
            <a:cxnSpLocks/>
          </p:cNvCxnSpPr>
          <p:nvPr userDrawn="1"/>
        </p:nvCxnSpPr>
        <p:spPr bwMode="gray">
          <a:xfrm>
            <a:off x="911424" y="925959"/>
            <a:ext cx="2304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p:cNvSpPr>
            <a:spLocks noGrp="1"/>
          </p:cNvSpPr>
          <p:nvPr userDrawn="1">
            <p:ph type="ctrTitle" hasCustomPrompt="1"/>
          </p:nvPr>
        </p:nvSpPr>
        <p:spPr bwMode="gray">
          <a:xfrm>
            <a:off x="695400" y="1412776"/>
            <a:ext cx="5112568" cy="2304000"/>
          </a:xfrm>
          <a:prstGeom prst="rect">
            <a:avLst/>
          </a:prstGeom>
          <a:solidFill>
            <a:schemeClr val="bg1"/>
          </a:solidFill>
          <a:ln w="127">
            <a:solidFill>
              <a:schemeClr val="bg1"/>
            </a:solidFill>
          </a:ln>
        </p:spPr>
        <p:txBody>
          <a:bodyPr vert="horz" lIns="216000" tIns="36000" rIns="216000" anchor="t">
            <a:noAutofit/>
          </a:bodyPr>
          <a:lstStyle>
            <a:lvl1pPr algn="l">
              <a:lnSpc>
                <a:spcPct val="90000"/>
              </a:lnSpc>
              <a:defRPr sz="3000" baseline="0"/>
            </a:lvl1pPr>
          </a:lstStyle>
          <a:p>
            <a:r>
              <a:rPr lang="en-GB" dirty="0"/>
              <a:t>Insert your long title of presentation here in maximal three lines</a:t>
            </a:r>
          </a:p>
        </p:txBody>
      </p:sp>
      <p:sp>
        <p:nvSpPr>
          <p:cNvPr id="3" name="Subtitle 2"/>
          <p:cNvSpPr>
            <a:spLocks noGrp="1"/>
          </p:cNvSpPr>
          <p:nvPr userDrawn="1">
            <p:ph type="subTitle" idx="1" hasCustomPrompt="1"/>
          </p:nvPr>
        </p:nvSpPr>
        <p:spPr bwMode="gray">
          <a:xfrm>
            <a:off x="695400" y="3717032"/>
            <a:ext cx="5112568" cy="1152128"/>
          </a:xfrm>
          <a:prstGeom prst="rect">
            <a:avLst/>
          </a:prstGeom>
          <a:solidFill>
            <a:schemeClr val="bg1"/>
          </a:solidFill>
          <a:ln w="127">
            <a:solidFill>
              <a:schemeClr val="bg1"/>
            </a:solidFill>
          </a:ln>
        </p:spPr>
        <p:txBody>
          <a:bodyPr wrap="square" lIns="216000" tIns="36000" rIns="216000"/>
          <a:lstStyle>
            <a:lvl1pPr marL="0" indent="0" algn="l">
              <a:lnSpc>
                <a:spcPct val="100000"/>
              </a:lnSpc>
              <a:spcBef>
                <a:spcPts val="0"/>
              </a:spcBef>
              <a:buNone/>
              <a:defRPr sz="2000" b="0">
                <a:solidFill>
                  <a:schemeClr val="tx1"/>
                </a:solidFill>
                <a:latin typeface="+mn-lt"/>
              </a:defRPr>
            </a:lvl1pPr>
            <a:lvl2pPr marL="0" indent="0" algn="l">
              <a:lnSpc>
                <a:spcPct val="100000"/>
              </a:lnSpc>
              <a:spcBef>
                <a:spcPts val="0"/>
              </a:spcBef>
              <a:buNone/>
              <a:defRPr sz="2000">
                <a:solidFill>
                  <a:schemeClr val="tx1"/>
                </a:solidFill>
                <a:latin typeface="+mn-lt"/>
              </a:defRPr>
            </a:lvl2pPr>
            <a:lvl3pPr marL="0" indent="0" algn="l">
              <a:lnSpc>
                <a:spcPct val="100000"/>
              </a:lnSpc>
              <a:spcBef>
                <a:spcPts val="0"/>
              </a:spcBef>
              <a:buNone/>
              <a:defRPr sz="2000">
                <a:solidFill>
                  <a:schemeClr val="tx1"/>
                </a:solidFill>
                <a:latin typeface="+mn-lt"/>
              </a:defRPr>
            </a:lvl3pPr>
            <a:lvl4pPr marL="0" indent="0" algn="l">
              <a:lnSpc>
                <a:spcPct val="100000"/>
              </a:lnSpc>
              <a:spcBef>
                <a:spcPts val="0"/>
              </a:spcBef>
              <a:buNone/>
              <a:defRPr sz="2000">
                <a:solidFill>
                  <a:schemeClr val="tx1"/>
                </a:solidFill>
                <a:latin typeface="+mn-lt"/>
              </a:defRPr>
            </a:lvl4pPr>
            <a:lvl5pPr marL="0" indent="0" algn="l">
              <a:lnSpc>
                <a:spcPct val="100000"/>
              </a:lnSpc>
              <a:spcBef>
                <a:spcPts val="0"/>
              </a:spcBef>
              <a:buNone/>
              <a:defRPr sz="2000">
                <a:solidFill>
                  <a:schemeClr val="tx1"/>
                </a:solidFill>
                <a:latin typeface="+mn-lt"/>
              </a:defRPr>
            </a:lvl5pPr>
            <a:lvl6pPr marL="0" indent="0" algn="l">
              <a:lnSpc>
                <a:spcPct val="100000"/>
              </a:lnSpc>
              <a:spcBef>
                <a:spcPts val="0"/>
              </a:spcBef>
              <a:buNone/>
              <a:defRPr sz="2000">
                <a:solidFill>
                  <a:schemeClr val="tx1"/>
                </a:solidFill>
                <a:latin typeface="+mn-lt"/>
              </a:defRPr>
            </a:lvl6pPr>
            <a:lvl7pPr marL="0" indent="0" algn="l">
              <a:lnSpc>
                <a:spcPct val="100000"/>
              </a:lnSpc>
              <a:spcBef>
                <a:spcPts val="0"/>
              </a:spcBef>
              <a:buNone/>
              <a:defRPr sz="2000">
                <a:solidFill>
                  <a:schemeClr val="tx1"/>
                </a:solidFill>
                <a:latin typeface="+mn-lt"/>
              </a:defRPr>
            </a:lvl7pPr>
            <a:lvl8pPr marL="0" indent="0" algn="l">
              <a:lnSpc>
                <a:spcPct val="100000"/>
              </a:lnSpc>
              <a:spcBef>
                <a:spcPts val="0"/>
              </a:spcBef>
              <a:buNone/>
              <a:defRPr sz="2000">
                <a:solidFill>
                  <a:schemeClr val="tx1"/>
                </a:solidFill>
                <a:latin typeface="+mn-lt"/>
              </a:defRPr>
            </a:lvl8pPr>
            <a:lvl9pPr marL="0" indent="0" algn="l">
              <a:lnSpc>
                <a:spcPct val="100000"/>
              </a:lnSpc>
              <a:spcBef>
                <a:spcPts val="0"/>
              </a:spcBef>
              <a:buNone/>
              <a:defRPr sz="2000">
                <a:solidFill>
                  <a:schemeClr val="tx1"/>
                </a:solidFill>
              </a:defRPr>
            </a:lvl9pPr>
          </a:lstStyle>
          <a:p>
            <a:r>
              <a:rPr lang="en-GB" dirty="0"/>
              <a:t>Insert here your subtitle</a:t>
            </a:r>
          </a:p>
        </p:txBody>
      </p:sp>
      <p:sp>
        <p:nvSpPr>
          <p:cNvPr id="31" name="Author"/>
          <p:cNvSpPr>
            <a:spLocks noGrp="1"/>
          </p:cNvSpPr>
          <p:nvPr userDrawn="1">
            <p:ph type="body" sz="quarter" idx="14" hasCustomPrompt="1"/>
          </p:nvPr>
        </p:nvSpPr>
        <p:spPr bwMode="gray">
          <a:xfrm>
            <a:off x="695400" y="4797152"/>
            <a:ext cx="5112000" cy="288000"/>
          </a:xfrm>
          <a:prstGeom prst="rect">
            <a:avLst/>
          </a:prstGeom>
          <a:solidFill>
            <a:schemeClr val="bg1"/>
          </a:solidFill>
          <a:ln w="127">
            <a:solidFill>
              <a:schemeClr val="bg1"/>
            </a:solidFill>
          </a:ln>
        </p:spPr>
        <p:txBody>
          <a:bodyPr wrap="square" lIns="216000" tIns="36000" rIns="216000" anchor="b"/>
          <a:lstStyle>
            <a:lvl1pPr marL="0" indent="0">
              <a:lnSpc>
                <a:spcPct val="100000"/>
              </a:lnSpc>
              <a:spcBef>
                <a:spcPts val="0"/>
              </a:spcBef>
              <a:buFont typeface="Arial" panose="020B0604020202020204" pitchFamily="34" charset="0"/>
              <a:buNone/>
              <a:defRPr sz="1200" b="0">
                <a:latin typeface="+mj-lt"/>
              </a:defRPr>
            </a:lvl1pPr>
            <a:lvl2pPr marL="0" indent="0">
              <a:lnSpc>
                <a:spcPct val="100000"/>
              </a:lnSpc>
              <a:spcBef>
                <a:spcPts val="0"/>
              </a:spcBef>
              <a:buFont typeface="Arial" panose="020B0604020202020204" pitchFamily="34" charset="0"/>
              <a:buNone/>
              <a:defRPr sz="1200" b="0">
                <a:latin typeface="+mj-lt"/>
              </a:defRPr>
            </a:lvl2pPr>
            <a:lvl3pPr marL="0" indent="0">
              <a:lnSpc>
                <a:spcPct val="100000"/>
              </a:lnSpc>
              <a:spcBef>
                <a:spcPts val="0"/>
              </a:spcBef>
              <a:buFont typeface="Arial" panose="020B0604020202020204" pitchFamily="34" charset="0"/>
              <a:buNone/>
              <a:defRPr sz="1200" b="0">
                <a:latin typeface="+mj-lt"/>
              </a:defRPr>
            </a:lvl3pPr>
            <a:lvl4pPr marL="0" indent="0">
              <a:lnSpc>
                <a:spcPct val="100000"/>
              </a:lnSpc>
              <a:spcBef>
                <a:spcPts val="0"/>
              </a:spcBef>
              <a:buFont typeface="Arial" panose="020B0604020202020204" pitchFamily="34" charset="0"/>
              <a:buNone/>
              <a:defRPr sz="1200" b="0">
                <a:latin typeface="+mj-lt"/>
              </a:defRPr>
            </a:lvl4pPr>
            <a:lvl5pPr marL="0" indent="0">
              <a:lnSpc>
                <a:spcPct val="100000"/>
              </a:lnSpc>
              <a:spcBef>
                <a:spcPts val="0"/>
              </a:spcBef>
              <a:buFont typeface="Arial" panose="020B0604020202020204" pitchFamily="34" charset="0"/>
              <a:buNone/>
              <a:defRPr sz="1200" b="0">
                <a:latin typeface="+mj-lt"/>
              </a:defRPr>
            </a:lvl5pPr>
            <a:lvl6pPr marL="0" indent="0">
              <a:lnSpc>
                <a:spcPct val="100000"/>
              </a:lnSpc>
              <a:spcBef>
                <a:spcPts val="0"/>
              </a:spcBef>
              <a:buNone/>
              <a:defRPr sz="1200" b="0">
                <a:latin typeface="+mj-lt"/>
              </a:defRPr>
            </a:lvl6pPr>
            <a:lvl7pPr marL="0" indent="0">
              <a:lnSpc>
                <a:spcPct val="100000"/>
              </a:lnSpc>
              <a:spcBef>
                <a:spcPts val="0"/>
              </a:spcBef>
              <a:buNone/>
              <a:defRPr sz="1200" b="0">
                <a:latin typeface="+mj-lt"/>
              </a:defRPr>
            </a:lvl7pPr>
            <a:lvl8pPr marL="0" indent="0">
              <a:lnSpc>
                <a:spcPct val="100000"/>
              </a:lnSpc>
              <a:spcBef>
                <a:spcPts val="0"/>
              </a:spcBef>
              <a:buNone/>
              <a:defRPr sz="1200" b="0">
                <a:latin typeface="+mj-lt"/>
              </a:defRPr>
            </a:lvl8pPr>
            <a:lvl9pPr marL="0" indent="0">
              <a:lnSpc>
                <a:spcPct val="100000"/>
              </a:lnSpc>
              <a:spcBef>
                <a:spcPts val="0"/>
              </a:spcBef>
              <a:buNone/>
              <a:defRPr sz="1200" b="0">
                <a:latin typeface="+mj-lt"/>
              </a:defRPr>
            </a:lvl9pPr>
          </a:lstStyle>
          <a:p>
            <a:pPr lvl="0"/>
            <a:r>
              <a:rPr lang="en-GB" dirty="0"/>
              <a:t>First name Last name</a:t>
            </a:r>
          </a:p>
        </p:txBody>
      </p:sp>
      <p:sp>
        <p:nvSpPr>
          <p:cNvPr id="34" name="Department, Date"/>
          <p:cNvSpPr>
            <a:spLocks noGrp="1"/>
          </p:cNvSpPr>
          <p:nvPr userDrawn="1">
            <p:ph type="body" sz="quarter" idx="15" hasCustomPrompt="1"/>
          </p:nvPr>
        </p:nvSpPr>
        <p:spPr bwMode="gray">
          <a:xfrm>
            <a:off x="695400" y="5084952"/>
            <a:ext cx="5112568" cy="792000"/>
          </a:xfrm>
          <a:prstGeom prst="rect">
            <a:avLst/>
          </a:prstGeom>
          <a:solidFill>
            <a:schemeClr val="bg1"/>
          </a:solidFill>
          <a:ln w="127">
            <a:solidFill>
              <a:schemeClr val="bg1"/>
            </a:solidFill>
          </a:ln>
        </p:spPr>
        <p:txBody>
          <a:bodyPr wrap="square" lIns="216000" rIns="216000"/>
          <a:lstStyle>
            <a:lvl1pPr marL="0" indent="0">
              <a:lnSpc>
                <a:spcPct val="100000"/>
              </a:lnSpc>
              <a:spcBef>
                <a:spcPts val="0"/>
              </a:spcBef>
              <a:buFont typeface="Arial" panose="020B0604020202020204" pitchFamily="34" charset="0"/>
              <a:buNone/>
              <a:defRPr sz="1200" i="1">
                <a:latin typeface="+mn-lt"/>
              </a:defRPr>
            </a:lvl1pPr>
            <a:lvl2pPr marL="0" indent="0">
              <a:lnSpc>
                <a:spcPct val="100000"/>
              </a:lnSpc>
              <a:spcBef>
                <a:spcPts val="0"/>
              </a:spcBef>
              <a:buFont typeface="Arial" panose="020B0604020202020204" pitchFamily="34" charset="0"/>
              <a:buNone/>
              <a:defRPr sz="1200" i="1"/>
            </a:lvl2pPr>
            <a:lvl3pPr marL="0" indent="0">
              <a:lnSpc>
                <a:spcPct val="100000"/>
              </a:lnSpc>
              <a:spcBef>
                <a:spcPts val="0"/>
              </a:spcBef>
              <a:buFont typeface="Arial" panose="020B0604020202020204" pitchFamily="34" charset="0"/>
              <a:buNone/>
              <a:defRPr sz="1200" i="1"/>
            </a:lvl3pPr>
            <a:lvl4pPr marL="0" indent="0">
              <a:lnSpc>
                <a:spcPct val="100000"/>
              </a:lnSpc>
              <a:spcBef>
                <a:spcPts val="0"/>
              </a:spcBef>
              <a:buFont typeface="Arial" panose="020B0604020202020204" pitchFamily="34" charset="0"/>
              <a:buNone/>
              <a:defRPr sz="1200" i="1"/>
            </a:lvl4pPr>
            <a:lvl5pPr marL="0" indent="0">
              <a:lnSpc>
                <a:spcPct val="100000"/>
              </a:lnSpc>
              <a:spcBef>
                <a:spcPts val="0"/>
              </a:spcBef>
              <a:buFont typeface="Arial" panose="020B0604020202020204" pitchFamily="34" charset="0"/>
              <a:buNone/>
              <a:defRPr sz="1200" i="1"/>
            </a:lvl5pPr>
            <a:lvl6pPr marL="0" indent="0">
              <a:lnSpc>
                <a:spcPct val="100000"/>
              </a:lnSpc>
              <a:spcBef>
                <a:spcPts val="0"/>
              </a:spcBef>
              <a:buNone/>
              <a:defRPr sz="1200" i="1"/>
            </a:lvl6pPr>
            <a:lvl7pPr marL="0" indent="0">
              <a:lnSpc>
                <a:spcPct val="100000"/>
              </a:lnSpc>
              <a:spcBef>
                <a:spcPts val="0"/>
              </a:spcBef>
              <a:buNone/>
              <a:defRPr sz="1200" i="1"/>
            </a:lvl7pPr>
            <a:lvl8pPr marL="0" indent="0">
              <a:lnSpc>
                <a:spcPct val="100000"/>
              </a:lnSpc>
              <a:spcBef>
                <a:spcPts val="0"/>
              </a:spcBef>
              <a:buNone/>
              <a:defRPr sz="1200" i="1"/>
            </a:lvl8pPr>
            <a:lvl9pPr marL="0" indent="0">
              <a:lnSpc>
                <a:spcPct val="100000"/>
              </a:lnSpc>
              <a:spcBef>
                <a:spcPts val="0"/>
              </a:spcBef>
              <a:buNone/>
              <a:defRPr sz="1200" i="1"/>
            </a:lvl9pPr>
          </a:lstStyle>
          <a:p>
            <a:pPr lvl="0"/>
            <a:r>
              <a:rPr lang="en-GB" dirty="0"/>
              <a:t>Department</a:t>
            </a:r>
            <a:br>
              <a:rPr lang="en-GB" dirty="0"/>
            </a:br>
            <a:r>
              <a:rPr lang="en-GB" dirty="0"/>
              <a:t>DD/MM/YYYY</a:t>
            </a:r>
          </a:p>
        </p:txBody>
      </p:sp>
      <p:pic>
        <p:nvPicPr>
          <p:cNvPr id="4" name="Grafik 3" descr="Ein Bild, das Text, Schrift, Grafiken, Logo enthält.&#10;&#10;Automatisch generierte Beschreibung">
            <a:extLst>
              <a:ext uri="{FF2B5EF4-FFF2-40B4-BE49-F238E27FC236}">
                <a16:creationId xmlns:a16="http://schemas.microsoft.com/office/drawing/2014/main" id="{E4F8C95F-BCA5-0E49-F0CA-60F01A08854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146448" y="332656"/>
            <a:ext cx="1377259" cy="583140"/>
          </a:xfrm>
          <a:prstGeom prst="rect">
            <a:avLst/>
          </a:prstGeom>
        </p:spPr>
      </p:pic>
    </p:spTree>
    <p:extLst>
      <p:ext uri="{BB962C8B-B14F-4D97-AF65-F5344CB8AC3E}">
        <p14:creationId xmlns:p14="http://schemas.microsoft.com/office/powerpoint/2010/main" val="223323396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Petrol">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73118C1-116C-AAB7-426E-FE8ACC85F3E5}"/>
              </a:ext>
            </a:extLst>
          </p:cNvPr>
          <p:cNvGraphicFramePr>
            <a:graphicFrameLocks noChangeAspect="1"/>
          </p:cNvGraphicFramePr>
          <p:nvPr userDrawn="1">
            <p:custDataLst>
              <p:tags r:id="rId1"/>
            </p:custDataLst>
            <p:extLst>
              <p:ext uri="{D42A27DB-BD31-4B8C-83A1-F6EECF244321}">
                <p14:modId xmlns:p14="http://schemas.microsoft.com/office/powerpoint/2010/main" val="3414612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3" name="Objekt 2" hidden="1">
                        <a:extLst>
                          <a:ext uri="{FF2B5EF4-FFF2-40B4-BE49-F238E27FC236}">
                            <a16:creationId xmlns:a16="http://schemas.microsoft.com/office/drawing/2014/main" id="{A73118C1-116C-AAB7-426E-FE8ACC85F3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95" name="Gruppieren 594">
            <a:extLst>
              <a:ext uri="{FF2B5EF4-FFF2-40B4-BE49-F238E27FC236}">
                <a16:creationId xmlns:a16="http://schemas.microsoft.com/office/drawing/2014/main" id="{8E100385-864A-CA00-3229-EB5730416F83}"/>
              </a:ext>
            </a:extLst>
          </p:cNvPr>
          <p:cNvGrpSpPr/>
          <p:nvPr userDrawn="1"/>
        </p:nvGrpSpPr>
        <p:grpSpPr>
          <a:xfrm>
            <a:off x="317360" y="1484784"/>
            <a:ext cx="11539280" cy="4626512"/>
            <a:chOff x="317360" y="1484784"/>
            <a:chExt cx="11539280" cy="4626512"/>
          </a:xfrm>
        </p:grpSpPr>
        <p:sp>
          <p:nvSpPr>
            <p:cNvPr id="596" name="Rechteck 595">
              <a:extLst>
                <a:ext uri="{FF2B5EF4-FFF2-40B4-BE49-F238E27FC236}">
                  <a16:creationId xmlns:a16="http://schemas.microsoft.com/office/drawing/2014/main" id="{FE95FE0D-1192-1645-89F5-F9D3B40654A4}"/>
                </a:ext>
              </a:extLst>
            </p:cNvPr>
            <p:cNvSpPr/>
            <p:nvPr userDrawn="1"/>
          </p:nvSpPr>
          <p:spPr bwMode="gray">
            <a:xfrm>
              <a:off x="1126257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7" name="Rechteck 596">
              <a:extLst>
                <a:ext uri="{FF2B5EF4-FFF2-40B4-BE49-F238E27FC236}">
                  <a16:creationId xmlns:a16="http://schemas.microsoft.com/office/drawing/2014/main" id="{CA5BABD9-2F50-38D8-E9C7-0EE8CA427D1B}"/>
                </a:ext>
              </a:extLst>
            </p:cNvPr>
            <p:cNvSpPr/>
            <p:nvPr userDrawn="1"/>
          </p:nvSpPr>
          <p:spPr bwMode="gray">
            <a:xfrm>
              <a:off x="1068651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8" name="Rechteck 597">
              <a:extLst>
                <a:ext uri="{FF2B5EF4-FFF2-40B4-BE49-F238E27FC236}">
                  <a16:creationId xmlns:a16="http://schemas.microsoft.com/office/drawing/2014/main" id="{EC42B37E-F3FC-45DE-0E54-98459D00D09C}"/>
                </a:ext>
              </a:extLst>
            </p:cNvPr>
            <p:cNvSpPr/>
            <p:nvPr userDrawn="1"/>
          </p:nvSpPr>
          <p:spPr bwMode="gray">
            <a:xfrm>
              <a:off x="1011044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9" name="Rechteck 598">
              <a:extLst>
                <a:ext uri="{FF2B5EF4-FFF2-40B4-BE49-F238E27FC236}">
                  <a16:creationId xmlns:a16="http://schemas.microsoft.com/office/drawing/2014/main" id="{ED0C3313-001F-356E-D2C7-35D353C9A2C8}"/>
                </a:ext>
              </a:extLst>
            </p:cNvPr>
            <p:cNvSpPr/>
            <p:nvPr userDrawn="1"/>
          </p:nvSpPr>
          <p:spPr bwMode="gray">
            <a:xfrm>
              <a:off x="953438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0" name="Rechteck 599">
              <a:extLst>
                <a:ext uri="{FF2B5EF4-FFF2-40B4-BE49-F238E27FC236}">
                  <a16:creationId xmlns:a16="http://schemas.microsoft.com/office/drawing/2014/main" id="{F5F3548E-EDFD-FB95-E4FF-6364D8A38F32}"/>
                </a:ext>
              </a:extLst>
            </p:cNvPr>
            <p:cNvSpPr/>
            <p:nvPr userDrawn="1"/>
          </p:nvSpPr>
          <p:spPr bwMode="gray">
            <a:xfrm>
              <a:off x="895832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1" name="Rechteck 600">
              <a:extLst>
                <a:ext uri="{FF2B5EF4-FFF2-40B4-BE49-F238E27FC236}">
                  <a16:creationId xmlns:a16="http://schemas.microsoft.com/office/drawing/2014/main" id="{1B93A9BD-AAF1-4767-884B-7221D319DF2A}"/>
                </a:ext>
              </a:extLst>
            </p:cNvPr>
            <p:cNvSpPr/>
            <p:nvPr userDrawn="1"/>
          </p:nvSpPr>
          <p:spPr bwMode="gray">
            <a:xfrm>
              <a:off x="838225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2" name="Rechteck 601">
              <a:extLst>
                <a:ext uri="{FF2B5EF4-FFF2-40B4-BE49-F238E27FC236}">
                  <a16:creationId xmlns:a16="http://schemas.microsoft.com/office/drawing/2014/main" id="{1D6F4DD4-5883-1110-CBB7-EFF749D88231}"/>
                </a:ext>
              </a:extLst>
            </p:cNvPr>
            <p:cNvSpPr/>
            <p:nvPr userDrawn="1"/>
          </p:nvSpPr>
          <p:spPr bwMode="gray">
            <a:xfrm>
              <a:off x="780619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3" name="Rechteck 602">
              <a:extLst>
                <a:ext uri="{FF2B5EF4-FFF2-40B4-BE49-F238E27FC236}">
                  <a16:creationId xmlns:a16="http://schemas.microsoft.com/office/drawing/2014/main" id="{05397A60-9F95-8DEE-CE99-26D3BA308E0C}"/>
                </a:ext>
              </a:extLst>
            </p:cNvPr>
            <p:cNvSpPr/>
            <p:nvPr userDrawn="1"/>
          </p:nvSpPr>
          <p:spPr bwMode="gray">
            <a:xfrm>
              <a:off x="723012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4" name="Rechteck 603">
              <a:extLst>
                <a:ext uri="{FF2B5EF4-FFF2-40B4-BE49-F238E27FC236}">
                  <a16:creationId xmlns:a16="http://schemas.microsoft.com/office/drawing/2014/main" id="{D01563CE-320A-F7B2-8C94-6112BCAF5E2D}"/>
                </a:ext>
              </a:extLst>
            </p:cNvPr>
            <p:cNvSpPr/>
            <p:nvPr userDrawn="1"/>
          </p:nvSpPr>
          <p:spPr bwMode="gray">
            <a:xfrm>
              <a:off x="665406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5" name="Rechteck 604">
              <a:extLst>
                <a:ext uri="{FF2B5EF4-FFF2-40B4-BE49-F238E27FC236}">
                  <a16:creationId xmlns:a16="http://schemas.microsoft.com/office/drawing/2014/main" id="{19D6E984-AA85-7882-07E5-F074DCCB6019}"/>
                </a:ext>
              </a:extLst>
            </p:cNvPr>
            <p:cNvSpPr/>
            <p:nvPr userDrawn="1"/>
          </p:nvSpPr>
          <p:spPr bwMode="gray">
            <a:xfrm>
              <a:off x="607800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6" name="Rechteck 605">
              <a:extLst>
                <a:ext uri="{FF2B5EF4-FFF2-40B4-BE49-F238E27FC236}">
                  <a16:creationId xmlns:a16="http://schemas.microsoft.com/office/drawing/2014/main" id="{DC4E51A2-AEA6-2273-953B-6842E3D8C092}"/>
                </a:ext>
              </a:extLst>
            </p:cNvPr>
            <p:cNvSpPr/>
            <p:nvPr userDrawn="1"/>
          </p:nvSpPr>
          <p:spPr bwMode="gray">
            <a:xfrm>
              <a:off x="550193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7" name="Rechteck 606">
              <a:extLst>
                <a:ext uri="{FF2B5EF4-FFF2-40B4-BE49-F238E27FC236}">
                  <a16:creationId xmlns:a16="http://schemas.microsoft.com/office/drawing/2014/main" id="{96C13219-F5BE-CDD3-1DE0-91D9EE829A97}"/>
                </a:ext>
              </a:extLst>
            </p:cNvPr>
            <p:cNvSpPr/>
            <p:nvPr userDrawn="1"/>
          </p:nvSpPr>
          <p:spPr bwMode="gray">
            <a:xfrm>
              <a:off x="492587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8" name="Rechteck 607">
              <a:extLst>
                <a:ext uri="{FF2B5EF4-FFF2-40B4-BE49-F238E27FC236}">
                  <a16:creationId xmlns:a16="http://schemas.microsoft.com/office/drawing/2014/main" id="{06E00D17-2563-D787-98EE-0EFA8776616C}"/>
                </a:ext>
              </a:extLst>
            </p:cNvPr>
            <p:cNvSpPr/>
            <p:nvPr userDrawn="1"/>
          </p:nvSpPr>
          <p:spPr bwMode="gray">
            <a:xfrm>
              <a:off x="434980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9" name="Rechteck 608">
              <a:extLst>
                <a:ext uri="{FF2B5EF4-FFF2-40B4-BE49-F238E27FC236}">
                  <a16:creationId xmlns:a16="http://schemas.microsoft.com/office/drawing/2014/main" id="{50303449-0C3C-DA05-51B5-A232C0FCC8C9}"/>
                </a:ext>
              </a:extLst>
            </p:cNvPr>
            <p:cNvSpPr/>
            <p:nvPr userDrawn="1"/>
          </p:nvSpPr>
          <p:spPr bwMode="gray">
            <a:xfrm>
              <a:off x="377374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0" name="Rechteck 609">
              <a:extLst>
                <a:ext uri="{FF2B5EF4-FFF2-40B4-BE49-F238E27FC236}">
                  <a16:creationId xmlns:a16="http://schemas.microsoft.com/office/drawing/2014/main" id="{7CB1C88D-56B6-B048-86A0-CBF1F0C7F9ED}"/>
                </a:ext>
              </a:extLst>
            </p:cNvPr>
            <p:cNvSpPr/>
            <p:nvPr userDrawn="1"/>
          </p:nvSpPr>
          <p:spPr bwMode="gray">
            <a:xfrm>
              <a:off x="319768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1" name="Rechteck 610">
              <a:extLst>
                <a:ext uri="{FF2B5EF4-FFF2-40B4-BE49-F238E27FC236}">
                  <a16:creationId xmlns:a16="http://schemas.microsoft.com/office/drawing/2014/main" id="{0F3D2794-66FF-9E21-07DA-95014C73C618}"/>
                </a:ext>
              </a:extLst>
            </p:cNvPr>
            <p:cNvSpPr/>
            <p:nvPr userDrawn="1"/>
          </p:nvSpPr>
          <p:spPr bwMode="gray">
            <a:xfrm>
              <a:off x="262161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2" name="Rechteck 611">
              <a:extLst>
                <a:ext uri="{FF2B5EF4-FFF2-40B4-BE49-F238E27FC236}">
                  <a16:creationId xmlns:a16="http://schemas.microsoft.com/office/drawing/2014/main" id="{EFB211CC-8088-2BAA-1C61-F82E4F20FF56}"/>
                </a:ext>
              </a:extLst>
            </p:cNvPr>
            <p:cNvSpPr/>
            <p:nvPr userDrawn="1"/>
          </p:nvSpPr>
          <p:spPr bwMode="gray">
            <a:xfrm>
              <a:off x="204555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3" name="Rechteck 612">
              <a:extLst>
                <a:ext uri="{FF2B5EF4-FFF2-40B4-BE49-F238E27FC236}">
                  <a16:creationId xmlns:a16="http://schemas.microsoft.com/office/drawing/2014/main" id="{EA1F128C-EB57-C67B-F9BC-54F0A42D59DE}"/>
                </a:ext>
              </a:extLst>
            </p:cNvPr>
            <p:cNvSpPr/>
            <p:nvPr userDrawn="1"/>
          </p:nvSpPr>
          <p:spPr bwMode="gray">
            <a:xfrm>
              <a:off x="146948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4" name="Rechteck 613">
              <a:extLst>
                <a:ext uri="{FF2B5EF4-FFF2-40B4-BE49-F238E27FC236}">
                  <a16:creationId xmlns:a16="http://schemas.microsoft.com/office/drawing/2014/main" id="{FEB30AFB-3484-24AC-6555-7B620E488EEF}"/>
                </a:ext>
              </a:extLst>
            </p:cNvPr>
            <p:cNvSpPr/>
            <p:nvPr userDrawn="1"/>
          </p:nvSpPr>
          <p:spPr bwMode="gray">
            <a:xfrm>
              <a:off x="89342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5" name="Rechteck 614">
              <a:extLst>
                <a:ext uri="{FF2B5EF4-FFF2-40B4-BE49-F238E27FC236}">
                  <a16:creationId xmlns:a16="http://schemas.microsoft.com/office/drawing/2014/main" id="{AE1ADE9C-4CA0-C790-8AFD-448FD77F1BD5}"/>
                </a:ext>
              </a:extLst>
            </p:cNvPr>
            <p:cNvSpPr/>
            <p:nvPr userDrawn="1"/>
          </p:nvSpPr>
          <p:spPr bwMode="gray">
            <a:xfrm>
              <a:off x="31736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6" name="Rechteck 615">
              <a:extLst>
                <a:ext uri="{FF2B5EF4-FFF2-40B4-BE49-F238E27FC236}">
                  <a16:creationId xmlns:a16="http://schemas.microsoft.com/office/drawing/2014/main" id="{32478F82-9D2B-2726-F8BC-AB4FD3B44702}"/>
                </a:ext>
              </a:extLst>
            </p:cNvPr>
            <p:cNvSpPr/>
            <p:nvPr userDrawn="1"/>
          </p:nvSpPr>
          <p:spPr bwMode="gray">
            <a:xfrm>
              <a:off x="1126257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7" name="Rechteck 616">
              <a:extLst>
                <a:ext uri="{FF2B5EF4-FFF2-40B4-BE49-F238E27FC236}">
                  <a16:creationId xmlns:a16="http://schemas.microsoft.com/office/drawing/2014/main" id="{918F2CE6-967B-BCBE-61FE-EA30056ACA6C}"/>
                </a:ext>
              </a:extLst>
            </p:cNvPr>
            <p:cNvSpPr/>
            <p:nvPr userDrawn="1"/>
          </p:nvSpPr>
          <p:spPr bwMode="gray">
            <a:xfrm>
              <a:off x="1068651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8" name="Rechteck 617">
              <a:extLst>
                <a:ext uri="{FF2B5EF4-FFF2-40B4-BE49-F238E27FC236}">
                  <a16:creationId xmlns:a16="http://schemas.microsoft.com/office/drawing/2014/main" id="{90C16EC7-40B9-C088-BAD8-932FCF90D06A}"/>
                </a:ext>
              </a:extLst>
            </p:cNvPr>
            <p:cNvSpPr/>
            <p:nvPr userDrawn="1"/>
          </p:nvSpPr>
          <p:spPr bwMode="gray">
            <a:xfrm>
              <a:off x="1011044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9" name="Rechteck 618">
              <a:extLst>
                <a:ext uri="{FF2B5EF4-FFF2-40B4-BE49-F238E27FC236}">
                  <a16:creationId xmlns:a16="http://schemas.microsoft.com/office/drawing/2014/main" id="{DF8D7D4D-9E8D-0787-5368-8244B228D1C7}"/>
                </a:ext>
              </a:extLst>
            </p:cNvPr>
            <p:cNvSpPr/>
            <p:nvPr userDrawn="1"/>
          </p:nvSpPr>
          <p:spPr bwMode="gray">
            <a:xfrm>
              <a:off x="953438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0" name="Rechteck 619">
              <a:extLst>
                <a:ext uri="{FF2B5EF4-FFF2-40B4-BE49-F238E27FC236}">
                  <a16:creationId xmlns:a16="http://schemas.microsoft.com/office/drawing/2014/main" id="{7247C779-0F12-7FB1-EF0A-0FEBE9F8005D}"/>
                </a:ext>
              </a:extLst>
            </p:cNvPr>
            <p:cNvSpPr/>
            <p:nvPr userDrawn="1"/>
          </p:nvSpPr>
          <p:spPr bwMode="gray">
            <a:xfrm>
              <a:off x="895832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1" name="Rechteck 620">
              <a:extLst>
                <a:ext uri="{FF2B5EF4-FFF2-40B4-BE49-F238E27FC236}">
                  <a16:creationId xmlns:a16="http://schemas.microsoft.com/office/drawing/2014/main" id="{B74451DF-ED5C-863A-C4C5-9B3E9F3E40B1}"/>
                </a:ext>
              </a:extLst>
            </p:cNvPr>
            <p:cNvSpPr/>
            <p:nvPr userDrawn="1"/>
          </p:nvSpPr>
          <p:spPr bwMode="gray">
            <a:xfrm>
              <a:off x="838225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2" name="Rechteck 621">
              <a:extLst>
                <a:ext uri="{FF2B5EF4-FFF2-40B4-BE49-F238E27FC236}">
                  <a16:creationId xmlns:a16="http://schemas.microsoft.com/office/drawing/2014/main" id="{2FBF694C-9C59-DDFD-C6B5-7D4901894342}"/>
                </a:ext>
              </a:extLst>
            </p:cNvPr>
            <p:cNvSpPr/>
            <p:nvPr userDrawn="1"/>
          </p:nvSpPr>
          <p:spPr bwMode="gray">
            <a:xfrm>
              <a:off x="780619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3" name="Rechteck 622">
              <a:extLst>
                <a:ext uri="{FF2B5EF4-FFF2-40B4-BE49-F238E27FC236}">
                  <a16:creationId xmlns:a16="http://schemas.microsoft.com/office/drawing/2014/main" id="{D34046EF-D36D-98DC-C3FC-595BE23EA105}"/>
                </a:ext>
              </a:extLst>
            </p:cNvPr>
            <p:cNvSpPr/>
            <p:nvPr userDrawn="1"/>
          </p:nvSpPr>
          <p:spPr bwMode="gray">
            <a:xfrm>
              <a:off x="723012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4" name="Rechteck 623">
              <a:extLst>
                <a:ext uri="{FF2B5EF4-FFF2-40B4-BE49-F238E27FC236}">
                  <a16:creationId xmlns:a16="http://schemas.microsoft.com/office/drawing/2014/main" id="{32B1F5CF-BB13-D10E-4DBB-86FBF2C85A5F}"/>
                </a:ext>
              </a:extLst>
            </p:cNvPr>
            <p:cNvSpPr/>
            <p:nvPr userDrawn="1"/>
          </p:nvSpPr>
          <p:spPr bwMode="gray">
            <a:xfrm>
              <a:off x="665406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5" name="Rechteck 624">
              <a:extLst>
                <a:ext uri="{FF2B5EF4-FFF2-40B4-BE49-F238E27FC236}">
                  <a16:creationId xmlns:a16="http://schemas.microsoft.com/office/drawing/2014/main" id="{B71CCF04-7252-EF32-3EC9-CD6023E1996A}"/>
                </a:ext>
              </a:extLst>
            </p:cNvPr>
            <p:cNvSpPr/>
            <p:nvPr userDrawn="1"/>
          </p:nvSpPr>
          <p:spPr bwMode="gray">
            <a:xfrm>
              <a:off x="607800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6" name="Rechteck 625">
              <a:extLst>
                <a:ext uri="{FF2B5EF4-FFF2-40B4-BE49-F238E27FC236}">
                  <a16:creationId xmlns:a16="http://schemas.microsoft.com/office/drawing/2014/main" id="{5A0475A4-2779-31A9-B255-A7D1D152FC51}"/>
                </a:ext>
              </a:extLst>
            </p:cNvPr>
            <p:cNvSpPr/>
            <p:nvPr userDrawn="1"/>
          </p:nvSpPr>
          <p:spPr bwMode="gray">
            <a:xfrm>
              <a:off x="550193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7" name="Rechteck 626">
              <a:extLst>
                <a:ext uri="{FF2B5EF4-FFF2-40B4-BE49-F238E27FC236}">
                  <a16:creationId xmlns:a16="http://schemas.microsoft.com/office/drawing/2014/main" id="{4BB1113B-653A-2817-038D-63E03CADE256}"/>
                </a:ext>
              </a:extLst>
            </p:cNvPr>
            <p:cNvSpPr/>
            <p:nvPr userDrawn="1"/>
          </p:nvSpPr>
          <p:spPr bwMode="gray">
            <a:xfrm>
              <a:off x="492587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8" name="Rechteck 627">
              <a:extLst>
                <a:ext uri="{FF2B5EF4-FFF2-40B4-BE49-F238E27FC236}">
                  <a16:creationId xmlns:a16="http://schemas.microsoft.com/office/drawing/2014/main" id="{988C0C65-30B6-D9D8-B0F2-C3EC55469EEA}"/>
                </a:ext>
              </a:extLst>
            </p:cNvPr>
            <p:cNvSpPr/>
            <p:nvPr userDrawn="1"/>
          </p:nvSpPr>
          <p:spPr bwMode="gray">
            <a:xfrm>
              <a:off x="434980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9" name="Rechteck 628">
              <a:extLst>
                <a:ext uri="{FF2B5EF4-FFF2-40B4-BE49-F238E27FC236}">
                  <a16:creationId xmlns:a16="http://schemas.microsoft.com/office/drawing/2014/main" id="{0D6413B5-C906-7481-E73E-9FD2ABE730F0}"/>
                </a:ext>
              </a:extLst>
            </p:cNvPr>
            <p:cNvSpPr/>
            <p:nvPr userDrawn="1"/>
          </p:nvSpPr>
          <p:spPr bwMode="gray">
            <a:xfrm>
              <a:off x="377374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0" name="Rechteck 629">
              <a:extLst>
                <a:ext uri="{FF2B5EF4-FFF2-40B4-BE49-F238E27FC236}">
                  <a16:creationId xmlns:a16="http://schemas.microsoft.com/office/drawing/2014/main" id="{C5917E15-3A27-3BB3-6FA8-52BB852352F7}"/>
                </a:ext>
              </a:extLst>
            </p:cNvPr>
            <p:cNvSpPr/>
            <p:nvPr userDrawn="1"/>
          </p:nvSpPr>
          <p:spPr bwMode="gray">
            <a:xfrm>
              <a:off x="319768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1" name="Rechteck 630">
              <a:extLst>
                <a:ext uri="{FF2B5EF4-FFF2-40B4-BE49-F238E27FC236}">
                  <a16:creationId xmlns:a16="http://schemas.microsoft.com/office/drawing/2014/main" id="{E61EF6A3-BCCD-71A9-58A4-3BF685B9669A}"/>
                </a:ext>
              </a:extLst>
            </p:cNvPr>
            <p:cNvSpPr/>
            <p:nvPr userDrawn="1"/>
          </p:nvSpPr>
          <p:spPr bwMode="gray">
            <a:xfrm>
              <a:off x="262161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2" name="Rechteck 631">
              <a:extLst>
                <a:ext uri="{FF2B5EF4-FFF2-40B4-BE49-F238E27FC236}">
                  <a16:creationId xmlns:a16="http://schemas.microsoft.com/office/drawing/2014/main" id="{4A5501BA-5799-20DA-196C-6A6DF107B5C1}"/>
                </a:ext>
              </a:extLst>
            </p:cNvPr>
            <p:cNvSpPr/>
            <p:nvPr userDrawn="1"/>
          </p:nvSpPr>
          <p:spPr bwMode="gray">
            <a:xfrm>
              <a:off x="204555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3" name="Rechteck 632">
              <a:extLst>
                <a:ext uri="{FF2B5EF4-FFF2-40B4-BE49-F238E27FC236}">
                  <a16:creationId xmlns:a16="http://schemas.microsoft.com/office/drawing/2014/main" id="{5AB9C895-012F-92A0-2CEF-30C97525C8E3}"/>
                </a:ext>
              </a:extLst>
            </p:cNvPr>
            <p:cNvSpPr/>
            <p:nvPr userDrawn="1"/>
          </p:nvSpPr>
          <p:spPr bwMode="gray">
            <a:xfrm>
              <a:off x="146948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4" name="Rechteck 633">
              <a:extLst>
                <a:ext uri="{FF2B5EF4-FFF2-40B4-BE49-F238E27FC236}">
                  <a16:creationId xmlns:a16="http://schemas.microsoft.com/office/drawing/2014/main" id="{F0FB8174-FA57-EE76-C015-E862621C0EC3}"/>
                </a:ext>
              </a:extLst>
            </p:cNvPr>
            <p:cNvSpPr/>
            <p:nvPr userDrawn="1"/>
          </p:nvSpPr>
          <p:spPr bwMode="gray">
            <a:xfrm>
              <a:off x="89342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5" name="Rechteck 634">
              <a:extLst>
                <a:ext uri="{FF2B5EF4-FFF2-40B4-BE49-F238E27FC236}">
                  <a16:creationId xmlns:a16="http://schemas.microsoft.com/office/drawing/2014/main" id="{EFAB9672-74DA-FBDB-D809-42DF5077A3EB}"/>
                </a:ext>
              </a:extLst>
            </p:cNvPr>
            <p:cNvSpPr/>
            <p:nvPr userDrawn="1"/>
          </p:nvSpPr>
          <p:spPr bwMode="gray">
            <a:xfrm>
              <a:off x="31736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6" name="Rechteck 635">
              <a:extLst>
                <a:ext uri="{FF2B5EF4-FFF2-40B4-BE49-F238E27FC236}">
                  <a16:creationId xmlns:a16="http://schemas.microsoft.com/office/drawing/2014/main" id="{ED22FF69-3F74-640C-D67B-0355141A332C}"/>
                </a:ext>
              </a:extLst>
            </p:cNvPr>
            <p:cNvSpPr/>
            <p:nvPr userDrawn="1"/>
          </p:nvSpPr>
          <p:spPr bwMode="gray">
            <a:xfrm>
              <a:off x="1126257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7" name="Rechteck 636">
              <a:extLst>
                <a:ext uri="{FF2B5EF4-FFF2-40B4-BE49-F238E27FC236}">
                  <a16:creationId xmlns:a16="http://schemas.microsoft.com/office/drawing/2014/main" id="{29DBD6D7-0381-09C0-9C3D-6A13FEDD03FA}"/>
                </a:ext>
              </a:extLst>
            </p:cNvPr>
            <p:cNvSpPr/>
            <p:nvPr userDrawn="1"/>
          </p:nvSpPr>
          <p:spPr bwMode="gray">
            <a:xfrm>
              <a:off x="1068651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8" name="Rechteck 637">
              <a:extLst>
                <a:ext uri="{FF2B5EF4-FFF2-40B4-BE49-F238E27FC236}">
                  <a16:creationId xmlns:a16="http://schemas.microsoft.com/office/drawing/2014/main" id="{1C8308BD-6231-C098-AD55-FB2306417EDD}"/>
                </a:ext>
              </a:extLst>
            </p:cNvPr>
            <p:cNvSpPr/>
            <p:nvPr userDrawn="1"/>
          </p:nvSpPr>
          <p:spPr bwMode="gray">
            <a:xfrm>
              <a:off x="1011044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9" name="Rechteck 638">
              <a:extLst>
                <a:ext uri="{FF2B5EF4-FFF2-40B4-BE49-F238E27FC236}">
                  <a16:creationId xmlns:a16="http://schemas.microsoft.com/office/drawing/2014/main" id="{CAB44165-054A-2403-F83F-ADCFE497C2D0}"/>
                </a:ext>
              </a:extLst>
            </p:cNvPr>
            <p:cNvSpPr/>
            <p:nvPr userDrawn="1"/>
          </p:nvSpPr>
          <p:spPr bwMode="gray">
            <a:xfrm>
              <a:off x="953438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0" name="Rechteck 639">
              <a:extLst>
                <a:ext uri="{FF2B5EF4-FFF2-40B4-BE49-F238E27FC236}">
                  <a16:creationId xmlns:a16="http://schemas.microsoft.com/office/drawing/2014/main" id="{02AF7300-C434-F101-F453-D577AD74F4EA}"/>
                </a:ext>
              </a:extLst>
            </p:cNvPr>
            <p:cNvSpPr/>
            <p:nvPr userDrawn="1"/>
          </p:nvSpPr>
          <p:spPr bwMode="gray">
            <a:xfrm>
              <a:off x="895832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1" name="Rechteck 640">
              <a:extLst>
                <a:ext uri="{FF2B5EF4-FFF2-40B4-BE49-F238E27FC236}">
                  <a16:creationId xmlns:a16="http://schemas.microsoft.com/office/drawing/2014/main" id="{A42ECF01-573D-613C-B0A0-221FBB28A7B1}"/>
                </a:ext>
              </a:extLst>
            </p:cNvPr>
            <p:cNvSpPr/>
            <p:nvPr userDrawn="1"/>
          </p:nvSpPr>
          <p:spPr bwMode="gray">
            <a:xfrm>
              <a:off x="838225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2" name="Rechteck 641">
              <a:extLst>
                <a:ext uri="{FF2B5EF4-FFF2-40B4-BE49-F238E27FC236}">
                  <a16:creationId xmlns:a16="http://schemas.microsoft.com/office/drawing/2014/main" id="{09D1055E-0A0E-F198-B0CE-88E0D7955172}"/>
                </a:ext>
              </a:extLst>
            </p:cNvPr>
            <p:cNvSpPr/>
            <p:nvPr userDrawn="1"/>
          </p:nvSpPr>
          <p:spPr bwMode="gray">
            <a:xfrm>
              <a:off x="780619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3" name="Rechteck 642">
              <a:extLst>
                <a:ext uri="{FF2B5EF4-FFF2-40B4-BE49-F238E27FC236}">
                  <a16:creationId xmlns:a16="http://schemas.microsoft.com/office/drawing/2014/main" id="{70231FAE-9BE5-30EF-1094-2FBBC6A59E6C}"/>
                </a:ext>
              </a:extLst>
            </p:cNvPr>
            <p:cNvSpPr/>
            <p:nvPr userDrawn="1"/>
          </p:nvSpPr>
          <p:spPr bwMode="gray">
            <a:xfrm>
              <a:off x="723012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4" name="Rechteck 643">
              <a:extLst>
                <a:ext uri="{FF2B5EF4-FFF2-40B4-BE49-F238E27FC236}">
                  <a16:creationId xmlns:a16="http://schemas.microsoft.com/office/drawing/2014/main" id="{DFABD666-5046-E8CE-432C-802A2A8B8564}"/>
                </a:ext>
              </a:extLst>
            </p:cNvPr>
            <p:cNvSpPr/>
            <p:nvPr userDrawn="1"/>
          </p:nvSpPr>
          <p:spPr bwMode="gray">
            <a:xfrm>
              <a:off x="665406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5" name="Rechteck 644">
              <a:extLst>
                <a:ext uri="{FF2B5EF4-FFF2-40B4-BE49-F238E27FC236}">
                  <a16:creationId xmlns:a16="http://schemas.microsoft.com/office/drawing/2014/main" id="{5A8E55A8-4553-7672-947B-0E6BB6C82EE3}"/>
                </a:ext>
              </a:extLst>
            </p:cNvPr>
            <p:cNvSpPr/>
            <p:nvPr userDrawn="1"/>
          </p:nvSpPr>
          <p:spPr bwMode="gray">
            <a:xfrm>
              <a:off x="607800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6" name="Rechteck 645">
              <a:extLst>
                <a:ext uri="{FF2B5EF4-FFF2-40B4-BE49-F238E27FC236}">
                  <a16:creationId xmlns:a16="http://schemas.microsoft.com/office/drawing/2014/main" id="{E8E02F03-5A58-0ADA-DF56-A4B1A13864D5}"/>
                </a:ext>
              </a:extLst>
            </p:cNvPr>
            <p:cNvSpPr/>
            <p:nvPr userDrawn="1"/>
          </p:nvSpPr>
          <p:spPr bwMode="gray">
            <a:xfrm>
              <a:off x="550193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7" name="Rechteck 646">
              <a:extLst>
                <a:ext uri="{FF2B5EF4-FFF2-40B4-BE49-F238E27FC236}">
                  <a16:creationId xmlns:a16="http://schemas.microsoft.com/office/drawing/2014/main" id="{4BDEE04E-AAA2-7F6F-64EF-CDDE94378194}"/>
                </a:ext>
              </a:extLst>
            </p:cNvPr>
            <p:cNvSpPr/>
            <p:nvPr userDrawn="1"/>
          </p:nvSpPr>
          <p:spPr bwMode="gray">
            <a:xfrm>
              <a:off x="492587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8" name="Rechteck 647">
              <a:extLst>
                <a:ext uri="{FF2B5EF4-FFF2-40B4-BE49-F238E27FC236}">
                  <a16:creationId xmlns:a16="http://schemas.microsoft.com/office/drawing/2014/main" id="{3F4929A3-C04A-1224-17C9-25A811A572CA}"/>
                </a:ext>
              </a:extLst>
            </p:cNvPr>
            <p:cNvSpPr/>
            <p:nvPr userDrawn="1"/>
          </p:nvSpPr>
          <p:spPr bwMode="gray">
            <a:xfrm>
              <a:off x="434980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9" name="Rechteck 648">
              <a:extLst>
                <a:ext uri="{FF2B5EF4-FFF2-40B4-BE49-F238E27FC236}">
                  <a16:creationId xmlns:a16="http://schemas.microsoft.com/office/drawing/2014/main" id="{F87BB30F-5729-81FC-80B9-3BD15B202803}"/>
                </a:ext>
              </a:extLst>
            </p:cNvPr>
            <p:cNvSpPr/>
            <p:nvPr userDrawn="1"/>
          </p:nvSpPr>
          <p:spPr bwMode="gray">
            <a:xfrm>
              <a:off x="377374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0" name="Rechteck 649">
              <a:extLst>
                <a:ext uri="{FF2B5EF4-FFF2-40B4-BE49-F238E27FC236}">
                  <a16:creationId xmlns:a16="http://schemas.microsoft.com/office/drawing/2014/main" id="{1A1DB442-A2A1-FCC3-1773-A0AC2A2E1E17}"/>
                </a:ext>
              </a:extLst>
            </p:cNvPr>
            <p:cNvSpPr/>
            <p:nvPr userDrawn="1"/>
          </p:nvSpPr>
          <p:spPr bwMode="gray">
            <a:xfrm>
              <a:off x="319768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1" name="Rechteck 650">
              <a:extLst>
                <a:ext uri="{FF2B5EF4-FFF2-40B4-BE49-F238E27FC236}">
                  <a16:creationId xmlns:a16="http://schemas.microsoft.com/office/drawing/2014/main" id="{F7C30674-272C-AF8F-C824-C6BB53CCCB6B}"/>
                </a:ext>
              </a:extLst>
            </p:cNvPr>
            <p:cNvSpPr/>
            <p:nvPr userDrawn="1"/>
          </p:nvSpPr>
          <p:spPr bwMode="gray">
            <a:xfrm>
              <a:off x="262161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2" name="Rechteck 651">
              <a:extLst>
                <a:ext uri="{FF2B5EF4-FFF2-40B4-BE49-F238E27FC236}">
                  <a16:creationId xmlns:a16="http://schemas.microsoft.com/office/drawing/2014/main" id="{E5F9210D-CE7B-CEBE-9B70-A4E6E27B062D}"/>
                </a:ext>
              </a:extLst>
            </p:cNvPr>
            <p:cNvSpPr/>
            <p:nvPr userDrawn="1"/>
          </p:nvSpPr>
          <p:spPr bwMode="gray">
            <a:xfrm>
              <a:off x="204555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3" name="Rechteck 652">
              <a:extLst>
                <a:ext uri="{FF2B5EF4-FFF2-40B4-BE49-F238E27FC236}">
                  <a16:creationId xmlns:a16="http://schemas.microsoft.com/office/drawing/2014/main" id="{33BC89A1-5819-48FE-6194-D39804EA97E2}"/>
                </a:ext>
              </a:extLst>
            </p:cNvPr>
            <p:cNvSpPr/>
            <p:nvPr userDrawn="1"/>
          </p:nvSpPr>
          <p:spPr bwMode="gray">
            <a:xfrm>
              <a:off x="146948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4" name="Rechteck 653">
              <a:extLst>
                <a:ext uri="{FF2B5EF4-FFF2-40B4-BE49-F238E27FC236}">
                  <a16:creationId xmlns:a16="http://schemas.microsoft.com/office/drawing/2014/main" id="{B820C5D5-ED93-AE18-CE85-D5EDA5056E51}"/>
                </a:ext>
              </a:extLst>
            </p:cNvPr>
            <p:cNvSpPr/>
            <p:nvPr userDrawn="1"/>
          </p:nvSpPr>
          <p:spPr bwMode="gray">
            <a:xfrm>
              <a:off x="89342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5" name="Rechteck 654">
              <a:extLst>
                <a:ext uri="{FF2B5EF4-FFF2-40B4-BE49-F238E27FC236}">
                  <a16:creationId xmlns:a16="http://schemas.microsoft.com/office/drawing/2014/main" id="{9AE1CCA2-672E-C480-E49E-7B071CA5AA99}"/>
                </a:ext>
              </a:extLst>
            </p:cNvPr>
            <p:cNvSpPr/>
            <p:nvPr userDrawn="1"/>
          </p:nvSpPr>
          <p:spPr bwMode="gray">
            <a:xfrm>
              <a:off x="31736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6" name="Rechteck 655">
              <a:extLst>
                <a:ext uri="{FF2B5EF4-FFF2-40B4-BE49-F238E27FC236}">
                  <a16:creationId xmlns:a16="http://schemas.microsoft.com/office/drawing/2014/main" id="{08F6AF5D-5A23-50CB-17C4-B6668FA1CA91}"/>
                </a:ext>
              </a:extLst>
            </p:cNvPr>
            <p:cNvSpPr/>
            <p:nvPr userDrawn="1"/>
          </p:nvSpPr>
          <p:spPr bwMode="gray">
            <a:xfrm>
              <a:off x="1126257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7" name="Rechteck 656">
              <a:extLst>
                <a:ext uri="{FF2B5EF4-FFF2-40B4-BE49-F238E27FC236}">
                  <a16:creationId xmlns:a16="http://schemas.microsoft.com/office/drawing/2014/main" id="{89A6C520-EFCB-782B-01F0-33CC1AF82C7D}"/>
                </a:ext>
              </a:extLst>
            </p:cNvPr>
            <p:cNvSpPr/>
            <p:nvPr userDrawn="1"/>
          </p:nvSpPr>
          <p:spPr bwMode="gray">
            <a:xfrm>
              <a:off x="1068651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8" name="Rechteck 657">
              <a:extLst>
                <a:ext uri="{FF2B5EF4-FFF2-40B4-BE49-F238E27FC236}">
                  <a16:creationId xmlns:a16="http://schemas.microsoft.com/office/drawing/2014/main" id="{480992DD-E57D-F2D2-13A3-8A77EDA7BA2B}"/>
                </a:ext>
              </a:extLst>
            </p:cNvPr>
            <p:cNvSpPr/>
            <p:nvPr userDrawn="1"/>
          </p:nvSpPr>
          <p:spPr bwMode="gray">
            <a:xfrm>
              <a:off x="1011044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9" name="Rechteck 658">
              <a:extLst>
                <a:ext uri="{FF2B5EF4-FFF2-40B4-BE49-F238E27FC236}">
                  <a16:creationId xmlns:a16="http://schemas.microsoft.com/office/drawing/2014/main" id="{59EBD9CE-25E2-7CAF-C292-EEA5BD21A168}"/>
                </a:ext>
              </a:extLst>
            </p:cNvPr>
            <p:cNvSpPr/>
            <p:nvPr userDrawn="1"/>
          </p:nvSpPr>
          <p:spPr bwMode="gray">
            <a:xfrm>
              <a:off x="953438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0" name="Rechteck 659">
              <a:extLst>
                <a:ext uri="{FF2B5EF4-FFF2-40B4-BE49-F238E27FC236}">
                  <a16:creationId xmlns:a16="http://schemas.microsoft.com/office/drawing/2014/main" id="{BB45BEF5-AAD1-B26C-F4D6-13F916F34AFD}"/>
                </a:ext>
              </a:extLst>
            </p:cNvPr>
            <p:cNvSpPr/>
            <p:nvPr userDrawn="1"/>
          </p:nvSpPr>
          <p:spPr bwMode="gray">
            <a:xfrm>
              <a:off x="895832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1" name="Rechteck 660">
              <a:extLst>
                <a:ext uri="{FF2B5EF4-FFF2-40B4-BE49-F238E27FC236}">
                  <a16:creationId xmlns:a16="http://schemas.microsoft.com/office/drawing/2014/main" id="{F0D48A5F-81A7-7587-B3C9-ECE81B97FD4B}"/>
                </a:ext>
              </a:extLst>
            </p:cNvPr>
            <p:cNvSpPr/>
            <p:nvPr userDrawn="1"/>
          </p:nvSpPr>
          <p:spPr bwMode="gray">
            <a:xfrm>
              <a:off x="838225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2" name="Rechteck 661">
              <a:extLst>
                <a:ext uri="{FF2B5EF4-FFF2-40B4-BE49-F238E27FC236}">
                  <a16:creationId xmlns:a16="http://schemas.microsoft.com/office/drawing/2014/main" id="{72E548A1-3EBB-F980-F892-3A233E2F9F16}"/>
                </a:ext>
              </a:extLst>
            </p:cNvPr>
            <p:cNvSpPr/>
            <p:nvPr userDrawn="1"/>
          </p:nvSpPr>
          <p:spPr bwMode="gray">
            <a:xfrm>
              <a:off x="780619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3" name="Rechteck 662">
              <a:extLst>
                <a:ext uri="{FF2B5EF4-FFF2-40B4-BE49-F238E27FC236}">
                  <a16:creationId xmlns:a16="http://schemas.microsoft.com/office/drawing/2014/main" id="{6D8158C4-CCC2-0FB4-E6FE-DFC317F221B5}"/>
                </a:ext>
              </a:extLst>
            </p:cNvPr>
            <p:cNvSpPr/>
            <p:nvPr userDrawn="1"/>
          </p:nvSpPr>
          <p:spPr bwMode="gray">
            <a:xfrm>
              <a:off x="723012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4" name="Rechteck 663">
              <a:extLst>
                <a:ext uri="{FF2B5EF4-FFF2-40B4-BE49-F238E27FC236}">
                  <a16:creationId xmlns:a16="http://schemas.microsoft.com/office/drawing/2014/main" id="{156F67DC-623D-9489-F905-F7A7D5837B23}"/>
                </a:ext>
              </a:extLst>
            </p:cNvPr>
            <p:cNvSpPr/>
            <p:nvPr userDrawn="1"/>
          </p:nvSpPr>
          <p:spPr bwMode="gray">
            <a:xfrm>
              <a:off x="665406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5" name="Rechteck 664">
              <a:extLst>
                <a:ext uri="{FF2B5EF4-FFF2-40B4-BE49-F238E27FC236}">
                  <a16:creationId xmlns:a16="http://schemas.microsoft.com/office/drawing/2014/main" id="{83DCF8B1-9AF1-A95E-18F3-349FE63C16D2}"/>
                </a:ext>
              </a:extLst>
            </p:cNvPr>
            <p:cNvSpPr/>
            <p:nvPr userDrawn="1"/>
          </p:nvSpPr>
          <p:spPr bwMode="gray">
            <a:xfrm>
              <a:off x="607800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6" name="Rechteck 665">
              <a:extLst>
                <a:ext uri="{FF2B5EF4-FFF2-40B4-BE49-F238E27FC236}">
                  <a16:creationId xmlns:a16="http://schemas.microsoft.com/office/drawing/2014/main" id="{6850E760-9A2D-81BC-446A-221A4B70AB56}"/>
                </a:ext>
              </a:extLst>
            </p:cNvPr>
            <p:cNvSpPr/>
            <p:nvPr userDrawn="1"/>
          </p:nvSpPr>
          <p:spPr bwMode="gray">
            <a:xfrm>
              <a:off x="550193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7" name="Rechteck 666">
              <a:extLst>
                <a:ext uri="{FF2B5EF4-FFF2-40B4-BE49-F238E27FC236}">
                  <a16:creationId xmlns:a16="http://schemas.microsoft.com/office/drawing/2014/main" id="{B4F72381-38D7-62AB-CF30-216A498DF2B7}"/>
                </a:ext>
              </a:extLst>
            </p:cNvPr>
            <p:cNvSpPr/>
            <p:nvPr userDrawn="1"/>
          </p:nvSpPr>
          <p:spPr bwMode="gray">
            <a:xfrm>
              <a:off x="492587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8" name="Rechteck 667">
              <a:extLst>
                <a:ext uri="{FF2B5EF4-FFF2-40B4-BE49-F238E27FC236}">
                  <a16:creationId xmlns:a16="http://schemas.microsoft.com/office/drawing/2014/main" id="{1CC9EF21-6C0C-6934-0139-7D79B4D24A67}"/>
                </a:ext>
              </a:extLst>
            </p:cNvPr>
            <p:cNvSpPr/>
            <p:nvPr userDrawn="1"/>
          </p:nvSpPr>
          <p:spPr bwMode="gray">
            <a:xfrm>
              <a:off x="434980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9" name="Rechteck 668">
              <a:extLst>
                <a:ext uri="{FF2B5EF4-FFF2-40B4-BE49-F238E27FC236}">
                  <a16:creationId xmlns:a16="http://schemas.microsoft.com/office/drawing/2014/main" id="{8CE0A793-542F-C8DD-4AD6-EB6BD2B6AF9C}"/>
                </a:ext>
              </a:extLst>
            </p:cNvPr>
            <p:cNvSpPr/>
            <p:nvPr userDrawn="1"/>
          </p:nvSpPr>
          <p:spPr bwMode="gray">
            <a:xfrm>
              <a:off x="377374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0" name="Rechteck 669">
              <a:extLst>
                <a:ext uri="{FF2B5EF4-FFF2-40B4-BE49-F238E27FC236}">
                  <a16:creationId xmlns:a16="http://schemas.microsoft.com/office/drawing/2014/main" id="{43E46087-5786-3926-6890-25CB65313D3A}"/>
                </a:ext>
              </a:extLst>
            </p:cNvPr>
            <p:cNvSpPr/>
            <p:nvPr userDrawn="1"/>
          </p:nvSpPr>
          <p:spPr bwMode="gray">
            <a:xfrm>
              <a:off x="319768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1" name="Rechteck 670">
              <a:extLst>
                <a:ext uri="{FF2B5EF4-FFF2-40B4-BE49-F238E27FC236}">
                  <a16:creationId xmlns:a16="http://schemas.microsoft.com/office/drawing/2014/main" id="{B1953D33-518E-4CD8-8748-D1C9046958B0}"/>
                </a:ext>
              </a:extLst>
            </p:cNvPr>
            <p:cNvSpPr/>
            <p:nvPr userDrawn="1"/>
          </p:nvSpPr>
          <p:spPr bwMode="gray">
            <a:xfrm>
              <a:off x="262161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2" name="Rechteck 671">
              <a:extLst>
                <a:ext uri="{FF2B5EF4-FFF2-40B4-BE49-F238E27FC236}">
                  <a16:creationId xmlns:a16="http://schemas.microsoft.com/office/drawing/2014/main" id="{464DF9B9-535C-B43F-6757-7D29ABDC31EB}"/>
                </a:ext>
              </a:extLst>
            </p:cNvPr>
            <p:cNvSpPr/>
            <p:nvPr userDrawn="1"/>
          </p:nvSpPr>
          <p:spPr bwMode="gray">
            <a:xfrm>
              <a:off x="204555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3" name="Rechteck 672">
              <a:extLst>
                <a:ext uri="{FF2B5EF4-FFF2-40B4-BE49-F238E27FC236}">
                  <a16:creationId xmlns:a16="http://schemas.microsoft.com/office/drawing/2014/main" id="{C5A4BAFF-CDF2-EC4D-E5E9-9B38D7DB30DC}"/>
                </a:ext>
              </a:extLst>
            </p:cNvPr>
            <p:cNvSpPr/>
            <p:nvPr userDrawn="1"/>
          </p:nvSpPr>
          <p:spPr bwMode="gray">
            <a:xfrm>
              <a:off x="146948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4" name="Rechteck 673">
              <a:extLst>
                <a:ext uri="{FF2B5EF4-FFF2-40B4-BE49-F238E27FC236}">
                  <a16:creationId xmlns:a16="http://schemas.microsoft.com/office/drawing/2014/main" id="{962EE49E-D9AD-1752-A20A-5CDAA99CF7D5}"/>
                </a:ext>
              </a:extLst>
            </p:cNvPr>
            <p:cNvSpPr/>
            <p:nvPr userDrawn="1"/>
          </p:nvSpPr>
          <p:spPr bwMode="gray">
            <a:xfrm>
              <a:off x="89342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5" name="Rechteck 674">
              <a:extLst>
                <a:ext uri="{FF2B5EF4-FFF2-40B4-BE49-F238E27FC236}">
                  <a16:creationId xmlns:a16="http://schemas.microsoft.com/office/drawing/2014/main" id="{B0AA9087-E623-316F-3AD1-C5186EB2637C}"/>
                </a:ext>
              </a:extLst>
            </p:cNvPr>
            <p:cNvSpPr/>
            <p:nvPr userDrawn="1"/>
          </p:nvSpPr>
          <p:spPr bwMode="gray">
            <a:xfrm>
              <a:off x="31736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6" name="Rechteck 675">
              <a:extLst>
                <a:ext uri="{FF2B5EF4-FFF2-40B4-BE49-F238E27FC236}">
                  <a16:creationId xmlns:a16="http://schemas.microsoft.com/office/drawing/2014/main" id="{36D8A44F-1AAE-CDAE-8004-49C56AF02DDC}"/>
                </a:ext>
              </a:extLst>
            </p:cNvPr>
            <p:cNvSpPr/>
            <p:nvPr userDrawn="1"/>
          </p:nvSpPr>
          <p:spPr bwMode="gray">
            <a:xfrm>
              <a:off x="1126257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7" name="Rechteck 676">
              <a:extLst>
                <a:ext uri="{FF2B5EF4-FFF2-40B4-BE49-F238E27FC236}">
                  <a16:creationId xmlns:a16="http://schemas.microsoft.com/office/drawing/2014/main" id="{2DC78339-D3FE-5E6B-0B9E-7B7F8C2E2EF8}"/>
                </a:ext>
              </a:extLst>
            </p:cNvPr>
            <p:cNvSpPr/>
            <p:nvPr userDrawn="1"/>
          </p:nvSpPr>
          <p:spPr bwMode="gray">
            <a:xfrm>
              <a:off x="1068651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8" name="Rechteck 677">
              <a:extLst>
                <a:ext uri="{FF2B5EF4-FFF2-40B4-BE49-F238E27FC236}">
                  <a16:creationId xmlns:a16="http://schemas.microsoft.com/office/drawing/2014/main" id="{B422DD3B-B13A-B223-C2A6-ECF3D68EB6D8}"/>
                </a:ext>
              </a:extLst>
            </p:cNvPr>
            <p:cNvSpPr/>
            <p:nvPr userDrawn="1"/>
          </p:nvSpPr>
          <p:spPr bwMode="gray">
            <a:xfrm>
              <a:off x="1011044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9" name="Rechteck 678">
              <a:extLst>
                <a:ext uri="{FF2B5EF4-FFF2-40B4-BE49-F238E27FC236}">
                  <a16:creationId xmlns:a16="http://schemas.microsoft.com/office/drawing/2014/main" id="{15C3934F-E177-3BD9-7860-BD44B1652F7C}"/>
                </a:ext>
              </a:extLst>
            </p:cNvPr>
            <p:cNvSpPr/>
            <p:nvPr userDrawn="1"/>
          </p:nvSpPr>
          <p:spPr bwMode="gray">
            <a:xfrm>
              <a:off x="953438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0" name="Rechteck 679">
              <a:extLst>
                <a:ext uri="{FF2B5EF4-FFF2-40B4-BE49-F238E27FC236}">
                  <a16:creationId xmlns:a16="http://schemas.microsoft.com/office/drawing/2014/main" id="{E62860DE-8BFF-6401-4308-F0F0BDDCB902}"/>
                </a:ext>
              </a:extLst>
            </p:cNvPr>
            <p:cNvSpPr/>
            <p:nvPr userDrawn="1"/>
          </p:nvSpPr>
          <p:spPr bwMode="gray">
            <a:xfrm>
              <a:off x="895832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1" name="Rechteck 680">
              <a:extLst>
                <a:ext uri="{FF2B5EF4-FFF2-40B4-BE49-F238E27FC236}">
                  <a16:creationId xmlns:a16="http://schemas.microsoft.com/office/drawing/2014/main" id="{9A81B1B1-5E20-66E8-9C86-0534A8566DB2}"/>
                </a:ext>
              </a:extLst>
            </p:cNvPr>
            <p:cNvSpPr/>
            <p:nvPr userDrawn="1"/>
          </p:nvSpPr>
          <p:spPr bwMode="gray">
            <a:xfrm>
              <a:off x="838225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2" name="Rechteck 681">
              <a:extLst>
                <a:ext uri="{FF2B5EF4-FFF2-40B4-BE49-F238E27FC236}">
                  <a16:creationId xmlns:a16="http://schemas.microsoft.com/office/drawing/2014/main" id="{F5B304B7-357C-873E-A2D8-BF4F6CC202CF}"/>
                </a:ext>
              </a:extLst>
            </p:cNvPr>
            <p:cNvSpPr/>
            <p:nvPr userDrawn="1"/>
          </p:nvSpPr>
          <p:spPr bwMode="gray">
            <a:xfrm>
              <a:off x="780619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3" name="Rechteck 682">
              <a:extLst>
                <a:ext uri="{FF2B5EF4-FFF2-40B4-BE49-F238E27FC236}">
                  <a16:creationId xmlns:a16="http://schemas.microsoft.com/office/drawing/2014/main" id="{3062B128-7717-E1E1-7687-A11C1B65C8CD}"/>
                </a:ext>
              </a:extLst>
            </p:cNvPr>
            <p:cNvSpPr/>
            <p:nvPr userDrawn="1"/>
          </p:nvSpPr>
          <p:spPr bwMode="gray">
            <a:xfrm>
              <a:off x="723012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4" name="Rechteck 683">
              <a:extLst>
                <a:ext uri="{FF2B5EF4-FFF2-40B4-BE49-F238E27FC236}">
                  <a16:creationId xmlns:a16="http://schemas.microsoft.com/office/drawing/2014/main" id="{A4CA6D36-DC34-6A09-D97C-321888684FC7}"/>
                </a:ext>
              </a:extLst>
            </p:cNvPr>
            <p:cNvSpPr/>
            <p:nvPr userDrawn="1"/>
          </p:nvSpPr>
          <p:spPr bwMode="gray">
            <a:xfrm>
              <a:off x="665406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5" name="Rechteck 684">
              <a:extLst>
                <a:ext uri="{FF2B5EF4-FFF2-40B4-BE49-F238E27FC236}">
                  <a16:creationId xmlns:a16="http://schemas.microsoft.com/office/drawing/2014/main" id="{1EA78B5B-57C8-AAB1-CFA6-1B3254EEAF16}"/>
                </a:ext>
              </a:extLst>
            </p:cNvPr>
            <p:cNvSpPr/>
            <p:nvPr userDrawn="1"/>
          </p:nvSpPr>
          <p:spPr bwMode="gray">
            <a:xfrm>
              <a:off x="607800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6" name="Rechteck 685">
              <a:extLst>
                <a:ext uri="{FF2B5EF4-FFF2-40B4-BE49-F238E27FC236}">
                  <a16:creationId xmlns:a16="http://schemas.microsoft.com/office/drawing/2014/main" id="{35CEDADC-7EB6-9D37-AE09-952136E87989}"/>
                </a:ext>
              </a:extLst>
            </p:cNvPr>
            <p:cNvSpPr/>
            <p:nvPr userDrawn="1"/>
          </p:nvSpPr>
          <p:spPr bwMode="gray">
            <a:xfrm>
              <a:off x="550193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7" name="Rechteck 686">
              <a:extLst>
                <a:ext uri="{FF2B5EF4-FFF2-40B4-BE49-F238E27FC236}">
                  <a16:creationId xmlns:a16="http://schemas.microsoft.com/office/drawing/2014/main" id="{9E9AC355-92FA-63D1-32F3-5153C5E83701}"/>
                </a:ext>
              </a:extLst>
            </p:cNvPr>
            <p:cNvSpPr/>
            <p:nvPr userDrawn="1"/>
          </p:nvSpPr>
          <p:spPr bwMode="gray">
            <a:xfrm>
              <a:off x="492587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8" name="Rechteck 687">
              <a:extLst>
                <a:ext uri="{FF2B5EF4-FFF2-40B4-BE49-F238E27FC236}">
                  <a16:creationId xmlns:a16="http://schemas.microsoft.com/office/drawing/2014/main" id="{6D994F92-578F-34F9-6C91-54D1D59A0E9B}"/>
                </a:ext>
              </a:extLst>
            </p:cNvPr>
            <p:cNvSpPr/>
            <p:nvPr userDrawn="1"/>
          </p:nvSpPr>
          <p:spPr bwMode="gray">
            <a:xfrm>
              <a:off x="434980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9" name="Rechteck 688">
              <a:extLst>
                <a:ext uri="{FF2B5EF4-FFF2-40B4-BE49-F238E27FC236}">
                  <a16:creationId xmlns:a16="http://schemas.microsoft.com/office/drawing/2014/main" id="{58C09640-E043-63A3-EB9F-3A2B3BBE3D30}"/>
                </a:ext>
              </a:extLst>
            </p:cNvPr>
            <p:cNvSpPr/>
            <p:nvPr userDrawn="1"/>
          </p:nvSpPr>
          <p:spPr bwMode="gray">
            <a:xfrm>
              <a:off x="377374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0" name="Rechteck 689">
              <a:extLst>
                <a:ext uri="{FF2B5EF4-FFF2-40B4-BE49-F238E27FC236}">
                  <a16:creationId xmlns:a16="http://schemas.microsoft.com/office/drawing/2014/main" id="{98111A9E-C0D5-DE1D-9350-F1713FFCF263}"/>
                </a:ext>
              </a:extLst>
            </p:cNvPr>
            <p:cNvSpPr/>
            <p:nvPr userDrawn="1"/>
          </p:nvSpPr>
          <p:spPr bwMode="gray">
            <a:xfrm>
              <a:off x="319768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1" name="Rechteck 690">
              <a:extLst>
                <a:ext uri="{FF2B5EF4-FFF2-40B4-BE49-F238E27FC236}">
                  <a16:creationId xmlns:a16="http://schemas.microsoft.com/office/drawing/2014/main" id="{E88A1554-F28E-1007-658F-86D41505DDDE}"/>
                </a:ext>
              </a:extLst>
            </p:cNvPr>
            <p:cNvSpPr/>
            <p:nvPr userDrawn="1"/>
          </p:nvSpPr>
          <p:spPr bwMode="gray">
            <a:xfrm>
              <a:off x="262161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2" name="Rechteck 691">
              <a:extLst>
                <a:ext uri="{FF2B5EF4-FFF2-40B4-BE49-F238E27FC236}">
                  <a16:creationId xmlns:a16="http://schemas.microsoft.com/office/drawing/2014/main" id="{5EA3970A-5D6F-0BBE-C197-07277235DE67}"/>
                </a:ext>
              </a:extLst>
            </p:cNvPr>
            <p:cNvSpPr/>
            <p:nvPr userDrawn="1"/>
          </p:nvSpPr>
          <p:spPr bwMode="gray">
            <a:xfrm>
              <a:off x="204555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3" name="Rechteck 692">
              <a:extLst>
                <a:ext uri="{FF2B5EF4-FFF2-40B4-BE49-F238E27FC236}">
                  <a16:creationId xmlns:a16="http://schemas.microsoft.com/office/drawing/2014/main" id="{F5A33F98-E753-9B85-5A4D-C4225BD41879}"/>
                </a:ext>
              </a:extLst>
            </p:cNvPr>
            <p:cNvSpPr/>
            <p:nvPr userDrawn="1"/>
          </p:nvSpPr>
          <p:spPr bwMode="gray">
            <a:xfrm>
              <a:off x="146948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4" name="Rechteck 693">
              <a:extLst>
                <a:ext uri="{FF2B5EF4-FFF2-40B4-BE49-F238E27FC236}">
                  <a16:creationId xmlns:a16="http://schemas.microsoft.com/office/drawing/2014/main" id="{59C265C9-248D-5D03-020E-E010ABCB3969}"/>
                </a:ext>
              </a:extLst>
            </p:cNvPr>
            <p:cNvSpPr/>
            <p:nvPr userDrawn="1"/>
          </p:nvSpPr>
          <p:spPr bwMode="gray">
            <a:xfrm>
              <a:off x="89342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5" name="Rechteck 694">
              <a:extLst>
                <a:ext uri="{FF2B5EF4-FFF2-40B4-BE49-F238E27FC236}">
                  <a16:creationId xmlns:a16="http://schemas.microsoft.com/office/drawing/2014/main" id="{9B14CFBC-5640-DF1C-5D3B-0A187F6E7D70}"/>
                </a:ext>
              </a:extLst>
            </p:cNvPr>
            <p:cNvSpPr/>
            <p:nvPr userDrawn="1"/>
          </p:nvSpPr>
          <p:spPr bwMode="gray">
            <a:xfrm>
              <a:off x="31736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6" name="Rechteck 695">
              <a:extLst>
                <a:ext uri="{FF2B5EF4-FFF2-40B4-BE49-F238E27FC236}">
                  <a16:creationId xmlns:a16="http://schemas.microsoft.com/office/drawing/2014/main" id="{E51D979F-FB50-1B33-E13E-EDC5E673F0E3}"/>
                </a:ext>
              </a:extLst>
            </p:cNvPr>
            <p:cNvSpPr/>
            <p:nvPr userDrawn="1"/>
          </p:nvSpPr>
          <p:spPr bwMode="gray">
            <a:xfrm>
              <a:off x="1126257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7" name="Rechteck 696">
              <a:extLst>
                <a:ext uri="{FF2B5EF4-FFF2-40B4-BE49-F238E27FC236}">
                  <a16:creationId xmlns:a16="http://schemas.microsoft.com/office/drawing/2014/main" id="{8A3B770B-A7DB-5435-B74E-63867B471738}"/>
                </a:ext>
              </a:extLst>
            </p:cNvPr>
            <p:cNvSpPr/>
            <p:nvPr userDrawn="1"/>
          </p:nvSpPr>
          <p:spPr bwMode="gray">
            <a:xfrm>
              <a:off x="1068651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8" name="Rechteck 697">
              <a:extLst>
                <a:ext uri="{FF2B5EF4-FFF2-40B4-BE49-F238E27FC236}">
                  <a16:creationId xmlns:a16="http://schemas.microsoft.com/office/drawing/2014/main" id="{B2AAD276-F093-78F8-7000-9CD7B2278160}"/>
                </a:ext>
              </a:extLst>
            </p:cNvPr>
            <p:cNvSpPr/>
            <p:nvPr userDrawn="1"/>
          </p:nvSpPr>
          <p:spPr bwMode="gray">
            <a:xfrm>
              <a:off x="1011044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9" name="Rechteck 698">
              <a:extLst>
                <a:ext uri="{FF2B5EF4-FFF2-40B4-BE49-F238E27FC236}">
                  <a16:creationId xmlns:a16="http://schemas.microsoft.com/office/drawing/2014/main" id="{055A9DB6-1FAD-E1D4-9585-13799D013C73}"/>
                </a:ext>
              </a:extLst>
            </p:cNvPr>
            <p:cNvSpPr/>
            <p:nvPr userDrawn="1"/>
          </p:nvSpPr>
          <p:spPr bwMode="gray">
            <a:xfrm>
              <a:off x="953438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0" name="Rechteck 699">
              <a:extLst>
                <a:ext uri="{FF2B5EF4-FFF2-40B4-BE49-F238E27FC236}">
                  <a16:creationId xmlns:a16="http://schemas.microsoft.com/office/drawing/2014/main" id="{27D2771B-73FB-E367-7CC0-774D940C1AB0}"/>
                </a:ext>
              </a:extLst>
            </p:cNvPr>
            <p:cNvSpPr/>
            <p:nvPr userDrawn="1"/>
          </p:nvSpPr>
          <p:spPr bwMode="gray">
            <a:xfrm>
              <a:off x="895832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1" name="Rechteck 700">
              <a:extLst>
                <a:ext uri="{FF2B5EF4-FFF2-40B4-BE49-F238E27FC236}">
                  <a16:creationId xmlns:a16="http://schemas.microsoft.com/office/drawing/2014/main" id="{179B83AC-A0D7-5190-0B53-1D781A27B301}"/>
                </a:ext>
              </a:extLst>
            </p:cNvPr>
            <p:cNvSpPr/>
            <p:nvPr userDrawn="1"/>
          </p:nvSpPr>
          <p:spPr bwMode="gray">
            <a:xfrm>
              <a:off x="838225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2" name="Rechteck 701">
              <a:extLst>
                <a:ext uri="{FF2B5EF4-FFF2-40B4-BE49-F238E27FC236}">
                  <a16:creationId xmlns:a16="http://schemas.microsoft.com/office/drawing/2014/main" id="{9F8A48D9-9826-8C78-A15E-FE974471A541}"/>
                </a:ext>
              </a:extLst>
            </p:cNvPr>
            <p:cNvSpPr/>
            <p:nvPr userDrawn="1"/>
          </p:nvSpPr>
          <p:spPr bwMode="gray">
            <a:xfrm>
              <a:off x="780619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3" name="Rechteck 702">
              <a:extLst>
                <a:ext uri="{FF2B5EF4-FFF2-40B4-BE49-F238E27FC236}">
                  <a16:creationId xmlns:a16="http://schemas.microsoft.com/office/drawing/2014/main" id="{E851EF8C-B1DA-CB4A-0E3E-5A4D2EE72C75}"/>
                </a:ext>
              </a:extLst>
            </p:cNvPr>
            <p:cNvSpPr/>
            <p:nvPr userDrawn="1"/>
          </p:nvSpPr>
          <p:spPr bwMode="gray">
            <a:xfrm>
              <a:off x="723012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4" name="Rechteck 703">
              <a:extLst>
                <a:ext uri="{FF2B5EF4-FFF2-40B4-BE49-F238E27FC236}">
                  <a16:creationId xmlns:a16="http://schemas.microsoft.com/office/drawing/2014/main" id="{222E1F5C-9DBE-F85F-4F96-D1EBE6DB7CCA}"/>
                </a:ext>
              </a:extLst>
            </p:cNvPr>
            <p:cNvSpPr/>
            <p:nvPr userDrawn="1"/>
          </p:nvSpPr>
          <p:spPr bwMode="gray">
            <a:xfrm>
              <a:off x="665406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5" name="Rechteck 704">
              <a:extLst>
                <a:ext uri="{FF2B5EF4-FFF2-40B4-BE49-F238E27FC236}">
                  <a16:creationId xmlns:a16="http://schemas.microsoft.com/office/drawing/2014/main" id="{C4A437BD-4BE9-E1C9-1C7D-E06334E1A5AB}"/>
                </a:ext>
              </a:extLst>
            </p:cNvPr>
            <p:cNvSpPr/>
            <p:nvPr userDrawn="1"/>
          </p:nvSpPr>
          <p:spPr bwMode="gray">
            <a:xfrm>
              <a:off x="607800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6" name="Rechteck 705">
              <a:extLst>
                <a:ext uri="{FF2B5EF4-FFF2-40B4-BE49-F238E27FC236}">
                  <a16:creationId xmlns:a16="http://schemas.microsoft.com/office/drawing/2014/main" id="{2767AFCE-79E8-9501-F4DA-BCAE9F62AA50}"/>
                </a:ext>
              </a:extLst>
            </p:cNvPr>
            <p:cNvSpPr/>
            <p:nvPr userDrawn="1"/>
          </p:nvSpPr>
          <p:spPr bwMode="gray">
            <a:xfrm>
              <a:off x="550193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7" name="Rechteck 706">
              <a:extLst>
                <a:ext uri="{FF2B5EF4-FFF2-40B4-BE49-F238E27FC236}">
                  <a16:creationId xmlns:a16="http://schemas.microsoft.com/office/drawing/2014/main" id="{A728F6C1-8F33-1BCB-33D3-68ED35E6EDB4}"/>
                </a:ext>
              </a:extLst>
            </p:cNvPr>
            <p:cNvSpPr/>
            <p:nvPr userDrawn="1"/>
          </p:nvSpPr>
          <p:spPr bwMode="gray">
            <a:xfrm>
              <a:off x="492587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8" name="Rechteck 707">
              <a:extLst>
                <a:ext uri="{FF2B5EF4-FFF2-40B4-BE49-F238E27FC236}">
                  <a16:creationId xmlns:a16="http://schemas.microsoft.com/office/drawing/2014/main" id="{E42BA9F2-BFCE-E83E-A008-592C3F7DA56C}"/>
                </a:ext>
              </a:extLst>
            </p:cNvPr>
            <p:cNvSpPr/>
            <p:nvPr userDrawn="1"/>
          </p:nvSpPr>
          <p:spPr bwMode="gray">
            <a:xfrm>
              <a:off x="434980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9" name="Rechteck 708">
              <a:extLst>
                <a:ext uri="{FF2B5EF4-FFF2-40B4-BE49-F238E27FC236}">
                  <a16:creationId xmlns:a16="http://schemas.microsoft.com/office/drawing/2014/main" id="{DAFC49E7-9421-DD27-18B4-3B559C1B1A2B}"/>
                </a:ext>
              </a:extLst>
            </p:cNvPr>
            <p:cNvSpPr/>
            <p:nvPr userDrawn="1"/>
          </p:nvSpPr>
          <p:spPr bwMode="gray">
            <a:xfrm>
              <a:off x="377374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0" name="Rechteck 709">
              <a:extLst>
                <a:ext uri="{FF2B5EF4-FFF2-40B4-BE49-F238E27FC236}">
                  <a16:creationId xmlns:a16="http://schemas.microsoft.com/office/drawing/2014/main" id="{4C190DCC-A08F-DC52-3115-74F9E1BB0D3C}"/>
                </a:ext>
              </a:extLst>
            </p:cNvPr>
            <p:cNvSpPr/>
            <p:nvPr userDrawn="1"/>
          </p:nvSpPr>
          <p:spPr bwMode="gray">
            <a:xfrm>
              <a:off x="319768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1" name="Rechteck 710">
              <a:extLst>
                <a:ext uri="{FF2B5EF4-FFF2-40B4-BE49-F238E27FC236}">
                  <a16:creationId xmlns:a16="http://schemas.microsoft.com/office/drawing/2014/main" id="{9B243031-1425-309A-DD01-1B0FEBB9E833}"/>
                </a:ext>
              </a:extLst>
            </p:cNvPr>
            <p:cNvSpPr/>
            <p:nvPr userDrawn="1"/>
          </p:nvSpPr>
          <p:spPr bwMode="gray">
            <a:xfrm>
              <a:off x="262161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2" name="Rechteck 711">
              <a:extLst>
                <a:ext uri="{FF2B5EF4-FFF2-40B4-BE49-F238E27FC236}">
                  <a16:creationId xmlns:a16="http://schemas.microsoft.com/office/drawing/2014/main" id="{5B865045-23F6-3487-91DC-CDAC5A67994C}"/>
                </a:ext>
              </a:extLst>
            </p:cNvPr>
            <p:cNvSpPr/>
            <p:nvPr userDrawn="1"/>
          </p:nvSpPr>
          <p:spPr bwMode="gray">
            <a:xfrm>
              <a:off x="204555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3" name="Rechteck 712">
              <a:extLst>
                <a:ext uri="{FF2B5EF4-FFF2-40B4-BE49-F238E27FC236}">
                  <a16:creationId xmlns:a16="http://schemas.microsoft.com/office/drawing/2014/main" id="{CEEACEAA-2999-79E0-4F3B-8ED3AF1203C5}"/>
                </a:ext>
              </a:extLst>
            </p:cNvPr>
            <p:cNvSpPr/>
            <p:nvPr userDrawn="1"/>
          </p:nvSpPr>
          <p:spPr bwMode="gray">
            <a:xfrm>
              <a:off x="146948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4" name="Rechteck 713">
              <a:extLst>
                <a:ext uri="{FF2B5EF4-FFF2-40B4-BE49-F238E27FC236}">
                  <a16:creationId xmlns:a16="http://schemas.microsoft.com/office/drawing/2014/main" id="{9C77E7C4-00FF-5880-327D-7AEC7D9C0FA5}"/>
                </a:ext>
              </a:extLst>
            </p:cNvPr>
            <p:cNvSpPr/>
            <p:nvPr userDrawn="1"/>
          </p:nvSpPr>
          <p:spPr bwMode="gray">
            <a:xfrm>
              <a:off x="89342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5" name="Rechteck 714">
              <a:extLst>
                <a:ext uri="{FF2B5EF4-FFF2-40B4-BE49-F238E27FC236}">
                  <a16:creationId xmlns:a16="http://schemas.microsoft.com/office/drawing/2014/main" id="{56825C1B-8DD8-A41D-4342-645D304FA9DC}"/>
                </a:ext>
              </a:extLst>
            </p:cNvPr>
            <p:cNvSpPr/>
            <p:nvPr userDrawn="1"/>
          </p:nvSpPr>
          <p:spPr bwMode="gray">
            <a:xfrm>
              <a:off x="31736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6" name="Rechteck 715">
              <a:extLst>
                <a:ext uri="{FF2B5EF4-FFF2-40B4-BE49-F238E27FC236}">
                  <a16:creationId xmlns:a16="http://schemas.microsoft.com/office/drawing/2014/main" id="{35DD90C0-E5CC-BDDD-B4F7-709FB844C87D}"/>
                </a:ext>
              </a:extLst>
            </p:cNvPr>
            <p:cNvSpPr/>
            <p:nvPr userDrawn="1"/>
          </p:nvSpPr>
          <p:spPr bwMode="gray">
            <a:xfrm>
              <a:off x="1126257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7" name="Rechteck 716">
              <a:extLst>
                <a:ext uri="{FF2B5EF4-FFF2-40B4-BE49-F238E27FC236}">
                  <a16:creationId xmlns:a16="http://schemas.microsoft.com/office/drawing/2014/main" id="{B07A1F80-D748-8330-A62F-BCD9E8E6B982}"/>
                </a:ext>
              </a:extLst>
            </p:cNvPr>
            <p:cNvSpPr/>
            <p:nvPr userDrawn="1"/>
          </p:nvSpPr>
          <p:spPr bwMode="gray">
            <a:xfrm>
              <a:off x="1068651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8" name="Rechteck 717">
              <a:extLst>
                <a:ext uri="{FF2B5EF4-FFF2-40B4-BE49-F238E27FC236}">
                  <a16:creationId xmlns:a16="http://schemas.microsoft.com/office/drawing/2014/main" id="{CF32D899-BA00-BA97-9E2F-DA60FD09D9E4}"/>
                </a:ext>
              </a:extLst>
            </p:cNvPr>
            <p:cNvSpPr/>
            <p:nvPr userDrawn="1"/>
          </p:nvSpPr>
          <p:spPr bwMode="gray">
            <a:xfrm>
              <a:off x="1011044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9" name="Rechteck 718">
              <a:extLst>
                <a:ext uri="{FF2B5EF4-FFF2-40B4-BE49-F238E27FC236}">
                  <a16:creationId xmlns:a16="http://schemas.microsoft.com/office/drawing/2014/main" id="{AAFC2B6F-E519-3557-6EA9-9EC6715CCB24}"/>
                </a:ext>
              </a:extLst>
            </p:cNvPr>
            <p:cNvSpPr/>
            <p:nvPr userDrawn="1"/>
          </p:nvSpPr>
          <p:spPr bwMode="gray">
            <a:xfrm>
              <a:off x="953438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0" name="Rechteck 719">
              <a:extLst>
                <a:ext uri="{FF2B5EF4-FFF2-40B4-BE49-F238E27FC236}">
                  <a16:creationId xmlns:a16="http://schemas.microsoft.com/office/drawing/2014/main" id="{48B93CBE-96C2-B5CB-3B71-CECBCADD0AB9}"/>
                </a:ext>
              </a:extLst>
            </p:cNvPr>
            <p:cNvSpPr/>
            <p:nvPr userDrawn="1"/>
          </p:nvSpPr>
          <p:spPr bwMode="gray">
            <a:xfrm>
              <a:off x="895832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1" name="Rechteck 720">
              <a:extLst>
                <a:ext uri="{FF2B5EF4-FFF2-40B4-BE49-F238E27FC236}">
                  <a16:creationId xmlns:a16="http://schemas.microsoft.com/office/drawing/2014/main" id="{E5A13217-8A5B-0C63-10BD-98407E413EAC}"/>
                </a:ext>
              </a:extLst>
            </p:cNvPr>
            <p:cNvSpPr/>
            <p:nvPr userDrawn="1"/>
          </p:nvSpPr>
          <p:spPr bwMode="gray">
            <a:xfrm>
              <a:off x="838225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2" name="Rechteck 721">
              <a:extLst>
                <a:ext uri="{FF2B5EF4-FFF2-40B4-BE49-F238E27FC236}">
                  <a16:creationId xmlns:a16="http://schemas.microsoft.com/office/drawing/2014/main" id="{EA5EBFE0-5C25-81D3-10CE-B2214F7246A5}"/>
                </a:ext>
              </a:extLst>
            </p:cNvPr>
            <p:cNvSpPr/>
            <p:nvPr userDrawn="1"/>
          </p:nvSpPr>
          <p:spPr bwMode="gray">
            <a:xfrm>
              <a:off x="780619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3" name="Rechteck 722">
              <a:extLst>
                <a:ext uri="{FF2B5EF4-FFF2-40B4-BE49-F238E27FC236}">
                  <a16:creationId xmlns:a16="http://schemas.microsoft.com/office/drawing/2014/main" id="{0A90F4F6-356C-853E-E408-3A041C355405}"/>
                </a:ext>
              </a:extLst>
            </p:cNvPr>
            <p:cNvSpPr/>
            <p:nvPr userDrawn="1"/>
          </p:nvSpPr>
          <p:spPr bwMode="gray">
            <a:xfrm>
              <a:off x="723012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4" name="Rechteck 723">
              <a:extLst>
                <a:ext uri="{FF2B5EF4-FFF2-40B4-BE49-F238E27FC236}">
                  <a16:creationId xmlns:a16="http://schemas.microsoft.com/office/drawing/2014/main" id="{6A253D50-C0C5-9E5A-0386-4E7C8A371421}"/>
                </a:ext>
              </a:extLst>
            </p:cNvPr>
            <p:cNvSpPr/>
            <p:nvPr userDrawn="1"/>
          </p:nvSpPr>
          <p:spPr bwMode="gray">
            <a:xfrm>
              <a:off x="665406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5" name="Rechteck 724">
              <a:extLst>
                <a:ext uri="{FF2B5EF4-FFF2-40B4-BE49-F238E27FC236}">
                  <a16:creationId xmlns:a16="http://schemas.microsoft.com/office/drawing/2014/main" id="{A195CACB-66FA-E828-69C1-ED45DDB77C7D}"/>
                </a:ext>
              </a:extLst>
            </p:cNvPr>
            <p:cNvSpPr/>
            <p:nvPr userDrawn="1"/>
          </p:nvSpPr>
          <p:spPr bwMode="gray">
            <a:xfrm>
              <a:off x="607800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6" name="Rechteck 725">
              <a:extLst>
                <a:ext uri="{FF2B5EF4-FFF2-40B4-BE49-F238E27FC236}">
                  <a16:creationId xmlns:a16="http://schemas.microsoft.com/office/drawing/2014/main" id="{45D103D5-642F-652C-BD76-6BC4CBF7BDCA}"/>
                </a:ext>
              </a:extLst>
            </p:cNvPr>
            <p:cNvSpPr/>
            <p:nvPr userDrawn="1"/>
          </p:nvSpPr>
          <p:spPr bwMode="gray">
            <a:xfrm>
              <a:off x="550193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7" name="Rechteck 726">
              <a:extLst>
                <a:ext uri="{FF2B5EF4-FFF2-40B4-BE49-F238E27FC236}">
                  <a16:creationId xmlns:a16="http://schemas.microsoft.com/office/drawing/2014/main" id="{DF0342CA-B081-3A15-ABEC-8F9EDED1FD22}"/>
                </a:ext>
              </a:extLst>
            </p:cNvPr>
            <p:cNvSpPr/>
            <p:nvPr userDrawn="1"/>
          </p:nvSpPr>
          <p:spPr bwMode="gray">
            <a:xfrm>
              <a:off x="492587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8" name="Rechteck 727">
              <a:extLst>
                <a:ext uri="{FF2B5EF4-FFF2-40B4-BE49-F238E27FC236}">
                  <a16:creationId xmlns:a16="http://schemas.microsoft.com/office/drawing/2014/main" id="{94B0D504-DF7A-B695-E595-3D416295D4B5}"/>
                </a:ext>
              </a:extLst>
            </p:cNvPr>
            <p:cNvSpPr/>
            <p:nvPr userDrawn="1"/>
          </p:nvSpPr>
          <p:spPr bwMode="gray">
            <a:xfrm>
              <a:off x="434980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9" name="Rechteck 728">
              <a:extLst>
                <a:ext uri="{FF2B5EF4-FFF2-40B4-BE49-F238E27FC236}">
                  <a16:creationId xmlns:a16="http://schemas.microsoft.com/office/drawing/2014/main" id="{E52C04F1-B4E0-A6F4-A1D5-C8C05CEABC2C}"/>
                </a:ext>
              </a:extLst>
            </p:cNvPr>
            <p:cNvSpPr/>
            <p:nvPr userDrawn="1"/>
          </p:nvSpPr>
          <p:spPr bwMode="gray">
            <a:xfrm>
              <a:off x="377374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0" name="Rechteck 729">
              <a:extLst>
                <a:ext uri="{FF2B5EF4-FFF2-40B4-BE49-F238E27FC236}">
                  <a16:creationId xmlns:a16="http://schemas.microsoft.com/office/drawing/2014/main" id="{2207DAE1-278B-F571-8324-F088B468BCAB}"/>
                </a:ext>
              </a:extLst>
            </p:cNvPr>
            <p:cNvSpPr/>
            <p:nvPr userDrawn="1"/>
          </p:nvSpPr>
          <p:spPr bwMode="gray">
            <a:xfrm>
              <a:off x="319768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1" name="Rechteck 730">
              <a:extLst>
                <a:ext uri="{FF2B5EF4-FFF2-40B4-BE49-F238E27FC236}">
                  <a16:creationId xmlns:a16="http://schemas.microsoft.com/office/drawing/2014/main" id="{5949E7AE-C6C4-4535-228F-0C80331DF664}"/>
                </a:ext>
              </a:extLst>
            </p:cNvPr>
            <p:cNvSpPr/>
            <p:nvPr userDrawn="1"/>
          </p:nvSpPr>
          <p:spPr bwMode="gray">
            <a:xfrm>
              <a:off x="262161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2" name="Rechteck 731">
              <a:extLst>
                <a:ext uri="{FF2B5EF4-FFF2-40B4-BE49-F238E27FC236}">
                  <a16:creationId xmlns:a16="http://schemas.microsoft.com/office/drawing/2014/main" id="{A9F36090-5591-B0F7-B7EE-5496C0BE1B98}"/>
                </a:ext>
              </a:extLst>
            </p:cNvPr>
            <p:cNvSpPr/>
            <p:nvPr userDrawn="1"/>
          </p:nvSpPr>
          <p:spPr bwMode="gray">
            <a:xfrm>
              <a:off x="204555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3" name="Rechteck 732">
              <a:extLst>
                <a:ext uri="{FF2B5EF4-FFF2-40B4-BE49-F238E27FC236}">
                  <a16:creationId xmlns:a16="http://schemas.microsoft.com/office/drawing/2014/main" id="{0922C46F-8FD8-AA13-7040-FFF5FA320DF8}"/>
                </a:ext>
              </a:extLst>
            </p:cNvPr>
            <p:cNvSpPr/>
            <p:nvPr userDrawn="1"/>
          </p:nvSpPr>
          <p:spPr bwMode="gray">
            <a:xfrm>
              <a:off x="146948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4" name="Rechteck 733">
              <a:extLst>
                <a:ext uri="{FF2B5EF4-FFF2-40B4-BE49-F238E27FC236}">
                  <a16:creationId xmlns:a16="http://schemas.microsoft.com/office/drawing/2014/main" id="{0846CF5B-31D0-E43E-C43C-AD3E1DF0EC7C}"/>
                </a:ext>
              </a:extLst>
            </p:cNvPr>
            <p:cNvSpPr/>
            <p:nvPr userDrawn="1"/>
          </p:nvSpPr>
          <p:spPr bwMode="gray">
            <a:xfrm>
              <a:off x="89342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5" name="Rechteck 734">
              <a:extLst>
                <a:ext uri="{FF2B5EF4-FFF2-40B4-BE49-F238E27FC236}">
                  <a16:creationId xmlns:a16="http://schemas.microsoft.com/office/drawing/2014/main" id="{7DA7A135-0081-EBBA-1FA9-938435CA837D}"/>
                </a:ext>
              </a:extLst>
            </p:cNvPr>
            <p:cNvSpPr/>
            <p:nvPr userDrawn="1"/>
          </p:nvSpPr>
          <p:spPr bwMode="gray">
            <a:xfrm>
              <a:off x="31736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6" name="Rechteck 735">
              <a:extLst>
                <a:ext uri="{FF2B5EF4-FFF2-40B4-BE49-F238E27FC236}">
                  <a16:creationId xmlns:a16="http://schemas.microsoft.com/office/drawing/2014/main" id="{1C9078DE-4ED6-00BE-E545-F75DDCE79A73}"/>
                </a:ext>
              </a:extLst>
            </p:cNvPr>
            <p:cNvSpPr/>
            <p:nvPr userDrawn="1"/>
          </p:nvSpPr>
          <p:spPr bwMode="gray">
            <a:xfrm>
              <a:off x="1126257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7" name="Rechteck 736">
              <a:extLst>
                <a:ext uri="{FF2B5EF4-FFF2-40B4-BE49-F238E27FC236}">
                  <a16:creationId xmlns:a16="http://schemas.microsoft.com/office/drawing/2014/main" id="{2464975E-0276-1116-C021-8DA8ED2829D2}"/>
                </a:ext>
              </a:extLst>
            </p:cNvPr>
            <p:cNvSpPr/>
            <p:nvPr userDrawn="1"/>
          </p:nvSpPr>
          <p:spPr bwMode="gray">
            <a:xfrm>
              <a:off x="1068651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8" name="Rechteck 737">
              <a:extLst>
                <a:ext uri="{FF2B5EF4-FFF2-40B4-BE49-F238E27FC236}">
                  <a16:creationId xmlns:a16="http://schemas.microsoft.com/office/drawing/2014/main" id="{0760F2FD-501E-1993-832F-5387C8FD5145}"/>
                </a:ext>
              </a:extLst>
            </p:cNvPr>
            <p:cNvSpPr/>
            <p:nvPr userDrawn="1"/>
          </p:nvSpPr>
          <p:spPr bwMode="gray">
            <a:xfrm>
              <a:off x="1011044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9" name="Rechteck 738">
              <a:extLst>
                <a:ext uri="{FF2B5EF4-FFF2-40B4-BE49-F238E27FC236}">
                  <a16:creationId xmlns:a16="http://schemas.microsoft.com/office/drawing/2014/main" id="{E70BCF63-52AF-2119-E70D-611B07BCB19C}"/>
                </a:ext>
              </a:extLst>
            </p:cNvPr>
            <p:cNvSpPr/>
            <p:nvPr userDrawn="1"/>
          </p:nvSpPr>
          <p:spPr bwMode="gray">
            <a:xfrm>
              <a:off x="953438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0" name="Rechteck 739">
              <a:extLst>
                <a:ext uri="{FF2B5EF4-FFF2-40B4-BE49-F238E27FC236}">
                  <a16:creationId xmlns:a16="http://schemas.microsoft.com/office/drawing/2014/main" id="{633EF54F-C74E-D1C7-60B1-86E67AD00140}"/>
                </a:ext>
              </a:extLst>
            </p:cNvPr>
            <p:cNvSpPr/>
            <p:nvPr userDrawn="1"/>
          </p:nvSpPr>
          <p:spPr bwMode="gray">
            <a:xfrm>
              <a:off x="895832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1" name="Rechteck 740">
              <a:extLst>
                <a:ext uri="{FF2B5EF4-FFF2-40B4-BE49-F238E27FC236}">
                  <a16:creationId xmlns:a16="http://schemas.microsoft.com/office/drawing/2014/main" id="{9FDBD7EA-6B73-EE83-E5EB-260B3C3B0AB6}"/>
                </a:ext>
              </a:extLst>
            </p:cNvPr>
            <p:cNvSpPr/>
            <p:nvPr userDrawn="1"/>
          </p:nvSpPr>
          <p:spPr bwMode="gray">
            <a:xfrm>
              <a:off x="838225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2" name="Rechteck 741">
              <a:extLst>
                <a:ext uri="{FF2B5EF4-FFF2-40B4-BE49-F238E27FC236}">
                  <a16:creationId xmlns:a16="http://schemas.microsoft.com/office/drawing/2014/main" id="{F5D7C15D-5024-5571-3421-1083AA056824}"/>
                </a:ext>
              </a:extLst>
            </p:cNvPr>
            <p:cNvSpPr/>
            <p:nvPr userDrawn="1"/>
          </p:nvSpPr>
          <p:spPr bwMode="gray">
            <a:xfrm>
              <a:off x="780619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3" name="Rechteck 742">
              <a:extLst>
                <a:ext uri="{FF2B5EF4-FFF2-40B4-BE49-F238E27FC236}">
                  <a16:creationId xmlns:a16="http://schemas.microsoft.com/office/drawing/2014/main" id="{25AA1E1B-E89E-434C-85FE-FE9B87EA5D8B}"/>
                </a:ext>
              </a:extLst>
            </p:cNvPr>
            <p:cNvSpPr/>
            <p:nvPr userDrawn="1"/>
          </p:nvSpPr>
          <p:spPr bwMode="gray">
            <a:xfrm>
              <a:off x="723012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4" name="Rechteck 743">
              <a:extLst>
                <a:ext uri="{FF2B5EF4-FFF2-40B4-BE49-F238E27FC236}">
                  <a16:creationId xmlns:a16="http://schemas.microsoft.com/office/drawing/2014/main" id="{83FE0B7C-B161-1DAC-D090-1E341957C027}"/>
                </a:ext>
              </a:extLst>
            </p:cNvPr>
            <p:cNvSpPr/>
            <p:nvPr userDrawn="1"/>
          </p:nvSpPr>
          <p:spPr bwMode="gray">
            <a:xfrm>
              <a:off x="665406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5" name="Rechteck 744">
              <a:extLst>
                <a:ext uri="{FF2B5EF4-FFF2-40B4-BE49-F238E27FC236}">
                  <a16:creationId xmlns:a16="http://schemas.microsoft.com/office/drawing/2014/main" id="{BEE742BD-C3C4-B9B6-3628-534627ED67A8}"/>
                </a:ext>
              </a:extLst>
            </p:cNvPr>
            <p:cNvSpPr/>
            <p:nvPr userDrawn="1"/>
          </p:nvSpPr>
          <p:spPr bwMode="gray">
            <a:xfrm>
              <a:off x="607800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6" name="Rechteck 745">
              <a:extLst>
                <a:ext uri="{FF2B5EF4-FFF2-40B4-BE49-F238E27FC236}">
                  <a16:creationId xmlns:a16="http://schemas.microsoft.com/office/drawing/2014/main" id="{11CA78B9-611C-4F82-5BB8-BB5E3D58535A}"/>
                </a:ext>
              </a:extLst>
            </p:cNvPr>
            <p:cNvSpPr/>
            <p:nvPr userDrawn="1"/>
          </p:nvSpPr>
          <p:spPr bwMode="gray">
            <a:xfrm>
              <a:off x="550193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7" name="Rechteck 746">
              <a:extLst>
                <a:ext uri="{FF2B5EF4-FFF2-40B4-BE49-F238E27FC236}">
                  <a16:creationId xmlns:a16="http://schemas.microsoft.com/office/drawing/2014/main" id="{44798934-5143-A94D-F4FA-B1C6AEF717A4}"/>
                </a:ext>
              </a:extLst>
            </p:cNvPr>
            <p:cNvSpPr/>
            <p:nvPr userDrawn="1"/>
          </p:nvSpPr>
          <p:spPr bwMode="gray">
            <a:xfrm>
              <a:off x="492587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8" name="Rechteck 747">
              <a:extLst>
                <a:ext uri="{FF2B5EF4-FFF2-40B4-BE49-F238E27FC236}">
                  <a16:creationId xmlns:a16="http://schemas.microsoft.com/office/drawing/2014/main" id="{71719F6D-BEE1-7B65-6CC3-F36D6B1119C2}"/>
                </a:ext>
              </a:extLst>
            </p:cNvPr>
            <p:cNvSpPr/>
            <p:nvPr userDrawn="1"/>
          </p:nvSpPr>
          <p:spPr bwMode="gray">
            <a:xfrm>
              <a:off x="434980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9" name="Rechteck 748">
              <a:extLst>
                <a:ext uri="{FF2B5EF4-FFF2-40B4-BE49-F238E27FC236}">
                  <a16:creationId xmlns:a16="http://schemas.microsoft.com/office/drawing/2014/main" id="{F0A78F12-966F-927A-37DD-042370A66FC4}"/>
                </a:ext>
              </a:extLst>
            </p:cNvPr>
            <p:cNvSpPr/>
            <p:nvPr userDrawn="1"/>
          </p:nvSpPr>
          <p:spPr bwMode="gray">
            <a:xfrm>
              <a:off x="377374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0" name="Rechteck 749">
              <a:extLst>
                <a:ext uri="{FF2B5EF4-FFF2-40B4-BE49-F238E27FC236}">
                  <a16:creationId xmlns:a16="http://schemas.microsoft.com/office/drawing/2014/main" id="{4001BB8B-6393-8C38-286D-07AC56561D62}"/>
                </a:ext>
              </a:extLst>
            </p:cNvPr>
            <p:cNvSpPr/>
            <p:nvPr userDrawn="1"/>
          </p:nvSpPr>
          <p:spPr bwMode="gray">
            <a:xfrm>
              <a:off x="319768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1" name="Rechteck 750">
              <a:extLst>
                <a:ext uri="{FF2B5EF4-FFF2-40B4-BE49-F238E27FC236}">
                  <a16:creationId xmlns:a16="http://schemas.microsoft.com/office/drawing/2014/main" id="{8E0D58FB-EC9C-8264-91D7-7EA439FA1BAF}"/>
                </a:ext>
              </a:extLst>
            </p:cNvPr>
            <p:cNvSpPr/>
            <p:nvPr userDrawn="1"/>
          </p:nvSpPr>
          <p:spPr bwMode="gray">
            <a:xfrm>
              <a:off x="262161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2" name="Rechteck 751">
              <a:extLst>
                <a:ext uri="{FF2B5EF4-FFF2-40B4-BE49-F238E27FC236}">
                  <a16:creationId xmlns:a16="http://schemas.microsoft.com/office/drawing/2014/main" id="{677579A4-ACFF-1737-AD89-E321001B3395}"/>
                </a:ext>
              </a:extLst>
            </p:cNvPr>
            <p:cNvSpPr/>
            <p:nvPr userDrawn="1"/>
          </p:nvSpPr>
          <p:spPr bwMode="gray">
            <a:xfrm>
              <a:off x="204555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3" name="Rechteck 752">
              <a:extLst>
                <a:ext uri="{FF2B5EF4-FFF2-40B4-BE49-F238E27FC236}">
                  <a16:creationId xmlns:a16="http://schemas.microsoft.com/office/drawing/2014/main" id="{19C73BB6-5CEE-BA91-7684-D1770384C0A0}"/>
                </a:ext>
              </a:extLst>
            </p:cNvPr>
            <p:cNvSpPr/>
            <p:nvPr userDrawn="1"/>
          </p:nvSpPr>
          <p:spPr bwMode="gray">
            <a:xfrm>
              <a:off x="146948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4" name="Rechteck 753">
              <a:extLst>
                <a:ext uri="{FF2B5EF4-FFF2-40B4-BE49-F238E27FC236}">
                  <a16:creationId xmlns:a16="http://schemas.microsoft.com/office/drawing/2014/main" id="{E16C626D-5EB5-2CF6-E5C8-5BA4731770A5}"/>
                </a:ext>
              </a:extLst>
            </p:cNvPr>
            <p:cNvSpPr/>
            <p:nvPr userDrawn="1"/>
          </p:nvSpPr>
          <p:spPr bwMode="gray">
            <a:xfrm>
              <a:off x="89342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5" name="Rechteck 754">
              <a:extLst>
                <a:ext uri="{FF2B5EF4-FFF2-40B4-BE49-F238E27FC236}">
                  <a16:creationId xmlns:a16="http://schemas.microsoft.com/office/drawing/2014/main" id="{6E384DBA-9F5B-78E7-BD7D-FE744D44EF64}"/>
                </a:ext>
              </a:extLst>
            </p:cNvPr>
            <p:cNvSpPr/>
            <p:nvPr userDrawn="1"/>
          </p:nvSpPr>
          <p:spPr bwMode="gray">
            <a:xfrm>
              <a:off x="31736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6" name="Rechteck 755">
              <a:extLst>
                <a:ext uri="{FF2B5EF4-FFF2-40B4-BE49-F238E27FC236}">
                  <a16:creationId xmlns:a16="http://schemas.microsoft.com/office/drawing/2014/main" id="{2A6329EA-261C-485A-25FA-9A9A29A50D19}"/>
                </a:ext>
              </a:extLst>
            </p:cNvPr>
            <p:cNvSpPr/>
            <p:nvPr userDrawn="1"/>
          </p:nvSpPr>
          <p:spPr bwMode="gray">
            <a:xfrm>
              <a:off x="1126257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7" name="Rechteck 756">
              <a:extLst>
                <a:ext uri="{FF2B5EF4-FFF2-40B4-BE49-F238E27FC236}">
                  <a16:creationId xmlns:a16="http://schemas.microsoft.com/office/drawing/2014/main" id="{979C902D-6045-66E0-9A5B-11A9A4E203A4}"/>
                </a:ext>
              </a:extLst>
            </p:cNvPr>
            <p:cNvSpPr/>
            <p:nvPr userDrawn="1"/>
          </p:nvSpPr>
          <p:spPr bwMode="gray">
            <a:xfrm>
              <a:off x="1068651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8" name="Rechteck 757">
              <a:extLst>
                <a:ext uri="{FF2B5EF4-FFF2-40B4-BE49-F238E27FC236}">
                  <a16:creationId xmlns:a16="http://schemas.microsoft.com/office/drawing/2014/main" id="{7BCF348D-CEE0-E5EA-8D44-5002D7B6978D}"/>
                </a:ext>
              </a:extLst>
            </p:cNvPr>
            <p:cNvSpPr/>
            <p:nvPr userDrawn="1"/>
          </p:nvSpPr>
          <p:spPr bwMode="gray">
            <a:xfrm>
              <a:off x="1011044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9" name="Rechteck 758">
              <a:extLst>
                <a:ext uri="{FF2B5EF4-FFF2-40B4-BE49-F238E27FC236}">
                  <a16:creationId xmlns:a16="http://schemas.microsoft.com/office/drawing/2014/main" id="{8BA9F7D3-8DA3-1AD7-6871-073220E7B43F}"/>
                </a:ext>
              </a:extLst>
            </p:cNvPr>
            <p:cNvSpPr/>
            <p:nvPr userDrawn="1"/>
          </p:nvSpPr>
          <p:spPr bwMode="gray">
            <a:xfrm>
              <a:off x="953438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0" name="Rechteck 759">
              <a:extLst>
                <a:ext uri="{FF2B5EF4-FFF2-40B4-BE49-F238E27FC236}">
                  <a16:creationId xmlns:a16="http://schemas.microsoft.com/office/drawing/2014/main" id="{14A8B6C8-1EEB-9F07-5E83-4FCCEF52E638}"/>
                </a:ext>
              </a:extLst>
            </p:cNvPr>
            <p:cNvSpPr/>
            <p:nvPr userDrawn="1"/>
          </p:nvSpPr>
          <p:spPr bwMode="gray">
            <a:xfrm>
              <a:off x="895832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1" name="Rechteck 760">
              <a:extLst>
                <a:ext uri="{FF2B5EF4-FFF2-40B4-BE49-F238E27FC236}">
                  <a16:creationId xmlns:a16="http://schemas.microsoft.com/office/drawing/2014/main" id="{ED0026F0-D395-B31C-0306-5B66AF26DCE2}"/>
                </a:ext>
              </a:extLst>
            </p:cNvPr>
            <p:cNvSpPr/>
            <p:nvPr userDrawn="1"/>
          </p:nvSpPr>
          <p:spPr bwMode="gray">
            <a:xfrm>
              <a:off x="838225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2" name="Rechteck 761">
              <a:extLst>
                <a:ext uri="{FF2B5EF4-FFF2-40B4-BE49-F238E27FC236}">
                  <a16:creationId xmlns:a16="http://schemas.microsoft.com/office/drawing/2014/main" id="{0E1D3895-B7BC-5B4C-3004-646AE7295925}"/>
                </a:ext>
              </a:extLst>
            </p:cNvPr>
            <p:cNvSpPr/>
            <p:nvPr userDrawn="1"/>
          </p:nvSpPr>
          <p:spPr bwMode="gray">
            <a:xfrm>
              <a:off x="780619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3" name="Rechteck 762">
              <a:extLst>
                <a:ext uri="{FF2B5EF4-FFF2-40B4-BE49-F238E27FC236}">
                  <a16:creationId xmlns:a16="http://schemas.microsoft.com/office/drawing/2014/main" id="{17829EEF-91A4-34D5-4F4B-DD487818F9F5}"/>
                </a:ext>
              </a:extLst>
            </p:cNvPr>
            <p:cNvSpPr/>
            <p:nvPr userDrawn="1"/>
          </p:nvSpPr>
          <p:spPr bwMode="gray">
            <a:xfrm>
              <a:off x="723012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4" name="Rechteck 763">
              <a:extLst>
                <a:ext uri="{FF2B5EF4-FFF2-40B4-BE49-F238E27FC236}">
                  <a16:creationId xmlns:a16="http://schemas.microsoft.com/office/drawing/2014/main" id="{5F4CCF9E-106E-2473-B053-38CFB15FD3D8}"/>
                </a:ext>
              </a:extLst>
            </p:cNvPr>
            <p:cNvSpPr/>
            <p:nvPr userDrawn="1"/>
          </p:nvSpPr>
          <p:spPr bwMode="gray">
            <a:xfrm>
              <a:off x="665406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5" name="Rechteck 764">
              <a:extLst>
                <a:ext uri="{FF2B5EF4-FFF2-40B4-BE49-F238E27FC236}">
                  <a16:creationId xmlns:a16="http://schemas.microsoft.com/office/drawing/2014/main" id="{960C30F7-12F6-9283-69DD-3FFFD7876372}"/>
                </a:ext>
              </a:extLst>
            </p:cNvPr>
            <p:cNvSpPr/>
            <p:nvPr userDrawn="1"/>
          </p:nvSpPr>
          <p:spPr bwMode="gray">
            <a:xfrm>
              <a:off x="607800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6" name="Rechteck 765">
              <a:extLst>
                <a:ext uri="{FF2B5EF4-FFF2-40B4-BE49-F238E27FC236}">
                  <a16:creationId xmlns:a16="http://schemas.microsoft.com/office/drawing/2014/main" id="{E392FC51-2335-4901-BB28-BBAB698B6CBA}"/>
                </a:ext>
              </a:extLst>
            </p:cNvPr>
            <p:cNvSpPr/>
            <p:nvPr userDrawn="1"/>
          </p:nvSpPr>
          <p:spPr bwMode="gray">
            <a:xfrm>
              <a:off x="550193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7" name="Rechteck 766">
              <a:extLst>
                <a:ext uri="{FF2B5EF4-FFF2-40B4-BE49-F238E27FC236}">
                  <a16:creationId xmlns:a16="http://schemas.microsoft.com/office/drawing/2014/main" id="{2F3FBA0B-8B43-8DA1-9BFB-FB54FCBD351E}"/>
                </a:ext>
              </a:extLst>
            </p:cNvPr>
            <p:cNvSpPr/>
            <p:nvPr userDrawn="1"/>
          </p:nvSpPr>
          <p:spPr bwMode="gray">
            <a:xfrm>
              <a:off x="492587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8" name="Rechteck 767">
              <a:extLst>
                <a:ext uri="{FF2B5EF4-FFF2-40B4-BE49-F238E27FC236}">
                  <a16:creationId xmlns:a16="http://schemas.microsoft.com/office/drawing/2014/main" id="{70820389-6EB8-C6DE-7645-27D53608C92C}"/>
                </a:ext>
              </a:extLst>
            </p:cNvPr>
            <p:cNvSpPr/>
            <p:nvPr userDrawn="1"/>
          </p:nvSpPr>
          <p:spPr bwMode="gray">
            <a:xfrm>
              <a:off x="434980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9" name="Rechteck 768">
              <a:extLst>
                <a:ext uri="{FF2B5EF4-FFF2-40B4-BE49-F238E27FC236}">
                  <a16:creationId xmlns:a16="http://schemas.microsoft.com/office/drawing/2014/main" id="{2C39B9D8-AE01-84AD-C27F-E9CC608706F8}"/>
                </a:ext>
              </a:extLst>
            </p:cNvPr>
            <p:cNvSpPr/>
            <p:nvPr userDrawn="1"/>
          </p:nvSpPr>
          <p:spPr bwMode="gray">
            <a:xfrm>
              <a:off x="377374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0" name="Rechteck 769">
              <a:extLst>
                <a:ext uri="{FF2B5EF4-FFF2-40B4-BE49-F238E27FC236}">
                  <a16:creationId xmlns:a16="http://schemas.microsoft.com/office/drawing/2014/main" id="{45AAAFDE-5AF7-5305-6A6A-A994BFF4F72E}"/>
                </a:ext>
              </a:extLst>
            </p:cNvPr>
            <p:cNvSpPr/>
            <p:nvPr userDrawn="1"/>
          </p:nvSpPr>
          <p:spPr bwMode="gray">
            <a:xfrm>
              <a:off x="319768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1" name="Rechteck 770">
              <a:extLst>
                <a:ext uri="{FF2B5EF4-FFF2-40B4-BE49-F238E27FC236}">
                  <a16:creationId xmlns:a16="http://schemas.microsoft.com/office/drawing/2014/main" id="{3569BD77-3236-57B9-5762-422B3A9F65F1}"/>
                </a:ext>
              </a:extLst>
            </p:cNvPr>
            <p:cNvSpPr/>
            <p:nvPr userDrawn="1"/>
          </p:nvSpPr>
          <p:spPr bwMode="gray">
            <a:xfrm>
              <a:off x="262161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2" name="Rechteck 771">
              <a:extLst>
                <a:ext uri="{FF2B5EF4-FFF2-40B4-BE49-F238E27FC236}">
                  <a16:creationId xmlns:a16="http://schemas.microsoft.com/office/drawing/2014/main" id="{54A0BA2C-799E-1FA0-DFDF-BF894097E841}"/>
                </a:ext>
              </a:extLst>
            </p:cNvPr>
            <p:cNvSpPr/>
            <p:nvPr userDrawn="1"/>
          </p:nvSpPr>
          <p:spPr bwMode="gray">
            <a:xfrm>
              <a:off x="204555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3" name="Rechteck 772">
              <a:extLst>
                <a:ext uri="{FF2B5EF4-FFF2-40B4-BE49-F238E27FC236}">
                  <a16:creationId xmlns:a16="http://schemas.microsoft.com/office/drawing/2014/main" id="{C2AAFB40-B6C5-832C-A092-A02596823B05}"/>
                </a:ext>
              </a:extLst>
            </p:cNvPr>
            <p:cNvSpPr/>
            <p:nvPr userDrawn="1"/>
          </p:nvSpPr>
          <p:spPr bwMode="gray">
            <a:xfrm>
              <a:off x="146948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4" name="Rechteck 773">
              <a:extLst>
                <a:ext uri="{FF2B5EF4-FFF2-40B4-BE49-F238E27FC236}">
                  <a16:creationId xmlns:a16="http://schemas.microsoft.com/office/drawing/2014/main" id="{C32208F6-94FB-9086-E508-481AB096D5A7}"/>
                </a:ext>
              </a:extLst>
            </p:cNvPr>
            <p:cNvSpPr/>
            <p:nvPr userDrawn="1"/>
          </p:nvSpPr>
          <p:spPr bwMode="gray">
            <a:xfrm>
              <a:off x="89342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5" name="Rechteck 774">
              <a:extLst>
                <a:ext uri="{FF2B5EF4-FFF2-40B4-BE49-F238E27FC236}">
                  <a16:creationId xmlns:a16="http://schemas.microsoft.com/office/drawing/2014/main" id="{C653EBEE-1C7F-E3AC-B7A4-85990A14FCD8}"/>
                </a:ext>
              </a:extLst>
            </p:cNvPr>
            <p:cNvSpPr/>
            <p:nvPr userDrawn="1"/>
          </p:nvSpPr>
          <p:spPr bwMode="gray">
            <a:xfrm>
              <a:off x="31736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6" name="Rechteck 775">
              <a:extLst>
                <a:ext uri="{FF2B5EF4-FFF2-40B4-BE49-F238E27FC236}">
                  <a16:creationId xmlns:a16="http://schemas.microsoft.com/office/drawing/2014/main" id="{A48E2D18-48C1-AC5B-F738-AF5A3B346DE4}"/>
                </a:ext>
              </a:extLst>
            </p:cNvPr>
            <p:cNvSpPr/>
            <p:nvPr userDrawn="1"/>
          </p:nvSpPr>
          <p:spPr bwMode="gray">
            <a:xfrm>
              <a:off x="1183864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7" name="Rechteck 776">
              <a:extLst>
                <a:ext uri="{FF2B5EF4-FFF2-40B4-BE49-F238E27FC236}">
                  <a16:creationId xmlns:a16="http://schemas.microsoft.com/office/drawing/2014/main" id="{C29A17FA-9E25-9182-A445-3CB3AC8A95BA}"/>
                </a:ext>
              </a:extLst>
            </p:cNvPr>
            <p:cNvSpPr/>
            <p:nvPr userDrawn="1"/>
          </p:nvSpPr>
          <p:spPr bwMode="gray">
            <a:xfrm>
              <a:off x="1183864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8" name="Rechteck 777">
              <a:extLst>
                <a:ext uri="{FF2B5EF4-FFF2-40B4-BE49-F238E27FC236}">
                  <a16:creationId xmlns:a16="http://schemas.microsoft.com/office/drawing/2014/main" id="{77E9D2AC-0B64-4619-2288-24FB128F0937}"/>
                </a:ext>
              </a:extLst>
            </p:cNvPr>
            <p:cNvSpPr/>
            <p:nvPr userDrawn="1"/>
          </p:nvSpPr>
          <p:spPr bwMode="gray">
            <a:xfrm>
              <a:off x="1183864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9" name="Rechteck 778">
              <a:extLst>
                <a:ext uri="{FF2B5EF4-FFF2-40B4-BE49-F238E27FC236}">
                  <a16:creationId xmlns:a16="http://schemas.microsoft.com/office/drawing/2014/main" id="{F80E5A62-E5CE-5655-ECE4-776404D4F297}"/>
                </a:ext>
              </a:extLst>
            </p:cNvPr>
            <p:cNvSpPr/>
            <p:nvPr userDrawn="1"/>
          </p:nvSpPr>
          <p:spPr bwMode="gray">
            <a:xfrm>
              <a:off x="1183864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0" name="Rechteck 779">
              <a:extLst>
                <a:ext uri="{FF2B5EF4-FFF2-40B4-BE49-F238E27FC236}">
                  <a16:creationId xmlns:a16="http://schemas.microsoft.com/office/drawing/2014/main" id="{0CFCE029-E170-797E-5B2F-5886609969DF}"/>
                </a:ext>
              </a:extLst>
            </p:cNvPr>
            <p:cNvSpPr/>
            <p:nvPr userDrawn="1"/>
          </p:nvSpPr>
          <p:spPr bwMode="gray">
            <a:xfrm>
              <a:off x="1183864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1" name="Rechteck 780">
              <a:extLst>
                <a:ext uri="{FF2B5EF4-FFF2-40B4-BE49-F238E27FC236}">
                  <a16:creationId xmlns:a16="http://schemas.microsoft.com/office/drawing/2014/main" id="{82393C07-E7B0-577C-A63E-26D210F68F25}"/>
                </a:ext>
              </a:extLst>
            </p:cNvPr>
            <p:cNvSpPr/>
            <p:nvPr userDrawn="1"/>
          </p:nvSpPr>
          <p:spPr bwMode="gray">
            <a:xfrm>
              <a:off x="1183864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2" name="Rechteck 781">
              <a:extLst>
                <a:ext uri="{FF2B5EF4-FFF2-40B4-BE49-F238E27FC236}">
                  <a16:creationId xmlns:a16="http://schemas.microsoft.com/office/drawing/2014/main" id="{B7CA7CC8-E11E-0E86-D952-22F72ADBC423}"/>
                </a:ext>
              </a:extLst>
            </p:cNvPr>
            <p:cNvSpPr/>
            <p:nvPr userDrawn="1"/>
          </p:nvSpPr>
          <p:spPr bwMode="gray">
            <a:xfrm>
              <a:off x="1183864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3" name="Rechteck 782">
              <a:extLst>
                <a:ext uri="{FF2B5EF4-FFF2-40B4-BE49-F238E27FC236}">
                  <a16:creationId xmlns:a16="http://schemas.microsoft.com/office/drawing/2014/main" id="{C2E2FD63-4FA5-1747-609B-70FAA7E210F1}"/>
                </a:ext>
              </a:extLst>
            </p:cNvPr>
            <p:cNvSpPr/>
            <p:nvPr userDrawn="1"/>
          </p:nvSpPr>
          <p:spPr bwMode="gray">
            <a:xfrm>
              <a:off x="1183864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4" name="Rechteck 783">
              <a:extLst>
                <a:ext uri="{FF2B5EF4-FFF2-40B4-BE49-F238E27FC236}">
                  <a16:creationId xmlns:a16="http://schemas.microsoft.com/office/drawing/2014/main" id="{FED70157-0049-7099-9F73-01377BAC6235}"/>
                </a:ext>
              </a:extLst>
            </p:cNvPr>
            <p:cNvSpPr/>
            <p:nvPr userDrawn="1"/>
          </p:nvSpPr>
          <p:spPr bwMode="gray">
            <a:xfrm>
              <a:off x="1183864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grpSp>
      <p:pic>
        <p:nvPicPr>
          <p:cNvPr id="391" name="Logo">
            <a:extLst>
              <a:ext uri="{FF2B5EF4-FFF2-40B4-BE49-F238E27FC236}">
                <a16:creationId xmlns:a16="http://schemas.microsoft.com/office/drawing/2014/main" id="{601936FD-E0CC-CC41-4FFF-FE3A682FACBC}"/>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bwMode="gray">
          <a:xfrm>
            <a:off x="10128448" y="335757"/>
            <a:ext cx="1358180" cy="576000"/>
          </a:xfrm>
          <a:prstGeom prst="rect">
            <a:avLst/>
          </a:prstGeom>
        </p:spPr>
      </p:pic>
      <p:grpSp>
        <p:nvGrpSpPr>
          <p:cNvPr id="392" name="Gruppieren 391">
            <a:extLst>
              <a:ext uri="{FF2B5EF4-FFF2-40B4-BE49-F238E27FC236}">
                <a16:creationId xmlns:a16="http://schemas.microsoft.com/office/drawing/2014/main" id="{C4728B52-F91B-7BEB-713E-B4ED29A8D59A}"/>
              </a:ext>
              <a:ext uri="{C183D7F6-B498-43B3-948B-1728B52AA6E4}">
                <adec:decorative xmlns:adec="http://schemas.microsoft.com/office/drawing/2017/decorative" val="1"/>
              </a:ext>
            </a:extLst>
          </p:cNvPr>
          <p:cNvGrpSpPr/>
          <p:nvPr userDrawn="1"/>
        </p:nvGrpSpPr>
        <p:grpSpPr>
          <a:xfrm>
            <a:off x="838832" y="2082829"/>
            <a:ext cx="2448000" cy="0"/>
            <a:chOff x="983432" y="2082829"/>
            <a:chExt cx="2448000" cy="0"/>
          </a:xfrm>
        </p:grpSpPr>
        <p:cxnSp>
          <p:nvCxnSpPr>
            <p:cNvPr id="393" name="Line">
              <a:extLst>
                <a:ext uri="{FF2B5EF4-FFF2-40B4-BE49-F238E27FC236}">
                  <a16:creationId xmlns:a16="http://schemas.microsoft.com/office/drawing/2014/main" id="{56777407-5FA9-0433-0ACB-77A6A1B8F380}"/>
                </a:ext>
                <a:ext uri="{C183D7F6-B498-43B3-948B-1728B52AA6E4}">
                  <adec:decorative xmlns:adec="http://schemas.microsoft.com/office/drawing/2017/decorative" val="1"/>
                </a:ext>
              </a:extLst>
            </p:cNvPr>
            <p:cNvCxnSpPr>
              <a:cxnSpLocks/>
            </p:cNvCxnSpPr>
            <p:nvPr userDrawn="1"/>
          </p:nvCxnSpPr>
          <p:spPr bwMode="gray">
            <a:xfrm>
              <a:off x="983432" y="2082829"/>
              <a:ext cx="2448000" cy="0"/>
            </a:xfrm>
            <a:prstGeom prst="line">
              <a:avLst/>
            </a:prstGeom>
            <a:ln w="1047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4" name="Line">
              <a:extLst>
                <a:ext uri="{FF2B5EF4-FFF2-40B4-BE49-F238E27FC236}">
                  <a16:creationId xmlns:a16="http://schemas.microsoft.com/office/drawing/2014/main" id="{92C2BD37-9061-7C89-D747-D4CC389693F0}"/>
                </a:ext>
                <a:ext uri="{C183D7F6-B498-43B3-948B-1728B52AA6E4}">
                  <adec:decorative xmlns:adec="http://schemas.microsoft.com/office/drawing/2017/decorative" val="1"/>
                </a:ext>
              </a:extLst>
            </p:cNvPr>
            <p:cNvCxnSpPr>
              <a:cxnSpLocks/>
            </p:cNvCxnSpPr>
            <p:nvPr userDrawn="1"/>
          </p:nvCxnSpPr>
          <p:spPr bwMode="gray">
            <a:xfrm>
              <a:off x="1056000" y="2082829"/>
              <a:ext cx="2303696" cy="0"/>
            </a:xfrm>
            <a:prstGeom prst="line">
              <a:avLst/>
            </a:prstGeom>
            <a:ln w="38100">
              <a:solidFill>
                <a:srgbClr val="519FBC"/>
              </a:solidFill>
            </a:ln>
          </p:spPr>
          <p:style>
            <a:lnRef idx="1">
              <a:schemeClr val="accent1"/>
            </a:lnRef>
            <a:fillRef idx="0">
              <a:schemeClr val="accent1"/>
            </a:fillRef>
            <a:effectRef idx="0">
              <a:schemeClr val="accent1"/>
            </a:effectRef>
            <a:fontRef idx="minor">
              <a:schemeClr val="tx1"/>
            </a:fontRef>
          </p:style>
        </p:cxnSp>
      </p:grpSp>
      <p:sp>
        <p:nvSpPr>
          <p:cNvPr id="400" name="Shape">
            <a:extLst>
              <a:ext uri="{FF2B5EF4-FFF2-40B4-BE49-F238E27FC236}">
                <a16:creationId xmlns:a16="http://schemas.microsoft.com/office/drawing/2014/main" id="{26CE59A9-E0C6-CE9A-3546-922DF6EEE6F0}"/>
              </a:ext>
              <a:ext uri="{C183D7F6-B498-43B3-948B-1728B52AA6E4}">
                <adec:decorative xmlns:adec="http://schemas.microsoft.com/office/drawing/2017/decorative" val="1"/>
              </a:ext>
            </a:extLst>
          </p:cNvPr>
          <p:cNvSpPr>
            <a:spLocks/>
          </p:cNvSpPr>
          <p:nvPr userDrawn="1"/>
        </p:nvSpPr>
        <p:spPr bwMode="gray">
          <a:xfrm>
            <a:off x="4367808" y="2061400"/>
            <a:ext cx="5775177" cy="3463099"/>
          </a:xfrm>
          <a:custGeom>
            <a:avLst/>
            <a:gdLst>
              <a:gd name="connsiteX0" fmla="*/ 0 w 8604027"/>
              <a:gd name="connsiteY0" fmla="*/ 857 h 5734812"/>
              <a:gd name="connsiteX1" fmla="*/ 8604028 w 8604027"/>
              <a:gd name="connsiteY1" fmla="*/ 0 h 5734812"/>
              <a:gd name="connsiteX2" fmla="*/ 7170039 w 8604027"/>
              <a:gd name="connsiteY2" fmla="*/ 4301966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02506 w 8604029"/>
              <a:gd name="connsiteY2" fmla="*/ 3984076 h 5734812"/>
              <a:gd name="connsiteX3" fmla="*/ 0 w 8604029"/>
              <a:gd name="connsiteY3" fmla="*/ 5734812 h 5734812"/>
              <a:gd name="connsiteX4" fmla="*/ 0 w 8604029"/>
              <a:gd name="connsiteY4" fmla="*/ 857 h 5734812"/>
              <a:gd name="connsiteX0" fmla="*/ 0 w 8604027"/>
              <a:gd name="connsiteY0" fmla="*/ 857 h 5734812"/>
              <a:gd name="connsiteX1" fmla="*/ 8604028 w 8604027"/>
              <a:gd name="connsiteY1" fmla="*/ 0 h 5734812"/>
              <a:gd name="connsiteX2" fmla="*/ 7046854 w 8604027"/>
              <a:gd name="connsiteY2" fmla="*/ 4091749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50550 w 8604029"/>
              <a:gd name="connsiteY2" fmla="*/ 4107130 h 5734812"/>
              <a:gd name="connsiteX3" fmla="*/ 0 w 8604029"/>
              <a:gd name="connsiteY3" fmla="*/ 5734812 h 5734812"/>
              <a:gd name="connsiteX4" fmla="*/ 0 w 8604029"/>
              <a:gd name="connsiteY4" fmla="*/ 857 h 5734812"/>
              <a:gd name="connsiteX0" fmla="*/ 0 w 8604028"/>
              <a:gd name="connsiteY0" fmla="*/ 857 h 5734812"/>
              <a:gd name="connsiteX1" fmla="*/ 8604028 w 8604028"/>
              <a:gd name="connsiteY1" fmla="*/ 0 h 5734812"/>
              <a:gd name="connsiteX2" fmla="*/ 6576335 w 8604028"/>
              <a:gd name="connsiteY2" fmla="*/ 3411651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98802 w 8604028"/>
              <a:gd name="connsiteY2" fmla="*/ 3812078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905914 w 8604028"/>
              <a:gd name="connsiteY2" fmla="*/ 3827884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70437 w 8604028"/>
              <a:gd name="connsiteY2" fmla="*/ 3745075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84628 w 8604028"/>
              <a:gd name="connsiteY2" fmla="*/ 3827883 h 5734812"/>
              <a:gd name="connsiteX3" fmla="*/ 0 w 8604028"/>
              <a:gd name="connsiteY3" fmla="*/ 5734812 h 5734812"/>
              <a:gd name="connsiteX4" fmla="*/ 0 w 8604028"/>
              <a:gd name="connsiteY4" fmla="*/ 857 h 5734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4028" h="5734812">
                <a:moveTo>
                  <a:pt x="0" y="857"/>
                </a:moveTo>
                <a:lnTo>
                  <a:pt x="8604028" y="0"/>
                </a:lnTo>
                <a:lnTo>
                  <a:pt x="6884628" y="3827883"/>
                </a:lnTo>
                <a:lnTo>
                  <a:pt x="0" y="5734812"/>
                </a:lnTo>
                <a:lnTo>
                  <a:pt x="0" y="857"/>
                </a:lnTo>
                <a:close/>
              </a:path>
            </a:pathLst>
          </a:custGeom>
          <a:solidFill>
            <a:schemeClr val="bg1"/>
          </a:solidFill>
          <a:ln w="76200" cap="flat">
            <a:solidFill>
              <a:schemeClr val="bg1"/>
            </a:solidFill>
            <a:prstDash val="solid"/>
            <a:miter/>
          </a:ln>
        </p:spPr>
        <p:txBody>
          <a:bodyPr rtlCol="0" anchor="ctr"/>
          <a:lstStyle/>
          <a:p>
            <a:endParaRPr lang="en-GB" dirty="0"/>
          </a:p>
        </p:txBody>
      </p:sp>
      <p:sp>
        <p:nvSpPr>
          <p:cNvPr id="395" name="Title">
            <a:extLst>
              <a:ext uri="{FF2B5EF4-FFF2-40B4-BE49-F238E27FC236}">
                <a16:creationId xmlns:a16="http://schemas.microsoft.com/office/drawing/2014/main" id="{CB7EA905-340F-91E4-8C9D-B365916D5204}"/>
              </a:ext>
            </a:extLst>
          </p:cNvPr>
          <p:cNvSpPr>
            <a:spLocks noGrp="1"/>
          </p:cNvSpPr>
          <p:nvPr>
            <p:ph type="ctrTitle" hasCustomPrompt="1"/>
          </p:nvPr>
        </p:nvSpPr>
        <p:spPr bwMode="gray">
          <a:xfrm>
            <a:off x="695400" y="2565032"/>
            <a:ext cx="2952000" cy="1152000"/>
          </a:xfrm>
          <a:prstGeom prst="rect">
            <a:avLst/>
          </a:prstGeom>
          <a:solidFill>
            <a:schemeClr val="bg1"/>
          </a:solidFill>
          <a:ln w="127">
            <a:solidFill>
              <a:schemeClr val="bg1"/>
            </a:solidFill>
          </a:ln>
        </p:spPr>
        <p:txBody>
          <a:bodyPr vert="horz" lIns="216000" tIns="36000" rIns="216000" anchor="t">
            <a:noAutofit/>
          </a:bodyPr>
          <a:lstStyle>
            <a:lvl1pPr algn="l">
              <a:lnSpc>
                <a:spcPct val="90000"/>
              </a:lnSpc>
              <a:defRPr sz="2400"/>
            </a:lvl1pPr>
          </a:lstStyle>
          <a:p>
            <a:r>
              <a:rPr lang="en-GB" dirty="0"/>
              <a:t>Insert your long title here in max. three lines</a:t>
            </a:r>
          </a:p>
        </p:txBody>
      </p:sp>
      <p:sp>
        <p:nvSpPr>
          <p:cNvPr id="396" name="Subtitle 2">
            <a:extLst>
              <a:ext uri="{FF2B5EF4-FFF2-40B4-BE49-F238E27FC236}">
                <a16:creationId xmlns:a16="http://schemas.microsoft.com/office/drawing/2014/main" id="{EBC1DF4C-E7BC-DD3D-AA17-1A3E85682934}"/>
              </a:ext>
            </a:extLst>
          </p:cNvPr>
          <p:cNvSpPr>
            <a:spLocks noGrp="1"/>
          </p:cNvSpPr>
          <p:nvPr>
            <p:ph type="subTitle" idx="1" hasCustomPrompt="1"/>
          </p:nvPr>
        </p:nvSpPr>
        <p:spPr bwMode="gray">
          <a:xfrm>
            <a:off x="695400" y="3717032"/>
            <a:ext cx="2952000" cy="1058353"/>
          </a:xfrm>
          <a:prstGeom prst="rect">
            <a:avLst/>
          </a:prstGeom>
          <a:solidFill>
            <a:schemeClr val="bg1"/>
          </a:solidFill>
          <a:ln w="127">
            <a:solidFill>
              <a:schemeClr val="bg1"/>
            </a:solidFill>
          </a:ln>
        </p:spPr>
        <p:txBody>
          <a:bodyPr lIns="216000" rIns="216000"/>
          <a:lstStyle>
            <a:lvl1pPr marL="0" indent="0" algn="l">
              <a:lnSpc>
                <a:spcPct val="100000"/>
              </a:lnSpc>
              <a:spcBef>
                <a:spcPts val="0"/>
              </a:spcBef>
              <a:buFont typeface="Arial" panose="020B0604020202020204" pitchFamily="34" charset="0"/>
              <a:buNone/>
              <a:defRPr sz="1600" b="0">
                <a:latin typeface="+mn-lt"/>
              </a:defRPr>
            </a:lvl1pPr>
            <a:lvl2pPr marL="0" indent="0" algn="l">
              <a:lnSpc>
                <a:spcPct val="100000"/>
              </a:lnSpc>
              <a:spcBef>
                <a:spcPts val="0"/>
              </a:spcBef>
              <a:buFont typeface="Arial" panose="020B0604020202020204" pitchFamily="34" charset="0"/>
              <a:buNone/>
              <a:defRPr sz="1600" b="0">
                <a:latin typeface="+mn-lt"/>
              </a:defRPr>
            </a:lvl2pPr>
            <a:lvl3pPr marL="0" indent="0" algn="l">
              <a:lnSpc>
                <a:spcPct val="100000"/>
              </a:lnSpc>
              <a:spcBef>
                <a:spcPts val="0"/>
              </a:spcBef>
              <a:buFont typeface="Arial" panose="020B0604020202020204" pitchFamily="34" charset="0"/>
              <a:buNone/>
              <a:defRPr sz="1600" b="0">
                <a:latin typeface="+mn-lt"/>
              </a:defRPr>
            </a:lvl3pPr>
            <a:lvl4pPr marL="0" indent="0" algn="l">
              <a:lnSpc>
                <a:spcPct val="100000"/>
              </a:lnSpc>
              <a:spcBef>
                <a:spcPts val="0"/>
              </a:spcBef>
              <a:buFont typeface="Arial" panose="020B0604020202020204" pitchFamily="34" charset="0"/>
              <a:buNone/>
              <a:defRPr sz="1600" b="0">
                <a:latin typeface="+mn-lt"/>
              </a:defRPr>
            </a:lvl4pPr>
            <a:lvl5pPr marL="0" indent="0" algn="l">
              <a:lnSpc>
                <a:spcPct val="100000"/>
              </a:lnSpc>
              <a:spcBef>
                <a:spcPts val="0"/>
              </a:spcBef>
              <a:buFont typeface="Arial" panose="020B0604020202020204" pitchFamily="34" charset="0"/>
              <a:buNone/>
              <a:defRPr sz="1600" b="0">
                <a:latin typeface="+mn-lt"/>
              </a:defRPr>
            </a:lvl5pPr>
            <a:lvl6pPr marL="0" indent="0" algn="l">
              <a:lnSpc>
                <a:spcPct val="100000"/>
              </a:lnSpc>
              <a:spcBef>
                <a:spcPts val="0"/>
              </a:spcBef>
              <a:buFont typeface="Arial" panose="020B0604020202020204" pitchFamily="34" charset="0"/>
              <a:buNone/>
              <a:defRPr sz="1600" b="0">
                <a:latin typeface="+mn-lt"/>
              </a:defRPr>
            </a:lvl6pPr>
            <a:lvl7pPr marL="0" indent="0" algn="l">
              <a:lnSpc>
                <a:spcPct val="100000"/>
              </a:lnSpc>
              <a:spcBef>
                <a:spcPts val="0"/>
              </a:spcBef>
              <a:buFont typeface="Arial" panose="020B0604020202020204" pitchFamily="34" charset="0"/>
              <a:buNone/>
              <a:defRPr sz="1600" b="0">
                <a:latin typeface="+mn-lt"/>
              </a:defRPr>
            </a:lvl7pPr>
            <a:lvl8pPr marL="0" indent="0" algn="l">
              <a:lnSpc>
                <a:spcPct val="100000"/>
              </a:lnSpc>
              <a:spcBef>
                <a:spcPts val="0"/>
              </a:spcBef>
              <a:buFont typeface="Arial" panose="020B0604020202020204" pitchFamily="34" charset="0"/>
              <a:buNone/>
              <a:defRPr sz="1600" b="0">
                <a:latin typeface="+mn-lt"/>
              </a:defRPr>
            </a:lvl8pPr>
            <a:lvl9pPr marL="0" indent="0" algn="l">
              <a:lnSpc>
                <a:spcPct val="100000"/>
              </a:lnSpc>
              <a:spcBef>
                <a:spcPts val="0"/>
              </a:spcBef>
              <a:buFont typeface="Arial" panose="020B0604020202020204" pitchFamily="34" charset="0"/>
              <a:buNone/>
              <a:defRPr sz="1600" b="0">
                <a:latin typeface="+mn-lt"/>
              </a:defRPr>
            </a:lvl9pPr>
          </a:lstStyle>
          <a:p>
            <a:r>
              <a:rPr lang="en-GB" dirty="0"/>
              <a:t>Insert here your subtitle</a:t>
            </a:r>
          </a:p>
        </p:txBody>
      </p:sp>
      <p:sp>
        <p:nvSpPr>
          <p:cNvPr id="397" name="Author">
            <a:extLst>
              <a:ext uri="{FF2B5EF4-FFF2-40B4-BE49-F238E27FC236}">
                <a16:creationId xmlns:a16="http://schemas.microsoft.com/office/drawing/2014/main" id="{70555D07-5C94-0E8C-A487-8610C53FEAF0}"/>
              </a:ext>
            </a:extLst>
          </p:cNvPr>
          <p:cNvSpPr>
            <a:spLocks noGrp="1"/>
          </p:cNvSpPr>
          <p:nvPr>
            <p:ph type="body" sz="quarter" idx="14" hasCustomPrompt="1"/>
          </p:nvPr>
        </p:nvSpPr>
        <p:spPr bwMode="gray">
          <a:xfrm>
            <a:off x="695400" y="4869160"/>
            <a:ext cx="2952000" cy="216000"/>
          </a:xfrm>
          <a:prstGeom prst="rect">
            <a:avLst/>
          </a:prstGeom>
          <a:solidFill>
            <a:schemeClr val="bg1"/>
          </a:solidFill>
          <a:ln w="127">
            <a:solidFill>
              <a:schemeClr val="bg1"/>
            </a:solidFill>
          </a:ln>
        </p:spPr>
        <p:txBody>
          <a:bodyPr wrap="square" lIns="216000" rIns="216000" anchor="b"/>
          <a:lstStyle>
            <a:lvl1pPr marL="0" indent="0" algn="l">
              <a:lnSpc>
                <a:spcPct val="100000"/>
              </a:lnSpc>
              <a:spcBef>
                <a:spcPts val="0"/>
              </a:spcBef>
              <a:buFont typeface="Arial" panose="020B0604020202020204" pitchFamily="34" charset="0"/>
              <a:buNone/>
              <a:defRPr sz="1200" b="0">
                <a:latin typeface="+mj-lt"/>
              </a:defRPr>
            </a:lvl1pPr>
            <a:lvl2pPr marL="0" indent="0" algn="l">
              <a:lnSpc>
                <a:spcPct val="100000"/>
              </a:lnSpc>
              <a:spcBef>
                <a:spcPts val="0"/>
              </a:spcBef>
              <a:buFont typeface="Arial" panose="020B0604020202020204" pitchFamily="34" charset="0"/>
              <a:buNone/>
              <a:defRPr sz="1200" b="0">
                <a:latin typeface="+mj-lt"/>
              </a:defRPr>
            </a:lvl2pPr>
            <a:lvl3pPr marL="0" indent="0" algn="l">
              <a:lnSpc>
                <a:spcPct val="100000"/>
              </a:lnSpc>
              <a:spcBef>
                <a:spcPts val="0"/>
              </a:spcBef>
              <a:buFont typeface="Arial" panose="020B0604020202020204" pitchFamily="34" charset="0"/>
              <a:buNone/>
              <a:defRPr sz="1200" b="0">
                <a:latin typeface="+mj-lt"/>
              </a:defRPr>
            </a:lvl3pPr>
            <a:lvl4pPr marL="0" indent="0" algn="l">
              <a:lnSpc>
                <a:spcPct val="100000"/>
              </a:lnSpc>
              <a:spcBef>
                <a:spcPts val="0"/>
              </a:spcBef>
              <a:buFont typeface="Arial" panose="020B0604020202020204" pitchFamily="34" charset="0"/>
              <a:buNone/>
              <a:defRPr sz="1200" b="0">
                <a:latin typeface="+mj-lt"/>
              </a:defRPr>
            </a:lvl4pPr>
            <a:lvl5pPr marL="0" indent="0" algn="l">
              <a:lnSpc>
                <a:spcPct val="100000"/>
              </a:lnSpc>
              <a:spcBef>
                <a:spcPts val="0"/>
              </a:spcBef>
              <a:buFont typeface="Arial" panose="020B0604020202020204" pitchFamily="34" charset="0"/>
              <a:buNone/>
              <a:defRPr sz="1200" b="0">
                <a:latin typeface="+mj-lt"/>
              </a:defRPr>
            </a:lvl5pPr>
            <a:lvl6pPr marL="0" indent="0" algn="l">
              <a:lnSpc>
                <a:spcPct val="100000"/>
              </a:lnSpc>
              <a:spcBef>
                <a:spcPts val="0"/>
              </a:spcBef>
              <a:buNone/>
              <a:defRPr sz="1200" b="0">
                <a:latin typeface="+mj-lt"/>
              </a:defRPr>
            </a:lvl6pPr>
            <a:lvl7pPr marL="0" indent="0" algn="l">
              <a:lnSpc>
                <a:spcPct val="100000"/>
              </a:lnSpc>
              <a:spcBef>
                <a:spcPts val="0"/>
              </a:spcBef>
              <a:buNone/>
              <a:defRPr sz="1200" b="0">
                <a:latin typeface="+mj-lt"/>
              </a:defRPr>
            </a:lvl7pPr>
            <a:lvl8pPr marL="0" indent="0" algn="l">
              <a:lnSpc>
                <a:spcPct val="100000"/>
              </a:lnSpc>
              <a:spcBef>
                <a:spcPts val="0"/>
              </a:spcBef>
              <a:buNone/>
              <a:defRPr sz="1200" b="0">
                <a:latin typeface="+mj-lt"/>
              </a:defRPr>
            </a:lvl8pPr>
            <a:lvl9pPr marL="0" indent="0" algn="l">
              <a:lnSpc>
                <a:spcPct val="100000"/>
              </a:lnSpc>
              <a:spcBef>
                <a:spcPts val="0"/>
              </a:spcBef>
              <a:buNone/>
              <a:defRPr sz="1200" b="0">
                <a:latin typeface="+mj-lt"/>
              </a:defRPr>
            </a:lvl9pPr>
          </a:lstStyle>
          <a:p>
            <a:pPr lvl="0"/>
            <a:r>
              <a:rPr lang="en-GB" dirty="0"/>
              <a:t>First name Last name</a:t>
            </a:r>
          </a:p>
        </p:txBody>
      </p:sp>
      <p:sp>
        <p:nvSpPr>
          <p:cNvPr id="398" name="Department, Date">
            <a:extLst>
              <a:ext uri="{FF2B5EF4-FFF2-40B4-BE49-F238E27FC236}">
                <a16:creationId xmlns:a16="http://schemas.microsoft.com/office/drawing/2014/main" id="{14C18ED3-66CD-D13F-35CF-5BC6A7DEA905}"/>
              </a:ext>
            </a:extLst>
          </p:cNvPr>
          <p:cNvSpPr>
            <a:spLocks noGrp="1"/>
          </p:cNvSpPr>
          <p:nvPr>
            <p:ph type="body" sz="quarter" idx="15" hasCustomPrompt="1"/>
          </p:nvPr>
        </p:nvSpPr>
        <p:spPr bwMode="gray">
          <a:xfrm>
            <a:off x="695400" y="5085160"/>
            <a:ext cx="2952000" cy="504000"/>
          </a:xfrm>
          <a:prstGeom prst="rect">
            <a:avLst/>
          </a:prstGeom>
          <a:solidFill>
            <a:schemeClr val="bg1"/>
          </a:solidFill>
          <a:ln w="127">
            <a:solidFill>
              <a:schemeClr val="bg1"/>
            </a:solidFill>
          </a:ln>
        </p:spPr>
        <p:txBody>
          <a:bodyPr wrap="square" lIns="216000" rIns="216000"/>
          <a:lstStyle>
            <a:lvl1pPr marL="0" indent="0">
              <a:lnSpc>
                <a:spcPct val="100000"/>
              </a:lnSpc>
              <a:spcBef>
                <a:spcPts val="0"/>
              </a:spcBef>
              <a:buFont typeface="Arial" panose="020B0604020202020204" pitchFamily="34" charset="0"/>
              <a:buNone/>
              <a:defRPr sz="1200" i="1">
                <a:latin typeface="+mn-lt"/>
              </a:defRPr>
            </a:lvl1pPr>
            <a:lvl2pPr marL="0" indent="0">
              <a:lnSpc>
                <a:spcPct val="100000"/>
              </a:lnSpc>
              <a:spcBef>
                <a:spcPts val="0"/>
              </a:spcBef>
              <a:buFont typeface="Arial" panose="020B0604020202020204" pitchFamily="34" charset="0"/>
              <a:buNone/>
              <a:defRPr sz="1200" i="1">
                <a:latin typeface="+mn-lt"/>
              </a:defRPr>
            </a:lvl2pPr>
            <a:lvl3pPr marL="0" indent="0">
              <a:lnSpc>
                <a:spcPct val="100000"/>
              </a:lnSpc>
              <a:spcBef>
                <a:spcPts val="0"/>
              </a:spcBef>
              <a:buFont typeface="Arial" panose="020B0604020202020204" pitchFamily="34" charset="0"/>
              <a:buNone/>
              <a:defRPr sz="1200" i="1">
                <a:latin typeface="+mn-lt"/>
              </a:defRPr>
            </a:lvl3pPr>
            <a:lvl4pPr marL="0" indent="0">
              <a:lnSpc>
                <a:spcPct val="100000"/>
              </a:lnSpc>
              <a:spcBef>
                <a:spcPts val="0"/>
              </a:spcBef>
              <a:buFont typeface="Arial" panose="020B0604020202020204" pitchFamily="34" charset="0"/>
              <a:buNone/>
              <a:defRPr sz="1200" i="1">
                <a:latin typeface="+mn-lt"/>
              </a:defRPr>
            </a:lvl4pPr>
            <a:lvl5pPr marL="0" indent="0">
              <a:lnSpc>
                <a:spcPct val="100000"/>
              </a:lnSpc>
              <a:spcBef>
                <a:spcPts val="0"/>
              </a:spcBef>
              <a:buFont typeface="Arial" panose="020B0604020202020204" pitchFamily="34" charset="0"/>
              <a:buNone/>
              <a:defRPr sz="1200" i="1">
                <a:latin typeface="+mn-lt"/>
              </a:defRPr>
            </a:lvl5pPr>
            <a:lvl6pPr marL="0" indent="0">
              <a:lnSpc>
                <a:spcPct val="100000"/>
              </a:lnSpc>
              <a:spcBef>
                <a:spcPts val="0"/>
              </a:spcBef>
              <a:buNone/>
              <a:defRPr sz="1200" i="1">
                <a:latin typeface="+mn-lt"/>
              </a:defRPr>
            </a:lvl6pPr>
            <a:lvl7pPr marL="0" indent="0">
              <a:lnSpc>
                <a:spcPct val="100000"/>
              </a:lnSpc>
              <a:spcBef>
                <a:spcPts val="0"/>
              </a:spcBef>
              <a:buNone/>
              <a:defRPr sz="1200" i="1">
                <a:latin typeface="+mn-lt"/>
              </a:defRPr>
            </a:lvl7pPr>
            <a:lvl8pPr marL="0" indent="0">
              <a:lnSpc>
                <a:spcPct val="100000"/>
              </a:lnSpc>
              <a:spcBef>
                <a:spcPts val="0"/>
              </a:spcBef>
              <a:buNone/>
              <a:defRPr sz="1200" i="1">
                <a:latin typeface="+mn-lt"/>
              </a:defRPr>
            </a:lvl8pPr>
            <a:lvl9pPr marL="0" indent="0">
              <a:lnSpc>
                <a:spcPct val="100000"/>
              </a:lnSpc>
              <a:spcBef>
                <a:spcPts val="0"/>
              </a:spcBef>
              <a:buNone/>
              <a:defRPr sz="1200" i="1">
                <a:latin typeface="+mn-lt"/>
              </a:defRPr>
            </a:lvl9pPr>
          </a:lstStyle>
          <a:p>
            <a:pPr lvl="0"/>
            <a:r>
              <a:rPr lang="en-GB" dirty="0"/>
              <a:t>Department</a:t>
            </a:r>
            <a:br>
              <a:rPr lang="en-GB" dirty="0"/>
            </a:br>
            <a:r>
              <a:rPr lang="en-GB" dirty="0"/>
              <a:t>DD/MM/YYYY</a:t>
            </a:r>
          </a:p>
        </p:txBody>
      </p:sp>
      <p:sp>
        <p:nvSpPr>
          <p:cNvPr id="399" name="Picture">
            <a:extLst>
              <a:ext uri="{FF2B5EF4-FFF2-40B4-BE49-F238E27FC236}">
                <a16:creationId xmlns:a16="http://schemas.microsoft.com/office/drawing/2014/main" id="{5AE19F0A-0C1E-EF0E-40BD-D0BFE67BE756}"/>
              </a:ext>
            </a:extLst>
          </p:cNvPr>
          <p:cNvSpPr>
            <a:spLocks noGrp="1"/>
          </p:cNvSpPr>
          <p:nvPr>
            <p:ph type="pic" sz="quarter" idx="13" hasCustomPrompt="1"/>
          </p:nvPr>
        </p:nvSpPr>
        <p:spPr bwMode="gray">
          <a:xfrm>
            <a:off x="4367809" y="2061400"/>
            <a:ext cx="5775177" cy="3463099"/>
          </a:xfrm>
          <a:custGeom>
            <a:avLst/>
            <a:gdLst>
              <a:gd name="connsiteX0" fmla="*/ 5775177 w 5775177"/>
              <a:gd name="connsiteY0" fmla="*/ 0 h 3463099"/>
              <a:gd name="connsiteX1" fmla="*/ 4621085 w 5775177"/>
              <a:gd name="connsiteY1" fmla="*/ 2311556 h 3463099"/>
              <a:gd name="connsiteX2" fmla="*/ 0 w 5775177"/>
              <a:gd name="connsiteY2" fmla="*/ 3463099 h 3463099"/>
              <a:gd name="connsiteX3" fmla="*/ 0 w 5775177"/>
              <a:gd name="connsiteY3" fmla="*/ 518 h 3463099"/>
            </a:gdLst>
            <a:ahLst/>
            <a:cxnLst>
              <a:cxn ang="0">
                <a:pos x="connsiteX0" y="connsiteY0"/>
              </a:cxn>
              <a:cxn ang="0">
                <a:pos x="connsiteX1" y="connsiteY1"/>
              </a:cxn>
              <a:cxn ang="0">
                <a:pos x="connsiteX2" y="connsiteY2"/>
              </a:cxn>
              <a:cxn ang="0">
                <a:pos x="connsiteX3" y="connsiteY3"/>
              </a:cxn>
            </a:cxnLst>
            <a:rect l="l" t="t" r="r" b="b"/>
            <a:pathLst>
              <a:path w="5775177" h="3463099">
                <a:moveTo>
                  <a:pt x="5775177" y="0"/>
                </a:moveTo>
                <a:lnTo>
                  <a:pt x="4621085" y="2311556"/>
                </a:lnTo>
                <a:lnTo>
                  <a:pt x="0" y="3463099"/>
                </a:lnTo>
                <a:lnTo>
                  <a:pt x="0" y="518"/>
                </a:lnTo>
                <a:close/>
              </a:path>
            </a:pathLst>
          </a:custGeom>
          <a:solidFill>
            <a:srgbClr val="519FBC"/>
          </a:solidFill>
        </p:spPr>
        <p:txBody>
          <a:bodyPr wrap="square">
            <a:noAutofit/>
          </a:bodyPr>
          <a:lstStyle>
            <a:lvl1pPr marL="0" indent="0" algn="ctr">
              <a:buNone/>
              <a:defRPr/>
            </a:lvl1pPr>
          </a:lstStyle>
          <a:p>
            <a:r>
              <a:rPr lang="en-GB"/>
              <a:t> </a:t>
            </a:r>
            <a:endParaRPr lang="en-GB" dirty="0"/>
          </a:p>
        </p:txBody>
      </p:sp>
    </p:spTree>
    <p:extLst>
      <p:ext uri="{BB962C8B-B14F-4D97-AF65-F5344CB8AC3E}">
        <p14:creationId xmlns:p14="http://schemas.microsoft.com/office/powerpoint/2010/main" val="1867112350"/>
      </p:ext>
    </p:extLst>
  </p:cSld>
  <p:clrMapOvr>
    <a:overrideClrMapping bg1="dk1" tx1="lt1" bg2="dk2" tx2="lt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with big picture">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FEC248AF-7035-C376-1789-37E750EDBAEA}"/>
              </a:ext>
            </a:extLst>
          </p:cNvPr>
          <p:cNvGraphicFramePr>
            <a:graphicFrameLocks noChangeAspect="1"/>
          </p:cNvGraphicFramePr>
          <p:nvPr userDrawn="1">
            <p:custDataLst>
              <p:tags r:id="rId1"/>
            </p:custDataLst>
            <p:extLst>
              <p:ext uri="{D42A27DB-BD31-4B8C-83A1-F6EECF244321}">
                <p14:modId xmlns:p14="http://schemas.microsoft.com/office/powerpoint/2010/main" val="3867118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2" name="Objekt 1" hidden="1">
                        <a:extLst>
                          <a:ext uri="{FF2B5EF4-FFF2-40B4-BE49-F238E27FC236}">
                            <a16:creationId xmlns:a16="http://schemas.microsoft.com/office/drawing/2014/main" id="{FEC248AF-7035-C376-1789-37E750EDBA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6" name="Picture">
            <a:extLst>
              <a:ext uri="{FF2B5EF4-FFF2-40B4-BE49-F238E27FC236}">
                <a16:creationId xmlns:a16="http://schemas.microsoft.com/office/drawing/2014/main" id="{7F971BB4-CECE-4C6B-9C8F-D4F40265C444}"/>
              </a:ext>
            </a:extLst>
          </p:cNvPr>
          <p:cNvSpPr>
            <a:spLocks noGrp="1"/>
          </p:cNvSpPr>
          <p:nvPr>
            <p:ph type="pic" sz="quarter" idx="18" hasCustomPrompt="1"/>
          </p:nvPr>
        </p:nvSpPr>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rgbClr val="D6D9DC"/>
          </a:solidFill>
        </p:spPr>
        <p:txBody>
          <a:bodyPr wrap="square">
            <a:noAutofit/>
          </a:bodyPr>
          <a:lstStyle>
            <a:lvl1pPr marL="0" indent="0">
              <a:buNone/>
              <a:defRPr/>
            </a:lvl1pPr>
          </a:lstStyle>
          <a:p>
            <a:r>
              <a:rPr lang="en-GB"/>
              <a:t> </a:t>
            </a:r>
            <a:endParaRPr lang="en-GB" dirty="0"/>
          </a:p>
        </p:txBody>
      </p:sp>
      <p:sp>
        <p:nvSpPr>
          <p:cNvPr id="4" name="Logo">
            <a:extLst>
              <a:ext uri="{FF2B5EF4-FFF2-40B4-BE49-F238E27FC236}">
                <a16:creationId xmlns:a16="http://schemas.microsoft.com/office/drawing/2014/main" id="{EFDF75BA-555D-4338-B380-D9FEBC0FA607}"/>
              </a:ext>
              <a:ext uri="{C183D7F6-B498-43B3-948B-1728B52AA6E4}">
                <adec:decorative xmlns:adec="http://schemas.microsoft.com/office/drawing/2017/decorative" val="1"/>
              </a:ext>
            </a:extLst>
          </p:cNvPr>
          <p:cNvSpPr>
            <a:spLocks noGrp="1" noChangeAspect="1"/>
          </p:cNvSpPr>
          <p:nvPr>
            <p:ph type="body" sz="quarter" idx="19" hasCustomPrompt="1"/>
          </p:nvPr>
        </p:nvSpPr>
        <p:spPr bwMode="gray">
          <a:xfrm>
            <a:off x="10128448" y="335757"/>
            <a:ext cx="1357714" cy="576000"/>
          </a:xfrm>
          <a:blipFill dpi="0" rotWithShape="1">
            <a:blip r:embed="rId5" cstate="print">
              <a:extLst>
                <a:ext uri="{28A0092B-C50C-407E-A947-70E740481C1C}">
                  <a14:useLocalDpi xmlns:a14="http://schemas.microsoft.com/office/drawing/2010/main" val="0"/>
                </a:ext>
              </a:extLst>
            </a:blip>
            <a:srcRect/>
            <a:stretch>
              <a:fillRect/>
            </a:stretch>
          </a:blipFill>
          <a:ln w="127">
            <a:solidFill>
              <a:schemeClr val="bg1">
                <a:alpha val="0"/>
              </a:schemeClr>
            </a:solidFill>
          </a:ln>
        </p:spPr>
        <p:txBody>
          <a:bodyPr/>
          <a:lstStyle>
            <a:lvl1pPr marL="0" indent="0">
              <a:spcBef>
                <a:spcPts val="0"/>
              </a:spcBef>
              <a:buNone/>
              <a:defRPr sz="1000">
                <a:latin typeface="+mn-lt"/>
              </a:defRPr>
            </a:lvl1pPr>
            <a:lvl2pPr marL="0" indent="0">
              <a:spcBef>
                <a:spcPts val="0"/>
              </a:spcBef>
              <a:buNone/>
              <a:defRPr sz="1000">
                <a:latin typeface="+mn-lt"/>
              </a:defRPr>
            </a:lvl2pPr>
            <a:lvl3pPr marL="0" indent="0">
              <a:spcBef>
                <a:spcPts val="0"/>
              </a:spcBef>
              <a:buNone/>
              <a:defRPr sz="1000">
                <a:latin typeface="+mn-lt"/>
              </a:defRPr>
            </a:lvl3pPr>
            <a:lvl4pPr marL="0" indent="0">
              <a:spcBef>
                <a:spcPts val="0"/>
              </a:spcBef>
              <a:buNone/>
              <a:defRPr sz="1000">
                <a:latin typeface="+mn-lt"/>
              </a:defRPr>
            </a:lvl4pPr>
            <a:lvl5pPr marL="0" indent="0">
              <a:spcBef>
                <a:spcPts val="0"/>
              </a:spcBef>
              <a:buFont typeface="Arial" panose="020B0604020202020204" pitchFamily="34" charset="0"/>
              <a:buNone/>
              <a:defRPr sz="1000" b="0">
                <a:latin typeface="+mn-lt"/>
              </a:defRPr>
            </a:lvl5pPr>
            <a:lvl6pPr marL="0" indent="0">
              <a:spcBef>
                <a:spcPts val="0"/>
              </a:spcBef>
              <a:buNone/>
              <a:defRPr sz="1000">
                <a:latin typeface="+mn-lt"/>
              </a:defRPr>
            </a:lvl6pPr>
            <a:lvl7pPr marL="0" indent="0">
              <a:spcBef>
                <a:spcPts val="0"/>
              </a:spcBef>
              <a:buNone/>
              <a:defRPr sz="1000">
                <a:latin typeface="+mn-lt"/>
              </a:defRPr>
            </a:lvl7pPr>
            <a:lvl8pPr marL="0" indent="0">
              <a:spcBef>
                <a:spcPts val="0"/>
              </a:spcBef>
              <a:buNone/>
              <a:defRPr sz="1000">
                <a:latin typeface="+mn-lt"/>
              </a:defRPr>
            </a:lvl8pPr>
            <a:lvl9pPr marL="0" indent="0">
              <a:spcBef>
                <a:spcPts val="0"/>
              </a:spcBef>
              <a:buNone/>
              <a:defRPr sz="1000">
                <a:latin typeface="+mn-lt"/>
              </a:defRPr>
            </a:lvl9pPr>
          </a:lstStyle>
          <a:p>
            <a:pPr lvl="0"/>
            <a:r>
              <a:rPr lang="en-GB"/>
              <a:t> </a:t>
            </a:r>
            <a:endParaRPr lang="en-GB" dirty="0"/>
          </a:p>
        </p:txBody>
      </p:sp>
      <p:sp>
        <p:nvSpPr>
          <p:cNvPr id="7" name="Titel 6">
            <a:extLst>
              <a:ext uri="{FF2B5EF4-FFF2-40B4-BE49-F238E27FC236}">
                <a16:creationId xmlns:a16="http://schemas.microsoft.com/office/drawing/2014/main" id="{49BBA445-B1E4-2FDB-A199-21D492801561}"/>
              </a:ext>
            </a:extLst>
          </p:cNvPr>
          <p:cNvSpPr>
            <a:spLocks noGrp="1"/>
          </p:cNvSpPr>
          <p:nvPr>
            <p:ph type="title" hasCustomPrompt="1"/>
          </p:nvPr>
        </p:nvSpPr>
        <p:spPr bwMode="gray">
          <a:xfrm>
            <a:off x="911426" y="1485900"/>
            <a:ext cx="4608510" cy="4614862"/>
          </a:xfrm>
          <a:custGeom>
            <a:avLst/>
            <a:gdLst>
              <a:gd name="connsiteX0" fmla="*/ 4029048 w 5051672"/>
              <a:gd name="connsiteY0" fmla="*/ 0 h 3547859"/>
              <a:gd name="connsiteX1" fmla="*/ 5051672 w 5051672"/>
              <a:gd name="connsiteY1" fmla="*/ 3547859 h 3547859"/>
              <a:gd name="connsiteX2" fmla="*/ 0 w 5051672"/>
              <a:gd name="connsiteY2" fmla="*/ 2520032 h 3547859"/>
              <a:gd name="connsiteX3" fmla="*/ 0 w 5051672"/>
              <a:gd name="connsiteY3" fmla="*/ 377 h 3547859"/>
              <a:gd name="connsiteX0" fmla="*/ 4029048 w 5075736"/>
              <a:gd name="connsiteY0" fmla="*/ 0 h 3229981"/>
              <a:gd name="connsiteX1" fmla="*/ 5075736 w 5075736"/>
              <a:gd name="connsiteY1" fmla="*/ 3229981 h 3229981"/>
              <a:gd name="connsiteX2" fmla="*/ 0 w 5075736"/>
              <a:gd name="connsiteY2" fmla="*/ 2520032 h 3229981"/>
              <a:gd name="connsiteX3" fmla="*/ 0 w 5075736"/>
              <a:gd name="connsiteY3" fmla="*/ 377 h 3229981"/>
              <a:gd name="connsiteX4" fmla="*/ 4029048 w 5075736"/>
              <a:gd name="connsiteY4" fmla="*/ 0 h 3229981"/>
              <a:gd name="connsiteX0" fmla="*/ 4029048 w 5051673"/>
              <a:gd name="connsiteY0" fmla="*/ 0 h 3229981"/>
              <a:gd name="connsiteX1" fmla="*/ 5051673 w 5051673"/>
              <a:gd name="connsiteY1" fmla="*/ 3229981 h 3229981"/>
              <a:gd name="connsiteX2" fmla="*/ 0 w 5051673"/>
              <a:gd name="connsiteY2" fmla="*/ 2520032 h 3229981"/>
              <a:gd name="connsiteX3" fmla="*/ 0 w 5051673"/>
              <a:gd name="connsiteY3" fmla="*/ 377 h 3229981"/>
              <a:gd name="connsiteX4" fmla="*/ 4029048 w 5051673"/>
              <a:gd name="connsiteY4" fmla="*/ 0 h 3229981"/>
              <a:gd name="connsiteX0" fmla="*/ 4029048 w 5042148"/>
              <a:gd name="connsiteY0" fmla="*/ 0 h 3243584"/>
              <a:gd name="connsiteX1" fmla="*/ 5042148 w 5042148"/>
              <a:gd name="connsiteY1" fmla="*/ 3243584 h 3243584"/>
              <a:gd name="connsiteX2" fmla="*/ 0 w 5042148"/>
              <a:gd name="connsiteY2" fmla="*/ 2520032 h 3243584"/>
              <a:gd name="connsiteX3" fmla="*/ 0 w 5042148"/>
              <a:gd name="connsiteY3" fmla="*/ 377 h 3243584"/>
              <a:gd name="connsiteX4" fmla="*/ 4029048 w 5042148"/>
              <a:gd name="connsiteY4" fmla="*/ 0 h 3243584"/>
              <a:gd name="connsiteX0" fmla="*/ 4029048 w 5207881"/>
              <a:gd name="connsiteY0" fmla="*/ 0 h 3252176"/>
              <a:gd name="connsiteX1" fmla="*/ 5207881 w 5207881"/>
              <a:gd name="connsiteY1" fmla="*/ 3252176 h 3252176"/>
              <a:gd name="connsiteX2" fmla="*/ 0 w 5207881"/>
              <a:gd name="connsiteY2" fmla="*/ 2520032 h 3252176"/>
              <a:gd name="connsiteX3" fmla="*/ 0 w 5207881"/>
              <a:gd name="connsiteY3" fmla="*/ 377 h 3252176"/>
              <a:gd name="connsiteX4" fmla="*/ 4029048 w 5207881"/>
              <a:gd name="connsiteY4" fmla="*/ 0 h 3252176"/>
              <a:gd name="connsiteX0" fmla="*/ 4029048 w 5202414"/>
              <a:gd name="connsiteY0" fmla="*/ 0 h 3241974"/>
              <a:gd name="connsiteX1" fmla="*/ 5202414 w 5202414"/>
              <a:gd name="connsiteY1" fmla="*/ 3241974 h 3241974"/>
              <a:gd name="connsiteX2" fmla="*/ 0 w 5202414"/>
              <a:gd name="connsiteY2" fmla="*/ 2520032 h 3241974"/>
              <a:gd name="connsiteX3" fmla="*/ 0 w 5202414"/>
              <a:gd name="connsiteY3" fmla="*/ 377 h 3241974"/>
              <a:gd name="connsiteX4" fmla="*/ 4029048 w 5202414"/>
              <a:gd name="connsiteY4" fmla="*/ 0 h 3241974"/>
              <a:gd name="connsiteX0" fmla="*/ 4029048 w 5374278"/>
              <a:gd name="connsiteY0" fmla="*/ 0 h 3363461"/>
              <a:gd name="connsiteX1" fmla="*/ 5374278 w 5374278"/>
              <a:gd name="connsiteY1" fmla="*/ 3363461 h 3363461"/>
              <a:gd name="connsiteX2" fmla="*/ 0 w 5374278"/>
              <a:gd name="connsiteY2" fmla="*/ 2520032 h 3363461"/>
              <a:gd name="connsiteX3" fmla="*/ 0 w 5374278"/>
              <a:gd name="connsiteY3" fmla="*/ 377 h 3363461"/>
              <a:gd name="connsiteX4" fmla="*/ 4029048 w 5374278"/>
              <a:gd name="connsiteY4" fmla="*/ 0 h 33634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74278" h="3363461">
                <a:moveTo>
                  <a:pt x="4029048" y="0"/>
                </a:moveTo>
                <a:lnTo>
                  <a:pt x="5374278" y="3363461"/>
                </a:lnTo>
                <a:lnTo>
                  <a:pt x="0" y="2520032"/>
                </a:lnTo>
                <a:lnTo>
                  <a:pt x="0" y="377"/>
                </a:lnTo>
                <a:lnTo>
                  <a:pt x="4029048" y="0"/>
                </a:lnTo>
                <a:close/>
              </a:path>
            </a:pathLst>
          </a:custGeom>
          <a:solidFill>
            <a:schemeClr val="bg1"/>
          </a:solidFill>
          <a:ln w="127">
            <a:solidFill>
              <a:schemeClr val="bg1"/>
            </a:solidFill>
          </a:ln>
        </p:spPr>
        <p:txBody>
          <a:bodyPr wrap="square" lIns="216000" tIns="183600" rIns="1152000">
            <a:noAutofit/>
          </a:bodyPr>
          <a:lstStyle>
            <a:lvl1pPr marL="0" indent="0">
              <a:defRPr sz="2400">
                <a:solidFill>
                  <a:schemeClr val="tx1"/>
                </a:solidFill>
              </a:defRPr>
            </a:lvl1pPr>
          </a:lstStyle>
          <a:p>
            <a:r>
              <a:rPr lang="en-GB" dirty="0"/>
              <a:t>Insert your long title of presentation here in maximal three lines</a:t>
            </a:r>
          </a:p>
        </p:txBody>
      </p:sp>
      <p:sp>
        <p:nvSpPr>
          <p:cNvPr id="8" name="Subtitle 2">
            <a:extLst>
              <a:ext uri="{FF2B5EF4-FFF2-40B4-BE49-F238E27FC236}">
                <a16:creationId xmlns:a16="http://schemas.microsoft.com/office/drawing/2014/main" id="{7A5D256E-7435-F747-CC3F-2763FDAE96A7}"/>
              </a:ext>
            </a:extLst>
          </p:cNvPr>
          <p:cNvSpPr>
            <a:spLocks noGrp="1"/>
          </p:cNvSpPr>
          <p:nvPr>
            <p:ph type="subTitle" idx="1" hasCustomPrompt="1"/>
          </p:nvPr>
        </p:nvSpPr>
        <p:spPr bwMode="gray">
          <a:xfrm>
            <a:off x="911425" y="2852936"/>
            <a:ext cx="3456384" cy="1008112"/>
          </a:xfrm>
          <a:prstGeom prst="rect">
            <a:avLst/>
          </a:prstGeom>
          <a:noFill/>
          <a:ln w="127">
            <a:noFill/>
          </a:ln>
        </p:spPr>
        <p:txBody>
          <a:bodyPr lIns="216000" rIns="0"/>
          <a:lstStyle>
            <a:lvl1pPr marL="0" indent="0" algn="l">
              <a:lnSpc>
                <a:spcPct val="100000"/>
              </a:lnSpc>
              <a:spcBef>
                <a:spcPts val="0"/>
              </a:spcBef>
              <a:buFont typeface="Arial" panose="020B0604020202020204" pitchFamily="34" charset="0"/>
              <a:buNone/>
              <a:defRPr sz="1600" b="0">
                <a:solidFill>
                  <a:schemeClr val="tx1"/>
                </a:solidFill>
                <a:latin typeface="+mn-lt"/>
              </a:defRPr>
            </a:lvl1pPr>
            <a:lvl2pPr marL="0" indent="0" algn="l">
              <a:lnSpc>
                <a:spcPct val="100000"/>
              </a:lnSpc>
              <a:spcBef>
                <a:spcPts val="0"/>
              </a:spcBef>
              <a:buFont typeface="Arial" panose="020B0604020202020204" pitchFamily="34" charset="0"/>
              <a:buNone/>
              <a:defRPr sz="1600" b="0">
                <a:solidFill>
                  <a:schemeClr val="tx1"/>
                </a:solidFill>
                <a:latin typeface="+mn-lt"/>
              </a:defRPr>
            </a:lvl2pPr>
            <a:lvl3pPr marL="0" indent="0" algn="l">
              <a:lnSpc>
                <a:spcPct val="100000"/>
              </a:lnSpc>
              <a:spcBef>
                <a:spcPts val="0"/>
              </a:spcBef>
              <a:buFont typeface="Arial" panose="020B0604020202020204" pitchFamily="34" charset="0"/>
              <a:buNone/>
              <a:defRPr sz="1600" b="0">
                <a:solidFill>
                  <a:schemeClr val="tx1"/>
                </a:solidFill>
                <a:latin typeface="+mn-lt"/>
              </a:defRPr>
            </a:lvl3pPr>
            <a:lvl4pPr marL="0" indent="0" algn="l">
              <a:lnSpc>
                <a:spcPct val="100000"/>
              </a:lnSpc>
              <a:spcBef>
                <a:spcPts val="0"/>
              </a:spcBef>
              <a:buFont typeface="Arial" panose="020B0604020202020204" pitchFamily="34" charset="0"/>
              <a:buNone/>
              <a:defRPr sz="1600" b="0">
                <a:solidFill>
                  <a:schemeClr val="tx1"/>
                </a:solidFill>
                <a:latin typeface="+mn-lt"/>
              </a:defRPr>
            </a:lvl4pPr>
            <a:lvl5pPr marL="0" indent="0" algn="l">
              <a:lnSpc>
                <a:spcPct val="100000"/>
              </a:lnSpc>
              <a:spcBef>
                <a:spcPts val="0"/>
              </a:spcBef>
              <a:buFont typeface="Arial" panose="020B0604020202020204" pitchFamily="34" charset="0"/>
              <a:buNone/>
              <a:defRPr sz="1600" b="0">
                <a:solidFill>
                  <a:schemeClr val="tx1"/>
                </a:solidFill>
                <a:latin typeface="+mn-lt"/>
              </a:defRPr>
            </a:lvl5pPr>
            <a:lvl6pPr marL="0" indent="0" algn="l">
              <a:lnSpc>
                <a:spcPct val="100000"/>
              </a:lnSpc>
              <a:spcBef>
                <a:spcPts val="0"/>
              </a:spcBef>
              <a:buFont typeface="Arial" panose="020B0604020202020204" pitchFamily="34" charset="0"/>
              <a:buNone/>
              <a:defRPr sz="1600" b="0">
                <a:solidFill>
                  <a:schemeClr val="tx1"/>
                </a:solidFill>
                <a:latin typeface="+mn-lt"/>
              </a:defRPr>
            </a:lvl6pPr>
            <a:lvl7pPr marL="0" indent="0" algn="l">
              <a:lnSpc>
                <a:spcPct val="100000"/>
              </a:lnSpc>
              <a:spcBef>
                <a:spcPts val="0"/>
              </a:spcBef>
              <a:buFont typeface="Arial" panose="020B0604020202020204" pitchFamily="34" charset="0"/>
              <a:buNone/>
              <a:defRPr sz="1600" b="0">
                <a:solidFill>
                  <a:schemeClr val="tx1"/>
                </a:solidFill>
                <a:latin typeface="+mn-lt"/>
              </a:defRPr>
            </a:lvl7pPr>
            <a:lvl8pPr marL="0" indent="0" algn="l">
              <a:lnSpc>
                <a:spcPct val="100000"/>
              </a:lnSpc>
              <a:spcBef>
                <a:spcPts val="0"/>
              </a:spcBef>
              <a:buFont typeface="Arial" panose="020B0604020202020204" pitchFamily="34" charset="0"/>
              <a:buNone/>
              <a:defRPr sz="1600" b="0">
                <a:solidFill>
                  <a:schemeClr val="tx1"/>
                </a:solidFill>
                <a:latin typeface="+mn-lt"/>
              </a:defRPr>
            </a:lvl8pPr>
            <a:lvl9pPr marL="0" indent="0" algn="l">
              <a:lnSpc>
                <a:spcPct val="100000"/>
              </a:lnSpc>
              <a:spcBef>
                <a:spcPts val="0"/>
              </a:spcBef>
              <a:buFont typeface="Arial" panose="020B0604020202020204" pitchFamily="34" charset="0"/>
              <a:buNone/>
              <a:defRPr sz="1600" b="0">
                <a:solidFill>
                  <a:schemeClr val="tx1"/>
                </a:solidFill>
                <a:latin typeface="+mn-lt"/>
              </a:defRPr>
            </a:lvl9pPr>
          </a:lstStyle>
          <a:p>
            <a:r>
              <a:rPr lang="en-GB"/>
              <a:t>Insert here your subtitle</a:t>
            </a:r>
            <a:endParaRPr lang="en-GB" dirty="0"/>
          </a:p>
        </p:txBody>
      </p:sp>
      <p:sp>
        <p:nvSpPr>
          <p:cNvPr id="9" name="Author">
            <a:extLst>
              <a:ext uri="{FF2B5EF4-FFF2-40B4-BE49-F238E27FC236}">
                <a16:creationId xmlns:a16="http://schemas.microsoft.com/office/drawing/2014/main" id="{85B963E8-CCBF-3EF6-A8A8-C8FDAE42B7A6}"/>
              </a:ext>
            </a:extLst>
          </p:cNvPr>
          <p:cNvSpPr>
            <a:spLocks noGrp="1"/>
          </p:cNvSpPr>
          <p:nvPr>
            <p:ph type="body" sz="quarter" idx="14" hasCustomPrompt="1"/>
          </p:nvPr>
        </p:nvSpPr>
        <p:spPr bwMode="gray">
          <a:xfrm>
            <a:off x="911425" y="3861048"/>
            <a:ext cx="3456384" cy="216000"/>
          </a:xfrm>
          <a:prstGeom prst="rect">
            <a:avLst/>
          </a:prstGeom>
          <a:noFill/>
          <a:ln w="127">
            <a:noFill/>
          </a:ln>
        </p:spPr>
        <p:txBody>
          <a:bodyPr wrap="square" lIns="216000" rIns="0" anchor="b"/>
          <a:lstStyle>
            <a:lvl1pPr marL="0" indent="0" algn="l">
              <a:lnSpc>
                <a:spcPct val="100000"/>
              </a:lnSpc>
              <a:spcBef>
                <a:spcPts val="0"/>
              </a:spcBef>
              <a:buFont typeface="Arial" panose="020B0604020202020204" pitchFamily="34" charset="0"/>
              <a:buNone/>
              <a:defRPr sz="1200" b="0">
                <a:solidFill>
                  <a:schemeClr val="tx1"/>
                </a:solidFill>
                <a:latin typeface="+mj-lt"/>
              </a:defRPr>
            </a:lvl1pPr>
            <a:lvl2pPr marL="0" indent="0" algn="l">
              <a:lnSpc>
                <a:spcPct val="100000"/>
              </a:lnSpc>
              <a:spcBef>
                <a:spcPts val="0"/>
              </a:spcBef>
              <a:buFont typeface="Arial" panose="020B0604020202020204" pitchFamily="34" charset="0"/>
              <a:buNone/>
              <a:defRPr sz="1200" b="0">
                <a:solidFill>
                  <a:schemeClr val="tx1"/>
                </a:solidFill>
                <a:latin typeface="+mj-lt"/>
              </a:defRPr>
            </a:lvl2pPr>
            <a:lvl3pPr marL="0" indent="0" algn="l">
              <a:lnSpc>
                <a:spcPct val="100000"/>
              </a:lnSpc>
              <a:spcBef>
                <a:spcPts val="0"/>
              </a:spcBef>
              <a:buFont typeface="Arial" panose="020B0604020202020204" pitchFamily="34" charset="0"/>
              <a:buNone/>
              <a:defRPr sz="1200" b="0">
                <a:solidFill>
                  <a:schemeClr val="tx1"/>
                </a:solidFill>
                <a:latin typeface="+mj-lt"/>
              </a:defRPr>
            </a:lvl3pPr>
            <a:lvl4pPr marL="0" indent="0" algn="l">
              <a:lnSpc>
                <a:spcPct val="100000"/>
              </a:lnSpc>
              <a:spcBef>
                <a:spcPts val="0"/>
              </a:spcBef>
              <a:buFont typeface="Arial" panose="020B0604020202020204" pitchFamily="34" charset="0"/>
              <a:buNone/>
              <a:defRPr sz="1200" b="0">
                <a:solidFill>
                  <a:schemeClr val="tx1"/>
                </a:solidFill>
                <a:latin typeface="+mj-lt"/>
              </a:defRPr>
            </a:lvl4pPr>
            <a:lvl5pPr marL="0" indent="0" algn="l">
              <a:lnSpc>
                <a:spcPct val="100000"/>
              </a:lnSpc>
              <a:spcBef>
                <a:spcPts val="0"/>
              </a:spcBef>
              <a:buFont typeface="Arial" panose="020B0604020202020204" pitchFamily="34" charset="0"/>
              <a:buNone/>
              <a:defRPr sz="1200" b="0">
                <a:solidFill>
                  <a:schemeClr val="tx1"/>
                </a:solidFill>
                <a:latin typeface="+mj-lt"/>
              </a:defRPr>
            </a:lvl5pPr>
            <a:lvl6pPr marL="0" indent="0" algn="l">
              <a:lnSpc>
                <a:spcPct val="100000"/>
              </a:lnSpc>
              <a:spcBef>
                <a:spcPts val="0"/>
              </a:spcBef>
              <a:buNone/>
              <a:defRPr sz="1200" b="0">
                <a:solidFill>
                  <a:schemeClr val="tx1"/>
                </a:solidFill>
                <a:latin typeface="+mj-lt"/>
              </a:defRPr>
            </a:lvl6pPr>
            <a:lvl7pPr marL="0" indent="0" algn="l">
              <a:lnSpc>
                <a:spcPct val="100000"/>
              </a:lnSpc>
              <a:spcBef>
                <a:spcPts val="0"/>
              </a:spcBef>
              <a:buNone/>
              <a:defRPr sz="1200" b="0">
                <a:solidFill>
                  <a:schemeClr val="tx1"/>
                </a:solidFill>
                <a:latin typeface="+mj-lt"/>
              </a:defRPr>
            </a:lvl7pPr>
            <a:lvl8pPr marL="0" indent="0" algn="l">
              <a:lnSpc>
                <a:spcPct val="100000"/>
              </a:lnSpc>
              <a:spcBef>
                <a:spcPts val="0"/>
              </a:spcBef>
              <a:buNone/>
              <a:defRPr sz="1200" b="0">
                <a:solidFill>
                  <a:schemeClr val="tx1"/>
                </a:solidFill>
                <a:latin typeface="+mj-lt"/>
              </a:defRPr>
            </a:lvl8pPr>
            <a:lvl9pPr marL="0" indent="0" algn="l">
              <a:lnSpc>
                <a:spcPct val="100000"/>
              </a:lnSpc>
              <a:spcBef>
                <a:spcPts val="0"/>
              </a:spcBef>
              <a:buNone/>
              <a:defRPr sz="1200" b="0">
                <a:solidFill>
                  <a:schemeClr val="tx1"/>
                </a:solidFill>
                <a:latin typeface="+mj-lt"/>
              </a:defRPr>
            </a:lvl9pPr>
          </a:lstStyle>
          <a:p>
            <a:pPr lvl="0"/>
            <a:r>
              <a:rPr lang="en-GB" dirty="0"/>
              <a:t>First name Last name</a:t>
            </a:r>
          </a:p>
        </p:txBody>
      </p:sp>
      <p:sp>
        <p:nvSpPr>
          <p:cNvPr id="10" name="Department, Date">
            <a:extLst>
              <a:ext uri="{FF2B5EF4-FFF2-40B4-BE49-F238E27FC236}">
                <a16:creationId xmlns:a16="http://schemas.microsoft.com/office/drawing/2014/main" id="{8CEDCCFD-E94C-4A79-BAC4-51ECBFC540F9}"/>
              </a:ext>
            </a:extLst>
          </p:cNvPr>
          <p:cNvSpPr>
            <a:spLocks noGrp="1"/>
          </p:cNvSpPr>
          <p:nvPr>
            <p:ph type="body" sz="quarter" idx="15" hasCustomPrompt="1"/>
          </p:nvPr>
        </p:nvSpPr>
        <p:spPr bwMode="gray">
          <a:xfrm>
            <a:off x="911425" y="4077048"/>
            <a:ext cx="3456384" cy="431695"/>
          </a:xfrm>
          <a:prstGeom prst="rect">
            <a:avLst/>
          </a:prstGeom>
          <a:noFill/>
          <a:ln w="127">
            <a:noFill/>
          </a:ln>
        </p:spPr>
        <p:txBody>
          <a:bodyPr wrap="square" lIns="216000" rIns="0"/>
          <a:lstStyle>
            <a:lvl1pPr marL="0" indent="0">
              <a:lnSpc>
                <a:spcPct val="100000"/>
              </a:lnSpc>
              <a:spcBef>
                <a:spcPts val="0"/>
              </a:spcBef>
              <a:buFont typeface="Arial" panose="020B0604020202020204" pitchFamily="34" charset="0"/>
              <a:buNone/>
              <a:defRPr sz="1200" i="1">
                <a:solidFill>
                  <a:schemeClr val="tx1"/>
                </a:solidFill>
                <a:latin typeface="+mn-lt"/>
              </a:defRPr>
            </a:lvl1pPr>
            <a:lvl2pPr marL="0" indent="0">
              <a:lnSpc>
                <a:spcPct val="100000"/>
              </a:lnSpc>
              <a:spcBef>
                <a:spcPts val="0"/>
              </a:spcBef>
              <a:buFont typeface="Arial" panose="020B0604020202020204" pitchFamily="34" charset="0"/>
              <a:buNone/>
              <a:defRPr sz="1200" i="1">
                <a:solidFill>
                  <a:schemeClr val="tx1"/>
                </a:solidFill>
                <a:latin typeface="+mn-lt"/>
              </a:defRPr>
            </a:lvl2pPr>
            <a:lvl3pPr marL="0" indent="0">
              <a:lnSpc>
                <a:spcPct val="100000"/>
              </a:lnSpc>
              <a:spcBef>
                <a:spcPts val="0"/>
              </a:spcBef>
              <a:buFont typeface="Arial" panose="020B0604020202020204" pitchFamily="34" charset="0"/>
              <a:buNone/>
              <a:defRPr sz="1200" i="1">
                <a:solidFill>
                  <a:schemeClr val="tx1"/>
                </a:solidFill>
                <a:latin typeface="+mn-lt"/>
              </a:defRPr>
            </a:lvl3pPr>
            <a:lvl4pPr marL="0" indent="0">
              <a:lnSpc>
                <a:spcPct val="100000"/>
              </a:lnSpc>
              <a:spcBef>
                <a:spcPts val="0"/>
              </a:spcBef>
              <a:buFont typeface="Arial" panose="020B0604020202020204" pitchFamily="34" charset="0"/>
              <a:buNone/>
              <a:defRPr sz="1200" i="1">
                <a:solidFill>
                  <a:schemeClr val="tx1"/>
                </a:solidFill>
                <a:latin typeface="+mn-lt"/>
              </a:defRPr>
            </a:lvl4pPr>
            <a:lvl5pPr marL="0" indent="0">
              <a:lnSpc>
                <a:spcPct val="100000"/>
              </a:lnSpc>
              <a:spcBef>
                <a:spcPts val="0"/>
              </a:spcBef>
              <a:buFont typeface="Arial" panose="020B0604020202020204" pitchFamily="34" charset="0"/>
              <a:buNone/>
              <a:defRPr sz="1200" i="1">
                <a:solidFill>
                  <a:schemeClr val="tx1"/>
                </a:solidFill>
                <a:latin typeface="+mn-lt"/>
              </a:defRPr>
            </a:lvl5pPr>
            <a:lvl6pPr marL="0" indent="0">
              <a:lnSpc>
                <a:spcPct val="100000"/>
              </a:lnSpc>
              <a:spcBef>
                <a:spcPts val="0"/>
              </a:spcBef>
              <a:buNone/>
              <a:defRPr sz="1200" i="1">
                <a:solidFill>
                  <a:schemeClr val="tx1"/>
                </a:solidFill>
                <a:latin typeface="+mn-lt"/>
              </a:defRPr>
            </a:lvl6pPr>
            <a:lvl7pPr marL="0" indent="0">
              <a:lnSpc>
                <a:spcPct val="100000"/>
              </a:lnSpc>
              <a:spcBef>
                <a:spcPts val="0"/>
              </a:spcBef>
              <a:buNone/>
              <a:defRPr sz="1200" i="1">
                <a:solidFill>
                  <a:schemeClr val="tx1"/>
                </a:solidFill>
                <a:latin typeface="+mn-lt"/>
              </a:defRPr>
            </a:lvl7pPr>
            <a:lvl8pPr marL="0" indent="0">
              <a:lnSpc>
                <a:spcPct val="100000"/>
              </a:lnSpc>
              <a:spcBef>
                <a:spcPts val="0"/>
              </a:spcBef>
              <a:buNone/>
              <a:defRPr sz="1200" i="1">
                <a:solidFill>
                  <a:schemeClr val="tx1"/>
                </a:solidFill>
                <a:latin typeface="+mn-lt"/>
              </a:defRPr>
            </a:lvl8pPr>
            <a:lvl9pPr marL="0" indent="0">
              <a:lnSpc>
                <a:spcPct val="100000"/>
              </a:lnSpc>
              <a:spcBef>
                <a:spcPts val="0"/>
              </a:spcBef>
              <a:buNone/>
              <a:defRPr sz="1200" i="1">
                <a:solidFill>
                  <a:schemeClr val="tx1"/>
                </a:solidFill>
                <a:latin typeface="+mn-lt"/>
              </a:defRPr>
            </a:lvl9pPr>
          </a:lstStyle>
          <a:p>
            <a:pPr lvl="0"/>
            <a:r>
              <a:rPr lang="en-GB" dirty="0"/>
              <a:t>Department</a:t>
            </a:r>
            <a:br>
              <a:rPr lang="en-GB" dirty="0"/>
            </a:br>
            <a:r>
              <a:rPr lang="en-GB" dirty="0"/>
              <a:t>DD/MM/YYYY</a:t>
            </a:r>
          </a:p>
        </p:txBody>
      </p:sp>
    </p:spTree>
    <p:extLst>
      <p:ext uri="{BB962C8B-B14F-4D97-AF65-F5344CB8AC3E}">
        <p14:creationId xmlns:p14="http://schemas.microsoft.com/office/powerpoint/2010/main" val="34358999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CEF68914-2801-8298-9F8D-9BD42DC7C489}"/>
              </a:ext>
            </a:extLst>
          </p:cNvPr>
          <p:cNvGraphicFramePr>
            <a:graphicFrameLocks noChangeAspect="1"/>
          </p:cNvGraphicFramePr>
          <p:nvPr userDrawn="1">
            <p:custDataLst>
              <p:tags r:id="rId1"/>
            </p:custDataLst>
            <p:extLst>
              <p:ext uri="{D42A27DB-BD31-4B8C-83A1-F6EECF244321}">
                <p14:modId xmlns:p14="http://schemas.microsoft.com/office/powerpoint/2010/main" val="3037172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2" name="Objekt 1" hidden="1">
                        <a:extLst>
                          <a:ext uri="{FF2B5EF4-FFF2-40B4-BE49-F238E27FC236}">
                            <a16:creationId xmlns:a16="http://schemas.microsoft.com/office/drawing/2014/main" id="{CEF68914-2801-8298-9F8D-9BD42DC7C4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Shape">
            <a:extLst>
              <a:ext uri="{FF2B5EF4-FFF2-40B4-BE49-F238E27FC236}">
                <a16:creationId xmlns:a16="http://schemas.microsoft.com/office/drawing/2014/main" id="{98711D00-3192-CF90-2179-80D5BA483785}"/>
              </a:ext>
              <a:ext uri="{C183D7F6-B498-43B3-948B-1728B52AA6E4}">
                <adec:decorative xmlns:adec="http://schemas.microsoft.com/office/drawing/2017/decorative" val="1"/>
              </a:ext>
            </a:extLst>
          </p:cNvPr>
          <p:cNvSpPr>
            <a:spLocks/>
          </p:cNvSpPr>
          <p:nvPr userDrawn="1"/>
        </p:nvSpPr>
        <p:spPr bwMode="gray">
          <a:xfrm>
            <a:off x="911424" y="1485900"/>
            <a:ext cx="3463613" cy="2878490"/>
          </a:xfrm>
          <a:custGeom>
            <a:avLst/>
            <a:gdLst>
              <a:gd name="T0" fmla="*/ 0 w 2227"/>
              <a:gd name="T1" fmla="*/ 0 h 2226"/>
              <a:gd name="T2" fmla="*/ 2227 w 2227"/>
              <a:gd name="T3" fmla="*/ 0 h 2226"/>
              <a:gd name="T4" fmla="*/ 2227 w 2227"/>
              <a:gd name="T5" fmla="*/ 2226 h 2226"/>
              <a:gd name="T6" fmla="*/ 371 w 2227"/>
              <a:gd name="T7" fmla="*/ 1856 h 2226"/>
              <a:gd name="T8" fmla="*/ 0 w 2227"/>
              <a:gd name="T9" fmla="*/ 0 h 2226"/>
              <a:gd name="connsiteX0" fmla="*/ 0 w 10000"/>
              <a:gd name="connsiteY0" fmla="*/ 0 h 10000"/>
              <a:gd name="connsiteX1" fmla="*/ 10000 w 10000"/>
              <a:gd name="connsiteY1" fmla="*/ 0 h 10000"/>
              <a:gd name="connsiteX2" fmla="*/ 10000 w 10000"/>
              <a:gd name="connsiteY2" fmla="*/ 10000 h 10000"/>
              <a:gd name="connsiteX3" fmla="*/ 2079 w 10000"/>
              <a:gd name="connsiteY3" fmla="*/ 7527 h 10000"/>
              <a:gd name="connsiteX4" fmla="*/ 0 w 10000"/>
              <a:gd name="connsiteY4" fmla="*/ 0 h 10000"/>
              <a:gd name="connsiteX0" fmla="*/ 0 w 10000"/>
              <a:gd name="connsiteY0" fmla="*/ 0 h 10000"/>
              <a:gd name="connsiteX1" fmla="*/ 10000 w 10000"/>
              <a:gd name="connsiteY1" fmla="*/ 0 h 10000"/>
              <a:gd name="connsiteX2" fmla="*/ 10000 w 10000"/>
              <a:gd name="connsiteY2" fmla="*/ 10000 h 10000"/>
              <a:gd name="connsiteX3" fmla="*/ 1660 w 10000"/>
              <a:gd name="connsiteY3" fmla="*/ 8032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10000"/>
                </a:lnTo>
                <a:lnTo>
                  <a:pt x="1660" y="8032"/>
                </a:lnTo>
                <a:lnTo>
                  <a:pt x="0" y="0"/>
                </a:lnTo>
                <a:close/>
              </a:path>
            </a:pathLst>
          </a:custGeom>
          <a:solidFill>
            <a:srgbClr val="6A757C"/>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itle">
            <a:extLst>
              <a:ext uri="{FF2B5EF4-FFF2-40B4-BE49-F238E27FC236}">
                <a16:creationId xmlns:a16="http://schemas.microsoft.com/office/drawing/2014/main" id="{B5D77837-F372-41E3-A703-01233BC36B12}"/>
              </a:ext>
            </a:extLst>
          </p:cNvPr>
          <p:cNvSpPr>
            <a:spLocks noGrp="1"/>
          </p:cNvSpPr>
          <p:nvPr>
            <p:ph type="title" hasCustomPrompt="1"/>
          </p:nvPr>
        </p:nvSpPr>
        <p:spPr bwMode="gray">
          <a:xfrm>
            <a:off x="2063552" y="1599183"/>
            <a:ext cx="2159424" cy="461665"/>
          </a:xfrm>
        </p:spPr>
        <p:txBody>
          <a:bodyPr vert="horz"/>
          <a:lstStyle>
            <a:lvl1pPr algn="r">
              <a:defRPr sz="3000">
                <a:solidFill>
                  <a:schemeClr val="bg1"/>
                </a:solidFill>
              </a:defRPr>
            </a:lvl1pPr>
          </a:lstStyle>
          <a:p>
            <a:r>
              <a:rPr lang="en-GB" dirty="0"/>
              <a:t>Agenda</a:t>
            </a:r>
          </a:p>
        </p:txBody>
      </p:sp>
      <p:sp>
        <p:nvSpPr>
          <p:cNvPr id="17" name="Content">
            <a:extLst>
              <a:ext uri="{FF2B5EF4-FFF2-40B4-BE49-F238E27FC236}">
                <a16:creationId xmlns:a16="http://schemas.microsoft.com/office/drawing/2014/main" id="{72A9419C-8763-4B76-A999-AC385D6948E4}"/>
              </a:ext>
            </a:extLst>
          </p:cNvPr>
          <p:cNvSpPr>
            <a:spLocks noGrp="1"/>
          </p:cNvSpPr>
          <p:nvPr>
            <p:ph type="body" sz="quarter" idx="20" hasCustomPrompt="1"/>
          </p:nvPr>
        </p:nvSpPr>
        <p:spPr bwMode="gray">
          <a:xfrm>
            <a:off x="4943873" y="1484313"/>
            <a:ext cx="6912768" cy="4608512"/>
          </a:xfrm>
        </p:spPr>
        <p:txBody>
          <a:bodyPr/>
          <a:lstStyle>
            <a:lvl1pPr marL="457200" indent="-457200">
              <a:buSzPct val="100000"/>
              <a:buFont typeface="Arial" panose="020B0604020202020204" pitchFamily="34" charset="0"/>
              <a:buAutoNum type="arabicPlain"/>
              <a:tabLst>
                <a:tab pos="6642100" algn="r"/>
              </a:tabLst>
              <a:defRPr sz="2000" b="0">
                <a:latin typeface="Lato Semibold" panose="020F0502020204030203" pitchFamily="34" charset="0"/>
                <a:ea typeface="Lato Semibold" panose="020F0502020204030203" pitchFamily="34" charset="0"/>
                <a:cs typeface="Lato Semibold" panose="020F0502020204030203" pitchFamily="34" charset="0"/>
              </a:defRPr>
            </a:lvl1pPr>
            <a:lvl2pPr marL="714375" indent="-219075">
              <a:lnSpc>
                <a:spcPct val="100000"/>
              </a:lnSpc>
              <a:spcBef>
                <a:spcPts val="600"/>
              </a:spcBef>
              <a:buSzPct val="80000"/>
              <a:buFont typeface="Wingdings" panose="05000000000000000000" pitchFamily="2" charset="2"/>
              <a:buChar char="n"/>
              <a:tabLst>
                <a:tab pos="6642100" algn="r"/>
              </a:tabLst>
              <a:defRPr sz="1600" b="0">
                <a:latin typeface="Lato Semibold" panose="020F0502020204030203" pitchFamily="34" charset="0"/>
                <a:ea typeface="Lato Semibold" panose="020F0502020204030203" pitchFamily="34" charset="0"/>
                <a:cs typeface="Lato Semibold" panose="020F0502020204030203" pitchFamily="34" charset="0"/>
              </a:defRPr>
            </a:lvl2pPr>
            <a:lvl3pPr marL="714375" indent="-219075">
              <a:lnSpc>
                <a:spcPct val="100000"/>
              </a:lnSpc>
              <a:spcBef>
                <a:spcPts val="600"/>
              </a:spcBef>
              <a:buSzPct val="80000"/>
              <a:buFont typeface="Wingdings" panose="05000000000000000000" pitchFamily="2" charset="2"/>
              <a:buChar char="n"/>
              <a:tabLst>
                <a:tab pos="6642100" algn="r"/>
              </a:tabLst>
              <a:defRPr sz="1600" b="0">
                <a:latin typeface="Lato Semibold" panose="020F0502020204030203" pitchFamily="34" charset="0"/>
                <a:ea typeface="Lato Semibold" panose="020F0502020204030203" pitchFamily="34" charset="0"/>
                <a:cs typeface="Lato Semibold" panose="020F0502020204030203" pitchFamily="34" charset="0"/>
              </a:defRPr>
            </a:lvl3pPr>
            <a:lvl4pPr marL="714375" indent="-219075">
              <a:lnSpc>
                <a:spcPct val="100000"/>
              </a:lnSpc>
              <a:spcBef>
                <a:spcPts val="600"/>
              </a:spcBef>
              <a:buSzPct val="80000"/>
              <a:buFont typeface="Wingdings" panose="05000000000000000000" pitchFamily="2" charset="2"/>
              <a:buChar char="n"/>
              <a:tabLst>
                <a:tab pos="6642100" algn="r"/>
              </a:tabLst>
              <a:defRPr sz="1600" b="0">
                <a:latin typeface="Lato Semibold" panose="020F0502020204030203" pitchFamily="34" charset="0"/>
                <a:ea typeface="Lato Semibold" panose="020F0502020204030203" pitchFamily="34" charset="0"/>
                <a:cs typeface="Lato Semibold" panose="020F0502020204030203" pitchFamily="34" charset="0"/>
              </a:defRPr>
            </a:lvl4pPr>
            <a:lvl5pPr marL="714375" indent="-219075">
              <a:lnSpc>
                <a:spcPct val="100000"/>
              </a:lnSpc>
              <a:spcBef>
                <a:spcPts val="600"/>
              </a:spcBef>
              <a:buSzPct val="80000"/>
              <a:buFont typeface="Wingdings" panose="05000000000000000000" pitchFamily="2" charset="2"/>
              <a:buChar char="n"/>
              <a:tabLst>
                <a:tab pos="6642100" algn="r"/>
              </a:tabLst>
              <a:defRPr sz="1600" b="0">
                <a:latin typeface="Lato Semibold" panose="020F0502020204030203" pitchFamily="34" charset="0"/>
                <a:ea typeface="Lato Semibold" panose="020F0502020204030203" pitchFamily="34" charset="0"/>
                <a:cs typeface="Lato Semibold" panose="020F0502020204030203" pitchFamily="34" charset="0"/>
              </a:defRPr>
            </a:lvl5pPr>
            <a:lvl6pPr marL="714375" indent="-219075">
              <a:lnSpc>
                <a:spcPct val="100000"/>
              </a:lnSpc>
              <a:spcBef>
                <a:spcPts val="600"/>
              </a:spcBef>
              <a:buSzPct val="80000"/>
              <a:buFont typeface="Wingdings" panose="05000000000000000000" pitchFamily="2" charset="2"/>
              <a:buChar char="n"/>
              <a:tabLst>
                <a:tab pos="6642100" algn="r"/>
              </a:tabLst>
              <a:defRPr sz="1600" b="0">
                <a:latin typeface="Lato Semibold" panose="020F0502020204030203" pitchFamily="34" charset="0"/>
                <a:ea typeface="Lato Semibold" panose="020F0502020204030203" pitchFamily="34" charset="0"/>
                <a:cs typeface="Lato Semibold" panose="020F0502020204030203" pitchFamily="34" charset="0"/>
              </a:defRPr>
            </a:lvl6pPr>
            <a:lvl7pPr marL="714375" indent="-219075">
              <a:lnSpc>
                <a:spcPct val="100000"/>
              </a:lnSpc>
              <a:spcBef>
                <a:spcPts val="600"/>
              </a:spcBef>
              <a:buSzPct val="80000"/>
              <a:buFont typeface="Wingdings" panose="05000000000000000000" pitchFamily="2" charset="2"/>
              <a:buChar char="n"/>
              <a:tabLst>
                <a:tab pos="6642100" algn="r"/>
              </a:tabLst>
              <a:defRPr sz="1600" b="0">
                <a:latin typeface="Lato Semibold" panose="020F0502020204030203" pitchFamily="34" charset="0"/>
                <a:ea typeface="Lato Semibold" panose="020F0502020204030203" pitchFamily="34" charset="0"/>
                <a:cs typeface="Lato Semibold" panose="020F0502020204030203" pitchFamily="34" charset="0"/>
              </a:defRPr>
            </a:lvl7pPr>
            <a:lvl8pPr marL="714375" indent="-219075">
              <a:lnSpc>
                <a:spcPct val="100000"/>
              </a:lnSpc>
              <a:spcBef>
                <a:spcPts val="600"/>
              </a:spcBef>
              <a:buSzPct val="80000"/>
              <a:buFont typeface="Wingdings" panose="05000000000000000000" pitchFamily="2" charset="2"/>
              <a:buChar char="n"/>
              <a:tabLst>
                <a:tab pos="6642100" algn="r"/>
              </a:tabLst>
              <a:defRPr sz="1600" b="0">
                <a:latin typeface="Lato Semibold" panose="020F0502020204030203" pitchFamily="34" charset="0"/>
                <a:ea typeface="Lato Semibold" panose="020F0502020204030203" pitchFamily="34" charset="0"/>
                <a:cs typeface="Lato Semibold" panose="020F0502020204030203" pitchFamily="34" charset="0"/>
              </a:defRPr>
            </a:lvl8pPr>
            <a:lvl9pPr marL="714375" indent="-219075">
              <a:lnSpc>
                <a:spcPct val="100000"/>
              </a:lnSpc>
              <a:spcBef>
                <a:spcPts val="600"/>
              </a:spcBef>
              <a:buSzPct val="80000"/>
              <a:buFont typeface="Wingdings" panose="05000000000000000000" pitchFamily="2" charset="2"/>
              <a:buChar char="n"/>
              <a:tabLst>
                <a:tab pos="6642100" algn="r"/>
              </a:tabLst>
              <a:defRPr sz="1600" b="0">
                <a:latin typeface="Lato Semibold" panose="020F0502020204030203" pitchFamily="34" charset="0"/>
                <a:ea typeface="Lato Semibold" panose="020F0502020204030203" pitchFamily="34" charset="0"/>
                <a:cs typeface="Lato Semibold" panose="020F0502020204030203" pitchFamily="34" charset="0"/>
              </a:defRPr>
            </a:lvl9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7" name="Datumsplatzhalter 6">
            <a:extLst>
              <a:ext uri="{FF2B5EF4-FFF2-40B4-BE49-F238E27FC236}">
                <a16:creationId xmlns:a16="http://schemas.microsoft.com/office/drawing/2014/main" id="{A1B50088-B65A-8A6A-E724-BD39F7430A2D}"/>
              </a:ext>
            </a:extLst>
          </p:cNvPr>
          <p:cNvSpPr>
            <a:spLocks noGrp="1"/>
          </p:cNvSpPr>
          <p:nvPr>
            <p:ph type="dt" sz="half" idx="21"/>
          </p:nvPr>
        </p:nvSpPr>
        <p:spPr/>
        <p:txBody>
          <a:bodyPr/>
          <a:lstStyle/>
          <a:p>
            <a:r>
              <a:rPr lang="en-US" dirty="0"/>
              <a:t>7/26/2022</a:t>
            </a:r>
            <a:endParaRPr lang="en-GB" dirty="0"/>
          </a:p>
        </p:txBody>
      </p:sp>
      <p:sp>
        <p:nvSpPr>
          <p:cNvPr id="8" name="Fußzeilenplatzhalter 7">
            <a:extLst>
              <a:ext uri="{FF2B5EF4-FFF2-40B4-BE49-F238E27FC236}">
                <a16:creationId xmlns:a16="http://schemas.microsoft.com/office/drawing/2014/main" id="{5B186D91-1D6B-D85E-CF76-AEA9173E6D57}"/>
              </a:ext>
            </a:extLst>
          </p:cNvPr>
          <p:cNvSpPr>
            <a:spLocks noGrp="1"/>
          </p:cNvSpPr>
          <p:nvPr>
            <p:ph type="ftr" sz="quarter" idx="22"/>
          </p:nvPr>
        </p:nvSpPr>
        <p:spPr/>
        <p:txBody>
          <a:bodyPr/>
          <a:lstStyle/>
          <a:p>
            <a:r>
              <a:rPr lang="de-DE"/>
              <a:t>Der Konsument nach Corona und Consumer Voice</a:t>
            </a:r>
            <a:endParaRPr lang="de-DE" dirty="0"/>
          </a:p>
        </p:txBody>
      </p:sp>
      <p:sp>
        <p:nvSpPr>
          <p:cNvPr id="10" name="Foliennummernplatzhalter 9">
            <a:extLst>
              <a:ext uri="{FF2B5EF4-FFF2-40B4-BE49-F238E27FC236}">
                <a16:creationId xmlns:a16="http://schemas.microsoft.com/office/drawing/2014/main" id="{5D62159A-759A-4C63-3C92-544DE55C94CB}"/>
              </a:ext>
            </a:extLst>
          </p:cNvPr>
          <p:cNvSpPr>
            <a:spLocks noGrp="1"/>
          </p:cNvSpPr>
          <p:nvPr>
            <p:ph type="sldNum" sz="quarter" idx="23"/>
          </p:nvPr>
        </p:nvSpPr>
        <p:spPr/>
        <p:txBody>
          <a:bodyPr/>
          <a:lstStyle/>
          <a:p>
            <a:fld id="{CAEA825B-D749-4F0A-886E-8D45A39EAF2A}" type="slidenum">
              <a:rPr lang="de-DE" smtClean="0"/>
              <a:pPr/>
              <a:t>‹Nº›</a:t>
            </a:fld>
            <a:endParaRPr lang="de-DE"/>
          </a:p>
        </p:txBody>
      </p:sp>
      <p:sp>
        <p:nvSpPr>
          <p:cNvPr id="12" name="Source">
            <a:extLst>
              <a:ext uri="{FF2B5EF4-FFF2-40B4-BE49-F238E27FC236}">
                <a16:creationId xmlns:a16="http://schemas.microsoft.com/office/drawing/2014/main" id="{8574C387-EA08-A732-9415-DFE54F6A9835}"/>
              </a:ext>
            </a:extLst>
          </p:cNvPr>
          <p:cNvSpPr>
            <a:spLocks noGrp="1"/>
          </p:cNvSpPr>
          <p:nvPr>
            <p:ph type="body" sz="quarter" idx="17"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spTree>
    <p:extLst>
      <p:ext uri="{BB962C8B-B14F-4D97-AF65-F5344CB8AC3E}">
        <p14:creationId xmlns:p14="http://schemas.microsoft.com/office/powerpoint/2010/main" val="27424983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genda with pictur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6E59A1A7-76FB-EEDA-FF9D-3A4FCB226DBD}"/>
              </a:ext>
            </a:extLst>
          </p:cNvPr>
          <p:cNvGraphicFramePr>
            <a:graphicFrameLocks noChangeAspect="1"/>
          </p:cNvGraphicFramePr>
          <p:nvPr userDrawn="1">
            <p:custDataLst>
              <p:tags r:id="rId1"/>
            </p:custDataLst>
            <p:extLst>
              <p:ext uri="{D42A27DB-BD31-4B8C-83A1-F6EECF244321}">
                <p14:modId xmlns:p14="http://schemas.microsoft.com/office/powerpoint/2010/main" val="424180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2" name="Objekt 1" hidden="1">
                        <a:extLst>
                          <a:ext uri="{FF2B5EF4-FFF2-40B4-BE49-F238E27FC236}">
                            <a16:creationId xmlns:a16="http://schemas.microsoft.com/office/drawing/2014/main" id="{6E59A1A7-76FB-EEDA-FF9D-3A4FCB226D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a:extLst>
              <a:ext uri="{FF2B5EF4-FFF2-40B4-BE49-F238E27FC236}">
                <a16:creationId xmlns:a16="http://schemas.microsoft.com/office/drawing/2014/main" id="{B5D77837-F372-41E3-A703-01233BC36B12}"/>
              </a:ext>
            </a:extLst>
          </p:cNvPr>
          <p:cNvSpPr>
            <a:spLocks noGrp="1"/>
          </p:cNvSpPr>
          <p:nvPr>
            <p:ph type="title" hasCustomPrompt="1"/>
          </p:nvPr>
        </p:nvSpPr>
        <p:spPr bwMode="gray">
          <a:xfrm>
            <a:off x="335360" y="1383157"/>
            <a:ext cx="4032250" cy="461665"/>
          </a:xfrm>
        </p:spPr>
        <p:txBody>
          <a:bodyPr vert="horz" anchor="t"/>
          <a:lstStyle>
            <a:lvl1pPr algn="l">
              <a:defRPr sz="3000">
                <a:solidFill>
                  <a:schemeClr val="tx1"/>
                </a:solidFill>
              </a:defRPr>
            </a:lvl1pPr>
          </a:lstStyle>
          <a:p>
            <a:r>
              <a:rPr lang="en-GB" dirty="0"/>
              <a:t>Agenda</a:t>
            </a:r>
          </a:p>
        </p:txBody>
      </p:sp>
      <p:sp>
        <p:nvSpPr>
          <p:cNvPr id="17" name="Content">
            <a:extLst>
              <a:ext uri="{FF2B5EF4-FFF2-40B4-BE49-F238E27FC236}">
                <a16:creationId xmlns:a16="http://schemas.microsoft.com/office/drawing/2014/main" id="{72A9419C-8763-4B76-A999-AC385D6948E4}"/>
              </a:ext>
            </a:extLst>
          </p:cNvPr>
          <p:cNvSpPr>
            <a:spLocks noGrp="1"/>
          </p:cNvSpPr>
          <p:nvPr>
            <p:ph type="body" sz="quarter" idx="20" hasCustomPrompt="1"/>
          </p:nvPr>
        </p:nvSpPr>
        <p:spPr bwMode="gray">
          <a:xfrm>
            <a:off x="335360" y="2061319"/>
            <a:ext cx="4032250" cy="4031977"/>
          </a:xfrm>
        </p:spPr>
        <p:txBody>
          <a:bodyPr/>
          <a:lstStyle>
            <a:lvl1pPr marL="266700" indent="-266700">
              <a:buSzPct val="100000"/>
              <a:buFont typeface="Arial" panose="020B0604020202020204" pitchFamily="34" charset="0"/>
              <a:buAutoNum type="arabicPlain"/>
              <a:tabLst>
                <a:tab pos="4038600" algn="r"/>
              </a:tabLst>
              <a:defRPr sz="1600" b="0">
                <a:latin typeface="Lato Semibold" panose="020F0502020204030203" pitchFamily="34" charset="0"/>
                <a:ea typeface="Lato Semibold" panose="020F0502020204030203" pitchFamily="34" charset="0"/>
                <a:cs typeface="Lato Semibold" panose="020F0502020204030203" pitchFamily="34" charset="0"/>
              </a:defRPr>
            </a:lvl1pPr>
            <a:lvl2pPr marL="447675" indent="-180975">
              <a:lnSpc>
                <a:spcPct val="100000"/>
              </a:lnSpc>
              <a:spcBef>
                <a:spcPts val="600"/>
              </a:spcBef>
              <a:buSzPct val="80000"/>
              <a:buFont typeface="Wingdings" panose="05000000000000000000" pitchFamily="2" charset="2"/>
              <a:buChar char="n"/>
              <a:tabLst>
                <a:tab pos="4038600" algn="r"/>
              </a:tabLst>
              <a:defRPr sz="1200" b="0">
                <a:latin typeface="Lato Semibold" panose="020F0502020204030203" pitchFamily="34" charset="0"/>
                <a:ea typeface="Lato Semibold" panose="020F0502020204030203" pitchFamily="34" charset="0"/>
                <a:cs typeface="Lato Semibold" panose="020F0502020204030203" pitchFamily="34" charset="0"/>
              </a:defRPr>
            </a:lvl2pPr>
            <a:lvl3pPr marL="447675" indent="-180975">
              <a:lnSpc>
                <a:spcPct val="100000"/>
              </a:lnSpc>
              <a:spcBef>
                <a:spcPts val="600"/>
              </a:spcBef>
              <a:buSzPct val="80000"/>
              <a:buFont typeface="Wingdings" panose="05000000000000000000" pitchFamily="2" charset="2"/>
              <a:buChar char="n"/>
              <a:tabLst>
                <a:tab pos="4038600" algn="r"/>
              </a:tabLst>
              <a:defRPr sz="1200" b="0">
                <a:latin typeface="Lato Semibold" panose="020F0502020204030203" pitchFamily="34" charset="0"/>
                <a:ea typeface="Lato Semibold" panose="020F0502020204030203" pitchFamily="34" charset="0"/>
                <a:cs typeface="Lato Semibold" panose="020F0502020204030203" pitchFamily="34" charset="0"/>
              </a:defRPr>
            </a:lvl3pPr>
            <a:lvl4pPr marL="447675" indent="-180975">
              <a:lnSpc>
                <a:spcPct val="100000"/>
              </a:lnSpc>
              <a:spcBef>
                <a:spcPts val="600"/>
              </a:spcBef>
              <a:buSzPct val="80000"/>
              <a:buFont typeface="Wingdings" panose="05000000000000000000" pitchFamily="2" charset="2"/>
              <a:buChar char="n"/>
              <a:tabLst>
                <a:tab pos="4038600" algn="r"/>
              </a:tabLst>
              <a:defRPr sz="1200" b="0">
                <a:latin typeface="Lato Semibold" panose="020F0502020204030203" pitchFamily="34" charset="0"/>
                <a:ea typeface="Lato Semibold" panose="020F0502020204030203" pitchFamily="34" charset="0"/>
                <a:cs typeface="Lato Semibold" panose="020F0502020204030203" pitchFamily="34" charset="0"/>
              </a:defRPr>
            </a:lvl4pPr>
            <a:lvl5pPr marL="447675" indent="-180975">
              <a:lnSpc>
                <a:spcPct val="100000"/>
              </a:lnSpc>
              <a:spcBef>
                <a:spcPts val="600"/>
              </a:spcBef>
              <a:buSzPct val="80000"/>
              <a:buFont typeface="Wingdings" panose="05000000000000000000" pitchFamily="2" charset="2"/>
              <a:buChar char="n"/>
              <a:tabLst>
                <a:tab pos="4038600" algn="r"/>
              </a:tabLst>
              <a:defRPr sz="1200" b="0">
                <a:latin typeface="Lato Semibold" panose="020F0502020204030203" pitchFamily="34" charset="0"/>
                <a:ea typeface="Lato Semibold" panose="020F0502020204030203" pitchFamily="34" charset="0"/>
                <a:cs typeface="Lato Semibold" panose="020F0502020204030203" pitchFamily="34" charset="0"/>
              </a:defRPr>
            </a:lvl5pPr>
            <a:lvl6pPr marL="447675" indent="-180975">
              <a:lnSpc>
                <a:spcPct val="100000"/>
              </a:lnSpc>
              <a:spcBef>
                <a:spcPts val="600"/>
              </a:spcBef>
              <a:buSzPct val="80000"/>
              <a:buFont typeface="Wingdings" panose="05000000000000000000" pitchFamily="2" charset="2"/>
              <a:buChar char="n"/>
              <a:tabLst>
                <a:tab pos="3524250" algn="r"/>
              </a:tabLst>
              <a:defRPr sz="1200" b="0">
                <a:latin typeface="Lato Semibold" panose="020F0502020204030203" pitchFamily="34" charset="0"/>
                <a:ea typeface="Lato Semibold" panose="020F0502020204030203" pitchFamily="34" charset="0"/>
                <a:cs typeface="Lato Semibold" panose="020F0502020204030203" pitchFamily="34" charset="0"/>
              </a:defRPr>
            </a:lvl6pPr>
            <a:lvl7pPr marL="447675" indent="-180975">
              <a:lnSpc>
                <a:spcPct val="100000"/>
              </a:lnSpc>
              <a:spcBef>
                <a:spcPts val="600"/>
              </a:spcBef>
              <a:buSzPct val="80000"/>
              <a:buFont typeface="Wingdings" panose="05000000000000000000" pitchFamily="2" charset="2"/>
              <a:buChar char="n"/>
              <a:tabLst>
                <a:tab pos="3524250" algn="r"/>
              </a:tabLst>
              <a:defRPr sz="1200" b="0">
                <a:latin typeface="Lato Semibold" panose="020F0502020204030203" pitchFamily="34" charset="0"/>
                <a:ea typeface="Lato Semibold" panose="020F0502020204030203" pitchFamily="34" charset="0"/>
                <a:cs typeface="Lato Semibold" panose="020F0502020204030203" pitchFamily="34" charset="0"/>
              </a:defRPr>
            </a:lvl7pPr>
            <a:lvl8pPr marL="447675" indent="-180975">
              <a:lnSpc>
                <a:spcPct val="100000"/>
              </a:lnSpc>
              <a:spcBef>
                <a:spcPts val="600"/>
              </a:spcBef>
              <a:buSzPct val="80000"/>
              <a:buFont typeface="Wingdings" panose="05000000000000000000" pitchFamily="2" charset="2"/>
              <a:buChar char="n"/>
              <a:tabLst>
                <a:tab pos="3524250" algn="r"/>
              </a:tabLst>
              <a:defRPr sz="1200" b="0">
                <a:latin typeface="Lato Semibold" panose="020F0502020204030203" pitchFamily="34" charset="0"/>
                <a:ea typeface="Lato Semibold" panose="020F0502020204030203" pitchFamily="34" charset="0"/>
                <a:cs typeface="Lato Semibold" panose="020F0502020204030203" pitchFamily="34" charset="0"/>
              </a:defRPr>
            </a:lvl8pPr>
            <a:lvl9pPr marL="447675" indent="-180975">
              <a:lnSpc>
                <a:spcPct val="100000"/>
              </a:lnSpc>
              <a:spcBef>
                <a:spcPts val="600"/>
              </a:spcBef>
              <a:buSzPct val="80000"/>
              <a:buFont typeface="Wingdings" panose="05000000000000000000" pitchFamily="2" charset="2"/>
              <a:buChar char="n"/>
              <a:tabLst>
                <a:tab pos="3524250" algn="r"/>
              </a:tabLst>
              <a:defRPr sz="1200" b="0">
                <a:latin typeface="Lato Semibold" panose="020F0502020204030203" pitchFamily="34" charset="0"/>
                <a:ea typeface="Lato Semibold" panose="020F0502020204030203" pitchFamily="34" charset="0"/>
                <a:cs typeface="Lato Semibold" panose="020F0502020204030203" pitchFamily="34" charset="0"/>
              </a:defRPr>
            </a:lvl9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8" name="Picture">
            <a:extLst>
              <a:ext uri="{FF2B5EF4-FFF2-40B4-BE49-F238E27FC236}">
                <a16:creationId xmlns:a16="http://schemas.microsoft.com/office/drawing/2014/main" id="{A9F39496-3247-4D2A-8D5A-9E2157A6A7D2}"/>
              </a:ext>
            </a:extLst>
          </p:cNvPr>
          <p:cNvSpPr>
            <a:spLocks noGrp="1"/>
          </p:cNvSpPr>
          <p:nvPr>
            <p:ph type="pic" sz="quarter" idx="13" hasCustomPrompt="1"/>
          </p:nvPr>
        </p:nvSpPr>
        <p:spPr bwMode="gray">
          <a:xfrm>
            <a:off x="5519936" y="1485388"/>
            <a:ext cx="5758482" cy="4041052"/>
          </a:xfrm>
          <a:custGeom>
            <a:avLst/>
            <a:gdLst>
              <a:gd name="connsiteX0" fmla="*/ 5544001 w 5544001"/>
              <a:gd name="connsiteY0" fmla="*/ 0 h 3551223"/>
              <a:gd name="connsiteX1" fmla="*/ 4543017 w 5544001"/>
              <a:gd name="connsiteY1" fmla="*/ 2543298 h 3551223"/>
              <a:gd name="connsiteX2" fmla="*/ 0 w 5544001"/>
              <a:gd name="connsiteY2" fmla="*/ 3551223 h 3551223"/>
              <a:gd name="connsiteX3" fmla="*/ 0 w 5544001"/>
              <a:gd name="connsiteY3" fmla="*/ 531 h 3551223"/>
              <a:gd name="connsiteX0" fmla="*/ 5544001 w 5544001"/>
              <a:gd name="connsiteY0" fmla="*/ 0 h 3551223"/>
              <a:gd name="connsiteX1" fmla="*/ 4441735 w 5544001"/>
              <a:gd name="connsiteY1" fmla="*/ 2540103 h 3551223"/>
              <a:gd name="connsiteX2" fmla="*/ 0 w 5544001"/>
              <a:gd name="connsiteY2" fmla="*/ 3551223 h 3551223"/>
              <a:gd name="connsiteX3" fmla="*/ 0 w 5544001"/>
              <a:gd name="connsiteY3" fmla="*/ 531 h 3551223"/>
              <a:gd name="connsiteX4" fmla="*/ 5544001 w 5544001"/>
              <a:gd name="connsiteY4" fmla="*/ 0 h 3551223"/>
              <a:gd name="connsiteX0" fmla="*/ 5544001 w 5544001"/>
              <a:gd name="connsiteY0" fmla="*/ 0 h 3551223"/>
              <a:gd name="connsiteX1" fmla="*/ 4497433 w 5544001"/>
              <a:gd name="connsiteY1" fmla="*/ 2531734 h 3551223"/>
              <a:gd name="connsiteX2" fmla="*/ 0 w 5544001"/>
              <a:gd name="connsiteY2" fmla="*/ 3551223 h 3551223"/>
              <a:gd name="connsiteX3" fmla="*/ 0 w 5544001"/>
              <a:gd name="connsiteY3" fmla="*/ 531 h 3551223"/>
              <a:gd name="connsiteX4" fmla="*/ 5544001 w 5544001"/>
              <a:gd name="connsiteY4" fmla="*/ 0 h 3551223"/>
              <a:gd name="connsiteX0" fmla="*/ 5618264 w 5618264"/>
              <a:gd name="connsiteY0" fmla="*/ 7838 h 3550692"/>
              <a:gd name="connsiteX1" fmla="*/ 4497433 w 5618264"/>
              <a:gd name="connsiteY1" fmla="*/ 2531203 h 3550692"/>
              <a:gd name="connsiteX2" fmla="*/ 0 w 5618264"/>
              <a:gd name="connsiteY2" fmla="*/ 3550692 h 3550692"/>
              <a:gd name="connsiteX3" fmla="*/ 0 w 5618264"/>
              <a:gd name="connsiteY3" fmla="*/ 0 h 3550692"/>
              <a:gd name="connsiteX4" fmla="*/ 5618264 w 5618264"/>
              <a:gd name="connsiteY4" fmla="*/ 7838 h 3550692"/>
              <a:gd name="connsiteX0" fmla="*/ 5612075 w 5612075"/>
              <a:gd name="connsiteY0" fmla="*/ 2258 h 3550692"/>
              <a:gd name="connsiteX1" fmla="*/ 4497433 w 5612075"/>
              <a:gd name="connsiteY1" fmla="*/ 2531203 h 3550692"/>
              <a:gd name="connsiteX2" fmla="*/ 0 w 5612075"/>
              <a:gd name="connsiteY2" fmla="*/ 3550692 h 3550692"/>
              <a:gd name="connsiteX3" fmla="*/ 0 w 5612075"/>
              <a:gd name="connsiteY3" fmla="*/ 0 h 3550692"/>
              <a:gd name="connsiteX4" fmla="*/ 5612075 w 5612075"/>
              <a:gd name="connsiteY4" fmla="*/ 2258 h 35506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12075" h="3550692">
                <a:moveTo>
                  <a:pt x="5612075" y="2258"/>
                </a:moveTo>
                <a:lnTo>
                  <a:pt x="4497433" y="2531203"/>
                </a:lnTo>
                <a:lnTo>
                  <a:pt x="0" y="3550692"/>
                </a:lnTo>
                <a:lnTo>
                  <a:pt x="0" y="0"/>
                </a:lnTo>
                <a:lnTo>
                  <a:pt x="5612075" y="2258"/>
                </a:lnTo>
                <a:close/>
              </a:path>
            </a:pathLst>
          </a:custGeom>
          <a:solidFill>
            <a:srgbClr val="D6D9DC"/>
          </a:solidFill>
        </p:spPr>
        <p:txBody>
          <a:bodyPr wrap="square">
            <a:noAutofit/>
          </a:bodyPr>
          <a:lstStyle>
            <a:lvl1pPr marL="0" indent="0" algn="ctr">
              <a:buNone/>
              <a:defRPr/>
            </a:lvl1pPr>
          </a:lstStyle>
          <a:p>
            <a:r>
              <a:rPr lang="en-GB"/>
              <a:t> </a:t>
            </a:r>
            <a:endParaRPr lang="en-GB" dirty="0"/>
          </a:p>
        </p:txBody>
      </p:sp>
      <p:sp>
        <p:nvSpPr>
          <p:cNvPr id="7" name="Datumsplatzhalter 6">
            <a:extLst>
              <a:ext uri="{FF2B5EF4-FFF2-40B4-BE49-F238E27FC236}">
                <a16:creationId xmlns:a16="http://schemas.microsoft.com/office/drawing/2014/main" id="{3881CA30-50A3-A610-44DF-5C7DE5996CFB}"/>
              </a:ext>
            </a:extLst>
          </p:cNvPr>
          <p:cNvSpPr>
            <a:spLocks noGrp="1"/>
          </p:cNvSpPr>
          <p:nvPr>
            <p:ph type="dt" sz="half" idx="21"/>
          </p:nvPr>
        </p:nvSpPr>
        <p:spPr/>
        <p:txBody>
          <a:bodyPr/>
          <a:lstStyle/>
          <a:p>
            <a:r>
              <a:rPr lang="en-US"/>
              <a:t>7/26/2022</a:t>
            </a:r>
            <a:endParaRPr lang="en-GB" dirty="0"/>
          </a:p>
        </p:txBody>
      </p:sp>
      <p:sp>
        <p:nvSpPr>
          <p:cNvPr id="10" name="Fußzeilenplatzhalter 9">
            <a:extLst>
              <a:ext uri="{FF2B5EF4-FFF2-40B4-BE49-F238E27FC236}">
                <a16:creationId xmlns:a16="http://schemas.microsoft.com/office/drawing/2014/main" id="{25E277C1-A8D5-DA41-B906-CA0CBC6FB4FA}"/>
              </a:ext>
            </a:extLst>
          </p:cNvPr>
          <p:cNvSpPr>
            <a:spLocks noGrp="1"/>
          </p:cNvSpPr>
          <p:nvPr>
            <p:ph type="ftr" sz="quarter" idx="22"/>
          </p:nvPr>
        </p:nvSpPr>
        <p:spPr/>
        <p:txBody>
          <a:bodyPr/>
          <a:lstStyle/>
          <a:p>
            <a:r>
              <a:rPr lang="de-DE"/>
              <a:t>Der Konsument nach Corona und Consumer Voice</a:t>
            </a:r>
            <a:endParaRPr lang="de-DE" dirty="0"/>
          </a:p>
        </p:txBody>
      </p:sp>
      <p:sp>
        <p:nvSpPr>
          <p:cNvPr id="11" name="Foliennummernplatzhalter 10">
            <a:extLst>
              <a:ext uri="{FF2B5EF4-FFF2-40B4-BE49-F238E27FC236}">
                <a16:creationId xmlns:a16="http://schemas.microsoft.com/office/drawing/2014/main" id="{584F5280-85A6-D335-20E6-D7BF3EB6CB19}"/>
              </a:ext>
            </a:extLst>
          </p:cNvPr>
          <p:cNvSpPr>
            <a:spLocks noGrp="1"/>
          </p:cNvSpPr>
          <p:nvPr>
            <p:ph type="sldNum" sz="quarter" idx="23"/>
          </p:nvPr>
        </p:nvSpPr>
        <p:spPr/>
        <p:txBody>
          <a:bodyPr/>
          <a:lstStyle/>
          <a:p>
            <a:fld id="{CAEA825B-D749-4F0A-886E-8D45A39EAF2A}" type="slidenum">
              <a:rPr lang="de-DE" smtClean="0"/>
              <a:pPr/>
              <a:t>‹Nº›</a:t>
            </a:fld>
            <a:endParaRPr lang="de-DE"/>
          </a:p>
        </p:txBody>
      </p:sp>
      <p:sp>
        <p:nvSpPr>
          <p:cNvPr id="12" name="Source">
            <a:extLst>
              <a:ext uri="{FF2B5EF4-FFF2-40B4-BE49-F238E27FC236}">
                <a16:creationId xmlns:a16="http://schemas.microsoft.com/office/drawing/2014/main" id="{45D4192A-D3C5-FE1A-59EC-AFF891ECF406}"/>
              </a:ext>
            </a:extLst>
          </p:cNvPr>
          <p:cNvSpPr>
            <a:spLocks noGrp="1"/>
          </p:cNvSpPr>
          <p:nvPr>
            <p:ph type="body" sz="quarter" idx="17"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spTree>
    <p:extLst>
      <p:ext uri="{BB962C8B-B14F-4D97-AF65-F5344CB8AC3E}">
        <p14:creationId xmlns:p14="http://schemas.microsoft.com/office/powerpoint/2010/main" val="1702817386"/>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with picture | for tabl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E55E00F-1880-532C-D03E-F2BE419A6B83}"/>
              </a:ext>
            </a:extLst>
          </p:cNvPr>
          <p:cNvGraphicFramePr>
            <a:graphicFrameLocks noChangeAspect="1"/>
          </p:cNvGraphicFramePr>
          <p:nvPr userDrawn="1">
            <p:custDataLst>
              <p:tags r:id="rId1"/>
            </p:custDataLst>
            <p:extLst>
              <p:ext uri="{D42A27DB-BD31-4B8C-83A1-F6EECF244321}">
                <p14:modId xmlns:p14="http://schemas.microsoft.com/office/powerpoint/2010/main" val="2065636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2" name="Objekt 1" hidden="1">
                        <a:extLst>
                          <a:ext uri="{FF2B5EF4-FFF2-40B4-BE49-F238E27FC236}">
                            <a16:creationId xmlns:a16="http://schemas.microsoft.com/office/drawing/2014/main" id="{2E55E00F-1880-532C-D03E-F2BE419A6B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a:extLst>
              <a:ext uri="{FF2B5EF4-FFF2-40B4-BE49-F238E27FC236}">
                <a16:creationId xmlns:a16="http://schemas.microsoft.com/office/drawing/2014/main" id="{B5D77837-F372-41E3-A703-01233BC36B12}"/>
              </a:ext>
            </a:extLst>
          </p:cNvPr>
          <p:cNvSpPr>
            <a:spLocks noGrp="1"/>
          </p:cNvSpPr>
          <p:nvPr>
            <p:ph type="title" hasCustomPrompt="1"/>
          </p:nvPr>
        </p:nvSpPr>
        <p:spPr bwMode="gray">
          <a:xfrm>
            <a:off x="5519936" y="1412776"/>
            <a:ext cx="5688632" cy="461665"/>
          </a:xfrm>
        </p:spPr>
        <p:txBody>
          <a:bodyPr vert="horz" anchor="t"/>
          <a:lstStyle>
            <a:lvl1pPr algn="l">
              <a:defRPr sz="3000">
                <a:solidFill>
                  <a:schemeClr val="tx1"/>
                </a:solidFill>
              </a:defRPr>
            </a:lvl1pPr>
          </a:lstStyle>
          <a:p>
            <a:r>
              <a:rPr lang="en-GB" dirty="0"/>
              <a:t>Agenda</a:t>
            </a:r>
          </a:p>
        </p:txBody>
      </p:sp>
      <p:sp>
        <p:nvSpPr>
          <p:cNvPr id="8" name="Picture">
            <a:extLst>
              <a:ext uri="{FF2B5EF4-FFF2-40B4-BE49-F238E27FC236}">
                <a16:creationId xmlns:a16="http://schemas.microsoft.com/office/drawing/2014/main" id="{A9F39496-3247-4D2A-8D5A-9E2157A6A7D2}"/>
              </a:ext>
            </a:extLst>
          </p:cNvPr>
          <p:cNvSpPr>
            <a:spLocks noGrp="1"/>
          </p:cNvSpPr>
          <p:nvPr>
            <p:ph type="pic" sz="quarter" idx="13" hasCustomPrompt="1"/>
          </p:nvPr>
        </p:nvSpPr>
        <p:spPr bwMode="gray">
          <a:xfrm>
            <a:off x="335360" y="1484784"/>
            <a:ext cx="4041774" cy="2887191"/>
          </a:xfrm>
          <a:custGeom>
            <a:avLst/>
            <a:gdLst>
              <a:gd name="connsiteX0" fmla="*/ 5544001 w 5544001"/>
              <a:gd name="connsiteY0" fmla="*/ 0 h 3551223"/>
              <a:gd name="connsiteX1" fmla="*/ 4543017 w 5544001"/>
              <a:gd name="connsiteY1" fmla="*/ 2543298 h 3551223"/>
              <a:gd name="connsiteX2" fmla="*/ 0 w 5544001"/>
              <a:gd name="connsiteY2" fmla="*/ 3551223 h 3551223"/>
              <a:gd name="connsiteX3" fmla="*/ 0 w 5544001"/>
              <a:gd name="connsiteY3" fmla="*/ 531 h 3551223"/>
              <a:gd name="connsiteX0" fmla="*/ 5544001 w 5544001"/>
              <a:gd name="connsiteY0" fmla="*/ 0 h 3551223"/>
              <a:gd name="connsiteX1" fmla="*/ 4441735 w 5544001"/>
              <a:gd name="connsiteY1" fmla="*/ 2540103 h 3551223"/>
              <a:gd name="connsiteX2" fmla="*/ 0 w 5544001"/>
              <a:gd name="connsiteY2" fmla="*/ 3551223 h 3551223"/>
              <a:gd name="connsiteX3" fmla="*/ 0 w 5544001"/>
              <a:gd name="connsiteY3" fmla="*/ 531 h 3551223"/>
              <a:gd name="connsiteX4" fmla="*/ 5544001 w 5544001"/>
              <a:gd name="connsiteY4" fmla="*/ 0 h 3551223"/>
              <a:gd name="connsiteX0" fmla="*/ 4585198 w 4585198"/>
              <a:gd name="connsiteY0" fmla="*/ 0 h 3551223"/>
              <a:gd name="connsiteX1" fmla="*/ 4441735 w 4585198"/>
              <a:gd name="connsiteY1" fmla="*/ 2540103 h 3551223"/>
              <a:gd name="connsiteX2" fmla="*/ 0 w 4585198"/>
              <a:gd name="connsiteY2" fmla="*/ 3551223 h 3551223"/>
              <a:gd name="connsiteX3" fmla="*/ 0 w 4585198"/>
              <a:gd name="connsiteY3" fmla="*/ 531 h 3551223"/>
              <a:gd name="connsiteX4" fmla="*/ 4585198 w 4585198"/>
              <a:gd name="connsiteY4" fmla="*/ 0 h 3551223"/>
              <a:gd name="connsiteX0" fmla="*/ 4585198 w 4589243"/>
              <a:gd name="connsiteY0" fmla="*/ 0 h 3551223"/>
              <a:gd name="connsiteX1" fmla="*/ 4589243 w 4589243"/>
              <a:gd name="connsiteY1" fmla="*/ 2135159 h 3551223"/>
              <a:gd name="connsiteX2" fmla="*/ 0 w 4589243"/>
              <a:gd name="connsiteY2" fmla="*/ 3551223 h 3551223"/>
              <a:gd name="connsiteX3" fmla="*/ 0 w 4589243"/>
              <a:gd name="connsiteY3" fmla="*/ 531 h 3551223"/>
              <a:gd name="connsiteX4" fmla="*/ 4585198 w 4589243"/>
              <a:gd name="connsiteY4" fmla="*/ 0 h 3551223"/>
              <a:gd name="connsiteX0" fmla="*/ 4585198 w 4589243"/>
              <a:gd name="connsiteY0" fmla="*/ 0 h 3551223"/>
              <a:gd name="connsiteX1" fmla="*/ 4589243 w 4589243"/>
              <a:gd name="connsiteY1" fmla="*/ 2135159 h 3551223"/>
              <a:gd name="connsiteX2" fmla="*/ 0 w 4589243"/>
              <a:gd name="connsiteY2" fmla="*/ 3551223 h 3551223"/>
              <a:gd name="connsiteX3" fmla="*/ 1263038 w 4589243"/>
              <a:gd name="connsiteY3" fmla="*/ 531 h 3551223"/>
              <a:gd name="connsiteX4" fmla="*/ 4585198 w 4589243"/>
              <a:gd name="connsiteY4" fmla="*/ 0 h 3551223"/>
              <a:gd name="connsiteX0" fmla="*/ 4013604 w 4017649"/>
              <a:gd name="connsiteY0" fmla="*/ 0 h 2783519"/>
              <a:gd name="connsiteX1" fmla="*/ 4017649 w 4017649"/>
              <a:gd name="connsiteY1" fmla="*/ 2135159 h 2783519"/>
              <a:gd name="connsiteX2" fmla="*/ 0 w 4017649"/>
              <a:gd name="connsiteY2" fmla="*/ 2783519 h 2783519"/>
              <a:gd name="connsiteX3" fmla="*/ 691444 w 4017649"/>
              <a:gd name="connsiteY3" fmla="*/ 531 h 2783519"/>
              <a:gd name="connsiteX4" fmla="*/ 4013604 w 4017649"/>
              <a:gd name="connsiteY4" fmla="*/ 0 h 2783519"/>
              <a:gd name="connsiteX0" fmla="*/ 4007287 w 4011332"/>
              <a:gd name="connsiteY0" fmla="*/ 0 h 2660244"/>
              <a:gd name="connsiteX1" fmla="*/ 4011332 w 4011332"/>
              <a:gd name="connsiteY1" fmla="*/ 2135159 h 2660244"/>
              <a:gd name="connsiteX2" fmla="*/ 0 w 4011332"/>
              <a:gd name="connsiteY2" fmla="*/ 2660244 h 2660244"/>
              <a:gd name="connsiteX3" fmla="*/ 685127 w 4011332"/>
              <a:gd name="connsiteY3" fmla="*/ 531 h 2660244"/>
              <a:gd name="connsiteX4" fmla="*/ 4007287 w 4011332"/>
              <a:gd name="connsiteY4" fmla="*/ 0 h 2660244"/>
              <a:gd name="connsiteX0" fmla="*/ 4648735 w 4652780"/>
              <a:gd name="connsiteY0" fmla="*/ 0 h 2669049"/>
              <a:gd name="connsiteX1" fmla="*/ 4652780 w 4652780"/>
              <a:gd name="connsiteY1" fmla="*/ 2135159 h 2669049"/>
              <a:gd name="connsiteX2" fmla="*/ 0 w 4652780"/>
              <a:gd name="connsiteY2" fmla="*/ 2669049 h 2669049"/>
              <a:gd name="connsiteX3" fmla="*/ 1326575 w 4652780"/>
              <a:gd name="connsiteY3" fmla="*/ 531 h 2669049"/>
              <a:gd name="connsiteX4" fmla="*/ 4648735 w 4652780"/>
              <a:gd name="connsiteY4" fmla="*/ 0 h 2669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52780" h="2669049">
                <a:moveTo>
                  <a:pt x="4648735" y="0"/>
                </a:moveTo>
                <a:cubicBezTo>
                  <a:pt x="4650083" y="711720"/>
                  <a:pt x="4651432" y="1423439"/>
                  <a:pt x="4652780" y="2135159"/>
                </a:cubicBezTo>
                <a:lnTo>
                  <a:pt x="0" y="2669049"/>
                </a:lnTo>
                <a:lnTo>
                  <a:pt x="1326575" y="531"/>
                </a:lnTo>
                <a:lnTo>
                  <a:pt x="4648735" y="0"/>
                </a:lnTo>
                <a:close/>
              </a:path>
            </a:pathLst>
          </a:custGeom>
          <a:solidFill>
            <a:srgbClr val="D6D9DC"/>
          </a:solidFill>
        </p:spPr>
        <p:txBody>
          <a:bodyPr wrap="square">
            <a:noAutofit/>
          </a:bodyPr>
          <a:lstStyle>
            <a:lvl1pPr marL="0" indent="0" algn="ctr">
              <a:buNone/>
              <a:defRPr/>
            </a:lvl1pPr>
          </a:lstStyle>
          <a:p>
            <a:r>
              <a:rPr lang="en-GB"/>
              <a:t> </a:t>
            </a:r>
            <a:endParaRPr lang="en-GB" dirty="0"/>
          </a:p>
        </p:txBody>
      </p:sp>
      <p:sp>
        <p:nvSpPr>
          <p:cNvPr id="7" name="Datumsplatzhalter 6">
            <a:extLst>
              <a:ext uri="{FF2B5EF4-FFF2-40B4-BE49-F238E27FC236}">
                <a16:creationId xmlns:a16="http://schemas.microsoft.com/office/drawing/2014/main" id="{577B6FF7-BCA1-8C65-43D3-BBCA073448B7}"/>
              </a:ext>
            </a:extLst>
          </p:cNvPr>
          <p:cNvSpPr>
            <a:spLocks noGrp="1"/>
          </p:cNvSpPr>
          <p:nvPr>
            <p:ph type="dt" sz="half" idx="18"/>
          </p:nvPr>
        </p:nvSpPr>
        <p:spPr/>
        <p:txBody>
          <a:bodyPr/>
          <a:lstStyle/>
          <a:p>
            <a:r>
              <a:rPr lang="en-US"/>
              <a:t>7/26/2022</a:t>
            </a:r>
            <a:endParaRPr lang="en-GB" dirty="0"/>
          </a:p>
        </p:txBody>
      </p:sp>
      <p:sp>
        <p:nvSpPr>
          <p:cNvPr id="10" name="Fußzeilenplatzhalter 9">
            <a:extLst>
              <a:ext uri="{FF2B5EF4-FFF2-40B4-BE49-F238E27FC236}">
                <a16:creationId xmlns:a16="http://schemas.microsoft.com/office/drawing/2014/main" id="{0B1AFD62-C22C-1051-7314-321EC88ED1EA}"/>
              </a:ext>
            </a:extLst>
          </p:cNvPr>
          <p:cNvSpPr>
            <a:spLocks noGrp="1"/>
          </p:cNvSpPr>
          <p:nvPr>
            <p:ph type="ftr" sz="quarter" idx="19"/>
          </p:nvPr>
        </p:nvSpPr>
        <p:spPr/>
        <p:txBody>
          <a:bodyPr/>
          <a:lstStyle/>
          <a:p>
            <a:r>
              <a:rPr lang="de-DE"/>
              <a:t>Der Konsument nach Corona und Consumer Voice</a:t>
            </a:r>
            <a:endParaRPr lang="de-DE" dirty="0"/>
          </a:p>
        </p:txBody>
      </p:sp>
      <p:sp>
        <p:nvSpPr>
          <p:cNvPr id="11" name="Foliennummernplatzhalter 10">
            <a:extLst>
              <a:ext uri="{FF2B5EF4-FFF2-40B4-BE49-F238E27FC236}">
                <a16:creationId xmlns:a16="http://schemas.microsoft.com/office/drawing/2014/main" id="{EE5A04F2-A4EA-FE4F-1761-BB80F2F5D315}"/>
              </a:ext>
            </a:extLst>
          </p:cNvPr>
          <p:cNvSpPr>
            <a:spLocks noGrp="1"/>
          </p:cNvSpPr>
          <p:nvPr>
            <p:ph type="sldNum" sz="quarter" idx="20"/>
          </p:nvPr>
        </p:nvSpPr>
        <p:spPr/>
        <p:txBody>
          <a:bodyPr/>
          <a:lstStyle/>
          <a:p>
            <a:fld id="{CAEA825B-D749-4F0A-886E-8D45A39EAF2A}" type="slidenum">
              <a:rPr lang="de-DE" smtClean="0"/>
              <a:pPr/>
              <a:t>‹Nº›</a:t>
            </a:fld>
            <a:endParaRPr lang="de-DE"/>
          </a:p>
        </p:txBody>
      </p:sp>
      <p:sp>
        <p:nvSpPr>
          <p:cNvPr id="12" name="Source">
            <a:extLst>
              <a:ext uri="{FF2B5EF4-FFF2-40B4-BE49-F238E27FC236}">
                <a16:creationId xmlns:a16="http://schemas.microsoft.com/office/drawing/2014/main" id="{8F238536-2BF0-D647-F693-55DF666AE24D}"/>
              </a:ext>
            </a:extLst>
          </p:cNvPr>
          <p:cNvSpPr>
            <a:spLocks noGrp="1"/>
          </p:cNvSpPr>
          <p:nvPr>
            <p:ph type="body" sz="quarter" idx="17"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spTree>
    <p:extLst>
      <p:ext uri="{BB962C8B-B14F-4D97-AF65-F5344CB8AC3E}">
        <p14:creationId xmlns:p14="http://schemas.microsoft.com/office/powerpoint/2010/main" val="397064192"/>
      </p:ext>
    </p:extLst>
  </p:cSld>
  <p:clrMapOvr>
    <a:masterClrMapping/>
  </p:clrMapOvr>
  <p:extLst>
    <p:ext uri="{DCECCB84-F9BA-43D5-87BE-67443E8EF086}">
      <p15:sldGuideLst xmlns:p15="http://schemas.microsoft.com/office/powerpoint/2012/main">
        <p15:guide id="3" orient="horz" pos="935" userDrawn="1">
          <p15:clr>
            <a:srgbClr val="FBAE40"/>
          </p15:clr>
        </p15:guide>
        <p15:guide id="4" orient="horz" pos="3838" userDrawn="1">
          <p15:clr>
            <a:srgbClr val="FBAE40"/>
          </p15:clr>
        </p15:guide>
        <p15:guide id="5" pos="3477" userDrawn="1">
          <p15:clr>
            <a:srgbClr val="FBAE40"/>
          </p15:clr>
        </p15:guide>
        <p15:guide id="6" pos="7469"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1">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A0E25796-BE58-9EC2-B5B3-3584C3588249}"/>
              </a:ext>
            </a:extLst>
          </p:cNvPr>
          <p:cNvGraphicFramePr>
            <a:graphicFrameLocks noChangeAspect="1"/>
          </p:cNvGraphicFramePr>
          <p:nvPr userDrawn="1">
            <p:custDataLst>
              <p:tags r:id="rId1"/>
            </p:custDataLst>
            <p:extLst>
              <p:ext uri="{D42A27DB-BD31-4B8C-83A1-F6EECF244321}">
                <p14:modId xmlns:p14="http://schemas.microsoft.com/office/powerpoint/2010/main" val="3851055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4" name="Objekt 3" hidden="1">
                        <a:extLst>
                          <a:ext uri="{FF2B5EF4-FFF2-40B4-BE49-F238E27FC236}">
                            <a16:creationId xmlns:a16="http://schemas.microsoft.com/office/drawing/2014/main" id="{A0E25796-BE58-9EC2-B5B3-3584C35882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8" name="Line">
            <a:extLst>
              <a:ext uri="{FF2B5EF4-FFF2-40B4-BE49-F238E27FC236}">
                <a16:creationId xmlns:a16="http://schemas.microsoft.com/office/drawing/2014/main" id="{78C23B66-615F-4718-BD9E-FC56288257C2}"/>
              </a:ext>
              <a:ext uri="{C183D7F6-B498-43B3-948B-1728B52AA6E4}">
                <adec:decorative xmlns:adec="http://schemas.microsoft.com/office/drawing/2017/decorative" val="1"/>
              </a:ext>
            </a:extLst>
          </p:cNvPr>
          <p:cNvCxnSpPr>
            <a:cxnSpLocks/>
          </p:cNvCxnSpPr>
          <p:nvPr userDrawn="1"/>
        </p:nvCxnSpPr>
        <p:spPr bwMode="gray">
          <a:xfrm>
            <a:off x="7248128" y="1484784"/>
            <a:ext cx="1728192"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le"/>
          <p:cNvSpPr>
            <a:spLocks noGrp="1"/>
          </p:cNvSpPr>
          <p:nvPr>
            <p:ph type="title" hasCustomPrompt="1"/>
          </p:nvPr>
        </p:nvSpPr>
        <p:spPr bwMode="gray">
          <a:xfrm>
            <a:off x="7248128" y="1989128"/>
            <a:ext cx="4608512" cy="1799912"/>
          </a:xfrm>
          <a:prstGeom prst="rect">
            <a:avLst/>
          </a:prstGeom>
        </p:spPr>
        <p:txBody>
          <a:bodyPr vert="horz">
            <a:noAutofit/>
          </a:bodyPr>
          <a:lstStyle>
            <a:lvl1pPr marL="361950" indent="-361950">
              <a:defRPr sz="2400">
                <a:solidFill>
                  <a:schemeClr val="tx1"/>
                </a:solidFill>
              </a:defRPr>
            </a:lvl1pPr>
          </a:lstStyle>
          <a:p>
            <a:r>
              <a:rPr lang="en-GB" dirty="0"/>
              <a:t>1	Divider slide | Insert your headline in maximal 3 lines here</a:t>
            </a:r>
          </a:p>
        </p:txBody>
      </p:sp>
      <p:sp>
        <p:nvSpPr>
          <p:cNvPr id="20" name="Subtitle 2">
            <a:extLst>
              <a:ext uri="{FF2B5EF4-FFF2-40B4-BE49-F238E27FC236}">
                <a16:creationId xmlns:a16="http://schemas.microsoft.com/office/drawing/2014/main" id="{4FDF9C42-D4C2-4901-8C80-4142CE35C165}"/>
              </a:ext>
            </a:extLst>
          </p:cNvPr>
          <p:cNvSpPr>
            <a:spLocks noGrp="1"/>
          </p:cNvSpPr>
          <p:nvPr>
            <p:ph type="subTitle" idx="1" hasCustomPrompt="1"/>
          </p:nvPr>
        </p:nvSpPr>
        <p:spPr bwMode="gray">
          <a:xfrm>
            <a:off x="7248128" y="3789184"/>
            <a:ext cx="4608512" cy="1151984"/>
          </a:xfrm>
          <a:prstGeom prst="rect">
            <a:avLst/>
          </a:prstGeom>
          <a:noFill/>
          <a:ln w="0">
            <a:noFill/>
          </a:ln>
        </p:spPr>
        <p:txBody>
          <a:bodyPr lIns="0" rIns="0"/>
          <a:lstStyle>
            <a:lvl1pPr marL="0" indent="0" algn="l">
              <a:lnSpc>
                <a:spcPct val="100000"/>
              </a:lnSpc>
              <a:spcBef>
                <a:spcPts val="0"/>
              </a:spcBef>
              <a:buFont typeface="Arial" panose="020B0604020202020204" pitchFamily="34" charset="0"/>
              <a:buNone/>
              <a:defRPr sz="1600" b="0">
                <a:latin typeface="+mn-lt"/>
              </a:defRPr>
            </a:lvl1pPr>
            <a:lvl2pPr marL="0" indent="0" algn="l">
              <a:lnSpc>
                <a:spcPct val="100000"/>
              </a:lnSpc>
              <a:spcBef>
                <a:spcPts val="0"/>
              </a:spcBef>
              <a:buFont typeface="Arial" panose="020B0604020202020204" pitchFamily="34" charset="0"/>
              <a:buNone/>
              <a:defRPr sz="1600" b="0">
                <a:latin typeface="+mn-lt"/>
              </a:defRPr>
            </a:lvl2pPr>
            <a:lvl3pPr marL="0" indent="0" algn="l">
              <a:lnSpc>
                <a:spcPct val="100000"/>
              </a:lnSpc>
              <a:spcBef>
                <a:spcPts val="0"/>
              </a:spcBef>
              <a:buFont typeface="Arial" panose="020B0604020202020204" pitchFamily="34" charset="0"/>
              <a:buNone/>
              <a:defRPr sz="1600" b="0">
                <a:latin typeface="+mn-lt"/>
              </a:defRPr>
            </a:lvl3pPr>
            <a:lvl4pPr marL="0" indent="0" algn="l">
              <a:lnSpc>
                <a:spcPct val="100000"/>
              </a:lnSpc>
              <a:spcBef>
                <a:spcPts val="0"/>
              </a:spcBef>
              <a:buFont typeface="Arial" panose="020B0604020202020204" pitchFamily="34" charset="0"/>
              <a:buNone/>
              <a:defRPr sz="1600" b="0">
                <a:latin typeface="+mn-lt"/>
              </a:defRPr>
            </a:lvl4pPr>
            <a:lvl5pPr marL="0" indent="0" algn="l">
              <a:lnSpc>
                <a:spcPct val="100000"/>
              </a:lnSpc>
              <a:spcBef>
                <a:spcPts val="0"/>
              </a:spcBef>
              <a:buFont typeface="Arial" panose="020B0604020202020204" pitchFamily="34" charset="0"/>
              <a:buNone/>
              <a:defRPr sz="1600" b="0">
                <a:latin typeface="+mn-lt"/>
              </a:defRPr>
            </a:lvl5pPr>
            <a:lvl6pPr marL="0" indent="0" algn="l">
              <a:lnSpc>
                <a:spcPct val="100000"/>
              </a:lnSpc>
              <a:spcBef>
                <a:spcPts val="0"/>
              </a:spcBef>
              <a:buFont typeface="Arial" panose="020B0604020202020204" pitchFamily="34" charset="0"/>
              <a:buNone/>
              <a:defRPr sz="1600" b="0">
                <a:latin typeface="+mn-lt"/>
              </a:defRPr>
            </a:lvl6pPr>
            <a:lvl7pPr marL="0" indent="0" algn="l">
              <a:lnSpc>
                <a:spcPct val="100000"/>
              </a:lnSpc>
              <a:spcBef>
                <a:spcPts val="0"/>
              </a:spcBef>
              <a:buFont typeface="Arial" panose="020B0604020202020204" pitchFamily="34" charset="0"/>
              <a:buNone/>
              <a:defRPr sz="1600" b="0">
                <a:latin typeface="+mn-lt"/>
              </a:defRPr>
            </a:lvl7pPr>
            <a:lvl8pPr marL="0" indent="0" algn="l">
              <a:lnSpc>
                <a:spcPct val="100000"/>
              </a:lnSpc>
              <a:spcBef>
                <a:spcPts val="0"/>
              </a:spcBef>
              <a:buFont typeface="Arial" panose="020B0604020202020204" pitchFamily="34" charset="0"/>
              <a:buNone/>
              <a:defRPr sz="1600" b="0">
                <a:latin typeface="+mn-lt"/>
              </a:defRPr>
            </a:lvl8pPr>
            <a:lvl9pPr marL="0" indent="0" algn="l">
              <a:lnSpc>
                <a:spcPct val="100000"/>
              </a:lnSpc>
              <a:spcBef>
                <a:spcPts val="0"/>
              </a:spcBef>
              <a:buFont typeface="Arial" panose="020B0604020202020204" pitchFamily="34" charset="0"/>
              <a:buNone/>
              <a:defRPr sz="1600" b="0">
                <a:latin typeface="+mn-lt"/>
              </a:defRPr>
            </a:lvl9pPr>
          </a:lstStyle>
          <a:p>
            <a:r>
              <a:rPr lang="en-GB" dirty="0"/>
              <a:t>Insert here your subtitle</a:t>
            </a:r>
          </a:p>
        </p:txBody>
      </p:sp>
      <p:sp>
        <p:nvSpPr>
          <p:cNvPr id="17" name="Picture">
            <a:extLst>
              <a:ext uri="{FF2B5EF4-FFF2-40B4-BE49-F238E27FC236}">
                <a16:creationId xmlns:a16="http://schemas.microsoft.com/office/drawing/2014/main" id="{98F4FF65-FEA2-42DE-8EE1-50E91E928FE7}"/>
              </a:ext>
            </a:extLst>
          </p:cNvPr>
          <p:cNvSpPr>
            <a:spLocks noGrp="1"/>
          </p:cNvSpPr>
          <p:nvPr>
            <p:ph type="pic" sz="quarter" idx="17" hasCustomPrompt="1"/>
          </p:nvPr>
        </p:nvSpPr>
        <p:spPr bwMode="gray">
          <a:xfrm>
            <a:off x="335360" y="1484784"/>
            <a:ext cx="6336704" cy="4620741"/>
          </a:xfrm>
          <a:custGeom>
            <a:avLst/>
            <a:gdLst>
              <a:gd name="connsiteX0" fmla="*/ 1008000 w 7056002"/>
              <a:gd name="connsiteY0" fmla="*/ 0 h 5040002"/>
              <a:gd name="connsiteX1" fmla="*/ 7056002 w 7056002"/>
              <a:gd name="connsiteY1" fmla="*/ 0 h 5040002"/>
              <a:gd name="connsiteX2" fmla="*/ 7056002 w 7056002"/>
              <a:gd name="connsiteY2" fmla="*/ 4033656 h 5040002"/>
              <a:gd name="connsiteX3" fmla="*/ 0 w 7056002"/>
              <a:gd name="connsiteY3" fmla="*/ 5040002 h 5040002"/>
              <a:gd name="connsiteX0" fmla="*/ 1174688 w 7056002"/>
              <a:gd name="connsiteY0" fmla="*/ 0 h 5040002"/>
              <a:gd name="connsiteX1" fmla="*/ 7056002 w 7056002"/>
              <a:gd name="connsiteY1" fmla="*/ 0 h 5040002"/>
              <a:gd name="connsiteX2" fmla="*/ 7056002 w 7056002"/>
              <a:gd name="connsiteY2" fmla="*/ 4033656 h 5040002"/>
              <a:gd name="connsiteX3" fmla="*/ 0 w 7056002"/>
              <a:gd name="connsiteY3" fmla="*/ 5040002 h 5040002"/>
              <a:gd name="connsiteX4" fmla="*/ 1174688 w 7056002"/>
              <a:gd name="connsiteY4" fmla="*/ 0 h 5040002"/>
              <a:gd name="connsiteX0" fmla="*/ 1174688 w 7056002"/>
              <a:gd name="connsiteY0" fmla="*/ 0 h 5040002"/>
              <a:gd name="connsiteX1" fmla="*/ 7056002 w 7056002"/>
              <a:gd name="connsiteY1" fmla="*/ 0 h 5040002"/>
              <a:gd name="connsiteX2" fmla="*/ 7053224 w 7056002"/>
              <a:gd name="connsiteY2" fmla="*/ 3919886 h 5040002"/>
              <a:gd name="connsiteX3" fmla="*/ 0 w 7056002"/>
              <a:gd name="connsiteY3" fmla="*/ 5040002 h 5040002"/>
              <a:gd name="connsiteX4" fmla="*/ 1174688 w 7056002"/>
              <a:gd name="connsiteY4" fmla="*/ 0 h 5040002"/>
              <a:gd name="connsiteX0" fmla="*/ 1293258 w 7174572"/>
              <a:gd name="connsiteY0" fmla="*/ 0 h 5190412"/>
              <a:gd name="connsiteX1" fmla="*/ 7174572 w 7174572"/>
              <a:gd name="connsiteY1" fmla="*/ 0 h 5190412"/>
              <a:gd name="connsiteX2" fmla="*/ 7171794 w 7174572"/>
              <a:gd name="connsiteY2" fmla="*/ 3919886 h 5190412"/>
              <a:gd name="connsiteX3" fmla="*/ 0 w 7174572"/>
              <a:gd name="connsiteY3" fmla="*/ 5190412 h 5190412"/>
              <a:gd name="connsiteX4" fmla="*/ 1293258 w 7174572"/>
              <a:gd name="connsiteY4" fmla="*/ 0 h 5190412"/>
              <a:gd name="connsiteX0" fmla="*/ 948326 w 6829640"/>
              <a:gd name="connsiteY0" fmla="*/ 0 h 5007771"/>
              <a:gd name="connsiteX1" fmla="*/ 6829640 w 6829640"/>
              <a:gd name="connsiteY1" fmla="*/ 0 h 5007771"/>
              <a:gd name="connsiteX2" fmla="*/ 6826862 w 6829640"/>
              <a:gd name="connsiteY2" fmla="*/ 3919886 h 5007771"/>
              <a:gd name="connsiteX3" fmla="*/ 0 w 6829640"/>
              <a:gd name="connsiteY3" fmla="*/ 5007771 h 5007771"/>
              <a:gd name="connsiteX4" fmla="*/ 948326 w 6829640"/>
              <a:gd name="connsiteY4" fmla="*/ 0 h 5007771"/>
              <a:gd name="connsiteX0" fmla="*/ 1304037 w 7185351"/>
              <a:gd name="connsiteY0" fmla="*/ 0 h 5211899"/>
              <a:gd name="connsiteX1" fmla="*/ 7185351 w 7185351"/>
              <a:gd name="connsiteY1" fmla="*/ 0 h 5211899"/>
              <a:gd name="connsiteX2" fmla="*/ 7182573 w 7185351"/>
              <a:gd name="connsiteY2" fmla="*/ 3919886 h 5211899"/>
              <a:gd name="connsiteX3" fmla="*/ 0 w 7185351"/>
              <a:gd name="connsiteY3" fmla="*/ 5211899 h 5211899"/>
              <a:gd name="connsiteX4" fmla="*/ 1304037 w 7185351"/>
              <a:gd name="connsiteY4" fmla="*/ 0 h 52118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85351" h="5211899">
                <a:moveTo>
                  <a:pt x="1304037" y="0"/>
                </a:moveTo>
                <a:lnTo>
                  <a:pt x="7185351" y="0"/>
                </a:lnTo>
                <a:lnTo>
                  <a:pt x="7182573" y="3919886"/>
                </a:lnTo>
                <a:lnTo>
                  <a:pt x="0" y="5211899"/>
                </a:lnTo>
                <a:cubicBezTo>
                  <a:pt x="336000" y="3531898"/>
                  <a:pt x="968037" y="1680001"/>
                  <a:pt x="1304037" y="0"/>
                </a:cubicBezTo>
                <a:close/>
              </a:path>
            </a:pathLst>
          </a:custGeom>
          <a:solidFill>
            <a:srgbClr val="D6D9DC"/>
          </a:solidFill>
        </p:spPr>
        <p:txBody>
          <a:bodyPr wrap="square">
            <a:noAutofit/>
          </a:bodyPr>
          <a:lstStyle>
            <a:lvl1pPr marL="0" indent="0">
              <a:buNone/>
              <a:defRPr/>
            </a:lvl1pPr>
          </a:lstStyle>
          <a:p>
            <a:r>
              <a:rPr lang="en-GB"/>
              <a:t> </a:t>
            </a:r>
            <a:endParaRPr lang="en-GB" dirty="0"/>
          </a:p>
        </p:txBody>
      </p:sp>
      <p:sp>
        <p:nvSpPr>
          <p:cNvPr id="7" name="Datumsplatzhalter 6">
            <a:extLst>
              <a:ext uri="{FF2B5EF4-FFF2-40B4-BE49-F238E27FC236}">
                <a16:creationId xmlns:a16="http://schemas.microsoft.com/office/drawing/2014/main" id="{9BA25C56-A472-8748-4C17-4FB01DBBD8C0}"/>
              </a:ext>
            </a:extLst>
          </p:cNvPr>
          <p:cNvSpPr>
            <a:spLocks noGrp="1"/>
          </p:cNvSpPr>
          <p:nvPr>
            <p:ph type="dt" sz="half" idx="20"/>
          </p:nvPr>
        </p:nvSpPr>
        <p:spPr/>
        <p:txBody>
          <a:bodyPr/>
          <a:lstStyle/>
          <a:p>
            <a:r>
              <a:rPr lang="en-US"/>
              <a:t>7/26/2022</a:t>
            </a:r>
            <a:endParaRPr lang="en-GB" dirty="0"/>
          </a:p>
        </p:txBody>
      </p:sp>
      <p:sp>
        <p:nvSpPr>
          <p:cNvPr id="8" name="Fußzeilenplatzhalter 7">
            <a:extLst>
              <a:ext uri="{FF2B5EF4-FFF2-40B4-BE49-F238E27FC236}">
                <a16:creationId xmlns:a16="http://schemas.microsoft.com/office/drawing/2014/main" id="{B8A48537-F1E3-3914-E4A7-0803F3FE8C56}"/>
              </a:ext>
            </a:extLst>
          </p:cNvPr>
          <p:cNvSpPr>
            <a:spLocks noGrp="1"/>
          </p:cNvSpPr>
          <p:nvPr>
            <p:ph type="ftr" sz="quarter" idx="21"/>
          </p:nvPr>
        </p:nvSpPr>
        <p:spPr/>
        <p:txBody>
          <a:bodyPr/>
          <a:lstStyle/>
          <a:p>
            <a:r>
              <a:rPr lang="de-DE"/>
              <a:t>Der Konsument nach Corona und Consumer Voice</a:t>
            </a:r>
            <a:endParaRPr lang="de-DE" dirty="0"/>
          </a:p>
        </p:txBody>
      </p:sp>
      <p:sp>
        <p:nvSpPr>
          <p:cNvPr id="9" name="Foliennummernplatzhalter 8">
            <a:extLst>
              <a:ext uri="{FF2B5EF4-FFF2-40B4-BE49-F238E27FC236}">
                <a16:creationId xmlns:a16="http://schemas.microsoft.com/office/drawing/2014/main" id="{3FEC1D00-4BDB-828A-91AF-76D981A2841E}"/>
              </a:ext>
            </a:extLst>
          </p:cNvPr>
          <p:cNvSpPr>
            <a:spLocks noGrp="1"/>
          </p:cNvSpPr>
          <p:nvPr>
            <p:ph type="sldNum" sz="quarter" idx="22"/>
          </p:nvPr>
        </p:nvSpPr>
        <p:spPr/>
        <p:txBody>
          <a:bodyPr/>
          <a:lstStyle/>
          <a:p>
            <a:fld id="{CAEA825B-D749-4F0A-886E-8D45A39EAF2A}" type="slidenum">
              <a:rPr lang="de-DE" smtClean="0"/>
              <a:pPr/>
              <a:t>‹Nº›</a:t>
            </a:fld>
            <a:endParaRPr lang="de-DE"/>
          </a:p>
        </p:txBody>
      </p:sp>
      <p:sp>
        <p:nvSpPr>
          <p:cNvPr id="41" name="Source">
            <a:extLst>
              <a:ext uri="{FF2B5EF4-FFF2-40B4-BE49-F238E27FC236}">
                <a16:creationId xmlns:a16="http://schemas.microsoft.com/office/drawing/2014/main" id="{F1176FA8-F250-DC94-428A-07122F636443}"/>
              </a:ext>
            </a:extLst>
          </p:cNvPr>
          <p:cNvSpPr>
            <a:spLocks noGrp="1"/>
          </p:cNvSpPr>
          <p:nvPr>
            <p:ph type="body" sz="quarter" idx="23"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spTree>
    <p:extLst>
      <p:ext uri="{BB962C8B-B14F-4D97-AF65-F5344CB8AC3E}">
        <p14:creationId xmlns:p14="http://schemas.microsoft.com/office/powerpoint/2010/main" val="1839897469"/>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with big picture">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E34E3C16-1DB9-CA04-6270-2394F2B7081F}"/>
              </a:ext>
            </a:extLst>
          </p:cNvPr>
          <p:cNvGraphicFramePr>
            <a:graphicFrameLocks noChangeAspect="1"/>
          </p:cNvGraphicFramePr>
          <p:nvPr userDrawn="1">
            <p:custDataLst>
              <p:tags r:id="rId1"/>
            </p:custDataLst>
            <p:extLst>
              <p:ext uri="{D42A27DB-BD31-4B8C-83A1-F6EECF244321}">
                <p14:modId xmlns:p14="http://schemas.microsoft.com/office/powerpoint/2010/main" val="4202269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2" name="Objekt 1" hidden="1">
                        <a:extLst>
                          <a:ext uri="{FF2B5EF4-FFF2-40B4-BE49-F238E27FC236}">
                            <a16:creationId xmlns:a16="http://schemas.microsoft.com/office/drawing/2014/main" id="{E34E3C16-1DB9-CA04-6270-2394F2B708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Picture Placeholder 15">
            <a:extLst>
              <a:ext uri="{FF2B5EF4-FFF2-40B4-BE49-F238E27FC236}">
                <a16:creationId xmlns:a16="http://schemas.microsoft.com/office/drawing/2014/main" id="{925EC39D-88B9-67E2-DD98-DA61BF97259F}"/>
              </a:ext>
            </a:extLst>
          </p:cNvPr>
          <p:cNvSpPr>
            <a:spLocks noGrp="1"/>
          </p:cNvSpPr>
          <p:nvPr>
            <p:ph type="pic" sz="quarter" idx="18" hasCustomPrompt="1"/>
          </p:nvPr>
        </p:nvSpPr>
        <p:spPr bwMode="gray">
          <a:xfrm>
            <a:off x="0" y="0"/>
            <a:ext cx="10704512" cy="6858000"/>
          </a:xfrm>
          <a:custGeom>
            <a:avLst/>
            <a:gdLst>
              <a:gd name="connsiteX0" fmla="*/ 0 w 10632504"/>
              <a:gd name="connsiteY0" fmla="*/ 0 h 6858000"/>
              <a:gd name="connsiteX1" fmla="*/ 10632504 w 10632504"/>
              <a:gd name="connsiteY1" fmla="*/ 0 h 6858000"/>
              <a:gd name="connsiteX2" fmla="*/ 10632504 w 10632504"/>
              <a:gd name="connsiteY2" fmla="*/ 6858000 h 6858000"/>
              <a:gd name="connsiteX3" fmla="*/ 0 w 1063250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632504" h="6858000">
                <a:moveTo>
                  <a:pt x="0" y="0"/>
                </a:moveTo>
                <a:lnTo>
                  <a:pt x="10632504" y="0"/>
                </a:lnTo>
                <a:lnTo>
                  <a:pt x="10632504" y="6858000"/>
                </a:lnTo>
                <a:lnTo>
                  <a:pt x="0" y="6858000"/>
                </a:lnTo>
                <a:close/>
              </a:path>
            </a:pathLst>
          </a:custGeom>
          <a:solidFill>
            <a:srgbClr val="D6D9DC"/>
          </a:solidFill>
        </p:spPr>
        <p:txBody>
          <a:bodyPr wrap="square">
            <a:noAutofit/>
          </a:bodyPr>
          <a:lstStyle>
            <a:lvl1pPr marL="0" indent="0">
              <a:buNone/>
              <a:defRPr/>
            </a:lvl1pPr>
          </a:lstStyle>
          <a:p>
            <a:r>
              <a:rPr lang="en-GB"/>
              <a:t> </a:t>
            </a:r>
            <a:endParaRPr lang="en-GB" dirty="0"/>
          </a:p>
        </p:txBody>
      </p:sp>
      <p:sp>
        <p:nvSpPr>
          <p:cNvPr id="280" name="Title">
            <a:extLst>
              <a:ext uri="{FF2B5EF4-FFF2-40B4-BE49-F238E27FC236}">
                <a16:creationId xmlns:a16="http://schemas.microsoft.com/office/drawing/2014/main" id="{9F73BC7C-461B-4374-A3A1-113AB5807BFB}"/>
              </a:ext>
            </a:extLst>
          </p:cNvPr>
          <p:cNvSpPr>
            <a:spLocks noGrp="1"/>
          </p:cNvSpPr>
          <p:nvPr>
            <p:ph type="title" hasCustomPrompt="1"/>
          </p:nvPr>
        </p:nvSpPr>
        <p:spPr bwMode="gray">
          <a:xfrm>
            <a:off x="912699" y="1484784"/>
            <a:ext cx="3448050" cy="2887191"/>
          </a:xfrm>
          <a:custGeom>
            <a:avLst/>
            <a:gdLst>
              <a:gd name="connsiteX0" fmla="*/ 0 w 3022600"/>
              <a:gd name="connsiteY0" fmla="*/ 0 h 3024187"/>
              <a:gd name="connsiteX1" fmla="*/ 3022600 w 3022600"/>
              <a:gd name="connsiteY1" fmla="*/ 0 h 3024187"/>
              <a:gd name="connsiteX2" fmla="*/ 2517775 w 3022600"/>
              <a:gd name="connsiteY2" fmla="*/ 2520950 h 3024187"/>
              <a:gd name="connsiteX3" fmla="*/ 0 w 3022600"/>
              <a:gd name="connsiteY3" fmla="*/ 3024187 h 3024187"/>
              <a:gd name="connsiteX0" fmla="*/ 0 w 3022600"/>
              <a:gd name="connsiteY0" fmla="*/ 0 h 3024187"/>
              <a:gd name="connsiteX1" fmla="*/ 3022600 w 3022600"/>
              <a:gd name="connsiteY1" fmla="*/ 0 h 3024187"/>
              <a:gd name="connsiteX2" fmla="*/ 2434278 w 3022600"/>
              <a:gd name="connsiteY2" fmla="*/ 2151803 h 3024187"/>
              <a:gd name="connsiteX3" fmla="*/ 0 w 3022600"/>
              <a:gd name="connsiteY3" fmla="*/ 3024187 h 3024187"/>
              <a:gd name="connsiteX4" fmla="*/ 0 w 3022600"/>
              <a:gd name="connsiteY4" fmla="*/ 0 h 3024187"/>
              <a:gd name="connsiteX0" fmla="*/ 0 w 3022600"/>
              <a:gd name="connsiteY0" fmla="*/ 0 h 3024187"/>
              <a:gd name="connsiteX1" fmla="*/ 3022600 w 3022600"/>
              <a:gd name="connsiteY1" fmla="*/ 0 h 3024187"/>
              <a:gd name="connsiteX2" fmla="*/ 2517775 w 3022600"/>
              <a:gd name="connsiteY2" fmla="*/ 2421181 h 3024187"/>
              <a:gd name="connsiteX3" fmla="*/ 0 w 3022600"/>
              <a:gd name="connsiteY3" fmla="*/ 3024187 h 3024187"/>
              <a:gd name="connsiteX4" fmla="*/ 0 w 3022600"/>
              <a:gd name="connsiteY4" fmla="*/ 0 h 3024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2600" h="3024187">
                <a:moveTo>
                  <a:pt x="0" y="0"/>
                </a:moveTo>
                <a:lnTo>
                  <a:pt x="3022600" y="0"/>
                </a:lnTo>
                <a:lnTo>
                  <a:pt x="2517775" y="2421181"/>
                </a:lnTo>
                <a:lnTo>
                  <a:pt x="0" y="3024187"/>
                </a:lnTo>
                <a:lnTo>
                  <a:pt x="0" y="0"/>
                </a:lnTo>
                <a:close/>
              </a:path>
            </a:pathLst>
          </a:custGeom>
          <a:solidFill>
            <a:schemeClr val="bg1"/>
          </a:solidFill>
          <a:ln w="127">
            <a:solidFill>
              <a:schemeClr val="bg1"/>
            </a:solidFill>
          </a:ln>
        </p:spPr>
        <p:txBody>
          <a:bodyPr wrap="square" lIns="216000" tIns="216000" rIns="216000">
            <a:noAutofit/>
          </a:bodyPr>
          <a:lstStyle>
            <a:lvl1pPr marL="355600" indent="-355600">
              <a:defRPr sz="2400">
                <a:solidFill>
                  <a:schemeClr val="tx1"/>
                </a:solidFill>
              </a:defRPr>
            </a:lvl1pPr>
          </a:lstStyle>
          <a:p>
            <a:r>
              <a:rPr lang="en-GB" dirty="0"/>
              <a:t>1	Insert Chapter title here in max. 3 lines</a:t>
            </a:r>
          </a:p>
        </p:txBody>
      </p:sp>
      <p:sp>
        <p:nvSpPr>
          <p:cNvPr id="281" name="Subtitle 2">
            <a:extLst>
              <a:ext uri="{FF2B5EF4-FFF2-40B4-BE49-F238E27FC236}">
                <a16:creationId xmlns:a16="http://schemas.microsoft.com/office/drawing/2014/main" id="{C62B0A6C-F8C8-4CAE-980D-DAAE4106DEFD}"/>
              </a:ext>
            </a:extLst>
          </p:cNvPr>
          <p:cNvSpPr>
            <a:spLocks noGrp="1"/>
          </p:cNvSpPr>
          <p:nvPr>
            <p:ph type="subTitle" idx="1" hasCustomPrompt="1"/>
          </p:nvPr>
        </p:nvSpPr>
        <p:spPr bwMode="gray">
          <a:xfrm>
            <a:off x="911424" y="2996780"/>
            <a:ext cx="2879760" cy="1008000"/>
          </a:xfrm>
          <a:prstGeom prst="rect">
            <a:avLst/>
          </a:prstGeom>
          <a:noFill/>
          <a:ln w="0">
            <a:noFill/>
          </a:ln>
        </p:spPr>
        <p:txBody>
          <a:bodyPr lIns="216000" rIns="0"/>
          <a:lstStyle>
            <a:lvl1pPr marL="0" indent="0" algn="l">
              <a:lnSpc>
                <a:spcPct val="100000"/>
              </a:lnSpc>
              <a:spcBef>
                <a:spcPts val="0"/>
              </a:spcBef>
              <a:buFont typeface="Arial" panose="020B0604020202020204" pitchFamily="34" charset="0"/>
              <a:buNone/>
              <a:defRPr sz="1600" b="0">
                <a:latin typeface="+mn-lt"/>
              </a:defRPr>
            </a:lvl1pPr>
            <a:lvl2pPr marL="0" indent="0" algn="l">
              <a:lnSpc>
                <a:spcPct val="100000"/>
              </a:lnSpc>
              <a:spcBef>
                <a:spcPts val="0"/>
              </a:spcBef>
              <a:buFont typeface="Arial" panose="020B0604020202020204" pitchFamily="34" charset="0"/>
              <a:buNone/>
              <a:defRPr sz="1600" b="0">
                <a:latin typeface="+mn-lt"/>
              </a:defRPr>
            </a:lvl2pPr>
            <a:lvl3pPr marL="0" indent="0" algn="l">
              <a:lnSpc>
                <a:spcPct val="100000"/>
              </a:lnSpc>
              <a:spcBef>
                <a:spcPts val="0"/>
              </a:spcBef>
              <a:buFont typeface="Arial" panose="020B0604020202020204" pitchFamily="34" charset="0"/>
              <a:buNone/>
              <a:defRPr sz="1600" b="0">
                <a:latin typeface="+mn-lt"/>
              </a:defRPr>
            </a:lvl3pPr>
            <a:lvl4pPr marL="0" indent="0" algn="l">
              <a:lnSpc>
                <a:spcPct val="100000"/>
              </a:lnSpc>
              <a:spcBef>
                <a:spcPts val="0"/>
              </a:spcBef>
              <a:buFont typeface="Arial" panose="020B0604020202020204" pitchFamily="34" charset="0"/>
              <a:buNone/>
              <a:defRPr sz="1600" b="0">
                <a:latin typeface="+mn-lt"/>
              </a:defRPr>
            </a:lvl4pPr>
            <a:lvl5pPr marL="0" indent="0" algn="l">
              <a:lnSpc>
                <a:spcPct val="100000"/>
              </a:lnSpc>
              <a:spcBef>
                <a:spcPts val="0"/>
              </a:spcBef>
              <a:buFont typeface="Arial" panose="020B0604020202020204" pitchFamily="34" charset="0"/>
              <a:buNone/>
              <a:defRPr sz="1600" b="0">
                <a:latin typeface="+mn-lt"/>
              </a:defRPr>
            </a:lvl5pPr>
            <a:lvl6pPr marL="0" indent="0" algn="l">
              <a:lnSpc>
                <a:spcPct val="100000"/>
              </a:lnSpc>
              <a:spcBef>
                <a:spcPts val="0"/>
              </a:spcBef>
              <a:buFont typeface="Arial" panose="020B0604020202020204" pitchFamily="34" charset="0"/>
              <a:buNone/>
              <a:defRPr sz="1600" b="0">
                <a:latin typeface="+mn-lt"/>
              </a:defRPr>
            </a:lvl6pPr>
            <a:lvl7pPr marL="0" indent="0" algn="l">
              <a:lnSpc>
                <a:spcPct val="100000"/>
              </a:lnSpc>
              <a:spcBef>
                <a:spcPts val="0"/>
              </a:spcBef>
              <a:buFont typeface="Arial" panose="020B0604020202020204" pitchFamily="34" charset="0"/>
              <a:buNone/>
              <a:defRPr sz="1600" b="0">
                <a:latin typeface="+mn-lt"/>
              </a:defRPr>
            </a:lvl7pPr>
            <a:lvl8pPr marL="0" indent="0" algn="l">
              <a:lnSpc>
                <a:spcPct val="100000"/>
              </a:lnSpc>
              <a:spcBef>
                <a:spcPts val="0"/>
              </a:spcBef>
              <a:buFont typeface="Arial" panose="020B0604020202020204" pitchFamily="34" charset="0"/>
              <a:buNone/>
              <a:defRPr sz="1600" b="0">
                <a:latin typeface="+mn-lt"/>
              </a:defRPr>
            </a:lvl8pPr>
            <a:lvl9pPr marL="0" indent="0" algn="l">
              <a:lnSpc>
                <a:spcPct val="100000"/>
              </a:lnSpc>
              <a:spcBef>
                <a:spcPts val="0"/>
              </a:spcBef>
              <a:buFont typeface="Arial" panose="020B0604020202020204" pitchFamily="34" charset="0"/>
              <a:buNone/>
              <a:defRPr sz="1600" b="0">
                <a:latin typeface="+mn-lt"/>
              </a:defRPr>
            </a:lvl9pPr>
          </a:lstStyle>
          <a:p>
            <a:r>
              <a:rPr lang="en-GB" dirty="0"/>
              <a:t>Insert here your subtitle</a:t>
            </a:r>
          </a:p>
        </p:txBody>
      </p:sp>
      <p:sp>
        <p:nvSpPr>
          <p:cNvPr id="4" name="Rectangle 3">
            <a:extLst>
              <a:ext uri="{FF2B5EF4-FFF2-40B4-BE49-F238E27FC236}">
                <a16:creationId xmlns:a16="http://schemas.microsoft.com/office/drawing/2014/main" id="{AD6D4BF7-296F-B27F-357F-38B1C0FE13BE}"/>
              </a:ext>
            </a:extLst>
          </p:cNvPr>
          <p:cNvSpPr/>
          <p:nvPr userDrawn="1"/>
        </p:nvSpPr>
        <p:spPr>
          <a:xfrm>
            <a:off x="10776520" y="260648"/>
            <a:ext cx="216024" cy="6480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1600" dirty="0"/>
          </a:p>
        </p:txBody>
      </p:sp>
      <p:sp>
        <p:nvSpPr>
          <p:cNvPr id="7" name="Datumsplatzhalter 6">
            <a:extLst>
              <a:ext uri="{FF2B5EF4-FFF2-40B4-BE49-F238E27FC236}">
                <a16:creationId xmlns:a16="http://schemas.microsoft.com/office/drawing/2014/main" id="{D745BBC4-1CB9-3C1D-206C-D059E1D79A49}"/>
              </a:ext>
            </a:extLst>
          </p:cNvPr>
          <p:cNvSpPr>
            <a:spLocks noGrp="1"/>
          </p:cNvSpPr>
          <p:nvPr>
            <p:ph type="dt" sz="half" idx="19"/>
          </p:nvPr>
        </p:nvSpPr>
        <p:spPr/>
        <p:txBody>
          <a:bodyPr/>
          <a:lstStyle/>
          <a:p>
            <a:r>
              <a:rPr lang="en-US"/>
              <a:t>7/26/2022</a:t>
            </a:r>
            <a:endParaRPr lang="en-GB" dirty="0"/>
          </a:p>
        </p:txBody>
      </p:sp>
      <p:sp>
        <p:nvSpPr>
          <p:cNvPr id="8" name="Fußzeilenplatzhalter 7">
            <a:extLst>
              <a:ext uri="{FF2B5EF4-FFF2-40B4-BE49-F238E27FC236}">
                <a16:creationId xmlns:a16="http://schemas.microsoft.com/office/drawing/2014/main" id="{80D59D49-77F8-8DD4-1D71-65CB96A31D7E}"/>
              </a:ext>
            </a:extLst>
          </p:cNvPr>
          <p:cNvSpPr>
            <a:spLocks noGrp="1"/>
          </p:cNvSpPr>
          <p:nvPr>
            <p:ph type="ftr" sz="quarter" idx="20"/>
          </p:nvPr>
        </p:nvSpPr>
        <p:spPr/>
        <p:txBody>
          <a:bodyPr/>
          <a:lstStyle/>
          <a:p>
            <a:r>
              <a:rPr lang="de-DE"/>
              <a:t>Der Konsument nach Corona und Consumer Voice</a:t>
            </a:r>
            <a:endParaRPr lang="de-DE" dirty="0"/>
          </a:p>
        </p:txBody>
      </p:sp>
      <p:sp>
        <p:nvSpPr>
          <p:cNvPr id="9" name="Foliennummernplatzhalter 8">
            <a:extLst>
              <a:ext uri="{FF2B5EF4-FFF2-40B4-BE49-F238E27FC236}">
                <a16:creationId xmlns:a16="http://schemas.microsoft.com/office/drawing/2014/main" id="{11F5ACF8-DF45-17B4-55F4-84041F4699D8}"/>
              </a:ext>
            </a:extLst>
          </p:cNvPr>
          <p:cNvSpPr>
            <a:spLocks noGrp="1"/>
          </p:cNvSpPr>
          <p:nvPr>
            <p:ph type="sldNum" sz="quarter" idx="21"/>
          </p:nvPr>
        </p:nvSpPr>
        <p:spPr/>
        <p:txBody>
          <a:bodyPr/>
          <a:lstStyle/>
          <a:p>
            <a:fld id="{CAEA825B-D749-4F0A-886E-8D45A39EAF2A}" type="slidenum">
              <a:rPr lang="de-DE" smtClean="0"/>
              <a:pPr/>
              <a:t>‹Nº›</a:t>
            </a:fld>
            <a:endParaRPr lang="de-DE"/>
          </a:p>
        </p:txBody>
      </p:sp>
      <p:sp>
        <p:nvSpPr>
          <p:cNvPr id="10" name="Source">
            <a:extLst>
              <a:ext uri="{FF2B5EF4-FFF2-40B4-BE49-F238E27FC236}">
                <a16:creationId xmlns:a16="http://schemas.microsoft.com/office/drawing/2014/main" id="{5F96454B-26DF-90B8-E8D9-F72C06EFC33D}"/>
              </a:ext>
            </a:extLst>
          </p:cNvPr>
          <p:cNvSpPr>
            <a:spLocks noGrp="1"/>
          </p:cNvSpPr>
          <p:nvPr>
            <p:ph type="body" sz="quarter" idx="17"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spTree>
    <p:extLst>
      <p:ext uri="{BB962C8B-B14F-4D97-AF65-F5344CB8AC3E}">
        <p14:creationId xmlns:p14="http://schemas.microsoft.com/office/powerpoint/2010/main" val="71027270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2">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1BFF8FA-A18F-9580-D58B-3FE4C20FF69C}"/>
              </a:ext>
            </a:extLst>
          </p:cNvPr>
          <p:cNvGraphicFramePr>
            <a:graphicFrameLocks noChangeAspect="1"/>
          </p:cNvGraphicFramePr>
          <p:nvPr userDrawn="1">
            <p:custDataLst>
              <p:tags r:id="rId1"/>
            </p:custDataLst>
            <p:extLst>
              <p:ext uri="{D42A27DB-BD31-4B8C-83A1-F6EECF244321}">
                <p14:modId xmlns:p14="http://schemas.microsoft.com/office/powerpoint/2010/main" val="1834095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4" name="Objekt 3" hidden="1">
                        <a:extLst>
                          <a:ext uri="{FF2B5EF4-FFF2-40B4-BE49-F238E27FC236}">
                            <a16:creationId xmlns:a16="http://schemas.microsoft.com/office/drawing/2014/main" id="{11BFF8FA-A18F-9580-D58B-3FE4C20FF6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Number">
            <a:extLst>
              <a:ext uri="{FF2B5EF4-FFF2-40B4-BE49-F238E27FC236}">
                <a16:creationId xmlns:a16="http://schemas.microsoft.com/office/drawing/2014/main" id="{C1DC8AD9-CEFF-4205-B408-8C25EAC04844}"/>
              </a:ext>
            </a:extLst>
          </p:cNvPr>
          <p:cNvSpPr>
            <a:spLocks noGrp="1"/>
          </p:cNvSpPr>
          <p:nvPr>
            <p:ph type="body" sz="quarter" idx="17" hasCustomPrompt="1"/>
          </p:nvPr>
        </p:nvSpPr>
        <p:spPr bwMode="gray">
          <a:xfrm>
            <a:off x="335360" y="2061183"/>
            <a:ext cx="3456384" cy="2520000"/>
          </a:xfrm>
          <a:prstGeom prst="rect">
            <a:avLst/>
          </a:prstGeom>
        </p:spPr>
        <p:txBody>
          <a:bodyPr lIns="0" tIns="0" rIns="0" bIns="0" anchor="b" anchorCtr="0"/>
          <a:lstStyle>
            <a:lvl1pPr marL="0" indent="0" algn="r">
              <a:lnSpc>
                <a:spcPct val="100000"/>
              </a:lnSpc>
              <a:spcBef>
                <a:spcPts val="0"/>
              </a:spcBef>
              <a:buFont typeface="Arial" panose="020B0604020202020204" pitchFamily="34" charset="0"/>
              <a:buNone/>
              <a:defRPr sz="21200" baseline="0">
                <a:solidFill>
                  <a:srgbClr val="FFA52F"/>
                </a:solidFill>
                <a:latin typeface="+mn-lt"/>
              </a:defRPr>
            </a:lvl1pPr>
            <a:lvl2pPr marL="0" indent="0" algn="r">
              <a:lnSpc>
                <a:spcPct val="100000"/>
              </a:lnSpc>
              <a:spcBef>
                <a:spcPts val="0"/>
              </a:spcBef>
              <a:buFont typeface="Arial" panose="020B0604020202020204" pitchFamily="34" charset="0"/>
              <a:buNone/>
              <a:defRPr sz="21200">
                <a:solidFill>
                  <a:srgbClr val="FFA52F"/>
                </a:solidFill>
                <a:latin typeface="+mj-lt"/>
              </a:defRPr>
            </a:lvl2pPr>
            <a:lvl3pPr marL="0" indent="0" algn="r">
              <a:lnSpc>
                <a:spcPct val="100000"/>
              </a:lnSpc>
              <a:spcBef>
                <a:spcPts val="0"/>
              </a:spcBef>
              <a:buFont typeface="Arial" panose="020B0604020202020204" pitchFamily="34" charset="0"/>
              <a:buNone/>
              <a:defRPr sz="21200">
                <a:solidFill>
                  <a:srgbClr val="FFA52F"/>
                </a:solidFill>
                <a:latin typeface="+mj-lt"/>
              </a:defRPr>
            </a:lvl3pPr>
            <a:lvl4pPr marL="0" indent="0" algn="r">
              <a:lnSpc>
                <a:spcPct val="100000"/>
              </a:lnSpc>
              <a:spcBef>
                <a:spcPts val="0"/>
              </a:spcBef>
              <a:buFont typeface="Arial" panose="020B0604020202020204" pitchFamily="34" charset="0"/>
              <a:buNone/>
              <a:defRPr sz="21200">
                <a:solidFill>
                  <a:srgbClr val="FFA52F"/>
                </a:solidFill>
                <a:latin typeface="+mj-lt"/>
              </a:defRPr>
            </a:lvl4pPr>
            <a:lvl5pPr marL="0" indent="0" algn="r">
              <a:lnSpc>
                <a:spcPct val="100000"/>
              </a:lnSpc>
              <a:spcBef>
                <a:spcPts val="0"/>
              </a:spcBef>
              <a:buFont typeface="Arial" panose="020B0604020202020204" pitchFamily="34" charset="0"/>
              <a:buNone/>
              <a:defRPr sz="21200">
                <a:solidFill>
                  <a:srgbClr val="FFA52F"/>
                </a:solidFill>
                <a:latin typeface="+mj-lt"/>
              </a:defRPr>
            </a:lvl5pPr>
            <a:lvl6pPr marL="0" indent="0" algn="r">
              <a:lnSpc>
                <a:spcPct val="100000"/>
              </a:lnSpc>
              <a:spcBef>
                <a:spcPts val="0"/>
              </a:spcBef>
              <a:buNone/>
              <a:defRPr sz="21200">
                <a:solidFill>
                  <a:srgbClr val="FFA52F"/>
                </a:solidFill>
                <a:latin typeface="+mj-lt"/>
              </a:defRPr>
            </a:lvl6pPr>
            <a:lvl7pPr marL="0" indent="0" algn="r">
              <a:lnSpc>
                <a:spcPct val="100000"/>
              </a:lnSpc>
              <a:spcBef>
                <a:spcPts val="0"/>
              </a:spcBef>
              <a:buNone/>
              <a:defRPr sz="21200">
                <a:solidFill>
                  <a:srgbClr val="FFA52F"/>
                </a:solidFill>
                <a:latin typeface="+mj-lt"/>
              </a:defRPr>
            </a:lvl7pPr>
            <a:lvl8pPr marL="0" indent="0" algn="r">
              <a:lnSpc>
                <a:spcPct val="100000"/>
              </a:lnSpc>
              <a:spcBef>
                <a:spcPts val="0"/>
              </a:spcBef>
              <a:buNone/>
              <a:defRPr sz="21200">
                <a:solidFill>
                  <a:srgbClr val="FFA52F"/>
                </a:solidFill>
                <a:latin typeface="+mj-lt"/>
              </a:defRPr>
            </a:lvl8pPr>
            <a:lvl9pPr marL="0" indent="0" algn="r">
              <a:lnSpc>
                <a:spcPct val="100000"/>
              </a:lnSpc>
              <a:spcBef>
                <a:spcPts val="0"/>
              </a:spcBef>
              <a:buNone/>
              <a:defRPr sz="21200">
                <a:solidFill>
                  <a:srgbClr val="FFA52F"/>
                </a:solidFill>
                <a:latin typeface="+mj-lt"/>
              </a:defRPr>
            </a:lvl9pPr>
          </a:lstStyle>
          <a:p>
            <a:r>
              <a:rPr lang="en-GB" dirty="0"/>
              <a:t>00</a:t>
            </a:r>
          </a:p>
        </p:txBody>
      </p:sp>
      <p:sp>
        <p:nvSpPr>
          <p:cNvPr id="2" name="Title"/>
          <p:cNvSpPr>
            <a:spLocks noGrp="1"/>
          </p:cNvSpPr>
          <p:nvPr>
            <p:ph type="title" hasCustomPrompt="1"/>
          </p:nvPr>
        </p:nvSpPr>
        <p:spPr bwMode="gray">
          <a:xfrm>
            <a:off x="4943873" y="1989183"/>
            <a:ext cx="4608399" cy="1799857"/>
          </a:xfrm>
          <a:prstGeom prst="rect">
            <a:avLst/>
          </a:prstGeom>
        </p:spPr>
        <p:txBody>
          <a:bodyPr vert="horz" tIns="36000">
            <a:noAutofit/>
          </a:bodyPr>
          <a:lstStyle>
            <a:lvl1pPr>
              <a:lnSpc>
                <a:spcPct val="90000"/>
              </a:lnSpc>
              <a:defRPr sz="3000">
                <a:solidFill>
                  <a:schemeClr val="tx1"/>
                </a:solidFill>
              </a:defRPr>
            </a:lvl1pPr>
          </a:lstStyle>
          <a:p>
            <a:r>
              <a:rPr lang="en-GB" dirty="0"/>
              <a:t>Divider slide | Insert your headline in maximal 3 lines here</a:t>
            </a:r>
          </a:p>
        </p:txBody>
      </p:sp>
      <p:sp>
        <p:nvSpPr>
          <p:cNvPr id="11" name="Subtitle 2">
            <a:extLst>
              <a:ext uri="{FF2B5EF4-FFF2-40B4-BE49-F238E27FC236}">
                <a16:creationId xmlns:a16="http://schemas.microsoft.com/office/drawing/2014/main" id="{0C46297C-A90E-4725-9584-F26D2B59D3D8}"/>
              </a:ext>
            </a:extLst>
          </p:cNvPr>
          <p:cNvSpPr>
            <a:spLocks noGrp="1"/>
          </p:cNvSpPr>
          <p:nvPr>
            <p:ph type="subTitle" idx="1" hasCustomPrompt="1"/>
          </p:nvPr>
        </p:nvSpPr>
        <p:spPr bwMode="gray">
          <a:xfrm>
            <a:off x="4943872" y="3789040"/>
            <a:ext cx="4608399" cy="1152128"/>
          </a:xfrm>
          <a:prstGeom prst="rect">
            <a:avLst/>
          </a:prstGeom>
          <a:noFill/>
          <a:ln w="0">
            <a:noFill/>
          </a:ln>
        </p:spPr>
        <p:txBody>
          <a:bodyPr lIns="0" rIns="0"/>
          <a:lstStyle>
            <a:lvl1pPr marL="0" indent="0" algn="l">
              <a:lnSpc>
                <a:spcPct val="100000"/>
              </a:lnSpc>
              <a:spcBef>
                <a:spcPts val="0"/>
              </a:spcBef>
              <a:buFont typeface="Arial" panose="020B0604020202020204" pitchFamily="34" charset="0"/>
              <a:buNone/>
              <a:defRPr sz="2000" b="0">
                <a:latin typeface="+mn-lt"/>
              </a:defRPr>
            </a:lvl1pPr>
            <a:lvl2pPr marL="0" indent="0" algn="l">
              <a:lnSpc>
                <a:spcPct val="100000"/>
              </a:lnSpc>
              <a:spcBef>
                <a:spcPts val="0"/>
              </a:spcBef>
              <a:buFont typeface="Arial" panose="020B0604020202020204" pitchFamily="34" charset="0"/>
              <a:buNone/>
              <a:defRPr sz="2000" b="0">
                <a:latin typeface="+mn-lt"/>
              </a:defRPr>
            </a:lvl2pPr>
            <a:lvl3pPr marL="0" indent="0" algn="l">
              <a:lnSpc>
                <a:spcPct val="100000"/>
              </a:lnSpc>
              <a:spcBef>
                <a:spcPts val="0"/>
              </a:spcBef>
              <a:buFont typeface="Arial" panose="020B0604020202020204" pitchFamily="34" charset="0"/>
              <a:buNone/>
              <a:defRPr sz="2000" b="0">
                <a:latin typeface="+mn-lt"/>
              </a:defRPr>
            </a:lvl3pPr>
            <a:lvl4pPr marL="0" indent="0" algn="l">
              <a:lnSpc>
                <a:spcPct val="100000"/>
              </a:lnSpc>
              <a:spcBef>
                <a:spcPts val="0"/>
              </a:spcBef>
              <a:buFont typeface="Arial" panose="020B0604020202020204" pitchFamily="34" charset="0"/>
              <a:buNone/>
              <a:defRPr sz="2000" b="0">
                <a:latin typeface="+mn-lt"/>
              </a:defRPr>
            </a:lvl4pPr>
            <a:lvl5pPr marL="0" indent="0" algn="l">
              <a:lnSpc>
                <a:spcPct val="100000"/>
              </a:lnSpc>
              <a:spcBef>
                <a:spcPts val="0"/>
              </a:spcBef>
              <a:buFont typeface="Arial" panose="020B0604020202020204" pitchFamily="34" charset="0"/>
              <a:buNone/>
              <a:defRPr sz="2000" b="0">
                <a:latin typeface="+mn-lt"/>
              </a:defRPr>
            </a:lvl5pPr>
            <a:lvl6pPr marL="0" indent="0" algn="l">
              <a:lnSpc>
                <a:spcPct val="100000"/>
              </a:lnSpc>
              <a:spcBef>
                <a:spcPts val="0"/>
              </a:spcBef>
              <a:buFont typeface="Arial" panose="020B0604020202020204" pitchFamily="34" charset="0"/>
              <a:buNone/>
              <a:defRPr sz="2000" b="0">
                <a:latin typeface="+mn-lt"/>
              </a:defRPr>
            </a:lvl6pPr>
            <a:lvl7pPr marL="0" indent="0" algn="l">
              <a:lnSpc>
                <a:spcPct val="100000"/>
              </a:lnSpc>
              <a:spcBef>
                <a:spcPts val="0"/>
              </a:spcBef>
              <a:buFont typeface="Arial" panose="020B0604020202020204" pitchFamily="34" charset="0"/>
              <a:buNone/>
              <a:defRPr sz="2000" b="0">
                <a:latin typeface="+mn-lt"/>
              </a:defRPr>
            </a:lvl7pPr>
            <a:lvl8pPr marL="0" indent="0" algn="l">
              <a:lnSpc>
                <a:spcPct val="100000"/>
              </a:lnSpc>
              <a:spcBef>
                <a:spcPts val="0"/>
              </a:spcBef>
              <a:buFont typeface="Arial" panose="020B0604020202020204" pitchFamily="34" charset="0"/>
              <a:buNone/>
              <a:defRPr sz="2000" b="0">
                <a:latin typeface="+mn-lt"/>
              </a:defRPr>
            </a:lvl8pPr>
            <a:lvl9pPr marL="0" indent="0" algn="l">
              <a:lnSpc>
                <a:spcPct val="100000"/>
              </a:lnSpc>
              <a:spcBef>
                <a:spcPts val="0"/>
              </a:spcBef>
              <a:buFont typeface="Arial" panose="020B0604020202020204" pitchFamily="34" charset="0"/>
              <a:buNone/>
              <a:defRPr sz="2000" b="0">
                <a:latin typeface="+mn-lt"/>
              </a:defRPr>
            </a:lvl9pPr>
          </a:lstStyle>
          <a:p>
            <a:r>
              <a:rPr lang="en-GB" dirty="0"/>
              <a:t>Insert here your subtitle</a:t>
            </a:r>
          </a:p>
        </p:txBody>
      </p:sp>
      <p:sp>
        <p:nvSpPr>
          <p:cNvPr id="8" name="Datumsplatzhalter 7">
            <a:extLst>
              <a:ext uri="{FF2B5EF4-FFF2-40B4-BE49-F238E27FC236}">
                <a16:creationId xmlns:a16="http://schemas.microsoft.com/office/drawing/2014/main" id="{B35B64EF-C464-2157-7A10-5183D202FF41}"/>
              </a:ext>
            </a:extLst>
          </p:cNvPr>
          <p:cNvSpPr>
            <a:spLocks noGrp="1"/>
          </p:cNvSpPr>
          <p:nvPr>
            <p:ph type="dt" sz="half" idx="18"/>
          </p:nvPr>
        </p:nvSpPr>
        <p:spPr/>
        <p:txBody>
          <a:bodyPr/>
          <a:lstStyle/>
          <a:p>
            <a:r>
              <a:rPr lang="en-US"/>
              <a:t>7/26/2022</a:t>
            </a:r>
            <a:endParaRPr lang="en-GB" dirty="0"/>
          </a:p>
        </p:txBody>
      </p:sp>
      <p:sp>
        <p:nvSpPr>
          <p:cNvPr id="9" name="Fußzeilenplatzhalter 8">
            <a:extLst>
              <a:ext uri="{FF2B5EF4-FFF2-40B4-BE49-F238E27FC236}">
                <a16:creationId xmlns:a16="http://schemas.microsoft.com/office/drawing/2014/main" id="{8649D5F2-BE4D-5D0E-A920-FC826A2EB0DF}"/>
              </a:ext>
            </a:extLst>
          </p:cNvPr>
          <p:cNvSpPr>
            <a:spLocks noGrp="1"/>
          </p:cNvSpPr>
          <p:nvPr>
            <p:ph type="ftr" sz="quarter" idx="19"/>
          </p:nvPr>
        </p:nvSpPr>
        <p:spPr/>
        <p:txBody>
          <a:bodyPr/>
          <a:lstStyle/>
          <a:p>
            <a:r>
              <a:rPr lang="de-DE"/>
              <a:t>Der Konsument nach Corona und Consumer Voice</a:t>
            </a:r>
            <a:endParaRPr lang="de-DE" dirty="0"/>
          </a:p>
        </p:txBody>
      </p:sp>
      <p:sp>
        <p:nvSpPr>
          <p:cNvPr id="10" name="Foliennummernplatzhalter 9">
            <a:extLst>
              <a:ext uri="{FF2B5EF4-FFF2-40B4-BE49-F238E27FC236}">
                <a16:creationId xmlns:a16="http://schemas.microsoft.com/office/drawing/2014/main" id="{421FDD87-1897-DA0B-C157-6576BD887381}"/>
              </a:ext>
            </a:extLst>
          </p:cNvPr>
          <p:cNvSpPr>
            <a:spLocks noGrp="1"/>
          </p:cNvSpPr>
          <p:nvPr>
            <p:ph type="sldNum" sz="quarter" idx="20"/>
          </p:nvPr>
        </p:nvSpPr>
        <p:spPr/>
        <p:txBody>
          <a:bodyPr/>
          <a:lstStyle/>
          <a:p>
            <a:fld id="{CAEA825B-D749-4F0A-886E-8D45A39EAF2A}" type="slidenum">
              <a:rPr lang="de-DE" smtClean="0"/>
              <a:pPr/>
              <a:t>‹Nº›</a:t>
            </a:fld>
            <a:endParaRPr lang="de-DE"/>
          </a:p>
        </p:txBody>
      </p:sp>
      <p:sp>
        <p:nvSpPr>
          <p:cNvPr id="13" name="Source">
            <a:extLst>
              <a:ext uri="{FF2B5EF4-FFF2-40B4-BE49-F238E27FC236}">
                <a16:creationId xmlns:a16="http://schemas.microsoft.com/office/drawing/2014/main" id="{4AF82995-E843-5480-A780-9372491B1EE2}"/>
              </a:ext>
            </a:extLst>
          </p:cNvPr>
          <p:cNvSpPr>
            <a:spLocks noGrp="1"/>
          </p:cNvSpPr>
          <p:nvPr>
            <p:ph type="body" sz="quarter" idx="21"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spTree>
    <p:extLst>
      <p:ext uri="{BB962C8B-B14F-4D97-AF65-F5344CB8AC3E}">
        <p14:creationId xmlns:p14="http://schemas.microsoft.com/office/powerpoint/2010/main" val="2538953196"/>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2 | Magenta">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82FAFB2-3E83-5B92-527C-582554BD0731}"/>
              </a:ext>
            </a:extLst>
          </p:cNvPr>
          <p:cNvGraphicFramePr>
            <a:graphicFrameLocks noChangeAspect="1"/>
          </p:cNvGraphicFramePr>
          <p:nvPr userDrawn="1">
            <p:custDataLst>
              <p:tags r:id="rId1"/>
            </p:custDataLst>
            <p:extLst>
              <p:ext uri="{D42A27DB-BD31-4B8C-83A1-F6EECF244321}">
                <p14:modId xmlns:p14="http://schemas.microsoft.com/office/powerpoint/2010/main" val="879836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4" name="Objekt 3" hidden="1">
                        <a:extLst>
                          <a:ext uri="{FF2B5EF4-FFF2-40B4-BE49-F238E27FC236}">
                            <a16:creationId xmlns:a16="http://schemas.microsoft.com/office/drawing/2014/main" id="{082FAFB2-3E83-5B92-527C-582554BD07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Number">
            <a:extLst>
              <a:ext uri="{FF2B5EF4-FFF2-40B4-BE49-F238E27FC236}">
                <a16:creationId xmlns:a16="http://schemas.microsoft.com/office/drawing/2014/main" id="{E157F135-E4AF-4A4C-8F59-A56C717EB5EA}"/>
              </a:ext>
            </a:extLst>
          </p:cNvPr>
          <p:cNvSpPr>
            <a:spLocks noGrp="1"/>
          </p:cNvSpPr>
          <p:nvPr>
            <p:ph type="body" sz="quarter" idx="17" hasCustomPrompt="1"/>
          </p:nvPr>
        </p:nvSpPr>
        <p:spPr bwMode="gray">
          <a:xfrm>
            <a:off x="335360" y="2061183"/>
            <a:ext cx="3456384" cy="2520000"/>
          </a:xfrm>
          <a:prstGeom prst="rect">
            <a:avLst/>
          </a:prstGeom>
        </p:spPr>
        <p:txBody>
          <a:bodyPr lIns="0" tIns="0" rIns="0" bIns="0" anchor="b" anchorCtr="0"/>
          <a:lstStyle>
            <a:lvl1pPr marL="0" indent="0" algn="r">
              <a:lnSpc>
                <a:spcPct val="100000"/>
              </a:lnSpc>
              <a:spcBef>
                <a:spcPts val="0"/>
              </a:spcBef>
              <a:buFont typeface="Arial" panose="020B0604020202020204" pitchFamily="34" charset="0"/>
              <a:buNone/>
              <a:defRPr sz="21200" baseline="0">
                <a:solidFill>
                  <a:srgbClr val="D2335F"/>
                </a:solidFill>
                <a:latin typeface="+mn-lt"/>
              </a:defRPr>
            </a:lvl1pPr>
            <a:lvl2pPr marL="0" indent="0" algn="r">
              <a:lnSpc>
                <a:spcPct val="100000"/>
              </a:lnSpc>
              <a:spcBef>
                <a:spcPts val="0"/>
              </a:spcBef>
              <a:buFont typeface="Arial" panose="020B0604020202020204" pitchFamily="34" charset="0"/>
              <a:buNone/>
              <a:defRPr sz="21200">
                <a:solidFill>
                  <a:srgbClr val="D2335F"/>
                </a:solidFill>
                <a:latin typeface="+mj-lt"/>
              </a:defRPr>
            </a:lvl2pPr>
            <a:lvl3pPr marL="0" indent="0" algn="r">
              <a:lnSpc>
                <a:spcPct val="100000"/>
              </a:lnSpc>
              <a:spcBef>
                <a:spcPts val="0"/>
              </a:spcBef>
              <a:buFont typeface="Arial" panose="020B0604020202020204" pitchFamily="34" charset="0"/>
              <a:buNone/>
              <a:defRPr sz="21200">
                <a:solidFill>
                  <a:srgbClr val="D2335F"/>
                </a:solidFill>
                <a:latin typeface="+mj-lt"/>
              </a:defRPr>
            </a:lvl3pPr>
            <a:lvl4pPr marL="0" indent="0" algn="r">
              <a:lnSpc>
                <a:spcPct val="100000"/>
              </a:lnSpc>
              <a:spcBef>
                <a:spcPts val="0"/>
              </a:spcBef>
              <a:buFont typeface="Arial" panose="020B0604020202020204" pitchFamily="34" charset="0"/>
              <a:buNone/>
              <a:defRPr sz="21200">
                <a:solidFill>
                  <a:srgbClr val="D2335F"/>
                </a:solidFill>
                <a:latin typeface="+mj-lt"/>
              </a:defRPr>
            </a:lvl4pPr>
            <a:lvl5pPr marL="0" indent="0" algn="r">
              <a:lnSpc>
                <a:spcPct val="100000"/>
              </a:lnSpc>
              <a:spcBef>
                <a:spcPts val="0"/>
              </a:spcBef>
              <a:buFont typeface="Arial" panose="020B0604020202020204" pitchFamily="34" charset="0"/>
              <a:buNone/>
              <a:defRPr sz="21200">
                <a:solidFill>
                  <a:srgbClr val="D2335F"/>
                </a:solidFill>
                <a:latin typeface="+mj-lt"/>
              </a:defRPr>
            </a:lvl5pPr>
            <a:lvl6pPr marL="0" indent="0" algn="r">
              <a:lnSpc>
                <a:spcPct val="100000"/>
              </a:lnSpc>
              <a:spcBef>
                <a:spcPts val="0"/>
              </a:spcBef>
              <a:buNone/>
              <a:defRPr sz="21200">
                <a:solidFill>
                  <a:srgbClr val="D2335F"/>
                </a:solidFill>
                <a:latin typeface="+mj-lt"/>
              </a:defRPr>
            </a:lvl6pPr>
            <a:lvl7pPr marL="0" indent="0" algn="r">
              <a:lnSpc>
                <a:spcPct val="100000"/>
              </a:lnSpc>
              <a:spcBef>
                <a:spcPts val="0"/>
              </a:spcBef>
              <a:buNone/>
              <a:defRPr sz="21200">
                <a:solidFill>
                  <a:srgbClr val="D2335F"/>
                </a:solidFill>
                <a:latin typeface="+mj-lt"/>
              </a:defRPr>
            </a:lvl7pPr>
            <a:lvl8pPr marL="0" indent="0" algn="r">
              <a:lnSpc>
                <a:spcPct val="100000"/>
              </a:lnSpc>
              <a:spcBef>
                <a:spcPts val="0"/>
              </a:spcBef>
              <a:buNone/>
              <a:defRPr sz="21200">
                <a:solidFill>
                  <a:srgbClr val="D2335F"/>
                </a:solidFill>
                <a:latin typeface="+mj-lt"/>
              </a:defRPr>
            </a:lvl8pPr>
            <a:lvl9pPr marL="0" indent="0" algn="r">
              <a:lnSpc>
                <a:spcPct val="100000"/>
              </a:lnSpc>
              <a:spcBef>
                <a:spcPts val="0"/>
              </a:spcBef>
              <a:buNone/>
              <a:defRPr sz="21200">
                <a:solidFill>
                  <a:srgbClr val="D2335F"/>
                </a:solidFill>
                <a:latin typeface="+mj-lt"/>
              </a:defRPr>
            </a:lvl9pPr>
          </a:lstStyle>
          <a:p>
            <a:r>
              <a:rPr lang="en-GB" dirty="0"/>
              <a:t>00</a:t>
            </a:r>
          </a:p>
        </p:txBody>
      </p:sp>
      <p:sp>
        <p:nvSpPr>
          <p:cNvPr id="2" name="Title"/>
          <p:cNvSpPr>
            <a:spLocks noGrp="1"/>
          </p:cNvSpPr>
          <p:nvPr>
            <p:ph type="title" hasCustomPrompt="1"/>
          </p:nvPr>
        </p:nvSpPr>
        <p:spPr bwMode="gray">
          <a:xfrm>
            <a:off x="4943874" y="1989183"/>
            <a:ext cx="4608511" cy="1799857"/>
          </a:xfrm>
          <a:prstGeom prst="rect">
            <a:avLst/>
          </a:prstGeom>
        </p:spPr>
        <p:txBody>
          <a:bodyPr vert="horz" tIns="36000">
            <a:noAutofit/>
          </a:bodyPr>
          <a:lstStyle>
            <a:lvl1pPr>
              <a:lnSpc>
                <a:spcPct val="90000"/>
              </a:lnSpc>
              <a:defRPr sz="3000">
                <a:solidFill>
                  <a:schemeClr val="tx1"/>
                </a:solidFill>
              </a:defRPr>
            </a:lvl1pPr>
          </a:lstStyle>
          <a:p>
            <a:r>
              <a:rPr lang="en-GB" dirty="0"/>
              <a:t>Divider slide | Insert your headline in maximal 3 lines here</a:t>
            </a:r>
          </a:p>
        </p:txBody>
      </p:sp>
      <p:sp>
        <p:nvSpPr>
          <p:cNvPr id="11" name="Subtitle 2">
            <a:extLst>
              <a:ext uri="{FF2B5EF4-FFF2-40B4-BE49-F238E27FC236}">
                <a16:creationId xmlns:a16="http://schemas.microsoft.com/office/drawing/2014/main" id="{0C46297C-A90E-4725-9584-F26D2B59D3D8}"/>
              </a:ext>
            </a:extLst>
          </p:cNvPr>
          <p:cNvSpPr>
            <a:spLocks noGrp="1"/>
          </p:cNvSpPr>
          <p:nvPr>
            <p:ph type="subTitle" idx="1" hasCustomPrompt="1"/>
          </p:nvPr>
        </p:nvSpPr>
        <p:spPr bwMode="gray">
          <a:xfrm>
            <a:off x="4943873" y="3789040"/>
            <a:ext cx="4608511" cy="1152128"/>
          </a:xfrm>
          <a:prstGeom prst="rect">
            <a:avLst/>
          </a:prstGeom>
          <a:noFill/>
          <a:ln w="0">
            <a:noFill/>
          </a:ln>
        </p:spPr>
        <p:txBody>
          <a:bodyPr lIns="0" rIns="0"/>
          <a:lstStyle>
            <a:lvl1pPr marL="0" indent="0" algn="l">
              <a:lnSpc>
                <a:spcPct val="100000"/>
              </a:lnSpc>
              <a:spcBef>
                <a:spcPts val="0"/>
              </a:spcBef>
              <a:buFont typeface="Arial" panose="020B0604020202020204" pitchFamily="34" charset="0"/>
              <a:buNone/>
              <a:defRPr sz="2000" b="0">
                <a:latin typeface="+mn-lt"/>
              </a:defRPr>
            </a:lvl1pPr>
            <a:lvl2pPr marL="0" indent="0" algn="l">
              <a:lnSpc>
                <a:spcPct val="100000"/>
              </a:lnSpc>
              <a:spcBef>
                <a:spcPts val="0"/>
              </a:spcBef>
              <a:buFont typeface="Arial" panose="020B0604020202020204" pitchFamily="34" charset="0"/>
              <a:buNone/>
              <a:defRPr sz="2000" b="0">
                <a:latin typeface="+mn-lt"/>
              </a:defRPr>
            </a:lvl2pPr>
            <a:lvl3pPr marL="0" indent="0" algn="l">
              <a:lnSpc>
                <a:spcPct val="100000"/>
              </a:lnSpc>
              <a:spcBef>
                <a:spcPts val="0"/>
              </a:spcBef>
              <a:buFont typeface="Arial" panose="020B0604020202020204" pitchFamily="34" charset="0"/>
              <a:buNone/>
              <a:defRPr sz="2000" b="0">
                <a:latin typeface="+mn-lt"/>
              </a:defRPr>
            </a:lvl3pPr>
            <a:lvl4pPr marL="0" indent="0" algn="l">
              <a:lnSpc>
                <a:spcPct val="100000"/>
              </a:lnSpc>
              <a:spcBef>
                <a:spcPts val="0"/>
              </a:spcBef>
              <a:buFont typeface="Arial" panose="020B0604020202020204" pitchFamily="34" charset="0"/>
              <a:buNone/>
              <a:defRPr sz="2000" b="0">
                <a:latin typeface="+mn-lt"/>
              </a:defRPr>
            </a:lvl4pPr>
            <a:lvl5pPr marL="0" indent="0" algn="l">
              <a:lnSpc>
                <a:spcPct val="100000"/>
              </a:lnSpc>
              <a:spcBef>
                <a:spcPts val="0"/>
              </a:spcBef>
              <a:buFont typeface="Arial" panose="020B0604020202020204" pitchFamily="34" charset="0"/>
              <a:buNone/>
              <a:defRPr sz="2000" b="0">
                <a:latin typeface="+mn-lt"/>
              </a:defRPr>
            </a:lvl5pPr>
            <a:lvl6pPr marL="0" indent="0" algn="l">
              <a:lnSpc>
                <a:spcPct val="100000"/>
              </a:lnSpc>
              <a:spcBef>
                <a:spcPts val="0"/>
              </a:spcBef>
              <a:buFont typeface="Arial" panose="020B0604020202020204" pitchFamily="34" charset="0"/>
              <a:buNone/>
              <a:defRPr sz="2000" b="0">
                <a:latin typeface="+mn-lt"/>
              </a:defRPr>
            </a:lvl6pPr>
            <a:lvl7pPr marL="0" indent="0" algn="l">
              <a:lnSpc>
                <a:spcPct val="100000"/>
              </a:lnSpc>
              <a:spcBef>
                <a:spcPts val="0"/>
              </a:spcBef>
              <a:buFont typeface="Arial" panose="020B0604020202020204" pitchFamily="34" charset="0"/>
              <a:buNone/>
              <a:defRPr sz="2000" b="0">
                <a:latin typeface="+mn-lt"/>
              </a:defRPr>
            </a:lvl7pPr>
            <a:lvl8pPr marL="0" indent="0" algn="l">
              <a:lnSpc>
                <a:spcPct val="100000"/>
              </a:lnSpc>
              <a:spcBef>
                <a:spcPts val="0"/>
              </a:spcBef>
              <a:buFont typeface="Arial" panose="020B0604020202020204" pitchFamily="34" charset="0"/>
              <a:buNone/>
              <a:defRPr sz="2000" b="0">
                <a:latin typeface="+mn-lt"/>
              </a:defRPr>
            </a:lvl8pPr>
            <a:lvl9pPr marL="0" indent="0" algn="l">
              <a:lnSpc>
                <a:spcPct val="100000"/>
              </a:lnSpc>
              <a:spcBef>
                <a:spcPts val="0"/>
              </a:spcBef>
              <a:buFont typeface="Arial" panose="020B0604020202020204" pitchFamily="34" charset="0"/>
              <a:buNone/>
              <a:defRPr sz="2000" b="0">
                <a:latin typeface="+mn-lt"/>
              </a:defRPr>
            </a:lvl9pPr>
          </a:lstStyle>
          <a:p>
            <a:r>
              <a:rPr lang="en-GB" dirty="0"/>
              <a:t>Insert here your subtitle</a:t>
            </a:r>
          </a:p>
        </p:txBody>
      </p:sp>
      <p:sp>
        <p:nvSpPr>
          <p:cNvPr id="7" name="Datumsplatzhalter 6">
            <a:extLst>
              <a:ext uri="{FF2B5EF4-FFF2-40B4-BE49-F238E27FC236}">
                <a16:creationId xmlns:a16="http://schemas.microsoft.com/office/drawing/2014/main" id="{D9970168-D029-D3E0-46DE-74970B8F7DA6}"/>
              </a:ext>
            </a:extLst>
          </p:cNvPr>
          <p:cNvSpPr>
            <a:spLocks noGrp="1"/>
          </p:cNvSpPr>
          <p:nvPr>
            <p:ph type="dt" sz="half" idx="18"/>
          </p:nvPr>
        </p:nvSpPr>
        <p:spPr/>
        <p:txBody>
          <a:bodyPr/>
          <a:lstStyle/>
          <a:p>
            <a:r>
              <a:rPr lang="en-US"/>
              <a:t>7/26/2022</a:t>
            </a:r>
            <a:endParaRPr lang="en-GB" dirty="0"/>
          </a:p>
        </p:txBody>
      </p:sp>
      <p:sp>
        <p:nvSpPr>
          <p:cNvPr id="10" name="Fußzeilenplatzhalter 9">
            <a:extLst>
              <a:ext uri="{FF2B5EF4-FFF2-40B4-BE49-F238E27FC236}">
                <a16:creationId xmlns:a16="http://schemas.microsoft.com/office/drawing/2014/main" id="{9CCA1195-594E-5CAF-16EF-F4CAEE2BA81E}"/>
              </a:ext>
            </a:extLst>
          </p:cNvPr>
          <p:cNvSpPr>
            <a:spLocks noGrp="1"/>
          </p:cNvSpPr>
          <p:nvPr>
            <p:ph type="ftr" sz="quarter" idx="19"/>
          </p:nvPr>
        </p:nvSpPr>
        <p:spPr/>
        <p:txBody>
          <a:bodyPr/>
          <a:lstStyle/>
          <a:p>
            <a:r>
              <a:rPr lang="de-DE"/>
              <a:t>Der Konsument nach Corona und Consumer Voice</a:t>
            </a:r>
            <a:endParaRPr lang="de-DE" dirty="0"/>
          </a:p>
        </p:txBody>
      </p:sp>
      <p:sp>
        <p:nvSpPr>
          <p:cNvPr id="12" name="Foliennummernplatzhalter 11">
            <a:extLst>
              <a:ext uri="{FF2B5EF4-FFF2-40B4-BE49-F238E27FC236}">
                <a16:creationId xmlns:a16="http://schemas.microsoft.com/office/drawing/2014/main" id="{35FB83E2-E9A7-F446-3EB6-5DEFCC48CFD8}"/>
              </a:ext>
            </a:extLst>
          </p:cNvPr>
          <p:cNvSpPr>
            <a:spLocks noGrp="1"/>
          </p:cNvSpPr>
          <p:nvPr>
            <p:ph type="sldNum" sz="quarter" idx="20"/>
          </p:nvPr>
        </p:nvSpPr>
        <p:spPr/>
        <p:txBody>
          <a:bodyPr/>
          <a:lstStyle/>
          <a:p>
            <a:fld id="{CAEA825B-D749-4F0A-886E-8D45A39EAF2A}" type="slidenum">
              <a:rPr lang="de-DE" smtClean="0"/>
              <a:pPr/>
              <a:t>‹Nº›</a:t>
            </a:fld>
            <a:endParaRPr lang="de-DE"/>
          </a:p>
        </p:txBody>
      </p:sp>
      <p:sp>
        <p:nvSpPr>
          <p:cNvPr id="13" name="Source">
            <a:extLst>
              <a:ext uri="{FF2B5EF4-FFF2-40B4-BE49-F238E27FC236}">
                <a16:creationId xmlns:a16="http://schemas.microsoft.com/office/drawing/2014/main" id="{932B6B84-5746-8CF8-67C6-8D4F3F354A9B}"/>
              </a:ext>
            </a:extLst>
          </p:cNvPr>
          <p:cNvSpPr>
            <a:spLocks noGrp="1"/>
          </p:cNvSpPr>
          <p:nvPr>
            <p:ph type="body" sz="quarter" idx="21"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spTree>
    <p:extLst>
      <p:ext uri="{BB962C8B-B14F-4D97-AF65-F5344CB8AC3E}">
        <p14:creationId xmlns:p14="http://schemas.microsoft.com/office/powerpoint/2010/main" val="1088831128"/>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2 | Purple">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8E556B3-7549-C502-A3E2-FD4944AEF77E}"/>
              </a:ext>
            </a:extLst>
          </p:cNvPr>
          <p:cNvGraphicFramePr>
            <a:graphicFrameLocks noChangeAspect="1"/>
          </p:cNvGraphicFramePr>
          <p:nvPr userDrawn="1">
            <p:custDataLst>
              <p:tags r:id="rId1"/>
            </p:custDataLst>
            <p:extLst>
              <p:ext uri="{D42A27DB-BD31-4B8C-83A1-F6EECF244321}">
                <p14:modId xmlns:p14="http://schemas.microsoft.com/office/powerpoint/2010/main" val="1178368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5" name="Objekt 4" hidden="1">
                        <a:extLst>
                          <a:ext uri="{FF2B5EF4-FFF2-40B4-BE49-F238E27FC236}">
                            <a16:creationId xmlns:a16="http://schemas.microsoft.com/office/drawing/2014/main" id="{28E556B3-7549-C502-A3E2-FD4944AEF7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Number">
            <a:extLst>
              <a:ext uri="{FF2B5EF4-FFF2-40B4-BE49-F238E27FC236}">
                <a16:creationId xmlns:a16="http://schemas.microsoft.com/office/drawing/2014/main" id="{F1BA0A68-4136-44D7-9E13-FF5DFC551BD7}"/>
              </a:ext>
            </a:extLst>
          </p:cNvPr>
          <p:cNvSpPr>
            <a:spLocks noGrp="1"/>
          </p:cNvSpPr>
          <p:nvPr>
            <p:ph type="body" sz="quarter" idx="17" hasCustomPrompt="1"/>
          </p:nvPr>
        </p:nvSpPr>
        <p:spPr bwMode="gray">
          <a:xfrm>
            <a:off x="335360" y="2061183"/>
            <a:ext cx="3456384" cy="2520000"/>
          </a:xfrm>
          <a:prstGeom prst="rect">
            <a:avLst/>
          </a:prstGeom>
        </p:spPr>
        <p:txBody>
          <a:bodyPr lIns="0" tIns="0" rIns="0" bIns="0" anchor="b" anchorCtr="0"/>
          <a:lstStyle>
            <a:lvl1pPr marL="0" indent="0" algn="r">
              <a:lnSpc>
                <a:spcPct val="100000"/>
              </a:lnSpc>
              <a:spcBef>
                <a:spcPts val="0"/>
              </a:spcBef>
              <a:buFont typeface="Arial" panose="020B0604020202020204" pitchFamily="34" charset="0"/>
              <a:buNone/>
              <a:defRPr sz="21200" baseline="0">
                <a:solidFill>
                  <a:srgbClr val="7B4DB3"/>
                </a:solidFill>
                <a:latin typeface="+mn-lt"/>
              </a:defRPr>
            </a:lvl1pPr>
            <a:lvl2pPr marL="0" indent="0" algn="r">
              <a:lnSpc>
                <a:spcPct val="100000"/>
              </a:lnSpc>
              <a:spcBef>
                <a:spcPts val="0"/>
              </a:spcBef>
              <a:buFont typeface="Arial" panose="020B0604020202020204" pitchFamily="34" charset="0"/>
              <a:buNone/>
              <a:defRPr sz="21200">
                <a:solidFill>
                  <a:srgbClr val="7B4DB3"/>
                </a:solidFill>
                <a:latin typeface="+mj-lt"/>
              </a:defRPr>
            </a:lvl2pPr>
            <a:lvl3pPr marL="0" indent="0" algn="r">
              <a:lnSpc>
                <a:spcPct val="100000"/>
              </a:lnSpc>
              <a:spcBef>
                <a:spcPts val="0"/>
              </a:spcBef>
              <a:buFont typeface="Arial" panose="020B0604020202020204" pitchFamily="34" charset="0"/>
              <a:buNone/>
              <a:defRPr sz="21200">
                <a:solidFill>
                  <a:srgbClr val="7B4DB3"/>
                </a:solidFill>
                <a:latin typeface="+mj-lt"/>
              </a:defRPr>
            </a:lvl3pPr>
            <a:lvl4pPr marL="0" indent="0" algn="r">
              <a:lnSpc>
                <a:spcPct val="100000"/>
              </a:lnSpc>
              <a:spcBef>
                <a:spcPts val="0"/>
              </a:spcBef>
              <a:buFont typeface="Arial" panose="020B0604020202020204" pitchFamily="34" charset="0"/>
              <a:buNone/>
              <a:defRPr sz="21200">
                <a:solidFill>
                  <a:srgbClr val="7B4DB3"/>
                </a:solidFill>
                <a:latin typeface="+mj-lt"/>
              </a:defRPr>
            </a:lvl4pPr>
            <a:lvl5pPr marL="0" indent="0" algn="r">
              <a:lnSpc>
                <a:spcPct val="100000"/>
              </a:lnSpc>
              <a:spcBef>
                <a:spcPts val="0"/>
              </a:spcBef>
              <a:buFont typeface="Arial" panose="020B0604020202020204" pitchFamily="34" charset="0"/>
              <a:buNone/>
              <a:defRPr sz="21200">
                <a:solidFill>
                  <a:srgbClr val="7B4DB3"/>
                </a:solidFill>
                <a:latin typeface="+mj-lt"/>
              </a:defRPr>
            </a:lvl5pPr>
            <a:lvl6pPr marL="0" indent="0" algn="r">
              <a:lnSpc>
                <a:spcPct val="100000"/>
              </a:lnSpc>
              <a:spcBef>
                <a:spcPts val="0"/>
              </a:spcBef>
              <a:buNone/>
              <a:defRPr sz="21200">
                <a:solidFill>
                  <a:srgbClr val="7B4DB3"/>
                </a:solidFill>
                <a:latin typeface="+mj-lt"/>
              </a:defRPr>
            </a:lvl6pPr>
            <a:lvl7pPr marL="0" indent="0" algn="r">
              <a:lnSpc>
                <a:spcPct val="100000"/>
              </a:lnSpc>
              <a:spcBef>
                <a:spcPts val="0"/>
              </a:spcBef>
              <a:buNone/>
              <a:defRPr sz="21200">
                <a:solidFill>
                  <a:srgbClr val="7B4DB3"/>
                </a:solidFill>
                <a:latin typeface="+mj-lt"/>
              </a:defRPr>
            </a:lvl7pPr>
            <a:lvl8pPr marL="0" indent="0" algn="r">
              <a:lnSpc>
                <a:spcPct val="100000"/>
              </a:lnSpc>
              <a:spcBef>
                <a:spcPts val="0"/>
              </a:spcBef>
              <a:buNone/>
              <a:defRPr sz="21200">
                <a:solidFill>
                  <a:srgbClr val="7B4DB3"/>
                </a:solidFill>
                <a:latin typeface="+mj-lt"/>
              </a:defRPr>
            </a:lvl8pPr>
            <a:lvl9pPr marL="0" indent="0" algn="r">
              <a:lnSpc>
                <a:spcPct val="100000"/>
              </a:lnSpc>
              <a:spcBef>
                <a:spcPts val="0"/>
              </a:spcBef>
              <a:buNone/>
              <a:defRPr sz="21200">
                <a:solidFill>
                  <a:srgbClr val="7B4DB3"/>
                </a:solidFill>
                <a:latin typeface="+mj-lt"/>
              </a:defRPr>
            </a:lvl9pPr>
          </a:lstStyle>
          <a:p>
            <a:r>
              <a:rPr lang="en-GB" dirty="0"/>
              <a:t>00</a:t>
            </a:r>
          </a:p>
        </p:txBody>
      </p:sp>
      <p:sp>
        <p:nvSpPr>
          <p:cNvPr id="2" name="Title"/>
          <p:cNvSpPr>
            <a:spLocks noGrp="1"/>
          </p:cNvSpPr>
          <p:nvPr>
            <p:ph type="title" hasCustomPrompt="1"/>
          </p:nvPr>
        </p:nvSpPr>
        <p:spPr bwMode="gray">
          <a:xfrm>
            <a:off x="4943874" y="1989183"/>
            <a:ext cx="4608510" cy="1799857"/>
          </a:xfrm>
          <a:prstGeom prst="rect">
            <a:avLst/>
          </a:prstGeom>
        </p:spPr>
        <p:txBody>
          <a:bodyPr vert="horz" tIns="36000">
            <a:noAutofit/>
          </a:bodyPr>
          <a:lstStyle>
            <a:lvl1pPr>
              <a:lnSpc>
                <a:spcPct val="90000"/>
              </a:lnSpc>
              <a:defRPr sz="3000">
                <a:solidFill>
                  <a:schemeClr val="tx1"/>
                </a:solidFill>
              </a:defRPr>
            </a:lvl1pPr>
          </a:lstStyle>
          <a:p>
            <a:r>
              <a:rPr lang="en-GB" dirty="0"/>
              <a:t>Divider slide | Insert your headline in maximal 3 lines here</a:t>
            </a:r>
          </a:p>
        </p:txBody>
      </p:sp>
      <p:sp>
        <p:nvSpPr>
          <p:cNvPr id="11" name="Subtitle 2">
            <a:extLst>
              <a:ext uri="{FF2B5EF4-FFF2-40B4-BE49-F238E27FC236}">
                <a16:creationId xmlns:a16="http://schemas.microsoft.com/office/drawing/2014/main" id="{0C46297C-A90E-4725-9584-F26D2B59D3D8}"/>
              </a:ext>
            </a:extLst>
          </p:cNvPr>
          <p:cNvSpPr>
            <a:spLocks noGrp="1"/>
          </p:cNvSpPr>
          <p:nvPr>
            <p:ph type="subTitle" idx="1" hasCustomPrompt="1"/>
          </p:nvPr>
        </p:nvSpPr>
        <p:spPr bwMode="gray">
          <a:xfrm>
            <a:off x="4943873" y="3789040"/>
            <a:ext cx="4608511" cy="1152128"/>
          </a:xfrm>
          <a:prstGeom prst="rect">
            <a:avLst/>
          </a:prstGeom>
          <a:noFill/>
          <a:ln w="0">
            <a:noFill/>
          </a:ln>
        </p:spPr>
        <p:txBody>
          <a:bodyPr lIns="0" rIns="0"/>
          <a:lstStyle>
            <a:lvl1pPr marL="0" indent="0" algn="l">
              <a:lnSpc>
                <a:spcPct val="100000"/>
              </a:lnSpc>
              <a:spcBef>
                <a:spcPts val="0"/>
              </a:spcBef>
              <a:buFont typeface="Arial" panose="020B0604020202020204" pitchFamily="34" charset="0"/>
              <a:buNone/>
              <a:defRPr sz="2000" b="0">
                <a:latin typeface="+mn-lt"/>
              </a:defRPr>
            </a:lvl1pPr>
            <a:lvl2pPr marL="0" indent="0" algn="l">
              <a:lnSpc>
                <a:spcPct val="100000"/>
              </a:lnSpc>
              <a:spcBef>
                <a:spcPts val="0"/>
              </a:spcBef>
              <a:buFont typeface="Arial" panose="020B0604020202020204" pitchFamily="34" charset="0"/>
              <a:buNone/>
              <a:defRPr sz="2000" b="0">
                <a:latin typeface="+mn-lt"/>
              </a:defRPr>
            </a:lvl2pPr>
            <a:lvl3pPr marL="0" indent="0" algn="l">
              <a:lnSpc>
                <a:spcPct val="100000"/>
              </a:lnSpc>
              <a:spcBef>
                <a:spcPts val="0"/>
              </a:spcBef>
              <a:buFont typeface="Arial" panose="020B0604020202020204" pitchFamily="34" charset="0"/>
              <a:buNone/>
              <a:defRPr sz="2000" b="0">
                <a:latin typeface="+mn-lt"/>
              </a:defRPr>
            </a:lvl3pPr>
            <a:lvl4pPr marL="0" indent="0" algn="l">
              <a:lnSpc>
                <a:spcPct val="100000"/>
              </a:lnSpc>
              <a:spcBef>
                <a:spcPts val="0"/>
              </a:spcBef>
              <a:buFont typeface="Arial" panose="020B0604020202020204" pitchFamily="34" charset="0"/>
              <a:buNone/>
              <a:defRPr sz="2000" b="0">
                <a:latin typeface="+mn-lt"/>
              </a:defRPr>
            </a:lvl4pPr>
            <a:lvl5pPr marL="0" indent="0" algn="l">
              <a:lnSpc>
                <a:spcPct val="100000"/>
              </a:lnSpc>
              <a:spcBef>
                <a:spcPts val="0"/>
              </a:spcBef>
              <a:buFont typeface="Arial" panose="020B0604020202020204" pitchFamily="34" charset="0"/>
              <a:buNone/>
              <a:defRPr sz="2000" b="0">
                <a:latin typeface="+mn-lt"/>
              </a:defRPr>
            </a:lvl5pPr>
            <a:lvl6pPr marL="0" indent="0" algn="l">
              <a:lnSpc>
                <a:spcPct val="100000"/>
              </a:lnSpc>
              <a:spcBef>
                <a:spcPts val="0"/>
              </a:spcBef>
              <a:buFont typeface="Arial" panose="020B0604020202020204" pitchFamily="34" charset="0"/>
              <a:buNone/>
              <a:defRPr sz="2000" b="0">
                <a:latin typeface="+mn-lt"/>
              </a:defRPr>
            </a:lvl6pPr>
            <a:lvl7pPr marL="0" indent="0" algn="l">
              <a:lnSpc>
                <a:spcPct val="100000"/>
              </a:lnSpc>
              <a:spcBef>
                <a:spcPts val="0"/>
              </a:spcBef>
              <a:buFont typeface="Arial" panose="020B0604020202020204" pitchFamily="34" charset="0"/>
              <a:buNone/>
              <a:defRPr sz="2000" b="0">
                <a:latin typeface="+mn-lt"/>
              </a:defRPr>
            </a:lvl7pPr>
            <a:lvl8pPr marL="0" indent="0" algn="l">
              <a:lnSpc>
                <a:spcPct val="100000"/>
              </a:lnSpc>
              <a:spcBef>
                <a:spcPts val="0"/>
              </a:spcBef>
              <a:buFont typeface="Arial" panose="020B0604020202020204" pitchFamily="34" charset="0"/>
              <a:buNone/>
              <a:defRPr sz="2000" b="0">
                <a:latin typeface="+mn-lt"/>
              </a:defRPr>
            </a:lvl8pPr>
            <a:lvl9pPr marL="0" indent="0" algn="l">
              <a:lnSpc>
                <a:spcPct val="100000"/>
              </a:lnSpc>
              <a:spcBef>
                <a:spcPts val="0"/>
              </a:spcBef>
              <a:buFont typeface="Arial" panose="020B0604020202020204" pitchFamily="34" charset="0"/>
              <a:buNone/>
              <a:defRPr sz="2000" b="0">
                <a:latin typeface="+mn-lt"/>
              </a:defRPr>
            </a:lvl9pPr>
          </a:lstStyle>
          <a:p>
            <a:r>
              <a:rPr lang="en-GB" dirty="0"/>
              <a:t>Insert here your subtitle</a:t>
            </a:r>
          </a:p>
        </p:txBody>
      </p:sp>
      <p:sp>
        <p:nvSpPr>
          <p:cNvPr id="7" name="Datumsplatzhalter 6">
            <a:extLst>
              <a:ext uri="{FF2B5EF4-FFF2-40B4-BE49-F238E27FC236}">
                <a16:creationId xmlns:a16="http://schemas.microsoft.com/office/drawing/2014/main" id="{77CC5328-0ECD-5DD1-2B1A-CBD90B60EBC0}"/>
              </a:ext>
            </a:extLst>
          </p:cNvPr>
          <p:cNvSpPr>
            <a:spLocks noGrp="1"/>
          </p:cNvSpPr>
          <p:nvPr>
            <p:ph type="dt" sz="half" idx="18"/>
          </p:nvPr>
        </p:nvSpPr>
        <p:spPr/>
        <p:txBody>
          <a:bodyPr/>
          <a:lstStyle/>
          <a:p>
            <a:r>
              <a:rPr lang="en-US"/>
              <a:t>7/26/2022</a:t>
            </a:r>
            <a:endParaRPr lang="en-GB" dirty="0"/>
          </a:p>
        </p:txBody>
      </p:sp>
      <p:sp>
        <p:nvSpPr>
          <p:cNvPr id="10" name="Fußzeilenplatzhalter 9">
            <a:extLst>
              <a:ext uri="{FF2B5EF4-FFF2-40B4-BE49-F238E27FC236}">
                <a16:creationId xmlns:a16="http://schemas.microsoft.com/office/drawing/2014/main" id="{42A8FFF0-139B-8B64-1121-70586B674175}"/>
              </a:ext>
            </a:extLst>
          </p:cNvPr>
          <p:cNvSpPr>
            <a:spLocks noGrp="1"/>
          </p:cNvSpPr>
          <p:nvPr>
            <p:ph type="ftr" sz="quarter" idx="19"/>
          </p:nvPr>
        </p:nvSpPr>
        <p:spPr/>
        <p:txBody>
          <a:bodyPr/>
          <a:lstStyle/>
          <a:p>
            <a:r>
              <a:rPr lang="de-DE"/>
              <a:t>Der Konsument nach Corona und Consumer Voice</a:t>
            </a:r>
            <a:endParaRPr lang="de-DE" dirty="0"/>
          </a:p>
        </p:txBody>
      </p:sp>
      <p:sp>
        <p:nvSpPr>
          <p:cNvPr id="12" name="Foliennummernplatzhalter 11">
            <a:extLst>
              <a:ext uri="{FF2B5EF4-FFF2-40B4-BE49-F238E27FC236}">
                <a16:creationId xmlns:a16="http://schemas.microsoft.com/office/drawing/2014/main" id="{F8093641-F6E9-AB30-3CC3-D677941CF089}"/>
              </a:ext>
            </a:extLst>
          </p:cNvPr>
          <p:cNvSpPr>
            <a:spLocks noGrp="1"/>
          </p:cNvSpPr>
          <p:nvPr>
            <p:ph type="sldNum" sz="quarter" idx="20"/>
          </p:nvPr>
        </p:nvSpPr>
        <p:spPr/>
        <p:txBody>
          <a:bodyPr/>
          <a:lstStyle/>
          <a:p>
            <a:fld id="{CAEA825B-D749-4F0A-886E-8D45A39EAF2A}" type="slidenum">
              <a:rPr lang="de-DE" smtClean="0"/>
              <a:pPr/>
              <a:t>‹Nº›</a:t>
            </a:fld>
            <a:endParaRPr lang="de-DE"/>
          </a:p>
        </p:txBody>
      </p:sp>
      <p:sp>
        <p:nvSpPr>
          <p:cNvPr id="13" name="Source">
            <a:extLst>
              <a:ext uri="{FF2B5EF4-FFF2-40B4-BE49-F238E27FC236}">
                <a16:creationId xmlns:a16="http://schemas.microsoft.com/office/drawing/2014/main" id="{18CCBDF6-0C4D-9E43-5AA1-F989D970FAAA}"/>
              </a:ext>
            </a:extLst>
          </p:cNvPr>
          <p:cNvSpPr>
            <a:spLocks noGrp="1"/>
          </p:cNvSpPr>
          <p:nvPr>
            <p:ph type="body" sz="quarter" idx="21"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spTree>
    <p:extLst>
      <p:ext uri="{BB962C8B-B14F-4D97-AF65-F5344CB8AC3E}">
        <p14:creationId xmlns:p14="http://schemas.microsoft.com/office/powerpoint/2010/main" val="3574199079"/>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2">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E284D3E-8971-098C-B1CF-8F2FF796BB6A}"/>
              </a:ext>
            </a:extLst>
          </p:cNvPr>
          <p:cNvGraphicFramePr>
            <a:graphicFrameLocks noChangeAspect="1"/>
          </p:cNvGraphicFramePr>
          <p:nvPr userDrawn="1">
            <p:custDataLst>
              <p:tags r:id="rId1"/>
            </p:custDataLst>
            <p:extLst>
              <p:ext uri="{D42A27DB-BD31-4B8C-83A1-F6EECF244321}">
                <p14:modId xmlns:p14="http://schemas.microsoft.com/office/powerpoint/2010/main" val="51730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5" name="Objekt 4" hidden="1">
                        <a:extLst>
                          <a:ext uri="{FF2B5EF4-FFF2-40B4-BE49-F238E27FC236}">
                            <a16:creationId xmlns:a16="http://schemas.microsoft.com/office/drawing/2014/main" id="{8E284D3E-8971-098C-B1CF-8F2FF796BB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9" name="Gruppieren 798">
            <a:extLst>
              <a:ext uri="{FF2B5EF4-FFF2-40B4-BE49-F238E27FC236}">
                <a16:creationId xmlns:a16="http://schemas.microsoft.com/office/drawing/2014/main" id="{7344E09E-8FBC-9AAE-9060-702C2D483FC8}"/>
              </a:ext>
            </a:extLst>
          </p:cNvPr>
          <p:cNvGrpSpPr/>
          <p:nvPr userDrawn="1"/>
        </p:nvGrpSpPr>
        <p:grpSpPr>
          <a:xfrm>
            <a:off x="317360" y="1484784"/>
            <a:ext cx="11539280" cy="4626512"/>
            <a:chOff x="317360" y="1484784"/>
            <a:chExt cx="11539280" cy="4626512"/>
          </a:xfrm>
        </p:grpSpPr>
        <p:sp>
          <p:nvSpPr>
            <p:cNvPr id="800" name="Rechteck 799">
              <a:extLst>
                <a:ext uri="{FF2B5EF4-FFF2-40B4-BE49-F238E27FC236}">
                  <a16:creationId xmlns:a16="http://schemas.microsoft.com/office/drawing/2014/main" id="{0F2A75C6-8CC9-003C-F5B3-AC968F284967}"/>
                </a:ext>
              </a:extLst>
            </p:cNvPr>
            <p:cNvSpPr/>
            <p:nvPr userDrawn="1"/>
          </p:nvSpPr>
          <p:spPr bwMode="gray">
            <a:xfrm>
              <a:off x="1126257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01" name="Rechteck 800">
              <a:extLst>
                <a:ext uri="{FF2B5EF4-FFF2-40B4-BE49-F238E27FC236}">
                  <a16:creationId xmlns:a16="http://schemas.microsoft.com/office/drawing/2014/main" id="{6CDE2F09-D893-4880-0D30-6339A3ED906A}"/>
                </a:ext>
              </a:extLst>
            </p:cNvPr>
            <p:cNvSpPr/>
            <p:nvPr userDrawn="1"/>
          </p:nvSpPr>
          <p:spPr bwMode="gray">
            <a:xfrm>
              <a:off x="1068651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02" name="Rechteck 801">
              <a:extLst>
                <a:ext uri="{FF2B5EF4-FFF2-40B4-BE49-F238E27FC236}">
                  <a16:creationId xmlns:a16="http://schemas.microsoft.com/office/drawing/2014/main" id="{E4E1C60D-174E-B787-6CFA-BEC446503A25}"/>
                </a:ext>
              </a:extLst>
            </p:cNvPr>
            <p:cNvSpPr/>
            <p:nvPr userDrawn="1"/>
          </p:nvSpPr>
          <p:spPr bwMode="gray">
            <a:xfrm>
              <a:off x="1011044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03" name="Rechteck 802">
              <a:extLst>
                <a:ext uri="{FF2B5EF4-FFF2-40B4-BE49-F238E27FC236}">
                  <a16:creationId xmlns:a16="http://schemas.microsoft.com/office/drawing/2014/main" id="{751512E9-78F8-825C-0E2C-31179C8F702B}"/>
                </a:ext>
              </a:extLst>
            </p:cNvPr>
            <p:cNvSpPr/>
            <p:nvPr userDrawn="1"/>
          </p:nvSpPr>
          <p:spPr bwMode="gray">
            <a:xfrm>
              <a:off x="953438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04" name="Rechteck 803">
              <a:extLst>
                <a:ext uri="{FF2B5EF4-FFF2-40B4-BE49-F238E27FC236}">
                  <a16:creationId xmlns:a16="http://schemas.microsoft.com/office/drawing/2014/main" id="{CDD796B5-751D-69AB-93FF-919B17A1111F}"/>
                </a:ext>
              </a:extLst>
            </p:cNvPr>
            <p:cNvSpPr/>
            <p:nvPr userDrawn="1"/>
          </p:nvSpPr>
          <p:spPr bwMode="gray">
            <a:xfrm>
              <a:off x="895832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05" name="Rechteck 804">
              <a:extLst>
                <a:ext uri="{FF2B5EF4-FFF2-40B4-BE49-F238E27FC236}">
                  <a16:creationId xmlns:a16="http://schemas.microsoft.com/office/drawing/2014/main" id="{A715FF1E-98FE-174F-40D7-7483B4832E18}"/>
                </a:ext>
              </a:extLst>
            </p:cNvPr>
            <p:cNvSpPr/>
            <p:nvPr userDrawn="1"/>
          </p:nvSpPr>
          <p:spPr bwMode="gray">
            <a:xfrm>
              <a:off x="838225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06" name="Rechteck 805">
              <a:extLst>
                <a:ext uri="{FF2B5EF4-FFF2-40B4-BE49-F238E27FC236}">
                  <a16:creationId xmlns:a16="http://schemas.microsoft.com/office/drawing/2014/main" id="{09D35378-3E21-C9EC-1B2E-8A52A02A50F3}"/>
                </a:ext>
              </a:extLst>
            </p:cNvPr>
            <p:cNvSpPr/>
            <p:nvPr userDrawn="1"/>
          </p:nvSpPr>
          <p:spPr bwMode="gray">
            <a:xfrm>
              <a:off x="780619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07" name="Rechteck 806">
              <a:extLst>
                <a:ext uri="{FF2B5EF4-FFF2-40B4-BE49-F238E27FC236}">
                  <a16:creationId xmlns:a16="http://schemas.microsoft.com/office/drawing/2014/main" id="{75FF4556-56A1-FCF9-99C0-539EE2BC3779}"/>
                </a:ext>
              </a:extLst>
            </p:cNvPr>
            <p:cNvSpPr/>
            <p:nvPr userDrawn="1"/>
          </p:nvSpPr>
          <p:spPr bwMode="gray">
            <a:xfrm>
              <a:off x="723012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08" name="Rechteck 807">
              <a:extLst>
                <a:ext uri="{FF2B5EF4-FFF2-40B4-BE49-F238E27FC236}">
                  <a16:creationId xmlns:a16="http://schemas.microsoft.com/office/drawing/2014/main" id="{26D446BD-E03D-F20C-A5E1-ED3831F4A96E}"/>
                </a:ext>
              </a:extLst>
            </p:cNvPr>
            <p:cNvSpPr/>
            <p:nvPr userDrawn="1"/>
          </p:nvSpPr>
          <p:spPr bwMode="gray">
            <a:xfrm>
              <a:off x="665406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09" name="Rechteck 808">
              <a:extLst>
                <a:ext uri="{FF2B5EF4-FFF2-40B4-BE49-F238E27FC236}">
                  <a16:creationId xmlns:a16="http://schemas.microsoft.com/office/drawing/2014/main" id="{F7DD1C19-A7DF-E986-0B58-48CC95A3E9D6}"/>
                </a:ext>
              </a:extLst>
            </p:cNvPr>
            <p:cNvSpPr/>
            <p:nvPr userDrawn="1"/>
          </p:nvSpPr>
          <p:spPr bwMode="gray">
            <a:xfrm>
              <a:off x="607800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10" name="Rechteck 809">
              <a:extLst>
                <a:ext uri="{FF2B5EF4-FFF2-40B4-BE49-F238E27FC236}">
                  <a16:creationId xmlns:a16="http://schemas.microsoft.com/office/drawing/2014/main" id="{E9ADD68F-A4DE-3210-BDE2-5FAF56FCEDAB}"/>
                </a:ext>
              </a:extLst>
            </p:cNvPr>
            <p:cNvSpPr/>
            <p:nvPr userDrawn="1"/>
          </p:nvSpPr>
          <p:spPr bwMode="gray">
            <a:xfrm>
              <a:off x="550193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11" name="Rechteck 810">
              <a:extLst>
                <a:ext uri="{FF2B5EF4-FFF2-40B4-BE49-F238E27FC236}">
                  <a16:creationId xmlns:a16="http://schemas.microsoft.com/office/drawing/2014/main" id="{22C924B1-77B1-1D0F-9A87-2491486ED522}"/>
                </a:ext>
              </a:extLst>
            </p:cNvPr>
            <p:cNvSpPr/>
            <p:nvPr userDrawn="1"/>
          </p:nvSpPr>
          <p:spPr bwMode="gray">
            <a:xfrm>
              <a:off x="492587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12" name="Rechteck 811">
              <a:extLst>
                <a:ext uri="{FF2B5EF4-FFF2-40B4-BE49-F238E27FC236}">
                  <a16:creationId xmlns:a16="http://schemas.microsoft.com/office/drawing/2014/main" id="{1FBFAB8A-53AD-AE24-A6DC-DCA6A9116776}"/>
                </a:ext>
              </a:extLst>
            </p:cNvPr>
            <p:cNvSpPr/>
            <p:nvPr userDrawn="1"/>
          </p:nvSpPr>
          <p:spPr bwMode="gray">
            <a:xfrm>
              <a:off x="434980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13" name="Rechteck 812">
              <a:extLst>
                <a:ext uri="{FF2B5EF4-FFF2-40B4-BE49-F238E27FC236}">
                  <a16:creationId xmlns:a16="http://schemas.microsoft.com/office/drawing/2014/main" id="{AB7D5953-ED5E-C439-63AB-BDC6A6A3E481}"/>
                </a:ext>
              </a:extLst>
            </p:cNvPr>
            <p:cNvSpPr/>
            <p:nvPr userDrawn="1"/>
          </p:nvSpPr>
          <p:spPr bwMode="gray">
            <a:xfrm>
              <a:off x="377374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14" name="Rechteck 813">
              <a:extLst>
                <a:ext uri="{FF2B5EF4-FFF2-40B4-BE49-F238E27FC236}">
                  <a16:creationId xmlns:a16="http://schemas.microsoft.com/office/drawing/2014/main" id="{3B78C1BD-CC70-6126-210B-504A76727324}"/>
                </a:ext>
              </a:extLst>
            </p:cNvPr>
            <p:cNvSpPr/>
            <p:nvPr userDrawn="1"/>
          </p:nvSpPr>
          <p:spPr bwMode="gray">
            <a:xfrm>
              <a:off x="319768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15" name="Rechteck 814">
              <a:extLst>
                <a:ext uri="{FF2B5EF4-FFF2-40B4-BE49-F238E27FC236}">
                  <a16:creationId xmlns:a16="http://schemas.microsoft.com/office/drawing/2014/main" id="{1823E376-1F9B-C332-466E-5778191E182E}"/>
                </a:ext>
              </a:extLst>
            </p:cNvPr>
            <p:cNvSpPr/>
            <p:nvPr userDrawn="1"/>
          </p:nvSpPr>
          <p:spPr bwMode="gray">
            <a:xfrm>
              <a:off x="262161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16" name="Rechteck 815">
              <a:extLst>
                <a:ext uri="{FF2B5EF4-FFF2-40B4-BE49-F238E27FC236}">
                  <a16:creationId xmlns:a16="http://schemas.microsoft.com/office/drawing/2014/main" id="{98DDDEEA-FB0A-8F92-C7AB-DB4D395814BD}"/>
                </a:ext>
              </a:extLst>
            </p:cNvPr>
            <p:cNvSpPr/>
            <p:nvPr userDrawn="1"/>
          </p:nvSpPr>
          <p:spPr bwMode="gray">
            <a:xfrm>
              <a:off x="204555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17" name="Rechteck 816">
              <a:extLst>
                <a:ext uri="{FF2B5EF4-FFF2-40B4-BE49-F238E27FC236}">
                  <a16:creationId xmlns:a16="http://schemas.microsoft.com/office/drawing/2014/main" id="{ED933AB5-7DDE-AF0C-E7BF-CDA9ABFEBA8E}"/>
                </a:ext>
              </a:extLst>
            </p:cNvPr>
            <p:cNvSpPr/>
            <p:nvPr userDrawn="1"/>
          </p:nvSpPr>
          <p:spPr bwMode="gray">
            <a:xfrm>
              <a:off x="146948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18" name="Rechteck 817">
              <a:extLst>
                <a:ext uri="{FF2B5EF4-FFF2-40B4-BE49-F238E27FC236}">
                  <a16:creationId xmlns:a16="http://schemas.microsoft.com/office/drawing/2014/main" id="{C3147AA5-1D68-73A2-D82E-DA7496DEE559}"/>
                </a:ext>
              </a:extLst>
            </p:cNvPr>
            <p:cNvSpPr/>
            <p:nvPr userDrawn="1"/>
          </p:nvSpPr>
          <p:spPr bwMode="gray">
            <a:xfrm>
              <a:off x="89342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19" name="Rechteck 818">
              <a:extLst>
                <a:ext uri="{FF2B5EF4-FFF2-40B4-BE49-F238E27FC236}">
                  <a16:creationId xmlns:a16="http://schemas.microsoft.com/office/drawing/2014/main" id="{9615D51F-EB85-B926-2C69-621428853C3D}"/>
                </a:ext>
              </a:extLst>
            </p:cNvPr>
            <p:cNvSpPr/>
            <p:nvPr userDrawn="1"/>
          </p:nvSpPr>
          <p:spPr bwMode="gray">
            <a:xfrm>
              <a:off x="31736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20" name="Rechteck 819">
              <a:extLst>
                <a:ext uri="{FF2B5EF4-FFF2-40B4-BE49-F238E27FC236}">
                  <a16:creationId xmlns:a16="http://schemas.microsoft.com/office/drawing/2014/main" id="{D9F3E881-1A43-BD3E-F5C5-78389DB95C6B}"/>
                </a:ext>
              </a:extLst>
            </p:cNvPr>
            <p:cNvSpPr/>
            <p:nvPr userDrawn="1"/>
          </p:nvSpPr>
          <p:spPr bwMode="gray">
            <a:xfrm>
              <a:off x="1126257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21" name="Rechteck 820">
              <a:extLst>
                <a:ext uri="{FF2B5EF4-FFF2-40B4-BE49-F238E27FC236}">
                  <a16:creationId xmlns:a16="http://schemas.microsoft.com/office/drawing/2014/main" id="{7932B3E5-AEC7-1FE8-BD80-B82529A97296}"/>
                </a:ext>
              </a:extLst>
            </p:cNvPr>
            <p:cNvSpPr/>
            <p:nvPr userDrawn="1"/>
          </p:nvSpPr>
          <p:spPr bwMode="gray">
            <a:xfrm>
              <a:off x="1068651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22" name="Rechteck 821">
              <a:extLst>
                <a:ext uri="{FF2B5EF4-FFF2-40B4-BE49-F238E27FC236}">
                  <a16:creationId xmlns:a16="http://schemas.microsoft.com/office/drawing/2014/main" id="{24B0A3CF-A205-078B-021A-2CBC484ACCE6}"/>
                </a:ext>
              </a:extLst>
            </p:cNvPr>
            <p:cNvSpPr/>
            <p:nvPr userDrawn="1"/>
          </p:nvSpPr>
          <p:spPr bwMode="gray">
            <a:xfrm>
              <a:off x="1011044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23" name="Rechteck 822">
              <a:extLst>
                <a:ext uri="{FF2B5EF4-FFF2-40B4-BE49-F238E27FC236}">
                  <a16:creationId xmlns:a16="http://schemas.microsoft.com/office/drawing/2014/main" id="{1AACB7F2-F31E-D7D1-CC08-E086C8BD55F6}"/>
                </a:ext>
              </a:extLst>
            </p:cNvPr>
            <p:cNvSpPr/>
            <p:nvPr userDrawn="1"/>
          </p:nvSpPr>
          <p:spPr bwMode="gray">
            <a:xfrm>
              <a:off x="953438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24" name="Rechteck 823">
              <a:extLst>
                <a:ext uri="{FF2B5EF4-FFF2-40B4-BE49-F238E27FC236}">
                  <a16:creationId xmlns:a16="http://schemas.microsoft.com/office/drawing/2014/main" id="{4C0E6E06-4AE4-FB00-1941-606ACBBA51AE}"/>
                </a:ext>
              </a:extLst>
            </p:cNvPr>
            <p:cNvSpPr/>
            <p:nvPr userDrawn="1"/>
          </p:nvSpPr>
          <p:spPr bwMode="gray">
            <a:xfrm>
              <a:off x="895832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25" name="Rechteck 824">
              <a:extLst>
                <a:ext uri="{FF2B5EF4-FFF2-40B4-BE49-F238E27FC236}">
                  <a16:creationId xmlns:a16="http://schemas.microsoft.com/office/drawing/2014/main" id="{52B3926A-8043-3E61-6702-126CF4C42DA7}"/>
                </a:ext>
              </a:extLst>
            </p:cNvPr>
            <p:cNvSpPr/>
            <p:nvPr userDrawn="1"/>
          </p:nvSpPr>
          <p:spPr bwMode="gray">
            <a:xfrm>
              <a:off x="838225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26" name="Rechteck 825">
              <a:extLst>
                <a:ext uri="{FF2B5EF4-FFF2-40B4-BE49-F238E27FC236}">
                  <a16:creationId xmlns:a16="http://schemas.microsoft.com/office/drawing/2014/main" id="{B4CBDD35-1909-CEB0-FDB9-8F0F23B45630}"/>
                </a:ext>
              </a:extLst>
            </p:cNvPr>
            <p:cNvSpPr/>
            <p:nvPr userDrawn="1"/>
          </p:nvSpPr>
          <p:spPr bwMode="gray">
            <a:xfrm>
              <a:off x="780619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27" name="Rechteck 826">
              <a:extLst>
                <a:ext uri="{FF2B5EF4-FFF2-40B4-BE49-F238E27FC236}">
                  <a16:creationId xmlns:a16="http://schemas.microsoft.com/office/drawing/2014/main" id="{FB8DFC24-FCEA-E665-EA81-BEAC22F01BAE}"/>
                </a:ext>
              </a:extLst>
            </p:cNvPr>
            <p:cNvSpPr/>
            <p:nvPr userDrawn="1"/>
          </p:nvSpPr>
          <p:spPr bwMode="gray">
            <a:xfrm>
              <a:off x="723012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28" name="Rechteck 827">
              <a:extLst>
                <a:ext uri="{FF2B5EF4-FFF2-40B4-BE49-F238E27FC236}">
                  <a16:creationId xmlns:a16="http://schemas.microsoft.com/office/drawing/2014/main" id="{134A67E9-6D63-2830-0DDB-3BB9F2B9B9B2}"/>
                </a:ext>
              </a:extLst>
            </p:cNvPr>
            <p:cNvSpPr/>
            <p:nvPr userDrawn="1"/>
          </p:nvSpPr>
          <p:spPr bwMode="gray">
            <a:xfrm>
              <a:off x="665406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29" name="Rechteck 828">
              <a:extLst>
                <a:ext uri="{FF2B5EF4-FFF2-40B4-BE49-F238E27FC236}">
                  <a16:creationId xmlns:a16="http://schemas.microsoft.com/office/drawing/2014/main" id="{818EF424-810F-7B96-FD3F-C38AF0F76894}"/>
                </a:ext>
              </a:extLst>
            </p:cNvPr>
            <p:cNvSpPr/>
            <p:nvPr userDrawn="1"/>
          </p:nvSpPr>
          <p:spPr bwMode="gray">
            <a:xfrm>
              <a:off x="607800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30" name="Rechteck 829">
              <a:extLst>
                <a:ext uri="{FF2B5EF4-FFF2-40B4-BE49-F238E27FC236}">
                  <a16:creationId xmlns:a16="http://schemas.microsoft.com/office/drawing/2014/main" id="{3D380AF7-7D67-E786-429B-BB02AB4C3464}"/>
                </a:ext>
              </a:extLst>
            </p:cNvPr>
            <p:cNvSpPr/>
            <p:nvPr userDrawn="1"/>
          </p:nvSpPr>
          <p:spPr bwMode="gray">
            <a:xfrm>
              <a:off x="550193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31" name="Rechteck 830">
              <a:extLst>
                <a:ext uri="{FF2B5EF4-FFF2-40B4-BE49-F238E27FC236}">
                  <a16:creationId xmlns:a16="http://schemas.microsoft.com/office/drawing/2014/main" id="{ECC7D93D-06BB-6DB9-1E7F-B4F330604452}"/>
                </a:ext>
              </a:extLst>
            </p:cNvPr>
            <p:cNvSpPr/>
            <p:nvPr userDrawn="1"/>
          </p:nvSpPr>
          <p:spPr bwMode="gray">
            <a:xfrm>
              <a:off x="492587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32" name="Rechteck 831">
              <a:extLst>
                <a:ext uri="{FF2B5EF4-FFF2-40B4-BE49-F238E27FC236}">
                  <a16:creationId xmlns:a16="http://schemas.microsoft.com/office/drawing/2014/main" id="{CAC45E32-89AB-B3B4-FC3C-B6AEC577FC58}"/>
                </a:ext>
              </a:extLst>
            </p:cNvPr>
            <p:cNvSpPr/>
            <p:nvPr userDrawn="1"/>
          </p:nvSpPr>
          <p:spPr bwMode="gray">
            <a:xfrm>
              <a:off x="434980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33" name="Rechteck 832">
              <a:extLst>
                <a:ext uri="{FF2B5EF4-FFF2-40B4-BE49-F238E27FC236}">
                  <a16:creationId xmlns:a16="http://schemas.microsoft.com/office/drawing/2014/main" id="{1DF75E1D-A9C2-4B8A-031E-AAE0E7D2B019}"/>
                </a:ext>
              </a:extLst>
            </p:cNvPr>
            <p:cNvSpPr/>
            <p:nvPr userDrawn="1"/>
          </p:nvSpPr>
          <p:spPr bwMode="gray">
            <a:xfrm>
              <a:off x="377374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34" name="Rechteck 833">
              <a:extLst>
                <a:ext uri="{FF2B5EF4-FFF2-40B4-BE49-F238E27FC236}">
                  <a16:creationId xmlns:a16="http://schemas.microsoft.com/office/drawing/2014/main" id="{1402CE1B-4521-5D19-4E5C-696B9B631432}"/>
                </a:ext>
              </a:extLst>
            </p:cNvPr>
            <p:cNvSpPr/>
            <p:nvPr userDrawn="1"/>
          </p:nvSpPr>
          <p:spPr bwMode="gray">
            <a:xfrm>
              <a:off x="319768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35" name="Rechteck 834">
              <a:extLst>
                <a:ext uri="{FF2B5EF4-FFF2-40B4-BE49-F238E27FC236}">
                  <a16:creationId xmlns:a16="http://schemas.microsoft.com/office/drawing/2014/main" id="{B87425AD-C3E6-741F-9610-62E35AD4A5C5}"/>
                </a:ext>
              </a:extLst>
            </p:cNvPr>
            <p:cNvSpPr/>
            <p:nvPr userDrawn="1"/>
          </p:nvSpPr>
          <p:spPr bwMode="gray">
            <a:xfrm>
              <a:off x="262161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36" name="Rechteck 835">
              <a:extLst>
                <a:ext uri="{FF2B5EF4-FFF2-40B4-BE49-F238E27FC236}">
                  <a16:creationId xmlns:a16="http://schemas.microsoft.com/office/drawing/2014/main" id="{3172737C-C4EA-75C4-468C-F1C0E30807ED}"/>
                </a:ext>
              </a:extLst>
            </p:cNvPr>
            <p:cNvSpPr/>
            <p:nvPr userDrawn="1"/>
          </p:nvSpPr>
          <p:spPr bwMode="gray">
            <a:xfrm>
              <a:off x="204555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37" name="Rechteck 836">
              <a:extLst>
                <a:ext uri="{FF2B5EF4-FFF2-40B4-BE49-F238E27FC236}">
                  <a16:creationId xmlns:a16="http://schemas.microsoft.com/office/drawing/2014/main" id="{83933BBA-959E-65E3-293E-1579B312FC66}"/>
                </a:ext>
              </a:extLst>
            </p:cNvPr>
            <p:cNvSpPr/>
            <p:nvPr userDrawn="1"/>
          </p:nvSpPr>
          <p:spPr bwMode="gray">
            <a:xfrm>
              <a:off x="146948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38" name="Rechteck 837">
              <a:extLst>
                <a:ext uri="{FF2B5EF4-FFF2-40B4-BE49-F238E27FC236}">
                  <a16:creationId xmlns:a16="http://schemas.microsoft.com/office/drawing/2014/main" id="{1C61785E-8A0A-A1BB-CFE5-2FD52F4A5FF0}"/>
                </a:ext>
              </a:extLst>
            </p:cNvPr>
            <p:cNvSpPr/>
            <p:nvPr userDrawn="1"/>
          </p:nvSpPr>
          <p:spPr bwMode="gray">
            <a:xfrm>
              <a:off x="89342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39" name="Rechteck 838">
              <a:extLst>
                <a:ext uri="{FF2B5EF4-FFF2-40B4-BE49-F238E27FC236}">
                  <a16:creationId xmlns:a16="http://schemas.microsoft.com/office/drawing/2014/main" id="{4C88EBAA-1699-5B61-2532-0A37ADB399AD}"/>
                </a:ext>
              </a:extLst>
            </p:cNvPr>
            <p:cNvSpPr/>
            <p:nvPr userDrawn="1"/>
          </p:nvSpPr>
          <p:spPr bwMode="gray">
            <a:xfrm>
              <a:off x="31736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40" name="Rechteck 839">
              <a:extLst>
                <a:ext uri="{FF2B5EF4-FFF2-40B4-BE49-F238E27FC236}">
                  <a16:creationId xmlns:a16="http://schemas.microsoft.com/office/drawing/2014/main" id="{A863CE2D-AC80-1D01-1BAA-9330600C5306}"/>
                </a:ext>
              </a:extLst>
            </p:cNvPr>
            <p:cNvSpPr/>
            <p:nvPr userDrawn="1"/>
          </p:nvSpPr>
          <p:spPr bwMode="gray">
            <a:xfrm>
              <a:off x="1126257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41" name="Rechteck 840">
              <a:extLst>
                <a:ext uri="{FF2B5EF4-FFF2-40B4-BE49-F238E27FC236}">
                  <a16:creationId xmlns:a16="http://schemas.microsoft.com/office/drawing/2014/main" id="{BA188C02-A8AE-6BE3-CFB0-A158BDDE7257}"/>
                </a:ext>
              </a:extLst>
            </p:cNvPr>
            <p:cNvSpPr/>
            <p:nvPr userDrawn="1"/>
          </p:nvSpPr>
          <p:spPr bwMode="gray">
            <a:xfrm>
              <a:off x="1068651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42" name="Rechteck 841">
              <a:extLst>
                <a:ext uri="{FF2B5EF4-FFF2-40B4-BE49-F238E27FC236}">
                  <a16:creationId xmlns:a16="http://schemas.microsoft.com/office/drawing/2014/main" id="{EF92687B-DCD7-4869-FA99-78A9756ABC7E}"/>
                </a:ext>
              </a:extLst>
            </p:cNvPr>
            <p:cNvSpPr/>
            <p:nvPr userDrawn="1"/>
          </p:nvSpPr>
          <p:spPr bwMode="gray">
            <a:xfrm>
              <a:off x="1011044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43" name="Rechteck 842">
              <a:extLst>
                <a:ext uri="{FF2B5EF4-FFF2-40B4-BE49-F238E27FC236}">
                  <a16:creationId xmlns:a16="http://schemas.microsoft.com/office/drawing/2014/main" id="{8CE83522-4B8E-FF44-6865-714C99A8B05B}"/>
                </a:ext>
              </a:extLst>
            </p:cNvPr>
            <p:cNvSpPr/>
            <p:nvPr userDrawn="1"/>
          </p:nvSpPr>
          <p:spPr bwMode="gray">
            <a:xfrm>
              <a:off x="953438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44" name="Rechteck 843">
              <a:extLst>
                <a:ext uri="{FF2B5EF4-FFF2-40B4-BE49-F238E27FC236}">
                  <a16:creationId xmlns:a16="http://schemas.microsoft.com/office/drawing/2014/main" id="{97808311-C08F-001F-4BC3-AA9B876FE860}"/>
                </a:ext>
              </a:extLst>
            </p:cNvPr>
            <p:cNvSpPr/>
            <p:nvPr userDrawn="1"/>
          </p:nvSpPr>
          <p:spPr bwMode="gray">
            <a:xfrm>
              <a:off x="895832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45" name="Rechteck 844">
              <a:extLst>
                <a:ext uri="{FF2B5EF4-FFF2-40B4-BE49-F238E27FC236}">
                  <a16:creationId xmlns:a16="http://schemas.microsoft.com/office/drawing/2014/main" id="{D2013A85-47A5-757F-7EAA-98D91BA66A06}"/>
                </a:ext>
              </a:extLst>
            </p:cNvPr>
            <p:cNvSpPr/>
            <p:nvPr userDrawn="1"/>
          </p:nvSpPr>
          <p:spPr bwMode="gray">
            <a:xfrm>
              <a:off x="838225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46" name="Rechteck 845">
              <a:extLst>
                <a:ext uri="{FF2B5EF4-FFF2-40B4-BE49-F238E27FC236}">
                  <a16:creationId xmlns:a16="http://schemas.microsoft.com/office/drawing/2014/main" id="{DF741ED0-2866-21D4-C6E6-35B3017B9CD7}"/>
                </a:ext>
              </a:extLst>
            </p:cNvPr>
            <p:cNvSpPr/>
            <p:nvPr userDrawn="1"/>
          </p:nvSpPr>
          <p:spPr bwMode="gray">
            <a:xfrm>
              <a:off x="780619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47" name="Rechteck 846">
              <a:extLst>
                <a:ext uri="{FF2B5EF4-FFF2-40B4-BE49-F238E27FC236}">
                  <a16:creationId xmlns:a16="http://schemas.microsoft.com/office/drawing/2014/main" id="{7B6E2F76-57DA-BDCB-A6F5-14C652268E1F}"/>
                </a:ext>
              </a:extLst>
            </p:cNvPr>
            <p:cNvSpPr/>
            <p:nvPr userDrawn="1"/>
          </p:nvSpPr>
          <p:spPr bwMode="gray">
            <a:xfrm>
              <a:off x="723012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48" name="Rechteck 847">
              <a:extLst>
                <a:ext uri="{FF2B5EF4-FFF2-40B4-BE49-F238E27FC236}">
                  <a16:creationId xmlns:a16="http://schemas.microsoft.com/office/drawing/2014/main" id="{4147B789-1048-9CF6-A1EF-FCF56E203DFB}"/>
                </a:ext>
              </a:extLst>
            </p:cNvPr>
            <p:cNvSpPr/>
            <p:nvPr userDrawn="1"/>
          </p:nvSpPr>
          <p:spPr bwMode="gray">
            <a:xfrm>
              <a:off x="665406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49" name="Rechteck 848">
              <a:extLst>
                <a:ext uri="{FF2B5EF4-FFF2-40B4-BE49-F238E27FC236}">
                  <a16:creationId xmlns:a16="http://schemas.microsoft.com/office/drawing/2014/main" id="{CDFC0F61-281C-8CC5-62FE-C9710A35B343}"/>
                </a:ext>
              </a:extLst>
            </p:cNvPr>
            <p:cNvSpPr/>
            <p:nvPr userDrawn="1"/>
          </p:nvSpPr>
          <p:spPr bwMode="gray">
            <a:xfrm>
              <a:off x="607800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50" name="Rechteck 849">
              <a:extLst>
                <a:ext uri="{FF2B5EF4-FFF2-40B4-BE49-F238E27FC236}">
                  <a16:creationId xmlns:a16="http://schemas.microsoft.com/office/drawing/2014/main" id="{31C5E7AA-B7CD-92CA-4AB6-BB78A102B92A}"/>
                </a:ext>
              </a:extLst>
            </p:cNvPr>
            <p:cNvSpPr/>
            <p:nvPr userDrawn="1"/>
          </p:nvSpPr>
          <p:spPr bwMode="gray">
            <a:xfrm>
              <a:off x="550193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51" name="Rechteck 850">
              <a:extLst>
                <a:ext uri="{FF2B5EF4-FFF2-40B4-BE49-F238E27FC236}">
                  <a16:creationId xmlns:a16="http://schemas.microsoft.com/office/drawing/2014/main" id="{B3A48DBA-EF89-B5ED-CDEE-53F5C296E0A4}"/>
                </a:ext>
              </a:extLst>
            </p:cNvPr>
            <p:cNvSpPr/>
            <p:nvPr userDrawn="1"/>
          </p:nvSpPr>
          <p:spPr bwMode="gray">
            <a:xfrm>
              <a:off x="492587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52" name="Rechteck 851">
              <a:extLst>
                <a:ext uri="{FF2B5EF4-FFF2-40B4-BE49-F238E27FC236}">
                  <a16:creationId xmlns:a16="http://schemas.microsoft.com/office/drawing/2014/main" id="{5AC4263F-FC1E-0F02-20D8-0C8B26F65B15}"/>
                </a:ext>
              </a:extLst>
            </p:cNvPr>
            <p:cNvSpPr/>
            <p:nvPr userDrawn="1"/>
          </p:nvSpPr>
          <p:spPr bwMode="gray">
            <a:xfrm>
              <a:off x="434980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53" name="Rechteck 852">
              <a:extLst>
                <a:ext uri="{FF2B5EF4-FFF2-40B4-BE49-F238E27FC236}">
                  <a16:creationId xmlns:a16="http://schemas.microsoft.com/office/drawing/2014/main" id="{A2E51743-03B8-1510-AEBA-1027B541FF56}"/>
                </a:ext>
              </a:extLst>
            </p:cNvPr>
            <p:cNvSpPr/>
            <p:nvPr userDrawn="1"/>
          </p:nvSpPr>
          <p:spPr bwMode="gray">
            <a:xfrm>
              <a:off x="377374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54" name="Rechteck 853">
              <a:extLst>
                <a:ext uri="{FF2B5EF4-FFF2-40B4-BE49-F238E27FC236}">
                  <a16:creationId xmlns:a16="http://schemas.microsoft.com/office/drawing/2014/main" id="{F81E11D2-F7A8-134F-A2A5-537613D24BF6}"/>
                </a:ext>
              </a:extLst>
            </p:cNvPr>
            <p:cNvSpPr/>
            <p:nvPr userDrawn="1"/>
          </p:nvSpPr>
          <p:spPr bwMode="gray">
            <a:xfrm>
              <a:off x="319768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55" name="Rechteck 854">
              <a:extLst>
                <a:ext uri="{FF2B5EF4-FFF2-40B4-BE49-F238E27FC236}">
                  <a16:creationId xmlns:a16="http://schemas.microsoft.com/office/drawing/2014/main" id="{29E2408D-09B8-B49D-0C3F-8D8EBFEA9FF8}"/>
                </a:ext>
              </a:extLst>
            </p:cNvPr>
            <p:cNvSpPr/>
            <p:nvPr userDrawn="1"/>
          </p:nvSpPr>
          <p:spPr bwMode="gray">
            <a:xfrm>
              <a:off x="262161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56" name="Rechteck 855">
              <a:extLst>
                <a:ext uri="{FF2B5EF4-FFF2-40B4-BE49-F238E27FC236}">
                  <a16:creationId xmlns:a16="http://schemas.microsoft.com/office/drawing/2014/main" id="{ACFDBAF3-2549-B914-0ED3-C2B7C65A5CF5}"/>
                </a:ext>
              </a:extLst>
            </p:cNvPr>
            <p:cNvSpPr/>
            <p:nvPr userDrawn="1"/>
          </p:nvSpPr>
          <p:spPr bwMode="gray">
            <a:xfrm>
              <a:off x="204555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57" name="Rechteck 856">
              <a:extLst>
                <a:ext uri="{FF2B5EF4-FFF2-40B4-BE49-F238E27FC236}">
                  <a16:creationId xmlns:a16="http://schemas.microsoft.com/office/drawing/2014/main" id="{AC99F1AD-C383-B45A-F9CC-79DCDF9E96A5}"/>
                </a:ext>
              </a:extLst>
            </p:cNvPr>
            <p:cNvSpPr/>
            <p:nvPr userDrawn="1"/>
          </p:nvSpPr>
          <p:spPr bwMode="gray">
            <a:xfrm>
              <a:off x="146948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58" name="Rechteck 857">
              <a:extLst>
                <a:ext uri="{FF2B5EF4-FFF2-40B4-BE49-F238E27FC236}">
                  <a16:creationId xmlns:a16="http://schemas.microsoft.com/office/drawing/2014/main" id="{53D849C2-79DC-CD8B-9616-EF641598D48A}"/>
                </a:ext>
              </a:extLst>
            </p:cNvPr>
            <p:cNvSpPr/>
            <p:nvPr userDrawn="1"/>
          </p:nvSpPr>
          <p:spPr bwMode="gray">
            <a:xfrm>
              <a:off x="89342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59" name="Rechteck 858">
              <a:extLst>
                <a:ext uri="{FF2B5EF4-FFF2-40B4-BE49-F238E27FC236}">
                  <a16:creationId xmlns:a16="http://schemas.microsoft.com/office/drawing/2014/main" id="{1A4AED40-0613-9D97-A2C6-ADFB5692DA66}"/>
                </a:ext>
              </a:extLst>
            </p:cNvPr>
            <p:cNvSpPr/>
            <p:nvPr userDrawn="1"/>
          </p:nvSpPr>
          <p:spPr bwMode="gray">
            <a:xfrm>
              <a:off x="31736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60" name="Rechteck 859">
              <a:extLst>
                <a:ext uri="{FF2B5EF4-FFF2-40B4-BE49-F238E27FC236}">
                  <a16:creationId xmlns:a16="http://schemas.microsoft.com/office/drawing/2014/main" id="{CDC09704-6A5A-6218-0495-4D24B550B72E}"/>
                </a:ext>
              </a:extLst>
            </p:cNvPr>
            <p:cNvSpPr/>
            <p:nvPr userDrawn="1"/>
          </p:nvSpPr>
          <p:spPr bwMode="gray">
            <a:xfrm>
              <a:off x="1126257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61" name="Rechteck 860">
              <a:extLst>
                <a:ext uri="{FF2B5EF4-FFF2-40B4-BE49-F238E27FC236}">
                  <a16:creationId xmlns:a16="http://schemas.microsoft.com/office/drawing/2014/main" id="{7C6B08EB-3114-2170-FF34-E971C2CED165}"/>
                </a:ext>
              </a:extLst>
            </p:cNvPr>
            <p:cNvSpPr/>
            <p:nvPr userDrawn="1"/>
          </p:nvSpPr>
          <p:spPr bwMode="gray">
            <a:xfrm>
              <a:off x="1068651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62" name="Rechteck 861">
              <a:extLst>
                <a:ext uri="{FF2B5EF4-FFF2-40B4-BE49-F238E27FC236}">
                  <a16:creationId xmlns:a16="http://schemas.microsoft.com/office/drawing/2014/main" id="{52D8A5A2-DE10-991F-1DCC-DFA30C89BF64}"/>
                </a:ext>
              </a:extLst>
            </p:cNvPr>
            <p:cNvSpPr/>
            <p:nvPr userDrawn="1"/>
          </p:nvSpPr>
          <p:spPr bwMode="gray">
            <a:xfrm>
              <a:off x="1011044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63" name="Rechteck 862">
              <a:extLst>
                <a:ext uri="{FF2B5EF4-FFF2-40B4-BE49-F238E27FC236}">
                  <a16:creationId xmlns:a16="http://schemas.microsoft.com/office/drawing/2014/main" id="{218FE7AF-5322-1B36-9EE0-B4E1CEACF858}"/>
                </a:ext>
              </a:extLst>
            </p:cNvPr>
            <p:cNvSpPr/>
            <p:nvPr userDrawn="1"/>
          </p:nvSpPr>
          <p:spPr bwMode="gray">
            <a:xfrm>
              <a:off x="953438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64" name="Rechteck 863">
              <a:extLst>
                <a:ext uri="{FF2B5EF4-FFF2-40B4-BE49-F238E27FC236}">
                  <a16:creationId xmlns:a16="http://schemas.microsoft.com/office/drawing/2014/main" id="{D8F81039-DCC7-8868-7024-B998970C9C53}"/>
                </a:ext>
              </a:extLst>
            </p:cNvPr>
            <p:cNvSpPr/>
            <p:nvPr userDrawn="1"/>
          </p:nvSpPr>
          <p:spPr bwMode="gray">
            <a:xfrm>
              <a:off x="895832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65" name="Rechteck 864">
              <a:extLst>
                <a:ext uri="{FF2B5EF4-FFF2-40B4-BE49-F238E27FC236}">
                  <a16:creationId xmlns:a16="http://schemas.microsoft.com/office/drawing/2014/main" id="{8FC45DEB-9221-958D-28E5-BC5DEB8DE7A2}"/>
                </a:ext>
              </a:extLst>
            </p:cNvPr>
            <p:cNvSpPr/>
            <p:nvPr userDrawn="1"/>
          </p:nvSpPr>
          <p:spPr bwMode="gray">
            <a:xfrm>
              <a:off x="838225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66" name="Rechteck 865">
              <a:extLst>
                <a:ext uri="{FF2B5EF4-FFF2-40B4-BE49-F238E27FC236}">
                  <a16:creationId xmlns:a16="http://schemas.microsoft.com/office/drawing/2014/main" id="{486190CC-B124-B8BA-52D9-2D995D6267B7}"/>
                </a:ext>
              </a:extLst>
            </p:cNvPr>
            <p:cNvSpPr/>
            <p:nvPr userDrawn="1"/>
          </p:nvSpPr>
          <p:spPr bwMode="gray">
            <a:xfrm>
              <a:off x="780619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67" name="Rechteck 866">
              <a:extLst>
                <a:ext uri="{FF2B5EF4-FFF2-40B4-BE49-F238E27FC236}">
                  <a16:creationId xmlns:a16="http://schemas.microsoft.com/office/drawing/2014/main" id="{30E4FBD1-42D6-7D39-F3B8-3CF86396B5B3}"/>
                </a:ext>
              </a:extLst>
            </p:cNvPr>
            <p:cNvSpPr/>
            <p:nvPr userDrawn="1"/>
          </p:nvSpPr>
          <p:spPr bwMode="gray">
            <a:xfrm>
              <a:off x="723012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68" name="Rechteck 867">
              <a:extLst>
                <a:ext uri="{FF2B5EF4-FFF2-40B4-BE49-F238E27FC236}">
                  <a16:creationId xmlns:a16="http://schemas.microsoft.com/office/drawing/2014/main" id="{574FB5F4-71CD-6782-7F31-3BABC78F2B65}"/>
                </a:ext>
              </a:extLst>
            </p:cNvPr>
            <p:cNvSpPr/>
            <p:nvPr userDrawn="1"/>
          </p:nvSpPr>
          <p:spPr bwMode="gray">
            <a:xfrm>
              <a:off x="665406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69" name="Rechteck 868">
              <a:extLst>
                <a:ext uri="{FF2B5EF4-FFF2-40B4-BE49-F238E27FC236}">
                  <a16:creationId xmlns:a16="http://schemas.microsoft.com/office/drawing/2014/main" id="{CCEF5434-6A15-446C-FE70-8816E308641D}"/>
                </a:ext>
              </a:extLst>
            </p:cNvPr>
            <p:cNvSpPr/>
            <p:nvPr userDrawn="1"/>
          </p:nvSpPr>
          <p:spPr bwMode="gray">
            <a:xfrm>
              <a:off x="607800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70" name="Rechteck 869">
              <a:extLst>
                <a:ext uri="{FF2B5EF4-FFF2-40B4-BE49-F238E27FC236}">
                  <a16:creationId xmlns:a16="http://schemas.microsoft.com/office/drawing/2014/main" id="{52B5E2DF-F326-DE14-6A1C-5BFBA3FCDB56}"/>
                </a:ext>
              </a:extLst>
            </p:cNvPr>
            <p:cNvSpPr/>
            <p:nvPr userDrawn="1"/>
          </p:nvSpPr>
          <p:spPr bwMode="gray">
            <a:xfrm>
              <a:off x="550193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71" name="Rechteck 870">
              <a:extLst>
                <a:ext uri="{FF2B5EF4-FFF2-40B4-BE49-F238E27FC236}">
                  <a16:creationId xmlns:a16="http://schemas.microsoft.com/office/drawing/2014/main" id="{4FF35AEF-7EBB-6E8C-3826-58B18F93596C}"/>
                </a:ext>
              </a:extLst>
            </p:cNvPr>
            <p:cNvSpPr/>
            <p:nvPr userDrawn="1"/>
          </p:nvSpPr>
          <p:spPr bwMode="gray">
            <a:xfrm>
              <a:off x="492587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72" name="Rechteck 871">
              <a:extLst>
                <a:ext uri="{FF2B5EF4-FFF2-40B4-BE49-F238E27FC236}">
                  <a16:creationId xmlns:a16="http://schemas.microsoft.com/office/drawing/2014/main" id="{1C063AC1-1072-FD7A-1217-1E8F3872CC40}"/>
                </a:ext>
              </a:extLst>
            </p:cNvPr>
            <p:cNvSpPr/>
            <p:nvPr userDrawn="1"/>
          </p:nvSpPr>
          <p:spPr bwMode="gray">
            <a:xfrm>
              <a:off x="434980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73" name="Rechteck 872">
              <a:extLst>
                <a:ext uri="{FF2B5EF4-FFF2-40B4-BE49-F238E27FC236}">
                  <a16:creationId xmlns:a16="http://schemas.microsoft.com/office/drawing/2014/main" id="{B6C1116F-D0A5-8CBB-9B56-56BDD429207E}"/>
                </a:ext>
              </a:extLst>
            </p:cNvPr>
            <p:cNvSpPr/>
            <p:nvPr userDrawn="1"/>
          </p:nvSpPr>
          <p:spPr bwMode="gray">
            <a:xfrm>
              <a:off x="377374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74" name="Rechteck 873">
              <a:extLst>
                <a:ext uri="{FF2B5EF4-FFF2-40B4-BE49-F238E27FC236}">
                  <a16:creationId xmlns:a16="http://schemas.microsoft.com/office/drawing/2014/main" id="{AC51F1B3-5A9C-752F-7499-A39629338BDF}"/>
                </a:ext>
              </a:extLst>
            </p:cNvPr>
            <p:cNvSpPr/>
            <p:nvPr userDrawn="1"/>
          </p:nvSpPr>
          <p:spPr bwMode="gray">
            <a:xfrm>
              <a:off x="319768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75" name="Rechteck 874">
              <a:extLst>
                <a:ext uri="{FF2B5EF4-FFF2-40B4-BE49-F238E27FC236}">
                  <a16:creationId xmlns:a16="http://schemas.microsoft.com/office/drawing/2014/main" id="{17A13AD3-4558-E851-82DF-AEBAAB2DDE27}"/>
                </a:ext>
              </a:extLst>
            </p:cNvPr>
            <p:cNvSpPr/>
            <p:nvPr userDrawn="1"/>
          </p:nvSpPr>
          <p:spPr bwMode="gray">
            <a:xfrm>
              <a:off x="262161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76" name="Rechteck 875">
              <a:extLst>
                <a:ext uri="{FF2B5EF4-FFF2-40B4-BE49-F238E27FC236}">
                  <a16:creationId xmlns:a16="http://schemas.microsoft.com/office/drawing/2014/main" id="{83801E66-6718-9AB8-C8A7-E346DBCAFA7B}"/>
                </a:ext>
              </a:extLst>
            </p:cNvPr>
            <p:cNvSpPr/>
            <p:nvPr userDrawn="1"/>
          </p:nvSpPr>
          <p:spPr bwMode="gray">
            <a:xfrm>
              <a:off x="204555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77" name="Rechteck 876">
              <a:extLst>
                <a:ext uri="{FF2B5EF4-FFF2-40B4-BE49-F238E27FC236}">
                  <a16:creationId xmlns:a16="http://schemas.microsoft.com/office/drawing/2014/main" id="{1B6826E0-36B4-1F75-7AF3-B81869D73D72}"/>
                </a:ext>
              </a:extLst>
            </p:cNvPr>
            <p:cNvSpPr/>
            <p:nvPr userDrawn="1"/>
          </p:nvSpPr>
          <p:spPr bwMode="gray">
            <a:xfrm>
              <a:off x="146948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78" name="Rechteck 877">
              <a:extLst>
                <a:ext uri="{FF2B5EF4-FFF2-40B4-BE49-F238E27FC236}">
                  <a16:creationId xmlns:a16="http://schemas.microsoft.com/office/drawing/2014/main" id="{398D0C59-DFB4-8708-CF05-2C037483C752}"/>
                </a:ext>
              </a:extLst>
            </p:cNvPr>
            <p:cNvSpPr/>
            <p:nvPr userDrawn="1"/>
          </p:nvSpPr>
          <p:spPr bwMode="gray">
            <a:xfrm>
              <a:off x="89342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79" name="Rechteck 878">
              <a:extLst>
                <a:ext uri="{FF2B5EF4-FFF2-40B4-BE49-F238E27FC236}">
                  <a16:creationId xmlns:a16="http://schemas.microsoft.com/office/drawing/2014/main" id="{2799DBCC-5824-AB31-8567-776D169D4E65}"/>
                </a:ext>
              </a:extLst>
            </p:cNvPr>
            <p:cNvSpPr/>
            <p:nvPr userDrawn="1"/>
          </p:nvSpPr>
          <p:spPr bwMode="gray">
            <a:xfrm>
              <a:off x="31736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80" name="Rechteck 879">
              <a:extLst>
                <a:ext uri="{FF2B5EF4-FFF2-40B4-BE49-F238E27FC236}">
                  <a16:creationId xmlns:a16="http://schemas.microsoft.com/office/drawing/2014/main" id="{6D3FE295-897D-DA56-583A-9A8C9A2B570B}"/>
                </a:ext>
              </a:extLst>
            </p:cNvPr>
            <p:cNvSpPr/>
            <p:nvPr userDrawn="1"/>
          </p:nvSpPr>
          <p:spPr bwMode="gray">
            <a:xfrm>
              <a:off x="1126257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81" name="Rechteck 880">
              <a:extLst>
                <a:ext uri="{FF2B5EF4-FFF2-40B4-BE49-F238E27FC236}">
                  <a16:creationId xmlns:a16="http://schemas.microsoft.com/office/drawing/2014/main" id="{F03C0F75-25A8-B801-DB05-654FC52800C6}"/>
                </a:ext>
              </a:extLst>
            </p:cNvPr>
            <p:cNvSpPr/>
            <p:nvPr userDrawn="1"/>
          </p:nvSpPr>
          <p:spPr bwMode="gray">
            <a:xfrm>
              <a:off x="1068651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82" name="Rechteck 881">
              <a:extLst>
                <a:ext uri="{FF2B5EF4-FFF2-40B4-BE49-F238E27FC236}">
                  <a16:creationId xmlns:a16="http://schemas.microsoft.com/office/drawing/2014/main" id="{96764A72-EAA5-5CAA-9632-3D5B9A1F4283}"/>
                </a:ext>
              </a:extLst>
            </p:cNvPr>
            <p:cNvSpPr/>
            <p:nvPr userDrawn="1"/>
          </p:nvSpPr>
          <p:spPr bwMode="gray">
            <a:xfrm>
              <a:off x="1011044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83" name="Rechteck 882">
              <a:extLst>
                <a:ext uri="{FF2B5EF4-FFF2-40B4-BE49-F238E27FC236}">
                  <a16:creationId xmlns:a16="http://schemas.microsoft.com/office/drawing/2014/main" id="{B0C98B22-BAAD-5A0A-4305-19314C386614}"/>
                </a:ext>
              </a:extLst>
            </p:cNvPr>
            <p:cNvSpPr/>
            <p:nvPr userDrawn="1"/>
          </p:nvSpPr>
          <p:spPr bwMode="gray">
            <a:xfrm>
              <a:off x="953438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84" name="Rechteck 883">
              <a:extLst>
                <a:ext uri="{FF2B5EF4-FFF2-40B4-BE49-F238E27FC236}">
                  <a16:creationId xmlns:a16="http://schemas.microsoft.com/office/drawing/2014/main" id="{BF28F6CA-08F2-3225-7707-4A6C09ACD0FC}"/>
                </a:ext>
              </a:extLst>
            </p:cNvPr>
            <p:cNvSpPr/>
            <p:nvPr userDrawn="1"/>
          </p:nvSpPr>
          <p:spPr bwMode="gray">
            <a:xfrm>
              <a:off x="895832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85" name="Rechteck 884">
              <a:extLst>
                <a:ext uri="{FF2B5EF4-FFF2-40B4-BE49-F238E27FC236}">
                  <a16:creationId xmlns:a16="http://schemas.microsoft.com/office/drawing/2014/main" id="{C5018650-7CE0-BEEF-D983-0486BA55CA33}"/>
                </a:ext>
              </a:extLst>
            </p:cNvPr>
            <p:cNvSpPr/>
            <p:nvPr userDrawn="1"/>
          </p:nvSpPr>
          <p:spPr bwMode="gray">
            <a:xfrm>
              <a:off x="838225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86" name="Rechteck 885">
              <a:extLst>
                <a:ext uri="{FF2B5EF4-FFF2-40B4-BE49-F238E27FC236}">
                  <a16:creationId xmlns:a16="http://schemas.microsoft.com/office/drawing/2014/main" id="{C4577EFA-56AF-73E1-F1F3-881CA9312F42}"/>
                </a:ext>
              </a:extLst>
            </p:cNvPr>
            <p:cNvSpPr/>
            <p:nvPr userDrawn="1"/>
          </p:nvSpPr>
          <p:spPr bwMode="gray">
            <a:xfrm>
              <a:off x="780619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87" name="Rechteck 886">
              <a:extLst>
                <a:ext uri="{FF2B5EF4-FFF2-40B4-BE49-F238E27FC236}">
                  <a16:creationId xmlns:a16="http://schemas.microsoft.com/office/drawing/2014/main" id="{0583974F-F242-1E23-6557-E61B9C985529}"/>
                </a:ext>
              </a:extLst>
            </p:cNvPr>
            <p:cNvSpPr/>
            <p:nvPr userDrawn="1"/>
          </p:nvSpPr>
          <p:spPr bwMode="gray">
            <a:xfrm>
              <a:off x="723012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88" name="Rechteck 887">
              <a:extLst>
                <a:ext uri="{FF2B5EF4-FFF2-40B4-BE49-F238E27FC236}">
                  <a16:creationId xmlns:a16="http://schemas.microsoft.com/office/drawing/2014/main" id="{B222EF94-4CC2-F8B6-AB0B-91BC91AA1610}"/>
                </a:ext>
              </a:extLst>
            </p:cNvPr>
            <p:cNvSpPr/>
            <p:nvPr userDrawn="1"/>
          </p:nvSpPr>
          <p:spPr bwMode="gray">
            <a:xfrm>
              <a:off x="665406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89" name="Rechteck 888">
              <a:extLst>
                <a:ext uri="{FF2B5EF4-FFF2-40B4-BE49-F238E27FC236}">
                  <a16:creationId xmlns:a16="http://schemas.microsoft.com/office/drawing/2014/main" id="{0274DA8C-2546-EDDD-EB76-3418711066D5}"/>
                </a:ext>
              </a:extLst>
            </p:cNvPr>
            <p:cNvSpPr/>
            <p:nvPr userDrawn="1"/>
          </p:nvSpPr>
          <p:spPr bwMode="gray">
            <a:xfrm>
              <a:off x="607800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90" name="Rechteck 889">
              <a:extLst>
                <a:ext uri="{FF2B5EF4-FFF2-40B4-BE49-F238E27FC236}">
                  <a16:creationId xmlns:a16="http://schemas.microsoft.com/office/drawing/2014/main" id="{37085FC3-B621-CF3F-FDF2-BF585FA01146}"/>
                </a:ext>
              </a:extLst>
            </p:cNvPr>
            <p:cNvSpPr/>
            <p:nvPr userDrawn="1"/>
          </p:nvSpPr>
          <p:spPr bwMode="gray">
            <a:xfrm>
              <a:off x="550193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91" name="Rechteck 890">
              <a:extLst>
                <a:ext uri="{FF2B5EF4-FFF2-40B4-BE49-F238E27FC236}">
                  <a16:creationId xmlns:a16="http://schemas.microsoft.com/office/drawing/2014/main" id="{8AC73081-1EAC-FD15-E1E5-94955BBC64A8}"/>
                </a:ext>
              </a:extLst>
            </p:cNvPr>
            <p:cNvSpPr/>
            <p:nvPr userDrawn="1"/>
          </p:nvSpPr>
          <p:spPr bwMode="gray">
            <a:xfrm>
              <a:off x="492587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92" name="Rechteck 891">
              <a:extLst>
                <a:ext uri="{FF2B5EF4-FFF2-40B4-BE49-F238E27FC236}">
                  <a16:creationId xmlns:a16="http://schemas.microsoft.com/office/drawing/2014/main" id="{BD26A0A6-94AE-CE62-2987-93FFF3B9B16C}"/>
                </a:ext>
              </a:extLst>
            </p:cNvPr>
            <p:cNvSpPr/>
            <p:nvPr userDrawn="1"/>
          </p:nvSpPr>
          <p:spPr bwMode="gray">
            <a:xfrm>
              <a:off x="434980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93" name="Rechteck 892">
              <a:extLst>
                <a:ext uri="{FF2B5EF4-FFF2-40B4-BE49-F238E27FC236}">
                  <a16:creationId xmlns:a16="http://schemas.microsoft.com/office/drawing/2014/main" id="{C53C28BA-F18F-1D12-D583-F34B110F9A8A}"/>
                </a:ext>
              </a:extLst>
            </p:cNvPr>
            <p:cNvSpPr/>
            <p:nvPr userDrawn="1"/>
          </p:nvSpPr>
          <p:spPr bwMode="gray">
            <a:xfrm>
              <a:off x="377374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94" name="Rechteck 893">
              <a:extLst>
                <a:ext uri="{FF2B5EF4-FFF2-40B4-BE49-F238E27FC236}">
                  <a16:creationId xmlns:a16="http://schemas.microsoft.com/office/drawing/2014/main" id="{17DFA1C6-DE98-0686-D78D-EBB6F79319AA}"/>
                </a:ext>
              </a:extLst>
            </p:cNvPr>
            <p:cNvSpPr/>
            <p:nvPr userDrawn="1"/>
          </p:nvSpPr>
          <p:spPr bwMode="gray">
            <a:xfrm>
              <a:off x="319768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95" name="Rechteck 894">
              <a:extLst>
                <a:ext uri="{FF2B5EF4-FFF2-40B4-BE49-F238E27FC236}">
                  <a16:creationId xmlns:a16="http://schemas.microsoft.com/office/drawing/2014/main" id="{4E050644-99DA-ACE6-7D44-DBFD18E05C29}"/>
                </a:ext>
              </a:extLst>
            </p:cNvPr>
            <p:cNvSpPr/>
            <p:nvPr userDrawn="1"/>
          </p:nvSpPr>
          <p:spPr bwMode="gray">
            <a:xfrm>
              <a:off x="262161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96" name="Rechteck 895">
              <a:extLst>
                <a:ext uri="{FF2B5EF4-FFF2-40B4-BE49-F238E27FC236}">
                  <a16:creationId xmlns:a16="http://schemas.microsoft.com/office/drawing/2014/main" id="{E4756E54-3EF4-81FC-3A67-44353D6140AC}"/>
                </a:ext>
              </a:extLst>
            </p:cNvPr>
            <p:cNvSpPr/>
            <p:nvPr userDrawn="1"/>
          </p:nvSpPr>
          <p:spPr bwMode="gray">
            <a:xfrm>
              <a:off x="204555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97" name="Rechteck 896">
              <a:extLst>
                <a:ext uri="{FF2B5EF4-FFF2-40B4-BE49-F238E27FC236}">
                  <a16:creationId xmlns:a16="http://schemas.microsoft.com/office/drawing/2014/main" id="{05C9D9FA-DED2-6766-F25F-E7EF0E0AB4FD}"/>
                </a:ext>
              </a:extLst>
            </p:cNvPr>
            <p:cNvSpPr/>
            <p:nvPr userDrawn="1"/>
          </p:nvSpPr>
          <p:spPr bwMode="gray">
            <a:xfrm>
              <a:off x="146948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98" name="Rechteck 897">
              <a:extLst>
                <a:ext uri="{FF2B5EF4-FFF2-40B4-BE49-F238E27FC236}">
                  <a16:creationId xmlns:a16="http://schemas.microsoft.com/office/drawing/2014/main" id="{0AF0EA8B-6DC3-6520-91F6-EA65A7879B86}"/>
                </a:ext>
              </a:extLst>
            </p:cNvPr>
            <p:cNvSpPr/>
            <p:nvPr userDrawn="1"/>
          </p:nvSpPr>
          <p:spPr bwMode="gray">
            <a:xfrm>
              <a:off x="89342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99" name="Rechteck 898">
              <a:extLst>
                <a:ext uri="{FF2B5EF4-FFF2-40B4-BE49-F238E27FC236}">
                  <a16:creationId xmlns:a16="http://schemas.microsoft.com/office/drawing/2014/main" id="{C57BFAF8-E7F9-F514-3BE4-206493DB045E}"/>
                </a:ext>
              </a:extLst>
            </p:cNvPr>
            <p:cNvSpPr/>
            <p:nvPr userDrawn="1"/>
          </p:nvSpPr>
          <p:spPr bwMode="gray">
            <a:xfrm>
              <a:off x="31736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00" name="Rechteck 899">
              <a:extLst>
                <a:ext uri="{FF2B5EF4-FFF2-40B4-BE49-F238E27FC236}">
                  <a16:creationId xmlns:a16="http://schemas.microsoft.com/office/drawing/2014/main" id="{D4E53400-35D2-6E5C-881C-D3697B3A622E}"/>
                </a:ext>
              </a:extLst>
            </p:cNvPr>
            <p:cNvSpPr/>
            <p:nvPr userDrawn="1"/>
          </p:nvSpPr>
          <p:spPr bwMode="gray">
            <a:xfrm>
              <a:off x="1126257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01" name="Rechteck 900">
              <a:extLst>
                <a:ext uri="{FF2B5EF4-FFF2-40B4-BE49-F238E27FC236}">
                  <a16:creationId xmlns:a16="http://schemas.microsoft.com/office/drawing/2014/main" id="{4EC795DA-9328-9529-9BAD-D8076B4C6542}"/>
                </a:ext>
              </a:extLst>
            </p:cNvPr>
            <p:cNvSpPr/>
            <p:nvPr userDrawn="1"/>
          </p:nvSpPr>
          <p:spPr bwMode="gray">
            <a:xfrm>
              <a:off x="1068651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02" name="Rechteck 901">
              <a:extLst>
                <a:ext uri="{FF2B5EF4-FFF2-40B4-BE49-F238E27FC236}">
                  <a16:creationId xmlns:a16="http://schemas.microsoft.com/office/drawing/2014/main" id="{DEC22146-31BE-64ED-3D1C-2B0AE58BAA81}"/>
                </a:ext>
              </a:extLst>
            </p:cNvPr>
            <p:cNvSpPr/>
            <p:nvPr userDrawn="1"/>
          </p:nvSpPr>
          <p:spPr bwMode="gray">
            <a:xfrm>
              <a:off x="1011044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03" name="Rechteck 902">
              <a:extLst>
                <a:ext uri="{FF2B5EF4-FFF2-40B4-BE49-F238E27FC236}">
                  <a16:creationId xmlns:a16="http://schemas.microsoft.com/office/drawing/2014/main" id="{13A125AE-2BC5-D27D-D8E3-3A551EF525A7}"/>
                </a:ext>
              </a:extLst>
            </p:cNvPr>
            <p:cNvSpPr/>
            <p:nvPr userDrawn="1"/>
          </p:nvSpPr>
          <p:spPr bwMode="gray">
            <a:xfrm>
              <a:off x="953438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04" name="Rechteck 903">
              <a:extLst>
                <a:ext uri="{FF2B5EF4-FFF2-40B4-BE49-F238E27FC236}">
                  <a16:creationId xmlns:a16="http://schemas.microsoft.com/office/drawing/2014/main" id="{5F2FF534-73A9-34DF-A61D-805EB2582EA2}"/>
                </a:ext>
              </a:extLst>
            </p:cNvPr>
            <p:cNvSpPr/>
            <p:nvPr userDrawn="1"/>
          </p:nvSpPr>
          <p:spPr bwMode="gray">
            <a:xfrm>
              <a:off x="895832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05" name="Rechteck 904">
              <a:extLst>
                <a:ext uri="{FF2B5EF4-FFF2-40B4-BE49-F238E27FC236}">
                  <a16:creationId xmlns:a16="http://schemas.microsoft.com/office/drawing/2014/main" id="{28BB225F-8B87-FC14-B4D3-261C0F0E9725}"/>
                </a:ext>
              </a:extLst>
            </p:cNvPr>
            <p:cNvSpPr/>
            <p:nvPr userDrawn="1"/>
          </p:nvSpPr>
          <p:spPr bwMode="gray">
            <a:xfrm>
              <a:off x="838225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06" name="Rechteck 905">
              <a:extLst>
                <a:ext uri="{FF2B5EF4-FFF2-40B4-BE49-F238E27FC236}">
                  <a16:creationId xmlns:a16="http://schemas.microsoft.com/office/drawing/2014/main" id="{FB359769-E474-09E8-1654-C6C0A722E979}"/>
                </a:ext>
              </a:extLst>
            </p:cNvPr>
            <p:cNvSpPr/>
            <p:nvPr userDrawn="1"/>
          </p:nvSpPr>
          <p:spPr bwMode="gray">
            <a:xfrm>
              <a:off x="780619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07" name="Rechteck 906">
              <a:extLst>
                <a:ext uri="{FF2B5EF4-FFF2-40B4-BE49-F238E27FC236}">
                  <a16:creationId xmlns:a16="http://schemas.microsoft.com/office/drawing/2014/main" id="{1449F8CB-A740-45B3-4DE1-27DF04A64579}"/>
                </a:ext>
              </a:extLst>
            </p:cNvPr>
            <p:cNvSpPr/>
            <p:nvPr userDrawn="1"/>
          </p:nvSpPr>
          <p:spPr bwMode="gray">
            <a:xfrm>
              <a:off x="723012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08" name="Rechteck 907">
              <a:extLst>
                <a:ext uri="{FF2B5EF4-FFF2-40B4-BE49-F238E27FC236}">
                  <a16:creationId xmlns:a16="http://schemas.microsoft.com/office/drawing/2014/main" id="{6C2B068E-2C2C-8818-AB4C-96BFCF0685C5}"/>
                </a:ext>
              </a:extLst>
            </p:cNvPr>
            <p:cNvSpPr/>
            <p:nvPr userDrawn="1"/>
          </p:nvSpPr>
          <p:spPr bwMode="gray">
            <a:xfrm>
              <a:off x="665406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09" name="Rechteck 908">
              <a:extLst>
                <a:ext uri="{FF2B5EF4-FFF2-40B4-BE49-F238E27FC236}">
                  <a16:creationId xmlns:a16="http://schemas.microsoft.com/office/drawing/2014/main" id="{1AD846B5-5CE2-3EFE-7EB1-451D68D9406E}"/>
                </a:ext>
              </a:extLst>
            </p:cNvPr>
            <p:cNvSpPr/>
            <p:nvPr userDrawn="1"/>
          </p:nvSpPr>
          <p:spPr bwMode="gray">
            <a:xfrm>
              <a:off x="607800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10" name="Rechteck 909">
              <a:extLst>
                <a:ext uri="{FF2B5EF4-FFF2-40B4-BE49-F238E27FC236}">
                  <a16:creationId xmlns:a16="http://schemas.microsoft.com/office/drawing/2014/main" id="{4EC2F486-FB7C-D243-84C3-9DD5A55FC32E}"/>
                </a:ext>
              </a:extLst>
            </p:cNvPr>
            <p:cNvSpPr/>
            <p:nvPr userDrawn="1"/>
          </p:nvSpPr>
          <p:spPr bwMode="gray">
            <a:xfrm>
              <a:off x="550193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11" name="Rechteck 910">
              <a:extLst>
                <a:ext uri="{FF2B5EF4-FFF2-40B4-BE49-F238E27FC236}">
                  <a16:creationId xmlns:a16="http://schemas.microsoft.com/office/drawing/2014/main" id="{9806A1F1-DBF6-F021-2ACC-C192B3EA79A5}"/>
                </a:ext>
              </a:extLst>
            </p:cNvPr>
            <p:cNvSpPr/>
            <p:nvPr userDrawn="1"/>
          </p:nvSpPr>
          <p:spPr bwMode="gray">
            <a:xfrm>
              <a:off x="492587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12" name="Rechteck 911">
              <a:extLst>
                <a:ext uri="{FF2B5EF4-FFF2-40B4-BE49-F238E27FC236}">
                  <a16:creationId xmlns:a16="http://schemas.microsoft.com/office/drawing/2014/main" id="{1503677E-ED2C-417F-4CA7-3219F17BD5F4}"/>
                </a:ext>
              </a:extLst>
            </p:cNvPr>
            <p:cNvSpPr/>
            <p:nvPr userDrawn="1"/>
          </p:nvSpPr>
          <p:spPr bwMode="gray">
            <a:xfrm>
              <a:off x="434980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13" name="Rechteck 912">
              <a:extLst>
                <a:ext uri="{FF2B5EF4-FFF2-40B4-BE49-F238E27FC236}">
                  <a16:creationId xmlns:a16="http://schemas.microsoft.com/office/drawing/2014/main" id="{71A44695-5C9B-E157-636E-2EBB5F2C439F}"/>
                </a:ext>
              </a:extLst>
            </p:cNvPr>
            <p:cNvSpPr/>
            <p:nvPr userDrawn="1"/>
          </p:nvSpPr>
          <p:spPr bwMode="gray">
            <a:xfrm>
              <a:off x="377374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14" name="Rechteck 913">
              <a:extLst>
                <a:ext uri="{FF2B5EF4-FFF2-40B4-BE49-F238E27FC236}">
                  <a16:creationId xmlns:a16="http://schemas.microsoft.com/office/drawing/2014/main" id="{168AF101-C9B2-2076-E358-EC82D712FDAF}"/>
                </a:ext>
              </a:extLst>
            </p:cNvPr>
            <p:cNvSpPr/>
            <p:nvPr userDrawn="1"/>
          </p:nvSpPr>
          <p:spPr bwMode="gray">
            <a:xfrm>
              <a:off x="319768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15" name="Rechteck 914">
              <a:extLst>
                <a:ext uri="{FF2B5EF4-FFF2-40B4-BE49-F238E27FC236}">
                  <a16:creationId xmlns:a16="http://schemas.microsoft.com/office/drawing/2014/main" id="{08F05873-3B77-B03C-8A28-12CA99961830}"/>
                </a:ext>
              </a:extLst>
            </p:cNvPr>
            <p:cNvSpPr/>
            <p:nvPr userDrawn="1"/>
          </p:nvSpPr>
          <p:spPr bwMode="gray">
            <a:xfrm>
              <a:off x="262161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16" name="Rechteck 915">
              <a:extLst>
                <a:ext uri="{FF2B5EF4-FFF2-40B4-BE49-F238E27FC236}">
                  <a16:creationId xmlns:a16="http://schemas.microsoft.com/office/drawing/2014/main" id="{97BF7DA2-6E34-1923-76EF-C7DC33314333}"/>
                </a:ext>
              </a:extLst>
            </p:cNvPr>
            <p:cNvSpPr/>
            <p:nvPr userDrawn="1"/>
          </p:nvSpPr>
          <p:spPr bwMode="gray">
            <a:xfrm>
              <a:off x="204555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17" name="Rechteck 916">
              <a:extLst>
                <a:ext uri="{FF2B5EF4-FFF2-40B4-BE49-F238E27FC236}">
                  <a16:creationId xmlns:a16="http://schemas.microsoft.com/office/drawing/2014/main" id="{B4C82167-9E5B-E3DE-4DDC-755342820605}"/>
                </a:ext>
              </a:extLst>
            </p:cNvPr>
            <p:cNvSpPr/>
            <p:nvPr userDrawn="1"/>
          </p:nvSpPr>
          <p:spPr bwMode="gray">
            <a:xfrm>
              <a:off x="146948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18" name="Rechteck 917">
              <a:extLst>
                <a:ext uri="{FF2B5EF4-FFF2-40B4-BE49-F238E27FC236}">
                  <a16:creationId xmlns:a16="http://schemas.microsoft.com/office/drawing/2014/main" id="{E4223621-9ED8-D394-957C-33EC05770979}"/>
                </a:ext>
              </a:extLst>
            </p:cNvPr>
            <p:cNvSpPr/>
            <p:nvPr userDrawn="1"/>
          </p:nvSpPr>
          <p:spPr bwMode="gray">
            <a:xfrm>
              <a:off x="89342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19" name="Rechteck 918">
              <a:extLst>
                <a:ext uri="{FF2B5EF4-FFF2-40B4-BE49-F238E27FC236}">
                  <a16:creationId xmlns:a16="http://schemas.microsoft.com/office/drawing/2014/main" id="{34CA06A3-4DFF-D1D9-4E4D-D09F602C3C5E}"/>
                </a:ext>
              </a:extLst>
            </p:cNvPr>
            <p:cNvSpPr/>
            <p:nvPr userDrawn="1"/>
          </p:nvSpPr>
          <p:spPr bwMode="gray">
            <a:xfrm>
              <a:off x="31736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20" name="Rechteck 919">
              <a:extLst>
                <a:ext uri="{FF2B5EF4-FFF2-40B4-BE49-F238E27FC236}">
                  <a16:creationId xmlns:a16="http://schemas.microsoft.com/office/drawing/2014/main" id="{01A1C64E-F6D6-BAC8-C42E-F5D8510FA3A2}"/>
                </a:ext>
              </a:extLst>
            </p:cNvPr>
            <p:cNvSpPr/>
            <p:nvPr userDrawn="1"/>
          </p:nvSpPr>
          <p:spPr bwMode="gray">
            <a:xfrm>
              <a:off x="1126257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21" name="Rechteck 920">
              <a:extLst>
                <a:ext uri="{FF2B5EF4-FFF2-40B4-BE49-F238E27FC236}">
                  <a16:creationId xmlns:a16="http://schemas.microsoft.com/office/drawing/2014/main" id="{E33399A6-0030-F7EA-3079-6740D78ECA03}"/>
                </a:ext>
              </a:extLst>
            </p:cNvPr>
            <p:cNvSpPr/>
            <p:nvPr userDrawn="1"/>
          </p:nvSpPr>
          <p:spPr bwMode="gray">
            <a:xfrm>
              <a:off x="1068651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22" name="Rechteck 921">
              <a:extLst>
                <a:ext uri="{FF2B5EF4-FFF2-40B4-BE49-F238E27FC236}">
                  <a16:creationId xmlns:a16="http://schemas.microsoft.com/office/drawing/2014/main" id="{BA0B749D-5C93-0F54-18EA-40C39ECBB66D}"/>
                </a:ext>
              </a:extLst>
            </p:cNvPr>
            <p:cNvSpPr/>
            <p:nvPr userDrawn="1"/>
          </p:nvSpPr>
          <p:spPr bwMode="gray">
            <a:xfrm>
              <a:off x="1011044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23" name="Rechteck 922">
              <a:extLst>
                <a:ext uri="{FF2B5EF4-FFF2-40B4-BE49-F238E27FC236}">
                  <a16:creationId xmlns:a16="http://schemas.microsoft.com/office/drawing/2014/main" id="{D72FEFE5-1813-534F-AB4B-BF2195971790}"/>
                </a:ext>
              </a:extLst>
            </p:cNvPr>
            <p:cNvSpPr/>
            <p:nvPr userDrawn="1"/>
          </p:nvSpPr>
          <p:spPr bwMode="gray">
            <a:xfrm>
              <a:off x="953438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24" name="Rechteck 923">
              <a:extLst>
                <a:ext uri="{FF2B5EF4-FFF2-40B4-BE49-F238E27FC236}">
                  <a16:creationId xmlns:a16="http://schemas.microsoft.com/office/drawing/2014/main" id="{C9680B57-DA89-FE11-E91A-188D35657569}"/>
                </a:ext>
              </a:extLst>
            </p:cNvPr>
            <p:cNvSpPr/>
            <p:nvPr userDrawn="1"/>
          </p:nvSpPr>
          <p:spPr bwMode="gray">
            <a:xfrm>
              <a:off x="895832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25" name="Rechteck 924">
              <a:extLst>
                <a:ext uri="{FF2B5EF4-FFF2-40B4-BE49-F238E27FC236}">
                  <a16:creationId xmlns:a16="http://schemas.microsoft.com/office/drawing/2014/main" id="{4F162212-8D0A-1823-ABA7-B3B9D1280085}"/>
                </a:ext>
              </a:extLst>
            </p:cNvPr>
            <p:cNvSpPr/>
            <p:nvPr userDrawn="1"/>
          </p:nvSpPr>
          <p:spPr bwMode="gray">
            <a:xfrm>
              <a:off x="838225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26" name="Rechteck 925">
              <a:extLst>
                <a:ext uri="{FF2B5EF4-FFF2-40B4-BE49-F238E27FC236}">
                  <a16:creationId xmlns:a16="http://schemas.microsoft.com/office/drawing/2014/main" id="{0DFB6127-ADAB-FC53-ED9D-FAB53FA9E485}"/>
                </a:ext>
              </a:extLst>
            </p:cNvPr>
            <p:cNvSpPr/>
            <p:nvPr userDrawn="1"/>
          </p:nvSpPr>
          <p:spPr bwMode="gray">
            <a:xfrm>
              <a:off x="780619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27" name="Rechteck 926">
              <a:extLst>
                <a:ext uri="{FF2B5EF4-FFF2-40B4-BE49-F238E27FC236}">
                  <a16:creationId xmlns:a16="http://schemas.microsoft.com/office/drawing/2014/main" id="{A1AF539F-3E79-E7BC-E80A-B5A363F151F7}"/>
                </a:ext>
              </a:extLst>
            </p:cNvPr>
            <p:cNvSpPr/>
            <p:nvPr userDrawn="1"/>
          </p:nvSpPr>
          <p:spPr bwMode="gray">
            <a:xfrm>
              <a:off x="723012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28" name="Rechteck 927">
              <a:extLst>
                <a:ext uri="{FF2B5EF4-FFF2-40B4-BE49-F238E27FC236}">
                  <a16:creationId xmlns:a16="http://schemas.microsoft.com/office/drawing/2014/main" id="{28D1461C-6647-E01C-7731-2FF24DCDEF4F}"/>
                </a:ext>
              </a:extLst>
            </p:cNvPr>
            <p:cNvSpPr/>
            <p:nvPr userDrawn="1"/>
          </p:nvSpPr>
          <p:spPr bwMode="gray">
            <a:xfrm>
              <a:off x="665406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29" name="Rechteck 928">
              <a:extLst>
                <a:ext uri="{FF2B5EF4-FFF2-40B4-BE49-F238E27FC236}">
                  <a16:creationId xmlns:a16="http://schemas.microsoft.com/office/drawing/2014/main" id="{0AFFB0C7-A7CB-5C9E-0A5B-9B9CBC3EDF08}"/>
                </a:ext>
              </a:extLst>
            </p:cNvPr>
            <p:cNvSpPr/>
            <p:nvPr userDrawn="1"/>
          </p:nvSpPr>
          <p:spPr bwMode="gray">
            <a:xfrm>
              <a:off x="607800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30" name="Rechteck 929">
              <a:extLst>
                <a:ext uri="{FF2B5EF4-FFF2-40B4-BE49-F238E27FC236}">
                  <a16:creationId xmlns:a16="http://schemas.microsoft.com/office/drawing/2014/main" id="{737EA38B-B469-4AAC-D775-7B0BD7512478}"/>
                </a:ext>
              </a:extLst>
            </p:cNvPr>
            <p:cNvSpPr/>
            <p:nvPr userDrawn="1"/>
          </p:nvSpPr>
          <p:spPr bwMode="gray">
            <a:xfrm>
              <a:off x="550193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31" name="Rechteck 930">
              <a:extLst>
                <a:ext uri="{FF2B5EF4-FFF2-40B4-BE49-F238E27FC236}">
                  <a16:creationId xmlns:a16="http://schemas.microsoft.com/office/drawing/2014/main" id="{535D0FE8-CB4E-A26D-BCD2-8B736947AAF9}"/>
                </a:ext>
              </a:extLst>
            </p:cNvPr>
            <p:cNvSpPr/>
            <p:nvPr userDrawn="1"/>
          </p:nvSpPr>
          <p:spPr bwMode="gray">
            <a:xfrm>
              <a:off x="492587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32" name="Rechteck 931">
              <a:extLst>
                <a:ext uri="{FF2B5EF4-FFF2-40B4-BE49-F238E27FC236}">
                  <a16:creationId xmlns:a16="http://schemas.microsoft.com/office/drawing/2014/main" id="{CB8E8F37-BED8-1ECB-34CA-4B1116FB4800}"/>
                </a:ext>
              </a:extLst>
            </p:cNvPr>
            <p:cNvSpPr/>
            <p:nvPr userDrawn="1"/>
          </p:nvSpPr>
          <p:spPr bwMode="gray">
            <a:xfrm>
              <a:off x="434980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33" name="Rechteck 932">
              <a:extLst>
                <a:ext uri="{FF2B5EF4-FFF2-40B4-BE49-F238E27FC236}">
                  <a16:creationId xmlns:a16="http://schemas.microsoft.com/office/drawing/2014/main" id="{253FAE60-8AF5-F8B3-2443-B5A083AC1EB1}"/>
                </a:ext>
              </a:extLst>
            </p:cNvPr>
            <p:cNvSpPr/>
            <p:nvPr userDrawn="1"/>
          </p:nvSpPr>
          <p:spPr bwMode="gray">
            <a:xfrm>
              <a:off x="377374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34" name="Rechteck 933">
              <a:extLst>
                <a:ext uri="{FF2B5EF4-FFF2-40B4-BE49-F238E27FC236}">
                  <a16:creationId xmlns:a16="http://schemas.microsoft.com/office/drawing/2014/main" id="{53231DC9-4BA7-2887-BDF6-B5CF5ADEF238}"/>
                </a:ext>
              </a:extLst>
            </p:cNvPr>
            <p:cNvSpPr/>
            <p:nvPr userDrawn="1"/>
          </p:nvSpPr>
          <p:spPr bwMode="gray">
            <a:xfrm>
              <a:off x="319768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35" name="Rechteck 934">
              <a:extLst>
                <a:ext uri="{FF2B5EF4-FFF2-40B4-BE49-F238E27FC236}">
                  <a16:creationId xmlns:a16="http://schemas.microsoft.com/office/drawing/2014/main" id="{395F5497-C3B9-A173-B4B7-5DCD37A6D6CB}"/>
                </a:ext>
              </a:extLst>
            </p:cNvPr>
            <p:cNvSpPr/>
            <p:nvPr userDrawn="1"/>
          </p:nvSpPr>
          <p:spPr bwMode="gray">
            <a:xfrm>
              <a:off x="262161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36" name="Rechteck 935">
              <a:extLst>
                <a:ext uri="{FF2B5EF4-FFF2-40B4-BE49-F238E27FC236}">
                  <a16:creationId xmlns:a16="http://schemas.microsoft.com/office/drawing/2014/main" id="{DFBC2804-AB35-236A-C506-B5A6F8FDAEFF}"/>
                </a:ext>
              </a:extLst>
            </p:cNvPr>
            <p:cNvSpPr/>
            <p:nvPr userDrawn="1"/>
          </p:nvSpPr>
          <p:spPr bwMode="gray">
            <a:xfrm>
              <a:off x="204555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37" name="Rechteck 936">
              <a:extLst>
                <a:ext uri="{FF2B5EF4-FFF2-40B4-BE49-F238E27FC236}">
                  <a16:creationId xmlns:a16="http://schemas.microsoft.com/office/drawing/2014/main" id="{EA2CBD5B-01DE-487F-42E2-4DB148EBF0BB}"/>
                </a:ext>
              </a:extLst>
            </p:cNvPr>
            <p:cNvSpPr/>
            <p:nvPr userDrawn="1"/>
          </p:nvSpPr>
          <p:spPr bwMode="gray">
            <a:xfrm>
              <a:off x="146948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38" name="Rechteck 937">
              <a:extLst>
                <a:ext uri="{FF2B5EF4-FFF2-40B4-BE49-F238E27FC236}">
                  <a16:creationId xmlns:a16="http://schemas.microsoft.com/office/drawing/2014/main" id="{54E4F772-1494-13BD-8865-47E7054D5429}"/>
                </a:ext>
              </a:extLst>
            </p:cNvPr>
            <p:cNvSpPr/>
            <p:nvPr userDrawn="1"/>
          </p:nvSpPr>
          <p:spPr bwMode="gray">
            <a:xfrm>
              <a:off x="89342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39" name="Rechteck 938">
              <a:extLst>
                <a:ext uri="{FF2B5EF4-FFF2-40B4-BE49-F238E27FC236}">
                  <a16:creationId xmlns:a16="http://schemas.microsoft.com/office/drawing/2014/main" id="{5D65D21C-CA37-3671-5278-1C9B88DBD14F}"/>
                </a:ext>
              </a:extLst>
            </p:cNvPr>
            <p:cNvSpPr/>
            <p:nvPr userDrawn="1"/>
          </p:nvSpPr>
          <p:spPr bwMode="gray">
            <a:xfrm>
              <a:off x="31736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40" name="Rechteck 939">
              <a:extLst>
                <a:ext uri="{FF2B5EF4-FFF2-40B4-BE49-F238E27FC236}">
                  <a16:creationId xmlns:a16="http://schemas.microsoft.com/office/drawing/2014/main" id="{0120C548-1250-2313-3572-4449EFB38039}"/>
                </a:ext>
              </a:extLst>
            </p:cNvPr>
            <p:cNvSpPr/>
            <p:nvPr userDrawn="1"/>
          </p:nvSpPr>
          <p:spPr bwMode="gray">
            <a:xfrm>
              <a:off x="1126257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41" name="Rechteck 940">
              <a:extLst>
                <a:ext uri="{FF2B5EF4-FFF2-40B4-BE49-F238E27FC236}">
                  <a16:creationId xmlns:a16="http://schemas.microsoft.com/office/drawing/2014/main" id="{AC9CFFB9-B25C-F12D-678D-F83A31594E07}"/>
                </a:ext>
              </a:extLst>
            </p:cNvPr>
            <p:cNvSpPr/>
            <p:nvPr userDrawn="1"/>
          </p:nvSpPr>
          <p:spPr bwMode="gray">
            <a:xfrm>
              <a:off x="1068651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42" name="Rechteck 941">
              <a:extLst>
                <a:ext uri="{FF2B5EF4-FFF2-40B4-BE49-F238E27FC236}">
                  <a16:creationId xmlns:a16="http://schemas.microsoft.com/office/drawing/2014/main" id="{08E7A222-0C98-AD44-E80A-88BEB7634A66}"/>
                </a:ext>
              </a:extLst>
            </p:cNvPr>
            <p:cNvSpPr/>
            <p:nvPr userDrawn="1"/>
          </p:nvSpPr>
          <p:spPr bwMode="gray">
            <a:xfrm>
              <a:off x="1011044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43" name="Rechteck 942">
              <a:extLst>
                <a:ext uri="{FF2B5EF4-FFF2-40B4-BE49-F238E27FC236}">
                  <a16:creationId xmlns:a16="http://schemas.microsoft.com/office/drawing/2014/main" id="{2154A410-6DB2-9D50-BAE4-6A9C9CB3D230}"/>
                </a:ext>
              </a:extLst>
            </p:cNvPr>
            <p:cNvSpPr/>
            <p:nvPr userDrawn="1"/>
          </p:nvSpPr>
          <p:spPr bwMode="gray">
            <a:xfrm>
              <a:off x="953438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44" name="Rechteck 943">
              <a:extLst>
                <a:ext uri="{FF2B5EF4-FFF2-40B4-BE49-F238E27FC236}">
                  <a16:creationId xmlns:a16="http://schemas.microsoft.com/office/drawing/2014/main" id="{BE13AA02-B0A1-C95C-F9A4-5649B34B729A}"/>
                </a:ext>
              </a:extLst>
            </p:cNvPr>
            <p:cNvSpPr/>
            <p:nvPr userDrawn="1"/>
          </p:nvSpPr>
          <p:spPr bwMode="gray">
            <a:xfrm>
              <a:off x="895832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45" name="Rechteck 944">
              <a:extLst>
                <a:ext uri="{FF2B5EF4-FFF2-40B4-BE49-F238E27FC236}">
                  <a16:creationId xmlns:a16="http://schemas.microsoft.com/office/drawing/2014/main" id="{011F1612-5DAD-D511-4D75-72C098B673D3}"/>
                </a:ext>
              </a:extLst>
            </p:cNvPr>
            <p:cNvSpPr/>
            <p:nvPr userDrawn="1"/>
          </p:nvSpPr>
          <p:spPr bwMode="gray">
            <a:xfrm>
              <a:off x="838225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46" name="Rechteck 945">
              <a:extLst>
                <a:ext uri="{FF2B5EF4-FFF2-40B4-BE49-F238E27FC236}">
                  <a16:creationId xmlns:a16="http://schemas.microsoft.com/office/drawing/2014/main" id="{8383E123-3FC0-3C10-E6D4-5B3237FB0392}"/>
                </a:ext>
              </a:extLst>
            </p:cNvPr>
            <p:cNvSpPr/>
            <p:nvPr userDrawn="1"/>
          </p:nvSpPr>
          <p:spPr bwMode="gray">
            <a:xfrm>
              <a:off x="780619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47" name="Rechteck 946">
              <a:extLst>
                <a:ext uri="{FF2B5EF4-FFF2-40B4-BE49-F238E27FC236}">
                  <a16:creationId xmlns:a16="http://schemas.microsoft.com/office/drawing/2014/main" id="{0F1AA584-C1F4-00E6-9A3A-8AF7A85C5C43}"/>
                </a:ext>
              </a:extLst>
            </p:cNvPr>
            <p:cNvSpPr/>
            <p:nvPr userDrawn="1"/>
          </p:nvSpPr>
          <p:spPr bwMode="gray">
            <a:xfrm>
              <a:off x="723012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48" name="Rechteck 947">
              <a:extLst>
                <a:ext uri="{FF2B5EF4-FFF2-40B4-BE49-F238E27FC236}">
                  <a16:creationId xmlns:a16="http://schemas.microsoft.com/office/drawing/2014/main" id="{49746EBE-D5AA-5FF2-04A3-9C0661352574}"/>
                </a:ext>
              </a:extLst>
            </p:cNvPr>
            <p:cNvSpPr/>
            <p:nvPr userDrawn="1"/>
          </p:nvSpPr>
          <p:spPr bwMode="gray">
            <a:xfrm>
              <a:off x="665406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49" name="Rechteck 948">
              <a:extLst>
                <a:ext uri="{FF2B5EF4-FFF2-40B4-BE49-F238E27FC236}">
                  <a16:creationId xmlns:a16="http://schemas.microsoft.com/office/drawing/2014/main" id="{BB66862D-014D-12E1-74E5-F82687CC0923}"/>
                </a:ext>
              </a:extLst>
            </p:cNvPr>
            <p:cNvSpPr/>
            <p:nvPr userDrawn="1"/>
          </p:nvSpPr>
          <p:spPr bwMode="gray">
            <a:xfrm>
              <a:off x="607800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50" name="Rechteck 949">
              <a:extLst>
                <a:ext uri="{FF2B5EF4-FFF2-40B4-BE49-F238E27FC236}">
                  <a16:creationId xmlns:a16="http://schemas.microsoft.com/office/drawing/2014/main" id="{334904BB-3884-C302-86C6-9F5FAB30E405}"/>
                </a:ext>
              </a:extLst>
            </p:cNvPr>
            <p:cNvSpPr/>
            <p:nvPr userDrawn="1"/>
          </p:nvSpPr>
          <p:spPr bwMode="gray">
            <a:xfrm>
              <a:off x="550193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51" name="Rechteck 950">
              <a:extLst>
                <a:ext uri="{FF2B5EF4-FFF2-40B4-BE49-F238E27FC236}">
                  <a16:creationId xmlns:a16="http://schemas.microsoft.com/office/drawing/2014/main" id="{1BE15115-46E2-1A84-7E1B-F9FE4C16C633}"/>
                </a:ext>
              </a:extLst>
            </p:cNvPr>
            <p:cNvSpPr/>
            <p:nvPr userDrawn="1"/>
          </p:nvSpPr>
          <p:spPr bwMode="gray">
            <a:xfrm>
              <a:off x="492587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52" name="Rechteck 951">
              <a:extLst>
                <a:ext uri="{FF2B5EF4-FFF2-40B4-BE49-F238E27FC236}">
                  <a16:creationId xmlns:a16="http://schemas.microsoft.com/office/drawing/2014/main" id="{0EE7FC7B-48EC-1166-542B-487C20E12376}"/>
                </a:ext>
              </a:extLst>
            </p:cNvPr>
            <p:cNvSpPr/>
            <p:nvPr userDrawn="1"/>
          </p:nvSpPr>
          <p:spPr bwMode="gray">
            <a:xfrm>
              <a:off x="434980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53" name="Rechteck 952">
              <a:extLst>
                <a:ext uri="{FF2B5EF4-FFF2-40B4-BE49-F238E27FC236}">
                  <a16:creationId xmlns:a16="http://schemas.microsoft.com/office/drawing/2014/main" id="{BA205854-B64C-A6B3-CF8C-A3DA84E68FA7}"/>
                </a:ext>
              </a:extLst>
            </p:cNvPr>
            <p:cNvSpPr/>
            <p:nvPr userDrawn="1"/>
          </p:nvSpPr>
          <p:spPr bwMode="gray">
            <a:xfrm>
              <a:off x="377374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54" name="Rechteck 953">
              <a:extLst>
                <a:ext uri="{FF2B5EF4-FFF2-40B4-BE49-F238E27FC236}">
                  <a16:creationId xmlns:a16="http://schemas.microsoft.com/office/drawing/2014/main" id="{067E3A9E-935E-9F40-C53B-82E7D1787572}"/>
                </a:ext>
              </a:extLst>
            </p:cNvPr>
            <p:cNvSpPr/>
            <p:nvPr userDrawn="1"/>
          </p:nvSpPr>
          <p:spPr bwMode="gray">
            <a:xfrm>
              <a:off x="319768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55" name="Rechteck 954">
              <a:extLst>
                <a:ext uri="{FF2B5EF4-FFF2-40B4-BE49-F238E27FC236}">
                  <a16:creationId xmlns:a16="http://schemas.microsoft.com/office/drawing/2014/main" id="{9210006B-5BC6-9407-0B53-2DF9B8630478}"/>
                </a:ext>
              </a:extLst>
            </p:cNvPr>
            <p:cNvSpPr/>
            <p:nvPr userDrawn="1"/>
          </p:nvSpPr>
          <p:spPr bwMode="gray">
            <a:xfrm>
              <a:off x="262161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56" name="Rechteck 955">
              <a:extLst>
                <a:ext uri="{FF2B5EF4-FFF2-40B4-BE49-F238E27FC236}">
                  <a16:creationId xmlns:a16="http://schemas.microsoft.com/office/drawing/2014/main" id="{0FFB0077-51FF-2542-7EE9-45AF141E2368}"/>
                </a:ext>
              </a:extLst>
            </p:cNvPr>
            <p:cNvSpPr/>
            <p:nvPr userDrawn="1"/>
          </p:nvSpPr>
          <p:spPr bwMode="gray">
            <a:xfrm>
              <a:off x="204555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57" name="Rechteck 956">
              <a:extLst>
                <a:ext uri="{FF2B5EF4-FFF2-40B4-BE49-F238E27FC236}">
                  <a16:creationId xmlns:a16="http://schemas.microsoft.com/office/drawing/2014/main" id="{9FADF47B-92DA-E0DB-F9CC-0A680244912B}"/>
                </a:ext>
              </a:extLst>
            </p:cNvPr>
            <p:cNvSpPr/>
            <p:nvPr userDrawn="1"/>
          </p:nvSpPr>
          <p:spPr bwMode="gray">
            <a:xfrm>
              <a:off x="146948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58" name="Rechteck 957">
              <a:extLst>
                <a:ext uri="{FF2B5EF4-FFF2-40B4-BE49-F238E27FC236}">
                  <a16:creationId xmlns:a16="http://schemas.microsoft.com/office/drawing/2014/main" id="{4B5463FA-8F91-125E-FD16-A57856C14738}"/>
                </a:ext>
              </a:extLst>
            </p:cNvPr>
            <p:cNvSpPr/>
            <p:nvPr userDrawn="1"/>
          </p:nvSpPr>
          <p:spPr bwMode="gray">
            <a:xfrm>
              <a:off x="89342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59" name="Rechteck 958">
              <a:extLst>
                <a:ext uri="{FF2B5EF4-FFF2-40B4-BE49-F238E27FC236}">
                  <a16:creationId xmlns:a16="http://schemas.microsoft.com/office/drawing/2014/main" id="{07583A71-DB5D-0B93-2739-AAEEBE7690F6}"/>
                </a:ext>
              </a:extLst>
            </p:cNvPr>
            <p:cNvSpPr/>
            <p:nvPr userDrawn="1"/>
          </p:nvSpPr>
          <p:spPr bwMode="gray">
            <a:xfrm>
              <a:off x="31736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60" name="Rechteck 959">
              <a:extLst>
                <a:ext uri="{FF2B5EF4-FFF2-40B4-BE49-F238E27FC236}">
                  <a16:creationId xmlns:a16="http://schemas.microsoft.com/office/drawing/2014/main" id="{E2EA9B34-AB33-F51E-07D3-7A2063AF970B}"/>
                </a:ext>
              </a:extLst>
            </p:cNvPr>
            <p:cNvSpPr/>
            <p:nvPr userDrawn="1"/>
          </p:nvSpPr>
          <p:spPr bwMode="gray">
            <a:xfrm>
              <a:off x="1126257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61" name="Rechteck 960">
              <a:extLst>
                <a:ext uri="{FF2B5EF4-FFF2-40B4-BE49-F238E27FC236}">
                  <a16:creationId xmlns:a16="http://schemas.microsoft.com/office/drawing/2014/main" id="{4162BF08-EEB1-1B8C-FE17-1FE7269F832C}"/>
                </a:ext>
              </a:extLst>
            </p:cNvPr>
            <p:cNvSpPr/>
            <p:nvPr userDrawn="1"/>
          </p:nvSpPr>
          <p:spPr bwMode="gray">
            <a:xfrm>
              <a:off x="1068651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62" name="Rechteck 961">
              <a:extLst>
                <a:ext uri="{FF2B5EF4-FFF2-40B4-BE49-F238E27FC236}">
                  <a16:creationId xmlns:a16="http://schemas.microsoft.com/office/drawing/2014/main" id="{A7D67EB7-E193-C098-04A8-54305CD596E0}"/>
                </a:ext>
              </a:extLst>
            </p:cNvPr>
            <p:cNvSpPr/>
            <p:nvPr userDrawn="1"/>
          </p:nvSpPr>
          <p:spPr bwMode="gray">
            <a:xfrm>
              <a:off x="1011044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63" name="Rechteck 962">
              <a:extLst>
                <a:ext uri="{FF2B5EF4-FFF2-40B4-BE49-F238E27FC236}">
                  <a16:creationId xmlns:a16="http://schemas.microsoft.com/office/drawing/2014/main" id="{0CE7D624-BF0F-4828-E166-75F9BD6B810E}"/>
                </a:ext>
              </a:extLst>
            </p:cNvPr>
            <p:cNvSpPr/>
            <p:nvPr userDrawn="1"/>
          </p:nvSpPr>
          <p:spPr bwMode="gray">
            <a:xfrm>
              <a:off x="953438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64" name="Rechteck 963">
              <a:extLst>
                <a:ext uri="{FF2B5EF4-FFF2-40B4-BE49-F238E27FC236}">
                  <a16:creationId xmlns:a16="http://schemas.microsoft.com/office/drawing/2014/main" id="{97A0AF45-25C5-4961-82F8-AEB4EFC9BAE2}"/>
                </a:ext>
              </a:extLst>
            </p:cNvPr>
            <p:cNvSpPr/>
            <p:nvPr userDrawn="1"/>
          </p:nvSpPr>
          <p:spPr bwMode="gray">
            <a:xfrm>
              <a:off x="895832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65" name="Rechteck 964">
              <a:extLst>
                <a:ext uri="{FF2B5EF4-FFF2-40B4-BE49-F238E27FC236}">
                  <a16:creationId xmlns:a16="http://schemas.microsoft.com/office/drawing/2014/main" id="{3CABE165-EE88-FC34-5ED9-F2348CFF9469}"/>
                </a:ext>
              </a:extLst>
            </p:cNvPr>
            <p:cNvSpPr/>
            <p:nvPr userDrawn="1"/>
          </p:nvSpPr>
          <p:spPr bwMode="gray">
            <a:xfrm>
              <a:off x="838225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66" name="Rechteck 965">
              <a:extLst>
                <a:ext uri="{FF2B5EF4-FFF2-40B4-BE49-F238E27FC236}">
                  <a16:creationId xmlns:a16="http://schemas.microsoft.com/office/drawing/2014/main" id="{737EBCF6-81C1-C7FD-0362-730D6A3D2E94}"/>
                </a:ext>
              </a:extLst>
            </p:cNvPr>
            <p:cNvSpPr/>
            <p:nvPr userDrawn="1"/>
          </p:nvSpPr>
          <p:spPr bwMode="gray">
            <a:xfrm>
              <a:off x="780619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67" name="Rechteck 966">
              <a:extLst>
                <a:ext uri="{FF2B5EF4-FFF2-40B4-BE49-F238E27FC236}">
                  <a16:creationId xmlns:a16="http://schemas.microsoft.com/office/drawing/2014/main" id="{97C5B18B-8F1A-D4AB-CD0D-0CCBFAD9B109}"/>
                </a:ext>
              </a:extLst>
            </p:cNvPr>
            <p:cNvSpPr/>
            <p:nvPr userDrawn="1"/>
          </p:nvSpPr>
          <p:spPr bwMode="gray">
            <a:xfrm>
              <a:off x="723012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68" name="Rechteck 967">
              <a:extLst>
                <a:ext uri="{FF2B5EF4-FFF2-40B4-BE49-F238E27FC236}">
                  <a16:creationId xmlns:a16="http://schemas.microsoft.com/office/drawing/2014/main" id="{BD0DA0A4-E73D-F01C-B138-DE99E1EFBF29}"/>
                </a:ext>
              </a:extLst>
            </p:cNvPr>
            <p:cNvSpPr/>
            <p:nvPr userDrawn="1"/>
          </p:nvSpPr>
          <p:spPr bwMode="gray">
            <a:xfrm>
              <a:off x="665406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69" name="Rechteck 968">
              <a:extLst>
                <a:ext uri="{FF2B5EF4-FFF2-40B4-BE49-F238E27FC236}">
                  <a16:creationId xmlns:a16="http://schemas.microsoft.com/office/drawing/2014/main" id="{3852AA11-D726-B5BA-5D48-1EC323DA93CF}"/>
                </a:ext>
              </a:extLst>
            </p:cNvPr>
            <p:cNvSpPr/>
            <p:nvPr userDrawn="1"/>
          </p:nvSpPr>
          <p:spPr bwMode="gray">
            <a:xfrm>
              <a:off x="607800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70" name="Rechteck 969">
              <a:extLst>
                <a:ext uri="{FF2B5EF4-FFF2-40B4-BE49-F238E27FC236}">
                  <a16:creationId xmlns:a16="http://schemas.microsoft.com/office/drawing/2014/main" id="{E440A381-B565-847F-138E-91640A18E3A6}"/>
                </a:ext>
              </a:extLst>
            </p:cNvPr>
            <p:cNvSpPr/>
            <p:nvPr userDrawn="1"/>
          </p:nvSpPr>
          <p:spPr bwMode="gray">
            <a:xfrm>
              <a:off x="550193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71" name="Rechteck 970">
              <a:extLst>
                <a:ext uri="{FF2B5EF4-FFF2-40B4-BE49-F238E27FC236}">
                  <a16:creationId xmlns:a16="http://schemas.microsoft.com/office/drawing/2014/main" id="{ECA08920-CB1D-9462-29B3-3330BA5B5E6F}"/>
                </a:ext>
              </a:extLst>
            </p:cNvPr>
            <p:cNvSpPr/>
            <p:nvPr userDrawn="1"/>
          </p:nvSpPr>
          <p:spPr bwMode="gray">
            <a:xfrm>
              <a:off x="492587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72" name="Rechteck 971">
              <a:extLst>
                <a:ext uri="{FF2B5EF4-FFF2-40B4-BE49-F238E27FC236}">
                  <a16:creationId xmlns:a16="http://schemas.microsoft.com/office/drawing/2014/main" id="{4EE3C303-43F8-A6BF-ED16-DD91A3A81139}"/>
                </a:ext>
              </a:extLst>
            </p:cNvPr>
            <p:cNvSpPr/>
            <p:nvPr userDrawn="1"/>
          </p:nvSpPr>
          <p:spPr bwMode="gray">
            <a:xfrm>
              <a:off x="434980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73" name="Rechteck 972">
              <a:extLst>
                <a:ext uri="{FF2B5EF4-FFF2-40B4-BE49-F238E27FC236}">
                  <a16:creationId xmlns:a16="http://schemas.microsoft.com/office/drawing/2014/main" id="{07300EA7-74F5-588D-6AAD-6FC44D1E58DE}"/>
                </a:ext>
              </a:extLst>
            </p:cNvPr>
            <p:cNvSpPr/>
            <p:nvPr userDrawn="1"/>
          </p:nvSpPr>
          <p:spPr bwMode="gray">
            <a:xfrm>
              <a:off x="377374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74" name="Rechteck 973">
              <a:extLst>
                <a:ext uri="{FF2B5EF4-FFF2-40B4-BE49-F238E27FC236}">
                  <a16:creationId xmlns:a16="http://schemas.microsoft.com/office/drawing/2014/main" id="{7F65267F-A872-9ED0-EE94-F80823D66AD6}"/>
                </a:ext>
              </a:extLst>
            </p:cNvPr>
            <p:cNvSpPr/>
            <p:nvPr userDrawn="1"/>
          </p:nvSpPr>
          <p:spPr bwMode="gray">
            <a:xfrm>
              <a:off x="319768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75" name="Rechteck 974">
              <a:extLst>
                <a:ext uri="{FF2B5EF4-FFF2-40B4-BE49-F238E27FC236}">
                  <a16:creationId xmlns:a16="http://schemas.microsoft.com/office/drawing/2014/main" id="{EFAF085C-196E-61F3-7E55-BD58ED6D5E62}"/>
                </a:ext>
              </a:extLst>
            </p:cNvPr>
            <p:cNvSpPr/>
            <p:nvPr userDrawn="1"/>
          </p:nvSpPr>
          <p:spPr bwMode="gray">
            <a:xfrm>
              <a:off x="262161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76" name="Rechteck 975">
              <a:extLst>
                <a:ext uri="{FF2B5EF4-FFF2-40B4-BE49-F238E27FC236}">
                  <a16:creationId xmlns:a16="http://schemas.microsoft.com/office/drawing/2014/main" id="{C771AA24-B5B4-72D0-BDD3-1070C33D6582}"/>
                </a:ext>
              </a:extLst>
            </p:cNvPr>
            <p:cNvSpPr/>
            <p:nvPr userDrawn="1"/>
          </p:nvSpPr>
          <p:spPr bwMode="gray">
            <a:xfrm>
              <a:off x="204555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77" name="Rechteck 976">
              <a:extLst>
                <a:ext uri="{FF2B5EF4-FFF2-40B4-BE49-F238E27FC236}">
                  <a16:creationId xmlns:a16="http://schemas.microsoft.com/office/drawing/2014/main" id="{3F90C216-B39B-47EB-9350-9FB69D50B72A}"/>
                </a:ext>
              </a:extLst>
            </p:cNvPr>
            <p:cNvSpPr/>
            <p:nvPr userDrawn="1"/>
          </p:nvSpPr>
          <p:spPr bwMode="gray">
            <a:xfrm>
              <a:off x="146948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78" name="Rechteck 977">
              <a:extLst>
                <a:ext uri="{FF2B5EF4-FFF2-40B4-BE49-F238E27FC236}">
                  <a16:creationId xmlns:a16="http://schemas.microsoft.com/office/drawing/2014/main" id="{1C20753C-A39C-F828-D982-944A0489DF9B}"/>
                </a:ext>
              </a:extLst>
            </p:cNvPr>
            <p:cNvSpPr/>
            <p:nvPr userDrawn="1"/>
          </p:nvSpPr>
          <p:spPr bwMode="gray">
            <a:xfrm>
              <a:off x="89342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79" name="Rechteck 978">
              <a:extLst>
                <a:ext uri="{FF2B5EF4-FFF2-40B4-BE49-F238E27FC236}">
                  <a16:creationId xmlns:a16="http://schemas.microsoft.com/office/drawing/2014/main" id="{FB83E8BE-881C-9AA6-E93E-DEABF224C5CC}"/>
                </a:ext>
              </a:extLst>
            </p:cNvPr>
            <p:cNvSpPr/>
            <p:nvPr userDrawn="1"/>
          </p:nvSpPr>
          <p:spPr bwMode="gray">
            <a:xfrm>
              <a:off x="31736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80" name="Rechteck 979">
              <a:extLst>
                <a:ext uri="{FF2B5EF4-FFF2-40B4-BE49-F238E27FC236}">
                  <a16:creationId xmlns:a16="http://schemas.microsoft.com/office/drawing/2014/main" id="{1A4C741D-EE3A-E652-C3BB-9D61A00E6848}"/>
                </a:ext>
              </a:extLst>
            </p:cNvPr>
            <p:cNvSpPr/>
            <p:nvPr userDrawn="1"/>
          </p:nvSpPr>
          <p:spPr bwMode="gray">
            <a:xfrm>
              <a:off x="1183864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81" name="Rechteck 980">
              <a:extLst>
                <a:ext uri="{FF2B5EF4-FFF2-40B4-BE49-F238E27FC236}">
                  <a16:creationId xmlns:a16="http://schemas.microsoft.com/office/drawing/2014/main" id="{2A3FA889-B034-3CCA-51C1-232B925853EB}"/>
                </a:ext>
              </a:extLst>
            </p:cNvPr>
            <p:cNvSpPr/>
            <p:nvPr userDrawn="1"/>
          </p:nvSpPr>
          <p:spPr bwMode="gray">
            <a:xfrm>
              <a:off x="1183864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82" name="Rechteck 981">
              <a:extLst>
                <a:ext uri="{FF2B5EF4-FFF2-40B4-BE49-F238E27FC236}">
                  <a16:creationId xmlns:a16="http://schemas.microsoft.com/office/drawing/2014/main" id="{634EDF2A-194A-2823-090E-4A914A948CD7}"/>
                </a:ext>
              </a:extLst>
            </p:cNvPr>
            <p:cNvSpPr/>
            <p:nvPr userDrawn="1"/>
          </p:nvSpPr>
          <p:spPr bwMode="gray">
            <a:xfrm>
              <a:off x="1183864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83" name="Rechteck 982">
              <a:extLst>
                <a:ext uri="{FF2B5EF4-FFF2-40B4-BE49-F238E27FC236}">
                  <a16:creationId xmlns:a16="http://schemas.microsoft.com/office/drawing/2014/main" id="{7463B574-28FD-8531-D581-102A3EBB9210}"/>
                </a:ext>
              </a:extLst>
            </p:cNvPr>
            <p:cNvSpPr/>
            <p:nvPr userDrawn="1"/>
          </p:nvSpPr>
          <p:spPr bwMode="gray">
            <a:xfrm>
              <a:off x="1183864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84" name="Rechteck 983">
              <a:extLst>
                <a:ext uri="{FF2B5EF4-FFF2-40B4-BE49-F238E27FC236}">
                  <a16:creationId xmlns:a16="http://schemas.microsoft.com/office/drawing/2014/main" id="{4DDB9514-EAEE-00C6-8E48-C7B89D406C61}"/>
                </a:ext>
              </a:extLst>
            </p:cNvPr>
            <p:cNvSpPr/>
            <p:nvPr userDrawn="1"/>
          </p:nvSpPr>
          <p:spPr bwMode="gray">
            <a:xfrm>
              <a:off x="1183864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85" name="Rechteck 984">
              <a:extLst>
                <a:ext uri="{FF2B5EF4-FFF2-40B4-BE49-F238E27FC236}">
                  <a16:creationId xmlns:a16="http://schemas.microsoft.com/office/drawing/2014/main" id="{D8768600-A4F1-722C-653E-96151F07F938}"/>
                </a:ext>
              </a:extLst>
            </p:cNvPr>
            <p:cNvSpPr/>
            <p:nvPr userDrawn="1"/>
          </p:nvSpPr>
          <p:spPr bwMode="gray">
            <a:xfrm>
              <a:off x="1183864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86" name="Rechteck 985">
              <a:extLst>
                <a:ext uri="{FF2B5EF4-FFF2-40B4-BE49-F238E27FC236}">
                  <a16:creationId xmlns:a16="http://schemas.microsoft.com/office/drawing/2014/main" id="{53070278-FF69-3965-9EF9-215F61302D28}"/>
                </a:ext>
              </a:extLst>
            </p:cNvPr>
            <p:cNvSpPr/>
            <p:nvPr userDrawn="1"/>
          </p:nvSpPr>
          <p:spPr bwMode="gray">
            <a:xfrm>
              <a:off x="1183864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87" name="Rechteck 986">
              <a:extLst>
                <a:ext uri="{FF2B5EF4-FFF2-40B4-BE49-F238E27FC236}">
                  <a16:creationId xmlns:a16="http://schemas.microsoft.com/office/drawing/2014/main" id="{D170AE7A-B173-0A8B-300A-43E957138852}"/>
                </a:ext>
              </a:extLst>
            </p:cNvPr>
            <p:cNvSpPr/>
            <p:nvPr userDrawn="1"/>
          </p:nvSpPr>
          <p:spPr bwMode="gray">
            <a:xfrm>
              <a:off x="1183864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88" name="Rechteck 987">
              <a:extLst>
                <a:ext uri="{FF2B5EF4-FFF2-40B4-BE49-F238E27FC236}">
                  <a16:creationId xmlns:a16="http://schemas.microsoft.com/office/drawing/2014/main" id="{3BDE90FB-17ED-244B-74EB-83A574A5717A}"/>
                </a:ext>
              </a:extLst>
            </p:cNvPr>
            <p:cNvSpPr/>
            <p:nvPr userDrawn="1"/>
          </p:nvSpPr>
          <p:spPr bwMode="gray">
            <a:xfrm>
              <a:off x="1183864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grpSp>
      <p:grpSp>
        <p:nvGrpSpPr>
          <p:cNvPr id="6" name="Gruppieren 5">
            <a:extLst>
              <a:ext uri="{FF2B5EF4-FFF2-40B4-BE49-F238E27FC236}">
                <a16:creationId xmlns:a16="http://schemas.microsoft.com/office/drawing/2014/main" id="{B98A054B-ABED-4304-317C-4AA42426BC2B}"/>
              </a:ext>
              <a:ext uri="{C183D7F6-B498-43B3-948B-1728B52AA6E4}">
                <adec:decorative xmlns:adec="http://schemas.microsoft.com/office/drawing/2017/decorative" val="1"/>
              </a:ext>
            </a:extLst>
          </p:cNvPr>
          <p:cNvGrpSpPr/>
          <p:nvPr userDrawn="1"/>
        </p:nvGrpSpPr>
        <p:grpSpPr>
          <a:xfrm>
            <a:off x="838831" y="2082829"/>
            <a:ext cx="2448000" cy="0"/>
            <a:chOff x="983432" y="2082829"/>
            <a:chExt cx="2448000" cy="0"/>
          </a:xfrm>
        </p:grpSpPr>
        <p:cxnSp>
          <p:nvCxnSpPr>
            <p:cNvPr id="555" name="Line">
              <a:extLst>
                <a:ext uri="{FF2B5EF4-FFF2-40B4-BE49-F238E27FC236}">
                  <a16:creationId xmlns:a16="http://schemas.microsoft.com/office/drawing/2014/main" id="{F0DFD49C-8D2A-0580-A71A-16661C21C307}"/>
                </a:ext>
                <a:ext uri="{C183D7F6-B498-43B3-948B-1728B52AA6E4}">
                  <adec:decorative xmlns:adec="http://schemas.microsoft.com/office/drawing/2017/decorative" val="1"/>
                </a:ext>
              </a:extLst>
            </p:cNvPr>
            <p:cNvCxnSpPr>
              <a:cxnSpLocks/>
            </p:cNvCxnSpPr>
            <p:nvPr userDrawn="1"/>
          </p:nvCxnSpPr>
          <p:spPr bwMode="gray">
            <a:xfrm>
              <a:off x="983432" y="2082829"/>
              <a:ext cx="2448000" cy="0"/>
            </a:xfrm>
            <a:prstGeom prst="line">
              <a:avLst/>
            </a:prstGeom>
            <a:ln w="1047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7" name="Line">
              <a:extLst>
                <a:ext uri="{FF2B5EF4-FFF2-40B4-BE49-F238E27FC236}">
                  <a16:creationId xmlns:a16="http://schemas.microsoft.com/office/drawing/2014/main" id="{5335E3F0-8147-48BC-9FAD-0B97C3859414}"/>
                </a:ext>
                <a:ext uri="{C183D7F6-B498-43B3-948B-1728B52AA6E4}">
                  <adec:decorative xmlns:adec="http://schemas.microsoft.com/office/drawing/2017/decorative" val="1"/>
                </a:ext>
              </a:extLst>
            </p:cNvPr>
            <p:cNvCxnSpPr>
              <a:cxnSpLocks/>
            </p:cNvCxnSpPr>
            <p:nvPr userDrawn="1"/>
          </p:nvCxnSpPr>
          <p:spPr bwMode="gray">
            <a:xfrm>
              <a:off x="1056000" y="2082829"/>
              <a:ext cx="2303696"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56" name="Shape">
            <a:extLst>
              <a:ext uri="{FF2B5EF4-FFF2-40B4-BE49-F238E27FC236}">
                <a16:creationId xmlns:a16="http://schemas.microsoft.com/office/drawing/2014/main" id="{98BB9D63-C44B-9B52-6681-8EFB02B4193E}"/>
              </a:ext>
              <a:ext uri="{C183D7F6-B498-43B3-948B-1728B52AA6E4}">
                <adec:decorative xmlns:adec="http://schemas.microsoft.com/office/drawing/2017/decorative" val="1"/>
              </a:ext>
            </a:extLst>
          </p:cNvPr>
          <p:cNvSpPr>
            <a:spLocks/>
          </p:cNvSpPr>
          <p:nvPr userDrawn="1"/>
        </p:nvSpPr>
        <p:spPr bwMode="gray">
          <a:xfrm>
            <a:off x="4367808" y="2061400"/>
            <a:ext cx="5775177" cy="3463099"/>
          </a:xfrm>
          <a:custGeom>
            <a:avLst/>
            <a:gdLst>
              <a:gd name="connsiteX0" fmla="*/ 0 w 8604027"/>
              <a:gd name="connsiteY0" fmla="*/ 857 h 5734812"/>
              <a:gd name="connsiteX1" fmla="*/ 8604028 w 8604027"/>
              <a:gd name="connsiteY1" fmla="*/ 0 h 5734812"/>
              <a:gd name="connsiteX2" fmla="*/ 7170039 w 8604027"/>
              <a:gd name="connsiteY2" fmla="*/ 4301966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02506 w 8604029"/>
              <a:gd name="connsiteY2" fmla="*/ 3984076 h 5734812"/>
              <a:gd name="connsiteX3" fmla="*/ 0 w 8604029"/>
              <a:gd name="connsiteY3" fmla="*/ 5734812 h 5734812"/>
              <a:gd name="connsiteX4" fmla="*/ 0 w 8604029"/>
              <a:gd name="connsiteY4" fmla="*/ 857 h 5734812"/>
              <a:gd name="connsiteX0" fmla="*/ 0 w 8604027"/>
              <a:gd name="connsiteY0" fmla="*/ 857 h 5734812"/>
              <a:gd name="connsiteX1" fmla="*/ 8604028 w 8604027"/>
              <a:gd name="connsiteY1" fmla="*/ 0 h 5734812"/>
              <a:gd name="connsiteX2" fmla="*/ 7046854 w 8604027"/>
              <a:gd name="connsiteY2" fmla="*/ 4091749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50550 w 8604029"/>
              <a:gd name="connsiteY2" fmla="*/ 4107130 h 5734812"/>
              <a:gd name="connsiteX3" fmla="*/ 0 w 8604029"/>
              <a:gd name="connsiteY3" fmla="*/ 5734812 h 5734812"/>
              <a:gd name="connsiteX4" fmla="*/ 0 w 8604029"/>
              <a:gd name="connsiteY4" fmla="*/ 857 h 5734812"/>
              <a:gd name="connsiteX0" fmla="*/ 0 w 8604028"/>
              <a:gd name="connsiteY0" fmla="*/ 857 h 5734812"/>
              <a:gd name="connsiteX1" fmla="*/ 8604028 w 8604028"/>
              <a:gd name="connsiteY1" fmla="*/ 0 h 5734812"/>
              <a:gd name="connsiteX2" fmla="*/ 6576335 w 8604028"/>
              <a:gd name="connsiteY2" fmla="*/ 3411651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98802 w 8604028"/>
              <a:gd name="connsiteY2" fmla="*/ 3812078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905914 w 8604028"/>
              <a:gd name="connsiteY2" fmla="*/ 3827884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70437 w 8604028"/>
              <a:gd name="connsiteY2" fmla="*/ 3745075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84628 w 8604028"/>
              <a:gd name="connsiteY2" fmla="*/ 3827883 h 5734812"/>
              <a:gd name="connsiteX3" fmla="*/ 0 w 8604028"/>
              <a:gd name="connsiteY3" fmla="*/ 5734812 h 5734812"/>
              <a:gd name="connsiteX4" fmla="*/ 0 w 8604028"/>
              <a:gd name="connsiteY4" fmla="*/ 857 h 5734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4028" h="5734812">
                <a:moveTo>
                  <a:pt x="0" y="857"/>
                </a:moveTo>
                <a:lnTo>
                  <a:pt x="8604028" y="0"/>
                </a:lnTo>
                <a:lnTo>
                  <a:pt x="6884628" y="3827883"/>
                </a:lnTo>
                <a:lnTo>
                  <a:pt x="0" y="5734812"/>
                </a:lnTo>
                <a:lnTo>
                  <a:pt x="0" y="857"/>
                </a:lnTo>
                <a:close/>
              </a:path>
            </a:pathLst>
          </a:custGeom>
          <a:solidFill>
            <a:schemeClr val="bg1"/>
          </a:solidFill>
          <a:ln w="76200" cap="flat">
            <a:solidFill>
              <a:schemeClr val="bg1"/>
            </a:solidFill>
            <a:prstDash val="solid"/>
            <a:miter/>
          </a:ln>
        </p:spPr>
        <p:txBody>
          <a:bodyPr rtlCol="0" anchor="ctr"/>
          <a:lstStyle/>
          <a:p>
            <a:endParaRPr lang="en-GB" dirty="0"/>
          </a:p>
        </p:txBody>
      </p:sp>
      <p:sp>
        <p:nvSpPr>
          <p:cNvPr id="10" name="Shape">
            <a:extLst>
              <a:ext uri="{FF2B5EF4-FFF2-40B4-BE49-F238E27FC236}">
                <a16:creationId xmlns:a16="http://schemas.microsoft.com/office/drawing/2014/main" id="{5F2D8F96-3EA5-4771-8766-51AE544733B5}"/>
              </a:ext>
              <a:ext uri="{C183D7F6-B498-43B3-948B-1728B52AA6E4}">
                <adec:decorative xmlns:adec="http://schemas.microsoft.com/office/drawing/2017/decorative" val="1"/>
              </a:ext>
            </a:extLst>
          </p:cNvPr>
          <p:cNvSpPr>
            <a:spLocks/>
          </p:cNvSpPr>
          <p:nvPr userDrawn="1"/>
        </p:nvSpPr>
        <p:spPr bwMode="gray">
          <a:xfrm>
            <a:off x="4367808" y="2061400"/>
            <a:ext cx="5775177" cy="3463099"/>
          </a:xfrm>
          <a:custGeom>
            <a:avLst/>
            <a:gdLst>
              <a:gd name="connsiteX0" fmla="*/ 0 w 8604027"/>
              <a:gd name="connsiteY0" fmla="*/ 857 h 5734812"/>
              <a:gd name="connsiteX1" fmla="*/ 8604028 w 8604027"/>
              <a:gd name="connsiteY1" fmla="*/ 0 h 5734812"/>
              <a:gd name="connsiteX2" fmla="*/ 7170039 w 8604027"/>
              <a:gd name="connsiteY2" fmla="*/ 4301966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02506 w 8604029"/>
              <a:gd name="connsiteY2" fmla="*/ 3984076 h 5734812"/>
              <a:gd name="connsiteX3" fmla="*/ 0 w 8604029"/>
              <a:gd name="connsiteY3" fmla="*/ 5734812 h 5734812"/>
              <a:gd name="connsiteX4" fmla="*/ 0 w 8604029"/>
              <a:gd name="connsiteY4" fmla="*/ 857 h 5734812"/>
              <a:gd name="connsiteX0" fmla="*/ 0 w 8604027"/>
              <a:gd name="connsiteY0" fmla="*/ 857 h 5734812"/>
              <a:gd name="connsiteX1" fmla="*/ 8604028 w 8604027"/>
              <a:gd name="connsiteY1" fmla="*/ 0 h 5734812"/>
              <a:gd name="connsiteX2" fmla="*/ 7046854 w 8604027"/>
              <a:gd name="connsiteY2" fmla="*/ 4091749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50550 w 8604029"/>
              <a:gd name="connsiteY2" fmla="*/ 4107130 h 5734812"/>
              <a:gd name="connsiteX3" fmla="*/ 0 w 8604029"/>
              <a:gd name="connsiteY3" fmla="*/ 5734812 h 5734812"/>
              <a:gd name="connsiteX4" fmla="*/ 0 w 8604029"/>
              <a:gd name="connsiteY4" fmla="*/ 857 h 5734812"/>
              <a:gd name="connsiteX0" fmla="*/ 0 w 8604028"/>
              <a:gd name="connsiteY0" fmla="*/ 857 h 5734812"/>
              <a:gd name="connsiteX1" fmla="*/ 8604028 w 8604028"/>
              <a:gd name="connsiteY1" fmla="*/ 0 h 5734812"/>
              <a:gd name="connsiteX2" fmla="*/ 6576335 w 8604028"/>
              <a:gd name="connsiteY2" fmla="*/ 3411651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98802 w 8604028"/>
              <a:gd name="connsiteY2" fmla="*/ 3812078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905914 w 8604028"/>
              <a:gd name="connsiteY2" fmla="*/ 3827884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70437 w 8604028"/>
              <a:gd name="connsiteY2" fmla="*/ 3745075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84628 w 8604028"/>
              <a:gd name="connsiteY2" fmla="*/ 3827883 h 5734812"/>
              <a:gd name="connsiteX3" fmla="*/ 0 w 8604028"/>
              <a:gd name="connsiteY3" fmla="*/ 5734812 h 5734812"/>
              <a:gd name="connsiteX4" fmla="*/ 0 w 8604028"/>
              <a:gd name="connsiteY4" fmla="*/ 857 h 5734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4028" h="5734812">
                <a:moveTo>
                  <a:pt x="0" y="857"/>
                </a:moveTo>
                <a:lnTo>
                  <a:pt x="8604028" y="0"/>
                </a:lnTo>
                <a:lnTo>
                  <a:pt x="6884628" y="3827883"/>
                </a:lnTo>
                <a:lnTo>
                  <a:pt x="0" y="5734812"/>
                </a:lnTo>
                <a:lnTo>
                  <a:pt x="0" y="857"/>
                </a:lnTo>
                <a:close/>
              </a:path>
            </a:pathLst>
          </a:custGeom>
          <a:solidFill>
            <a:schemeClr val="tx1"/>
          </a:solidFill>
          <a:ln w="9525" cap="flat">
            <a:noFill/>
            <a:prstDash val="solid"/>
            <a:miter/>
          </a:ln>
        </p:spPr>
        <p:txBody>
          <a:bodyPr rtlCol="0" anchor="ctr"/>
          <a:lstStyle/>
          <a:p>
            <a:endParaRPr lang="en-GB" dirty="0"/>
          </a:p>
        </p:txBody>
      </p:sp>
      <p:pic>
        <p:nvPicPr>
          <p:cNvPr id="554" name="Logo">
            <a:extLst>
              <a:ext uri="{FF2B5EF4-FFF2-40B4-BE49-F238E27FC236}">
                <a16:creationId xmlns:a16="http://schemas.microsoft.com/office/drawing/2014/main" id="{9BF01C62-3921-2C50-0D18-67A059F73F4B}"/>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bwMode="gray">
          <a:xfrm>
            <a:off x="10128448" y="335757"/>
            <a:ext cx="1358180" cy="576000"/>
          </a:xfrm>
          <a:prstGeom prst="rect">
            <a:avLst/>
          </a:prstGeom>
        </p:spPr>
      </p:pic>
      <p:sp>
        <p:nvSpPr>
          <p:cNvPr id="2" name="Title"/>
          <p:cNvSpPr>
            <a:spLocks noGrp="1"/>
          </p:cNvSpPr>
          <p:nvPr userDrawn="1">
            <p:ph type="ctrTitle" hasCustomPrompt="1"/>
          </p:nvPr>
        </p:nvSpPr>
        <p:spPr bwMode="gray">
          <a:xfrm>
            <a:off x="4583809" y="2205400"/>
            <a:ext cx="4968575" cy="1367992"/>
          </a:xfrm>
          <a:prstGeom prst="rect">
            <a:avLst/>
          </a:prstGeom>
        </p:spPr>
        <p:txBody>
          <a:bodyPr vert="horz" tIns="54000" anchor="t">
            <a:noAutofit/>
          </a:bodyPr>
          <a:lstStyle>
            <a:lvl1pPr algn="l">
              <a:lnSpc>
                <a:spcPct val="90000"/>
              </a:lnSpc>
              <a:defRPr sz="3000" baseline="0">
                <a:solidFill>
                  <a:schemeClr val="bg1"/>
                </a:solidFill>
              </a:defRPr>
            </a:lvl1pPr>
          </a:lstStyle>
          <a:p>
            <a:r>
              <a:rPr lang="en-GB" dirty="0"/>
              <a:t>Insert your long title of presentation here in maximal three lines</a:t>
            </a:r>
          </a:p>
        </p:txBody>
      </p:sp>
      <p:sp>
        <p:nvSpPr>
          <p:cNvPr id="3" name="Subtitle 2"/>
          <p:cNvSpPr>
            <a:spLocks noGrp="1"/>
          </p:cNvSpPr>
          <p:nvPr userDrawn="1">
            <p:ph type="subTitle" idx="1" hasCustomPrompt="1"/>
          </p:nvPr>
        </p:nvSpPr>
        <p:spPr bwMode="gray">
          <a:xfrm>
            <a:off x="4583809" y="3789400"/>
            <a:ext cx="4392511" cy="1080000"/>
          </a:xfrm>
          <a:prstGeom prst="rect">
            <a:avLst/>
          </a:prstGeom>
        </p:spPr>
        <p:txBody>
          <a:bodyPr/>
          <a:lstStyle>
            <a:lvl1pPr marL="0" indent="0" algn="l">
              <a:lnSpc>
                <a:spcPct val="100000"/>
              </a:lnSpc>
              <a:spcBef>
                <a:spcPts val="0"/>
              </a:spcBef>
              <a:buNone/>
              <a:defRPr sz="2000" b="0">
                <a:solidFill>
                  <a:schemeClr val="bg1"/>
                </a:solidFill>
                <a:latin typeface="+mn-lt"/>
              </a:defRPr>
            </a:lvl1pPr>
            <a:lvl2pPr marL="0" indent="0" algn="l">
              <a:lnSpc>
                <a:spcPct val="100000"/>
              </a:lnSpc>
              <a:spcBef>
                <a:spcPts val="0"/>
              </a:spcBef>
              <a:buNone/>
              <a:defRPr sz="2000" b="0">
                <a:solidFill>
                  <a:schemeClr val="bg1"/>
                </a:solidFill>
                <a:latin typeface="+mn-lt"/>
              </a:defRPr>
            </a:lvl2pPr>
            <a:lvl3pPr marL="0" indent="0" algn="l">
              <a:lnSpc>
                <a:spcPct val="100000"/>
              </a:lnSpc>
              <a:spcBef>
                <a:spcPts val="0"/>
              </a:spcBef>
              <a:buNone/>
              <a:defRPr sz="2000" b="0">
                <a:solidFill>
                  <a:schemeClr val="bg1"/>
                </a:solidFill>
                <a:latin typeface="+mn-lt"/>
              </a:defRPr>
            </a:lvl3pPr>
            <a:lvl4pPr marL="0" indent="0" algn="l">
              <a:lnSpc>
                <a:spcPct val="100000"/>
              </a:lnSpc>
              <a:spcBef>
                <a:spcPts val="0"/>
              </a:spcBef>
              <a:buNone/>
              <a:defRPr sz="2000" b="0">
                <a:solidFill>
                  <a:schemeClr val="bg1"/>
                </a:solidFill>
                <a:latin typeface="+mn-lt"/>
              </a:defRPr>
            </a:lvl4pPr>
            <a:lvl5pPr marL="0" indent="0" algn="l">
              <a:lnSpc>
                <a:spcPct val="100000"/>
              </a:lnSpc>
              <a:spcBef>
                <a:spcPts val="0"/>
              </a:spcBef>
              <a:buNone/>
              <a:defRPr sz="2000" b="0">
                <a:solidFill>
                  <a:schemeClr val="bg1"/>
                </a:solidFill>
                <a:latin typeface="+mn-lt"/>
              </a:defRPr>
            </a:lvl5pPr>
            <a:lvl6pPr marL="0" indent="0" algn="l">
              <a:lnSpc>
                <a:spcPct val="100000"/>
              </a:lnSpc>
              <a:spcBef>
                <a:spcPts val="0"/>
              </a:spcBef>
              <a:buNone/>
              <a:defRPr sz="2000" b="0">
                <a:solidFill>
                  <a:schemeClr val="bg1"/>
                </a:solidFill>
                <a:latin typeface="+mn-lt"/>
              </a:defRPr>
            </a:lvl6pPr>
            <a:lvl7pPr marL="0" indent="0" algn="l">
              <a:lnSpc>
                <a:spcPct val="100000"/>
              </a:lnSpc>
              <a:spcBef>
                <a:spcPts val="0"/>
              </a:spcBef>
              <a:buNone/>
              <a:defRPr sz="2000" b="0">
                <a:solidFill>
                  <a:schemeClr val="bg1"/>
                </a:solidFill>
                <a:latin typeface="+mn-lt"/>
              </a:defRPr>
            </a:lvl7pPr>
            <a:lvl8pPr marL="0" indent="0" algn="l">
              <a:lnSpc>
                <a:spcPct val="100000"/>
              </a:lnSpc>
              <a:spcBef>
                <a:spcPts val="0"/>
              </a:spcBef>
              <a:buNone/>
              <a:defRPr sz="2000" b="0">
                <a:solidFill>
                  <a:schemeClr val="bg1"/>
                </a:solidFill>
                <a:latin typeface="+mn-lt"/>
              </a:defRPr>
            </a:lvl8pPr>
            <a:lvl9pPr marL="0" indent="0" algn="l">
              <a:lnSpc>
                <a:spcPct val="100000"/>
              </a:lnSpc>
              <a:spcBef>
                <a:spcPts val="0"/>
              </a:spcBef>
              <a:buNone/>
              <a:defRPr sz="2000" b="0">
                <a:solidFill>
                  <a:schemeClr val="bg1"/>
                </a:solidFill>
                <a:latin typeface="+mn-lt"/>
              </a:defRPr>
            </a:lvl9pPr>
          </a:lstStyle>
          <a:p>
            <a:r>
              <a:rPr lang="en-GB" dirty="0"/>
              <a:t>Insert here your subtitle</a:t>
            </a:r>
          </a:p>
        </p:txBody>
      </p:sp>
      <p:sp>
        <p:nvSpPr>
          <p:cNvPr id="31" name="Author"/>
          <p:cNvSpPr>
            <a:spLocks noGrp="1"/>
          </p:cNvSpPr>
          <p:nvPr userDrawn="1">
            <p:ph type="body" sz="quarter" idx="14" hasCustomPrompt="1"/>
          </p:nvPr>
        </p:nvSpPr>
        <p:spPr bwMode="gray">
          <a:xfrm>
            <a:off x="695400" y="2277400"/>
            <a:ext cx="2807728" cy="216000"/>
          </a:xfrm>
          <a:prstGeom prst="rect">
            <a:avLst/>
          </a:prstGeom>
          <a:solidFill>
            <a:schemeClr val="bg1"/>
          </a:solidFill>
          <a:ln w="127">
            <a:solidFill>
              <a:schemeClr val="bg1"/>
            </a:solidFill>
          </a:ln>
        </p:spPr>
        <p:txBody>
          <a:bodyPr wrap="square" lIns="216000" rIns="216000"/>
          <a:lstStyle>
            <a:lvl1pPr marL="0" indent="0">
              <a:lnSpc>
                <a:spcPct val="100000"/>
              </a:lnSpc>
              <a:spcBef>
                <a:spcPts val="0"/>
              </a:spcBef>
              <a:buFont typeface="Arial" panose="020B0604020202020204" pitchFamily="34" charset="0"/>
              <a:buNone/>
              <a:defRPr sz="1200" b="0">
                <a:latin typeface="+mj-lt"/>
              </a:defRPr>
            </a:lvl1pPr>
            <a:lvl2pPr marL="0" indent="0">
              <a:lnSpc>
                <a:spcPct val="100000"/>
              </a:lnSpc>
              <a:spcBef>
                <a:spcPts val="0"/>
              </a:spcBef>
              <a:buFont typeface="Arial" panose="020B0604020202020204" pitchFamily="34" charset="0"/>
              <a:buNone/>
              <a:defRPr sz="1200" b="0">
                <a:latin typeface="+mj-lt"/>
              </a:defRPr>
            </a:lvl2pPr>
            <a:lvl3pPr marL="0" indent="0">
              <a:lnSpc>
                <a:spcPct val="100000"/>
              </a:lnSpc>
              <a:spcBef>
                <a:spcPts val="0"/>
              </a:spcBef>
              <a:buFont typeface="Arial" panose="020B0604020202020204" pitchFamily="34" charset="0"/>
              <a:buNone/>
              <a:defRPr sz="1200" b="0">
                <a:latin typeface="+mj-lt"/>
              </a:defRPr>
            </a:lvl3pPr>
            <a:lvl4pPr marL="0" indent="0">
              <a:lnSpc>
                <a:spcPct val="100000"/>
              </a:lnSpc>
              <a:spcBef>
                <a:spcPts val="0"/>
              </a:spcBef>
              <a:buFont typeface="Arial" panose="020B0604020202020204" pitchFamily="34" charset="0"/>
              <a:buNone/>
              <a:defRPr sz="1200" b="0">
                <a:latin typeface="+mj-lt"/>
              </a:defRPr>
            </a:lvl4pPr>
            <a:lvl5pPr marL="0" indent="0">
              <a:lnSpc>
                <a:spcPct val="100000"/>
              </a:lnSpc>
              <a:spcBef>
                <a:spcPts val="0"/>
              </a:spcBef>
              <a:buFont typeface="Arial" panose="020B0604020202020204" pitchFamily="34" charset="0"/>
              <a:buNone/>
              <a:defRPr sz="1200" b="0">
                <a:latin typeface="+mj-lt"/>
              </a:defRPr>
            </a:lvl5pPr>
            <a:lvl6pPr marL="0" indent="0">
              <a:lnSpc>
                <a:spcPct val="100000"/>
              </a:lnSpc>
              <a:spcBef>
                <a:spcPts val="0"/>
              </a:spcBef>
              <a:buNone/>
              <a:defRPr sz="1200" b="0">
                <a:latin typeface="+mj-lt"/>
              </a:defRPr>
            </a:lvl6pPr>
            <a:lvl7pPr marL="0" indent="0">
              <a:lnSpc>
                <a:spcPct val="100000"/>
              </a:lnSpc>
              <a:spcBef>
                <a:spcPts val="0"/>
              </a:spcBef>
              <a:buNone/>
              <a:defRPr sz="1200" b="0">
                <a:latin typeface="+mj-lt"/>
              </a:defRPr>
            </a:lvl7pPr>
            <a:lvl8pPr marL="0" indent="0">
              <a:lnSpc>
                <a:spcPct val="100000"/>
              </a:lnSpc>
              <a:spcBef>
                <a:spcPts val="0"/>
              </a:spcBef>
              <a:buNone/>
              <a:defRPr sz="1200" b="0">
                <a:latin typeface="+mj-lt"/>
              </a:defRPr>
            </a:lvl8pPr>
            <a:lvl9pPr marL="0" indent="0">
              <a:lnSpc>
                <a:spcPct val="100000"/>
              </a:lnSpc>
              <a:spcBef>
                <a:spcPts val="0"/>
              </a:spcBef>
              <a:buNone/>
              <a:defRPr sz="1200" b="0">
                <a:latin typeface="+mj-lt"/>
              </a:defRPr>
            </a:lvl9pPr>
          </a:lstStyle>
          <a:p>
            <a:pPr lvl="0"/>
            <a:r>
              <a:rPr lang="en-GB" dirty="0"/>
              <a:t>First name Last name</a:t>
            </a:r>
          </a:p>
        </p:txBody>
      </p:sp>
      <p:sp>
        <p:nvSpPr>
          <p:cNvPr id="34" name="Department, Date"/>
          <p:cNvSpPr>
            <a:spLocks noGrp="1"/>
          </p:cNvSpPr>
          <p:nvPr userDrawn="1">
            <p:ph type="body" sz="quarter" idx="15" hasCustomPrompt="1"/>
          </p:nvPr>
        </p:nvSpPr>
        <p:spPr bwMode="gray">
          <a:xfrm>
            <a:off x="695400" y="2493400"/>
            <a:ext cx="2807728" cy="1007608"/>
          </a:xfrm>
          <a:prstGeom prst="rect">
            <a:avLst/>
          </a:prstGeom>
          <a:solidFill>
            <a:schemeClr val="bg1"/>
          </a:solidFill>
          <a:ln w="127">
            <a:solidFill>
              <a:schemeClr val="bg1"/>
            </a:solidFill>
          </a:ln>
        </p:spPr>
        <p:txBody>
          <a:bodyPr wrap="square" lIns="216000" rIns="216000"/>
          <a:lstStyle>
            <a:lvl1pPr marL="0" indent="0">
              <a:lnSpc>
                <a:spcPct val="100000"/>
              </a:lnSpc>
              <a:spcBef>
                <a:spcPts val="0"/>
              </a:spcBef>
              <a:buFont typeface="Arial" panose="020B0604020202020204" pitchFamily="34" charset="0"/>
              <a:buNone/>
              <a:defRPr sz="1200" i="1">
                <a:latin typeface="+mn-lt"/>
              </a:defRPr>
            </a:lvl1pPr>
            <a:lvl2pPr marL="0" indent="0">
              <a:lnSpc>
                <a:spcPct val="100000"/>
              </a:lnSpc>
              <a:spcBef>
                <a:spcPts val="0"/>
              </a:spcBef>
              <a:buFont typeface="Arial" panose="020B0604020202020204" pitchFamily="34" charset="0"/>
              <a:buNone/>
              <a:defRPr sz="1200" i="1">
                <a:latin typeface="+mn-lt"/>
              </a:defRPr>
            </a:lvl2pPr>
            <a:lvl3pPr marL="0" indent="0">
              <a:lnSpc>
                <a:spcPct val="100000"/>
              </a:lnSpc>
              <a:spcBef>
                <a:spcPts val="0"/>
              </a:spcBef>
              <a:buFont typeface="Arial" panose="020B0604020202020204" pitchFamily="34" charset="0"/>
              <a:buNone/>
              <a:defRPr sz="1200" i="1">
                <a:latin typeface="+mn-lt"/>
              </a:defRPr>
            </a:lvl3pPr>
            <a:lvl4pPr marL="0" indent="0">
              <a:lnSpc>
                <a:spcPct val="100000"/>
              </a:lnSpc>
              <a:spcBef>
                <a:spcPts val="0"/>
              </a:spcBef>
              <a:buFont typeface="Arial" panose="020B0604020202020204" pitchFamily="34" charset="0"/>
              <a:buNone/>
              <a:defRPr sz="1200" i="1">
                <a:latin typeface="+mn-lt"/>
              </a:defRPr>
            </a:lvl4pPr>
            <a:lvl5pPr marL="0" indent="0">
              <a:lnSpc>
                <a:spcPct val="100000"/>
              </a:lnSpc>
              <a:spcBef>
                <a:spcPts val="0"/>
              </a:spcBef>
              <a:buFont typeface="Arial" panose="020B0604020202020204" pitchFamily="34" charset="0"/>
              <a:buNone/>
              <a:defRPr sz="1200" i="1">
                <a:latin typeface="+mn-lt"/>
              </a:defRPr>
            </a:lvl5pPr>
            <a:lvl6pPr marL="0" indent="0">
              <a:lnSpc>
                <a:spcPct val="100000"/>
              </a:lnSpc>
              <a:spcBef>
                <a:spcPts val="0"/>
              </a:spcBef>
              <a:buNone/>
              <a:defRPr sz="1200" i="1">
                <a:latin typeface="+mn-lt"/>
              </a:defRPr>
            </a:lvl6pPr>
            <a:lvl7pPr marL="0" indent="0">
              <a:lnSpc>
                <a:spcPct val="100000"/>
              </a:lnSpc>
              <a:spcBef>
                <a:spcPts val="0"/>
              </a:spcBef>
              <a:buNone/>
              <a:defRPr sz="1200" i="1">
                <a:latin typeface="+mn-lt"/>
              </a:defRPr>
            </a:lvl7pPr>
            <a:lvl8pPr marL="0" indent="0">
              <a:lnSpc>
                <a:spcPct val="100000"/>
              </a:lnSpc>
              <a:spcBef>
                <a:spcPts val="0"/>
              </a:spcBef>
              <a:buNone/>
              <a:defRPr sz="1200" i="1">
                <a:latin typeface="+mn-lt"/>
              </a:defRPr>
            </a:lvl8pPr>
            <a:lvl9pPr marL="0" indent="0">
              <a:lnSpc>
                <a:spcPct val="100000"/>
              </a:lnSpc>
              <a:spcBef>
                <a:spcPts val="0"/>
              </a:spcBef>
              <a:buNone/>
              <a:defRPr sz="1200" i="1">
                <a:latin typeface="+mn-lt"/>
              </a:defRPr>
            </a:lvl9pPr>
          </a:lstStyle>
          <a:p>
            <a:pPr lvl="0"/>
            <a:r>
              <a:rPr lang="en-GB" dirty="0"/>
              <a:t>Department</a:t>
            </a:r>
            <a:br>
              <a:rPr lang="en-GB" dirty="0"/>
            </a:br>
            <a:r>
              <a:rPr lang="en-GB" dirty="0"/>
              <a:t>DD/MM/YYYY</a:t>
            </a:r>
          </a:p>
        </p:txBody>
      </p:sp>
    </p:spTree>
    <p:extLst>
      <p:ext uri="{BB962C8B-B14F-4D97-AF65-F5344CB8AC3E}">
        <p14:creationId xmlns:p14="http://schemas.microsoft.com/office/powerpoint/2010/main" val="380044867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2 | Petrol">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2B27818-5281-BF2C-8651-B4686FCB4609}"/>
              </a:ext>
            </a:extLst>
          </p:cNvPr>
          <p:cNvGraphicFramePr>
            <a:graphicFrameLocks noChangeAspect="1"/>
          </p:cNvGraphicFramePr>
          <p:nvPr userDrawn="1">
            <p:custDataLst>
              <p:tags r:id="rId1"/>
            </p:custDataLst>
            <p:extLst>
              <p:ext uri="{D42A27DB-BD31-4B8C-83A1-F6EECF244321}">
                <p14:modId xmlns:p14="http://schemas.microsoft.com/office/powerpoint/2010/main" val="4247518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4" name="Objekt 3" hidden="1">
                        <a:extLst>
                          <a:ext uri="{FF2B5EF4-FFF2-40B4-BE49-F238E27FC236}">
                            <a16:creationId xmlns:a16="http://schemas.microsoft.com/office/drawing/2014/main" id="{42B27818-5281-BF2C-8651-B4686FCB46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Number">
            <a:extLst>
              <a:ext uri="{FF2B5EF4-FFF2-40B4-BE49-F238E27FC236}">
                <a16:creationId xmlns:a16="http://schemas.microsoft.com/office/drawing/2014/main" id="{0FFF7464-F835-4DB7-98C4-101D2DE12D26}"/>
              </a:ext>
            </a:extLst>
          </p:cNvPr>
          <p:cNvSpPr>
            <a:spLocks noGrp="1"/>
          </p:cNvSpPr>
          <p:nvPr>
            <p:ph type="body" sz="quarter" idx="17" hasCustomPrompt="1"/>
          </p:nvPr>
        </p:nvSpPr>
        <p:spPr bwMode="gray">
          <a:xfrm>
            <a:off x="335360" y="2061183"/>
            <a:ext cx="3455768" cy="2520000"/>
          </a:xfrm>
          <a:prstGeom prst="rect">
            <a:avLst/>
          </a:prstGeom>
        </p:spPr>
        <p:txBody>
          <a:bodyPr lIns="0" tIns="0" rIns="0" bIns="0" anchor="b" anchorCtr="0"/>
          <a:lstStyle>
            <a:lvl1pPr marL="0" indent="0" algn="r">
              <a:lnSpc>
                <a:spcPct val="100000"/>
              </a:lnSpc>
              <a:spcBef>
                <a:spcPts val="0"/>
              </a:spcBef>
              <a:buFont typeface="Arial" panose="020B0604020202020204" pitchFamily="34" charset="0"/>
              <a:buNone/>
              <a:defRPr sz="21200" baseline="0">
                <a:solidFill>
                  <a:srgbClr val="519FBC"/>
                </a:solidFill>
                <a:latin typeface="+mn-lt"/>
              </a:defRPr>
            </a:lvl1pPr>
            <a:lvl2pPr marL="0" indent="0" algn="r">
              <a:lnSpc>
                <a:spcPct val="100000"/>
              </a:lnSpc>
              <a:spcBef>
                <a:spcPts val="0"/>
              </a:spcBef>
              <a:buFont typeface="Arial" panose="020B0604020202020204" pitchFamily="34" charset="0"/>
              <a:buNone/>
              <a:defRPr sz="21200">
                <a:solidFill>
                  <a:srgbClr val="519FBC"/>
                </a:solidFill>
                <a:latin typeface="+mj-lt"/>
              </a:defRPr>
            </a:lvl2pPr>
            <a:lvl3pPr marL="0" indent="0" algn="r">
              <a:lnSpc>
                <a:spcPct val="100000"/>
              </a:lnSpc>
              <a:spcBef>
                <a:spcPts val="0"/>
              </a:spcBef>
              <a:buFont typeface="Arial" panose="020B0604020202020204" pitchFamily="34" charset="0"/>
              <a:buNone/>
              <a:defRPr sz="21200">
                <a:solidFill>
                  <a:srgbClr val="519FBC"/>
                </a:solidFill>
                <a:latin typeface="+mj-lt"/>
              </a:defRPr>
            </a:lvl3pPr>
            <a:lvl4pPr marL="0" indent="0" algn="r">
              <a:lnSpc>
                <a:spcPct val="100000"/>
              </a:lnSpc>
              <a:spcBef>
                <a:spcPts val="0"/>
              </a:spcBef>
              <a:buFont typeface="Arial" panose="020B0604020202020204" pitchFamily="34" charset="0"/>
              <a:buNone/>
              <a:defRPr sz="21200">
                <a:solidFill>
                  <a:srgbClr val="519FBC"/>
                </a:solidFill>
                <a:latin typeface="+mj-lt"/>
              </a:defRPr>
            </a:lvl4pPr>
            <a:lvl5pPr marL="0" indent="0" algn="r">
              <a:lnSpc>
                <a:spcPct val="100000"/>
              </a:lnSpc>
              <a:spcBef>
                <a:spcPts val="0"/>
              </a:spcBef>
              <a:buFont typeface="Arial" panose="020B0604020202020204" pitchFamily="34" charset="0"/>
              <a:buNone/>
              <a:defRPr sz="21200">
                <a:solidFill>
                  <a:srgbClr val="519FBC"/>
                </a:solidFill>
                <a:latin typeface="+mj-lt"/>
              </a:defRPr>
            </a:lvl5pPr>
            <a:lvl6pPr marL="0" indent="0" algn="r">
              <a:lnSpc>
                <a:spcPct val="100000"/>
              </a:lnSpc>
              <a:spcBef>
                <a:spcPts val="0"/>
              </a:spcBef>
              <a:buNone/>
              <a:defRPr sz="21200">
                <a:solidFill>
                  <a:srgbClr val="519FBC"/>
                </a:solidFill>
                <a:latin typeface="+mj-lt"/>
              </a:defRPr>
            </a:lvl6pPr>
            <a:lvl7pPr marL="0" indent="0" algn="r">
              <a:lnSpc>
                <a:spcPct val="100000"/>
              </a:lnSpc>
              <a:spcBef>
                <a:spcPts val="0"/>
              </a:spcBef>
              <a:buNone/>
              <a:defRPr sz="21200">
                <a:solidFill>
                  <a:srgbClr val="519FBC"/>
                </a:solidFill>
                <a:latin typeface="+mj-lt"/>
              </a:defRPr>
            </a:lvl7pPr>
            <a:lvl8pPr marL="0" indent="0" algn="r">
              <a:lnSpc>
                <a:spcPct val="100000"/>
              </a:lnSpc>
              <a:spcBef>
                <a:spcPts val="0"/>
              </a:spcBef>
              <a:buNone/>
              <a:defRPr sz="21200">
                <a:solidFill>
                  <a:srgbClr val="519FBC"/>
                </a:solidFill>
                <a:latin typeface="+mj-lt"/>
              </a:defRPr>
            </a:lvl8pPr>
            <a:lvl9pPr marL="0" indent="0" algn="r">
              <a:lnSpc>
                <a:spcPct val="100000"/>
              </a:lnSpc>
              <a:spcBef>
                <a:spcPts val="0"/>
              </a:spcBef>
              <a:buNone/>
              <a:defRPr sz="21200">
                <a:solidFill>
                  <a:srgbClr val="519FBC"/>
                </a:solidFill>
                <a:latin typeface="+mj-lt"/>
              </a:defRPr>
            </a:lvl9pPr>
          </a:lstStyle>
          <a:p>
            <a:r>
              <a:rPr lang="en-GB" dirty="0"/>
              <a:t>00</a:t>
            </a:r>
          </a:p>
        </p:txBody>
      </p:sp>
      <p:sp>
        <p:nvSpPr>
          <p:cNvPr id="2" name="Title"/>
          <p:cNvSpPr>
            <a:spLocks noGrp="1"/>
          </p:cNvSpPr>
          <p:nvPr>
            <p:ph type="title" hasCustomPrompt="1"/>
          </p:nvPr>
        </p:nvSpPr>
        <p:spPr bwMode="gray">
          <a:xfrm>
            <a:off x="4943873" y="1989183"/>
            <a:ext cx="4608399" cy="1799857"/>
          </a:xfrm>
          <a:prstGeom prst="rect">
            <a:avLst/>
          </a:prstGeom>
        </p:spPr>
        <p:txBody>
          <a:bodyPr vert="horz" tIns="36000">
            <a:noAutofit/>
          </a:bodyPr>
          <a:lstStyle>
            <a:lvl1pPr>
              <a:lnSpc>
                <a:spcPct val="90000"/>
              </a:lnSpc>
              <a:defRPr sz="3000">
                <a:solidFill>
                  <a:schemeClr val="tx1"/>
                </a:solidFill>
              </a:defRPr>
            </a:lvl1pPr>
          </a:lstStyle>
          <a:p>
            <a:r>
              <a:rPr lang="en-GB" dirty="0"/>
              <a:t>Divider slide | Insert your headline in maximal 3 lines here</a:t>
            </a:r>
          </a:p>
        </p:txBody>
      </p:sp>
      <p:sp>
        <p:nvSpPr>
          <p:cNvPr id="11" name="Subtitle 2">
            <a:extLst>
              <a:ext uri="{FF2B5EF4-FFF2-40B4-BE49-F238E27FC236}">
                <a16:creationId xmlns:a16="http://schemas.microsoft.com/office/drawing/2014/main" id="{0C46297C-A90E-4725-9584-F26D2B59D3D8}"/>
              </a:ext>
            </a:extLst>
          </p:cNvPr>
          <p:cNvSpPr>
            <a:spLocks noGrp="1"/>
          </p:cNvSpPr>
          <p:nvPr>
            <p:ph type="subTitle" idx="1" hasCustomPrompt="1"/>
          </p:nvPr>
        </p:nvSpPr>
        <p:spPr bwMode="gray">
          <a:xfrm>
            <a:off x="4943872" y="3789040"/>
            <a:ext cx="4608399" cy="1152128"/>
          </a:xfrm>
          <a:prstGeom prst="rect">
            <a:avLst/>
          </a:prstGeom>
          <a:noFill/>
          <a:ln w="0">
            <a:noFill/>
          </a:ln>
        </p:spPr>
        <p:txBody>
          <a:bodyPr lIns="0" rIns="0"/>
          <a:lstStyle>
            <a:lvl1pPr marL="0" indent="0" algn="l">
              <a:lnSpc>
                <a:spcPct val="100000"/>
              </a:lnSpc>
              <a:spcBef>
                <a:spcPts val="0"/>
              </a:spcBef>
              <a:buFont typeface="Arial" panose="020B0604020202020204" pitchFamily="34" charset="0"/>
              <a:buNone/>
              <a:defRPr sz="2000" b="0">
                <a:latin typeface="+mn-lt"/>
              </a:defRPr>
            </a:lvl1pPr>
            <a:lvl2pPr marL="0" indent="0" algn="l">
              <a:lnSpc>
                <a:spcPct val="100000"/>
              </a:lnSpc>
              <a:spcBef>
                <a:spcPts val="0"/>
              </a:spcBef>
              <a:buFont typeface="Arial" panose="020B0604020202020204" pitchFamily="34" charset="0"/>
              <a:buNone/>
              <a:defRPr sz="2000" b="0">
                <a:latin typeface="+mn-lt"/>
              </a:defRPr>
            </a:lvl2pPr>
            <a:lvl3pPr marL="0" indent="0" algn="l">
              <a:lnSpc>
                <a:spcPct val="100000"/>
              </a:lnSpc>
              <a:spcBef>
                <a:spcPts val="0"/>
              </a:spcBef>
              <a:buFont typeface="Arial" panose="020B0604020202020204" pitchFamily="34" charset="0"/>
              <a:buNone/>
              <a:defRPr sz="2000" b="0">
                <a:latin typeface="+mn-lt"/>
              </a:defRPr>
            </a:lvl3pPr>
            <a:lvl4pPr marL="0" indent="0" algn="l">
              <a:lnSpc>
                <a:spcPct val="100000"/>
              </a:lnSpc>
              <a:spcBef>
                <a:spcPts val="0"/>
              </a:spcBef>
              <a:buFont typeface="Arial" panose="020B0604020202020204" pitchFamily="34" charset="0"/>
              <a:buNone/>
              <a:defRPr sz="2000" b="0">
                <a:latin typeface="+mn-lt"/>
              </a:defRPr>
            </a:lvl4pPr>
            <a:lvl5pPr marL="0" indent="0" algn="l">
              <a:lnSpc>
                <a:spcPct val="100000"/>
              </a:lnSpc>
              <a:spcBef>
                <a:spcPts val="0"/>
              </a:spcBef>
              <a:buFont typeface="Arial" panose="020B0604020202020204" pitchFamily="34" charset="0"/>
              <a:buNone/>
              <a:defRPr sz="2000" b="0">
                <a:latin typeface="+mn-lt"/>
              </a:defRPr>
            </a:lvl5pPr>
            <a:lvl6pPr marL="0" indent="0" algn="l">
              <a:lnSpc>
                <a:spcPct val="100000"/>
              </a:lnSpc>
              <a:spcBef>
                <a:spcPts val="0"/>
              </a:spcBef>
              <a:buFont typeface="Arial" panose="020B0604020202020204" pitchFamily="34" charset="0"/>
              <a:buNone/>
              <a:defRPr sz="2000" b="0">
                <a:latin typeface="+mn-lt"/>
              </a:defRPr>
            </a:lvl6pPr>
            <a:lvl7pPr marL="0" indent="0" algn="l">
              <a:lnSpc>
                <a:spcPct val="100000"/>
              </a:lnSpc>
              <a:spcBef>
                <a:spcPts val="0"/>
              </a:spcBef>
              <a:buFont typeface="Arial" panose="020B0604020202020204" pitchFamily="34" charset="0"/>
              <a:buNone/>
              <a:defRPr sz="2000" b="0">
                <a:latin typeface="+mn-lt"/>
              </a:defRPr>
            </a:lvl7pPr>
            <a:lvl8pPr marL="0" indent="0" algn="l">
              <a:lnSpc>
                <a:spcPct val="100000"/>
              </a:lnSpc>
              <a:spcBef>
                <a:spcPts val="0"/>
              </a:spcBef>
              <a:buFont typeface="Arial" panose="020B0604020202020204" pitchFamily="34" charset="0"/>
              <a:buNone/>
              <a:defRPr sz="2000" b="0">
                <a:latin typeface="+mn-lt"/>
              </a:defRPr>
            </a:lvl8pPr>
            <a:lvl9pPr marL="0" indent="0" algn="l">
              <a:lnSpc>
                <a:spcPct val="100000"/>
              </a:lnSpc>
              <a:spcBef>
                <a:spcPts val="0"/>
              </a:spcBef>
              <a:buFont typeface="Arial" panose="020B0604020202020204" pitchFamily="34" charset="0"/>
              <a:buNone/>
              <a:defRPr sz="2000" b="0">
                <a:latin typeface="+mn-lt"/>
              </a:defRPr>
            </a:lvl9pPr>
          </a:lstStyle>
          <a:p>
            <a:r>
              <a:rPr lang="en-GB" dirty="0"/>
              <a:t>Insert here your subtitle</a:t>
            </a:r>
          </a:p>
        </p:txBody>
      </p:sp>
      <p:sp>
        <p:nvSpPr>
          <p:cNvPr id="7" name="Datumsplatzhalter 6">
            <a:extLst>
              <a:ext uri="{FF2B5EF4-FFF2-40B4-BE49-F238E27FC236}">
                <a16:creationId xmlns:a16="http://schemas.microsoft.com/office/drawing/2014/main" id="{CA1C0955-D9DC-8ADB-C79E-372D726B4A02}"/>
              </a:ext>
            </a:extLst>
          </p:cNvPr>
          <p:cNvSpPr>
            <a:spLocks noGrp="1"/>
          </p:cNvSpPr>
          <p:nvPr>
            <p:ph type="dt" sz="half" idx="18"/>
          </p:nvPr>
        </p:nvSpPr>
        <p:spPr/>
        <p:txBody>
          <a:bodyPr/>
          <a:lstStyle/>
          <a:p>
            <a:r>
              <a:rPr lang="en-US"/>
              <a:t>7/26/2022</a:t>
            </a:r>
            <a:endParaRPr lang="en-GB" dirty="0"/>
          </a:p>
        </p:txBody>
      </p:sp>
      <p:sp>
        <p:nvSpPr>
          <p:cNvPr id="10" name="Fußzeilenplatzhalter 9">
            <a:extLst>
              <a:ext uri="{FF2B5EF4-FFF2-40B4-BE49-F238E27FC236}">
                <a16:creationId xmlns:a16="http://schemas.microsoft.com/office/drawing/2014/main" id="{38686354-13A8-E7EB-3848-72D0F4FC49FE}"/>
              </a:ext>
            </a:extLst>
          </p:cNvPr>
          <p:cNvSpPr>
            <a:spLocks noGrp="1"/>
          </p:cNvSpPr>
          <p:nvPr>
            <p:ph type="ftr" sz="quarter" idx="19"/>
          </p:nvPr>
        </p:nvSpPr>
        <p:spPr/>
        <p:txBody>
          <a:bodyPr/>
          <a:lstStyle/>
          <a:p>
            <a:r>
              <a:rPr lang="de-DE"/>
              <a:t>Der Konsument nach Corona und Consumer Voice</a:t>
            </a:r>
            <a:endParaRPr lang="de-DE" dirty="0"/>
          </a:p>
        </p:txBody>
      </p:sp>
      <p:sp>
        <p:nvSpPr>
          <p:cNvPr id="12" name="Foliennummernplatzhalter 11">
            <a:extLst>
              <a:ext uri="{FF2B5EF4-FFF2-40B4-BE49-F238E27FC236}">
                <a16:creationId xmlns:a16="http://schemas.microsoft.com/office/drawing/2014/main" id="{F2318042-E736-0C92-6DEC-7CD79EF1069F}"/>
              </a:ext>
            </a:extLst>
          </p:cNvPr>
          <p:cNvSpPr>
            <a:spLocks noGrp="1"/>
          </p:cNvSpPr>
          <p:nvPr>
            <p:ph type="sldNum" sz="quarter" idx="20"/>
          </p:nvPr>
        </p:nvSpPr>
        <p:spPr/>
        <p:txBody>
          <a:bodyPr/>
          <a:lstStyle/>
          <a:p>
            <a:fld id="{CAEA825B-D749-4F0A-886E-8D45A39EAF2A}" type="slidenum">
              <a:rPr lang="de-DE" smtClean="0"/>
              <a:pPr/>
              <a:t>‹Nº›</a:t>
            </a:fld>
            <a:endParaRPr lang="de-DE"/>
          </a:p>
        </p:txBody>
      </p:sp>
      <p:sp>
        <p:nvSpPr>
          <p:cNvPr id="13" name="Source">
            <a:extLst>
              <a:ext uri="{FF2B5EF4-FFF2-40B4-BE49-F238E27FC236}">
                <a16:creationId xmlns:a16="http://schemas.microsoft.com/office/drawing/2014/main" id="{52870D8B-7C16-6180-4B48-AAE0CDB4EFEB}"/>
              </a:ext>
            </a:extLst>
          </p:cNvPr>
          <p:cNvSpPr>
            <a:spLocks noGrp="1"/>
          </p:cNvSpPr>
          <p:nvPr>
            <p:ph type="body" sz="quarter" idx="21"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spTree>
    <p:extLst>
      <p:ext uri="{BB962C8B-B14F-4D97-AF65-F5344CB8AC3E}">
        <p14:creationId xmlns:p14="http://schemas.microsoft.com/office/powerpoint/2010/main" val="3448386783"/>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3">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7CAFBF6-1626-F58A-36F0-F368B65D00BC}"/>
              </a:ext>
            </a:extLst>
          </p:cNvPr>
          <p:cNvGraphicFramePr>
            <a:graphicFrameLocks noChangeAspect="1"/>
          </p:cNvGraphicFramePr>
          <p:nvPr userDrawn="1">
            <p:custDataLst>
              <p:tags r:id="rId1"/>
            </p:custDataLst>
            <p:extLst>
              <p:ext uri="{D42A27DB-BD31-4B8C-83A1-F6EECF244321}">
                <p14:modId xmlns:p14="http://schemas.microsoft.com/office/powerpoint/2010/main" val="3989264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4" name="Objekt 3" hidden="1">
                        <a:extLst>
                          <a:ext uri="{FF2B5EF4-FFF2-40B4-BE49-F238E27FC236}">
                            <a16:creationId xmlns:a16="http://schemas.microsoft.com/office/drawing/2014/main" id="{67CAFBF6-1626-F58A-36F0-F368B65D00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86" name="Gruppieren 585">
            <a:extLst>
              <a:ext uri="{FF2B5EF4-FFF2-40B4-BE49-F238E27FC236}">
                <a16:creationId xmlns:a16="http://schemas.microsoft.com/office/drawing/2014/main" id="{554EE6DB-14B2-15E4-55F2-FFE30E6E54D9}"/>
              </a:ext>
            </a:extLst>
          </p:cNvPr>
          <p:cNvGrpSpPr/>
          <p:nvPr userDrawn="1"/>
        </p:nvGrpSpPr>
        <p:grpSpPr>
          <a:xfrm>
            <a:off x="317360" y="1484784"/>
            <a:ext cx="11539280" cy="4626512"/>
            <a:chOff x="317360" y="1484784"/>
            <a:chExt cx="11539280" cy="4626512"/>
          </a:xfrm>
        </p:grpSpPr>
        <p:sp>
          <p:nvSpPr>
            <p:cNvPr id="587" name="Rechteck 586">
              <a:extLst>
                <a:ext uri="{FF2B5EF4-FFF2-40B4-BE49-F238E27FC236}">
                  <a16:creationId xmlns:a16="http://schemas.microsoft.com/office/drawing/2014/main" id="{DD524CBA-1902-6087-C45F-ED0221FB7E8B}"/>
                </a:ext>
              </a:extLst>
            </p:cNvPr>
            <p:cNvSpPr/>
            <p:nvPr userDrawn="1"/>
          </p:nvSpPr>
          <p:spPr bwMode="gray">
            <a:xfrm>
              <a:off x="1126257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88" name="Rechteck 587">
              <a:extLst>
                <a:ext uri="{FF2B5EF4-FFF2-40B4-BE49-F238E27FC236}">
                  <a16:creationId xmlns:a16="http://schemas.microsoft.com/office/drawing/2014/main" id="{5748EF2F-1BE9-6ABE-4CA4-561510133663}"/>
                </a:ext>
              </a:extLst>
            </p:cNvPr>
            <p:cNvSpPr/>
            <p:nvPr userDrawn="1"/>
          </p:nvSpPr>
          <p:spPr bwMode="gray">
            <a:xfrm>
              <a:off x="1068651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89" name="Rechteck 588">
              <a:extLst>
                <a:ext uri="{FF2B5EF4-FFF2-40B4-BE49-F238E27FC236}">
                  <a16:creationId xmlns:a16="http://schemas.microsoft.com/office/drawing/2014/main" id="{EAFCAB6C-F28C-FB92-947A-7B70A7C081FE}"/>
                </a:ext>
              </a:extLst>
            </p:cNvPr>
            <p:cNvSpPr/>
            <p:nvPr userDrawn="1"/>
          </p:nvSpPr>
          <p:spPr bwMode="gray">
            <a:xfrm>
              <a:off x="1011044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0" name="Rechteck 589">
              <a:extLst>
                <a:ext uri="{FF2B5EF4-FFF2-40B4-BE49-F238E27FC236}">
                  <a16:creationId xmlns:a16="http://schemas.microsoft.com/office/drawing/2014/main" id="{CDC29B25-CCF8-27EF-3617-CD33A9703382}"/>
                </a:ext>
              </a:extLst>
            </p:cNvPr>
            <p:cNvSpPr/>
            <p:nvPr userDrawn="1"/>
          </p:nvSpPr>
          <p:spPr bwMode="gray">
            <a:xfrm>
              <a:off x="953438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1" name="Rechteck 590">
              <a:extLst>
                <a:ext uri="{FF2B5EF4-FFF2-40B4-BE49-F238E27FC236}">
                  <a16:creationId xmlns:a16="http://schemas.microsoft.com/office/drawing/2014/main" id="{31518C03-510B-87C4-032F-DA29C3D75A47}"/>
                </a:ext>
              </a:extLst>
            </p:cNvPr>
            <p:cNvSpPr/>
            <p:nvPr userDrawn="1"/>
          </p:nvSpPr>
          <p:spPr bwMode="gray">
            <a:xfrm>
              <a:off x="895832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2" name="Rechteck 591">
              <a:extLst>
                <a:ext uri="{FF2B5EF4-FFF2-40B4-BE49-F238E27FC236}">
                  <a16:creationId xmlns:a16="http://schemas.microsoft.com/office/drawing/2014/main" id="{CF966379-7293-57E2-C0D1-0E25BD266210}"/>
                </a:ext>
              </a:extLst>
            </p:cNvPr>
            <p:cNvSpPr/>
            <p:nvPr userDrawn="1"/>
          </p:nvSpPr>
          <p:spPr bwMode="gray">
            <a:xfrm>
              <a:off x="838225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3" name="Rechteck 592">
              <a:extLst>
                <a:ext uri="{FF2B5EF4-FFF2-40B4-BE49-F238E27FC236}">
                  <a16:creationId xmlns:a16="http://schemas.microsoft.com/office/drawing/2014/main" id="{09F5C8F0-6047-5BD8-2E83-9CB55CC041AD}"/>
                </a:ext>
              </a:extLst>
            </p:cNvPr>
            <p:cNvSpPr/>
            <p:nvPr userDrawn="1"/>
          </p:nvSpPr>
          <p:spPr bwMode="gray">
            <a:xfrm>
              <a:off x="780619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4" name="Rechteck 593">
              <a:extLst>
                <a:ext uri="{FF2B5EF4-FFF2-40B4-BE49-F238E27FC236}">
                  <a16:creationId xmlns:a16="http://schemas.microsoft.com/office/drawing/2014/main" id="{85C4CD94-7E8D-2F3B-AC87-B5C881D1BD95}"/>
                </a:ext>
              </a:extLst>
            </p:cNvPr>
            <p:cNvSpPr/>
            <p:nvPr userDrawn="1"/>
          </p:nvSpPr>
          <p:spPr bwMode="gray">
            <a:xfrm>
              <a:off x="723012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5" name="Rechteck 594">
              <a:extLst>
                <a:ext uri="{FF2B5EF4-FFF2-40B4-BE49-F238E27FC236}">
                  <a16:creationId xmlns:a16="http://schemas.microsoft.com/office/drawing/2014/main" id="{C6F0D380-9711-AD83-B66B-A9FDA1815C28}"/>
                </a:ext>
              </a:extLst>
            </p:cNvPr>
            <p:cNvSpPr/>
            <p:nvPr userDrawn="1"/>
          </p:nvSpPr>
          <p:spPr bwMode="gray">
            <a:xfrm>
              <a:off x="665406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6" name="Rechteck 595">
              <a:extLst>
                <a:ext uri="{FF2B5EF4-FFF2-40B4-BE49-F238E27FC236}">
                  <a16:creationId xmlns:a16="http://schemas.microsoft.com/office/drawing/2014/main" id="{5D1B4AF9-25A0-D951-6104-164C2815DD8D}"/>
                </a:ext>
              </a:extLst>
            </p:cNvPr>
            <p:cNvSpPr/>
            <p:nvPr userDrawn="1"/>
          </p:nvSpPr>
          <p:spPr bwMode="gray">
            <a:xfrm>
              <a:off x="607800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7" name="Rechteck 596">
              <a:extLst>
                <a:ext uri="{FF2B5EF4-FFF2-40B4-BE49-F238E27FC236}">
                  <a16:creationId xmlns:a16="http://schemas.microsoft.com/office/drawing/2014/main" id="{95937939-662D-2B2D-416B-D194BA6FF1EB}"/>
                </a:ext>
              </a:extLst>
            </p:cNvPr>
            <p:cNvSpPr/>
            <p:nvPr userDrawn="1"/>
          </p:nvSpPr>
          <p:spPr bwMode="gray">
            <a:xfrm>
              <a:off x="550193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8" name="Rechteck 597">
              <a:extLst>
                <a:ext uri="{FF2B5EF4-FFF2-40B4-BE49-F238E27FC236}">
                  <a16:creationId xmlns:a16="http://schemas.microsoft.com/office/drawing/2014/main" id="{96D95361-E9DB-D422-9B6C-B74AF66602BC}"/>
                </a:ext>
              </a:extLst>
            </p:cNvPr>
            <p:cNvSpPr/>
            <p:nvPr userDrawn="1"/>
          </p:nvSpPr>
          <p:spPr bwMode="gray">
            <a:xfrm>
              <a:off x="492587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9" name="Rechteck 598">
              <a:extLst>
                <a:ext uri="{FF2B5EF4-FFF2-40B4-BE49-F238E27FC236}">
                  <a16:creationId xmlns:a16="http://schemas.microsoft.com/office/drawing/2014/main" id="{91407540-1EA5-BFDE-9137-2E5123E57883}"/>
                </a:ext>
              </a:extLst>
            </p:cNvPr>
            <p:cNvSpPr/>
            <p:nvPr userDrawn="1"/>
          </p:nvSpPr>
          <p:spPr bwMode="gray">
            <a:xfrm>
              <a:off x="434980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0" name="Rechteck 599">
              <a:extLst>
                <a:ext uri="{FF2B5EF4-FFF2-40B4-BE49-F238E27FC236}">
                  <a16:creationId xmlns:a16="http://schemas.microsoft.com/office/drawing/2014/main" id="{94388F57-BFCE-2C0B-C1C2-AE8CD77F45D3}"/>
                </a:ext>
              </a:extLst>
            </p:cNvPr>
            <p:cNvSpPr/>
            <p:nvPr userDrawn="1"/>
          </p:nvSpPr>
          <p:spPr bwMode="gray">
            <a:xfrm>
              <a:off x="377374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1" name="Rechteck 600">
              <a:extLst>
                <a:ext uri="{FF2B5EF4-FFF2-40B4-BE49-F238E27FC236}">
                  <a16:creationId xmlns:a16="http://schemas.microsoft.com/office/drawing/2014/main" id="{38935657-0904-3047-B761-FFAB3D742486}"/>
                </a:ext>
              </a:extLst>
            </p:cNvPr>
            <p:cNvSpPr/>
            <p:nvPr userDrawn="1"/>
          </p:nvSpPr>
          <p:spPr bwMode="gray">
            <a:xfrm>
              <a:off x="319768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2" name="Rechteck 601">
              <a:extLst>
                <a:ext uri="{FF2B5EF4-FFF2-40B4-BE49-F238E27FC236}">
                  <a16:creationId xmlns:a16="http://schemas.microsoft.com/office/drawing/2014/main" id="{EB68102B-A717-A18F-693E-14E3AC379A71}"/>
                </a:ext>
              </a:extLst>
            </p:cNvPr>
            <p:cNvSpPr/>
            <p:nvPr userDrawn="1"/>
          </p:nvSpPr>
          <p:spPr bwMode="gray">
            <a:xfrm>
              <a:off x="262161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3" name="Rechteck 602">
              <a:extLst>
                <a:ext uri="{FF2B5EF4-FFF2-40B4-BE49-F238E27FC236}">
                  <a16:creationId xmlns:a16="http://schemas.microsoft.com/office/drawing/2014/main" id="{12D61654-EAB6-FDD6-31F4-2DBB15E6B373}"/>
                </a:ext>
              </a:extLst>
            </p:cNvPr>
            <p:cNvSpPr/>
            <p:nvPr userDrawn="1"/>
          </p:nvSpPr>
          <p:spPr bwMode="gray">
            <a:xfrm>
              <a:off x="204555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4" name="Rechteck 603">
              <a:extLst>
                <a:ext uri="{FF2B5EF4-FFF2-40B4-BE49-F238E27FC236}">
                  <a16:creationId xmlns:a16="http://schemas.microsoft.com/office/drawing/2014/main" id="{6689A7AD-5B50-F302-915C-8BC4D437FCEF}"/>
                </a:ext>
              </a:extLst>
            </p:cNvPr>
            <p:cNvSpPr/>
            <p:nvPr userDrawn="1"/>
          </p:nvSpPr>
          <p:spPr bwMode="gray">
            <a:xfrm>
              <a:off x="146948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5" name="Rechteck 604">
              <a:extLst>
                <a:ext uri="{FF2B5EF4-FFF2-40B4-BE49-F238E27FC236}">
                  <a16:creationId xmlns:a16="http://schemas.microsoft.com/office/drawing/2014/main" id="{9E0E3D36-5B22-5DDE-20D3-E1C985910CB1}"/>
                </a:ext>
              </a:extLst>
            </p:cNvPr>
            <p:cNvSpPr/>
            <p:nvPr userDrawn="1"/>
          </p:nvSpPr>
          <p:spPr bwMode="gray">
            <a:xfrm>
              <a:off x="89342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6" name="Rechteck 605">
              <a:extLst>
                <a:ext uri="{FF2B5EF4-FFF2-40B4-BE49-F238E27FC236}">
                  <a16:creationId xmlns:a16="http://schemas.microsoft.com/office/drawing/2014/main" id="{96466F41-6FC8-6453-759E-937C5D55073D}"/>
                </a:ext>
              </a:extLst>
            </p:cNvPr>
            <p:cNvSpPr/>
            <p:nvPr userDrawn="1"/>
          </p:nvSpPr>
          <p:spPr bwMode="gray">
            <a:xfrm>
              <a:off x="31736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7" name="Rechteck 606">
              <a:extLst>
                <a:ext uri="{FF2B5EF4-FFF2-40B4-BE49-F238E27FC236}">
                  <a16:creationId xmlns:a16="http://schemas.microsoft.com/office/drawing/2014/main" id="{A62C5D0E-78D8-4DE4-3567-D44124913B90}"/>
                </a:ext>
              </a:extLst>
            </p:cNvPr>
            <p:cNvSpPr/>
            <p:nvPr userDrawn="1"/>
          </p:nvSpPr>
          <p:spPr bwMode="gray">
            <a:xfrm>
              <a:off x="1126257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8" name="Rechteck 607">
              <a:extLst>
                <a:ext uri="{FF2B5EF4-FFF2-40B4-BE49-F238E27FC236}">
                  <a16:creationId xmlns:a16="http://schemas.microsoft.com/office/drawing/2014/main" id="{DD5C9276-518B-93B5-02F3-DA4FCA3438C6}"/>
                </a:ext>
              </a:extLst>
            </p:cNvPr>
            <p:cNvSpPr/>
            <p:nvPr userDrawn="1"/>
          </p:nvSpPr>
          <p:spPr bwMode="gray">
            <a:xfrm>
              <a:off x="1068651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9" name="Rechteck 608">
              <a:extLst>
                <a:ext uri="{FF2B5EF4-FFF2-40B4-BE49-F238E27FC236}">
                  <a16:creationId xmlns:a16="http://schemas.microsoft.com/office/drawing/2014/main" id="{61FB9A87-9472-D556-834D-4291D4BE2EAF}"/>
                </a:ext>
              </a:extLst>
            </p:cNvPr>
            <p:cNvSpPr/>
            <p:nvPr userDrawn="1"/>
          </p:nvSpPr>
          <p:spPr bwMode="gray">
            <a:xfrm>
              <a:off x="1011044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0" name="Rechteck 609">
              <a:extLst>
                <a:ext uri="{FF2B5EF4-FFF2-40B4-BE49-F238E27FC236}">
                  <a16:creationId xmlns:a16="http://schemas.microsoft.com/office/drawing/2014/main" id="{459AAEDA-DF3B-F7A3-7773-6D33D62383EC}"/>
                </a:ext>
              </a:extLst>
            </p:cNvPr>
            <p:cNvSpPr/>
            <p:nvPr userDrawn="1"/>
          </p:nvSpPr>
          <p:spPr bwMode="gray">
            <a:xfrm>
              <a:off x="953438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1" name="Rechteck 610">
              <a:extLst>
                <a:ext uri="{FF2B5EF4-FFF2-40B4-BE49-F238E27FC236}">
                  <a16:creationId xmlns:a16="http://schemas.microsoft.com/office/drawing/2014/main" id="{8C4EB2DA-DF02-3F7C-1D13-F507B0499692}"/>
                </a:ext>
              </a:extLst>
            </p:cNvPr>
            <p:cNvSpPr/>
            <p:nvPr userDrawn="1"/>
          </p:nvSpPr>
          <p:spPr bwMode="gray">
            <a:xfrm>
              <a:off x="895832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2" name="Rechteck 611">
              <a:extLst>
                <a:ext uri="{FF2B5EF4-FFF2-40B4-BE49-F238E27FC236}">
                  <a16:creationId xmlns:a16="http://schemas.microsoft.com/office/drawing/2014/main" id="{6593B473-60D0-58D6-EDC6-7EAC9586A113}"/>
                </a:ext>
              </a:extLst>
            </p:cNvPr>
            <p:cNvSpPr/>
            <p:nvPr userDrawn="1"/>
          </p:nvSpPr>
          <p:spPr bwMode="gray">
            <a:xfrm>
              <a:off x="838225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3" name="Rechteck 612">
              <a:extLst>
                <a:ext uri="{FF2B5EF4-FFF2-40B4-BE49-F238E27FC236}">
                  <a16:creationId xmlns:a16="http://schemas.microsoft.com/office/drawing/2014/main" id="{C9D299CC-F3CC-6673-D866-61EE8ED66473}"/>
                </a:ext>
              </a:extLst>
            </p:cNvPr>
            <p:cNvSpPr/>
            <p:nvPr userDrawn="1"/>
          </p:nvSpPr>
          <p:spPr bwMode="gray">
            <a:xfrm>
              <a:off x="780619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4" name="Rechteck 613">
              <a:extLst>
                <a:ext uri="{FF2B5EF4-FFF2-40B4-BE49-F238E27FC236}">
                  <a16:creationId xmlns:a16="http://schemas.microsoft.com/office/drawing/2014/main" id="{BBC5141B-4F03-F0F3-C2AD-5ED959D436B7}"/>
                </a:ext>
              </a:extLst>
            </p:cNvPr>
            <p:cNvSpPr/>
            <p:nvPr userDrawn="1"/>
          </p:nvSpPr>
          <p:spPr bwMode="gray">
            <a:xfrm>
              <a:off x="723012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5" name="Rechteck 614">
              <a:extLst>
                <a:ext uri="{FF2B5EF4-FFF2-40B4-BE49-F238E27FC236}">
                  <a16:creationId xmlns:a16="http://schemas.microsoft.com/office/drawing/2014/main" id="{491A662F-5C70-1331-9F79-24B47E243B96}"/>
                </a:ext>
              </a:extLst>
            </p:cNvPr>
            <p:cNvSpPr/>
            <p:nvPr userDrawn="1"/>
          </p:nvSpPr>
          <p:spPr bwMode="gray">
            <a:xfrm>
              <a:off x="665406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6" name="Rechteck 615">
              <a:extLst>
                <a:ext uri="{FF2B5EF4-FFF2-40B4-BE49-F238E27FC236}">
                  <a16:creationId xmlns:a16="http://schemas.microsoft.com/office/drawing/2014/main" id="{AF011F86-4097-EA37-0E2F-D44AA7625066}"/>
                </a:ext>
              </a:extLst>
            </p:cNvPr>
            <p:cNvSpPr/>
            <p:nvPr userDrawn="1"/>
          </p:nvSpPr>
          <p:spPr bwMode="gray">
            <a:xfrm>
              <a:off x="607800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7" name="Rechteck 616">
              <a:extLst>
                <a:ext uri="{FF2B5EF4-FFF2-40B4-BE49-F238E27FC236}">
                  <a16:creationId xmlns:a16="http://schemas.microsoft.com/office/drawing/2014/main" id="{5B1332CD-8EBD-D072-92F8-A354A6F3A15A}"/>
                </a:ext>
              </a:extLst>
            </p:cNvPr>
            <p:cNvSpPr/>
            <p:nvPr userDrawn="1"/>
          </p:nvSpPr>
          <p:spPr bwMode="gray">
            <a:xfrm>
              <a:off x="550193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8" name="Rechteck 617">
              <a:extLst>
                <a:ext uri="{FF2B5EF4-FFF2-40B4-BE49-F238E27FC236}">
                  <a16:creationId xmlns:a16="http://schemas.microsoft.com/office/drawing/2014/main" id="{71F808A2-7535-26BD-72AE-A2CDC238A2B9}"/>
                </a:ext>
              </a:extLst>
            </p:cNvPr>
            <p:cNvSpPr/>
            <p:nvPr userDrawn="1"/>
          </p:nvSpPr>
          <p:spPr bwMode="gray">
            <a:xfrm>
              <a:off x="492587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9" name="Rechteck 618">
              <a:extLst>
                <a:ext uri="{FF2B5EF4-FFF2-40B4-BE49-F238E27FC236}">
                  <a16:creationId xmlns:a16="http://schemas.microsoft.com/office/drawing/2014/main" id="{20523855-F1B4-EC96-EBC3-839DFA570CF0}"/>
                </a:ext>
              </a:extLst>
            </p:cNvPr>
            <p:cNvSpPr/>
            <p:nvPr userDrawn="1"/>
          </p:nvSpPr>
          <p:spPr bwMode="gray">
            <a:xfrm>
              <a:off x="434980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0" name="Rechteck 619">
              <a:extLst>
                <a:ext uri="{FF2B5EF4-FFF2-40B4-BE49-F238E27FC236}">
                  <a16:creationId xmlns:a16="http://schemas.microsoft.com/office/drawing/2014/main" id="{0A937F34-8DBB-4588-4FD2-3056A93115B0}"/>
                </a:ext>
              </a:extLst>
            </p:cNvPr>
            <p:cNvSpPr/>
            <p:nvPr userDrawn="1"/>
          </p:nvSpPr>
          <p:spPr bwMode="gray">
            <a:xfrm>
              <a:off x="377374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1" name="Rechteck 620">
              <a:extLst>
                <a:ext uri="{FF2B5EF4-FFF2-40B4-BE49-F238E27FC236}">
                  <a16:creationId xmlns:a16="http://schemas.microsoft.com/office/drawing/2014/main" id="{9E2B5A40-DEA6-0CED-A1CB-2A5FFDCB6472}"/>
                </a:ext>
              </a:extLst>
            </p:cNvPr>
            <p:cNvSpPr/>
            <p:nvPr userDrawn="1"/>
          </p:nvSpPr>
          <p:spPr bwMode="gray">
            <a:xfrm>
              <a:off x="319768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2" name="Rechteck 621">
              <a:extLst>
                <a:ext uri="{FF2B5EF4-FFF2-40B4-BE49-F238E27FC236}">
                  <a16:creationId xmlns:a16="http://schemas.microsoft.com/office/drawing/2014/main" id="{7164BB37-3138-F9C0-AEE7-44289C4E8481}"/>
                </a:ext>
              </a:extLst>
            </p:cNvPr>
            <p:cNvSpPr/>
            <p:nvPr userDrawn="1"/>
          </p:nvSpPr>
          <p:spPr bwMode="gray">
            <a:xfrm>
              <a:off x="262161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3" name="Rechteck 622">
              <a:extLst>
                <a:ext uri="{FF2B5EF4-FFF2-40B4-BE49-F238E27FC236}">
                  <a16:creationId xmlns:a16="http://schemas.microsoft.com/office/drawing/2014/main" id="{1F290517-6159-847F-2057-681DA969577E}"/>
                </a:ext>
              </a:extLst>
            </p:cNvPr>
            <p:cNvSpPr/>
            <p:nvPr userDrawn="1"/>
          </p:nvSpPr>
          <p:spPr bwMode="gray">
            <a:xfrm>
              <a:off x="204555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4" name="Rechteck 623">
              <a:extLst>
                <a:ext uri="{FF2B5EF4-FFF2-40B4-BE49-F238E27FC236}">
                  <a16:creationId xmlns:a16="http://schemas.microsoft.com/office/drawing/2014/main" id="{E96D6DA7-C2CB-347C-3211-E98857B8B3E0}"/>
                </a:ext>
              </a:extLst>
            </p:cNvPr>
            <p:cNvSpPr/>
            <p:nvPr userDrawn="1"/>
          </p:nvSpPr>
          <p:spPr bwMode="gray">
            <a:xfrm>
              <a:off x="146948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5" name="Rechteck 624">
              <a:extLst>
                <a:ext uri="{FF2B5EF4-FFF2-40B4-BE49-F238E27FC236}">
                  <a16:creationId xmlns:a16="http://schemas.microsoft.com/office/drawing/2014/main" id="{05FFF626-8F19-406B-9046-C98BFA4339ED}"/>
                </a:ext>
              </a:extLst>
            </p:cNvPr>
            <p:cNvSpPr/>
            <p:nvPr userDrawn="1"/>
          </p:nvSpPr>
          <p:spPr bwMode="gray">
            <a:xfrm>
              <a:off x="89342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6" name="Rechteck 625">
              <a:extLst>
                <a:ext uri="{FF2B5EF4-FFF2-40B4-BE49-F238E27FC236}">
                  <a16:creationId xmlns:a16="http://schemas.microsoft.com/office/drawing/2014/main" id="{7B860284-DF2A-A699-6661-AB94A40D1133}"/>
                </a:ext>
              </a:extLst>
            </p:cNvPr>
            <p:cNvSpPr/>
            <p:nvPr userDrawn="1"/>
          </p:nvSpPr>
          <p:spPr bwMode="gray">
            <a:xfrm>
              <a:off x="31736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7" name="Rechteck 626">
              <a:extLst>
                <a:ext uri="{FF2B5EF4-FFF2-40B4-BE49-F238E27FC236}">
                  <a16:creationId xmlns:a16="http://schemas.microsoft.com/office/drawing/2014/main" id="{42FC466E-B120-7E04-821F-E1AD1A4D9557}"/>
                </a:ext>
              </a:extLst>
            </p:cNvPr>
            <p:cNvSpPr/>
            <p:nvPr userDrawn="1"/>
          </p:nvSpPr>
          <p:spPr bwMode="gray">
            <a:xfrm>
              <a:off x="1126257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8" name="Rechteck 627">
              <a:extLst>
                <a:ext uri="{FF2B5EF4-FFF2-40B4-BE49-F238E27FC236}">
                  <a16:creationId xmlns:a16="http://schemas.microsoft.com/office/drawing/2014/main" id="{6919DEA1-7517-BE75-E3AB-64E649B5496F}"/>
                </a:ext>
              </a:extLst>
            </p:cNvPr>
            <p:cNvSpPr/>
            <p:nvPr userDrawn="1"/>
          </p:nvSpPr>
          <p:spPr bwMode="gray">
            <a:xfrm>
              <a:off x="1068651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9" name="Rechteck 628">
              <a:extLst>
                <a:ext uri="{FF2B5EF4-FFF2-40B4-BE49-F238E27FC236}">
                  <a16:creationId xmlns:a16="http://schemas.microsoft.com/office/drawing/2014/main" id="{D8F582E2-1603-1BF9-0748-C8F6E9002247}"/>
                </a:ext>
              </a:extLst>
            </p:cNvPr>
            <p:cNvSpPr/>
            <p:nvPr userDrawn="1"/>
          </p:nvSpPr>
          <p:spPr bwMode="gray">
            <a:xfrm>
              <a:off x="1011044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0" name="Rechteck 629">
              <a:extLst>
                <a:ext uri="{FF2B5EF4-FFF2-40B4-BE49-F238E27FC236}">
                  <a16:creationId xmlns:a16="http://schemas.microsoft.com/office/drawing/2014/main" id="{FE6DCC56-E445-8E6C-E653-BD8B2915F26B}"/>
                </a:ext>
              </a:extLst>
            </p:cNvPr>
            <p:cNvSpPr/>
            <p:nvPr userDrawn="1"/>
          </p:nvSpPr>
          <p:spPr bwMode="gray">
            <a:xfrm>
              <a:off x="953438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1" name="Rechteck 630">
              <a:extLst>
                <a:ext uri="{FF2B5EF4-FFF2-40B4-BE49-F238E27FC236}">
                  <a16:creationId xmlns:a16="http://schemas.microsoft.com/office/drawing/2014/main" id="{18AC524E-5367-DD5E-E026-24C98DD6ABBB}"/>
                </a:ext>
              </a:extLst>
            </p:cNvPr>
            <p:cNvSpPr/>
            <p:nvPr userDrawn="1"/>
          </p:nvSpPr>
          <p:spPr bwMode="gray">
            <a:xfrm>
              <a:off x="895832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2" name="Rechteck 631">
              <a:extLst>
                <a:ext uri="{FF2B5EF4-FFF2-40B4-BE49-F238E27FC236}">
                  <a16:creationId xmlns:a16="http://schemas.microsoft.com/office/drawing/2014/main" id="{960FBE02-4387-507F-1D07-099A970B37C5}"/>
                </a:ext>
              </a:extLst>
            </p:cNvPr>
            <p:cNvSpPr/>
            <p:nvPr userDrawn="1"/>
          </p:nvSpPr>
          <p:spPr bwMode="gray">
            <a:xfrm>
              <a:off x="838225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3" name="Rechteck 632">
              <a:extLst>
                <a:ext uri="{FF2B5EF4-FFF2-40B4-BE49-F238E27FC236}">
                  <a16:creationId xmlns:a16="http://schemas.microsoft.com/office/drawing/2014/main" id="{1A62EE0B-346E-D4DE-7D5F-8B83F244E0E4}"/>
                </a:ext>
              </a:extLst>
            </p:cNvPr>
            <p:cNvSpPr/>
            <p:nvPr userDrawn="1"/>
          </p:nvSpPr>
          <p:spPr bwMode="gray">
            <a:xfrm>
              <a:off x="780619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4" name="Rechteck 633">
              <a:extLst>
                <a:ext uri="{FF2B5EF4-FFF2-40B4-BE49-F238E27FC236}">
                  <a16:creationId xmlns:a16="http://schemas.microsoft.com/office/drawing/2014/main" id="{E6C1C97D-516C-7A32-A6C0-8EDBB14BBEEA}"/>
                </a:ext>
              </a:extLst>
            </p:cNvPr>
            <p:cNvSpPr/>
            <p:nvPr userDrawn="1"/>
          </p:nvSpPr>
          <p:spPr bwMode="gray">
            <a:xfrm>
              <a:off x="723012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5" name="Rechteck 634">
              <a:extLst>
                <a:ext uri="{FF2B5EF4-FFF2-40B4-BE49-F238E27FC236}">
                  <a16:creationId xmlns:a16="http://schemas.microsoft.com/office/drawing/2014/main" id="{FF3DA2A5-BA0B-EAB9-BEB5-13371A9C9AA8}"/>
                </a:ext>
              </a:extLst>
            </p:cNvPr>
            <p:cNvSpPr/>
            <p:nvPr userDrawn="1"/>
          </p:nvSpPr>
          <p:spPr bwMode="gray">
            <a:xfrm>
              <a:off x="665406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6" name="Rechteck 635">
              <a:extLst>
                <a:ext uri="{FF2B5EF4-FFF2-40B4-BE49-F238E27FC236}">
                  <a16:creationId xmlns:a16="http://schemas.microsoft.com/office/drawing/2014/main" id="{91A12C59-172E-6A7E-B9FE-87C75B337677}"/>
                </a:ext>
              </a:extLst>
            </p:cNvPr>
            <p:cNvSpPr/>
            <p:nvPr userDrawn="1"/>
          </p:nvSpPr>
          <p:spPr bwMode="gray">
            <a:xfrm>
              <a:off x="607800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7" name="Rechteck 636">
              <a:extLst>
                <a:ext uri="{FF2B5EF4-FFF2-40B4-BE49-F238E27FC236}">
                  <a16:creationId xmlns:a16="http://schemas.microsoft.com/office/drawing/2014/main" id="{F83846A6-0118-E357-CCC2-B19DBB1DC600}"/>
                </a:ext>
              </a:extLst>
            </p:cNvPr>
            <p:cNvSpPr/>
            <p:nvPr userDrawn="1"/>
          </p:nvSpPr>
          <p:spPr bwMode="gray">
            <a:xfrm>
              <a:off x="550193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8" name="Rechteck 637">
              <a:extLst>
                <a:ext uri="{FF2B5EF4-FFF2-40B4-BE49-F238E27FC236}">
                  <a16:creationId xmlns:a16="http://schemas.microsoft.com/office/drawing/2014/main" id="{C8022AC4-E8F5-25DA-DA1E-BB03A82E4874}"/>
                </a:ext>
              </a:extLst>
            </p:cNvPr>
            <p:cNvSpPr/>
            <p:nvPr userDrawn="1"/>
          </p:nvSpPr>
          <p:spPr bwMode="gray">
            <a:xfrm>
              <a:off x="492587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9" name="Rechteck 638">
              <a:extLst>
                <a:ext uri="{FF2B5EF4-FFF2-40B4-BE49-F238E27FC236}">
                  <a16:creationId xmlns:a16="http://schemas.microsoft.com/office/drawing/2014/main" id="{FFF27F3B-8CEE-87FB-A29E-4C8431A753F0}"/>
                </a:ext>
              </a:extLst>
            </p:cNvPr>
            <p:cNvSpPr/>
            <p:nvPr userDrawn="1"/>
          </p:nvSpPr>
          <p:spPr bwMode="gray">
            <a:xfrm>
              <a:off x="434980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0" name="Rechteck 639">
              <a:extLst>
                <a:ext uri="{FF2B5EF4-FFF2-40B4-BE49-F238E27FC236}">
                  <a16:creationId xmlns:a16="http://schemas.microsoft.com/office/drawing/2014/main" id="{D23AD19B-3AA5-71B9-CC12-3864635696C9}"/>
                </a:ext>
              </a:extLst>
            </p:cNvPr>
            <p:cNvSpPr/>
            <p:nvPr userDrawn="1"/>
          </p:nvSpPr>
          <p:spPr bwMode="gray">
            <a:xfrm>
              <a:off x="377374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1" name="Rechteck 640">
              <a:extLst>
                <a:ext uri="{FF2B5EF4-FFF2-40B4-BE49-F238E27FC236}">
                  <a16:creationId xmlns:a16="http://schemas.microsoft.com/office/drawing/2014/main" id="{0BC766FC-22AA-084F-35E3-606A06BC8431}"/>
                </a:ext>
              </a:extLst>
            </p:cNvPr>
            <p:cNvSpPr/>
            <p:nvPr userDrawn="1"/>
          </p:nvSpPr>
          <p:spPr bwMode="gray">
            <a:xfrm>
              <a:off x="319768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2" name="Rechteck 641">
              <a:extLst>
                <a:ext uri="{FF2B5EF4-FFF2-40B4-BE49-F238E27FC236}">
                  <a16:creationId xmlns:a16="http://schemas.microsoft.com/office/drawing/2014/main" id="{D1B008AF-3163-A71E-B5E8-B11F23047493}"/>
                </a:ext>
              </a:extLst>
            </p:cNvPr>
            <p:cNvSpPr/>
            <p:nvPr userDrawn="1"/>
          </p:nvSpPr>
          <p:spPr bwMode="gray">
            <a:xfrm>
              <a:off x="262161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3" name="Rechteck 642">
              <a:extLst>
                <a:ext uri="{FF2B5EF4-FFF2-40B4-BE49-F238E27FC236}">
                  <a16:creationId xmlns:a16="http://schemas.microsoft.com/office/drawing/2014/main" id="{20281E64-E10D-C6B3-B5CF-367F59514B90}"/>
                </a:ext>
              </a:extLst>
            </p:cNvPr>
            <p:cNvSpPr/>
            <p:nvPr userDrawn="1"/>
          </p:nvSpPr>
          <p:spPr bwMode="gray">
            <a:xfrm>
              <a:off x="204555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4" name="Rechteck 643">
              <a:extLst>
                <a:ext uri="{FF2B5EF4-FFF2-40B4-BE49-F238E27FC236}">
                  <a16:creationId xmlns:a16="http://schemas.microsoft.com/office/drawing/2014/main" id="{B8CFDA59-DFBB-A461-9A7D-9E6D05FE9B45}"/>
                </a:ext>
              </a:extLst>
            </p:cNvPr>
            <p:cNvSpPr/>
            <p:nvPr userDrawn="1"/>
          </p:nvSpPr>
          <p:spPr bwMode="gray">
            <a:xfrm>
              <a:off x="146948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5" name="Rechteck 644">
              <a:extLst>
                <a:ext uri="{FF2B5EF4-FFF2-40B4-BE49-F238E27FC236}">
                  <a16:creationId xmlns:a16="http://schemas.microsoft.com/office/drawing/2014/main" id="{906EA0EC-5C27-4564-25F8-318C146E4720}"/>
                </a:ext>
              </a:extLst>
            </p:cNvPr>
            <p:cNvSpPr/>
            <p:nvPr userDrawn="1"/>
          </p:nvSpPr>
          <p:spPr bwMode="gray">
            <a:xfrm>
              <a:off x="89342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6" name="Rechteck 645">
              <a:extLst>
                <a:ext uri="{FF2B5EF4-FFF2-40B4-BE49-F238E27FC236}">
                  <a16:creationId xmlns:a16="http://schemas.microsoft.com/office/drawing/2014/main" id="{627063D1-6DD9-9F82-F4BB-47C3B6B83E7B}"/>
                </a:ext>
              </a:extLst>
            </p:cNvPr>
            <p:cNvSpPr/>
            <p:nvPr userDrawn="1"/>
          </p:nvSpPr>
          <p:spPr bwMode="gray">
            <a:xfrm>
              <a:off x="31736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7" name="Rechteck 646">
              <a:extLst>
                <a:ext uri="{FF2B5EF4-FFF2-40B4-BE49-F238E27FC236}">
                  <a16:creationId xmlns:a16="http://schemas.microsoft.com/office/drawing/2014/main" id="{513CC39A-1147-B1FC-B0D0-6E1E694C15F1}"/>
                </a:ext>
              </a:extLst>
            </p:cNvPr>
            <p:cNvSpPr/>
            <p:nvPr userDrawn="1"/>
          </p:nvSpPr>
          <p:spPr bwMode="gray">
            <a:xfrm>
              <a:off x="1126257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8" name="Rechteck 647">
              <a:extLst>
                <a:ext uri="{FF2B5EF4-FFF2-40B4-BE49-F238E27FC236}">
                  <a16:creationId xmlns:a16="http://schemas.microsoft.com/office/drawing/2014/main" id="{5FAC358D-84CC-328A-1F98-F62694C9C1C5}"/>
                </a:ext>
              </a:extLst>
            </p:cNvPr>
            <p:cNvSpPr/>
            <p:nvPr userDrawn="1"/>
          </p:nvSpPr>
          <p:spPr bwMode="gray">
            <a:xfrm>
              <a:off x="1068651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9" name="Rechteck 648">
              <a:extLst>
                <a:ext uri="{FF2B5EF4-FFF2-40B4-BE49-F238E27FC236}">
                  <a16:creationId xmlns:a16="http://schemas.microsoft.com/office/drawing/2014/main" id="{555867F3-2ABC-AA8D-3BF2-CCB4C60261CE}"/>
                </a:ext>
              </a:extLst>
            </p:cNvPr>
            <p:cNvSpPr/>
            <p:nvPr userDrawn="1"/>
          </p:nvSpPr>
          <p:spPr bwMode="gray">
            <a:xfrm>
              <a:off x="1011044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0" name="Rechteck 649">
              <a:extLst>
                <a:ext uri="{FF2B5EF4-FFF2-40B4-BE49-F238E27FC236}">
                  <a16:creationId xmlns:a16="http://schemas.microsoft.com/office/drawing/2014/main" id="{40A1B1F3-158F-94C7-76D3-5113957B2235}"/>
                </a:ext>
              </a:extLst>
            </p:cNvPr>
            <p:cNvSpPr/>
            <p:nvPr userDrawn="1"/>
          </p:nvSpPr>
          <p:spPr bwMode="gray">
            <a:xfrm>
              <a:off x="953438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1" name="Rechteck 650">
              <a:extLst>
                <a:ext uri="{FF2B5EF4-FFF2-40B4-BE49-F238E27FC236}">
                  <a16:creationId xmlns:a16="http://schemas.microsoft.com/office/drawing/2014/main" id="{6CE1BFB9-2093-6AD8-E064-455A28735627}"/>
                </a:ext>
              </a:extLst>
            </p:cNvPr>
            <p:cNvSpPr/>
            <p:nvPr userDrawn="1"/>
          </p:nvSpPr>
          <p:spPr bwMode="gray">
            <a:xfrm>
              <a:off x="895832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2" name="Rechteck 651">
              <a:extLst>
                <a:ext uri="{FF2B5EF4-FFF2-40B4-BE49-F238E27FC236}">
                  <a16:creationId xmlns:a16="http://schemas.microsoft.com/office/drawing/2014/main" id="{30C17304-184E-0548-E33A-A69C0F29F545}"/>
                </a:ext>
              </a:extLst>
            </p:cNvPr>
            <p:cNvSpPr/>
            <p:nvPr userDrawn="1"/>
          </p:nvSpPr>
          <p:spPr bwMode="gray">
            <a:xfrm>
              <a:off x="838225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3" name="Rechteck 652">
              <a:extLst>
                <a:ext uri="{FF2B5EF4-FFF2-40B4-BE49-F238E27FC236}">
                  <a16:creationId xmlns:a16="http://schemas.microsoft.com/office/drawing/2014/main" id="{07C34270-5E02-1250-B6CD-952744FDC408}"/>
                </a:ext>
              </a:extLst>
            </p:cNvPr>
            <p:cNvSpPr/>
            <p:nvPr userDrawn="1"/>
          </p:nvSpPr>
          <p:spPr bwMode="gray">
            <a:xfrm>
              <a:off x="780619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4" name="Rechteck 653">
              <a:extLst>
                <a:ext uri="{FF2B5EF4-FFF2-40B4-BE49-F238E27FC236}">
                  <a16:creationId xmlns:a16="http://schemas.microsoft.com/office/drawing/2014/main" id="{6EB4CBE6-0D70-AED8-D64C-7C0020C5DEB3}"/>
                </a:ext>
              </a:extLst>
            </p:cNvPr>
            <p:cNvSpPr/>
            <p:nvPr userDrawn="1"/>
          </p:nvSpPr>
          <p:spPr bwMode="gray">
            <a:xfrm>
              <a:off x="723012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5" name="Rechteck 654">
              <a:extLst>
                <a:ext uri="{FF2B5EF4-FFF2-40B4-BE49-F238E27FC236}">
                  <a16:creationId xmlns:a16="http://schemas.microsoft.com/office/drawing/2014/main" id="{1A9EE276-0EF5-8067-339B-E7CD114C81E8}"/>
                </a:ext>
              </a:extLst>
            </p:cNvPr>
            <p:cNvSpPr/>
            <p:nvPr userDrawn="1"/>
          </p:nvSpPr>
          <p:spPr bwMode="gray">
            <a:xfrm>
              <a:off x="665406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6" name="Rechteck 655">
              <a:extLst>
                <a:ext uri="{FF2B5EF4-FFF2-40B4-BE49-F238E27FC236}">
                  <a16:creationId xmlns:a16="http://schemas.microsoft.com/office/drawing/2014/main" id="{D459495F-4AB0-9AF2-2B43-3E672FE6657F}"/>
                </a:ext>
              </a:extLst>
            </p:cNvPr>
            <p:cNvSpPr/>
            <p:nvPr userDrawn="1"/>
          </p:nvSpPr>
          <p:spPr bwMode="gray">
            <a:xfrm>
              <a:off x="607800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7" name="Rechteck 656">
              <a:extLst>
                <a:ext uri="{FF2B5EF4-FFF2-40B4-BE49-F238E27FC236}">
                  <a16:creationId xmlns:a16="http://schemas.microsoft.com/office/drawing/2014/main" id="{FFFBD5AF-7C3C-01C6-273F-1BB18F886527}"/>
                </a:ext>
              </a:extLst>
            </p:cNvPr>
            <p:cNvSpPr/>
            <p:nvPr userDrawn="1"/>
          </p:nvSpPr>
          <p:spPr bwMode="gray">
            <a:xfrm>
              <a:off x="550193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8" name="Rechteck 657">
              <a:extLst>
                <a:ext uri="{FF2B5EF4-FFF2-40B4-BE49-F238E27FC236}">
                  <a16:creationId xmlns:a16="http://schemas.microsoft.com/office/drawing/2014/main" id="{DF3E5B66-D040-A3BD-530F-5EF71FCC8755}"/>
                </a:ext>
              </a:extLst>
            </p:cNvPr>
            <p:cNvSpPr/>
            <p:nvPr userDrawn="1"/>
          </p:nvSpPr>
          <p:spPr bwMode="gray">
            <a:xfrm>
              <a:off x="492587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9" name="Rechteck 658">
              <a:extLst>
                <a:ext uri="{FF2B5EF4-FFF2-40B4-BE49-F238E27FC236}">
                  <a16:creationId xmlns:a16="http://schemas.microsoft.com/office/drawing/2014/main" id="{5348761D-7732-7603-861C-4E5DFC818775}"/>
                </a:ext>
              </a:extLst>
            </p:cNvPr>
            <p:cNvSpPr/>
            <p:nvPr userDrawn="1"/>
          </p:nvSpPr>
          <p:spPr bwMode="gray">
            <a:xfrm>
              <a:off x="434980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0" name="Rechteck 659">
              <a:extLst>
                <a:ext uri="{FF2B5EF4-FFF2-40B4-BE49-F238E27FC236}">
                  <a16:creationId xmlns:a16="http://schemas.microsoft.com/office/drawing/2014/main" id="{304688C5-374B-B86C-3B93-887B29D0C5D2}"/>
                </a:ext>
              </a:extLst>
            </p:cNvPr>
            <p:cNvSpPr/>
            <p:nvPr userDrawn="1"/>
          </p:nvSpPr>
          <p:spPr bwMode="gray">
            <a:xfrm>
              <a:off x="377374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1" name="Rechteck 660">
              <a:extLst>
                <a:ext uri="{FF2B5EF4-FFF2-40B4-BE49-F238E27FC236}">
                  <a16:creationId xmlns:a16="http://schemas.microsoft.com/office/drawing/2014/main" id="{0574B421-EE3B-65AA-16F3-F66127C3B739}"/>
                </a:ext>
              </a:extLst>
            </p:cNvPr>
            <p:cNvSpPr/>
            <p:nvPr userDrawn="1"/>
          </p:nvSpPr>
          <p:spPr bwMode="gray">
            <a:xfrm>
              <a:off x="319768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2" name="Rechteck 661">
              <a:extLst>
                <a:ext uri="{FF2B5EF4-FFF2-40B4-BE49-F238E27FC236}">
                  <a16:creationId xmlns:a16="http://schemas.microsoft.com/office/drawing/2014/main" id="{783B7097-71D7-3DF4-E569-0B784600D68C}"/>
                </a:ext>
              </a:extLst>
            </p:cNvPr>
            <p:cNvSpPr/>
            <p:nvPr userDrawn="1"/>
          </p:nvSpPr>
          <p:spPr bwMode="gray">
            <a:xfrm>
              <a:off x="262161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3" name="Rechteck 662">
              <a:extLst>
                <a:ext uri="{FF2B5EF4-FFF2-40B4-BE49-F238E27FC236}">
                  <a16:creationId xmlns:a16="http://schemas.microsoft.com/office/drawing/2014/main" id="{8F3F6407-28F8-BF5A-86F6-4E73509C1125}"/>
                </a:ext>
              </a:extLst>
            </p:cNvPr>
            <p:cNvSpPr/>
            <p:nvPr userDrawn="1"/>
          </p:nvSpPr>
          <p:spPr bwMode="gray">
            <a:xfrm>
              <a:off x="204555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4" name="Rechteck 663">
              <a:extLst>
                <a:ext uri="{FF2B5EF4-FFF2-40B4-BE49-F238E27FC236}">
                  <a16:creationId xmlns:a16="http://schemas.microsoft.com/office/drawing/2014/main" id="{E371834F-C44C-C145-593F-A808F1D0A11F}"/>
                </a:ext>
              </a:extLst>
            </p:cNvPr>
            <p:cNvSpPr/>
            <p:nvPr userDrawn="1"/>
          </p:nvSpPr>
          <p:spPr bwMode="gray">
            <a:xfrm>
              <a:off x="146948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5" name="Rechteck 664">
              <a:extLst>
                <a:ext uri="{FF2B5EF4-FFF2-40B4-BE49-F238E27FC236}">
                  <a16:creationId xmlns:a16="http://schemas.microsoft.com/office/drawing/2014/main" id="{B6016C77-8E03-A14B-D360-B6E923843065}"/>
                </a:ext>
              </a:extLst>
            </p:cNvPr>
            <p:cNvSpPr/>
            <p:nvPr userDrawn="1"/>
          </p:nvSpPr>
          <p:spPr bwMode="gray">
            <a:xfrm>
              <a:off x="89342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6" name="Rechteck 665">
              <a:extLst>
                <a:ext uri="{FF2B5EF4-FFF2-40B4-BE49-F238E27FC236}">
                  <a16:creationId xmlns:a16="http://schemas.microsoft.com/office/drawing/2014/main" id="{7B75C589-0E05-0C6B-FF2C-4C211BD5B249}"/>
                </a:ext>
              </a:extLst>
            </p:cNvPr>
            <p:cNvSpPr/>
            <p:nvPr userDrawn="1"/>
          </p:nvSpPr>
          <p:spPr bwMode="gray">
            <a:xfrm>
              <a:off x="31736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7" name="Rechteck 666">
              <a:extLst>
                <a:ext uri="{FF2B5EF4-FFF2-40B4-BE49-F238E27FC236}">
                  <a16:creationId xmlns:a16="http://schemas.microsoft.com/office/drawing/2014/main" id="{D1D0D7AC-4B48-D0EB-A2C2-4D9FAB985AE5}"/>
                </a:ext>
              </a:extLst>
            </p:cNvPr>
            <p:cNvSpPr/>
            <p:nvPr userDrawn="1"/>
          </p:nvSpPr>
          <p:spPr bwMode="gray">
            <a:xfrm>
              <a:off x="1126257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8" name="Rechteck 667">
              <a:extLst>
                <a:ext uri="{FF2B5EF4-FFF2-40B4-BE49-F238E27FC236}">
                  <a16:creationId xmlns:a16="http://schemas.microsoft.com/office/drawing/2014/main" id="{70571AB7-8545-B46F-57BD-AD0B6FDCE4BF}"/>
                </a:ext>
              </a:extLst>
            </p:cNvPr>
            <p:cNvSpPr/>
            <p:nvPr userDrawn="1"/>
          </p:nvSpPr>
          <p:spPr bwMode="gray">
            <a:xfrm>
              <a:off x="1068651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9" name="Rechteck 668">
              <a:extLst>
                <a:ext uri="{FF2B5EF4-FFF2-40B4-BE49-F238E27FC236}">
                  <a16:creationId xmlns:a16="http://schemas.microsoft.com/office/drawing/2014/main" id="{1D6F298D-C980-BD9F-3142-773D7D611F0E}"/>
                </a:ext>
              </a:extLst>
            </p:cNvPr>
            <p:cNvSpPr/>
            <p:nvPr userDrawn="1"/>
          </p:nvSpPr>
          <p:spPr bwMode="gray">
            <a:xfrm>
              <a:off x="1011044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0" name="Rechteck 669">
              <a:extLst>
                <a:ext uri="{FF2B5EF4-FFF2-40B4-BE49-F238E27FC236}">
                  <a16:creationId xmlns:a16="http://schemas.microsoft.com/office/drawing/2014/main" id="{42975420-6733-B0EA-0D93-7B69FEB135F2}"/>
                </a:ext>
              </a:extLst>
            </p:cNvPr>
            <p:cNvSpPr/>
            <p:nvPr userDrawn="1"/>
          </p:nvSpPr>
          <p:spPr bwMode="gray">
            <a:xfrm>
              <a:off x="953438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1" name="Rechteck 670">
              <a:extLst>
                <a:ext uri="{FF2B5EF4-FFF2-40B4-BE49-F238E27FC236}">
                  <a16:creationId xmlns:a16="http://schemas.microsoft.com/office/drawing/2014/main" id="{24B07210-4A8C-0540-8595-90682FEA7DB9}"/>
                </a:ext>
              </a:extLst>
            </p:cNvPr>
            <p:cNvSpPr/>
            <p:nvPr userDrawn="1"/>
          </p:nvSpPr>
          <p:spPr bwMode="gray">
            <a:xfrm>
              <a:off x="895832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2" name="Rechteck 671">
              <a:extLst>
                <a:ext uri="{FF2B5EF4-FFF2-40B4-BE49-F238E27FC236}">
                  <a16:creationId xmlns:a16="http://schemas.microsoft.com/office/drawing/2014/main" id="{CD7F0533-04C3-83E3-51EB-6A62E56497E3}"/>
                </a:ext>
              </a:extLst>
            </p:cNvPr>
            <p:cNvSpPr/>
            <p:nvPr userDrawn="1"/>
          </p:nvSpPr>
          <p:spPr bwMode="gray">
            <a:xfrm>
              <a:off x="838225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3" name="Rechteck 672">
              <a:extLst>
                <a:ext uri="{FF2B5EF4-FFF2-40B4-BE49-F238E27FC236}">
                  <a16:creationId xmlns:a16="http://schemas.microsoft.com/office/drawing/2014/main" id="{414C293D-7605-8C26-A6BA-F2324F5B2FA6}"/>
                </a:ext>
              </a:extLst>
            </p:cNvPr>
            <p:cNvSpPr/>
            <p:nvPr userDrawn="1"/>
          </p:nvSpPr>
          <p:spPr bwMode="gray">
            <a:xfrm>
              <a:off x="780619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4" name="Rechteck 673">
              <a:extLst>
                <a:ext uri="{FF2B5EF4-FFF2-40B4-BE49-F238E27FC236}">
                  <a16:creationId xmlns:a16="http://schemas.microsoft.com/office/drawing/2014/main" id="{1A16130E-F4DB-2058-8656-10FA04F42281}"/>
                </a:ext>
              </a:extLst>
            </p:cNvPr>
            <p:cNvSpPr/>
            <p:nvPr userDrawn="1"/>
          </p:nvSpPr>
          <p:spPr bwMode="gray">
            <a:xfrm>
              <a:off x="723012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5" name="Rechteck 674">
              <a:extLst>
                <a:ext uri="{FF2B5EF4-FFF2-40B4-BE49-F238E27FC236}">
                  <a16:creationId xmlns:a16="http://schemas.microsoft.com/office/drawing/2014/main" id="{E6C05886-CC58-9B39-6382-329C28B16C83}"/>
                </a:ext>
              </a:extLst>
            </p:cNvPr>
            <p:cNvSpPr/>
            <p:nvPr userDrawn="1"/>
          </p:nvSpPr>
          <p:spPr bwMode="gray">
            <a:xfrm>
              <a:off x="665406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6" name="Rechteck 675">
              <a:extLst>
                <a:ext uri="{FF2B5EF4-FFF2-40B4-BE49-F238E27FC236}">
                  <a16:creationId xmlns:a16="http://schemas.microsoft.com/office/drawing/2014/main" id="{74D3AB5C-B18C-B7C9-0600-89734DB3FFD5}"/>
                </a:ext>
              </a:extLst>
            </p:cNvPr>
            <p:cNvSpPr/>
            <p:nvPr userDrawn="1"/>
          </p:nvSpPr>
          <p:spPr bwMode="gray">
            <a:xfrm>
              <a:off x="607800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7" name="Rechteck 676">
              <a:extLst>
                <a:ext uri="{FF2B5EF4-FFF2-40B4-BE49-F238E27FC236}">
                  <a16:creationId xmlns:a16="http://schemas.microsoft.com/office/drawing/2014/main" id="{B8DE0F76-9C5C-CB9C-025C-6ABDE46524B3}"/>
                </a:ext>
              </a:extLst>
            </p:cNvPr>
            <p:cNvSpPr/>
            <p:nvPr userDrawn="1"/>
          </p:nvSpPr>
          <p:spPr bwMode="gray">
            <a:xfrm>
              <a:off x="550193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8" name="Rechteck 677">
              <a:extLst>
                <a:ext uri="{FF2B5EF4-FFF2-40B4-BE49-F238E27FC236}">
                  <a16:creationId xmlns:a16="http://schemas.microsoft.com/office/drawing/2014/main" id="{068712A3-243E-B33E-5F53-58901BFCAD0B}"/>
                </a:ext>
              </a:extLst>
            </p:cNvPr>
            <p:cNvSpPr/>
            <p:nvPr userDrawn="1"/>
          </p:nvSpPr>
          <p:spPr bwMode="gray">
            <a:xfrm>
              <a:off x="492587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9" name="Rechteck 678">
              <a:extLst>
                <a:ext uri="{FF2B5EF4-FFF2-40B4-BE49-F238E27FC236}">
                  <a16:creationId xmlns:a16="http://schemas.microsoft.com/office/drawing/2014/main" id="{5D1EE436-6211-2195-838D-3C53584A991F}"/>
                </a:ext>
              </a:extLst>
            </p:cNvPr>
            <p:cNvSpPr/>
            <p:nvPr userDrawn="1"/>
          </p:nvSpPr>
          <p:spPr bwMode="gray">
            <a:xfrm>
              <a:off x="434980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0" name="Rechteck 679">
              <a:extLst>
                <a:ext uri="{FF2B5EF4-FFF2-40B4-BE49-F238E27FC236}">
                  <a16:creationId xmlns:a16="http://schemas.microsoft.com/office/drawing/2014/main" id="{735AECAD-A501-8EDF-7417-BB02E7098C51}"/>
                </a:ext>
              </a:extLst>
            </p:cNvPr>
            <p:cNvSpPr/>
            <p:nvPr userDrawn="1"/>
          </p:nvSpPr>
          <p:spPr bwMode="gray">
            <a:xfrm>
              <a:off x="377374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1" name="Rechteck 680">
              <a:extLst>
                <a:ext uri="{FF2B5EF4-FFF2-40B4-BE49-F238E27FC236}">
                  <a16:creationId xmlns:a16="http://schemas.microsoft.com/office/drawing/2014/main" id="{61B56840-D4EF-7550-C873-7BFF934F7EE6}"/>
                </a:ext>
              </a:extLst>
            </p:cNvPr>
            <p:cNvSpPr/>
            <p:nvPr userDrawn="1"/>
          </p:nvSpPr>
          <p:spPr bwMode="gray">
            <a:xfrm>
              <a:off x="319768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2" name="Rechteck 681">
              <a:extLst>
                <a:ext uri="{FF2B5EF4-FFF2-40B4-BE49-F238E27FC236}">
                  <a16:creationId xmlns:a16="http://schemas.microsoft.com/office/drawing/2014/main" id="{8D2F1CC8-AFA2-C831-3297-60497E308649}"/>
                </a:ext>
              </a:extLst>
            </p:cNvPr>
            <p:cNvSpPr/>
            <p:nvPr userDrawn="1"/>
          </p:nvSpPr>
          <p:spPr bwMode="gray">
            <a:xfrm>
              <a:off x="262161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3" name="Rechteck 682">
              <a:extLst>
                <a:ext uri="{FF2B5EF4-FFF2-40B4-BE49-F238E27FC236}">
                  <a16:creationId xmlns:a16="http://schemas.microsoft.com/office/drawing/2014/main" id="{C33C5386-1548-9EE2-738C-4DF36A488CB1}"/>
                </a:ext>
              </a:extLst>
            </p:cNvPr>
            <p:cNvSpPr/>
            <p:nvPr userDrawn="1"/>
          </p:nvSpPr>
          <p:spPr bwMode="gray">
            <a:xfrm>
              <a:off x="204555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4" name="Rechteck 683">
              <a:extLst>
                <a:ext uri="{FF2B5EF4-FFF2-40B4-BE49-F238E27FC236}">
                  <a16:creationId xmlns:a16="http://schemas.microsoft.com/office/drawing/2014/main" id="{057A98FC-2E0C-51FD-2518-D9357933C719}"/>
                </a:ext>
              </a:extLst>
            </p:cNvPr>
            <p:cNvSpPr/>
            <p:nvPr userDrawn="1"/>
          </p:nvSpPr>
          <p:spPr bwMode="gray">
            <a:xfrm>
              <a:off x="146948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5" name="Rechteck 684">
              <a:extLst>
                <a:ext uri="{FF2B5EF4-FFF2-40B4-BE49-F238E27FC236}">
                  <a16:creationId xmlns:a16="http://schemas.microsoft.com/office/drawing/2014/main" id="{73D856CD-FFDB-AC2A-30B3-362871CD751A}"/>
                </a:ext>
              </a:extLst>
            </p:cNvPr>
            <p:cNvSpPr/>
            <p:nvPr userDrawn="1"/>
          </p:nvSpPr>
          <p:spPr bwMode="gray">
            <a:xfrm>
              <a:off x="89342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6" name="Rechteck 685">
              <a:extLst>
                <a:ext uri="{FF2B5EF4-FFF2-40B4-BE49-F238E27FC236}">
                  <a16:creationId xmlns:a16="http://schemas.microsoft.com/office/drawing/2014/main" id="{57C3877D-232E-C68B-A33F-26E177A977DE}"/>
                </a:ext>
              </a:extLst>
            </p:cNvPr>
            <p:cNvSpPr/>
            <p:nvPr userDrawn="1"/>
          </p:nvSpPr>
          <p:spPr bwMode="gray">
            <a:xfrm>
              <a:off x="31736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7" name="Rechteck 686">
              <a:extLst>
                <a:ext uri="{FF2B5EF4-FFF2-40B4-BE49-F238E27FC236}">
                  <a16:creationId xmlns:a16="http://schemas.microsoft.com/office/drawing/2014/main" id="{F3826365-5851-B846-2758-CFABD4151EDF}"/>
                </a:ext>
              </a:extLst>
            </p:cNvPr>
            <p:cNvSpPr/>
            <p:nvPr userDrawn="1"/>
          </p:nvSpPr>
          <p:spPr bwMode="gray">
            <a:xfrm>
              <a:off x="1126257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8" name="Rechteck 687">
              <a:extLst>
                <a:ext uri="{FF2B5EF4-FFF2-40B4-BE49-F238E27FC236}">
                  <a16:creationId xmlns:a16="http://schemas.microsoft.com/office/drawing/2014/main" id="{39415449-5CEE-8DAD-A8BF-51FC932F89B4}"/>
                </a:ext>
              </a:extLst>
            </p:cNvPr>
            <p:cNvSpPr/>
            <p:nvPr userDrawn="1"/>
          </p:nvSpPr>
          <p:spPr bwMode="gray">
            <a:xfrm>
              <a:off x="1068651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9" name="Rechteck 688">
              <a:extLst>
                <a:ext uri="{FF2B5EF4-FFF2-40B4-BE49-F238E27FC236}">
                  <a16:creationId xmlns:a16="http://schemas.microsoft.com/office/drawing/2014/main" id="{98E87E83-5FAB-5836-5D15-8EC0C996FAA2}"/>
                </a:ext>
              </a:extLst>
            </p:cNvPr>
            <p:cNvSpPr/>
            <p:nvPr userDrawn="1"/>
          </p:nvSpPr>
          <p:spPr bwMode="gray">
            <a:xfrm>
              <a:off x="1011044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0" name="Rechteck 689">
              <a:extLst>
                <a:ext uri="{FF2B5EF4-FFF2-40B4-BE49-F238E27FC236}">
                  <a16:creationId xmlns:a16="http://schemas.microsoft.com/office/drawing/2014/main" id="{6773F962-A5A6-2CB8-43AE-5712903B234F}"/>
                </a:ext>
              </a:extLst>
            </p:cNvPr>
            <p:cNvSpPr/>
            <p:nvPr userDrawn="1"/>
          </p:nvSpPr>
          <p:spPr bwMode="gray">
            <a:xfrm>
              <a:off x="953438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1" name="Rechteck 690">
              <a:extLst>
                <a:ext uri="{FF2B5EF4-FFF2-40B4-BE49-F238E27FC236}">
                  <a16:creationId xmlns:a16="http://schemas.microsoft.com/office/drawing/2014/main" id="{3EA9D79E-595C-604F-23CB-D7004590E4E7}"/>
                </a:ext>
              </a:extLst>
            </p:cNvPr>
            <p:cNvSpPr/>
            <p:nvPr userDrawn="1"/>
          </p:nvSpPr>
          <p:spPr bwMode="gray">
            <a:xfrm>
              <a:off x="895832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2" name="Rechteck 691">
              <a:extLst>
                <a:ext uri="{FF2B5EF4-FFF2-40B4-BE49-F238E27FC236}">
                  <a16:creationId xmlns:a16="http://schemas.microsoft.com/office/drawing/2014/main" id="{BECB4008-050D-D051-2AC8-7304247AE4B6}"/>
                </a:ext>
              </a:extLst>
            </p:cNvPr>
            <p:cNvSpPr/>
            <p:nvPr userDrawn="1"/>
          </p:nvSpPr>
          <p:spPr bwMode="gray">
            <a:xfrm>
              <a:off x="838225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3" name="Rechteck 692">
              <a:extLst>
                <a:ext uri="{FF2B5EF4-FFF2-40B4-BE49-F238E27FC236}">
                  <a16:creationId xmlns:a16="http://schemas.microsoft.com/office/drawing/2014/main" id="{5D5B3252-2BAA-B9AA-6721-BD9089135AD1}"/>
                </a:ext>
              </a:extLst>
            </p:cNvPr>
            <p:cNvSpPr/>
            <p:nvPr userDrawn="1"/>
          </p:nvSpPr>
          <p:spPr bwMode="gray">
            <a:xfrm>
              <a:off x="780619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4" name="Rechteck 693">
              <a:extLst>
                <a:ext uri="{FF2B5EF4-FFF2-40B4-BE49-F238E27FC236}">
                  <a16:creationId xmlns:a16="http://schemas.microsoft.com/office/drawing/2014/main" id="{B3A554E9-C385-0A5E-11E0-B3BF2E105EAA}"/>
                </a:ext>
              </a:extLst>
            </p:cNvPr>
            <p:cNvSpPr/>
            <p:nvPr userDrawn="1"/>
          </p:nvSpPr>
          <p:spPr bwMode="gray">
            <a:xfrm>
              <a:off x="723012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5" name="Rechteck 694">
              <a:extLst>
                <a:ext uri="{FF2B5EF4-FFF2-40B4-BE49-F238E27FC236}">
                  <a16:creationId xmlns:a16="http://schemas.microsoft.com/office/drawing/2014/main" id="{1C96D5E8-3680-A9BD-55BD-7E6A7CB9F767}"/>
                </a:ext>
              </a:extLst>
            </p:cNvPr>
            <p:cNvSpPr/>
            <p:nvPr userDrawn="1"/>
          </p:nvSpPr>
          <p:spPr bwMode="gray">
            <a:xfrm>
              <a:off x="665406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6" name="Rechteck 695">
              <a:extLst>
                <a:ext uri="{FF2B5EF4-FFF2-40B4-BE49-F238E27FC236}">
                  <a16:creationId xmlns:a16="http://schemas.microsoft.com/office/drawing/2014/main" id="{99597E89-9D19-C511-11CE-1E191AD7FFDE}"/>
                </a:ext>
              </a:extLst>
            </p:cNvPr>
            <p:cNvSpPr/>
            <p:nvPr userDrawn="1"/>
          </p:nvSpPr>
          <p:spPr bwMode="gray">
            <a:xfrm>
              <a:off x="607800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7" name="Rechteck 696">
              <a:extLst>
                <a:ext uri="{FF2B5EF4-FFF2-40B4-BE49-F238E27FC236}">
                  <a16:creationId xmlns:a16="http://schemas.microsoft.com/office/drawing/2014/main" id="{ADBF8B2E-9858-5008-CCC3-363CD7F024B0}"/>
                </a:ext>
              </a:extLst>
            </p:cNvPr>
            <p:cNvSpPr/>
            <p:nvPr userDrawn="1"/>
          </p:nvSpPr>
          <p:spPr bwMode="gray">
            <a:xfrm>
              <a:off x="550193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8" name="Rechteck 697">
              <a:extLst>
                <a:ext uri="{FF2B5EF4-FFF2-40B4-BE49-F238E27FC236}">
                  <a16:creationId xmlns:a16="http://schemas.microsoft.com/office/drawing/2014/main" id="{EFBD3BDA-D063-874D-1017-5F4CE93700D2}"/>
                </a:ext>
              </a:extLst>
            </p:cNvPr>
            <p:cNvSpPr/>
            <p:nvPr userDrawn="1"/>
          </p:nvSpPr>
          <p:spPr bwMode="gray">
            <a:xfrm>
              <a:off x="492587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9" name="Rechteck 698">
              <a:extLst>
                <a:ext uri="{FF2B5EF4-FFF2-40B4-BE49-F238E27FC236}">
                  <a16:creationId xmlns:a16="http://schemas.microsoft.com/office/drawing/2014/main" id="{F4F4B804-0A1B-36F8-C4C8-1B67B518CFA6}"/>
                </a:ext>
              </a:extLst>
            </p:cNvPr>
            <p:cNvSpPr/>
            <p:nvPr userDrawn="1"/>
          </p:nvSpPr>
          <p:spPr bwMode="gray">
            <a:xfrm>
              <a:off x="434980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0" name="Rechteck 699">
              <a:extLst>
                <a:ext uri="{FF2B5EF4-FFF2-40B4-BE49-F238E27FC236}">
                  <a16:creationId xmlns:a16="http://schemas.microsoft.com/office/drawing/2014/main" id="{40C7D8FF-65A8-BFCB-2473-EB8693EA202E}"/>
                </a:ext>
              </a:extLst>
            </p:cNvPr>
            <p:cNvSpPr/>
            <p:nvPr userDrawn="1"/>
          </p:nvSpPr>
          <p:spPr bwMode="gray">
            <a:xfrm>
              <a:off x="377374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1" name="Rechteck 700">
              <a:extLst>
                <a:ext uri="{FF2B5EF4-FFF2-40B4-BE49-F238E27FC236}">
                  <a16:creationId xmlns:a16="http://schemas.microsoft.com/office/drawing/2014/main" id="{32311525-1659-37E7-0FFB-B450656CA3F6}"/>
                </a:ext>
              </a:extLst>
            </p:cNvPr>
            <p:cNvSpPr/>
            <p:nvPr userDrawn="1"/>
          </p:nvSpPr>
          <p:spPr bwMode="gray">
            <a:xfrm>
              <a:off x="319768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2" name="Rechteck 701">
              <a:extLst>
                <a:ext uri="{FF2B5EF4-FFF2-40B4-BE49-F238E27FC236}">
                  <a16:creationId xmlns:a16="http://schemas.microsoft.com/office/drawing/2014/main" id="{13AC6883-84BF-94B8-1C34-9951FE14AC6D}"/>
                </a:ext>
              </a:extLst>
            </p:cNvPr>
            <p:cNvSpPr/>
            <p:nvPr userDrawn="1"/>
          </p:nvSpPr>
          <p:spPr bwMode="gray">
            <a:xfrm>
              <a:off x="262161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3" name="Rechteck 702">
              <a:extLst>
                <a:ext uri="{FF2B5EF4-FFF2-40B4-BE49-F238E27FC236}">
                  <a16:creationId xmlns:a16="http://schemas.microsoft.com/office/drawing/2014/main" id="{21DE6844-6725-33D1-E274-314C21428286}"/>
                </a:ext>
              </a:extLst>
            </p:cNvPr>
            <p:cNvSpPr/>
            <p:nvPr userDrawn="1"/>
          </p:nvSpPr>
          <p:spPr bwMode="gray">
            <a:xfrm>
              <a:off x="204555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4" name="Rechteck 703">
              <a:extLst>
                <a:ext uri="{FF2B5EF4-FFF2-40B4-BE49-F238E27FC236}">
                  <a16:creationId xmlns:a16="http://schemas.microsoft.com/office/drawing/2014/main" id="{B49E4A16-A712-A72B-CB84-178C2E880266}"/>
                </a:ext>
              </a:extLst>
            </p:cNvPr>
            <p:cNvSpPr/>
            <p:nvPr userDrawn="1"/>
          </p:nvSpPr>
          <p:spPr bwMode="gray">
            <a:xfrm>
              <a:off x="146948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5" name="Rechteck 704">
              <a:extLst>
                <a:ext uri="{FF2B5EF4-FFF2-40B4-BE49-F238E27FC236}">
                  <a16:creationId xmlns:a16="http://schemas.microsoft.com/office/drawing/2014/main" id="{61DB4C94-DFE1-90E0-F023-70EC8A19602E}"/>
                </a:ext>
              </a:extLst>
            </p:cNvPr>
            <p:cNvSpPr/>
            <p:nvPr userDrawn="1"/>
          </p:nvSpPr>
          <p:spPr bwMode="gray">
            <a:xfrm>
              <a:off x="89342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6" name="Rechteck 705">
              <a:extLst>
                <a:ext uri="{FF2B5EF4-FFF2-40B4-BE49-F238E27FC236}">
                  <a16:creationId xmlns:a16="http://schemas.microsoft.com/office/drawing/2014/main" id="{A836825A-F125-7E99-B6C3-FC3F4F366FB7}"/>
                </a:ext>
              </a:extLst>
            </p:cNvPr>
            <p:cNvSpPr/>
            <p:nvPr userDrawn="1"/>
          </p:nvSpPr>
          <p:spPr bwMode="gray">
            <a:xfrm>
              <a:off x="31736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7" name="Rechteck 706">
              <a:extLst>
                <a:ext uri="{FF2B5EF4-FFF2-40B4-BE49-F238E27FC236}">
                  <a16:creationId xmlns:a16="http://schemas.microsoft.com/office/drawing/2014/main" id="{EF908BFE-B3F3-FE7E-9F0A-5571BFF9A370}"/>
                </a:ext>
              </a:extLst>
            </p:cNvPr>
            <p:cNvSpPr/>
            <p:nvPr userDrawn="1"/>
          </p:nvSpPr>
          <p:spPr bwMode="gray">
            <a:xfrm>
              <a:off x="1126257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8" name="Rechteck 707">
              <a:extLst>
                <a:ext uri="{FF2B5EF4-FFF2-40B4-BE49-F238E27FC236}">
                  <a16:creationId xmlns:a16="http://schemas.microsoft.com/office/drawing/2014/main" id="{7AA90EC7-A12D-CE0A-548F-C34391CC7CA1}"/>
                </a:ext>
              </a:extLst>
            </p:cNvPr>
            <p:cNvSpPr/>
            <p:nvPr userDrawn="1"/>
          </p:nvSpPr>
          <p:spPr bwMode="gray">
            <a:xfrm>
              <a:off x="1068651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9" name="Rechteck 708">
              <a:extLst>
                <a:ext uri="{FF2B5EF4-FFF2-40B4-BE49-F238E27FC236}">
                  <a16:creationId xmlns:a16="http://schemas.microsoft.com/office/drawing/2014/main" id="{ED076498-53CB-89F5-43B5-9956EFA991D5}"/>
                </a:ext>
              </a:extLst>
            </p:cNvPr>
            <p:cNvSpPr/>
            <p:nvPr userDrawn="1"/>
          </p:nvSpPr>
          <p:spPr bwMode="gray">
            <a:xfrm>
              <a:off x="1011044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0" name="Rechteck 709">
              <a:extLst>
                <a:ext uri="{FF2B5EF4-FFF2-40B4-BE49-F238E27FC236}">
                  <a16:creationId xmlns:a16="http://schemas.microsoft.com/office/drawing/2014/main" id="{4B390920-8BB7-F83C-33A5-96DBD5C4FB77}"/>
                </a:ext>
              </a:extLst>
            </p:cNvPr>
            <p:cNvSpPr/>
            <p:nvPr userDrawn="1"/>
          </p:nvSpPr>
          <p:spPr bwMode="gray">
            <a:xfrm>
              <a:off x="953438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1" name="Rechteck 710">
              <a:extLst>
                <a:ext uri="{FF2B5EF4-FFF2-40B4-BE49-F238E27FC236}">
                  <a16:creationId xmlns:a16="http://schemas.microsoft.com/office/drawing/2014/main" id="{841C0644-7098-A2B6-2275-F2D4A45BA68E}"/>
                </a:ext>
              </a:extLst>
            </p:cNvPr>
            <p:cNvSpPr/>
            <p:nvPr userDrawn="1"/>
          </p:nvSpPr>
          <p:spPr bwMode="gray">
            <a:xfrm>
              <a:off x="895832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2" name="Rechteck 711">
              <a:extLst>
                <a:ext uri="{FF2B5EF4-FFF2-40B4-BE49-F238E27FC236}">
                  <a16:creationId xmlns:a16="http://schemas.microsoft.com/office/drawing/2014/main" id="{48402F00-C092-A147-B1F9-687FFBCABF09}"/>
                </a:ext>
              </a:extLst>
            </p:cNvPr>
            <p:cNvSpPr/>
            <p:nvPr userDrawn="1"/>
          </p:nvSpPr>
          <p:spPr bwMode="gray">
            <a:xfrm>
              <a:off x="838225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3" name="Rechteck 712">
              <a:extLst>
                <a:ext uri="{FF2B5EF4-FFF2-40B4-BE49-F238E27FC236}">
                  <a16:creationId xmlns:a16="http://schemas.microsoft.com/office/drawing/2014/main" id="{C747BE50-786B-57F2-EE31-0F1351B3BB07}"/>
                </a:ext>
              </a:extLst>
            </p:cNvPr>
            <p:cNvSpPr/>
            <p:nvPr userDrawn="1"/>
          </p:nvSpPr>
          <p:spPr bwMode="gray">
            <a:xfrm>
              <a:off x="780619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4" name="Rechteck 713">
              <a:extLst>
                <a:ext uri="{FF2B5EF4-FFF2-40B4-BE49-F238E27FC236}">
                  <a16:creationId xmlns:a16="http://schemas.microsoft.com/office/drawing/2014/main" id="{9BC657CD-9D2B-9395-332C-B99F82E8DEE5}"/>
                </a:ext>
              </a:extLst>
            </p:cNvPr>
            <p:cNvSpPr/>
            <p:nvPr userDrawn="1"/>
          </p:nvSpPr>
          <p:spPr bwMode="gray">
            <a:xfrm>
              <a:off x="723012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5" name="Rechteck 714">
              <a:extLst>
                <a:ext uri="{FF2B5EF4-FFF2-40B4-BE49-F238E27FC236}">
                  <a16:creationId xmlns:a16="http://schemas.microsoft.com/office/drawing/2014/main" id="{D1F8E09F-3DCB-C21C-EBCD-48A6D966231A}"/>
                </a:ext>
              </a:extLst>
            </p:cNvPr>
            <p:cNvSpPr/>
            <p:nvPr userDrawn="1"/>
          </p:nvSpPr>
          <p:spPr bwMode="gray">
            <a:xfrm>
              <a:off x="665406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6" name="Rechteck 715">
              <a:extLst>
                <a:ext uri="{FF2B5EF4-FFF2-40B4-BE49-F238E27FC236}">
                  <a16:creationId xmlns:a16="http://schemas.microsoft.com/office/drawing/2014/main" id="{ADCE0226-B49B-A92E-0AC1-4EEA1476C80E}"/>
                </a:ext>
              </a:extLst>
            </p:cNvPr>
            <p:cNvSpPr/>
            <p:nvPr userDrawn="1"/>
          </p:nvSpPr>
          <p:spPr bwMode="gray">
            <a:xfrm>
              <a:off x="607800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7" name="Rechteck 716">
              <a:extLst>
                <a:ext uri="{FF2B5EF4-FFF2-40B4-BE49-F238E27FC236}">
                  <a16:creationId xmlns:a16="http://schemas.microsoft.com/office/drawing/2014/main" id="{C0A27962-264E-DDF3-577A-5C81CD375D3D}"/>
                </a:ext>
              </a:extLst>
            </p:cNvPr>
            <p:cNvSpPr/>
            <p:nvPr userDrawn="1"/>
          </p:nvSpPr>
          <p:spPr bwMode="gray">
            <a:xfrm>
              <a:off x="550193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8" name="Rechteck 717">
              <a:extLst>
                <a:ext uri="{FF2B5EF4-FFF2-40B4-BE49-F238E27FC236}">
                  <a16:creationId xmlns:a16="http://schemas.microsoft.com/office/drawing/2014/main" id="{F1D4A45E-8A93-E136-E56B-827D9CA026D6}"/>
                </a:ext>
              </a:extLst>
            </p:cNvPr>
            <p:cNvSpPr/>
            <p:nvPr userDrawn="1"/>
          </p:nvSpPr>
          <p:spPr bwMode="gray">
            <a:xfrm>
              <a:off x="492587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9" name="Rechteck 718">
              <a:extLst>
                <a:ext uri="{FF2B5EF4-FFF2-40B4-BE49-F238E27FC236}">
                  <a16:creationId xmlns:a16="http://schemas.microsoft.com/office/drawing/2014/main" id="{015B6642-A414-81BB-3D01-D11C86E1DBC8}"/>
                </a:ext>
              </a:extLst>
            </p:cNvPr>
            <p:cNvSpPr/>
            <p:nvPr userDrawn="1"/>
          </p:nvSpPr>
          <p:spPr bwMode="gray">
            <a:xfrm>
              <a:off x="434980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0" name="Rechteck 719">
              <a:extLst>
                <a:ext uri="{FF2B5EF4-FFF2-40B4-BE49-F238E27FC236}">
                  <a16:creationId xmlns:a16="http://schemas.microsoft.com/office/drawing/2014/main" id="{8E3E6610-25D0-54DB-E9E3-C1C93FE9161E}"/>
                </a:ext>
              </a:extLst>
            </p:cNvPr>
            <p:cNvSpPr/>
            <p:nvPr userDrawn="1"/>
          </p:nvSpPr>
          <p:spPr bwMode="gray">
            <a:xfrm>
              <a:off x="377374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1" name="Rechteck 720">
              <a:extLst>
                <a:ext uri="{FF2B5EF4-FFF2-40B4-BE49-F238E27FC236}">
                  <a16:creationId xmlns:a16="http://schemas.microsoft.com/office/drawing/2014/main" id="{7DAEF2B9-CF63-F6CE-3353-25771B27AD1A}"/>
                </a:ext>
              </a:extLst>
            </p:cNvPr>
            <p:cNvSpPr/>
            <p:nvPr userDrawn="1"/>
          </p:nvSpPr>
          <p:spPr bwMode="gray">
            <a:xfrm>
              <a:off x="319768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2" name="Rechteck 721">
              <a:extLst>
                <a:ext uri="{FF2B5EF4-FFF2-40B4-BE49-F238E27FC236}">
                  <a16:creationId xmlns:a16="http://schemas.microsoft.com/office/drawing/2014/main" id="{1B616252-0DDD-0F8A-F903-CFA868038DAE}"/>
                </a:ext>
              </a:extLst>
            </p:cNvPr>
            <p:cNvSpPr/>
            <p:nvPr userDrawn="1"/>
          </p:nvSpPr>
          <p:spPr bwMode="gray">
            <a:xfrm>
              <a:off x="262161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3" name="Rechteck 722">
              <a:extLst>
                <a:ext uri="{FF2B5EF4-FFF2-40B4-BE49-F238E27FC236}">
                  <a16:creationId xmlns:a16="http://schemas.microsoft.com/office/drawing/2014/main" id="{372C1BE5-41D7-B0E5-03B0-AD04E3837C5E}"/>
                </a:ext>
              </a:extLst>
            </p:cNvPr>
            <p:cNvSpPr/>
            <p:nvPr userDrawn="1"/>
          </p:nvSpPr>
          <p:spPr bwMode="gray">
            <a:xfrm>
              <a:off x="204555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4" name="Rechteck 723">
              <a:extLst>
                <a:ext uri="{FF2B5EF4-FFF2-40B4-BE49-F238E27FC236}">
                  <a16:creationId xmlns:a16="http://schemas.microsoft.com/office/drawing/2014/main" id="{F3EA4777-864E-6728-589B-C6607244EA0B}"/>
                </a:ext>
              </a:extLst>
            </p:cNvPr>
            <p:cNvSpPr/>
            <p:nvPr userDrawn="1"/>
          </p:nvSpPr>
          <p:spPr bwMode="gray">
            <a:xfrm>
              <a:off x="146948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5" name="Rechteck 724">
              <a:extLst>
                <a:ext uri="{FF2B5EF4-FFF2-40B4-BE49-F238E27FC236}">
                  <a16:creationId xmlns:a16="http://schemas.microsoft.com/office/drawing/2014/main" id="{4F4D1CE6-5C64-AFF9-8FE6-A7F34EA9DCAA}"/>
                </a:ext>
              </a:extLst>
            </p:cNvPr>
            <p:cNvSpPr/>
            <p:nvPr userDrawn="1"/>
          </p:nvSpPr>
          <p:spPr bwMode="gray">
            <a:xfrm>
              <a:off x="89342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6" name="Rechteck 725">
              <a:extLst>
                <a:ext uri="{FF2B5EF4-FFF2-40B4-BE49-F238E27FC236}">
                  <a16:creationId xmlns:a16="http://schemas.microsoft.com/office/drawing/2014/main" id="{BFE2FF0B-3C6C-9838-F9F4-1B0CEE163795}"/>
                </a:ext>
              </a:extLst>
            </p:cNvPr>
            <p:cNvSpPr/>
            <p:nvPr userDrawn="1"/>
          </p:nvSpPr>
          <p:spPr bwMode="gray">
            <a:xfrm>
              <a:off x="31736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7" name="Rechteck 726">
              <a:extLst>
                <a:ext uri="{FF2B5EF4-FFF2-40B4-BE49-F238E27FC236}">
                  <a16:creationId xmlns:a16="http://schemas.microsoft.com/office/drawing/2014/main" id="{88C49E9C-417E-7FCB-B5F7-C99533AA2B56}"/>
                </a:ext>
              </a:extLst>
            </p:cNvPr>
            <p:cNvSpPr/>
            <p:nvPr userDrawn="1"/>
          </p:nvSpPr>
          <p:spPr bwMode="gray">
            <a:xfrm>
              <a:off x="1126257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8" name="Rechteck 727">
              <a:extLst>
                <a:ext uri="{FF2B5EF4-FFF2-40B4-BE49-F238E27FC236}">
                  <a16:creationId xmlns:a16="http://schemas.microsoft.com/office/drawing/2014/main" id="{EDEAA9AD-3E50-7D78-1C86-C63D4933A2AE}"/>
                </a:ext>
              </a:extLst>
            </p:cNvPr>
            <p:cNvSpPr/>
            <p:nvPr userDrawn="1"/>
          </p:nvSpPr>
          <p:spPr bwMode="gray">
            <a:xfrm>
              <a:off x="1068651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9" name="Rechteck 728">
              <a:extLst>
                <a:ext uri="{FF2B5EF4-FFF2-40B4-BE49-F238E27FC236}">
                  <a16:creationId xmlns:a16="http://schemas.microsoft.com/office/drawing/2014/main" id="{70BC07CD-A746-8228-3AB0-87F6DC8D4AA3}"/>
                </a:ext>
              </a:extLst>
            </p:cNvPr>
            <p:cNvSpPr/>
            <p:nvPr userDrawn="1"/>
          </p:nvSpPr>
          <p:spPr bwMode="gray">
            <a:xfrm>
              <a:off x="1011044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0" name="Rechteck 729">
              <a:extLst>
                <a:ext uri="{FF2B5EF4-FFF2-40B4-BE49-F238E27FC236}">
                  <a16:creationId xmlns:a16="http://schemas.microsoft.com/office/drawing/2014/main" id="{3D65AED7-B1A6-3D13-CA73-6FE2B799506E}"/>
                </a:ext>
              </a:extLst>
            </p:cNvPr>
            <p:cNvSpPr/>
            <p:nvPr userDrawn="1"/>
          </p:nvSpPr>
          <p:spPr bwMode="gray">
            <a:xfrm>
              <a:off x="953438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1" name="Rechteck 730">
              <a:extLst>
                <a:ext uri="{FF2B5EF4-FFF2-40B4-BE49-F238E27FC236}">
                  <a16:creationId xmlns:a16="http://schemas.microsoft.com/office/drawing/2014/main" id="{2448AE39-4964-1A8B-93AF-38C6603CDE9B}"/>
                </a:ext>
              </a:extLst>
            </p:cNvPr>
            <p:cNvSpPr/>
            <p:nvPr userDrawn="1"/>
          </p:nvSpPr>
          <p:spPr bwMode="gray">
            <a:xfrm>
              <a:off x="895832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2" name="Rechteck 731">
              <a:extLst>
                <a:ext uri="{FF2B5EF4-FFF2-40B4-BE49-F238E27FC236}">
                  <a16:creationId xmlns:a16="http://schemas.microsoft.com/office/drawing/2014/main" id="{321A8DBD-604D-7A62-9169-A7C187A9FF7D}"/>
                </a:ext>
              </a:extLst>
            </p:cNvPr>
            <p:cNvSpPr/>
            <p:nvPr userDrawn="1"/>
          </p:nvSpPr>
          <p:spPr bwMode="gray">
            <a:xfrm>
              <a:off x="838225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3" name="Rechteck 732">
              <a:extLst>
                <a:ext uri="{FF2B5EF4-FFF2-40B4-BE49-F238E27FC236}">
                  <a16:creationId xmlns:a16="http://schemas.microsoft.com/office/drawing/2014/main" id="{7C4895CB-1548-654D-C65E-A05C31533566}"/>
                </a:ext>
              </a:extLst>
            </p:cNvPr>
            <p:cNvSpPr/>
            <p:nvPr userDrawn="1"/>
          </p:nvSpPr>
          <p:spPr bwMode="gray">
            <a:xfrm>
              <a:off x="780619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4" name="Rechteck 733">
              <a:extLst>
                <a:ext uri="{FF2B5EF4-FFF2-40B4-BE49-F238E27FC236}">
                  <a16:creationId xmlns:a16="http://schemas.microsoft.com/office/drawing/2014/main" id="{24160B57-B113-9FE3-7F61-007A2CFAE196}"/>
                </a:ext>
              </a:extLst>
            </p:cNvPr>
            <p:cNvSpPr/>
            <p:nvPr userDrawn="1"/>
          </p:nvSpPr>
          <p:spPr bwMode="gray">
            <a:xfrm>
              <a:off x="723012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5" name="Rechteck 734">
              <a:extLst>
                <a:ext uri="{FF2B5EF4-FFF2-40B4-BE49-F238E27FC236}">
                  <a16:creationId xmlns:a16="http://schemas.microsoft.com/office/drawing/2014/main" id="{CA2F5DEC-B663-5DEA-EA5F-B5922B154AB5}"/>
                </a:ext>
              </a:extLst>
            </p:cNvPr>
            <p:cNvSpPr/>
            <p:nvPr userDrawn="1"/>
          </p:nvSpPr>
          <p:spPr bwMode="gray">
            <a:xfrm>
              <a:off x="665406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6" name="Rechteck 735">
              <a:extLst>
                <a:ext uri="{FF2B5EF4-FFF2-40B4-BE49-F238E27FC236}">
                  <a16:creationId xmlns:a16="http://schemas.microsoft.com/office/drawing/2014/main" id="{0E5A1DBB-48F6-C9DB-F7BA-1CD6FEEABB6B}"/>
                </a:ext>
              </a:extLst>
            </p:cNvPr>
            <p:cNvSpPr/>
            <p:nvPr userDrawn="1"/>
          </p:nvSpPr>
          <p:spPr bwMode="gray">
            <a:xfrm>
              <a:off x="607800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7" name="Rechteck 736">
              <a:extLst>
                <a:ext uri="{FF2B5EF4-FFF2-40B4-BE49-F238E27FC236}">
                  <a16:creationId xmlns:a16="http://schemas.microsoft.com/office/drawing/2014/main" id="{CE3CD846-3C9E-6622-B08A-29BE90708547}"/>
                </a:ext>
              </a:extLst>
            </p:cNvPr>
            <p:cNvSpPr/>
            <p:nvPr userDrawn="1"/>
          </p:nvSpPr>
          <p:spPr bwMode="gray">
            <a:xfrm>
              <a:off x="550193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8" name="Rechteck 737">
              <a:extLst>
                <a:ext uri="{FF2B5EF4-FFF2-40B4-BE49-F238E27FC236}">
                  <a16:creationId xmlns:a16="http://schemas.microsoft.com/office/drawing/2014/main" id="{6CA155D8-6E86-BAF3-92DA-DD5E2BCE2AB2}"/>
                </a:ext>
              </a:extLst>
            </p:cNvPr>
            <p:cNvSpPr/>
            <p:nvPr userDrawn="1"/>
          </p:nvSpPr>
          <p:spPr bwMode="gray">
            <a:xfrm>
              <a:off x="492587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9" name="Rechteck 738">
              <a:extLst>
                <a:ext uri="{FF2B5EF4-FFF2-40B4-BE49-F238E27FC236}">
                  <a16:creationId xmlns:a16="http://schemas.microsoft.com/office/drawing/2014/main" id="{319B77D4-E27B-5747-DF86-C72FC5D58CA3}"/>
                </a:ext>
              </a:extLst>
            </p:cNvPr>
            <p:cNvSpPr/>
            <p:nvPr userDrawn="1"/>
          </p:nvSpPr>
          <p:spPr bwMode="gray">
            <a:xfrm>
              <a:off x="434980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0" name="Rechteck 739">
              <a:extLst>
                <a:ext uri="{FF2B5EF4-FFF2-40B4-BE49-F238E27FC236}">
                  <a16:creationId xmlns:a16="http://schemas.microsoft.com/office/drawing/2014/main" id="{C16998E3-F15E-7810-855C-D1F02BF74464}"/>
                </a:ext>
              </a:extLst>
            </p:cNvPr>
            <p:cNvSpPr/>
            <p:nvPr userDrawn="1"/>
          </p:nvSpPr>
          <p:spPr bwMode="gray">
            <a:xfrm>
              <a:off x="377374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1" name="Rechteck 740">
              <a:extLst>
                <a:ext uri="{FF2B5EF4-FFF2-40B4-BE49-F238E27FC236}">
                  <a16:creationId xmlns:a16="http://schemas.microsoft.com/office/drawing/2014/main" id="{4D12072E-CE74-DE53-CA85-3A6F3FBC7BDA}"/>
                </a:ext>
              </a:extLst>
            </p:cNvPr>
            <p:cNvSpPr/>
            <p:nvPr userDrawn="1"/>
          </p:nvSpPr>
          <p:spPr bwMode="gray">
            <a:xfrm>
              <a:off x="319768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2" name="Rechteck 741">
              <a:extLst>
                <a:ext uri="{FF2B5EF4-FFF2-40B4-BE49-F238E27FC236}">
                  <a16:creationId xmlns:a16="http://schemas.microsoft.com/office/drawing/2014/main" id="{494AD624-501A-5F44-469D-9DF464A3277D}"/>
                </a:ext>
              </a:extLst>
            </p:cNvPr>
            <p:cNvSpPr/>
            <p:nvPr userDrawn="1"/>
          </p:nvSpPr>
          <p:spPr bwMode="gray">
            <a:xfrm>
              <a:off x="262161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3" name="Rechteck 742">
              <a:extLst>
                <a:ext uri="{FF2B5EF4-FFF2-40B4-BE49-F238E27FC236}">
                  <a16:creationId xmlns:a16="http://schemas.microsoft.com/office/drawing/2014/main" id="{D67BE4F0-FEEB-F317-480A-5C9EEF6B21E7}"/>
                </a:ext>
              </a:extLst>
            </p:cNvPr>
            <p:cNvSpPr/>
            <p:nvPr userDrawn="1"/>
          </p:nvSpPr>
          <p:spPr bwMode="gray">
            <a:xfrm>
              <a:off x="204555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4" name="Rechteck 743">
              <a:extLst>
                <a:ext uri="{FF2B5EF4-FFF2-40B4-BE49-F238E27FC236}">
                  <a16:creationId xmlns:a16="http://schemas.microsoft.com/office/drawing/2014/main" id="{2ADC70A6-F01E-1CB2-E92F-0C1565F20FC4}"/>
                </a:ext>
              </a:extLst>
            </p:cNvPr>
            <p:cNvSpPr/>
            <p:nvPr userDrawn="1"/>
          </p:nvSpPr>
          <p:spPr bwMode="gray">
            <a:xfrm>
              <a:off x="146948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5" name="Rechteck 744">
              <a:extLst>
                <a:ext uri="{FF2B5EF4-FFF2-40B4-BE49-F238E27FC236}">
                  <a16:creationId xmlns:a16="http://schemas.microsoft.com/office/drawing/2014/main" id="{D1944C60-553A-6B58-CE23-97F191BA96E9}"/>
                </a:ext>
              </a:extLst>
            </p:cNvPr>
            <p:cNvSpPr/>
            <p:nvPr userDrawn="1"/>
          </p:nvSpPr>
          <p:spPr bwMode="gray">
            <a:xfrm>
              <a:off x="89342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6" name="Rechteck 745">
              <a:extLst>
                <a:ext uri="{FF2B5EF4-FFF2-40B4-BE49-F238E27FC236}">
                  <a16:creationId xmlns:a16="http://schemas.microsoft.com/office/drawing/2014/main" id="{53E0BE3C-A567-8E4E-525F-61E8F85204D2}"/>
                </a:ext>
              </a:extLst>
            </p:cNvPr>
            <p:cNvSpPr/>
            <p:nvPr userDrawn="1"/>
          </p:nvSpPr>
          <p:spPr bwMode="gray">
            <a:xfrm>
              <a:off x="31736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7" name="Rechteck 746">
              <a:extLst>
                <a:ext uri="{FF2B5EF4-FFF2-40B4-BE49-F238E27FC236}">
                  <a16:creationId xmlns:a16="http://schemas.microsoft.com/office/drawing/2014/main" id="{1D755A1F-E170-FA25-6CAA-ADEC6E59D7ED}"/>
                </a:ext>
              </a:extLst>
            </p:cNvPr>
            <p:cNvSpPr/>
            <p:nvPr userDrawn="1"/>
          </p:nvSpPr>
          <p:spPr bwMode="gray">
            <a:xfrm>
              <a:off x="1126257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8" name="Rechteck 747">
              <a:extLst>
                <a:ext uri="{FF2B5EF4-FFF2-40B4-BE49-F238E27FC236}">
                  <a16:creationId xmlns:a16="http://schemas.microsoft.com/office/drawing/2014/main" id="{0105CB57-745E-242F-AA7C-4CFDDD2945F5}"/>
                </a:ext>
              </a:extLst>
            </p:cNvPr>
            <p:cNvSpPr/>
            <p:nvPr userDrawn="1"/>
          </p:nvSpPr>
          <p:spPr bwMode="gray">
            <a:xfrm>
              <a:off x="1068651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9" name="Rechteck 748">
              <a:extLst>
                <a:ext uri="{FF2B5EF4-FFF2-40B4-BE49-F238E27FC236}">
                  <a16:creationId xmlns:a16="http://schemas.microsoft.com/office/drawing/2014/main" id="{E9324BA7-F018-8679-9F1C-764F6061E6B0}"/>
                </a:ext>
              </a:extLst>
            </p:cNvPr>
            <p:cNvSpPr/>
            <p:nvPr userDrawn="1"/>
          </p:nvSpPr>
          <p:spPr bwMode="gray">
            <a:xfrm>
              <a:off x="1011044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0" name="Rechteck 749">
              <a:extLst>
                <a:ext uri="{FF2B5EF4-FFF2-40B4-BE49-F238E27FC236}">
                  <a16:creationId xmlns:a16="http://schemas.microsoft.com/office/drawing/2014/main" id="{0CC5B4B1-1979-8589-FF6C-F8B2A4950B89}"/>
                </a:ext>
              </a:extLst>
            </p:cNvPr>
            <p:cNvSpPr/>
            <p:nvPr userDrawn="1"/>
          </p:nvSpPr>
          <p:spPr bwMode="gray">
            <a:xfrm>
              <a:off x="953438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1" name="Rechteck 750">
              <a:extLst>
                <a:ext uri="{FF2B5EF4-FFF2-40B4-BE49-F238E27FC236}">
                  <a16:creationId xmlns:a16="http://schemas.microsoft.com/office/drawing/2014/main" id="{18B04A50-4FF4-71FA-3999-66F0DBDD64E7}"/>
                </a:ext>
              </a:extLst>
            </p:cNvPr>
            <p:cNvSpPr/>
            <p:nvPr userDrawn="1"/>
          </p:nvSpPr>
          <p:spPr bwMode="gray">
            <a:xfrm>
              <a:off x="895832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2" name="Rechteck 751">
              <a:extLst>
                <a:ext uri="{FF2B5EF4-FFF2-40B4-BE49-F238E27FC236}">
                  <a16:creationId xmlns:a16="http://schemas.microsoft.com/office/drawing/2014/main" id="{53E70251-9D12-870E-73FE-018A5D6222B1}"/>
                </a:ext>
              </a:extLst>
            </p:cNvPr>
            <p:cNvSpPr/>
            <p:nvPr userDrawn="1"/>
          </p:nvSpPr>
          <p:spPr bwMode="gray">
            <a:xfrm>
              <a:off x="838225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3" name="Rechteck 752">
              <a:extLst>
                <a:ext uri="{FF2B5EF4-FFF2-40B4-BE49-F238E27FC236}">
                  <a16:creationId xmlns:a16="http://schemas.microsoft.com/office/drawing/2014/main" id="{51AE28A8-55A7-1006-70D5-7328D17F8750}"/>
                </a:ext>
              </a:extLst>
            </p:cNvPr>
            <p:cNvSpPr/>
            <p:nvPr userDrawn="1"/>
          </p:nvSpPr>
          <p:spPr bwMode="gray">
            <a:xfrm>
              <a:off x="780619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4" name="Rechteck 753">
              <a:extLst>
                <a:ext uri="{FF2B5EF4-FFF2-40B4-BE49-F238E27FC236}">
                  <a16:creationId xmlns:a16="http://schemas.microsoft.com/office/drawing/2014/main" id="{4356BBF2-1B0C-8D62-16BD-BAA2A8DCD913}"/>
                </a:ext>
              </a:extLst>
            </p:cNvPr>
            <p:cNvSpPr/>
            <p:nvPr userDrawn="1"/>
          </p:nvSpPr>
          <p:spPr bwMode="gray">
            <a:xfrm>
              <a:off x="723012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5" name="Rechteck 754">
              <a:extLst>
                <a:ext uri="{FF2B5EF4-FFF2-40B4-BE49-F238E27FC236}">
                  <a16:creationId xmlns:a16="http://schemas.microsoft.com/office/drawing/2014/main" id="{79A00E44-177D-9495-CBC5-243604549C71}"/>
                </a:ext>
              </a:extLst>
            </p:cNvPr>
            <p:cNvSpPr/>
            <p:nvPr userDrawn="1"/>
          </p:nvSpPr>
          <p:spPr bwMode="gray">
            <a:xfrm>
              <a:off x="665406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6" name="Rechteck 755">
              <a:extLst>
                <a:ext uri="{FF2B5EF4-FFF2-40B4-BE49-F238E27FC236}">
                  <a16:creationId xmlns:a16="http://schemas.microsoft.com/office/drawing/2014/main" id="{7D2F7512-A6F0-4034-145E-AD49B8524BFE}"/>
                </a:ext>
              </a:extLst>
            </p:cNvPr>
            <p:cNvSpPr/>
            <p:nvPr userDrawn="1"/>
          </p:nvSpPr>
          <p:spPr bwMode="gray">
            <a:xfrm>
              <a:off x="607800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7" name="Rechteck 756">
              <a:extLst>
                <a:ext uri="{FF2B5EF4-FFF2-40B4-BE49-F238E27FC236}">
                  <a16:creationId xmlns:a16="http://schemas.microsoft.com/office/drawing/2014/main" id="{946926A1-754F-9D14-C4FF-6C2EA460D919}"/>
                </a:ext>
              </a:extLst>
            </p:cNvPr>
            <p:cNvSpPr/>
            <p:nvPr userDrawn="1"/>
          </p:nvSpPr>
          <p:spPr bwMode="gray">
            <a:xfrm>
              <a:off x="550193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8" name="Rechteck 757">
              <a:extLst>
                <a:ext uri="{FF2B5EF4-FFF2-40B4-BE49-F238E27FC236}">
                  <a16:creationId xmlns:a16="http://schemas.microsoft.com/office/drawing/2014/main" id="{C9AED771-9D7F-CD41-F92C-29860DE602CA}"/>
                </a:ext>
              </a:extLst>
            </p:cNvPr>
            <p:cNvSpPr/>
            <p:nvPr userDrawn="1"/>
          </p:nvSpPr>
          <p:spPr bwMode="gray">
            <a:xfrm>
              <a:off x="492587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9" name="Rechteck 758">
              <a:extLst>
                <a:ext uri="{FF2B5EF4-FFF2-40B4-BE49-F238E27FC236}">
                  <a16:creationId xmlns:a16="http://schemas.microsoft.com/office/drawing/2014/main" id="{BA2B2E1A-CB1A-23E5-38CF-154917C5C412}"/>
                </a:ext>
              </a:extLst>
            </p:cNvPr>
            <p:cNvSpPr/>
            <p:nvPr userDrawn="1"/>
          </p:nvSpPr>
          <p:spPr bwMode="gray">
            <a:xfrm>
              <a:off x="434980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0" name="Rechteck 759">
              <a:extLst>
                <a:ext uri="{FF2B5EF4-FFF2-40B4-BE49-F238E27FC236}">
                  <a16:creationId xmlns:a16="http://schemas.microsoft.com/office/drawing/2014/main" id="{E959F87B-E63C-14E7-7B8E-003C4C953327}"/>
                </a:ext>
              </a:extLst>
            </p:cNvPr>
            <p:cNvSpPr/>
            <p:nvPr userDrawn="1"/>
          </p:nvSpPr>
          <p:spPr bwMode="gray">
            <a:xfrm>
              <a:off x="377374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1" name="Rechteck 760">
              <a:extLst>
                <a:ext uri="{FF2B5EF4-FFF2-40B4-BE49-F238E27FC236}">
                  <a16:creationId xmlns:a16="http://schemas.microsoft.com/office/drawing/2014/main" id="{78E7CD2C-9C91-C525-2358-536A698FF35B}"/>
                </a:ext>
              </a:extLst>
            </p:cNvPr>
            <p:cNvSpPr/>
            <p:nvPr userDrawn="1"/>
          </p:nvSpPr>
          <p:spPr bwMode="gray">
            <a:xfrm>
              <a:off x="319768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2" name="Rechteck 761">
              <a:extLst>
                <a:ext uri="{FF2B5EF4-FFF2-40B4-BE49-F238E27FC236}">
                  <a16:creationId xmlns:a16="http://schemas.microsoft.com/office/drawing/2014/main" id="{8D32DF56-0AE7-0253-BD15-DEFF081713F9}"/>
                </a:ext>
              </a:extLst>
            </p:cNvPr>
            <p:cNvSpPr/>
            <p:nvPr userDrawn="1"/>
          </p:nvSpPr>
          <p:spPr bwMode="gray">
            <a:xfrm>
              <a:off x="262161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3" name="Rechteck 762">
              <a:extLst>
                <a:ext uri="{FF2B5EF4-FFF2-40B4-BE49-F238E27FC236}">
                  <a16:creationId xmlns:a16="http://schemas.microsoft.com/office/drawing/2014/main" id="{8EDD8F61-25EF-E596-8675-2C1C79B3477A}"/>
                </a:ext>
              </a:extLst>
            </p:cNvPr>
            <p:cNvSpPr/>
            <p:nvPr userDrawn="1"/>
          </p:nvSpPr>
          <p:spPr bwMode="gray">
            <a:xfrm>
              <a:off x="204555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4" name="Rechteck 763">
              <a:extLst>
                <a:ext uri="{FF2B5EF4-FFF2-40B4-BE49-F238E27FC236}">
                  <a16:creationId xmlns:a16="http://schemas.microsoft.com/office/drawing/2014/main" id="{DEFDEE96-97B7-2362-F134-ACBB2F59A794}"/>
                </a:ext>
              </a:extLst>
            </p:cNvPr>
            <p:cNvSpPr/>
            <p:nvPr userDrawn="1"/>
          </p:nvSpPr>
          <p:spPr bwMode="gray">
            <a:xfrm>
              <a:off x="146948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5" name="Rechteck 764">
              <a:extLst>
                <a:ext uri="{FF2B5EF4-FFF2-40B4-BE49-F238E27FC236}">
                  <a16:creationId xmlns:a16="http://schemas.microsoft.com/office/drawing/2014/main" id="{4D29A3E6-4D8C-40A9-1C07-BDE99DF2DBF4}"/>
                </a:ext>
              </a:extLst>
            </p:cNvPr>
            <p:cNvSpPr/>
            <p:nvPr userDrawn="1"/>
          </p:nvSpPr>
          <p:spPr bwMode="gray">
            <a:xfrm>
              <a:off x="89342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6" name="Rechteck 765">
              <a:extLst>
                <a:ext uri="{FF2B5EF4-FFF2-40B4-BE49-F238E27FC236}">
                  <a16:creationId xmlns:a16="http://schemas.microsoft.com/office/drawing/2014/main" id="{A2BA79A1-AEDD-B00C-067F-8116583673D4}"/>
                </a:ext>
              </a:extLst>
            </p:cNvPr>
            <p:cNvSpPr/>
            <p:nvPr userDrawn="1"/>
          </p:nvSpPr>
          <p:spPr bwMode="gray">
            <a:xfrm>
              <a:off x="31736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7" name="Rechteck 766">
              <a:extLst>
                <a:ext uri="{FF2B5EF4-FFF2-40B4-BE49-F238E27FC236}">
                  <a16:creationId xmlns:a16="http://schemas.microsoft.com/office/drawing/2014/main" id="{BAEB3FA7-C69C-1AC8-3E2D-E1E5CDB67D40}"/>
                </a:ext>
              </a:extLst>
            </p:cNvPr>
            <p:cNvSpPr/>
            <p:nvPr userDrawn="1"/>
          </p:nvSpPr>
          <p:spPr bwMode="gray">
            <a:xfrm>
              <a:off x="1183864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8" name="Rechteck 767">
              <a:extLst>
                <a:ext uri="{FF2B5EF4-FFF2-40B4-BE49-F238E27FC236}">
                  <a16:creationId xmlns:a16="http://schemas.microsoft.com/office/drawing/2014/main" id="{4C2A91C1-B221-C7FE-B449-241F4EE4C793}"/>
                </a:ext>
              </a:extLst>
            </p:cNvPr>
            <p:cNvSpPr/>
            <p:nvPr userDrawn="1"/>
          </p:nvSpPr>
          <p:spPr bwMode="gray">
            <a:xfrm>
              <a:off x="1183864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9" name="Rechteck 768">
              <a:extLst>
                <a:ext uri="{FF2B5EF4-FFF2-40B4-BE49-F238E27FC236}">
                  <a16:creationId xmlns:a16="http://schemas.microsoft.com/office/drawing/2014/main" id="{ECC86243-8C8F-2D3F-BD98-098F3343795C}"/>
                </a:ext>
              </a:extLst>
            </p:cNvPr>
            <p:cNvSpPr/>
            <p:nvPr userDrawn="1"/>
          </p:nvSpPr>
          <p:spPr bwMode="gray">
            <a:xfrm>
              <a:off x="1183864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0" name="Rechteck 769">
              <a:extLst>
                <a:ext uri="{FF2B5EF4-FFF2-40B4-BE49-F238E27FC236}">
                  <a16:creationId xmlns:a16="http://schemas.microsoft.com/office/drawing/2014/main" id="{E1B78498-3350-A570-FA0B-CE58A6789B2A}"/>
                </a:ext>
              </a:extLst>
            </p:cNvPr>
            <p:cNvSpPr/>
            <p:nvPr userDrawn="1"/>
          </p:nvSpPr>
          <p:spPr bwMode="gray">
            <a:xfrm>
              <a:off x="1183864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1" name="Rechteck 770">
              <a:extLst>
                <a:ext uri="{FF2B5EF4-FFF2-40B4-BE49-F238E27FC236}">
                  <a16:creationId xmlns:a16="http://schemas.microsoft.com/office/drawing/2014/main" id="{D758F18B-6876-FDCF-E0CD-EE1FDE4D9E85}"/>
                </a:ext>
              </a:extLst>
            </p:cNvPr>
            <p:cNvSpPr/>
            <p:nvPr userDrawn="1"/>
          </p:nvSpPr>
          <p:spPr bwMode="gray">
            <a:xfrm>
              <a:off x="1183864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2" name="Rechteck 771">
              <a:extLst>
                <a:ext uri="{FF2B5EF4-FFF2-40B4-BE49-F238E27FC236}">
                  <a16:creationId xmlns:a16="http://schemas.microsoft.com/office/drawing/2014/main" id="{8C2F01BC-5FD0-9CB2-D1CD-B2341A228007}"/>
                </a:ext>
              </a:extLst>
            </p:cNvPr>
            <p:cNvSpPr/>
            <p:nvPr userDrawn="1"/>
          </p:nvSpPr>
          <p:spPr bwMode="gray">
            <a:xfrm>
              <a:off x="1183864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3" name="Rechteck 772">
              <a:extLst>
                <a:ext uri="{FF2B5EF4-FFF2-40B4-BE49-F238E27FC236}">
                  <a16:creationId xmlns:a16="http://schemas.microsoft.com/office/drawing/2014/main" id="{D852AD68-18A5-F007-1896-44B4FD13F0C3}"/>
                </a:ext>
              </a:extLst>
            </p:cNvPr>
            <p:cNvSpPr/>
            <p:nvPr userDrawn="1"/>
          </p:nvSpPr>
          <p:spPr bwMode="gray">
            <a:xfrm>
              <a:off x="1183864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4" name="Rechteck 773">
              <a:extLst>
                <a:ext uri="{FF2B5EF4-FFF2-40B4-BE49-F238E27FC236}">
                  <a16:creationId xmlns:a16="http://schemas.microsoft.com/office/drawing/2014/main" id="{F71A6149-DC90-4E55-427F-06A6F1137104}"/>
                </a:ext>
              </a:extLst>
            </p:cNvPr>
            <p:cNvSpPr/>
            <p:nvPr userDrawn="1"/>
          </p:nvSpPr>
          <p:spPr bwMode="gray">
            <a:xfrm>
              <a:off x="1183864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5" name="Rechteck 774">
              <a:extLst>
                <a:ext uri="{FF2B5EF4-FFF2-40B4-BE49-F238E27FC236}">
                  <a16:creationId xmlns:a16="http://schemas.microsoft.com/office/drawing/2014/main" id="{95604D4F-2572-5080-9D87-BA75D3EA3761}"/>
                </a:ext>
              </a:extLst>
            </p:cNvPr>
            <p:cNvSpPr/>
            <p:nvPr userDrawn="1"/>
          </p:nvSpPr>
          <p:spPr bwMode="gray">
            <a:xfrm>
              <a:off x="1183864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grpSp>
      <p:sp>
        <p:nvSpPr>
          <p:cNvPr id="465" name="Freihandform: Form 464">
            <a:extLst>
              <a:ext uri="{FF2B5EF4-FFF2-40B4-BE49-F238E27FC236}">
                <a16:creationId xmlns:a16="http://schemas.microsoft.com/office/drawing/2014/main" id="{F53BCC81-9A8A-393F-4C99-062853EB99C7}"/>
              </a:ext>
              <a:ext uri="{C183D7F6-B498-43B3-948B-1728B52AA6E4}">
                <adec:decorative xmlns:adec="http://schemas.microsoft.com/office/drawing/2017/decorative" val="1"/>
              </a:ext>
            </a:extLst>
          </p:cNvPr>
          <p:cNvSpPr/>
          <p:nvPr userDrawn="1"/>
        </p:nvSpPr>
        <p:spPr>
          <a:xfrm>
            <a:off x="911424" y="2060848"/>
            <a:ext cx="2892425" cy="2879303"/>
          </a:xfrm>
          <a:custGeom>
            <a:avLst/>
            <a:gdLst>
              <a:gd name="connsiteX0" fmla="*/ 0 w 2892425"/>
              <a:gd name="connsiteY0" fmla="*/ 0 h 2879303"/>
              <a:gd name="connsiteX1" fmla="*/ 2892425 w 2892425"/>
              <a:gd name="connsiteY1" fmla="*/ 0 h 2879303"/>
              <a:gd name="connsiteX2" fmla="*/ 2307742 w 2892425"/>
              <a:gd name="connsiteY2" fmla="*/ 2298575 h 2879303"/>
              <a:gd name="connsiteX3" fmla="*/ 0 w 2892425"/>
              <a:gd name="connsiteY3" fmla="*/ 2879303 h 2879303"/>
            </a:gdLst>
            <a:ahLst/>
            <a:cxnLst>
              <a:cxn ang="0">
                <a:pos x="connsiteX0" y="connsiteY0"/>
              </a:cxn>
              <a:cxn ang="0">
                <a:pos x="connsiteX1" y="connsiteY1"/>
              </a:cxn>
              <a:cxn ang="0">
                <a:pos x="connsiteX2" y="connsiteY2"/>
              </a:cxn>
              <a:cxn ang="0">
                <a:pos x="connsiteX3" y="connsiteY3"/>
              </a:cxn>
            </a:cxnLst>
            <a:rect l="l" t="t" r="r" b="b"/>
            <a:pathLst>
              <a:path w="2892425" h="2879303">
                <a:moveTo>
                  <a:pt x="0" y="0"/>
                </a:moveTo>
                <a:lnTo>
                  <a:pt x="2892425" y="0"/>
                </a:lnTo>
                <a:lnTo>
                  <a:pt x="2307742" y="2298575"/>
                </a:lnTo>
                <a:lnTo>
                  <a:pt x="0" y="2879303"/>
                </a:lnTo>
                <a:close/>
              </a:path>
            </a:pathLst>
          </a:custGeom>
          <a:solidFill>
            <a:schemeClr val="bg1"/>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de-DE" sz="1600" dirty="0" err="1"/>
          </a:p>
        </p:txBody>
      </p:sp>
      <p:sp>
        <p:nvSpPr>
          <p:cNvPr id="8" name="Datumsplatzhalter 7">
            <a:extLst>
              <a:ext uri="{FF2B5EF4-FFF2-40B4-BE49-F238E27FC236}">
                <a16:creationId xmlns:a16="http://schemas.microsoft.com/office/drawing/2014/main" id="{C9643576-7BDD-4648-A0C5-57807B7A7675}"/>
              </a:ext>
              <a:ext uri="{C183D7F6-B498-43B3-948B-1728B52AA6E4}">
                <adec:decorative xmlns:adec="http://schemas.microsoft.com/office/drawing/2017/decorative" val="1"/>
              </a:ext>
            </a:extLst>
          </p:cNvPr>
          <p:cNvSpPr>
            <a:spLocks noGrp="1"/>
          </p:cNvSpPr>
          <p:nvPr>
            <p:ph type="dt" sz="half" idx="18"/>
          </p:nvPr>
        </p:nvSpPr>
        <p:spPr/>
        <p:txBody>
          <a:bodyPr/>
          <a:lstStyle/>
          <a:p>
            <a:r>
              <a:rPr lang="en-US"/>
              <a:t>7/26/2022</a:t>
            </a:r>
            <a:endParaRPr lang="en-GB" dirty="0"/>
          </a:p>
        </p:txBody>
      </p:sp>
      <p:sp>
        <p:nvSpPr>
          <p:cNvPr id="9" name="Fußzeilenplatzhalter 8">
            <a:extLst>
              <a:ext uri="{FF2B5EF4-FFF2-40B4-BE49-F238E27FC236}">
                <a16:creationId xmlns:a16="http://schemas.microsoft.com/office/drawing/2014/main" id="{AEB2DC1C-225F-EB0F-4A1C-51FDDBE09E8A}"/>
              </a:ext>
              <a:ext uri="{C183D7F6-B498-43B3-948B-1728B52AA6E4}">
                <adec:decorative xmlns:adec="http://schemas.microsoft.com/office/drawing/2017/decorative" val="1"/>
              </a:ext>
            </a:extLst>
          </p:cNvPr>
          <p:cNvSpPr>
            <a:spLocks noGrp="1"/>
          </p:cNvSpPr>
          <p:nvPr>
            <p:ph type="ftr" sz="quarter" idx="19"/>
          </p:nvPr>
        </p:nvSpPr>
        <p:spPr/>
        <p:txBody>
          <a:bodyPr/>
          <a:lstStyle/>
          <a:p>
            <a:r>
              <a:rPr lang="de-DE"/>
              <a:t>Der Konsument nach Corona und Consumer Voice</a:t>
            </a:r>
            <a:endParaRPr lang="de-DE" dirty="0"/>
          </a:p>
        </p:txBody>
      </p:sp>
      <p:sp>
        <p:nvSpPr>
          <p:cNvPr id="10" name="Foliennummernplatzhalter 9">
            <a:extLst>
              <a:ext uri="{FF2B5EF4-FFF2-40B4-BE49-F238E27FC236}">
                <a16:creationId xmlns:a16="http://schemas.microsoft.com/office/drawing/2014/main" id="{2910862F-C2BD-E62E-45F2-50CB4C465EBA}"/>
              </a:ext>
              <a:ext uri="{C183D7F6-B498-43B3-948B-1728B52AA6E4}">
                <adec:decorative xmlns:adec="http://schemas.microsoft.com/office/drawing/2017/decorative" val="1"/>
              </a:ext>
            </a:extLst>
          </p:cNvPr>
          <p:cNvSpPr>
            <a:spLocks noGrp="1"/>
          </p:cNvSpPr>
          <p:nvPr>
            <p:ph type="sldNum" sz="quarter" idx="20"/>
          </p:nvPr>
        </p:nvSpPr>
        <p:spPr/>
        <p:txBody>
          <a:bodyPr/>
          <a:lstStyle/>
          <a:p>
            <a:fld id="{CAEA825B-D749-4F0A-886E-8D45A39EAF2A}" type="slidenum">
              <a:rPr lang="de-DE" smtClean="0"/>
              <a:pPr/>
              <a:t>‹Nº›</a:t>
            </a:fld>
            <a:endParaRPr lang="de-DE"/>
          </a:p>
        </p:txBody>
      </p:sp>
      <p:sp>
        <p:nvSpPr>
          <p:cNvPr id="283" name="Number">
            <a:extLst>
              <a:ext uri="{FF2B5EF4-FFF2-40B4-BE49-F238E27FC236}">
                <a16:creationId xmlns:a16="http://schemas.microsoft.com/office/drawing/2014/main" id="{4C4966BF-C099-498A-89EE-FA463EDE836E}"/>
              </a:ext>
            </a:extLst>
          </p:cNvPr>
          <p:cNvSpPr>
            <a:spLocks noGrp="1"/>
          </p:cNvSpPr>
          <p:nvPr>
            <p:ph type="body" sz="quarter" idx="17" hasCustomPrompt="1"/>
          </p:nvPr>
        </p:nvSpPr>
        <p:spPr bwMode="gray">
          <a:xfrm>
            <a:off x="913259" y="2060997"/>
            <a:ext cx="2892425" cy="2879303"/>
          </a:xfrm>
          <a:custGeom>
            <a:avLst/>
            <a:gdLst>
              <a:gd name="connsiteX0" fmla="*/ 0 w 3022600"/>
              <a:gd name="connsiteY0" fmla="*/ 0 h 3024187"/>
              <a:gd name="connsiteX1" fmla="*/ 3022600 w 3022600"/>
              <a:gd name="connsiteY1" fmla="*/ 0 h 3024187"/>
              <a:gd name="connsiteX2" fmla="*/ 2517775 w 3022600"/>
              <a:gd name="connsiteY2" fmla="*/ 2520950 h 3024187"/>
              <a:gd name="connsiteX3" fmla="*/ 0 w 3022600"/>
              <a:gd name="connsiteY3" fmla="*/ 3024187 h 3024187"/>
              <a:gd name="connsiteX0" fmla="*/ 0 w 3022600"/>
              <a:gd name="connsiteY0" fmla="*/ 0 h 3024187"/>
              <a:gd name="connsiteX1" fmla="*/ 3022600 w 3022600"/>
              <a:gd name="connsiteY1" fmla="*/ 0 h 3024187"/>
              <a:gd name="connsiteX2" fmla="*/ 2159443 w 3022600"/>
              <a:gd name="connsiteY2" fmla="*/ 2134117 h 3024187"/>
              <a:gd name="connsiteX3" fmla="*/ 0 w 3022600"/>
              <a:gd name="connsiteY3" fmla="*/ 3024187 h 3024187"/>
              <a:gd name="connsiteX4" fmla="*/ 0 w 3022600"/>
              <a:gd name="connsiteY4" fmla="*/ 0 h 3024187"/>
              <a:gd name="connsiteX0" fmla="*/ 0 w 3022600"/>
              <a:gd name="connsiteY0" fmla="*/ 0 h 3024187"/>
              <a:gd name="connsiteX1" fmla="*/ 3022600 w 3022600"/>
              <a:gd name="connsiteY1" fmla="*/ 0 h 3024187"/>
              <a:gd name="connsiteX2" fmla="*/ 2411603 w 3022600"/>
              <a:gd name="connsiteY2" fmla="*/ 2414237 h 3024187"/>
              <a:gd name="connsiteX3" fmla="*/ 0 w 3022600"/>
              <a:gd name="connsiteY3" fmla="*/ 3024187 h 3024187"/>
              <a:gd name="connsiteX4" fmla="*/ 0 w 3022600"/>
              <a:gd name="connsiteY4" fmla="*/ 0 h 3024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2600" h="3024187">
                <a:moveTo>
                  <a:pt x="0" y="0"/>
                </a:moveTo>
                <a:lnTo>
                  <a:pt x="3022600" y="0"/>
                </a:lnTo>
                <a:lnTo>
                  <a:pt x="2411603" y="2414237"/>
                </a:lnTo>
                <a:lnTo>
                  <a:pt x="0" y="3024187"/>
                </a:lnTo>
                <a:lnTo>
                  <a:pt x="0" y="0"/>
                </a:lnTo>
                <a:close/>
              </a:path>
            </a:pathLst>
          </a:custGeom>
          <a:solidFill>
            <a:srgbClr val="FFA52F"/>
          </a:solidFill>
          <a:ln w="127">
            <a:solidFill>
              <a:srgbClr val="FFA52F">
                <a:alpha val="0"/>
              </a:srgbClr>
            </a:solidFill>
          </a:ln>
        </p:spPr>
        <p:txBody>
          <a:bodyPr wrap="square" lIns="216000" tIns="0" rIns="0" bIns="0" anchor="t" anchorCtr="0">
            <a:noAutofit/>
          </a:bodyPr>
          <a:lstStyle>
            <a:lvl1pPr marL="0" indent="0" algn="l">
              <a:lnSpc>
                <a:spcPct val="100000"/>
              </a:lnSpc>
              <a:spcBef>
                <a:spcPts val="0"/>
              </a:spcBef>
              <a:buFont typeface="Arial" panose="020B0604020202020204" pitchFamily="34" charset="0"/>
              <a:buNone/>
              <a:defRPr sz="6900" b="0" baseline="0">
                <a:solidFill>
                  <a:schemeClr val="tx1"/>
                </a:solidFill>
                <a:latin typeface="+mj-lt"/>
              </a:defRPr>
            </a:lvl1pPr>
            <a:lvl2pPr marL="0" indent="0" algn="l">
              <a:lnSpc>
                <a:spcPct val="100000"/>
              </a:lnSpc>
              <a:spcBef>
                <a:spcPts val="0"/>
              </a:spcBef>
              <a:buFont typeface="Arial" panose="020B0604020202020204" pitchFamily="34" charset="0"/>
              <a:buNone/>
              <a:defRPr sz="6900" b="1">
                <a:solidFill>
                  <a:schemeClr val="tx1"/>
                </a:solidFill>
                <a:latin typeface="+mj-lt"/>
              </a:defRPr>
            </a:lvl2pPr>
            <a:lvl3pPr marL="0" indent="0" algn="l">
              <a:lnSpc>
                <a:spcPct val="100000"/>
              </a:lnSpc>
              <a:spcBef>
                <a:spcPts val="0"/>
              </a:spcBef>
              <a:buFont typeface="Arial" panose="020B0604020202020204" pitchFamily="34" charset="0"/>
              <a:buNone/>
              <a:defRPr sz="6900" b="1">
                <a:solidFill>
                  <a:schemeClr val="tx1"/>
                </a:solidFill>
                <a:latin typeface="+mj-lt"/>
              </a:defRPr>
            </a:lvl3pPr>
            <a:lvl4pPr marL="0" indent="0" algn="l">
              <a:lnSpc>
                <a:spcPct val="100000"/>
              </a:lnSpc>
              <a:spcBef>
                <a:spcPts val="0"/>
              </a:spcBef>
              <a:buFont typeface="Arial" panose="020B0604020202020204" pitchFamily="34" charset="0"/>
              <a:buNone/>
              <a:defRPr sz="6900" b="1">
                <a:solidFill>
                  <a:schemeClr val="tx1"/>
                </a:solidFill>
                <a:latin typeface="+mj-lt"/>
              </a:defRPr>
            </a:lvl4pPr>
            <a:lvl5pPr marL="0" indent="0" algn="l">
              <a:lnSpc>
                <a:spcPct val="100000"/>
              </a:lnSpc>
              <a:spcBef>
                <a:spcPts val="0"/>
              </a:spcBef>
              <a:buFont typeface="Arial" panose="020B0604020202020204" pitchFamily="34" charset="0"/>
              <a:buNone/>
              <a:defRPr sz="6900" b="1">
                <a:solidFill>
                  <a:schemeClr val="tx1"/>
                </a:solidFill>
                <a:latin typeface="+mj-lt"/>
              </a:defRPr>
            </a:lvl5pPr>
            <a:lvl6pPr marL="0" indent="0" algn="l">
              <a:lnSpc>
                <a:spcPct val="100000"/>
              </a:lnSpc>
              <a:spcBef>
                <a:spcPts val="0"/>
              </a:spcBef>
              <a:buNone/>
              <a:defRPr sz="6900" b="1">
                <a:solidFill>
                  <a:schemeClr val="tx1"/>
                </a:solidFill>
                <a:latin typeface="+mj-lt"/>
              </a:defRPr>
            </a:lvl6pPr>
            <a:lvl7pPr marL="0" indent="0" algn="l">
              <a:lnSpc>
                <a:spcPct val="100000"/>
              </a:lnSpc>
              <a:spcBef>
                <a:spcPts val="0"/>
              </a:spcBef>
              <a:buNone/>
              <a:defRPr sz="6900" b="1">
                <a:solidFill>
                  <a:schemeClr val="tx1"/>
                </a:solidFill>
                <a:latin typeface="+mj-lt"/>
              </a:defRPr>
            </a:lvl7pPr>
            <a:lvl8pPr marL="0" indent="0" algn="l">
              <a:lnSpc>
                <a:spcPct val="100000"/>
              </a:lnSpc>
              <a:spcBef>
                <a:spcPts val="0"/>
              </a:spcBef>
              <a:buNone/>
              <a:defRPr sz="6900" b="1">
                <a:solidFill>
                  <a:schemeClr val="tx1"/>
                </a:solidFill>
                <a:latin typeface="+mj-lt"/>
              </a:defRPr>
            </a:lvl8pPr>
            <a:lvl9pPr marL="0" indent="0" algn="l">
              <a:lnSpc>
                <a:spcPct val="100000"/>
              </a:lnSpc>
              <a:spcBef>
                <a:spcPts val="0"/>
              </a:spcBef>
              <a:buNone/>
              <a:defRPr sz="6900" b="1">
                <a:solidFill>
                  <a:schemeClr val="tx1"/>
                </a:solidFill>
                <a:latin typeface="+mj-lt"/>
              </a:defRPr>
            </a:lvl9pPr>
          </a:lstStyle>
          <a:p>
            <a:r>
              <a:rPr lang="en-GB" dirty="0"/>
              <a:t>00</a:t>
            </a:r>
          </a:p>
        </p:txBody>
      </p:sp>
      <p:sp>
        <p:nvSpPr>
          <p:cNvPr id="2" name="Title"/>
          <p:cNvSpPr>
            <a:spLocks noGrp="1"/>
          </p:cNvSpPr>
          <p:nvPr>
            <p:ph type="title" hasCustomPrompt="1"/>
          </p:nvPr>
        </p:nvSpPr>
        <p:spPr bwMode="gray">
          <a:xfrm>
            <a:off x="4727849" y="1988995"/>
            <a:ext cx="5040000" cy="2088000"/>
          </a:xfrm>
          <a:prstGeom prst="rect">
            <a:avLst/>
          </a:prstGeom>
          <a:solidFill>
            <a:schemeClr val="bg1"/>
          </a:solidFill>
          <a:ln w="127">
            <a:solidFill>
              <a:schemeClr val="bg1"/>
            </a:solidFill>
          </a:ln>
        </p:spPr>
        <p:txBody>
          <a:bodyPr vert="horz" lIns="216000" tIns="36000" rIns="216000">
            <a:noAutofit/>
          </a:bodyPr>
          <a:lstStyle>
            <a:lvl1pPr>
              <a:lnSpc>
                <a:spcPct val="90000"/>
              </a:lnSpc>
              <a:defRPr sz="3000">
                <a:solidFill>
                  <a:schemeClr val="tx1"/>
                </a:solidFill>
              </a:defRPr>
            </a:lvl1pPr>
          </a:lstStyle>
          <a:p>
            <a:r>
              <a:rPr lang="en-GB" dirty="0"/>
              <a:t>Divider slide | Insert your headline in maximal 3 </a:t>
            </a:r>
            <a:br>
              <a:rPr lang="en-GB" dirty="0"/>
            </a:br>
            <a:r>
              <a:rPr lang="en-GB" dirty="0"/>
              <a:t>lines here</a:t>
            </a:r>
          </a:p>
        </p:txBody>
      </p:sp>
      <p:sp>
        <p:nvSpPr>
          <p:cNvPr id="11" name="Subtitle 2">
            <a:extLst>
              <a:ext uri="{FF2B5EF4-FFF2-40B4-BE49-F238E27FC236}">
                <a16:creationId xmlns:a16="http://schemas.microsoft.com/office/drawing/2014/main" id="{0C46297C-A90E-4725-9584-F26D2B59D3D8}"/>
              </a:ext>
            </a:extLst>
          </p:cNvPr>
          <p:cNvSpPr>
            <a:spLocks noGrp="1"/>
          </p:cNvSpPr>
          <p:nvPr userDrawn="1">
            <p:ph type="subTitle" idx="1" hasCustomPrompt="1"/>
          </p:nvPr>
        </p:nvSpPr>
        <p:spPr bwMode="gray">
          <a:xfrm>
            <a:off x="4727848" y="4076996"/>
            <a:ext cx="5040000" cy="1007999"/>
          </a:xfrm>
          <a:prstGeom prst="rect">
            <a:avLst/>
          </a:prstGeom>
          <a:solidFill>
            <a:schemeClr val="bg1"/>
          </a:solidFill>
          <a:ln w="127">
            <a:solidFill>
              <a:schemeClr val="bg1"/>
            </a:solidFill>
          </a:ln>
        </p:spPr>
        <p:txBody>
          <a:bodyPr lIns="216000" rIns="216000"/>
          <a:lstStyle>
            <a:lvl1pPr marL="0" indent="0" algn="l">
              <a:lnSpc>
                <a:spcPct val="100000"/>
              </a:lnSpc>
              <a:spcBef>
                <a:spcPts val="0"/>
              </a:spcBef>
              <a:buFont typeface="Arial" panose="020B0604020202020204" pitchFamily="34" charset="0"/>
              <a:buNone/>
              <a:defRPr sz="2000" b="0">
                <a:latin typeface="+mn-lt"/>
              </a:defRPr>
            </a:lvl1pPr>
            <a:lvl2pPr marL="0" indent="0" algn="l">
              <a:lnSpc>
                <a:spcPct val="100000"/>
              </a:lnSpc>
              <a:spcBef>
                <a:spcPts val="0"/>
              </a:spcBef>
              <a:buFont typeface="Arial" panose="020B0604020202020204" pitchFamily="34" charset="0"/>
              <a:buNone/>
              <a:defRPr sz="2000" b="0">
                <a:latin typeface="+mn-lt"/>
              </a:defRPr>
            </a:lvl2pPr>
            <a:lvl3pPr marL="0" indent="0" algn="l">
              <a:lnSpc>
                <a:spcPct val="100000"/>
              </a:lnSpc>
              <a:spcBef>
                <a:spcPts val="0"/>
              </a:spcBef>
              <a:buFont typeface="Arial" panose="020B0604020202020204" pitchFamily="34" charset="0"/>
              <a:buNone/>
              <a:defRPr sz="2000" b="0">
                <a:latin typeface="+mn-lt"/>
              </a:defRPr>
            </a:lvl3pPr>
            <a:lvl4pPr marL="0" indent="0" algn="l">
              <a:lnSpc>
                <a:spcPct val="100000"/>
              </a:lnSpc>
              <a:spcBef>
                <a:spcPts val="0"/>
              </a:spcBef>
              <a:buFont typeface="Arial" panose="020B0604020202020204" pitchFamily="34" charset="0"/>
              <a:buNone/>
              <a:defRPr sz="2000" b="0">
                <a:latin typeface="+mn-lt"/>
              </a:defRPr>
            </a:lvl4pPr>
            <a:lvl5pPr marL="0" indent="0" algn="l">
              <a:lnSpc>
                <a:spcPct val="100000"/>
              </a:lnSpc>
              <a:spcBef>
                <a:spcPts val="0"/>
              </a:spcBef>
              <a:buFont typeface="Arial" panose="020B0604020202020204" pitchFamily="34" charset="0"/>
              <a:buNone/>
              <a:defRPr sz="2000" b="0">
                <a:latin typeface="+mn-lt"/>
              </a:defRPr>
            </a:lvl5pPr>
            <a:lvl6pPr marL="0" indent="0" algn="l">
              <a:lnSpc>
                <a:spcPct val="100000"/>
              </a:lnSpc>
              <a:spcBef>
                <a:spcPts val="0"/>
              </a:spcBef>
              <a:buFont typeface="Arial" panose="020B0604020202020204" pitchFamily="34" charset="0"/>
              <a:buNone/>
              <a:defRPr sz="2000" b="0">
                <a:latin typeface="+mn-lt"/>
              </a:defRPr>
            </a:lvl6pPr>
            <a:lvl7pPr marL="0" indent="0" algn="l">
              <a:lnSpc>
                <a:spcPct val="100000"/>
              </a:lnSpc>
              <a:spcBef>
                <a:spcPts val="0"/>
              </a:spcBef>
              <a:buFont typeface="Arial" panose="020B0604020202020204" pitchFamily="34" charset="0"/>
              <a:buNone/>
              <a:defRPr sz="2000" b="0">
                <a:latin typeface="+mn-lt"/>
              </a:defRPr>
            </a:lvl7pPr>
            <a:lvl8pPr marL="0" indent="0" algn="l">
              <a:lnSpc>
                <a:spcPct val="100000"/>
              </a:lnSpc>
              <a:spcBef>
                <a:spcPts val="0"/>
              </a:spcBef>
              <a:buFont typeface="Arial" panose="020B0604020202020204" pitchFamily="34" charset="0"/>
              <a:buNone/>
              <a:defRPr sz="2000" b="0">
                <a:latin typeface="+mn-lt"/>
              </a:defRPr>
            </a:lvl8pPr>
            <a:lvl9pPr marL="0" indent="0" algn="l">
              <a:lnSpc>
                <a:spcPct val="100000"/>
              </a:lnSpc>
              <a:spcBef>
                <a:spcPts val="0"/>
              </a:spcBef>
              <a:buFont typeface="Arial" panose="020B0604020202020204" pitchFamily="34" charset="0"/>
              <a:buNone/>
              <a:defRPr sz="2000" b="0">
                <a:latin typeface="+mn-lt"/>
              </a:defRPr>
            </a:lvl9pPr>
          </a:lstStyle>
          <a:p>
            <a:r>
              <a:rPr lang="en-GB" dirty="0"/>
              <a:t>Insert here your subtitle</a:t>
            </a:r>
          </a:p>
        </p:txBody>
      </p:sp>
      <p:sp>
        <p:nvSpPr>
          <p:cNvPr id="255" name="Source">
            <a:extLst>
              <a:ext uri="{FF2B5EF4-FFF2-40B4-BE49-F238E27FC236}">
                <a16:creationId xmlns:a16="http://schemas.microsoft.com/office/drawing/2014/main" id="{1AD47167-2C48-8452-2CC8-78AC2BF1C131}"/>
              </a:ext>
            </a:extLst>
          </p:cNvPr>
          <p:cNvSpPr>
            <a:spLocks noGrp="1"/>
          </p:cNvSpPr>
          <p:nvPr>
            <p:ph type="body" sz="quarter" idx="21"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spTree>
    <p:extLst>
      <p:ext uri="{BB962C8B-B14F-4D97-AF65-F5344CB8AC3E}">
        <p14:creationId xmlns:p14="http://schemas.microsoft.com/office/powerpoint/2010/main" val="201783107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3 | Maganta">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B0A31A9-9924-696E-FB66-4436CE506C15}"/>
              </a:ext>
            </a:extLst>
          </p:cNvPr>
          <p:cNvGraphicFramePr>
            <a:graphicFrameLocks noChangeAspect="1"/>
          </p:cNvGraphicFramePr>
          <p:nvPr userDrawn="1">
            <p:custDataLst>
              <p:tags r:id="rId1"/>
            </p:custDataLst>
            <p:extLst>
              <p:ext uri="{D42A27DB-BD31-4B8C-83A1-F6EECF244321}">
                <p14:modId xmlns:p14="http://schemas.microsoft.com/office/powerpoint/2010/main" val="1997403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3" name="Objekt 2" hidden="1">
                        <a:extLst>
                          <a:ext uri="{FF2B5EF4-FFF2-40B4-BE49-F238E27FC236}">
                            <a16:creationId xmlns:a16="http://schemas.microsoft.com/office/drawing/2014/main" id="{CB0A31A9-9924-696E-FB66-4436CE506C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umsplatzhalter 7">
            <a:extLst>
              <a:ext uri="{FF2B5EF4-FFF2-40B4-BE49-F238E27FC236}">
                <a16:creationId xmlns:a16="http://schemas.microsoft.com/office/drawing/2014/main" id="{2F556759-D0F1-F371-D708-872DD959548E}"/>
              </a:ext>
            </a:extLst>
          </p:cNvPr>
          <p:cNvSpPr>
            <a:spLocks noGrp="1"/>
          </p:cNvSpPr>
          <p:nvPr>
            <p:ph type="dt" sz="half" idx="18"/>
          </p:nvPr>
        </p:nvSpPr>
        <p:spPr/>
        <p:txBody>
          <a:bodyPr/>
          <a:lstStyle/>
          <a:p>
            <a:r>
              <a:rPr lang="en-US"/>
              <a:t>7/26/2022</a:t>
            </a:r>
            <a:endParaRPr lang="en-GB" dirty="0"/>
          </a:p>
        </p:txBody>
      </p:sp>
      <p:sp>
        <p:nvSpPr>
          <p:cNvPr id="9" name="Fußzeilenplatzhalter 8">
            <a:extLst>
              <a:ext uri="{FF2B5EF4-FFF2-40B4-BE49-F238E27FC236}">
                <a16:creationId xmlns:a16="http://schemas.microsoft.com/office/drawing/2014/main" id="{3F240A2D-DF33-4064-C42D-8ABF8FAF900F}"/>
              </a:ext>
            </a:extLst>
          </p:cNvPr>
          <p:cNvSpPr>
            <a:spLocks noGrp="1"/>
          </p:cNvSpPr>
          <p:nvPr>
            <p:ph type="ftr" sz="quarter" idx="19"/>
          </p:nvPr>
        </p:nvSpPr>
        <p:spPr/>
        <p:txBody>
          <a:bodyPr/>
          <a:lstStyle/>
          <a:p>
            <a:r>
              <a:rPr lang="de-DE"/>
              <a:t>Der Konsument nach Corona und Consumer Voice</a:t>
            </a:r>
            <a:endParaRPr lang="de-DE" dirty="0"/>
          </a:p>
        </p:txBody>
      </p:sp>
      <p:sp>
        <p:nvSpPr>
          <p:cNvPr id="10" name="Foliennummernplatzhalter 9">
            <a:extLst>
              <a:ext uri="{FF2B5EF4-FFF2-40B4-BE49-F238E27FC236}">
                <a16:creationId xmlns:a16="http://schemas.microsoft.com/office/drawing/2014/main" id="{24EA0A6C-E972-430F-366A-D572486AD04C}"/>
              </a:ext>
            </a:extLst>
          </p:cNvPr>
          <p:cNvSpPr>
            <a:spLocks noGrp="1"/>
          </p:cNvSpPr>
          <p:nvPr>
            <p:ph type="sldNum" sz="quarter" idx="20"/>
          </p:nvPr>
        </p:nvSpPr>
        <p:spPr/>
        <p:txBody>
          <a:bodyPr/>
          <a:lstStyle/>
          <a:p>
            <a:fld id="{CAEA825B-D749-4F0A-886E-8D45A39EAF2A}" type="slidenum">
              <a:rPr lang="de-DE" smtClean="0"/>
              <a:pPr/>
              <a:t>‹Nº›</a:t>
            </a:fld>
            <a:endParaRPr lang="de-DE"/>
          </a:p>
        </p:txBody>
      </p:sp>
      <p:sp>
        <p:nvSpPr>
          <p:cNvPr id="643" name="Source">
            <a:extLst>
              <a:ext uri="{FF2B5EF4-FFF2-40B4-BE49-F238E27FC236}">
                <a16:creationId xmlns:a16="http://schemas.microsoft.com/office/drawing/2014/main" id="{CB081D7B-28DD-9941-7ABB-B472540D5704}"/>
              </a:ext>
            </a:extLst>
          </p:cNvPr>
          <p:cNvSpPr>
            <a:spLocks noGrp="1"/>
          </p:cNvSpPr>
          <p:nvPr>
            <p:ph type="body" sz="quarter" idx="21"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grpSp>
        <p:nvGrpSpPr>
          <p:cNvPr id="404" name="Gruppieren 403">
            <a:extLst>
              <a:ext uri="{FF2B5EF4-FFF2-40B4-BE49-F238E27FC236}">
                <a16:creationId xmlns:a16="http://schemas.microsoft.com/office/drawing/2014/main" id="{04C048BE-7905-D610-6B61-0D5ECA7CC035}"/>
              </a:ext>
            </a:extLst>
          </p:cNvPr>
          <p:cNvGrpSpPr/>
          <p:nvPr userDrawn="1"/>
        </p:nvGrpSpPr>
        <p:grpSpPr>
          <a:xfrm>
            <a:off x="317360" y="1484784"/>
            <a:ext cx="11539280" cy="4626512"/>
            <a:chOff x="317360" y="1484784"/>
            <a:chExt cx="11539280" cy="4626512"/>
          </a:xfrm>
        </p:grpSpPr>
        <p:sp>
          <p:nvSpPr>
            <p:cNvPr id="405" name="Rechteck 404">
              <a:extLst>
                <a:ext uri="{FF2B5EF4-FFF2-40B4-BE49-F238E27FC236}">
                  <a16:creationId xmlns:a16="http://schemas.microsoft.com/office/drawing/2014/main" id="{C8534E3C-2CF5-A3A2-0400-83854F08E4B7}"/>
                </a:ext>
              </a:extLst>
            </p:cNvPr>
            <p:cNvSpPr/>
            <p:nvPr userDrawn="1"/>
          </p:nvSpPr>
          <p:spPr bwMode="gray">
            <a:xfrm>
              <a:off x="1126257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06" name="Rechteck 405">
              <a:extLst>
                <a:ext uri="{FF2B5EF4-FFF2-40B4-BE49-F238E27FC236}">
                  <a16:creationId xmlns:a16="http://schemas.microsoft.com/office/drawing/2014/main" id="{2642479F-4D57-075E-49AE-CE7FF522A9C7}"/>
                </a:ext>
              </a:extLst>
            </p:cNvPr>
            <p:cNvSpPr/>
            <p:nvPr userDrawn="1"/>
          </p:nvSpPr>
          <p:spPr bwMode="gray">
            <a:xfrm>
              <a:off x="1068651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07" name="Rechteck 406">
              <a:extLst>
                <a:ext uri="{FF2B5EF4-FFF2-40B4-BE49-F238E27FC236}">
                  <a16:creationId xmlns:a16="http://schemas.microsoft.com/office/drawing/2014/main" id="{2FBBCAD6-B2D5-EEE4-80F3-7B21C3C50302}"/>
                </a:ext>
              </a:extLst>
            </p:cNvPr>
            <p:cNvSpPr/>
            <p:nvPr userDrawn="1"/>
          </p:nvSpPr>
          <p:spPr bwMode="gray">
            <a:xfrm>
              <a:off x="1011044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08" name="Rechteck 407">
              <a:extLst>
                <a:ext uri="{FF2B5EF4-FFF2-40B4-BE49-F238E27FC236}">
                  <a16:creationId xmlns:a16="http://schemas.microsoft.com/office/drawing/2014/main" id="{552A4487-02CF-EE9D-549E-FA44DA3C6164}"/>
                </a:ext>
              </a:extLst>
            </p:cNvPr>
            <p:cNvSpPr/>
            <p:nvPr userDrawn="1"/>
          </p:nvSpPr>
          <p:spPr bwMode="gray">
            <a:xfrm>
              <a:off x="953438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09" name="Rechteck 408">
              <a:extLst>
                <a:ext uri="{FF2B5EF4-FFF2-40B4-BE49-F238E27FC236}">
                  <a16:creationId xmlns:a16="http://schemas.microsoft.com/office/drawing/2014/main" id="{DAA139EA-D1B0-79B9-9A92-275C1BB638FF}"/>
                </a:ext>
              </a:extLst>
            </p:cNvPr>
            <p:cNvSpPr/>
            <p:nvPr userDrawn="1"/>
          </p:nvSpPr>
          <p:spPr bwMode="gray">
            <a:xfrm>
              <a:off x="895832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10" name="Rechteck 409">
              <a:extLst>
                <a:ext uri="{FF2B5EF4-FFF2-40B4-BE49-F238E27FC236}">
                  <a16:creationId xmlns:a16="http://schemas.microsoft.com/office/drawing/2014/main" id="{A52E1848-0E5A-9D78-25E0-DA3FACDA7CF7}"/>
                </a:ext>
              </a:extLst>
            </p:cNvPr>
            <p:cNvSpPr/>
            <p:nvPr userDrawn="1"/>
          </p:nvSpPr>
          <p:spPr bwMode="gray">
            <a:xfrm>
              <a:off x="838225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11" name="Rechteck 410">
              <a:extLst>
                <a:ext uri="{FF2B5EF4-FFF2-40B4-BE49-F238E27FC236}">
                  <a16:creationId xmlns:a16="http://schemas.microsoft.com/office/drawing/2014/main" id="{B10B3D36-B1B9-E95F-3E7C-96F1D80FE82E}"/>
                </a:ext>
              </a:extLst>
            </p:cNvPr>
            <p:cNvSpPr/>
            <p:nvPr userDrawn="1"/>
          </p:nvSpPr>
          <p:spPr bwMode="gray">
            <a:xfrm>
              <a:off x="780619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12" name="Rechteck 411">
              <a:extLst>
                <a:ext uri="{FF2B5EF4-FFF2-40B4-BE49-F238E27FC236}">
                  <a16:creationId xmlns:a16="http://schemas.microsoft.com/office/drawing/2014/main" id="{F26D824A-39A6-3FDB-BE04-7CC5314001A2}"/>
                </a:ext>
              </a:extLst>
            </p:cNvPr>
            <p:cNvSpPr/>
            <p:nvPr userDrawn="1"/>
          </p:nvSpPr>
          <p:spPr bwMode="gray">
            <a:xfrm>
              <a:off x="723012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13" name="Rechteck 412">
              <a:extLst>
                <a:ext uri="{FF2B5EF4-FFF2-40B4-BE49-F238E27FC236}">
                  <a16:creationId xmlns:a16="http://schemas.microsoft.com/office/drawing/2014/main" id="{458F2A98-6D89-9650-4101-F5C10B7C1D8D}"/>
                </a:ext>
              </a:extLst>
            </p:cNvPr>
            <p:cNvSpPr/>
            <p:nvPr userDrawn="1"/>
          </p:nvSpPr>
          <p:spPr bwMode="gray">
            <a:xfrm>
              <a:off x="665406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14" name="Rechteck 413">
              <a:extLst>
                <a:ext uri="{FF2B5EF4-FFF2-40B4-BE49-F238E27FC236}">
                  <a16:creationId xmlns:a16="http://schemas.microsoft.com/office/drawing/2014/main" id="{BF454603-B4CD-657A-011B-40E91B963531}"/>
                </a:ext>
              </a:extLst>
            </p:cNvPr>
            <p:cNvSpPr/>
            <p:nvPr userDrawn="1"/>
          </p:nvSpPr>
          <p:spPr bwMode="gray">
            <a:xfrm>
              <a:off x="607800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15" name="Rechteck 414">
              <a:extLst>
                <a:ext uri="{FF2B5EF4-FFF2-40B4-BE49-F238E27FC236}">
                  <a16:creationId xmlns:a16="http://schemas.microsoft.com/office/drawing/2014/main" id="{6C93CD96-9F61-4150-B70A-50410BC741B4}"/>
                </a:ext>
              </a:extLst>
            </p:cNvPr>
            <p:cNvSpPr/>
            <p:nvPr userDrawn="1"/>
          </p:nvSpPr>
          <p:spPr bwMode="gray">
            <a:xfrm>
              <a:off x="550193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16" name="Rechteck 415">
              <a:extLst>
                <a:ext uri="{FF2B5EF4-FFF2-40B4-BE49-F238E27FC236}">
                  <a16:creationId xmlns:a16="http://schemas.microsoft.com/office/drawing/2014/main" id="{65234738-C8AE-9F8A-5899-FCC5BA08223B}"/>
                </a:ext>
              </a:extLst>
            </p:cNvPr>
            <p:cNvSpPr/>
            <p:nvPr userDrawn="1"/>
          </p:nvSpPr>
          <p:spPr bwMode="gray">
            <a:xfrm>
              <a:off x="492587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17" name="Rechteck 416">
              <a:extLst>
                <a:ext uri="{FF2B5EF4-FFF2-40B4-BE49-F238E27FC236}">
                  <a16:creationId xmlns:a16="http://schemas.microsoft.com/office/drawing/2014/main" id="{BB4BE4F1-A8D4-B6BE-40DE-C40F4E8DB506}"/>
                </a:ext>
              </a:extLst>
            </p:cNvPr>
            <p:cNvSpPr/>
            <p:nvPr userDrawn="1"/>
          </p:nvSpPr>
          <p:spPr bwMode="gray">
            <a:xfrm>
              <a:off x="434980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18" name="Rechteck 417">
              <a:extLst>
                <a:ext uri="{FF2B5EF4-FFF2-40B4-BE49-F238E27FC236}">
                  <a16:creationId xmlns:a16="http://schemas.microsoft.com/office/drawing/2014/main" id="{BE59DB32-E5F9-F3F9-B535-F6C3D62F6FEE}"/>
                </a:ext>
              </a:extLst>
            </p:cNvPr>
            <p:cNvSpPr/>
            <p:nvPr userDrawn="1"/>
          </p:nvSpPr>
          <p:spPr bwMode="gray">
            <a:xfrm>
              <a:off x="377374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19" name="Rechteck 418">
              <a:extLst>
                <a:ext uri="{FF2B5EF4-FFF2-40B4-BE49-F238E27FC236}">
                  <a16:creationId xmlns:a16="http://schemas.microsoft.com/office/drawing/2014/main" id="{355E0C15-19DA-DB20-C8CC-352EE7D74D5E}"/>
                </a:ext>
              </a:extLst>
            </p:cNvPr>
            <p:cNvSpPr/>
            <p:nvPr userDrawn="1"/>
          </p:nvSpPr>
          <p:spPr bwMode="gray">
            <a:xfrm>
              <a:off x="319768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20" name="Rechteck 419">
              <a:extLst>
                <a:ext uri="{FF2B5EF4-FFF2-40B4-BE49-F238E27FC236}">
                  <a16:creationId xmlns:a16="http://schemas.microsoft.com/office/drawing/2014/main" id="{BCBE50D2-E4C5-A8C3-AD7D-AA2917EBBAD3}"/>
                </a:ext>
              </a:extLst>
            </p:cNvPr>
            <p:cNvSpPr/>
            <p:nvPr userDrawn="1"/>
          </p:nvSpPr>
          <p:spPr bwMode="gray">
            <a:xfrm>
              <a:off x="262161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21" name="Rechteck 420">
              <a:extLst>
                <a:ext uri="{FF2B5EF4-FFF2-40B4-BE49-F238E27FC236}">
                  <a16:creationId xmlns:a16="http://schemas.microsoft.com/office/drawing/2014/main" id="{8EA6A4A8-C30A-7D98-DA78-B2FD911D667D}"/>
                </a:ext>
              </a:extLst>
            </p:cNvPr>
            <p:cNvSpPr/>
            <p:nvPr userDrawn="1"/>
          </p:nvSpPr>
          <p:spPr bwMode="gray">
            <a:xfrm>
              <a:off x="204555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22" name="Rechteck 421">
              <a:extLst>
                <a:ext uri="{FF2B5EF4-FFF2-40B4-BE49-F238E27FC236}">
                  <a16:creationId xmlns:a16="http://schemas.microsoft.com/office/drawing/2014/main" id="{C2204EF9-F7AA-4DE5-310A-5DDDD66591F9}"/>
                </a:ext>
              </a:extLst>
            </p:cNvPr>
            <p:cNvSpPr/>
            <p:nvPr userDrawn="1"/>
          </p:nvSpPr>
          <p:spPr bwMode="gray">
            <a:xfrm>
              <a:off x="146948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23" name="Rechteck 422">
              <a:extLst>
                <a:ext uri="{FF2B5EF4-FFF2-40B4-BE49-F238E27FC236}">
                  <a16:creationId xmlns:a16="http://schemas.microsoft.com/office/drawing/2014/main" id="{1C4B3FA9-A920-84E4-3C45-09856B26868C}"/>
                </a:ext>
              </a:extLst>
            </p:cNvPr>
            <p:cNvSpPr/>
            <p:nvPr userDrawn="1"/>
          </p:nvSpPr>
          <p:spPr bwMode="gray">
            <a:xfrm>
              <a:off x="89342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24" name="Rechteck 423">
              <a:extLst>
                <a:ext uri="{FF2B5EF4-FFF2-40B4-BE49-F238E27FC236}">
                  <a16:creationId xmlns:a16="http://schemas.microsoft.com/office/drawing/2014/main" id="{B3B85DD2-476A-0B95-5EB1-8F312DA44622}"/>
                </a:ext>
              </a:extLst>
            </p:cNvPr>
            <p:cNvSpPr/>
            <p:nvPr userDrawn="1"/>
          </p:nvSpPr>
          <p:spPr bwMode="gray">
            <a:xfrm>
              <a:off x="31736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25" name="Rechteck 424">
              <a:extLst>
                <a:ext uri="{FF2B5EF4-FFF2-40B4-BE49-F238E27FC236}">
                  <a16:creationId xmlns:a16="http://schemas.microsoft.com/office/drawing/2014/main" id="{99D6B96F-8374-F9F1-59A5-98EBA3EE25CD}"/>
                </a:ext>
              </a:extLst>
            </p:cNvPr>
            <p:cNvSpPr/>
            <p:nvPr userDrawn="1"/>
          </p:nvSpPr>
          <p:spPr bwMode="gray">
            <a:xfrm>
              <a:off x="1126257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26" name="Rechteck 425">
              <a:extLst>
                <a:ext uri="{FF2B5EF4-FFF2-40B4-BE49-F238E27FC236}">
                  <a16:creationId xmlns:a16="http://schemas.microsoft.com/office/drawing/2014/main" id="{DC823EE3-BADD-6F95-5CE8-BED7CBAE080A}"/>
                </a:ext>
              </a:extLst>
            </p:cNvPr>
            <p:cNvSpPr/>
            <p:nvPr userDrawn="1"/>
          </p:nvSpPr>
          <p:spPr bwMode="gray">
            <a:xfrm>
              <a:off x="1068651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27" name="Rechteck 426">
              <a:extLst>
                <a:ext uri="{FF2B5EF4-FFF2-40B4-BE49-F238E27FC236}">
                  <a16:creationId xmlns:a16="http://schemas.microsoft.com/office/drawing/2014/main" id="{8E865B11-168E-A455-145C-1B34043240D2}"/>
                </a:ext>
              </a:extLst>
            </p:cNvPr>
            <p:cNvSpPr/>
            <p:nvPr userDrawn="1"/>
          </p:nvSpPr>
          <p:spPr bwMode="gray">
            <a:xfrm>
              <a:off x="1011044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28" name="Rechteck 427">
              <a:extLst>
                <a:ext uri="{FF2B5EF4-FFF2-40B4-BE49-F238E27FC236}">
                  <a16:creationId xmlns:a16="http://schemas.microsoft.com/office/drawing/2014/main" id="{89E05B10-BD1F-958E-9026-B892E687B974}"/>
                </a:ext>
              </a:extLst>
            </p:cNvPr>
            <p:cNvSpPr/>
            <p:nvPr userDrawn="1"/>
          </p:nvSpPr>
          <p:spPr bwMode="gray">
            <a:xfrm>
              <a:off x="953438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29" name="Rechteck 428">
              <a:extLst>
                <a:ext uri="{FF2B5EF4-FFF2-40B4-BE49-F238E27FC236}">
                  <a16:creationId xmlns:a16="http://schemas.microsoft.com/office/drawing/2014/main" id="{421D8672-B7B6-B216-D75B-D7B1D4F1108E}"/>
                </a:ext>
              </a:extLst>
            </p:cNvPr>
            <p:cNvSpPr/>
            <p:nvPr userDrawn="1"/>
          </p:nvSpPr>
          <p:spPr bwMode="gray">
            <a:xfrm>
              <a:off x="895832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30" name="Rechteck 429">
              <a:extLst>
                <a:ext uri="{FF2B5EF4-FFF2-40B4-BE49-F238E27FC236}">
                  <a16:creationId xmlns:a16="http://schemas.microsoft.com/office/drawing/2014/main" id="{2A3F3D9E-1B89-48BA-EBBF-A97D6C8DBCCF}"/>
                </a:ext>
              </a:extLst>
            </p:cNvPr>
            <p:cNvSpPr/>
            <p:nvPr userDrawn="1"/>
          </p:nvSpPr>
          <p:spPr bwMode="gray">
            <a:xfrm>
              <a:off x="838225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31" name="Rechteck 430">
              <a:extLst>
                <a:ext uri="{FF2B5EF4-FFF2-40B4-BE49-F238E27FC236}">
                  <a16:creationId xmlns:a16="http://schemas.microsoft.com/office/drawing/2014/main" id="{2E1007CB-9535-DA31-9048-F7F0B0FDC68E}"/>
                </a:ext>
              </a:extLst>
            </p:cNvPr>
            <p:cNvSpPr/>
            <p:nvPr userDrawn="1"/>
          </p:nvSpPr>
          <p:spPr bwMode="gray">
            <a:xfrm>
              <a:off x="780619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32" name="Rechteck 431">
              <a:extLst>
                <a:ext uri="{FF2B5EF4-FFF2-40B4-BE49-F238E27FC236}">
                  <a16:creationId xmlns:a16="http://schemas.microsoft.com/office/drawing/2014/main" id="{1C2CB0FC-98AB-16FA-5D3E-77E640C3E6CC}"/>
                </a:ext>
              </a:extLst>
            </p:cNvPr>
            <p:cNvSpPr/>
            <p:nvPr userDrawn="1"/>
          </p:nvSpPr>
          <p:spPr bwMode="gray">
            <a:xfrm>
              <a:off x="723012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33" name="Rechteck 432">
              <a:extLst>
                <a:ext uri="{FF2B5EF4-FFF2-40B4-BE49-F238E27FC236}">
                  <a16:creationId xmlns:a16="http://schemas.microsoft.com/office/drawing/2014/main" id="{CB1E9931-CDB9-84CA-B1B4-35911570F87B}"/>
                </a:ext>
              </a:extLst>
            </p:cNvPr>
            <p:cNvSpPr/>
            <p:nvPr userDrawn="1"/>
          </p:nvSpPr>
          <p:spPr bwMode="gray">
            <a:xfrm>
              <a:off x="665406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34" name="Rechteck 433">
              <a:extLst>
                <a:ext uri="{FF2B5EF4-FFF2-40B4-BE49-F238E27FC236}">
                  <a16:creationId xmlns:a16="http://schemas.microsoft.com/office/drawing/2014/main" id="{CB5B5FF5-5E89-16CE-AC9D-E1703C1962A0}"/>
                </a:ext>
              </a:extLst>
            </p:cNvPr>
            <p:cNvSpPr/>
            <p:nvPr userDrawn="1"/>
          </p:nvSpPr>
          <p:spPr bwMode="gray">
            <a:xfrm>
              <a:off x="607800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35" name="Rechteck 434">
              <a:extLst>
                <a:ext uri="{FF2B5EF4-FFF2-40B4-BE49-F238E27FC236}">
                  <a16:creationId xmlns:a16="http://schemas.microsoft.com/office/drawing/2014/main" id="{F8773E70-31F7-A1F0-7ABF-5E584B1BF675}"/>
                </a:ext>
              </a:extLst>
            </p:cNvPr>
            <p:cNvSpPr/>
            <p:nvPr userDrawn="1"/>
          </p:nvSpPr>
          <p:spPr bwMode="gray">
            <a:xfrm>
              <a:off x="550193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36" name="Rechteck 435">
              <a:extLst>
                <a:ext uri="{FF2B5EF4-FFF2-40B4-BE49-F238E27FC236}">
                  <a16:creationId xmlns:a16="http://schemas.microsoft.com/office/drawing/2014/main" id="{4F17D763-580C-FBD5-4238-30C626721A51}"/>
                </a:ext>
              </a:extLst>
            </p:cNvPr>
            <p:cNvSpPr/>
            <p:nvPr userDrawn="1"/>
          </p:nvSpPr>
          <p:spPr bwMode="gray">
            <a:xfrm>
              <a:off x="492587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37" name="Rechteck 436">
              <a:extLst>
                <a:ext uri="{FF2B5EF4-FFF2-40B4-BE49-F238E27FC236}">
                  <a16:creationId xmlns:a16="http://schemas.microsoft.com/office/drawing/2014/main" id="{FB8E908F-D62F-BEBA-FA1B-A4CA919B0FEC}"/>
                </a:ext>
              </a:extLst>
            </p:cNvPr>
            <p:cNvSpPr/>
            <p:nvPr userDrawn="1"/>
          </p:nvSpPr>
          <p:spPr bwMode="gray">
            <a:xfrm>
              <a:off x="434980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38" name="Rechteck 437">
              <a:extLst>
                <a:ext uri="{FF2B5EF4-FFF2-40B4-BE49-F238E27FC236}">
                  <a16:creationId xmlns:a16="http://schemas.microsoft.com/office/drawing/2014/main" id="{1D7B2149-7D87-4846-43FB-12D17A3939A1}"/>
                </a:ext>
              </a:extLst>
            </p:cNvPr>
            <p:cNvSpPr/>
            <p:nvPr userDrawn="1"/>
          </p:nvSpPr>
          <p:spPr bwMode="gray">
            <a:xfrm>
              <a:off x="377374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39" name="Rechteck 438">
              <a:extLst>
                <a:ext uri="{FF2B5EF4-FFF2-40B4-BE49-F238E27FC236}">
                  <a16:creationId xmlns:a16="http://schemas.microsoft.com/office/drawing/2014/main" id="{64B367DA-ECBE-3D6F-7892-969A91F31717}"/>
                </a:ext>
              </a:extLst>
            </p:cNvPr>
            <p:cNvSpPr/>
            <p:nvPr userDrawn="1"/>
          </p:nvSpPr>
          <p:spPr bwMode="gray">
            <a:xfrm>
              <a:off x="319768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40" name="Rechteck 439">
              <a:extLst>
                <a:ext uri="{FF2B5EF4-FFF2-40B4-BE49-F238E27FC236}">
                  <a16:creationId xmlns:a16="http://schemas.microsoft.com/office/drawing/2014/main" id="{AFD1E34E-B48A-65B8-0AE2-7C72215CB250}"/>
                </a:ext>
              </a:extLst>
            </p:cNvPr>
            <p:cNvSpPr/>
            <p:nvPr userDrawn="1"/>
          </p:nvSpPr>
          <p:spPr bwMode="gray">
            <a:xfrm>
              <a:off x="262161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41" name="Rechteck 440">
              <a:extLst>
                <a:ext uri="{FF2B5EF4-FFF2-40B4-BE49-F238E27FC236}">
                  <a16:creationId xmlns:a16="http://schemas.microsoft.com/office/drawing/2014/main" id="{17D87CBC-0CEB-E217-010B-1DA03C1F7E72}"/>
                </a:ext>
              </a:extLst>
            </p:cNvPr>
            <p:cNvSpPr/>
            <p:nvPr userDrawn="1"/>
          </p:nvSpPr>
          <p:spPr bwMode="gray">
            <a:xfrm>
              <a:off x="204555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42" name="Rechteck 441">
              <a:extLst>
                <a:ext uri="{FF2B5EF4-FFF2-40B4-BE49-F238E27FC236}">
                  <a16:creationId xmlns:a16="http://schemas.microsoft.com/office/drawing/2014/main" id="{4C507037-1A43-6753-3448-B6412FB9525A}"/>
                </a:ext>
              </a:extLst>
            </p:cNvPr>
            <p:cNvSpPr/>
            <p:nvPr userDrawn="1"/>
          </p:nvSpPr>
          <p:spPr bwMode="gray">
            <a:xfrm>
              <a:off x="146948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43" name="Rechteck 442">
              <a:extLst>
                <a:ext uri="{FF2B5EF4-FFF2-40B4-BE49-F238E27FC236}">
                  <a16:creationId xmlns:a16="http://schemas.microsoft.com/office/drawing/2014/main" id="{B9EA4EF1-8270-A8F6-0B39-F4EE8985D611}"/>
                </a:ext>
              </a:extLst>
            </p:cNvPr>
            <p:cNvSpPr/>
            <p:nvPr userDrawn="1"/>
          </p:nvSpPr>
          <p:spPr bwMode="gray">
            <a:xfrm>
              <a:off x="89342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44" name="Rechteck 443">
              <a:extLst>
                <a:ext uri="{FF2B5EF4-FFF2-40B4-BE49-F238E27FC236}">
                  <a16:creationId xmlns:a16="http://schemas.microsoft.com/office/drawing/2014/main" id="{22D17A1C-D4E6-F63F-C632-5F02FCDBEC98}"/>
                </a:ext>
              </a:extLst>
            </p:cNvPr>
            <p:cNvSpPr/>
            <p:nvPr userDrawn="1"/>
          </p:nvSpPr>
          <p:spPr bwMode="gray">
            <a:xfrm>
              <a:off x="31736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45" name="Rechteck 444">
              <a:extLst>
                <a:ext uri="{FF2B5EF4-FFF2-40B4-BE49-F238E27FC236}">
                  <a16:creationId xmlns:a16="http://schemas.microsoft.com/office/drawing/2014/main" id="{2DE08B39-3441-2D61-6C4C-A404444E0C54}"/>
                </a:ext>
              </a:extLst>
            </p:cNvPr>
            <p:cNvSpPr/>
            <p:nvPr userDrawn="1"/>
          </p:nvSpPr>
          <p:spPr bwMode="gray">
            <a:xfrm>
              <a:off x="1126257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46" name="Rechteck 445">
              <a:extLst>
                <a:ext uri="{FF2B5EF4-FFF2-40B4-BE49-F238E27FC236}">
                  <a16:creationId xmlns:a16="http://schemas.microsoft.com/office/drawing/2014/main" id="{9FC815D8-F3D6-67E1-3471-CD84245D5289}"/>
                </a:ext>
              </a:extLst>
            </p:cNvPr>
            <p:cNvSpPr/>
            <p:nvPr userDrawn="1"/>
          </p:nvSpPr>
          <p:spPr bwMode="gray">
            <a:xfrm>
              <a:off x="1068651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47" name="Rechteck 446">
              <a:extLst>
                <a:ext uri="{FF2B5EF4-FFF2-40B4-BE49-F238E27FC236}">
                  <a16:creationId xmlns:a16="http://schemas.microsoft.com/office/drawing/2014/main" id="{1999CB14-F9AE-0996-DE85-D56C83440B52}"/>
                </a:ext>
              </a:extLst>
            </p:cNvPr>
            <p:cNvSpPr/>
            <p:nvPr userDrawn="1"/>
          </p:nvSpPr>
          <p:spPr bwMode="gray">
            <a:xfrm>
              <a:off x="1011044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48" name="Rechteck 447">
              <a:extLst>
                <a:ext uri="{FF2B5EF4-FFF2-40B4-BE49-F238E27FC236}">
                  <a16:creationId xmlns:a16="http://schemas.microsoft.com/office/drawing/2014/main" id="{6C56F053-84BA-5783-8B6F-D75048C78A9A}"/>
                </a:ext>
              </a:extLst>
            </p:cNvPr>
            <p:cNvSpPr/>
            <p:nvPr userDrawn="1"/>
          </p:nvSpPr>
          <p:spPr bwMode="gray">
            <a:xfrm>
              <a:off x="953438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49" name="Rechteck 448">
              <a:extLst>
                <a:ext uri="{FF2B5EF4-FFF2-40B4-BE49-F238E27FC236}">
                  <a16:creationId xmlns:a16="http://schemas.microsoft.com/office/drawing/2014/main" id="{75B65E3E-9571-5056-1DA6-1E89022106C8}"/>
                </a:ext>
              </a:extLst>
            </p:cNvPr>
            <p:cNvSpPr/>
            <p:nvPr userDrawn="1"/>
          </p:nvSpPr>
          <p:spPr bwMode="gray">
            <a:xfrm>
              <a:off x="895832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50" name="Rechteck 449">
              <a:extLst>
                <a:ext uri="{FF2B5EF4-FFF2-40B4-BE49-F238E27FC236}">
                  <a16:creationId xmlns:a16="http://schemas.microsoft.com/office/drawing/2014/main" id="{7C1B3581-10C1-31C0-555F-9C1DA3F4D22E}"/>
                </a:ext>
              </a:extLst>
            </p:cNvPr>
            <p:cNvSpPr/>
            <p:nvPr userDrawn="1"/>
          </p:nvSpPr>
          <p:spPr bwMode="gray">
            <a:xfrm>
              <a:off x="838225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51" name="Rechteck 450">
              <a:extLst>
                <a:ext uri="{FF2B5EF4-FFF2-40B4-BE49-F238E27FC236}">
                  <a16:creationId xmlns:a16="http://schemas.microsoft.com/office/drawing/2014/main" id="{48F56C21-4088-377F-6E6F-4414C408DB56}"/>
                </a:ext>
              </a:extLst>
            </p:cNvPr>
            <p:cNvSpPr/>
            <p:nvPr userDrawn="1"/>
          </p:nvSpPr>
          <p:spPr bwMode="gray">
            <a:xfrm>
              <a:off x="780619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52" name="Rechteck 451">
              <a:extLst>
                <a:ext uri="{FF2B5EF4-FFF2-40B4-BE49-F238E27FC236}">
                  <a16:creationId xmlns:a16="http://schemas.microsoft.com/office/drawing/2014/main" id="{9D2EB8FA-D581-5FCC-6E80-6C9CE48D4A7F}"/>
                </a:ext>
              </a:extLst>
            </p:cNvPr>
            <p:cNvSpPr/>
            <p:nvPr userDrawn="1"/>
          </p:nvSpPr>
          <p:spPr bwMode="gray">
            <a:xfrm>
              <a:off x="723012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53" name="Rechteck 452">
              <a:extLst>
                <a:ext uri="{FF2B5EF4-FFF2-40B4-BE49-F238E27FC236}">
                  <a16:creationId xmlns:a16="http://schemas.microsoft.com/office/drawing/2014/main" id="{62320D29-C890-3F79-C1CA-709FC0D2198A}"/>
                </a:ext>
              </a:extLst>
            </p:cNvPr>
            <p:cNvSpPr/>
            <p:nvPr userDrawn="1"/>
          </p:nvSpPr>
          <p:spPr bwMode="gray">
            <a:xfrm>
              <a:off x="665406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54" name="Rechteck 453">
              <a:extLst>
                <a:ext uri="{FF2B5EF4-FFF2-40B4-BE49-F238E27FC236}">
                  <a16:creationId xmlns:a16="http://schemas.microsoft.com/office/drawing/2014/main" id="{18BD8EB4-8623-29C1-915A-3D2A50C0F9E8}"/>
                </a:ext>
              </a:extLst>
            </p:cNvPr>
            <p:cNvSpPr/>
            <p:nvPr userDrawn="1"/>
          </p:nvSpPr>
          <p:spPr bwMode="gray">
            <a:xfrm>
              <a:off x="607800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55" name="Rechteck 454">
              <a:extLst>
                <a:ext uri="{FF2B5EF4-FFF2-40B4-BE49-F238E27FC236}">
                  <a16:creationId xmlns:a16="http://schemas.microsoft.com/office/drawing/2014/main" id="{A39DFE0C-656A-DE80-C145-471906FEB86E}"/>
                </a:ext>
              </a:extLst>
            </p:cNvPr>
            <p:cNvSpPr/>
            <p:nvPr userDrawn="1"/>
          </p:nvSpPr>
          <p:spPr bwMode="gray">
            <a:xfrm>
              <a:off x="550193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56" name="Rechteck 455">
              <a:extLst>
                <a:ext uri="{FF2B5EF4-FFF2-40B4-BE49-F238E27FC236}">
                  <a16:creationId xmlns:a16="http://schemas.microsoft.com/office/drawing/2014/main" id="{76B56F8E-3075-318C-87D7-415D9575A13C}"/>
                </a:ext>
              </a:extLst>
            </p:cNvPr>
            <p:cNvSpPr/>
            <p:nvPr userDrawn="1"/>
          </p:nvSpPr>
          <p:spPr bwMode="gray">
            <a:xfrm>
              <a:off x="492587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57" name="Rechteck 456">
              <a:extLst>
                <a:ext uri="{FF2B5EF4-FFF2-40B4-BE49-F238E27FC236}">
                  <a16:creationId xmlns:a16="http://schemas.microsoft.com/office/drawing/2014/main" id="{7099021B-6ADC-73B8-3A29-669E22AB4399}"/>
                </a:ext>
              </a:extLst>
            </p:cNvPr>
            <p:cNvSpPr/>
            <p:nvPr userDrawn="1"/>
          </p:nvSpPr>
          <p:spPr bwMode="gray">
            <a:xfrm>
              <a:off x="434980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4" name="Rechteck 643">
              <a:extLst>
                <a:ext uri="{FF2B5EF4-FFF2-40B4-BE49-F238E27FC236}">
                  <a16:creationId xmlns:a16="http://schemas.microsoft.com/office/drawing/2014/main" id="{8E8FE5D4-0EB7-96E1-08E7-4F1B16EBB33A}"/>
                </a:ext>
              </a:extLst>
            </p:cNvPr>
            <p:cNvSpPr/>
            <p:nvPr userDrawn="1"/>
          </p:nvSpPr>
          <p:spPr bwMode="gray">
            <a:xfrm>
              <a:off x="377374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5" name="Rechteck 644">
              <a:extLst>
                <a:ext uri="{FF2B5EF4-FFF2-40B4-BE49-F238E27FC236}">
                  <a16:creationId xmlns:a16="http://schemas.microsoft.com/office/drawing/2014/main" id="{A60C5B67-358E-14EE-4FA7-480517FBAFB4}"/>
                </a:ext>
              </a:extLst>
            </p:cNvPr>
            <p:cNvSpPr/>
            <p:nvPr userDrawn="1"/>
          </p:nvSpPr>
          <p:spPr bwMode="gray">
            <a:xfrm>
              <a:off x="319768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6" name="Rechteck 645">
              <a:extLst>
                <a:ext uri="{FF2B5EF4-FFF2-40B4-BE49-F238E27FC236}">
                  <a16:creationId xmlns:a16="http://schemas.microsoft.com/office/drawing/2014/main" id="{B4A09DC8-0CE6-36BD-D875-B005F3971926}"/>
                </a:ext>
              </a:extLst>
            </p:cNvPr>
            <p:cNvSpPr/>
            <p:nvPr userDrawn="1"/>
          </p:nvSpPr>
          <p:spPr bwMode="gray">
            <a:xfrm>
              <a:off x="262161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7" name="Rechteck 646">
              <a:extLst>
                <a:ext uri="{FF2B5EF4-FFF2-40B4-BE49-F238E27FC236}">
                  <a16:creationId xmlns:a16="http://schemas.microsoft.com/office/drawing/2014/main" id="{7EDC3ED9-4D94-DC05-1A13-CF21EDC1E64C}"/>
                </a:ext>
              </a:extLst>
            </p:cNvPr>
            <p:cNvSpPr/>
            <p:nvPr userDrawn="1"/>
          </p:nvSpPr>
          <p:spPr bwMode="gray">
            <a:xfrm>
              <a:off x="204555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8" name="Rechteck 647">
              <a:extLst>
                <a:ext uri="{FF2B5EF4-FFF2-40B4-BE49-F238E27FC236}">
                  <a16:creationId xmlns:a16="http://schemas.microsoft.com/office/drawing/2014/main" id="{7ABECC60-99A1-3A8E-B432-9C5C426070BF}"/>
                </a:ext>
              </a:extLst>
            </p:cNvPr>
            <p:cNvSpPr/>
            <p:nvPr userDrawn="1"/>
          </p:nvSpPr>
          <p:spPr bwMode="gray">
            <a:xfrm>
              <a:off x="146948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9" name="Rechteck 648">
              <a:extLst>
                <a:ext uri="{FF2B5EF4-FFF2-40B4-BE49-F238E27FC236}">
                  <a16:creationId xmlns:a16="http://schemas.microsoft.com/office/drawing/2014/main" id="{B3A842FC-8CE9-85E9-6603-1CC4F2D1B7A0}"/>
                </a:ext>
              </a:extLst>
            </p:cNvPr>
            <p:cNvSpPr/>
            <p:nvPr userDrawn="1"/>
          </p:nvSpPr>
          <p:spPr bwMode="gray">
            <a:xfrm>
              <a:off x="89342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0" name="Rechteck 649">
              <a:extLst>
                <a:ext uri="{FF2B5EF4-FFF2-40B4-BE49-F238E27FC236}">
                  <a16:creationId xmlns:a16="http://schemas.microsoft.com/office/drawing/2014/main" id="{DA7B7322-E2AF-381E-3EBE-F9C20D63FF58}"/>
                </a:ext>
              </a:extLst>
            </p:cNvPr>
            <p:cNvSpPr/>
            <p:nvPr userDrawn="1"/>
          </p:nvSpPr>
          <p:spPr bwMode="gray">
            <a:xfrm>
              <a:off x="31736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1" name="Rechteck 650">
              <a:extLst>
                <a:ext uri="{FF2B5EF4-FFF2-40B4-BE49-F238E27FC236}">
                  <a16:creationId xmlns:a16="http://schemas.microsoft.com/office/drawing/2014/main" id="{EC1F45C1-1677-0917-B365-708531B72AA6}"/>
                </a:ext>
              </a:extLst>
            </p:cNvPr>
            <p:cNvSpPr/>
            <p:nvPr userDrawn="1"/>
          </p:nvSpPr>
          <p:spPr bwMode="gray">
            <a:xfrm>
              <a:off x="1126257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2" name="Rechteck 651">
              <a:extLst>
                <a:ext uri="{FF2B5EF4-FFF2-40B4-BE49-F238E27FC236}">
                  <a16:creationId xmlns:a16="http://schemas.microsoft.com/office/drawing/2014/main" id="{50A4A50F-31EC-FBCF-9140-5DBDB846C553}"/>
                </a:ext>
              </a:extLst>
            </p:cNvPr>
            <p:cNvSpPr/>
            <p:nvPr userDrawn="1"/>
          </p:nvSpPr>
          <p:spPr bwMode="gray">
            <a:xfrm>
              <a:off x="1068651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3" name="Rechteck 652">
              <a:extLst>
                <a:ext uri="{FF2B5EF4-FFF2-40B4-BE49-F238E27FC236}">
                  <a16:creationId xmlns:a16="http://schemas.microsoft.com/office/drawing/2014/main" id="{84C76EFD-3633-98AA-A442-2D8C5AB6FCFD}"/>
                </a:ext>
              </a:extLst>
            </p:cNvPr>
            <p:cNvSpPr/>
            <p:nvPr userDrawn="1"/>
          </p:nvSpPr>
          <p:spPr bwMode="gray">
            <a:xfrm>
              <a:off x="1011044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4" name="Rechteck 653">
              <a:extLst>
                <a:ext uri="{FF2B5EF4-FFF2-40B4-BE49-F238E27FC236}">
                  <a16:creationId xmlns:a16="http://schemas.microsoft.com/office/drawing/2014/main" id="{5DE99BB2-D190-A188-CF7B-DE8887FCAFFA}"/>
                </a:ext>
              </a:extLst>
            </p:cNvPr>
            <p:cNvSpPr/>
            <p:nvPr userDrawn="1"/>
          </p:nvSpPr>
          <p:spPr bwMode="gray">
            <a:xfrm>
              <a:off x="953438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5" name="Rechteck 654">
              <a:extLst>
                <a:ext uri="{FF2B5EF4-FFF2-40B4-BE49-F238E27FC236}">
                  <a16:creationId xmlns:a16="http://schemas.microsoft.com/office/drawing/2014/main" id="{5779E240-142B-5A3B-D29F-762991079402}"/>
                </a:ext>
              </a:extLst>
            </p:cNvPr>
            <p:cNvSpPr/>
            <p:nvPr userDrawn="1"/>
          </p:nvSpPr>
          <p:spPr bwMode="gray">
            <a:xfrm>
              <a:off x="895832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6" name="Rechteck 655">
              <a:extLst>
                <a:ext uri="{FF2B5EF4-FFF2-40B4-BE49-F238E27FC236}">
                  <a16:creationId xmlns:a16="http://schemas.microsoft.com/office/drawing/2014/main" id="{7DF3EF50-64C3-0521-419E-0A34DE091838}"/>
                </a:ext>
              </a:extLst>
            </p:cNvPr>
            <p:cNvSpPr/>
            <p:nvPr userDrawn="1"/>
          </p:nvSpPr>
          <p:spPr bwMode="gray">
            <a:xfrm>
              <a:off x="838225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7" name="Rechteck 656">
              <a:extLst>
                <a:ext uri="{FF2B5EF4-FFF2-40B4-BE49-F238E27FC236}">
                  <a16:creationId xmlns:a16="http://schemas.microsoft.com/office/drawing/2014/main" id="{B0D7530B-72EC-D3B4-90E2-2D6E1B271C7A}"/>
                </a:ext>
              </a:extLst>
            </p:cNvPr>
            <p:cNvSpPr/>
            <p:nvPr userDrawn="1"/>
          </p:nvSpPr>
          <p:spPr bwMode="gray">
            <a:xfrm>
              <a:off x="780619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8" name="Rechteck 657">
              <a:extLst>
                <a:ext uri="{FF2B5EF4-FFF2-40B4-BE49-F238E27FC236}">
                  <a16:creationId xmlns:a16="http://schemas.microsoft.com/office/drawing/2014/main" id="{80E6E29A-5D6B-0C1F-2DC5-C0DB2565B266}"/>
                </a:ext>
              </a:extLst>
            </p:cNvPr>
            <p:cNvSpPr/>
            <p:nvPr userDrawn="1"/>
          </p:nvSpPr>
          <p:spPr bwMode="gray">
            <a:xfrm>
              <a:off x="723012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9" name="Rechteck 658">
              <a:extLst>
                <a:ext uri="{FF2B5EF4-FFF2-40B4-BE49-F238E27FC236}">
                  <a16:creationId xmlns:a16="http://schemas.microsoft.com/office/drawing/2014/main" id="{6253B98A-C2FC-F7AC-D28E-FDDEBDF1C5B5}"/>
                </a:ext>
              </a:extLst>
            </p:cNvPr>
            <p:cNvSpPr/>
            <p:nvPr userDrawn="1"/>
          </p:nvSpPr>
          <p:spPr bwMode="gray">
            <a:xfrm>
              <a:off x="665406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0" name="Rechteck 659">
              <a:extLst>
                <a:ext uri="{FF2B5EF4-FFF2-40B4-BE49-F238E27FC236}">
                  <a16:creationId xmlns:a16="http://schemas.microsoft.com/office/drawing/2014/main" id="{9984C8AB-B7F7-76AA-D39C-D02FD0EC7A32}"/>
                </a:ext>
              </a:extLst>
            </p:cNvPr>
            <p:cNvSpPr/>
            <p:nvPr userDrawn="1"/>
          </p:nvSpPr>
          <p:spPr bwMode="gray">
            <a:xfrm>
              <a:off x="607800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1" name="Rechteck 660">
              <a:extLst>
                <a:ext uri="{FF2B5EF4-FFF2-40B4-BE49-F238E27FC236}">
                  <a16:creationId xmlns:a16="http://schemas.microsoft.com/office/drawing/2014/main" id="{6A058027-50E5-A9B4-1BF2-5060149E18DC}"/>
                </a:ext>
              </a:extLst>
            </p:cNvPr>
            <p:cNvSpPr/>
            <p:nvPr userDrawn="1"/>
          </p:nvSpPr>
          <p:spPr bwMode="gray">
            <a:xfrm>
              <a:off x="550193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2" name="Rechteck 661">
              <a:extLst>
                <a:ext uri="{FF2B5EF4-FFF2-40B4-BE49-F238E27FC236}">
                  <a16:creationId xmlns:a16="http://schemas.microsoft.com/office/drawing/2014/main" id="{98FBD54A-F54C-29E1-5108-09E00A4269B9}"/>
                </a:ext>
              </a:extLst>
            </p:cNvPr>
            <p:cNvSpPr/>
            <p:nvPr userDrawn="1"/>
          </p:nvSpPr>
          <p:spPr bwMode="gray">
            <a:xfrm>
              <a:off x="492587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3" name="Rechteck 662">
              <a:extLst>
                <a:ext uri="{FF2B5EF4-FFF2-40B4-BE49-F238E27FC236}">
                  <a16:creationId xmlns:a16="http://schemas.microsoft.com/office/drawing/2014/main" id="{6EDAAAE1-AA61-1362-CECC-3D5EE27A32FC}"/>
                </a:ext>
              </a:extLst>
            </p:cNvPr>
            <p:cNvSpPr/>
            <p:nvPr userDrawn="1"/>
          </p:nvSpPr>
          <p:spPr bwMode="gray">
            <a:xfrm>
              <a:off x="434980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4" name="Rechteck 663">
              <a:extLst>
                <a:ext uri="{FF2B5EF4-FFF2-40B4-BE49-F238E27FC236}">
                  <a16:creationId xmlns:a16="http://schemas.microsoft.com/office/drawing/2014/main" id="{9A096197-71CE-0844-41D0-A46DC238ACC0}"/>
                </a:ext>
              </a:extLst>
            </p:cNvPr>
            <p:cNvSpPr/>
            <p:nvPr userDrawn="1"/>
          </p:nvSpPr>
          <p:spPr bwMode="gray">
            <a:xfrm>
              <a:off x="377374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5" name="Rechteck 664">
              <a:extLst>
                <a:ext uri="{FF2B5EF4-FFF2-40B4-BE49-F238E27FC236}">
                  <a16:creationId xmlns:a16="http://schemas.microsoft.com/office/drawing/2014/main" id="{9BAC1024-A3AA-DA30-6638-91CB96C75E2D}"/>
                </a:ext>
              </a:extLst>
            </p:cNvPr>
            <p:cNvSpPr/>
            <p:nvPr userDrawn="1"/>
          </p:nvSpPr>
          <p:spPr bwMode="gray">
            <a:xfrm>
              <a:off x="319768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6" name="Rechteck 665">
              <a:extLst>
                <a:ext uri="{FF2B5EF4-FFF2-40B4-BE49-F238E27FC236}">
                  <a16:creationId xmlns:a16="http://schemas.microsoft.com/office/drawing/2014/main" id="{27954658-2F67-8A3E-E295-5AE0BB5709CE}"/>
                </a:ext>
              </a:extLst>
            </p:cNvPr>
            <p:cNvSpPr/>
            <p:nvPr userDrawn="1"/>
          </p:nvSpPr>
          <p:spPr bwMode="gray">
            <a:xfrm>
              <a:off x="262161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7" name="Rechteck 666">
              <a:extLst>
                <a:ext uri="{FF2B5EF4-FFF2-40B4-BE49-F238E27FC236}">
                  <a16:creationId xmlns:a16="http://schemas.microsoft.com/office/drawing/2014/main" id="{46E72F9C-219A-FF20-1A92-D57F35DA0BA0}"/>
                </a:ext>
              </a:extLst>
            </p:cNvPr>
            <p:cNvSpPr/>
            <p:nvPr userDrawn="1"/>
          </p:nvSpPr>
          <p:spPr bwMode="gray">
            <a:xfrm>
              <a:off x="204555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8" name="Rechteck 667">
              <a:extLst>
                <a:ext uri="{FF2B5EF4-FFF2-40B4-BE49-F238E27FC236}">
                  <a16:creationId xmlns:a16="http://schemas.microsoft.com/office/drawing/2014/main" id="{B1F0B7B2-9256-4FB1-ECCB-3D5CD7439428}"/>
                </a:ext>
              </a:extLst>
            </p:cNvPr>
            <p:cNvSpPr/>
            <p:nvPr userDrawn="1"/>
          </p:nvSpPr>
          <p:spPr bwMode="gray">
            <a:xfrm>
              <a:off x="146948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9" name="Rechteck 668">
              <a:extLst>
                <a:ext uri="{FF2B5EF4-FFF2-40B4-BE49-F238E27FC236}">
                  <a16:creationId xmlns:a16="http://schemas.microsoft.com/office/drawing/2014/main" id="{F424F12F-F7D7-E4F7-D296-F1E66F512AE0}"/>
                </a:ext>
              </a:extLst>
            </p:cNvPr>
            <p:cNvSpPr/>
            <p:nvPr userDrawn="1"/>
          </p:nvSpPr>
          <p:spPr bwMode="gray">
            <a:xfrm>
              <a:off x="89342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0" name="Rechteck 669">
              <a:extLst>
                <a:ext uri="{FF2B5EF4-FFF2-40B4-BE49-F238E27FC236}">
                  <a16:creationId xmlns:a16="http://schemas.microsoft.com/office/drawing/2014/main" id="{8EAA27A1-ABA7-7824-3AAE-E30598AB2124}"/>
                </a:ext>
              </a:extLst>
            </p:cNvPr>
            <p:cNvSpPr/>
            <p:nvPr userDrawn="1"/>
          </p:nvSpPr>
          <p:spPr bwMode="gray">
            <a:xfrm>
              <a:off x="31736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1" name="Rechteck 670">
              <a:extLst>
                <a:ext uri="{FF2B5EF4-FFF2-40B4-BE49-F238E27FC236}">
                  <a16:creationId xmlns:a16="http://schemas.microsoft.com/office/drawing/2014/main" id="{C34E7599-8AF7-4FEC-68B1-3402BDD6D856}"/>
                </a:ext>
              </a:extLst>
            </p:cNvPr>
            <p:cNvSpPr/>
            <p:nvPr userDrawn="1"/>
          </p:nvSpPr>
          <p:spPr bwMode="gray">
            <a:xfrm>
              <a:off x="1126257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2" name="Rechteck 671">
              <a:extLst>
                <a:ext uri="{FF2B5EF4-FFF2-40B4-BE49-F238E27FC236}">
                  <a16:creationId xmlns:a16="http://schemas.microsoft.com/office/drawing/2014/main" id="{B0D2F336-CA2A-2193-1BC7-3C54952CFACF}"/>
                </a:ext>
              </a:extLst>
            </p:cNvPr>
            <p:cNvSpPr/>
            <p:nvPr userDrawn="1"/>
          </p:nvSpPr>
          <p:spPr bwMode="gray">
            <a:xfrm>
              <a:off x="1068651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3" name="Rechteck 672">
              <a:extLst>
                <a:ext uri="{FF2B5EF4-FFF2-40B4-BE49-F238E27FC236}">
                  <a16:creationId xmlns:a16="http://schemas.microsoft.com/office/drawing/2014/main" id="{D073002A-F875-EEDC-4EB6-EF997A284DDA}"/>
                </a:ext>
              </a:extLst>
            </p:cNvPr>
            <p:cNvSpPr/>
            <p:nvPr userDrawn="1"/>
          </p:nvSpPr>
          <p:spPr bwMode="gray">
            <a:xfrm>
              <a:off x="1011044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4" name="Rechteck 673">
              <a:extLst>
                <a:ext uri="{FF2B5EF4-FFF2-40B4-BE49-F238E27FC236}">
                  <a16:creationId xmlns:a16="http://schemas.microsoft.com/office/drawing/2014/main" id="{F8138724-4632-2DB7-FA2D-7F0357DF5720}"/>
                </a:ext>
              </a:extLst>
            </p:cNvPr>
            <p:cNvSpPr/>
            <p:nvPr userDrawn="1"/>
          </p:nvSpPr>
          <p:spPr bwMode="gray">
            <a:xfrm>
              <a:off x="953438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5" name="Rechteck 674">
              <a:extLst>
                <a:ext uri="{FF2B5EF4-FFF2-40B4-BE49-F238E27FC236}">
                  <a16:creationId xmlns:a16="http://schemas.microsoft.com/office/drawing/2014/main" id="{2D2CD9BA-1A94-56DF-8CFA-A97A83254D29}"/>
                </a:ext>
              </a:extLst>
            </p:cNvPr>
            <p:cNvSpPr/>
            <p:nvPr userDrawn="1"/>
          </p:nvSpPr>
          <p:spPr bwMode="gray">
            <a:xfrm>
              <a:off x="895832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6" name="Rechteck 675">
              <a:extLst>
                <a:ext uri="{FF2B5EF4-FFF2-40B4-BE49-F238E27FC236}">
                  <a16:creationId xmlns:a16="http://schemas.microsoft.com/office/drawing/2014/main" id="{7C79B6F2-54E2-3C33-65BC-1875013AD61F}"/>
                </a:ext>
              </a:extLst>
            </p:cNvPr>
            <p:cNvSpPr/>
            <p:nvPr userDrawn="1"/>
          </p:nvSpPr>
          <p:spPr bwMode="gray">
            <a:xfrm>
              <a:off x="838225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7" name="Rechteck 676">
              <a:extLst>
                <a:ext uri="{FF2B5EF4-FFF2-40B4-BE49-F238E27FC236}">
                  <a16:creationId xmlns:a16="http://schemas.microsoft.com/office/drawing/2014/main" id="{65E4504F-B5EF-BDF9-DD5A-DCA3D696CA83}"/>
                </a:ext>
              </a:extLst>
            </p:cNvPr>
            <p:cNvSpPr/>
            <p:nvPr userDrawn="1"/>
          </p:nvSpPr>
          <p:spPr bwMode="gray">
            <a:xfrm>
              <a:off x="780619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8" name="Rechteck 677">
              <a:extLst>
                <a:ext uri="{FF2B5EF4-FFF2-40B4-BE49-F238E27FC236}">
                  <a16:creationId xmlns:a16="http://schemas.microsoft.com/office/drawing/2014/main" id="{3C212384-F966-94CF-A5F3-A9F6605EAA0A}"/>
                </a:ext>
              </a:extLst>
            </p:cNvPr>
            <p:cNvSpPr/>
            <p:nvPr userDrawn="1"/>
          </p:nvSpPr>
          <p:spPr bwMode="gray">
            <a:xfrm>
              <a:off x="723012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9" name="Rechteck 678">
              <a:extLst>
                <a:ext uri="{FF2B5EF4-FFF2-40B4-BE49-F238E27FC236}">
                  <a16:creationId xmlns:a16="http://schemas.microsoft.com/office/drawing/2014/main" id="{ED44795D-30E4-B4C1-87C3-5BA33D5E2238}"/>
                </a:ext>
              </a:extLst>
            </p:cNvPr>
            <p:cNvSpPr/>
            <p:nvPr userDrawn="1"/>
          </p:nvSpPr>
          <p:spPr bwMode="gray">
            <a:xfrm>
              <a:off x="665406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0" name="Rechteck 679">
              <a:extLst>
                <a:ext uri="{FF2B5EF4-FFF2-40B4-BE49-F238E27FC236}">
                  <a16:creationId xmlns:a16="http://schemas.microsoft.com/office/drawing/2014/main" id="{D1EA4F25-7E1D-7C78-685B-4D8DFBFAFD69}"/>
                </a:ext>
              </a:extLst>
            </p:cNvPr>
            <p:cNvSpPr/>
            <p:nvPr userDrawn="1"/>
          </p:nvSpPr>
          <p:spPr bwMode="gray">
            <a:xfrm>
              <a:off x="607800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1" name="Rechteck 680">
              <a:extLst>
                <a:ext uri="{FF2B5EF4-FFF2-40B4-BE49-F238E27FC236}">
                  <a16:creationId xmlns:a16="http://schemas.microsoft.com/office/drawing/2014/main" id="{AF63D508-7642-BD4D-326D-088EB0B5D63A}"/>
                </a:ext>
              </a:extLst>
            </p:cNvPr>
            <p:cNvSpPr/>
            <p:nvPr userDrawn="1"/>
          </p:nvSpPr>
          <p:spPr bwMode="gray">
            <a:xfrm>
              <a:off x="550193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2" name="Rechteck 681">
              <a:extLst>
                <a:ext uri="{FF2B5EF4-FFF2-40B4-BE49-F238E27FC236}">
                  <a16:creationId xmlns:a16="http://schemas.microsoft.com/office/drawing/2014/main" id="{DBFB793B-46CD-B651-4079-42CBF284A3A0}"/>
                </a:ext>
              </a:extLst>
            </p:cNvPr>
            <p:cNvSpPr/>
            <p:nvPr userDrawn="1"/>
          </p:nvSpPr>
          <p:spPr bwMode="gray">
            <a:xfrm>
              <a:off x="492587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3" name="Rechteck 682">
              <a:extLst>
                <a:ext uri="{FF2B5EF4-FFF2-40B4-BE49-F238E27FC236}">
                  <a16:creationId xmlns:a16="http://schemas.microsoft.com/office/drawing/2014/main" id="{676BEC22-B6D2-664A-1C01-EF3150CB903F}"/>
                </a:ext>
              </a:extLst>
            </p:cNvPr>
            <p:cNvSpPr/>
            <p:nvPr userDrawn="1"/>
          </p:nvSpPr>
          <p:spPr bwMode="gray">
            <a:xfrm>
              <a:off x="434980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4" name="Rechteck 683">
              <a:extLst>
                <a:ext uri="{FF2B5EF4-FFF2-40B4-BE49-F238E27FC236}">
                  <a16:creationId xmlns:a16="http://schemas.microsoft.com/office/drawing/2014/main" id="{87E18572-03D5-E300-4A12-2FA2E7D658B8}"/>
                </a:ext>
              </a:extLst>
            </p:cNvPr>
            <p:cNvSpPr/>
            <p:nvPr userDrawn="1"/>
          </p:nvSpPr>
          <p:spPr bwMode="gray">
            <a:xfrm>
              <a:off x="377374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5" name="Rechteck 684">
              <a:extLst>
                <a:ext uri="{FF2B5EF4-FFF2-40B4-BE49-F238E27FC236}">
                  <a16:creationId xmlns:a16="http://schemas.microsoft.com/office/drawing/2014/main" id="{35D72595-8878-87D2-919B-38AD660CFF66}"/>
                </a:ext>
              </a:extLst>
            </p:cNvPr>
            <p:cNvSpPr/>
            <p:nvPr userDrawn="1"/>
          </p:nvSpPr>
          <p:spPr bwMode="gray">
            <a:xfrm>
              <a:off x="319768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6" name="Rechteck 685">
              <a:extLst>
                <a:ext uri="{FF2B5EF4-FFF2-40B4-BE49-F238E27FC236}">
                  <a16:creationId xmlns:a16="http://schemas.microsoft.com/office/drawing/2014/main" id="{D3CAB2D9-997B-12B0-2A5A-91522C3FF170}"/>
                </a:ext>
              </a:extLst>
            </p:cNvPr>
            <p:cNvSpPr/>
            <p:nvPr userDrawn="1"/>
          </p:nvSpPr>
          <p:spPr bwMode="gray">
            <a:xfrm>
              <a:off x="262161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7" name="Rechteck 686">
              <a:extLst>
                <a:ext uri="{FF2B5EF4-FFF2-40B4-BE49-F238E27FC236}">
                  <a16:creationId xmlns:a16="http://schemas.microsoft.com/office/drawing/2014/main" id="{74E6F77E-5B7C-2E64-6FCA-30A5DC10DE2C}"/>
                </a:ext>
              </a:extLst>
            </p:cNvPr>
            <p:cNvSpPr/>
            <p:nvPr userDrawn="1"/>
          </p:nvSpPr>
          <p:spPr bwMode="gray">
            <a:xfrm>
              <a:off x="204555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8" name="Rechteck 687">
              <a:extLst>
                <a:ext uri="{FF2B5EF4-FFF2-40B4-BE49-F238E27FC236}">
                  <a16:creationId xmlns:a16="http://schemas.microsoft.com/office/drawing/2014/main" id="{27CC7125-1BAE-6097-CEBC-A02D054FFC09}"/>
                </a:ext>
              </a:extLst>
            </p:cNvPr>
            <p:cNvSpPr/>
            <p:nvPr userDrawn="1"/>
          </p:nvSpPr>
          <p:spPr bwMode="gray">
            <a:xfrm>
              <a:off x="146948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9" name="Rechteck 688">
              <a:extLst>
                <a:ext uri="{FF2B5EF4-FFF2-40B4-BE49-F238E27FC236}">
                  <a16:creationId xmlns:a16="http://schemas.microsoft.com/office/drawing/2014/main" id="{9D7B5CFB-7258-DAD3-9B10-3E64BB73EF28}"/>
                </a:ext>
              </a:extLst>
            </p:cNvPr>
            <p:cNvSpPr/>
            <p:nvPr userDrawn="1"/>
          </p:nvSpPr>
          <p:spPr bwMode="gray">
            <a:xfrm>
              <a:off x="89342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0" name="Rechteck 689">
              <a:extLst>
                <a:ext uri="{FF2B5EF4-FFF2-40B4-BE49-F238E27FC236}">
                  <a16:creationId xmlns:a16="http://schemas.microsoft.com/office/drawing/2014/main" id="{43787BF0-E845-3E22-C348-E7333B517E23}"/>
                </a:ext>
              </a:extLst>
            </p:cNvPr>
            <p:cNvSpPr/>
            <p:nvPr userDrawn="1"/>
          </p:nvSpPr>
          <p:spPr bwMode="gray">
            <a:xfrm>
              <a:off x="31736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1" name="Rechteck 690">
              <a:extLst>
                <a:ext uri="{FF2B5EF4-FFF2-40B4-BE49-F238E27FC236}">
                  <a16:creationId xmlns:a16="http://schemas.microsoft.com/office/drawing/2014/main" id="{D83F9A5C-556C-5686-A837-8D16AEF9C029}"/>
                </a:ext>
              </a:extLst>
            </p:cNvPr>
            <p:cNvSpPr/>
            <p:nvPr userDrawn="1"/>
          </p:nvSpPr>
          <p:spPr bwMode="gray">
            <a:xfrm>
              <a:off x="1126257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2" name="Rechteck 691">
              <a:extLst>
                <a:ext uri="{FF2B5EF4-FFF2-40B4-BE49-F238E27FC236}">
                  <a16:creationId xmlns:a16="http://schemas.microsoft.com/office/drawing/2014/main" id="{C67B3110-8690-6365-8BE6-FE5AD9D334C8}"/>
                </a:ext>
              </a:extLst>
            </p:cNvPr>
            <p:cNvSpPr/>
            <p:nvPr userDrawn="1"/>
          </p:nvSpPr>
          <p:spPr bwMode="gray">
            <a:xfrm>
              <a:off x="1068651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3" name="Rechteck 692">
              <a:extLst>
                <a:ext uri="{FF2B5EF4-FFF2-40B4-BE49-F238E27FC236}">
                  <a16:creationId xmlns:a16="http://schemas.microsoft.com/office/drawing/2014/main" id="{16371B9B-82E3-36BE-28D4-418C8A3F8723}"/>
                </a:ext>
              </a:extLst>
            </p:cNvPr>
            <p:cNvSpPr/>
            <p:nvPr userDrawn="1"/>
          </p:nvSpPr>
          <p:spPr bwMode="gray">
            <a:xfrm>
              <a:off x="1011044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4" name="Rechteck 693">
              <a:extLst>
                <a:ext uri="{FF2B5EF4-FFF2-40B4-BE49-F238E27FC236}">
                  <a16:creationId xmlns:a16="http://schemas.microsoft.com/office/drawing/2014/main" id="{F46749CC-D382-4700-C143-5E7CFE6DB114}"/>
                </a:ext>
              </a:extLst>
            </p:cNvPr>
            <p:cNvSpPr/>
            <p:nvPr userDrawn="1"/>
          </p:nvSpPr>
          <p:spPr bwMode="gray">
            <a:xfrm>
              <a:off x="953438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5" name="Rechteck 694">
              <a:extLst>
                <a:ext uri="{FF2B5EF4-FFF2-40B4-BE49-F238E27FC236}">
                  <a16:creationId xmlns:a16="http://schemas.microsoft.com/office/drawing/2014/main" id="{FDD07DA5-8965-5A12-2B46-D97986402E1F}"/>
                </a:ext>
              </a:extLst>
            </p:cNvPr>
            <p:cNvSpPr/>
            <p:nvPr userDrawn="1"/>
          </p:nvSpPr>
          <p:spPr bwMode="gray">
            <a:xfrm>
              <a:off x="895832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6" name="Rechteck 695">
              <a:extLst>
                <a:ext uri="{FF2B5EF4-FFF2-40B4-BE49-F238E27FC236}">
                  <a16:creationId xmlns:a16="http://schemas.microsoft.com/office/drawing/2014/main" id="{BFBD31BF-21A0-8C08-7846-4C6E3550D334}"/>
                </a:ext>
              </a:extLst>
            </p:cNvPr>
            <p:cNvSpPr/>
            <p:nvPr userDrawn="1"/>
          </p:nvSpPr>
          <p:spPr bwMode="gray">
            <a:xfrm>
              <a:off x="838225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7" name="Rechteck 696">
              <a:extLst>
                <a:ext uri="{FF2B5EF4-FFF2-40B4-BE49-F238E27FC236}">
                  <a16:creationId xmlns:a16="http://schemas.microsoft.com/office/drawing/2014/main" id="{E702ABEE-AFDE-FCB9-DC6D-4C548A32C549}"/>
                </a:ext>
              </a:extLst>
            </p:cNvPr>
            <p:cNvSpPr/>
            <p:nvPr userDrawn="1"/>
          </p:nvSpPr>
          <p:spPr bwMode="gray">
            <a:xfrm>
              <a:off x="780619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8" name="Rechteck 697">
              <a:extLst>
                <a:ext uri="{FF2B5EF4-FFF2-40B4-BE49-F238E27FC236}">
                  <a16:creationId xmlns:a16="http://schemas.microsoft.com/office/drawing/2014/main" id="{57D26C21-34A9-14F8-1EBE-6BEA872B7EC6}"/>
                </a:ext>
              </a:extLst>
            </p:cNvPr>
            <p:cNvSpPr/>
            <p:nvPr userDrawn="1"/>
          </p:nvSpPr>
          <p:spPr bwMode="gray">
            <a:xfrm>
              <a:off x="723012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9" name="Rechteck 698">
              <a:extLst>
                <a:ext uri="{FF2B5EF4-FFF2-40B4-BE49-F238E27FC236}">
                  <a16:creationId xmlns:a16="http://schemas.microsoft.com/office/drawing/2014/main" id="{3011720A-B02A-1F24-D94C-A7397307D93B}"/>
                </a:ext>
              </a:extLst>
            </p:cNvPr>
            <p:cNvSpPr/>
            <p:nvPr userDrawn="1"/>
          </p:nvSpPr>
          <p:spPr bwMode="gray">
            <a:xfrm>
              <a:off x="665406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0" name="Rechteck 699">
              <a:extLst>
                <a:ext uri="{FF2B5EF4-FFF2-40B4-BE49-F238E27FC236}">
                  <a16:creationId xmlns:a16="http://schemas.microsoft.com/office/drawing/2014/main" id="{2E9FD90D-3AFA-EEEE-D410-56A8E2D55BA7}"/>
                </a:ext>
              </a:extLst>
            </p:cNvPr>
            <p:cNvSpPr/>
            <p:nvPr userDrawn="1"/>
          </p:nvSpPr>
          <p:spPr bwMode="gray">
            <a:xfrm>
              <a:off x="607800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1" name="Rechteck 700">
              <a:extLst>
                <a:ext uri="{FF2B5EF4-FFF2-40B4-BE49-F238E27FC236}">
                  <a16:creationId xmlns:a16="http://schemas.microsoft.com/office/drawing/2014/main" id="{6FCC2FBF-958C-7735-0A1C-16A56435300D}"/>
                </a:ext>
              </a:extLst>
            </p:cNvPr>
            <p:cNvSpPr/>
            <p:nvPr userDrawn="1"/>
          </p:nvSpPr>
          <p:spPr bwMode="gray">
            <a:xfrm>
              <a:off x="550193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2" name="Rechteck 701">
              <a:extLst>
                <a:ext uri="{FF2B5EF4-FFF2-40B4-BE49-F238E27FC236}">
                  <a16:creationId xmlns:a16="http://schemas.microsoft.com/office/drawing/2014/main" id="{3D9D4B3E-434E-ECCC-A3D5-132211A0DE6A}"/>
                </a:ext>
              </a:extLst>
            </p:cNvPr>
            <p:cNvSpPr/>
            <p:nvPr userDrawn="1"/>
          </p:nvSpPr>
          <p:spPr bwMode="gray">
            <a:xfrm>
              <a:off x="492587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3" name="Rechteck 702">
              <a:extLst>
                <a:ext uri="{FF2B5EF4-FFF2-40B4-BE49-F238E27FC236}">
                  <a16:creationId xmlns:a16="http://schemas.microsoft.com/office/drawing/2014/main" id="{45D248EB-65FC-9849-23DE-90DAA04E9119}"/>
                </a:ext>
              </a:extLst>
            </p:cNvPr>
            <p:cNvSpPr/>
            <p:nvPr userDrawn="1"/>
          </p:nvSpPr>
          <p:spPr bwMode="gray">
            <a:xfrm>
              <a:off x="434980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4" name="Rechteck 703">
              <a:extLst>
                <a:ext uri="{FF2B5EF4-FFF2-40B4-BE49-F238E27FC236}">
                  <a16:creationId xmlns:a16="http://schemas.microsoft.com/office/drawing/2014/main" id="{96F47919-304A-390F-A714-2F83255EEB6A}"/>
                </a:ext>
              </a:extLst>
            </p:cNvPr>
            <p:cNvSpPr/>
            <p:nvPr userDrawn="1"/>
          </p:nvSpPr>
          <p:spPr bwMode="gray">
            <a:xfrm>
              <a:off x="377374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5" name="Rechteck 704">
              <a:extLst>
                <a:ext uri="{FF2B5EF4-FFF2-40B4-BE49-F238E27FC236}">
                  <a16:creationId xmlns:a16="http://schemas.microsoft.com/office/drawing/2014/main" id="{3BFC90F8-328B-5CFC-949C-6F43624417D7}"/>
                </a:ext>
              </a:extLst>
            </p:cNvPr>
            <p:cNvSpPr/>
            <p:nvPr userDrawn="1"/>
          </p:nvSpPr>
          <p:spPr bwMode="gray">
            <a:xfrm>
              <a:off x="319768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6" name="Rechteck 705">
              <a:extLst>
                <a:ext uri="{FF2B5EF4-FFF2-40B4-BE49-F238E27FC236}">
                  <a16:creationId xmlns:a16="http://schemas.microsoft.com/office/drawing/2014/main" id="{D9E9C03E-129D-B797-8A98-7094D02C4E00}"/>
                </a:ext>
              </a:extLst>
            </p:cNvPr>
            <p:cNvSpPr/>
            <p:nvPr userDrawn="1"/>
          </p:nvSpPr>
          <p:spPr bwMode="gray">
            <a:xfrm>
              <a:off x="262161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7" name="Rechteck 706">
              <a:extLst>
                <a:ext uri="{FF2B5EF4-FFF2-40B4-BE49-F238E27FC236}">
                  <a16:creationId xmlns:a16="http://schemas.microsoft.com/office/drawing/2014/main" id="{76EA08EF-3571-3BD0-BC82-8EAECCFD1C87}"/>
                </a:ext>
              </a:extLst>
            </p:cNvPr>
            <p:cNvSpPr/>
            <p:nvPr userDrawn="1"/>
          </p:nvSpPr>
          <p:spPr bwMode="gray">
            <a:xfrm>
              <a:off x="204555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8" name="Rechteck 707">
              <a:extLst>
                <a:ext uri="{FF2B5EF4-FFF2-40B4-BE49-F238E27FC236}">
                  <a16:creationId xmlns:a16="http://schemas.microsoft.com/office/drawing/2014/main" id="{64E17A62-2A82-E3FC-BB4D-997A5897219C}"/>
                </a:ext>
              </a:extLst>
            </p:cNvPr>
            <p:cNvSpPr/>
            <p:nvPr userDrawn="1"/>
          </p:nvSpPr>
          <p:spPr bwMode="gray">
            <a:xfrm>
              <a:off x="146948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9" name="Rechteck 708">
              <a:extLst>
                <a:ext uri="{FF2B5EF4-FFF2-40B4-BE49-F238E27FC236}">
                  <a16:creationId xmlns:a16="http://schemas.microsoft.com/office/drawing/2014/main" id="{8068A110-BA33-3AAB-4C65-51F4707BE47C}"/>
                </a:ext>
              </a:extLst>
            </p:cNvPr>
            <p:cNvSpPr/>
            <p:nvPr userDrawn="1"/>
          </p:nvSpPr>
          <p:spPr bwMode="gray">
            <a:xfrm>
              <a:off x="89342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0" name="Rechteck 709">
              <a:extLst>
                <a:ext uri="{FF2B5EF4-FFF2-40B4-BE49-F238E27FC236}">
                  <a16:creationId xmlns:a16="http://schemas.microsoft.com/office/drawing/2014/main" id="{58A44D55-0C13-686B-EABD-0F964DCCA34F}"/>
                </a:ext>
              </a:extLst>
            </p:cNvPr>
            <p:cNvSpPr/>
            <p:nvPr userDrawn="1"/>
          </p:nvSpPr>
          <p:spPr bwMode="gray">
            <a:xfrm>
              <a:off x="31736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1" name="Rechteck 710">
              <a:extLst>
                <a:ext uri="{FF2B5EF4-FFF2-40B4-BE49-F238E27FC236}">
                  <a16:creationId xmlns:a16="http://schemas.microsoft.com/office/drawing/2014/main" id="{B6282360-48A5-1FEC-8830-3A07CCCD8A2C}"/>
                </a:ext>
              </a:extLst>
            </p:cNvPr>
            <p:cNvSpPr/>
            <p:nvPr userDrawn="1"/>
          </p:nvSpPr>
          <p:spPr bwMode="gray">
            <a:xfrm>
              <a:off x="1126257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2" name="Rechteck 711">
              <a:extLst>
                <a:ext uri="{FF2B5EF4-FFF2-40B4-BE49-F238E27FC236}">
                  <a16:creationId xmlns:a16="http://schemas.microsoft.com/office/drawing/2014/main" id="{BF47F399-F039-2E26-AA7F-39FA37B35966}"/>
                </a:ext>
              </a:extLst>
            </p:cNvPr>
            <p:cNvSpPr/>
            <p:nvPr userDrawn="1"/>
          </p:nvSpPr>
          <p:spPr bwMode="gray">
            <a:xfrm>
              <a:off x="1068651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3" name="Rechteck 712">
              <a:extLst>
                <a:ext uri="{FF2B5EF4-FFF2-40B4-BE49-F238E27FC236}">
                  <a16:creationId xmlns:a16="http://schemas.microsoft.com/office/drawing/2014/main" id="{19C9502A-EEA0-43B5-CA3C-850FFF3BF11B}"/>
                </a:ext>
              </a:extLst>
            </p:cNvPr>
            <p:cNvSpPr/>
            <p:nvPr userDrawn="1"/>
          </p:nvSpPr>
          <p:spPr bwMode="gray">
            <a:xfrm>
              <a:off x="1011044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4" name="Rechteck 713">
              <a:extLst>
                <a:ext uri="{FF2B5EF4-FFF2-40B4-BE49-F238E27FC236}">
                  <a16:creationId xmlns:a16="http://schemas.microsoft.com/office/drawing/2014/main" id="{EAA1F086-1034-F7F8-6323-4F64FA54D52E}"/>
                </a:ext>
              </a:extLst>
            </p:cNvPr>
            <p:cNvSpPr/>
            <p:nvPr userDrawn="1"/>
          </p:nvSpPr>
          <p:spPr bwMode="gray">
            <a:xfrm>
              <a:off x="953438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5" name="Rechteck 714">
              <a:extLst>
                <a:ext uri="{FF2B5EF4-FFF2-40B4-BE49-F238E27FC236}">
                  <a16:creationId xmlns:a16="http://schemas.microsoft.com/office/drawing/2014/main" id="{5C87350B-44BA-A287-BBC6-39C03D126165}"/>
                </a:ext>
              </a:extLst>
            </p:cNvPr>
            <p:cNvSpPr/>
            <p:nvPr userDrawn="1"/>
          </p:nvSpPr>
          <p:spPr bwMode="gray">
            <a:xfrm>
              <a:off x="895832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6" name="Rechteck 715">
              <a:extLst>
                <a:ext uri="{FF2B5EF4-FFF2-40B4-BE49-F238E27FC236}">
                  <a16:creationId xmlns:a16="http://schemas.microsoft.com/office/drawing/2014/main" id="{B611F7A2-DE8F-D592-F59E-B91F0E2D65BB}"/>
                </a:ext>
              </a:extLst>
            </p:cNvPr>
            <p:cNvSpPr/>
            <p:nvPr userDrawn="1"/>
          </p:nvSpPr>
          <p:spPr bwMode="gray">
            <a:xfrm>
              <a:off x="838225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7" name="Rechteck 716">
              <a:extLst>
                <a:ext uri="{FF2B5EF4-FFF2-40B4-BE49-F238E27FC236}">
                  <a16:creationId xmlns:a16="http://schemas.microsoft.com/office/drawing/2014/main" id="{09DF8832-35A4-42ED-B20E-914DCCEF5902}"/>
                </a:ext>
              </a:extLst>
            </p:cNvPr>
            <p:cNvSpPr/>
            <p:nvPr userDrawn="1"/>
          </p:nvSpPr>
          <p:spPr bwMode="gray">
            <a:xfrm>
              <a:off x="780619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8" name="Rechteck 717">
              <a:extLst>
                <a:ext uri="{FF2B5EF4-FFF2-40B4-BE49-F238E27FC236}">
                  <a16:creationId xmlns:a16="http://schemas.microsoft.com/office/drawing/2014/main" id="{5C5DE0FD-ACBB-BA64-FC68-EDD40FC9255F}"/>
                </a:ext>
              </a:extLst>
            </p:cNvPr>
            <p:cNvSpPr/>
            <p:nvPr userDrawn="1"/>
          </p:nvSpPr>
          <p:spPr bwMode="gray">
            <a:xfrm>
              <a:off x="723012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9" name="Rechteck 718">
              <a:extLst>
                <a:ext uri="{FF2B5EF4-FFF2-40B4-BE49-F238E27FC236}">
                  <a16:creationId xmlns:a16="http://schemas.microsoft.com/office/drawing/2014/main" id="{CC1573AD-B10C-41EA-A57E-B0F270F8C3D2}"/>
                </a:ext>
              </a:extLst>
            </p:cNvPr>
            <p:cNvSpPr/>
            <p:nvPr userDrawn="1"/>
          </p:nvSpPr>
          <p:spPr bwMode="gray">
            <a:xfrm>
              <a:off x="665406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0" name="Rechteck 719">
              <a:extLst>
                <a:ext uri="{FF2B5EF4-FFF2-40B4-BE49-F238E27FC236}">
                  <a16:creationId xmlns:a16="http://schemas.microsoft.com/office/drawing/2014/main" id="{78030154-E285-8777-84E2-C7B8E49DE95E}"/>
                </a:ext>
              </a:extLst>
            </p:cNvPr>
            <p:cNvSpPr/>
            <p:nvPr userDrawn="1"/>
          </p:nvSpPr>
          <p:spPr bwMode="gray">
            <a:xfrm>
              <a:off x="607800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1" name="Rechteck 720">
              <a:extLst>
                <a:ext uri="{FF2B5EF4-FFF2-40B4-BE49-F238E27FC236}">
                  <a16:creationId xmlns:a16="http://schemas.microsoft.com/office/drawing/2014/main" id="{0563102E-2261-7B1C-54AD-C5C578C3C873}"/>
                </a:ext>
              </a:extLst>
            </p:cNvPr>
            <p:cNvSpPr/>
            <p:nvPr userDrawn="1"/>
          </p:nvSpPr>
          <p:spPr bwMode="gray">
            <a:xfrm>
              <a:off x="550193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2" name="Rechteck 721">
              <a:extLst>
                <a:ext uri="{FF2B5EF4-FFF2-40B4-BE49-F238E27FC236}">
                  <a16:creationId xmlns:a16="http://schemas.microsoft.com/office/drawing/2014/main" id="{7A2BFCAF-0196-C069-700B-A4AA62C6E3FE}"/>
                </a:ext>
              </a:extLst>
            </p:cNvPr>
            <p:cNvSpPr/>
            <p:nvPr userDrawn="1"/>
          </p:nvSpPr>
          <p:spPr bwMode="gray">
            <a:xfrm>
              <a:off x="492587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3" name="Rechteck 722">
              <a:extLst>
                <a:ext uri="{FF2B5EF4-FFF2-40B4-BE49-F238E27FC236}">
                  <a16:creationId xmlns:a16="http://schemas.microsoft.com/office/drawing/2014/main" id="{4305C88E-AEF0-EAF9-F9BE-AD92FEA08EA1}"/>
                </a:ext>
              </a:extLst>
            </p:cNvPr>
            <p:cNvSpPr/>
            <p:nvPr userDrawn="1"/>
          </p:nvSpPr>
          <p:spPr bwMode="gray">
            <a:xfrm>
              <a:off x="434980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4" name="Rechteck 723">
              <a:extLst>
                <a:ext uri="{FF2B5EF4-FFF2-40B4-BE49-F238E27FC236}">
                  <a16:creationId xmlns:a16="http://schemas.microsoft.com/office/drawing/2014/main" id="{5C5AA5F0-64E2-8B3F-E80E-5EF2E5B990F8}"/>
                </a:ext>
              </a:extLst>
            </p:cNvPr>
            <p:cNvSpPr/>
            <p:nvPr userDrawn="1"/>
          </p:nvSpPr>
          <p:spPr bwMode="gray">
            <a:xfrm>
              <a:off x="377374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5" name="Rechteck 724">
              <a:extLst>
                <a:ext uri="{FF2B5EF4-FFF2-40B4-BE49-F238E27FC236}">
                  <a16:creationId xmlns:a16="http://schemas.microsoft.com/office/drawing/2014/main" id="{9EAE955B-D45F-F3F1-A2DC-1B7E386D5E15}"/>
                </a:ext>
              </a:extLst>
            </p:cNvPr>
            <p:cNvSpPr/>
            <p:nvPr userDrawn="1"/>
          </p:nvSpPr>
          <p:spPr bwMode="gray">
            <a:xfrm>
              <a:off x="319768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6" name="Rechteck 725">
              <a:extLst>
                <a:ext uri="{FF2B5EF4-FFF2-40B4-BE49-F238E27FC236}">
                  <a16:creationId xmlns:a16="http://schemas.microsoft.com/office/drawing/2014/main" id="{CE8EEC35-65A0-6651-782E-D74375C8FE9C}"/>
                </a:ext>
              </a:extLst>
            </p:cNvPr>
            <p:cNvSpPr/>
            <p:nvPr userDrawn="1"/>
          </p:nvSpPr>
          <p:spPr bwMode="gray">
            <a:xfrm>
              <a:off x="262161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7" name="Rechteck 726">
              <a:extLst>
                <a:ext uri="{FF2B5EF4-FFF2-40B4-BE49-F238E27FC236}">
                  <a16:creationId xmlns:a16="http://schemas.microsoft.com/office/drawing/2014/main" id="{D9136E2B-567D-E2F8-62BE-A9E5C4AEBBDB}"/>
                </a:ext>
              </a:extLst>
            </p:cNvPr>
            <p:cNvSpPr/>
            <p:nvPr userDrawn="1"/>
          </p:nvSpPr>
          <p:spPr bwMode="gray">
            <a:xfrm>
              <a:off x="204555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8" name="Rechteck 727">
              <a:extLst>
                <a:ext uri="{FF2B5EF4-FFF2-40B4-BE49-F238E27FC236}">
                  <a16:creationId xmlns:a16="http://schemas.microsoft.com/office/drawing/2014/main" id="{072DA505-EB91-3454-9F55-29AC5A477D3A}"/>
                </a:ext>
              </a:extLst>
            </p:cNvPr>
            <p:cNvSpPr/>
            <p:nvPr userDrawn="1"/>
          </p:nvSpPr>
          <p:spPr bwMode="gray">
            <a:xfrm>
              <a:off x="146948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9" name="Rechteck 728">
              <a:extLst>
                <a:ext uri="{FF2B5EF4-FFF2-40B4-BE49-F238E27FC236}">
                  <a16:creationId xmlns:a16="http://schemas.microsoft.com/office/drawing/2014/main" id="{8C743622-41AB-2DFE-6079-339D7B2E2FAD}"/>
                </a:ext>
              </a:extLst>
            </p:cNvPr>
            <p:cNvSpPr/>
            <p:nvPr userDrawn="1"/>
          </p:nvSpPr>
          <p:spPr bwMode="gray">
            <a:xfrm>
              <a:off x="89342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0" name="Rechteck 729">
              <a:extLst>
                <a:ext uri="{FF2B5EF4-FFF2-40B4-BE49-F238E27FC236}">
                  <a16:creationId xmlns:a16="http://schemas.microsoft.com/office/drawing/2014/main" id="{978EE1A2-B3C3-F08A-3D80-987A2CEA204E}"/>
                </a:ext>
              </a:extLst>
            </p:cNvPr>
            <p:cNvSpPr/>
            <p:nvPr userDrawn="1"/>
          </p:nvSpPr>
          <p:spPr bwMode="gray">
            <a:xfrm>
              <a:off x="31736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1" name="Rechteck 730">
              <a:extLst>
                <a:ext uri="{FF2B5EF4-FFF2-40B4-BE49-F238E27FC236}">
                  <a16:creationId xmlns:a16="http://schemas.microsoft.com/office/drawing/2014/main" id="{19EFB8CC-35CE-83CC-7A52-FDB64E0EE9FC}"/>
                </a:ext>
              </a:extLst>
            </p:cNvPr>
            <p:cNvSpPr/>
            <p:nvPr userDrawn="1"/>
          </p:nvSpPr>
          <p:spPr bwMode="gray">
            <a:xfrm>
              <a:off x="1126257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2" name="Rechteck 731">
              <a:extLst>
                <a:ext uri="{FF2B5EF4-FFF2-40B4-BE49-F238E27FC236}">
                  <a16:creationId xmlns:a16="http://schemas.microsoft.com/office/drawing/2014/main" id="{05C8A9B9-25C8-E4C2-C45C-5D2C3A79927A}"/>
                </a:ext>
              </a:extLst>
            </p:cNvPr>
            <p:cNvSpPr/>
            <p:nvPr userDrawn="1"/>
          </p:nvSpPr>
          <p:spPr bwMode="gray">
            <a:xfrm>
              <a:off x="1068651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3" name="Rechteck 732">
              <a:extLst>
                <a:ext uri="{FF2B5EF4-FFF2-40B4-BE49-F238E27FC236}">
                  <a16:creationId xmlns:a16="http://schemas.microsoft.com/office/drawing/2014/main" id="{8F6FC92F-47E5-0A9C-1736-24F92E9D4390}"/>
                </a:ext>
              </a:extLst>
            </p:cNvPr>
            <p:cNvSpPr/>
            <p:nvPr userDrawn="1"/>
          </p:nvSpPr>
          <p:spPr bwMode="gray">
            <a:xfrm>
              <a:off x="1011044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4" name="Rechteck 733">
              <a:extLst>
                <a:ext uri="{FF2B5EF4-FFF2-40B4-BE49-F238E27FC236}">
                  <a16:creationId xmlns:a16="http://schemas.microsoft.com/office/drawing/2014/main" id="{E15AD90A-CEED-3B3D-35AD-F8D3A9AB8913}"/>
                </a:ext>
              </a:extLst>
            </p:cNvPr>
            <p:cNvSpPr/>
            <p:nvPr userDrawn="1"/>
          </p:nvSpPr>
          <p:spPr bwMode="gray">
            <a:xfrm>
              <a:off x="953438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5" name="Rechteck 734">
              <a:extLst>
                <a:ext uri="{FF2B5EF4-FFF2-40B4-BE49-F238E27FC236}">
                  <a16:creationId xmlns:a16="http://schemas.microsoft.com/office/drawing/2014/main" id="{67979FA8-197D-7646-2E74-0D5C0860C561}"/>
                </a:ext>
              </a:extLst>
            </p:cNvPr>
            <p:cNvSpPr/>
            <p:nvPr userDrawn="1"/>
          </p:nvSpPr>
          <p:spPr bwMode="gray">
            <a:xfrm>
              <a:off x="895832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6" name="Rechteck 735">
              <a:extLst>
                <a:ext uri="{FF2B5EF4-FFF2-40B4-BE49-F238E27FC236}">
                  <a16:creationId xmlns:a16="http://schemas.microsoft.com/office/drawing/2014/main" id="{8C1690AF-07E7-417E-D020-FEF1F86DE3E0}"/>
                </a:ext>
              </a:extLst>
            </p:cNvPr>
            <p:cNvSpPr/>
            <p:nvPr userDrawn="1"/>
          </p:nvSpPr>
          <p:spPr bwMode="gray">
            <a:xfrm>
              <a:off x="838225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7" name="Rechteck 736">
              <a:extLst>
                <a:ext uri="{FF2B5EF4-FFF2-40B4-BE49-F238E27FC236}">
                  <a16:creationId xmlns:a16="http://schemas.microsoft.com/office/drawing/2014/main" id="{4CDF46FE-A6A4-19EC-1760-8241851A640D}"/>
                </a:ext>
              </a:extLst>
            </p:cNvPr>
            <p:cNvSpPr/>
            <p:nvPr userDrawn="1"/>
          </p:nvSpPr>
          <p:spPr bwMode="gray">
            <a:xfrm>
              <a:off x="780619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8" name="Rechteck 737">
              <a:extLst>
                <a:ext uri="{FF2B5EF4-FFF2-40B4-BE49-F238E27FC236}">
                  <a16:creationId xmlns:a16="http://schemas.microsoft.com/office/drawing/2014/main" id="{D0BBBD05-88AE-755B-CCD5-779986C106FF}"/>
                </a:ext>
              </a:extLst>
            </p:cNvPr>
            <p:cNvSpPr/>
            <p:nvPr userDrawn="1"/>
          </p:nvSpPr>
          <p:spPr bwMode="gray">
            <a:xfrm>
              <a:off x="723012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9" name="Rechteck 738">
              <a:extLst>
                <a:ext uri="{FF2B5EF4-FFF2-40B4-BE49-F238E27FC236}">
                  <a16:creationId xmlns:a16="http://schemas.microsoft.com/office/drawing/2014/main" id="{A2AD4B53-C18F-DE88-5BC5-25C2A2D64237}"/>
                </a:ext>
              </a:extLst>
            </p:cNvPr>
            <p:cNvSpPr/>
            <p:nvPr userDrawn="1"/>
          </p:nvSpPr>
          <p:spPr bwMode="gray">
            <a:xfrm>
              <a:off x="665406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0" name="Rechteck 739">
              <a:extLst>
                <a:ext uri="{FF2B5EF4-FFF2-40B4-BE49-F238E27FC236}">
                  <a16:creationId xmlns:a16="http://schemas.microsoft.com/office/drawing/2014/main" id="{2330320E-07C8-F649-FC60-D320E3ED90BF}"/>
                </a:ext>
              </a:extLst>
            </p:cNvPr>
            <p:cNvSpPr/>
            <p:nvPr userDrawn="1"/>
          </p:nvSpPr>
          <p:spPr bwMode="gray">
            <a:xfrm>
              <a:off x="607800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1" name="Rechteck 740">
              <a:extLst>
                <a:ext uri="{FF2B5EF4-FFF2-40B4-BE49-F238E27FC236}">
                  <a16:creationId xmlns:a16="http://schemas.microsoft.com/office/drawing/2014/main" id="{A7C16634-1F2B-1C62-D120-97A756CE1840}"/>
                </a:ext>
              </a:extLst>
            </p:cNvPr>
            <p:cNvSpPr/>
            <p:nvPr userDrawn="1"/>
          </p:nvSpPr>
          <p:spPr bwMode="gray">
            <a:xfrm>
              <a:off x="550193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2" name="Rechteck 741">
              <a:extLst>
                <a:ext uri="{FF2B5EF4-FFF2-40B4-BE49-F238E27FC236}">
                  <a16:creationId xmlns:a16="http://schemas.microsoft.com/office/drawing/2014/main" id="{BA34E16F-1BA3-8AAC-A190-19145C7947D1}"/>
                </a:ext>
              </a:extLst>
            </p:cNvPr>
            <p:cNvSpPr/>
            <p:nvPr userDrawn="1"/>
          </p:nvSpPr>
          <p:spPr bwMode="gray">
            <a:xfrm>
              <a:off x="492587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3" name="Rechteck 742">
              <a:extLst>
                <a:ext uri="{FF2B5EF4-FFF2-40B4-BE49-F238E27FC236}">
                  <a16:creationId xmlns:a16="http://schemas.microsoft.com/office/drawing/2014/main" id="{2E03565E-D6FA-3AA6-EAE6-60FA8AEBBCFF}"/>
                </a:ext>
              </a:extLst>
            </p:cNvPr>
            <p:cNvSpPr/>
            <p:nvPr userDrawn="1"/>
          </p:nvSpPr>
          <p:spPr bwMode="gray">
            <a:xfrm>
              <a:off x="434980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4" name="Rechteck 743">
              <a:extLst>
                <a:ext uri="{FF2B5EF4-FFF2-40B4-BE49-F238E27FC236}">
                  <a16:creationId xmlns:a16="http://schemas.microsoft.com/office/drawing/2014/main" id="{DDAFE961-37A9-F700-CCE0-53CF0F7376F9}"/>
                </a:ext>
              </a:extLst>
            </p:cNvPr>
            <p:cNvSpPr/>
            <p:nvPr userDrawn="1"/>
          </p:nvSpPr>
          <p:spPr bwMode="gray">
            <a:xfrm>
              <a:off x="377374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5" name="Rechteck 744">
              <a:extLst>
                <a:ext uri="{FF2B5EF4-FFF2-40B4-BE49-F238E27FC236}">
                  <a16:creationId xmlns:a16="http://schemas.microsoft.com/office/drawing/2014/main" id="{565EF1AB-E1F4-57B2-7563-F0BF4E82EE27}"/>
                </a:ext>
              </a:extLst>
            </p:cNvPr>
            <p:cNvSpPr/>
            <p:nvPr userDrawn="1"/>
          </p:nvSpPr>
          <p:spPr bwMode="gray">
            <a:xfrm>
              <a:off x="319768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6" name="Rechteck 745">
              <a:extLst>
                <a:ext uri="{FF2B5EF4-FFF2-40B4-BE49-F238E27FC236}">
                  <a16:creationId xmlns:a16="http://schemas.microsoft.com/office/drawing/2014/main" id="{CEF5166E-7942-7269-5CD2-DF6D6710953E}"/>
                </a:ext>
              </a:extLst>
            </p:cNvPr>
            <p:cNvSpPr/>
            <p:nvPr userDrawn="1"/>
          </p:nvSpPr>
          <p:spPr bwMode="gray">
            <a:xfrm>
              <a:off x="262161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7" name="Rechteck 746">
              <a:extLst>
                <a:ext uri="{FF2B5EF4-FFF2-40B4-BE49-F238E27FC236}">
                  <a16:creationId xmlns:a16="http://schemas.microsoft.com/office/drawing/2014/main" id="{FD31B3D4-366D-E6CF-5C73-0D16344A9A2A}"/>
                </a:ext>
              </a:extLst>
            </p:cNvPr>
            <p:cNvSpPr/>
            <p:nvPr userDrawn="1"/>
          </p:nvSpPr>
          <p:spPr bwMode="gray">
            <a:xfrm>
              <a:off x="204555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8" name="Rechteck 747">
              <a:extLst>
                <a:ext uri="{FF2B5EF4-FFF2-40B4-BE49-F238E27FC236}">
                  <a16:creationId xmlns:a16="http://schemas.microsoft.com/office/drawing/2014/main" id="{A8883A67-AF2F-0A02-F5FD-0EFE7137C00D}"/>
                </a:ext>
              </a:extLst>
            </p:cNvPr>
            <p:cNvSpPr/>
            <p:nvPr userDrawn="1"/>
          </p:nvSpPr>
          <p:spPr bwMode="gray">
            <a:xfrm>
              <a:off x="146948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9" name="Rechteck 748">
              <a:extLst>
                <a:ext uri="{FF2B5EF4-FFF2-40B4-BE49-F238E27FC236}">
                  <a16:creationId xmlns:a16="http://schemas.microsoft.com/office/drawing/2014/main" id="{CFABFEA7-E0E1-894D-A314-180B265E2E80}"/>
                </a:ext>
              </a:extLst>
            </p:cNvPr>
            <p:cNvSpPr/>
            <p:nvPr userDrawn="1"/>
          </p:nvSpPr>
          <p:spPr bwMode="gray">
            <a:xfrm>
              <a:off x="89342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0" name="Rechteck 749">
              <a:extLst>
                <a:ext uri="{FF2B5EF4-FFF2-40B4-BE49-F238E27FC236}">
                  <a16:creationId xmlns:a16="http://schemas.microsoft.com/office/drawing/2014/main" id="{CCC1B349-39D6-6964-06C9-56F46ADA9FF5}"/>
                </a:ext>
              </a:extLst>
            </p:cNvPr>
            <p:cNvSpPr/>
            <p:nvPr userDrawn="1"/>
          </p:nvSpPr>
          <p:spPr bwMode="gray">
            <a:xfrm>
              <a:off x="31736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1" name="Rechteck 750">
              <a:extLst>
                <a:ext uri="{FF2B5EF4-FFF2-40B4-BE49-F238E27FC236}">
                  <a16:creationId xmlns:a16="http://schemas.microsoft.com/office/drawing/2014/main" id="{2F2AC973-3678-EF30-5508-0EFC6712D9F0}"/>
                </a:ext>
              </a:extLst>
            </p:cNvPr>
            <p:cNvSpPr/>
            <p:nvPr userDrawn="1"/>
          </p:nvSpPr>
          <p:spPr bwMode="gray">
            <a:xfrm>
              <a:off x="1126257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2" name="Rechteck 751">
              <a:extLst>
                <a:ext uri="{FF2B5EF4-FFF2-40B4-BE49-F238E27FC236}">
                  <a16:creationId xmlns:a16="http://schemas.microsoft.com/office/drawing/2014/main" id="{35E69DA7-FD7C-8370-38A8-D55251AED31B}"/>
                </a:ext>
              </a:extLst>
            </p:cNvPr>
            <p:cNvSpPr/>
            <p:nvPr userDrawn="1"/>
          </p:nvSpPr>
          <p:spPr bwMode="gray">
            <a:xfrm>
              <a:off x="1068651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3" name="Rechteck 752">
              <a:extLst>
                <a:ext uri="{FF2B5EF4-FFF2-40B4-BE49-F238E27FC236}">
                  <a16:creationId xmlns:a16="http://schemas.microsoft.com/office/drawing/2014/main" id="{244BCA0C-C458-26AB-736D-24007068C7A8}"/>
                </a:ext>
              </a:extLst>
            </p:cNvPr>
            <p:cNvSpPr/>
            <p:nvPr userDrawn="1"/>
          </p:nvSpPr>
          <p:spPr bwMode="gray">
            <a:xfrm>
              <a:off x="1011044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4" name="Rechteck 753">
              <a:extLst>
                <a:ext uri="{FF2B5EF4-FFF2-40B4-BE49-F238E27FC236}">
                  <a16:creationId xmlns:a16="http://schemas.microsoft.com/office/drawing/2014/main" id="{35E93E16-5FC5-12EE-C867-FAE6A2763BDD}"/>
                </a:ext>
              </a:extLst>
            </p:cNvPr>
            <p:cNvSpPr/>
            <p:nvPr userDrawn="1"/>
          </p:nvSpPr>
          <p:spPr bwMode="gray">
            <a:xfrm>
              <a:off x="953438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5" name="Rechteck 754">
              <a:extLst>
                <a:ext uri="{FF2B5EF4-FFF2-40B4-BE49-F238E27FC236}">
                  <a16:creationId xmlns:a16="http://schemas.microsoft.com/office/drawing/2014/main" id="{759E5477-2636-E307-A017-F26F0305EB74}"/>
                </a:ext>
              </a:extLst>
            </p:cNvPr>
            <p:cNvSpPr/>
            <p:nvPr userDrawn="1"/>
          </p:nvSpPr>
          <p:spPr bwMode="gray">
            <a:xfrm>
              <a:off x="895832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6" name="Rechteck 755">
              <a:extLst>
                <a:ext uri="{FF2B5EF4-FFF2-40B4-BE49-F238E27FC236}">
                  <a16:creationId xmlns:a16="http://schemas.microsoft.com/office/drawing/2014/main" id="{1BE78FE1-0480-01A8-BADA-AF5459AD108F}"/>
                </a:ext>
              </a:extLst>
            </p:cNvPr>
            <p:cNvSpPr/>
            <p:nvPr userDrawn="1"/>
          </p:nvSpPr>
          <p:spPr bwMode="gray">
            <a:xfrm>
              <a:off x="838225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7" name="Rechteck 756">
              <a:extLst>
                <a:ext uri="{FF2B5EF4-FFF2-40B4-BE49-F238E27FC236}">
                  <a16:creationId xmlns:a16="http://schemas.microsoft.com/office/drawing/2014/main" id="{DE71C179-DF5B-71B0-D54E-E95D449EF766}"/>
                </a:ext>
              </a:extLst>
            </p:cNvPr>
            <p:cNvSpPr/>
            <p:nvPr userDrawn="1"/>
          </p:nvSpPr>
          <p:spPr bwMode="gray">
            <a:xfrm>
              <a:off x="780619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8" name="Rechteck 757">
              <a:extLst>
                <a:ext uri="{FF2B5EF4-FFF2-40B4-BE49-F238E27FC236}">
                  <a16:creationId xmlns:a16="http://schemas.microsoft.com/office/drawing/2014/main" id="{E655655F-0347-65A7-4DC4-0979C81CD990}"/>
                </a:ext>
              </a:extLst>
            </p:cNvPr>
            <p:cNvSpPr/>
            <p:nvPr userDrawn="1"/>
          </p:nvSpPr>
          <p:spPr bwMode="gray">
            <a:xfrm>
              <a:off x="723012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9" name="Rechteck 758">
              <a:extLst>
                <a:ext uri="{FF2B5EF4-FFF2-40B4-BE49-F238E27FC236}">
                  <a16:creationId xmlns:a16="http://schemas.microsoft.com/office/drawing/2014/main" id="{EA877A64-8978-BF4E-CF88-615EBEE992D2}"/>
                </a:ext>
              </a:extLst>
            </p:cNvPr>
            <p:cNvSpPr/>
            <p:nvPr userDrawn="1"/>
          </p:nvSpPr>
          <p:spPr bwMode="gray">
            <a:xfrm>
              <a:off x="665406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0" name="Rechteck 759">
              <a:extLst>
                <a:ext uri="{FF2B5EF4-FFF2-40B4-BE49-F238E27FC236}">
                  <a16:creationId xmlns:a16="http://schemas.microsoft.com/office/drawing/2014/main" id="{CFE19937-FFE9-031D-B24E-A64916D10CDD}"/>
                </a:ext>
              </a:extLst>
            </p:cNvPr>
            <p:cNvSpPr/>
            <p:nvPr userDrawn="1"/>
          </p:nvSpPr>
          <p:spPr bwMode="gray">
            <a:xfrm>
              <a:off x="607800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1" name="Rechteck 760">
              <a:extLst>
                <a:ext uri="{FF2B5EF4-FFF2-40B4-BE49-F238E27FC236}">
                  <a16:creationId xmlns:a16="http://schemas.microsoft.com/office/drawing/2014/main" id="{3858A1D4-E89C-6F7D-8025-D03C4283354B}"/>
                </a:ext>
              </a:extLst>
            </p:cNvPr>
            <p:cNvSpPr/>
            <p:nvPr userDrawn="1"/>
          </p:nvSpPr>
          <p:spPr bwMode="gray">
            <a:xfrm>
              <a:off x="550193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2" name="Rechteck 761">
              <a:extLst>
                <a:ext uri="{FF2B5EF4-FFF2-40B4-BE49-F238E27FC236}">
                  <a16:creationId xmlns:a16="http://schemas.microsoft.com/office/drawing/2014/main" id="{C9D1F4F9-F6C9-3C34-DEEB-8BFBEE43D880}"/>
                </a:ext>
              </a:extLst>
            </p:cNvPr>
            <p:cNvSpPr/>
            <p:nvPr userDrawn="1"/>
          </p:nvSpPr>
          <p:spPr bwMode="gray">
            <a:xfrm>
              <a:off x="492587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3" name="Rechteck 762">
              <a:extLst>
                <a:ext uri="{FF2B5EF4-FFF2-40B4-BE49-F238E27FC236}">
                  <a16:creationId xmlns:a16="http://schemas.microsoft.com/office/drawing/2014/main" id="{B49AF24D-3DC7-026A-6753-77E65341A85B}"/>
                </a:ext>
              </a:extLst>
            </p:cNvPr>
            <p:cNvSpPr/>
            <p:nvPr userDrawn="1"/>
          </p:nvSpPr>
          <p:spPr bwMode="gray">
            <a:xfrm>
              <a:off x="434980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4" name="Rechteck 763">
              <a:extLst>
                <a:ext uri="{FF2B5EF4-FFF2-40B4-BE49-F238E27FC236}">
                  <a16:creationId xmlns:a16="http://schemas.microsoft.com/office/drawing/2014/main" id="{BC03AF3E-2C01-0B7D-9914-0D29FDB0E1AD}"/>
                </a:ext>
              </a:extLst>
            </p:cNvPr>
            <p:cNvSpPr/>
            <p:nvPr userDrawn="1"/>
          </p:nvSpPr>
          <p:spPr bwMode="gray">
            <a:xfrm>
              <a:off x="377374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5" name="Rechteck 764">
              <a:extLst>
                <a:ext uri="{FF2B5EF4-FFF2-40B4-BE49-F238E27FC236}">
                  <a16:creationId xmlns:a16="http://schemas.microsoft.com/office/drawing/2014/main" id="{4A1A06BB-DE34-F683-DD12-FA76FB6BBDD3}"/>
                </a:ext>
              </a:extLst>
            </p:cNvPr>
            <p:cNvSpPr/>
            <p:nvPr userDrawn="1"/>
          </p:nvSpPr>
          <p:spPr bwMode="gray">
            <a:xfrm>
              <a:off x="319768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6" name="Rechteck 765">
              <a:extLst>
                <a:ext uri="{FF2B5EF4-FFF2-40B4-BE49-F238E27FC236}">
                  <a16:creationId xmlns:a16="http://schemas.microsoft.com/office/drawing/2014/main" id="{1E649CD3-E1AE-92F2-4C3C-BE8626E873EB}"/>
                </a:ext>
              </a:extLst>
            </p:cNvPr>
            <p:cNvSpPr/>
            <p:nvPr userDrawn="1"/>
          </p:nvSpPr>
          <p:spPr bwMode="gray">
            <a:xfrm>
              <a:off x="262161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7" name="Rechteck 766">
              <a:extLst>
                <a:ext uri="{FF2B5EF4-FFF2-40B4-BE49-F238E27FC236}">
                  <a16:creationId xmlns:a16="http://schemas.microsoft.com/office/drawing/2014/main" id="{FBBFAC61-D572-A003-0FA7-C6F6BBE7107F}"/>
                </a:ext>
              </a:extLst>
            </p:cNvPr>
            <p:cNvSpPr/>
            <p:nvPr userDrawn="1"/>
          </p:nvSpPr>
          <p:spPr bwMode="gray">
            <a:xfrm>
              <a:off x="204555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8" name="Rechteck 767">
              <a:extLst>
                <a:ext uri="{FF2B5EF4-FFF2-40B4-BE49-F238E27FC236}">
                  <a16:creationId xmlns:a16="http://schemas.microsoft.com/office/drawing/2014/main" id="{087EEB43-1F1E-4D6E-1904-2BFEC1AA7582}"/>
                </a:ext>
              </a:extLst>
            </p:cNvPr>
            <p:cNvSpPr/>
            <p:nvPr userDrawn="1"/>
          </p:nvSpPr>
          <p:spPr bwMode="gray">
            <a:xfrm>
              <a:off x="146948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9" name="Rechteck 768">
              <a:extLst>
                <a:ext uri="{FF2B5EF4-FFF2-40B4-BE49-F238E27FC236}">
                  <a16:creationId xmlns:a16="http://schemas.microsoft.com/office/drawing/2014/main" id="{83CB1A25-2AD1-41E7-DF2E-09D2362FB7D6}"/>
                </a:ext>
              </a:extLst>
            </p:cNvPr>
            <p:cNvSpPr/>
            <p:nvPr userDrawn="1"/>
          </p:nvSpPr>
          <p:spPr bwMode="gray">
            <a:xfrm>
              <a:off x="89342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0" name="Rechteck 769">
              <a:extLst>
                <a:ext uri="{FF2B5EF4-FFF2-40B4-BE49-F238E27FC236}">
                  <a16:creationId xmlns:a16="http://schemas.microsoft.com/office/drawing/2014/main" id="{E0275135-3AB4-CC59-1F1E-3F0249175845}"/>
                </a:ext>
              </a:extLst>
            </p:cNvPr>
            <p:cNvSpPr/>
            <p:nvPr userDrawn="1"/>
          </p:nvSpPr>
          <p:spPr bwMode="gray">
            <a:xfrm>
              <a:off x="31736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1" name="Rechteck 770">
              <a:extLst>
                <a:ext uri="{FF2B5EF4-FFF2-40B4-BE49-F238E27FC236}">
                  <a16:creationId xmlns:a16="http://schemas.microsoft.com/office/drawing/2014/main" id="{A3A121D9-ACB1-53F0-3519-1EC8DDEA8AF1}"/>
                </a:ext>
              </a:extLst>
            </p:cNvPr>
            <p:cNvSpPr/>
            <p:nvPr userDrawn="1"/>
          </p:nvSpPr>
          <p:spPr bwMode="gray">
            <a:xfrm>
              <a:off x="1183864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2" name="Rechteck 771">
              <a:extLst>
                <a:ext uri="{FF2B5EF4-FFF2-40B4-BE49-F238E27FC236}">
                  <a16:creationId xmlns:a16="http://schemas.microsoft.com/office/drawing/2014/main" id="{E9F14960-2584-D6F7-90A1-8BC4D2553FB4}"/>
                </a:ext>
              </a:extLst>
            </p:cNvPr>
            <p:cNvSpPr/>
            <p:nvPr userDrawn="1"/>
          </p:nvSpPr>
          <p:spPr bwMode="gray">
            <a:xfrm>
              <a:off x="1183864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3" name="Rechteck 772">
              <a:extLst>
                <a:ext uri="{FF2B5EF4-FFF2-40B4-BE49-F238E27FC236}">
                  <a16:creationId xmlns:a16="http://schemas.microsoft.com/office/drawing/2014/main" id="{8FA6E9B7-39DB-9E9B-2CAA-6E23B491F0DD}"/>
                </a:ext>
              </a:extLst>
            </p:cNvPr>
            <p:cNvSpPr/>
            <p:nvPr userDrawn="1"/>
          </p:nvSpPr>
          <p:spPr bwMode="gray">
            <a:xfrm>
              <a:off x="1183864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4" name="Rechteck 773">
              <a:extLst>
                <a:ext uri="{FF2B5EF4-FFF2-40B4-BE49-F238E27FC236}">
                  <a16:creationId xmlns:a16="http://schemas.microsoft.com/office/drawing/2014/main" id="{D52B8F7C-DF12-E819-AA45-2C9CC2151338}"/>
                </a:ext>
              </a:extLst>
            </p:cNvPr>
            <p:cNvSpPr/>
            <p:nvPr userDrawn="1"/>
          </p:nvSpPr>
          <p:spPr bwMode="gray">
            <a:xfrm>
              <a:off x="1183864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5" name="Rechteck 774">
              <a:extLst>
                <a:ext uri="{FF2B5EF4-FFF2-40B4-BE49-F238E27FC236}">
                  <a16:creationId xmlns:a16="http://schemas.microsoft.com/office/drawing/2014/main" id="{FED27F47-859F-550D-7414-649DA95A43E0}"/>
                </a:ext>
              </a:extLst>
            </p:cNvPr>
            <p:cNvSpPr/>
            <p:nvPr userDrawn="1"/>
          </p:nvSpPr>
          <p:spPr bwMode="gray">
            <a:xfrm>
              <a:off x="1183864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6" name="Rechteck 775">
              <a:extLst>
                <a:ext uri="{FF2B5EF4-FFF2-40B4-BE49-F238E27FC236}">
                  <a16:creationId xmlns:a16="http://schemas.microsoft.com/office/drawing/2014/main" id="{DF307584-D647-EBE7-200F-8C491754F2C3}"/>
                </a:ext>
              </a:extLst>
            </p:cNvPr>
            <p:cNvSpPr/>
            <p:nvPr userDrawn="1"/>
          </p:nvSpPr>
          <p:spPr bwMode="gray">
            <a:xfrm>
              <a:off x="1183864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7" name="Rechteck 776">
              <a:extLst>
                <a:ext uri="{FF2B5EF4-FFF2-40B4-BE49-F238E27FC236}">
                  <a16:creationId xmlns:a16="http://schemas.microsoft.com/office/drawing/2014/main" id="{4F523918-E619-98C6-2F65-1C4204E23280}"/>
                </a:ext>
              </a:extLst>
            </p:cNvPr>
            <p:cNvSpPr/>
            <p:nvPr userDrawn="1"/>
          </p:nvSpPr>
          <p:spPr bwMode="gray">
            <a:xfrm>
              <a:off x="1183864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8" name="Rechteck 777">
              <a:extLst>
                <a:ext uri="{FF2B5EF4-FFF2-40B4-BE49-F238E27FC236}">
                  <a16:creationId xmlns:a16="http://schemas.microsoft.com/office/drawing/2014/main" id="{D5B91FCE-D6BE-E8D5-BD1A-AD201DD0B0EC}"/>
                </a:ext>
              </a:extLst>
            </p:cNvPr>
            <p:cNvSpPr/>
            <p:nvPr userDrawn="1"/>
          </p:nvSpPr>
          <p:spPr bwMode="gray">
            <a:xfrm>
              <a:off x="1183864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9" name="Rechteck 778">
              <a:extLst>
                <a:ext uri="{FF2B5EF4-FFF2-40B4-BE49-F238E27FC236}">
                  <a16:creationId xmlns:a16="http://schemas.microsoft.com/office/drawing/2014/main" id="{B773B166-E3E3-2A65-7D81-6004E8A6D12B}"/>
                </a:ext>
              </a:extLst>
            </p:cNvPr>
            <p:cNvSpPr/>
            <p:nvPr userDrawn="1"/>
          </p:nvSpPr>
          <p:spPr bwMode="gray">
            <a:xfrm>
              <a:off x="1183864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grpSp>
      <p:sp>
        <p:nvSpPr>
          <p:cNvPr id="783" name="Freihandform: Form 782">
            <a:extLst>
              <a:ext uri="{FF2B5EF4-FFF2-40B4-BE49-F238E27FC236}">
                <a16:creationId xmlns:a16="http://schemas.microsoft.com/office/drawing/2014/main" id="{E324CE70-CBD5-917E-7361-52B242659872}"/>
              </a:ext>
              <a:ext uri="{C183D7F6-B498-43B3-948B-1728B52AA6E4}">
                <adec:decorative xmlns:adec="http://schemas.microsoft.com/office/drawing/2017/decorative" val="1"/>
              </a:ext>
            </a:extLst>
          </p:cNvPr>
          <p:cNvSpPr/>
          <p:nvPr userDrawn="1"/>
        </p:nvSpPr>
        <p:spPr>
          <a:xfrm>
            <a:off x="911424" y="2060848"/>
            <a:ext cx="2892425" cy="2879303"/>
          </a:xfrm>
          <a:custGeom>
            <a:avLst/>
            <a:gdLst>
              <a:gd name="connsiteX0" fmla="*/ 0 w 2892425"/>
              <a:gd name="connsiteY0" fmla="*/ 0 h 2879303"/>
              <a:gd name="connsiteX1" fmla="*/ 2892425 w 2892425"/>
              <a:gd name="connsiteY1" fmla="*/ 0 h 2879303"/>
              <a:gd name="connsiteX2" fmla="*/ 2307742 w 2892425"/>
              <a:gd name="connsiteY2" fmla="*/ 2298575 h 2879303"/>
              <a:gd name="connsiteX3" fmla="*/ 0 w 2892425"/>
              <a:gd name="connsiteY3" fmla="*/ 2879303 h 2879303"/>
            </a:gdLst>
            <a:ahLst/>
            <a:cxnLst>
              <a:cxn ang="0">
                <a:pos x="connsiteX0" y="connsiteY0"/>
              </a:cxn>
              <a:cxn ang="0">
                <a:pos x="connsiteX1" y="connsiteY1"/>
              </a:cxn>
              <a:cxn ang="0">
                <a:pos x="connsiteX2" y="connsiteY2"/>
              </a:cxn>
              <a:cxn ang="0">
                <a:pos x="connsiteX3" y="connsiteY3"/>
              </a:cxn>
            </a:cxnLst>
            <a:rect l="l" t="t" r="r" b="b"/>
            <a:pathLst>
              <a:path w="2892425" h="2879303">
                <a:moveTo>
                  <a:pt x="0" y="0"/>
                </a:moveTo>
                <a:lnTo>
                  <a:pt x="2892425" y="0"/>
                </a:lnTo>
                <a:lnTo>
                  <a:pt x="2307742" y="2298575"/>
                </a:lnTo>
                <a:lnTo>
                  <a:pt x="0" y="2879303"/>
                </a:lnTo>
                <a:close/>
              </a:path>
            </a:pathLst>
          </a:custGeom>
          <a:solidFill>
            <a:schemeClr val="bg1"/>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de-DE" sz="1600" dirty="0" err="1"/>
          </a:p>
        </p:txBody>
      </p:sp>
      <p:sp>
        <p:nvSpPr>
          <p:cNvPr id="784" name="Number">
            <a:extLst>
              <a:ext uri="{FF2B5EF4-FFF2-40B4-BE49-F238E27FC236}">
                <a16:creationId xmlns:a16="http://schemas.microsoft.com/office/drawing/2014/main" id="{F6C546EE-6934-81E2-81C3-1D0AEED1A0C3}"/>
              </a:ext>
            </a:extLst>
          </p:cNvPr>
          <p:cNvSpPr>
            <a:spLocks noGrp="1"/>
          </p:cNvSpPr>
          <p:nvPr>
            <p:ph type="body" sz="quarter" idx="22" hasCustomPrompt="1"/>
          </p:nvPr>
        </p:nvSpPr>
        <p:spPr bwMode="gray">
          <a:xfrm>
            <a:off x="913259" y="2060997"/>
            <a:ext cx="2892425" cy="2879303"/>
          </a:xfrm>
          <a:custGeom>
            <a:avLst/>
            <a:gdLst>
              <a:gd name="connsiteX0" fmla="*/ 0 w 3022600"/>
              <a:gd name="connsiteY0" fmla="*/ 0 h 3024187"/>
              <a:gd name="connsiteX1" fmla="*/ 3022600 w 3022600"/>
              <a:gd name="connsiteY1" fmla="*/ 0 h 3024187"/>
              <a:gd name="connsiteX2" fmla="*/ 2517775 w 3022600"/>
              <a:gd name="connsiteY2" fmla="*/ 2520950 h 3024187"/>
              <a:gd name="connsiteX3" fmla="*/ 0 w 3022600"/>
              <a:gd name="connsiteY3" fmla="*/ 3024187 h 3024187"/>
              <a:gd name="connsiteX0" fmla="*/ 0 w 3022600"/>
              <a:gd name="connsiteY0" fmla="*/ 0 h 3024187"/>
              <a:gd name="connsiteX1" fmla="*/ 3022600 w 3022600"/>
              <a:gd name="connsiteY1" fmla="*/ 0 h 3024187"/>
              <a:gd name="connsiteX2" fmla="*/ 2159443 w 3022600"/>
              <a:gd name="connsiteY2" fmla="*/ 2134117 h 3024187"/>
              <a:gd name="connsiteX3" fmla="*/ 0 w 3022600"/>
              <a:gd name="connsiteY3" fmla="*/ 3024187 h 3024187"/>
              <a:gd name="connsiteX4" fmla="*/ 0 w 3022600"/>
              <a:gd name="connsiteY4" fmla="*/ 0 h 3024187"/>
              <a:gd name="connsiteX0" fmla="*/ 0 w 3022600"/>
              <a:gd name="connsiteY0" fmla="*/ 0 h 3024187"/>
              <a:gd name="connsiteX1" fmla="*/ 3022600 w 3022600"/>
              <a:gd name="connsiteY1" fmla="*/ 0 h 3024187"/>
              <a:gd name="connsiteX2" fmla="*/ 2411603 w 3022600"/>
              <a:gd name="connsiteY2" fmla="*/ 2414237 h 3024187"/>
              <a:gd name="connsiteX3" fmla="*/ 0 w 3022600"/>
              <a:gd name="connsiteY3" fmla="*/ 3024187 h 3024187"/>
              <a:gd name="connsiteX4" fmla="*/ 0 w 3022600"/>
              <a:gd name="connsiteY4" fmla="*/ 0 h 3024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2600" h="3024187">
                <a:moveTo>
                  <a:pt x="0" y="0"/>
                </a:moveTo>
                <a:lnTo>
                  <a:pt x="3022600" y="0"/>
                </a:lnTo>
                <a:lnTo>
                  <a:pt x="2411603" y="2414237"/>
                </a:lnTo>
                <a:lnTo>
                  <a:pt x="0" y="3024187"/>
                </a:lnTo>
                <a:lnTo>
                  <a:pt x="0" y="0"/>
                </a:lnTo>
                <a:close/>
              </a:path>
            </a:pathLst>
          </a:custGeom>
          <a:solidFill>
            <a:schemeClr val="accent5"/>
          </a:solidFill>
          <a:ln w="127">
            <a:solidFill>
              <a:srgbClr val="FFA52F">
                <a:alpha val="0"/>
              </a:srgbClr>
            </a:solidFill>
          </a:ln>
        </p:spPr>
        <p:txBody>
          <a:bodyPr wrap="square" lIns="216000" tIns="0" rIns="0" bIns="0" anchor="t" anchorCtr="0">
            <a:noAutofit/>
          </a:bodyPr>
          <a:lstStyle>
            <a:lvl1pPr marL="0" indent="0" algn="l">
              <a:lnSpc>
                <a:spcPct val="100000"/>
              </a:lnSpc>
              <a:spcBef>
                <a:spcPts val="0"/>
              </a:spcBef>
              <a:buFont typeface="Arial" panose="020B0604020202020204" pitchFamily="34" charset="0"/>
              <a:buNone/>
              <a:defRPr sz="6900" b="0" baseline="0">
                <a:solidFill>
                  <a:schemeClr val="tx1"/>
                </a:solidFill>
                <a:latin typeface="+mj-lt"/>
              </a:defRPr>
            </a:lvl1pPr>
            <a:lvl2pPr marL="0" indent="0" algn="l">
              <a:lnSpc>
                <a:spcPct val="100000"/>
              </a:lnSpc>
              <a:spcBef>
                <a:spcPts val="0"/>
              </a:spcBef>
              <a:buFont typeface="Arial" panose="020B0604020202020204" pitchFamily="34" charset="0"/>
              <a:buNone/>
              <a:defRPr sz="6900" b="1">
                <a:solidFill>
                  <a:schemeClr val="tx1"/>
                </a:solidFill>
                <a:latin typeface="+mj-lt"/>
              </a:defRPr>
            </a:lvl2pPr>
            <a:lvl3pPr marL="0" indent="0" algn="l">
              <a:lnSpc>
                <a:spcPct val="100000"/>
              </a:lnSpc>
              <a:spcBef>
                <a:spcPts val="0"/>
              </a:spcBef>
              <a:buFont typeface="Arial" panose="020B0604020202020204" pitchFamily="34" charset="0"/>
              <a:buNone/>
              <a:defRPr sz="6900" b="1">
                <a:solidFill>
                  <a:schemeClr val="tx1"/>
                </a:solidFill>
                <a:latin typeface="+mj-lt"/>
              </a:defRPr>
            </a:lvl3pPr>
            <a:lvl4pPr marL="0" indent="0" algn="l">
              <a:lnSpc>
                <a:spcPct val="100000"/>
              </a:lnSpc>
              <a:spcBef>
                <a:spcPts val="0"/>
              </a:spcBef>
              <a:buFont typeface="Arial" panose="020B0604020202020204" pitchFamily="34" charset="0"/>
              <a:buNone/>
              <a:defRPr sz="6900" b="1">
                <a:solidFill>
                  <a:schemeClr val="tx1"/>
                </a:solidFill>
                <a:latin typeface="+mj-lt"/>
              </a:defRPr>
            </a:lvl4pPr>
            <a:lvl5pPr marL="0" indent="0" algn="l">
              <a:lnSpc>
                <a:spcPct val="100000"/>
              </a:lnSpc>
              <a:spcBef>
                <a:spcPts val="0"/>
              </a:spcBef>
              <a:buFont typeface="Arial" panose="020B0604020202020204" pitchFamily="34" charset="0"/>
              <a:buNone/>
              <a:defRPr sz="6900" b="1">
                <a:solidFill>
                  <a:schemeClr val="tx1"/>
                </a:solidFill>
                <a:latin typeface="+mj-lt"/>
              </a:defRPr>
            </a:lvl5pPr>
            <a:lvl6pPr marL="0" indent="0" algn="l">
              <a:lnSpc>
                <a:spcPct val="100000"/>
              </a:lnSpc>
              <a:spcBef>
                <a:spcPts val="0"/>
              </a:spcBef>
              <a:buNone/>
              <a:defRPr sz="6900" b="1">
                <a:solidFill>
                  <a:schemeClr val="tx1"/>
                </a:solidFill>
                <a:latin typeface="+mj-lt"/>
              </a:defRPr>
            </a:lvl6pPr>
            <a:lvl7pPr marL="0" indent="0" algn="l">
              <a:lnSpc>
                <a:spcPct val="100000"/>
              </a:lnSpc>
              <a:spcBef>
                <a:spcPts val="0"/>
              </a:spcBef>
              <a:buNone/>
              <a:defRPr sz="6900" b="1">
                <a:solidFill>
                  <a:schemeClr val="tx1"/>
                </a:solidFill>
                <a:latin typeface="+mj-lt"/>
              </a:defRPr>
            </a:lvl7pPr>
            <a:lvl8pPr marL="0" indent="0" algn="l">
              <a:lnSpc>
                <a:spcPct val="100000"/>
              </a:lnSpc>
              <a:spcBef>
                <a:spcPts val="0"/>
              </a:spcBef>
              <a:buNone/>
              <a:defRPr sz="6900" b="1">
                <a:solidFill>
                  <a:schemeClr val="tx1"/>
                </a:solidFill>
                <a:latin typeface="+mj-lt"/>
              </a:defRPr>
            </a:lvl8pPr>
            <a:lvl9pPr marL="0" indent="0" algn="l">
              <a:lnSpc>
                <a:spcPct val="100000"/>
              </a:lnSpc>
              <a:spcBef>
                <a:spcPts val="0"/>
              </a:spcBef>
              <a:buNone/>
              <a:defRPr sz="6900" b="1">
                <a:solidFill>
                  <a:schemeClr val="tx1"/>
                </a:solidFill>
                <a:latin typeface="+mj-lt"/>
              </a:defRPr>
            </a:lvl9pPr>
          </a:lstStyle>
          <a:p>
            <a:r>
              <a:rPr lang="en-GB" dirty="0"/>
              <a:t>00</a:t>
            </a:r>
          </a:p>
        </p:txBody>
      </p:sp>
      <p:sp>
        <p:nvSpPr>
          <p:cNvPr id="202" name="Title">
            <a:extLst>
              <a:ext uri="{FF2B5EF4-FFF2-40B4-BE49-F238E27FC236}">
                <a16:creationId xmlns:a16="http://schemas.microsoft.com/office/drawing/2014/main" id="{1E99D823-3000-A6F4-ECDA-68CF5CA9F5AE}"/>
              </a:ext>
            </a:extLst>
          </p:cNvPr>
          <p:cNvSpPr>
            <a:spLocks noGrp="1"/>
          </p:cNvSpPr>
          <p:nvPr>
            <p:ph type="title" hasCustomPrompt="1"/>
          </p:nvPr>
        </p:nvSpPr>
        <p:spPr bwMode="gray">
          <a:xfrm>
            <a:off x="4727849" y="1988995"/>
            <a:ext cx="5040000" cy="2088000"/>
          </a:xfrm>
          <a:prstGeom prst="rect">
            <a:avLst/>
          </a:prstGeom>
          <a:solidFill>
            <a:schemeClr val="bg1"/>
          </a:solidFill>
          <a:ln w="127">
            <a:solidFill>
              <a:schemeClr val="bg1"/>
            </a:solidFill>
          </a:ln>
        </p:spPr>
        <p:txBody>
          <a:bodyPr vert="horz" lIns="216000" tIns="36000" rIns="216000">
            <a:noAutofit/>
          </a:bodyPr>
          <a:lstStyle>
            <a:lvl1pPr>
              <a:lnSpc>
                <a:spcPct val="90000"/>
              </a:lnSpc>
              <a:defRPr sz="3000">
                <a:solidFill>
                  <a:schemeClr val="tx1"/>
                </a:solidFill>
              </a:defRPr>
            </a:lvl1pPr>
          </a:lstStyle>
          <a:p>
            <a:r>
              <a:rPr lang="en-GB" dirty="0"/>
              <a:t>Divider slide | Insert your headline in maximal 3 </a:t>
            </a:r>
            <a:br>
              <a:rPr lang="en-GB" dirty="0"/>
            </a:br>
            <a:r>
              <a:rPr lang="en-GB" dirty="0"/>
              <a:t>lines here</a:t>
            </a:r>
          </a:p>
        </p:txBody>
      </p:sp>
      <p:sp>
        <p:nvSpPr>
          <p:cNvPr id="203" name="Subtitle 2">
            <a:extLst>
              <a:ext uri="{FF2B5EF4-FFF2-40B4-BE49-F238E27FC236}">
                <a16:creationId xmlns:a16="http://schemas.microsoft.com/office/drawing/2014/main" id="{C5564466-9FD6-F382-3ABF-8D85A17A550B}"/>
              </a:ext>
            </a:extLst>
          </p:cNvPr>
          <p:cNvSpPr>
            <a:spLocks noGrp="1"/>
          </p:cNvSpPr>
          <p:nvPr>
            <p:ph type="subTitle" idx="1" hasCustomPrompt="1"/>
          </p:nvPr>
        </p:nvSpPr>
        <p:spPr bwMode="gray">
          <a:xfrm>
            <a:off x="4727848" y="4076996"/>
            <a:ext cx="5040000" cy="1007999"/>
          </a:xfrm>
          <a:prstGeom prst="rect">
            <a:avLst/>
          </a:prstGeom>
          <a:solidFill>
            <a:schemeClr val="bg1"/>
          </a:solidFill>
          <a:ln w="127">
            <a:solidFill>
              <a:schemeClr val="bg1"/>
            </a:solidFill>
          </a:ln>
        </p:spPr>
        <p:txBody>
          <a:bodyPr lIns="216000" rIns="216000"/>
          <a:lstStyle>
            <a:lvl1pPr marL="0" indent="0" algn="l">
              <a:lnSpc>
                <a:spcPct val="100000"/>
              </a:lnSpc>
              <a:spcBef>
                <a:spcPts val="0"/>
              </a:spcBef>
              <a:buFont typeface="Arial" panose="020B0604020202020204" pitchFamily="34" charset="0"/>
              <a:buNone/>
              <a:defRPr sz="2000" b="0">
                <a:latin typeface="+mn-lt"/>
              </a:defRPr>
            </a:lvl1pPr>
            <a:lvl2pPr marL="0" indent="0" algn="l">
              <a:lnSpc>
                <a:spcPct val="100000"/>
              </a:lnSpc>
              <a:spcBef>
                <a:spcPts val="0"/>
              </a:spcBef>
              <a:buFont typeface="Arial" panose="020B0604020202020204" pitchFamily="34" charset="0"/>
              <a:buNone/>
              <a:defRPr sz="2000" b="0">
                <a:latin typeface="+mn-lt"/>
              </a:defRPr>
            </a:lvl2pPr>
            <a:lvl3pPr marL="0" indent="0" algn="l">
              <a:lnSpc>
                <a:spcPct val="100000"/>
              </a:lnSpc>
              <a:spcBef>
                <a:spcPts val="0"/>
              </a:spcBef>
              <a:buFont typeface="Arial" panose="020B0604020202020204" pitchFamily="34" charset="0"/>
              <a:buNone/>
              <a:defRPr sz="2000" b="0">
                <a:latin typeface="+mn-lt"/>
              </a:defRPr>
            </a:lvl3pPr>
            <a:lvl4pPr marL="0" indent="0" algn="l">
              <a:lnSpc>
                <a:spcPct val="100000"/>
              </a:lnSpc>
              <a:spcBef>
                <a:spcPts val="0"/>
              </a:spcBef>
              <a:buFont typeface="Arial" panose="020B0604020202020204" pitchFamily="34" charset="0"/>
              <a:buNone/>
              <a:defRPr sz="2000" b="0">
                <a:latin typeface="+mn-lt"/>
              </a:defRPr>
            </a:lvl4pPr>
            <a:lvl5pPr marL="0" indent="0" algn="l">
              <a:lnSpc>
                <a:spcPct val="100000"/>
              </a:lnSpc>
              <a:spcBef>
                <a:spcPts val="0"/>
              </a:spcBef>
              <a:buFont typeface="Arial" panose="020B0604020202020204" pitchFamily="34" charset="0"/>
              <a:buNone/>
              <a:defRPr sz="2000" b="0">
                <a:latin typeface="+mn-lt"/>
              </a:defRPr>
            </a:lvl5pPr>
            <a:lvl6pPr marL="0" indent="0" algn="l">
              <a:lnSpc>
                <a:spcPct val="100000"/>
              </a:lnSpc>
              <a:spcBef>
                <a:spcPts val="0"/>
              </a:spcBef>
              <a:buFont typeface="Arial" panose="020B0604020202020204" pitchFamily="34" charset="0"/>
              <a:buNone/>
              <a:defRPr sz="2000" b="0">
                <a:latin typeface="+mn-lt"/>
              </a:defRPr>
            </a:lvl6pPr>
            <a:lvl7pPr marL="0" indent="0" algn="l">
              <a:lnSpc>
                <a:spcPct val="100000"/>
              </a:lnSpc>
              <a:spcBef>
                <a:spcPts val="0"/>
              </a:spcBef>
              <a:buFont typeface="Arial" panose="020B0604020202020204" pitchFamily="34" charset="0"/>
              <a:buNone/>
              <a:defRPr sz="2000" b="0">
                <a:latin typeface="+mn-lt"/>
              </a:defRPr>
            </a:lvl7pPr>
            <a:lvl8pPr marL="0" indent="0" algn="l">
              <a:lnSpc>
                <a:spcPct val="100000"/>
              </a:lnSpc>
              <a:spcBef>
                <a:spcPts val="0"/>
              </a:spcBef>
              <a:buFont typeface="Arial" panose="020B0604020202020204" pitchFamily="34" charset="0"/>
              <a:buNone/>
              <a:defRPr sz="2000" b="0">
                <a:latin typeface="+mn-lt"/>
              </a:defRPr>
            </a:lvl8pPr>
            <a:lvl9pPr marL="0" indent="0" algn="l">
              <a:lnSpc>
                <a:spcPct val="100000"/>
              </a:lnSpc>
              <a:spcBef>
                <a:spcPts val="0"/>
              </a:spcBef>
              <a:buFont typeface="Arial" panose="020B0604020202020204" pitchFamily="34" charset="0"/>
              <a:buNone/>
              <a:defRPr sz="2000" b="0">
                <a:latin typeface="+mn-lt"/>
              </a:defRPr>
            </a:lvl9pPr>
          </a:lstStyle>
          <a:p>
            <a:r>
              <a:rPr lang="en-GB" dirty="0"/>
              <a:t>Insert here your subtitle</a:t>
            </a:r>
          </a:p>
        </p:txBody>
      </p:sp>
    </p:spTree>
    <p:extLst>
      <p:ext uri="{BB962C8B-B14F-4D97-AF65-F5344CB8AC3E}">
        <p14:creationId xmlns:p14="http://schemas.microsoft.com/office/powerpoint/2010/main" val="164789310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ivider 3 | Purple">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98220CE-E254-A695-1294-182347F5A296}"/>
              </a:ext>
            </a:extLst>
          </p:cNvPr>
          <p:cNvGraphicFramePr>
            <a:graphicFrameLocks noChangeAspect="1"/>
          </p:cNvGraphicFramePr>
          <p:nvPr userDrawn="1">
            <p:custDataLst>
              <p:tags r:id="rId1"/>
            </p:custDataLst>
            <p:extLst>
              <p:ext uri="{D42A27DB-BD31-4B8C-83A1-F6EECF244321}">
                <p14:modId xmlns:p14="http://schemas.microsoft.com/office/powerpoint/2010/main" val="332841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2" name="Objekt 1" hidden="1">
                        <a:extLst>
                          <a:ext uri="{FF2B5EF4-FFF2-40B4-BE49-F238E27FC236}">
                            <a16:creationId xmlns:a16="http://schemas.microsoft.com/office/drawing/2014/main" id="{A98220CE-E254-A695-1294-182347F5A2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umsplatzhalter 7">
            <a:extLst>
              <a:ext uri="{FF2B5EF4-FFF2-40B4-BE49-F238E27FC236}">
                <a16:creationId xmlns:a16="http://schemas.microsoft.com/office/drawing/2014/main" id="{A5783A04-68F4-FCE6-B5EF-98845FF5AD59}"/>
              </a:ext>
            </a:extLst>
          </p:cNvPr>
          <p:cNvSpPr>
            <a:spLocks noGrp="1"/>
          </p:cNvSpPr>
          <p:nvPr>
            <p:ph type="dt" sz="half" idx="18"/>
          </p:nvPr>
        </p:nvSpPr>
        <p:spPr/>
        <p:txBody>
          <a:bodyPr/>
          <a:lstStyle/>
          <a:p>
            <a:r>
              <a:rPr lang="en-US"/>
              <a:t>7/26/2022</a:t>
            </a:r>
            <a:endParaRPr lang="en-GB" dirty="0"/>
          </a:p>
        </p:txBody>
      </p:sp>
      <p:sp>
        <p:nvSpPr>
          <p:cNvPr id="9" name="Fußzeilenplatzhalter 8">
            <a:extLst>
              <a:ext uri="{FF2B5EF4-FFF2-40B4-BE49-F238E27FC236}">
                <a16:creationId xmlns:a16="http://schemas.microsoft.com/office/drawing/2014/main" id="{5BED0437-D359-71C7-9C16-CE8D6DC7ED78}"/>
              </a:ext>
            </a:extLst>
          </p:cNvPr>
          <p:cNvSpPr>
            <a:spLocks noGrp="1"/>
          </p:cNvSpPr>
          <p:nvPr>
            <p:ph type="ftr" sz="quarter" idx="19"/>
          </p:nvPr>
        </p:nvSpPr>
        <p:spPr/>
        <p:txBody>
          <a:bodyPr/>
          <a:lstStyle/>
          <a:p>
            <a:r>
              <a:rPr lang="de-DE"/>
              <a:t>Der Konsument nach Corona und Consumer Voice</a:t>
            </a:r>
            <a:endParaRPr lang="de-DE" dirty="0"/>
          </a:p>
        </p:txBody>
      </p:sp>
      <p:sp>
        <p:nvSpPr>
          <p:cNvPr id="10" name="Foliennummernplatzhalter 9">
            <a:extLst>
              <a:ext uri="{FF2B5EF4-FFF2-40B4-BE49-F238E27FC236}">
                <a16:creationId xmlns:a16="http://schemas.microsoft.com/office/drawing/2014/main" id="{9CE08AEE-0CFE-0A6B-AD08-7B974B639DBC}"/>
              </a:ext>
            </a:extLst>
          </p:cNvPr>
          <p:cNvSpPr>
            <a:spLocks noGrp="1"/>
          </p:cNvSpPr>
          <p:nvPr>
            <p:ph type="sldNum" sz="quarter" idx="20"/>
          </p:nvPr>
        </p:nvSpPr>
        <p:spPr/>
        <p:txBody>
          <a:bodyPr/>
          <a:lstStyle/>
          <a:p>
            <a:fld id="{CAEA825B-D749-4F0A-886E-8D45A39EAF2A}" type="slidenum">
              <a:rPr lang="de-DE" smtClean="0"/>
              <a:pPr/>
              <a:t>‹Nº›</a:t>
            </a:fld>
            <a:endParaRPr lang="de-DE"/>
          </a:p>
        </p:txBody>
      </p:sp>
      <p:sp>
        <p:nvSpPr>
          <p:cNvPr id="458" name="Source">
            <a:extLst>
              <a:ext uri="{FF2B5EF4-FFF2-40B4-BE49-F238E27FC236}">
                <a16:creationId xmlns:a16="http://schemas.microsoft.com/office/drawing/2014/main" id="{547214C8-E3AC-D266-0D32-82D90DAB7EDE}"/>
              </a:ext>
            </a:extLst>
          </p:cNvPr>
          <p:cNvSpPr>
            <a:spLocks noGrp="1"/>
          </p:cNvSpPr>
          <p:nvPr>
            <p:ph type="body" sz="quarter" idx="21"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grpSp>
        <p:nvGrpSpPr>
          <p:cNvPr id="192" name="Gruppieren 191">
            <a:extLst>
              <a:ext uri="{FF2B5EF4-FFF2-40B4-BE49-F238E27FC236}">
                <a16:creationId xmlns:a16="http://schemas.microsoft.com/office/drawing/2014/main" id="{949260C2-4162-CDDA-04D4-8F33F9C72029}"/>
              </a:ext>
            </a:extLst>
          </p:cNvPr>
          <p:cNvGrpSpPr/>
          <p:nvPr userDrawn="1"/>
        </p:nvGrpSpPr>
        <p:grpSpPr>
          <a:xfrm>
            <a:off x="317360" y="1484784"/>
            <a:ext cx="11539280" cy="4626512"/>
            <a:chOff x="317360" y="1484784"/>
            <a:chExt cx="11539280" cy="4626512"/>
          </a:xfrm>
        </p:grpSpPr>
        <p:sp>
          <p:nvSpPr>
            <p:cNvPr id="193" name="Rechteck 192">
              <a:extLst>
                <a:ext uri="{FF2B5EF4-FFF2-40B4-BE49-F238E27FC236}">
                  <a16:creationId xmlns:a16="http://schemas.microsoft.com/office/drawing/2014/main" id="{9D31E908-AC13-CE30-738C-83BBF4121876}"/>
                </a:ext>
              </a:extLst>
            </p:cNvPr>
            <p:cNvSpPr/>
            <p:nvPr userDrawn="1"/>
          </p:nvSpPr>
          <p:spPr bwMode="gray">
            <a:xfrm>
              <a:off x="1126257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194" name="Rechteck 193">
              <a:extLst>
                <a:ext uri="{FF2B5EF4-FFF2-40B4-BE49-F238E27FC236}">
                  <a16:creationId xmlns:a16="http://schemas.microsoft.com/office/drawing/2014/main" id="{20AAF0FA-C01A-3FCE-524F-71C47B470C33}"/>
                </a:ext>
              </a:extLst>
            </p:cNvPr>
            <p:cNvSpPr/>
            <p:nvPr userDrawn="1"/>
          </p:nvSpPr>
          <p:spPr bwMode="gray">
            <a:xfrm>
              <a:off x="1068651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195" name="Rechteck 194">
              <a:extLst>
                <a:ext uri="{FF2B5EF4-FFF2-40B4-BE49-F238E27FC236}">
                  <a16:creationId xmlns:a16="http://schemas.microsoft.com/office/drawing/2014/main" id="{8FE604F7-6C47-AE04-7E69-AFD22AED2E18}"/>
                </a:ext>
              </a:extLst>
            </p:cNvPr>
            <p:cNvSpPr/>
            <p:nvPr userDrawn="1"/>
          </p:nvSpPr>
          <p:spPr bwMode="gray">
            <a:xfrm>
              <a:off x="1011044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196" name="Rechteck 195">
              <a:extLst>
                <a:ext uri="{FF2B5EF4-FFF2-40B4-BE49-F238E27FC236}">
                  <a16:creationId xmlns:a16="http://schemas.microsoft.com/office/drawing/2014/main" id="{E3B5197F-4F27-FE33-8197-0D190D534409}"/>
                </a:ext>
              </a:extLst>
            </p:cNvPr>
            <p:cNvSpPr/>
            <p:nvPr userDrawn="1"/>
          </p:nvSpPr>
          <p:spPr bwMode="gray">
            <a:xfrm>
              <a:off x="953438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197" name="Rechteck 196">
              <a:extLst>
                <a:ext uri="{FF2B5EF4-FFF2-40B4-BE49-F238E27FC236}">
                  <a16:creationId xmlns:a16="http://schemas.microsoft.com/office/drawing/2014/main" id="{EE9DBADE-FE14-C59D-7202-150E62B8B08E}"/>
                </a:ext>
              </a:extLst>
            </p:cNvPr>
            <p:cNvSpPr/>
            <p:nvPr userDrawn="1"/>
          </p:nvSpPr>
          <p:spPr bwMode="gray">
            <a:xfrm>
              <a:off x="895832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198" name="Rechteck 197">
              <a:extLst>
                <a:ext uri="{FF2B5EF4-FFF2-40B4-BE49-F238E27FC236}">
                  <a16:creationId xmlns:a16="http://schemas.microsoft.com/office/drawing/2014/main" id="{00C1A49D-72A4-86BA-C3A4-85F64E10C39B}"/>
                </a:ext>
              </a:extLst>
            </p:cNvPr>
            <p:cNvSpPr/>
            <p:nvPr userDrawn="1"/>
          </p:nvSpPr>
          <p:spPr bwMode="gray">
            <a:xfrm>
              <a:off x="838225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199" name="Rechteck 198">
              <a:extLst>
                <a:ext uri="{FF2B5EF4-FFF2-40B4-BE49-F238E27FC236}">
                  <a16:creationId xmlns:a16="http://schemas.microsoft.com/office/drawing/2014/main" id="{899A0955-6631-B3F3-C7B8-8762278FAF12}"/>
                </a:ext>
              </a:extLst>
            </p:cNvPr>
            <p:cNvSpPr/>
            <p:nvPr userDrawn="1"/>
          </p:nvSpPr>
          <p:spPr bwMode="gray">
            <a:xfrm>
              <a:off x="780619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00" name="Rechteck 199">
              <a:extLst>
                <a:ext uri="{FF2B5EF4-FFF2-40B4-BE49-F238E27FC236}">
                  <a16:creationId xmlns:a16="http://schemas.microsoft.com/office/drawing/2014/main" id="{9D4C7CAB-1329-E109-215A-5F3EB42DF7C4}"/>
                </a:ext>
              </a:extLst>
            </p:cNvPr>
            <p:cNvSpPr/>
            <p:nvPr userDrawn="1"/>
          </p:nvSpPr>
          <p:spPr bwMode="gray">
            <a:xfrm>
              <a:off x="723012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01" name="Rechteck 200">
              <a:extLst>
                <a:ext uri="{FF2B5EF4-FFF2-40B4-BE49-F238E27FC236}">
                  <a16:creationId xmlns:a16="http://schemas.microsoft.com/office/drawing/2014/main" id="{B44EBE6C-0818-2D6E-2CD9-59BA385FB36E}"/>
                </a:ext>
              </a:extLst>
            </p:cNvPr>
            <p:cNvSpPr/>
            <p:nvPr userDrawn="1"/>
          </p:nvSpPr>
          <p:spPr bwMode="gray">
            <a:xfrm>
              <a:off x="665406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02" name="Rechteck 201">
              <a:extLst>
                <a:ext uri="{FF2B5EF4-FFF2-40B4-BE49-F238E27FC236}">
                  <a16:creationId xmlns:a16="http://schemas.microsoft.com/office/drawing/2014/main" id="{9BD77C00-CF1D-55FF-C50A-523AC1FEAC9D}"/>
                </a:ext>
              </a:extLst>
            </p:cNvPr>
            <p:cNvSpPr/>
            <p:nvPr userDrawn="1"/>
          </p:nvSpPr>
          <p:spPr bwMode="gray">
            <a:xfrm>
              <a:off x="607800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03" name="Rechteck 202">
              <a:extLst>
                <a:ext uri="{FF2B5EF4-FFF2-40B4-BE49-F238E27FC236}">
                  <a16:creationId xmlns:a16="http://schemas.microsoft.com/office/drawing/2014/main" id="{4B065302-0CEB-CB69-B7AA-DF3B2F2622A1}"/>
                </a:ext>
              </a:extLst>
            </p:cNvPr>
            <p:cNvSpPr/>
            <p:nvPr userDrawn="1"/>
          </p:nvSpPr>
          <p:spPr bwMode="gray">
            <a:xfrm>
              <a:off x="550193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04" name="Rechteck 203">
              <a:extLst>
                <a:ext uri="{FF2B5EF4-FFF2-40B4-BE49-F238E27FC236}">
                  <a16:creationId xmlns:a16="http://schemas.microsoft.com/office/drawing/2014/main" id="{40E30D5D-0D59-D012-1B77-D2EEA5E5F143}"/>
                </a:ext>
              </a:extLst>
            </p:cNvPr>
            <p:cNvSpPr/>
            <p:nvPr userDrawn="1"/>
          </p:nvSpPr>
          <p:spPr bwMode="gray">
            <a:xfrm>
              <a:off x="492587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05" name="Rechteck 204">
              <a:extLst>
                <a:ext uri="{FF2B5EF4-FFF2-40B4-BE49-F238E27FC236}">
                  <a16:creationId xmlns:a16="http://schemas.microsoft.com/office/drawing/2014/main" id="{1B083833-5FFB-4413-4E9B-9C1C04DAB907}"/>
                </a:ext>
              </a:extLst>
            </p:cNvPr>
            <p:cNvSpPr/>
            <p:nvPr userDrawn="1"/>
          </p:nvSpPr>
          <p:spPr bwMode="gray">
            <a:xfrm>
              <a:off x="434980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06" name="Rechteck 205">
              <a:extLst>
                <a:ext uri="{FF2B5EF4-FFF2-40B4-BE49-F238E27FC236}">
                  <a16:creationId xmlns:a16="http://schemas.microsoft.com/office/drawing/2014/main" id="{0A3FD212-91F0-367B-5319-EB0901068F20}"/>
                </a:ext>
              </a:extLst>
            </p:cNvPr>
            <p:cNvSpPr/>
            <p:nvPr userDrawn="1"/>
          </p:nvSpPr>
          <p:spPr bwMode="gray">
            <a:xfrm>
              <a:off x="377374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07" name="Rechteck 206">
              <a:extLst>
                <a:ext uri="{FF2B5EF4-FFF2-40B4-BE49-F238E27FC236}">
                  <a16:creationId xmlns:a16="http://schemas.microsoft.com/office/drawing/2014/main" id="{31846EA9-59BF-1BC8-7750-B5F4601F2B52}"/>
                </a:ext>
              </a:extLst>
            </p:cNvPr>
            <p:cNvSpPr/>
            <p:nvPr userDrawn="1"/>
          </p:nvSpPr>
          <p:spPr bwMode="gray">
            <a:xfrm>
              <a:off x="319768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08" name="Rechteck 207">
              <a:extLst>
                <a:ext uri="{FF2B5EF4-FFF2-40B4-BE49-F238E27FC236}">
                  <a16:creationId xmlns:a16="http://schemas.microsoft.com/office/drawing/2014/main" id="{508933AC-4A1C-EFD1-9196-E5E90D54B8DB}"/>
                </a:ext>
              </a:extLst>
            </p:cNvPr>
            <p:cNvSpPr/>
            <p:nvPr userDrawn="1"/>
          </p:nvSpPr>
          <p:spPr bwMode="gray">
            <a:xfrm>
              <a:off x="262161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09" name="Rechteck 208">
              <a:extLst>
                <a:ext uri="{FF2B5EF4-FFF2-40B4-BE49-F238E27FC236}">
                  <a16:creationId xmlns:a16="http://schemas.microsoft.com/office/drawing/2014/main" id="{01C0B8F6-0EB6-C5D4-4053-5FE851316F07}"/>
                </a:ext>
              </a:extLst>
            </p:cNvPr>
            <p:cNvSpPr/>
            <p:nvPr userDrawn="1"/>
          </p:nvSpPr>
          <p:spPr bwMode="gray">
            <a:xfrm>
              <a:off x="204555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10" name="Rechteck 209">
              <a:extLst>
                <a:ext uri="{FF2B5EF4-FFF2-40B4-BE49-F238E27FC236}">
                  <a16:creationId xmlns:a16="http://schemas.microsoft.com/office/drawing/2014/main" id="{B8198C2E-29AB-BA3B-2911-7566107BAE2E}"/>
                </a:ext>
              </a:extLst>
            </p:cNvPr>
            <p:cNvSpPr/>
            <p:nvPr userDrawn="1"/>
          </p:nvSpPr>
          <p:spPr bwMode="gray">
            <a:xfrm>
              <a:off x="146948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11" name="Rechteck 210">
              <a:extLst>
                <a:ext uri="{FF2B5EF4-FFF2-40B4-BE49-F238E27FC236}">
                  <a16:creationId xmlns:a16="http://schemas.microsoft.com/office/drawing/2014/main" id="{4F24CC8B-E725-FD33-BFFC-284A79CF7B3E}"/>
                </a:ext>
              </a:extLst>
            </p:cNvPr>
            <p:cNvSpPr/>
            <p:nvPr userDrawn="1"/>
          </p:nvSpPr>
          <p:spPr bwMode="gray">
            <a:xfrm>
              <a:off x="89342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12" name="Rechteck 211">
              <a:extLst>
                <a:ext uri="{FF2B5EF4-FFF2-40B4-BE49-F238E27FC236}">
                  <a16:creationId xmlns:a16="http://schemas.microsoft.com/office/drawing/2014/main" id="{5D34DF2E-3370-5D19-5D2C-4FACB98A070B}"/>
                </a:ext>
              </a:extLst>
            </p:cNvPr>
            <p:cNvSpPr/>
            <p:nvPr userDrawn="1"/>
          </p:nvSpPr>
          <p:spPr bwMode="gray">
            <a:xfrm>
              <a:off x="31736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13" name="Rechteck 212">
              <a:extLst>
                <a:ext uri="{FF2B5EF4-FFF2-40B4-BE49-F238E27FC236}">
                  <a16:creationId xmlns:a16="http://schemas.microsoft.com/office/drawing/2014/main" id="{5E0E9A6E-3D67-0BC1-C395-31E1AA84567F}"/>
                </a:ext>
              </a:extLst>
            </p:cNvPr>
            <p:cNvSpPr/>
            <p:nvPr userDrawn="1"/>
          </p:nvSpPr>
          <p:spPr bwMode="gray">
            <a:xfrm>
              <a:off x="1126257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14" name="Rechteck 213">
              <a:extLst>
                <a:ext uri="{FF2B5EF4-FFF2-40B4-BE49-F238E27FC236}">
                  <a16:creationId xmlns:a16="http://schemas.microsoft.com/office/drawing/2014/main" id="{E00A367F-1414-39E0-5E0E-9A202FF848BE}"/>
                </a:ext>
              </a:extLst>
            </p:cNvPr>
            <p:cNvSpPr/>
            <p:nvPr userDrawn="1"/>
          </p:nvSpPr>
          <p:spPr bwMode="gray">
            <a:xfrm>
              <a:off x="1068651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15" name="Rechteck 214">
              <a:extLst>
                <a:ext uri="{FF2B5EF4-FFF2-40B4-BE49-F238E27FC236}">
                  <a16:creationId xmlns:a16="http://schemas.microsoft.com/office/drawing/2014/main" id="{B6B25B48-8F05-4D77-80D2-6AB40EEDE3B5}"/>
                </a:ext>
              </a:extLst>
            </p:cNvPr>
            <p:cNvSpPr/>
            <p:nvPr userDrawn="1"/>
          </p:nvSpPr>
          <p:spPr bwMode="gray">
            <a:xfrm>
              <a:off x="1011044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16" name="Rechteck 215">
              <a:extLst>
                <a:ext uri="{FF2B5EF4-FFF2-40B4-BE49-F238E27FC236}">
                  <a16:creationId xmlns:a16="http://schemas.microsoft.com/office/drawing/2014/main" id="{8CF2BFC8-5279-B447-683C-A6A1BD6667D5}"/>
                </a:ext>
              </a:extLst>
            </p:cNvPr>
            <p:cNvSpPr/>
            <p:nvPr userDrawn="1"/>
          </p:nvSpPr>
          <p:spPr bwMode="gray">
            <a:xfrm>
              <a:off x="953438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17" name="Rechteck 216">
              <a:extLst>
                <a:ext uri="{FF2B5EF4-FFF2-40B4-BE49-F238E27FC236}">
                  <a16:creationId xmlns:a16="http://schemas.microsoft.com/office/drawing/2014/main" id="{D99810F6-77FB-A590-D1DE-A0ECBF630F97}"/>
                </a:ext>
              </a:extLst>
            </p:cNvPr>
            <p:cNvSpPr/>
            <p:nvPr userDrawn="1"/>
          </p:nvSpPr>
          <p:spPr bwMode="gray">
            <a:xfrm>
              <a:off x="895832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18" name="Rechteck 217">
              <a:extLst>
                <a:ext uri="{FF2B5EF4-FFF2-40B4-BE49-F238E27FC236}">
                  <a16:creationId xmlns:a16="http://schemas.microsoft.com/office/drawing/2014/main" id="{D0A4A3BB-65E7-2B2E-DA71-A582CB0FE0A8}"/>
                </a:ext>
              </a:extLst>
            </p:cNvPr>
            <p:cNvSpPr/>
            <p:nvPr userDrawn="1"/>
          </p:nvSpPr>
          <p:spPr bwMode="gray">
            <a:xfrm>
              <a:off x="838225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19" name="Rechteck 218">
              <a:extLst>
                <a:ext uri="{FF2B5EF4-FFF2-40B4-BE49-F238E27FC236}">
                  <a16:creationId xmlns:a16="http://schemas.microsoft.com/office/drawing/2014/main" id="{40C074D3-A66D-3A49-9914-87C05ACF4CE1}"/>
                </a:ext>
              </a:extLst>
            </p:cNvPr>
            <p:cNvSpPr/>
            <p:nvPr userDrawn="1"/>
          </p:nvSpPr>
          <p:spPr bwMode="gray">
            <a:xfrm>
              <a:off x="780619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20" name="Rechteck 219">
              <a:extLst>
                <a:ext uri="{FF2B5EF4-FFF2-40B4-BE49-F238E27FC236}">
                  <a16:creationId xmlns:a16="http://schemas.microsoft.com/office/drawing/2014/main" id="{8DB3C210-E91A-188E-D71C-0ADE7E74A4C8}"/>
                </a:ext>
              </a:extLst>
            </p:cNvPr>
            <p:cNvSpPr/>
            <p:nvPr userDrawn="1"/>
          </p:nvSpPr>
          <p:spPr bwMode="gray">
            <a:xfrm>
              <a:off x="723012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21" name="Rechteck 220">
              <a:extLst>
                <a:ext uri="{FF2B5EF4-FFF2-40B4-BE49-F238E27FC236}">
                  <a16:creationId xmlns:a16="http://schemas.microsoft.com/office/drawing/2014/main" id="{7FC83786-B161-DEFF-BE61-4B624AD023E7}"/>
                </a:ext>
              </a:extLst>
            </p:cNvPr>
            <p:cNvSpPr/>
            <p:nvPr userDrawn="1"/>
          </p:nvSpPr>
          <p:spPr bwMode="gray">
            <a:xfrm>
              <a:off x="665406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22" name="Rechteck 221">
              <a:extLst>
                <a:ext uri="{FF2B5EF4-FFF2-40B4-BE49-F238E27FC236}">
                  <a16:creationId xmlns:a16="http://schemas.microsoft.com/office/drawing/2014/main" id="{5A91F7CD-6389-2F46-5E58-B72A887524A7}"/>
                </a:ext>
              </a:extLst>
            </p:cNvPr>
            <p:cNvSpPr/>
            <p:nvPr userDrawn="1"/>
          </p:nvSpPr>
          <p:spPr bwMode="gray">
            <a:xfrm>
              <a:off x="607800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23" name="Rechteck 222">
              <a:extLst>
                <a:ext uri="{FF2B5EF4-FFF2-40B4-BE49-F238E27FC236}">
                  <a16:creationId xmlns:a16="http://schemas.microsoft.com/office/drawing/2014/main" id="{07EC94A4-A06F-B8C3-FA0B-3AD93DF52B7E}"/>
                </a:ext>
              </a:extLst>
            </p:cNvPr>
            <p:cNvSpPr/>
            <p:nvPr userDrawn="1"/>
          </p:nvSpPr>
          <p:spPr bwMode="gray">
            <a:xfrm>
              <a:off x="550193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24" name="Rechteck 223">
              <a:extLst>
                <a:ext uri="{FF2B5EF4-FFF2-40B4-BE49-F238E27FC236}">
                  <a16:creationId xmlns:a16="http://schemas.microsoft.com/office/drawing/2014/main" id="{61CF7FBF-2901-D634-8EDD-631F3F978A1A}"/>
                </a:ext>
              </a:extLst>
            </p:cNvPr>
            <p:cNvSpPr/>
            <p:nvPr userDrawn="1"/>
          </p:nvSpPr>
          <p:spPr bwMode="gray">
            <a:xfrm>
              <a:off x="492587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25" name="Rechteck 224">
              <a:extLst>
                <a:ext uri="{FF2B5EF4-FFF2-40B4-BE49-F238E27FC236}">
                  <a16:creationId xmlns:a16="http://schemas.microsoft.com/office/drawing/2014/main" id="{4ABC9F24-E672-4D29-AE4F-B35827652A25}"/>
                </a:ext>
              </a:extLst>
            </p:cNvPr>
            <p:cNvSpPr/>
            <p:nvPr userDrawn="1"/>
          </p:nvSpPr>
          <p:spPr bwMode="gray">
            <a:xfrm>
              <a:off x="434980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26" name="Rechteck 225">
              <a:extLst>
                <a:ext uri="{FF2B5EF4-FFF2-40B4-BE49-F238E27FC236}">
                  <a16:creationId xmlns:a16="http://schemas.microsoft.com/office/drawing/2014/main" id="{652C8191-D897-ECB7-C5DF-A11897A4871A}"/>
                </a:ext>
              </a:extLst>
            </p:cNvPr>
            <p:cNvSpPr/>
            <p:nvPr userDrawn="1"/>
          </p:nvSpPr>
          <p:spPr bwMode="gray">
            <a:xfrm>
              <a:off x="377374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27" name="Rechteck 226">
              <a:extLst>
                <a:ext uri="{FF2B5EF4-FFF2-40B4-BE49-F238E27FC236}">
                  <a16:creationId xmlns:a16="http://schemas.microsoft.com/office/drawing/2014/main" id="{D00A95CE-25B4-0674-5941-0DBC51F5FC63}"/>
                </a:ext>
              </a:extLst>
            </p:cNvPr>
            <p:cNvSpPr/>
            <p:nvPr userDrawn="1"/>
          </p:nvSpPr>
          <p:spPr bwMode="gray">
            <a:xfrm>
              <a:off x="319768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28" name="Rechteck 227">
              <a:extLst>
                <a:ext uri="{FF2B5EF4-FFF2-40B4-BE49-F238E27FC236}">
                  <a16:creationId xmlns:a16="http://schemas.microsoft.com/office/drawing/2014/main" id="{77E8A66E-D4B7-A60B-3A78-7CD408F63ACD}"/>
                </a:ext>
              </a:extLst>
            </p:cNvPr>
            <p:cNvSpPr/>
            <p:nvPr userDrawn="1"/>
          </p:nvSpPr>
          <p:spPr bwMode="gray">
            <a:xfrm>
              <a:off x="262161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29" name="Rechteck 228">
              <a:extLst>
                <a:ext uri="{FF2B5EF4-FFF2-40B4-BE49-F238E27FC236}">
                  <a16:creationId xmlns:a16="http://schemas.microsoft.com/office/drawing/2014/main" id="{1D194F65-E110-D636-583E-7A96CA742B02}"/>
                </a:ext>
              </a:extLst>
            </p:cNvPr>
            <p:cNvSpPr/>
            <p:nvPr userDrawn="1"/>
          </p:nvSpPr>
          <p:spPr bwMode="gray">
            <a:xfrm>
              <a:off x="204555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30" name="Rechteck 229">
              <a:extLst>
                <a:ext uri="{FF2B5EF4-FFF2-40B4-BE49-F238E27FC236}">
                  <a16:creationId xmlns:a16="http://schemas.microsoft.com/office/drawing/2014/main" id="{766ED442-2E7B-9F19-041D-5098F1E68298}"/>
                </a:ext>
              </a:extLst>
            </p:cNvPr>
            <p:cNvSpPr/>
            <p:nvPr userDrawn="1"/>
          </p:nvSpPr>
          <p:spPr bwMode="gray">
            <a:xfrm>
              <a:off x="146948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31" name="Rechteck 230">
              <a:extLst>
                <a:ext uri="{FF2B5EF4-FFF2-40B4-BE49-F238E27FC236}">
                  <a16:creationId xmlns:a16="http://schemas.microsoft.com/office/drawing/2014/main" id="{CDEE524D-8F9B-30BF-C101-B8214630BD20}"/>
                </a:ext>
              </a:extLst>
            </p:cNvPr>
            <p:cNvSpPr/>
            <p:nvPr userDrawn="1"/>
          </p:nvSpPr>
          <p:spPr bwMode="gray">
            <a:xfrm>
              <a:off x="89342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32" name="Rechteck 231">
              <a:extLst>
                <a:ext uri="{FF2B5EF4-FFF2-40B4-BE49-F238E27FC236}">
                  <a16:creationId xmlns:a16="http://schemas.microsoft.com/office/drawing/2014/main" id="{26311126-1D8A-A6C4-AD15-C8DCE99B6D65}"/>
                </a:ext>
              </a:extLst>
            </p:cNvPr>
            <p:cNvSpPr/>
            <p:nvPr userDrawn="1"/>
          </p:nvSpPr>
          <p:spPr bwMode="gray">
            <a:xfrm>
              <a:off x="31736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33" name="Rechteck 232">
              <a:extLst>
                <a:ext uri="{FF2B5EF4-FFF2-40B4-BE49-F238E27FC236}">
                  <a16:creationId xmlns:a16="http://schemas.microsoft.com/office/drawing/2014/main" id="{89757350-0705-0B2F-B24E-D694C9062196}"/>
                </a:ext>
              </a:extLst>
            </p:cNvPr>
            <p:cNvSpPr/>
            <p:nvPr userDrawn="1"/>
          </p:nvSpPr>
          <p:spPr bwMode="gray">
            <a:xfrm>
              <a:off x="1126257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34" name="Rechteck 233">
              <a:extLst>
                <a:ext uri="{FF2B5EF4-FFF2-40B4-BE49-F238E27FC236}">
                  <a16:creationId xmlns:a16="http://schemas.microsoft.com/office/drawing/2014/main" id="{CC9AC3AC-15F0-97BA-E5A3-B3DACE69CE57}"/>
                </a:ext>
              </a:extLst>
            </p:cNvPr>
            <p:cNvSpPr/>
            <p:nvPr userDrawn="1"/>
          </p:nvSpPr>
          <p:spPr bwMode="gray">
            <a:xfrm>
              <a:off x="1068651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35" name="Rechteck 234">
              <a:extLst>
                <a:ext uri="{FF2B5EF4-FFF2-40B4-BE49-F238E27FC236}">
                  <a16:creationId xmlns:a16="http://schemas.microsoft.com/office/drawing/2014/main" id="{2876760A-352C-7EA2-205A-7EF28FE84771}"/>
                </a:ext>
              </a:extLst>
            </p:cNvPr>
            <p:cNvSpPr/>
            <p:nvPr userDrawn="1"/>
          </p:nvSpPr>
          <p:spPr bwMode="gray">
            <a:xfrm>
              <a:off x="1011044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36" name="Rechteck 235">
              <a:extLst>
                <a:ext uri="{FF2B5EF4-FFF2-40B4-BE49-F238E27FC236}">
                  <a16:creationId xmlns:a16="http://schemas.microsoft.com/office/drawing/2014/main" id="{84C0A338-1DC5-9B09-47BF-7B148B18087F}"/>
                </a:ext>
              </a:extLst>
            </p:cNvPr>
            <p:cNvSpPr/>
            <p:nvPr userDrawn="1"/>
          </p:nvSpPr>
          <p:spPr bwMode="gray">
            <a:xfrm>
              <a:off x="953438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37" name="Rechteck 236">
              <a:extLst>
                <a:ext uri="{FF2B5EF4-FFF2-40B4-BE49-F238E27FC236}">
                  <a16:creationId xmlns:a16="http://schemas.microsoft.com/office/drawing/2014/main" id="{2EDCBC3B-7137-B7B2-8B8D-077182A21221}"/>
                </a:ext>
              </a:extLst>
            </p:cNvPr>
            <p:cNvSpPr/>
            <p:nvPr userDrawn="1"/>
          </p:nvSpPr>
          <p:spPr bwMode="gray">
            <a:xfrm>
              <a:off x="895832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38" name="Rechteck 237">
              <a:extLst>
                <a:ext uri="{FF2B5EF4-FFF2-40B4-BE49-F238E27FC236}">
                  <a16:creationId xmlns:a16="http://schemas.microsoft.com/office/drawing/2014/main" id="{DAE9F553-27B3-E067-1D55-AACE2211EA5B}"/>
                </a:ext>
              </a:extLst>
            </p:cNvPr>
            <p:cNvSpPr/>
            <p:nvPr userDrawn="1"/>
          </p:nvSpPr>
          <p:spPr bwMode="gray">
            <a:xfrm>
              <a:off x="838225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39" name="Rechteck 238">
              <a:extLst>
                <a:ext uri="{FF2B5EF4-FFF2-40B4-BE49-F238E27FC236}">
                  <a16:creationId xmlns:a16="http://schemas.microsoft.com/office/drawing/2014/main" id="{DA43BE25-6108-FB85-C2BB-0CEEA7A26672}"/>
                </a:ext>
              </a:extLst>
            </p:cNvPr>
            <p:cNvSpPr/>
            <p:nvPr userDrawn="1"/>
          </p:nvSpPr>
          <p:spPr bwMode="gray">
            <a:xfrm>
              <a:off x="780619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40" name="Rechteck 239">
              <a:extLst>
                <a:ext uri="{FF2B5EF4-FFF2-40B4-BE49-F238E27FC236}">
                  <a16:creationId xmlns:a16="http://schemas.microsoft.com/office/drawing/2014/main" id="{86D24EEA-FD77-4250-0B36-4943B903AFA8}"/>
                </a:ext>
              </a:extLst>
            </p:cNvPr>
            <p:cNvSpPr/>
            <p:nvPr userDrawn="1"/>
          </p:nvSpPr>
          <p:spPr bwMode="gray">
            <a:xfrm>
              <a:off x="723012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41" name="Rechteck 240">
              <a:extLst>
                <a:ext uri="{FF2B5EF4-FFF2-40B4-BE49-F238E27FC236}">
                  <a16:creationId xmlns:a16="http://schemas.microsoft.com/office/drawing/2014/main" id="{BEE90884-A79F-E44C-79F2-2021D14228AD}"/>
                </a:ext>
              </a:extLst>
            </p:cNvPr>
            <p:cNvSpPr/>
            <p:nvPr userDrawn="1"/>
          </p:nvSpPr>
          <p:spPr bwMode="gray">
            <a:xfrm>
              <a:off x="665406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42" name="Rechteck 241">
              <a:extLst>
                <a:ext uri="{FF2B5EF4-FFF2-40B4-BE49-F238E27FC236}">
                  <a16:creationId xmlns:a16="http://schemas.microsoft.com/office/drawing/2014/main" id="{99720449-DD2F-EA73-8869-29B2DB41ECDB}"/>
                </a:ext>
              </a:extLst>
            </p:cNvPr>
            <p:cNvSpPr/>
            <p:nvPr userDrawn="1"/>
          </p:nvSpPr>
          <p:spPr bwMode="gray">
            <a:xfrm>
              <a:off x="607800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43" name="Rechteck 242">
              <a:extLst>
                <a:ext uri="{FF2B5EF4-FFF2-40B4-BE49-F238E27FC236}">
                  <a16:creationId xmlns:a16="http://schemas.microsoft.com/office/drawing/2014/main" id="{375337F0-7695-1599-CF97-D291B79D38B0}"/>
                </a:ext>
              </a:extLst>
            </p:cNvPr>
            <p:cNvSpPr/>
            <p:nvPr userDrawn="1"/>
          </p:nvSpPr>
          <p:spPr bwMode="gray">
            <a:xfrm>
              <a:off x="550193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44" name="Rechteck 243">
              <a:extLst>
                <a:ext uri="{FF2B5EF4-FFF2-40B4-BE49-F238E27FC236}">
                  <a16:creationId xmlns:a16="http://schemas.microsoft.com/office/drawing/2014/main" id="{D1B47A09-CF24-9CE0-E7EA-46ED78A646C4}"/>
                </a:ext>
              </a:extLst>
            </p:cNvPr>
            <p:cNvSpPr/>
            <p:nvPr userDrawn="1"/>
          </p:nvSpPr>
          <p:spPr bwMode="gray">
            <a:xfrm>
              <a:off x="492587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45" name="Rechteck 244">
              <a:extLst>
                <a:ext uri="{FF2B5EF4-FFF2-40B4-BE49-F238E27FC236}">
                  <a16:creationId xmlns:a16="http://schemas.microsoft.com/office/drawing/2014/main" id="{C2B582C0-6A1C-CCBC-D18A-815F33E3C956}"/>
                </a:ext>
              </a:extLst>
            </p:cNvPr>
            <p:cNvSpPr/>
            <p:nvPr userDrawn="1"/>
          </p:nvSpPr>
          <p:spPr bwMode="gray">
            <a:xfrm>
              <a:off x="434980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46" name="Rechteck 245">
              <a:extLst>
                <a:ext uri="{FF2B5EF4-FFF2-40B4-BE49-F238E27FC236}">
                  <a16:creationId xmlns:a16="http://schemas.microsoft.com/office/drawing/2014/main" id="{9559B36A-F065-DC6E-028E-471CACE72BA9}"/>
                </a:ext>
              </a:extLst>
            </p:cNvPr>
            <p:cNvSpPr/>
            <p:nvPr userDrawn="1"/>
          </p:nvSpPr>
          <p:spPr bwMode="gray">
            <a:xfrm>
              <a:off x="377374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47" name="Rechteck 246">
              <a:extLst>
                <a:ext uri="{FF2B5EF4-FFF2-40B4-BE49-F238E27FC236}">
                  <a16:creationId xmlns:a16="http://schemas.microsoft.com/office/drawing/2014/main" id="{F2996B77-BB42-1FAF-D151-109EB58EDD86}"/>
                </a:ext>
              </a:extLst>
            </p:cNvPr>
            <p:cNvSpPr/>
            <p:nvPr userDrawn="1"/>
          </p:nvSpPr>
          <p:spPr bwMode="gray">
            <a:xfrm>
              <a:off x="319768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48" name="Rechteck 247">
              <a:extLst>
                <a:ext uri="{FF2B5EF4-FFF2-40B4-BE49-F238E27FC236}">
                  <a16:creationId xmlns:a16="http://schemas.microsoft.com/office/drawing/2014/main" id="{5A2724B1-CD76-B206-4D7B-D74D5630DFE1}"/>
                </a:ext>
              </a:extLst>
            </p:cNvPr>
            <p:cNvSpPr/>
            <p:nvPr userDrawn="1"/>
          </p:nvSpPr>
          <p:spPr bwMode="gray">
            <a:xfrm>
              <a:off x="262161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49" name="Rechteck 248">
              <a:extLst>
                <a:ext uri="{FF2B5EF4-FFF2-40B4-BE49-F238E27FC236}">
                  <a16:creationId xmlns:a16="http://schemas.microsoft.com/office/drawing/2014/main" id="{A0D0E047-9746-D3EB-F29E-3D3C2F08F9B9}"/>
                </a:ext>
              </a:extLst>
            </p:cNvPr>
            <p:cNvSpPr/>
            <p:nvPr userDrawn="1"/>
          </p:nvSpPr>
          <p:spPr bwMode="gray">
            <a:xfrm>
              <a:off x="204555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50" name="Rechteck 249">
              <a:extLst>
                <a:ext uri="{FF2B5EF4-FFF2-40B4-BE49-F238E27FC236}">
                  <a16:creationId xmlns:a16="http://schemas.microsoft.com/office/drawing/2014/main" id="{243F2C41-054B-E644-FF6C-2CA64B7E98E1}"/>
                </a:ext>
              </a:extLst>
            </p:cNvPr>
            <p:cNvSpPr/>
            <p:nvPr userDrawn="1"/>
          </p:nvSpPr>
          <p:spPr bwMode="gray">
            <a:xfrm>
              <a:off x="146948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51" name="Rechteck 250">
              <a:extLst>
                <a:ext uri="{FF2B5EF4-FFF2-40B4-BE49-F238E27FC236}">
                  <a16:creationId xmlns:a16="http://schemas.microsoft.com/office/drawing/2014/main" id="{342E6401-215E-77EC-E0E8-B500335BF218}"/>
                </a:ext>
              </a:extLst>
            </p:cNvPr>
            <p:cNvSpPr/>
            <p:nvPr userDrawn="1"/>
          </p:nvSpPr>
          <p:spPr bwMode="gray">
            <a:xfrm>
              <a:off x="89342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52" name="Rechteck 251">
              <a:extLst>
                <a:ext uri="{FF2B5EF4-FFF2-40B4-BE49-F238E27FC236}">
                  <a16:creationId xmlns:a16="http://schemas.microsoft.com/office/drawing/2014/main" id="{34809D1A-B906-EC3F-1870-44B2500C6748}"/>
                </a:ext>
              </a:extLst>
            </p:cNvPr>
            <p:cNvSpPr/>
            <p:nvPr userDrawn="1"/>
          </p:nvSpPr>
          <p:spPr bwMode="gray">
            <a:xfrm>
              <a:off x="31736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53" name="Rechteck 252">
              <a:extLst>
                <a:ext uri="{FF2B5EF4-FFF2-40B4-BE49-F238E27FC236}">
                  <a16:creationId xmlns:a16="http://schemas.microsoft.com/office/drawing/2014/main" id="{D5251D58-A5B8-4272-01AD-A37A50DE42D7}"/>
                </a:ext>
              </a:extLst>
            </p:cNvPr>
            <p:cNvSpPr/>
            <p:nvPr userDrawn="1"/>
          </p:nvSpPr>
          <p:spPr bwMode="gray">
            <a:xfrm>
              <a:off x="1126257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54" name="Rechteck 253">
              <a:extLst>
                <a:ext uri="{FF2B5EF4-FFF2-40B4-BE49-F238E27FC236}">
                  <a16:creationId xmlns:a16="http://schemas.microsoft.com/office/drawing/2014/main" id="{CBBAF8C3-B9F4-D7AE-D961-99171B6E475D}"/>
                </a:ext>
              </a:extLst>
            </p:cNvPr>
            <p:cNvSpPr/>
            <p:nvPr userDrawn="1"/>
          </p:nvSpPr>
          <p:spPr bwMode="gray">
            <a:xfrm>
              <a:off x="1068651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55" name="Rechteck 254">
              <a:extLst>
                <a:ext uri="{FF2B5EF4-FFF2-40B4-BE49-F238E27FC236}">
                  <a16:creationId xmlns:a16="http://schemas.microsoft.com/office/drawing/2014/main" id="{F3EEFDE1-6439-FEC2-3547-47B51349AC28}"/>
                </a:ext>
              </a:extLst>
            </p:cNvPr>
            <p:cNvSpPr/>
            <p:nvPr userDrawn="1"/>
          </p:nvSpPr>
          <p:spPr bwMode="gray">
            <a:xfrm>
              <a:off x="1011044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56" name="Rechteck 255">
              <a:extLst>
                <a:ext uri="{FF2B5EF4-FFF2-40B4-BE49-F238E27FC236}">
                  <a16:creationId xmlns:a16="http://schemas.microsoft.com/office/drawing/2014/main" id="{B8884E0E-1CB7-F65B-DE10-C6AC9BA5ED74}"/>
                </a:ext>
              </a:extLst>
            </p:cNvPr>
            <p:cNvSpPr/>
            <p:nvPr userDrawn="1"/>
          </p:nvSpPr>
          <p:spPr bwMode="gray">
            <a:xfrm>
              <a:off x="953438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57" name="Rechteck 256">
              <a:extLst>
                <a:ext uri="{FF2B5EF4-FFF2-40B4-BE49-F238E27FC236}">
                  <a16:creationId xmlns:a16="http://schemas.microsoft.com/office/drawing/2014/main" id="{7608BA2B-F738-E0A2-A440-605D9F207C62}"/>
                </a:ext>
              </a:extLst>
            </p:cNvPr>
            <p:cNvSpPr/>
            <p:nvPr userDrawn="1"/>
          </p:nvSpPr>
          <p:spPr bwMode="gray">
            <a:xfrm>
              <a:off x="895832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58" name="Rechteck 257">
              <a:extLst>
                <a:ext uri="{FF2B5EF4-FFF2-40B4-BE49-F238E27FC236}">
                  <a16:creationId xmlns:a16="http://schemas.microsoft.com/office/drawing/2014/main" id="{C3E3ACF8-D8CC-EBA4-D262-4ECD4ECC837E}"/>
                </a:ext>
              </a:extLst>
            </p:cNvPr>
            <p:cNvSpPr/>
            <p:nvPr userDrawn="1"/>
          </p:nvSpPr>
          <p:spPr bwMode="gray">
            <a:xfrm>
              <a:off x="838225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59" name="Rechteck 258">
              <a:extLst>
                <a:ext uri="{FF2B5EF4-FFF2-40B4-BE49-F238E27FC236}">
                  <a16:creationId xmlns:a16="http://schemas.microsoft.com/office/drawing/2014/main" id="{A612E483-BFE3-9200-6457-19EAECED2BF3}"/>
                </a:ext>
              </a:extLst>
            </p:cNvPr>
            <p:cNvSpPr/>
            <p:nvPr userDrawn="1"/>
          </p:nvSpPr>
          <p:spPr bwMode="gray">
            <a:xfrm>
              <a:off x="780619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60" name="Rechteck 259">
              <a:extLst>
                <a:ext uri="{FF2B5EF4-FFF2-40B4-BE49-F238E27FC236}">
                  <a16:creationId xmlns:a16="http://schemas.microsoft.com/office/drawing/2014/main" id="{7753A566-FE63-5647-500C-90332DFF959F}"/>
                </a:ext>
              </a:extLst>
            </p:cNvPr>
            <p:cNvSpPr/>
            <p:nvPr userDrawn="1"/>
          </p:nvSpPr>
          <p:spPr bwMode="gray">
            <a:xfrm>
              <a:off x="723012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61" name="Rechteck 260">
              <a:extLst>
                <a:ext uri="{FF2B5EF4-FFF2-40B4-BE49-F238E27FC236}">
                  <a16:creationId xmlns:a16="http://schemas.microsoft.com/office/drawing/2014/main" id="{7BB3C77A-BA76-592A-CD60-273F9888E3D8}"/>
                </a:ext>
              </a:extLst>
            </p:cNvPr>
            <p:cNvSpPr/>
            <p:nvPr userDrawn="1"/>
          </p:nvSpPr>
          <p:spPr bwMode="gray">
            <a:xfrm>
              <a:off x="665406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62" name="Rechteck 261">
              <a:extLst>
                <a:ext uri="{FF2B5EF4-FFF2-40B4-BE49-F238E27FC236}">
                  <a16:creationId xmlns:a16="http://schemas.microsoft.com/office/drawing/2014/main" id="{03554EDD-BEC8-2C4D-75F6-66CD0E214E58}"/>
                </a:ext>
              </a:extLst>
            </p:cNvPr>
            <p:cNvSpPr/>
            <p:nvPr userDrawn="1"/>
          </p:nvSpPr>
          <p:spPr bwMode="gray">
            <a:xfrm>
              <a:off x="607800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63" name="Rechteck 262">
              <a:extLst>
                <a:ext uri="{FF2B5EF4-FFF2-40B4-BE49-F238E27FC236}">
                  <a16:creationId xmlns:a16="http://schemas.microsoft.com/office/drawing/2014/main" id="{B8039B25-2B77-3021-3E6A-56308F936A42}"/>
                </a:ext>
              </a:extLst>
            </p:cNvPr>
            <p:cNvSpPr/>
            <p:nvPr userDrawn="1"/>
          </p:nvSpPr>
          <p:spPr bwMode="gray">
            <a:xfrm>
              <a:off x="550193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64" name="Rechteck 263">
              <a:extLst>
                <a:ext uri="{FF2B5EF4-FFF2-40B4-BE49-F238E27FC236}">
                  <a16:creationId xmlns:a16="http://schemas.microsoft.com/office/drawing/2014/main" id="{84BBD9C7-B297-408D-F6E3-0C89FE7A3D24}"/>
                </a:ext>
              </a:extLst>
            </p:cNvPr>
            <p:cNvSpPr/>
            <p:nvPr userDrawn="1"/>
          </p:nvSpPr>
          <p:spPr bwMode="gray">
            <a:xfrm>
              <a:off x="492587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65" name="Rechteck 264">
              <a:extLst>
                <a:ext uri="{FF2B5EF4-FFF2-40B4-BE49-F238E27FC236}">
                  <a16:creationId xmlns:a16="http://schemas.microsoft.com/office/drawing/2014/main" id="{12AFEAB5-1265-6B6D-7804-465191A3C3F6}"/>
                </a:ext>
              </a:extLst>
            </p:cNvPr>
            <p:cNvSpPr/>
            <p:nvPr userDrawn="1"/>
          </p:nvSpPr>
          <p:spPr bwMode="gray">
            <a:xfrm>
              <a:off x="434980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66" name="Rechteck 265">
              <a:extLst>
                <a:ext uri="{FF2B5EF4-FFF2-40B4-BE49-F238E27FC236}">
                  <a16:creationId xmlns:a16="http://schemas.microsoft.com/office/drawing/2014/main" id="{131E627F-AD91-0DFD-D37C-97CEF1100267}"/>
                </a:ext>
              </a:extLst>
            </p:cNvPr>
            <p:cNvSpPr/>
            <p:nvPr userDrawn="1"/>
          </p:nvSpPr>
          <p:spPr bwMode="gray">
            <a:xfrm>
              <a:off x="377374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67" name="Rechteck 266">
              <a:extLst>
                <a:ext uri="{FF2B5EF4-FFF2-40B4-BE49-F238E27FC236}">
                  <a16:creationId xmlns:a16="http://schemas.microsoft.com/office/drawing/2014/main" id="{5C6DFA30-9E8B-A9AF-D5FD-C6CA90129CF3}"/>
                </a:ext>
              </a:extLst>
            </p:cNvPr>
            <p:cNvSpPr/>
            <p:nvPr userDrawn="1"/>
          </p:nvSpPr>
          <p:spPr bwMode="gray">
            <a:xfrm>
              <a:off x="319768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68" name="Rechteck 267">
              <a:extLst>
                <a:ext uri="{FF2B5EF4-FFF2-40B4-BE49-F238E27FC236}">
                  <a16:creationId xmlns:a16="http://schemas.microsoft.com/office/drawing/2014/main" id="{850923D4-A0C5-5A03-8A48-0ED5548FB375}"/>
                </a:ext>
              </a:extLst>
            </p:cNvPr>
            <p:cNvSpPr/>
            <p:nvPr userDrawn="1"/>
          </p:nvSpPr>
          <p:spPr bwMode="gray">
            <a:xfrm>
              <a:off x="262161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69" name="Rechteck 268">
              <a:extLst>
                <a:ext uri="{FF2B5EF4-FFF2-40B4-BE49-F238E27FC236}">
                  <a16:creationId xmlns:a16="http://schemas.microsoft.com/office/drawing/2014/main" id="{E2736851-821A-D1B9-57AB-D8BD4C2E342D}"/>
                </a:ext>
              </a:extLst>
            </p:cNvPr>
            <p:cNvSpPr/>
            <p:nvPr userDrawn="1"/>
          </p:nvSpPr>
          <p:spPr bwMode="gray">
            <a:xfrm>
              <a:off x="204555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70" name="Rechteck 269">
              <a:extLst>
                <a:ext uri="{FF2B5EF4-FFF2-40B4-BE49-F238E27FC236}">
                  <a16:creationId xmlns:a16="http://schemas.microsoft.com/office/drawing/2014/main" id="{453D0650-FE37-6B14-D0CA-DF3C8FD31F26}"/>
                </a:ext>
              </a:extLst>
            </p:cNvPr>
            <p:cNvSpPr/>
            <p:nvPr userDrawn="1"/>
          </p:nvSpPr>
          <p:spPr bwMode="gray">
            <a:xfrm>
              <a:off x="146948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71" name="Rechteck 270">
              <a:extLst>
                <a:ext uri="{FF2B5EF4-FFF2-40B4-BE49-F238E27FC236}">
                  <a16:creationId xmlns:a16="http://schemas.microsoft.com/office/drawing/2014/main" id="{A40CC9A8-5408-F7CF-946F-0C0A8E1FBBC1}"/>
                </a:ext>
              </a:extLst>
            </p:cNvPr>
            <p:cNvSpPr/>
            <p:nvPr userDrawn="1"/>
          </p:nvSpPr>
          <p:spPr bwMode="gray">
            <a:xfrm>
              <a:off x="89342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72" name="Rechteck 271">
              <a:extLst>
                <a:ext uri="{FF2B5EF4-FFF2-40B4-BE49-F238E27FC236}">
                  <a16:creationId xmlns:a16="http://schemas.microsoft.com/office/drawing/2014/main" id="{BF25D9F2-9DA2-F816-C96D-07ECDF494FF1}"/>
                </a:ext>
              </a:extLst>
            </p:cNvPr>
            <p:cNvSpPr/>
            <p:nvPr userDrawn="1"/>
          </p:nvSpPr>
          <p:spPr bwMode="gray">
            <a:xfrm>
              <a:off x="31736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59" name="Rechteck 458">
              <a:extLst>
                <a:ext uri="{FF2B5EF4-FFF2-40B4-BE49-F238E27FC236}">
                  <a16:creationId xmlns:a16="http://schemas.microsoft.com/office/drawing/2014/main" id="{8647EDF6-EB9F-27DF-B6B0-BC44ACF31E23}"/>
                </a:ext>
              </a:extLst>
            </p:cNvPr>
            <p:cNvSpPr/>
            <p:nvPr userDrawn="1"/>
          </p:nvSpPr>
          <p:spPr bwMode="gray">
            <a:xfrm>
              <a:off x="1126257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0" name="Rechteck 459">
              <a:extLst>
                <a:ext uri="{FF2B5EF4-FFF2-40B4-BE49-F238E27FC236}">
                  <a16:creationId xmlns:a16="http://schemas.microsoft.com/office/drawing/2014/main" id="{B5E32FB7-9110-73F2-701F-BC4770282640}"/>
                </a:ext>
              </a:extLst>
            </p:cNvPr>
            <p:cNvSpPr/>
            <p:nvPr userDrawn="1"/>
          </p:nvSpPr>
          <p:spPr bwMode="gray">
            <a:xfrm>
              <a:off x="1068651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1" name="Rechteck 460">
              <a:extLst>
                <a:ext uri="{FF2B5EF4-FFF2-40B4-BE49-F238E27FC236}">
                  <a16:creationId xmlns:a16="http://schemas.microsoft.com/office/drawing/2014/main" id="{A12A0B9F-CF3B-1924-2783-01F439D63BD2}"/>
                </a:ext>
              </a:extLst>
            </p:cNvPr>
            <p:cNvSpPr/>
            <p:nvPr userDrawn="1"/>
          </p:nvSpPr>
          <p:spPr bwMode="gray">
            <a:xfrm>
              <a:off x="1011044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2" name="Rechteck 461">
              <a:extLst>
                <a:ext uri="{FF2B5EF4-FFF2-40B4-BE49-F238E27FC236}">
                  <a16:creationId xmlns:a16="http://schemas.microsoft.com/office/drawing/2014/main" id="{C8573A82-E229-C9B7-EEB1-26D461F17BE8}"/>
                </a:ext>
              </a:extLst>
            </p:cNvPr>
            <p:cNvSpPr/>
            <p:nvPr userDrawn="1"/>
          </p:nvSpPr>
          <p:spPr bwMode="gray">
            <a:xfrm>
              <a:off x="953438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3" name="Rechteck 462">
              <a:extLst>
                <a:ext uri="{FF2B5EF4-FFF2-40B4-BE49-F238E27FC236}">
                  <a16:creationId xmlns:a16="http://schemas.microsoft.com/office/drawing/2014/main" id="{021F5B7E-5004-CD28-428B-8C81A1E96C30}"/>
                </a:ext>
              </a:extLst>
            </p:cNvPr>
            <p:cNvSpPr/>
            <p:nvPr userDrawn="1"/>
          </p:nvSpPr>
          <p:spPr bwMode="gray">
            <a:xfrm>
              <a:off x="895832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4" name="Rechteck 463">
              <a:extLst>
                <a:ext uri="{FF2B5EF4-FFF2-40B4-BE49-F238E27FC236}">
                  <a16:creationId xmlns:a16="http://schemas.microsoft.com/office/drawing/2014/main" id="{BF1EE297-F658-6B4F-9B06-C3377015599A}"/>
                </a:ext>
              </a:extLst>
            </p:cNvPr>
            <p:cNvSpPr/>
            <p:nvPr userDrawn="1"/>
          </p:nvSpPr>
          <p:spPr bwMode="gray">
            <a:xfrm>
              <a:off x="838225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5" name="Rechteck 464">
              <a:extLst>
                <a:ext uri="{FF2B5EF4-FFF2-40B4-BE49-F238E27FC236}">
                  <a16:creationId xmlns:a16="http://schemas.microsoft.com/office/drawing/2014/main" id="{9FEA1DEC-81B5-2072-465A-B9A13739AF46}"/>
                </a:ext>
              </a:extLst>
            </p:cNvPr>
            <p:cNvSpPr/>
            <p:nvPr userDrawn="1"/>
          </p:nvSpPr>
          <p:spPr bwMode="gray">
            <a:xfrm>
              <a:off x="780619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6" name="Rechteck 465">
              <a:extLst>
                <a:ext uri="{FF2B5EF4-FFF2-40B4-BE49-F238E27FC236}">
                  <a16:creationId xmlns:a16="http://schemas.microsoft.com/office/drawing/2014/main" id="{014CF6E0-D2BD-5904-603D-95D75F8357A8}"/>
                </a:ext>
              </a:extLst>
            </p:cNvPr>
            <p:cNvSpPr/>
            <p:nvPr userDrawn="1"/>
          </p:nvSpPr>
          <p:spPr bwMode="gray">
            <a:xfrm>
              <a:off x="723012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7" name="Rechteck 466">
              <a:extLst>
                <a:ext uri="{FF2B5EF4-FFF2-40B4-BE49-F238E27FC236}">
                  <a16:creationId xmlns:a16="http://schemas.microsoft.com/office/drawing/2014/main" id="{59061217-7A71-57CD-E42C-0E95B2AABBE1}"/>
                </a:ext>
              </a:extLst>
            </p:cNvPr>
            <p:cNvSpPr/>
            <p:nvPr userDrawn="1"/>
          </p:nvSpPr>
          <p:spPr bwMode="gray">
            <a:xfrm>
              <a:off x="665406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8" name="Rechteck 467">
              <a:extLst>
                <a:ext uri="{FF2B5EF4-FFF2-40B4-BE49-F238E27FC236}">
                  <a16:creationId xmlns:a16="http://schemas.microsoft.com/office/drawing/2014/main" id="{A77AD6A1-4D8B-586E-7BC1-E539C81238A7}"/>
                </a:ext>
              </a:extLst>
            </p:cNvPr>
            <p:cNvSpPr/>
            <p:nvPr userDrawn="1"/>
          </p:nvSpPr>
          <p:spPr bwMode="gray">
            <a:xfrm>
              <a:off x="607800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9" name="Rechteck 468">
              <a:extLst>
                <a:ext uri="{FF2B5EF4-FFF2-40B4-BE49-F238E27FC236}">
                  <a16:creationId xmlns:a16="http://schemas.microsoft.com/office/drawing/2014/main" id="{261451AA-DB7B-A202-B42C-DE2C516D0A21}"/>
                </a:ext>
              </a:extLst>
            </p:cNvPr>
            <p:cNvSpPr/>
            <p:nvPr userDrawn="1"/>
          </p:nvSpPr>
          <p:spPr bwMode="gray">
            <a:xfrm>
              <a:off x="550193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0" name="Rechteck 469">
              <a:extLst>
                <a:ext uri="{FF2B5EF4-FFF2-40B4-BE49-F238E27FC236}">
                  <a16:creationId xmlns:a16="http://schemas.microsoft.com/office/drawing/2014/main" id="{88EA2AA8-69E8-62B4-DFA1-141E15A9A55A}"/>
                </a:ext>
              </a:extLst>
            </p:cNvPr>
            <p:cNvSpPr/>
            <p:nvPr userDrawn="1"/>
          </p:nvSpPr>
          <p:spPr bwMode="gray">
            <a:xfrm>
              <a:off x="492587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1" name="Rechteck 470">
              <a:extLst>
                <a:ext uri="{FF2B5EF4-FFF2-40B4-BE49-F238E27FC236}">
                  <a16:creationId xmlns:a16="http://schemas.microsoft.com/office/drawing/2014/main" id="{603EE28F-FAFB-B06B-E0BA-8F4D0D5DDC05}"/>
                </a:ext>
              </a:extLst>
            </p:cNvPr>
            <p:cNvSpPr/>
            <p:nvPr userDrawn="1"/>
          </p:nvSpPr>
          <p:spPr bwMode="gray">
            <a:xfrm>
              <a:off x="434980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2" name="Rechteck 471">
              <a:extLst>
                <a:ext uri="{FF2B5EF4-FFF2-40B4-BE49-F238E27FC236}">
                  <a16:creationId xmlns:a16="http://schemas.microsoft.com/office/drawing/2014/main" id="{46F602A7-99C7-3B9E-1C2F-DE374A2F693C}"/>
                </a:ext>
              </a:extLst>
            </p:cNvPr>
            <p:cNvSpPr/>
            <p:nvPr userDrawn="1"/>
          </p:nvSpPr>
          <p:spPr bwMode="gray">
            <a:xfrm>
              <a:off x="377374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3" name="Rechteck 472">
              <a:extLst>
                <a:ext uri="{FF2B5EF4-FFF2-40B4-BE49-F238E27FC236}">
                  <a16:creationId xmlns:a16="http://schemas.microsoft.com/office/drawing/2014/main" id="{CDFD0FC5-DD93-5493-69E0-5EBB174640A5}"/>
                </a:ext>
              </a:extLst>
            </p:cNvPr>
            <p:cNvSpPr/>
            <p:nvPr userDrawn="1"/>
          </p:nvSpPr>
          <p:spPr bwMode="gray">
            <a:xfrm>
              <a:off x="319768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4" name="Rechteck 473">
              <a:extLst>
                <a:ext uri="{FF2B5EF4-FFF2-40B4-BE49-F238E27FC236}">
                  <a16:creationId xmlns:a16="http://schemas.microsoft.com/office/drawing/2014/main" id="{CEAA19DC-A3F4-8BD3-E27B-2B9FF51B689D}"/>
                </a:ext>
              </a:extLst>
            </p:cNvPr>
            <p:cNvSpPr/>
            <p:nvPr userDrawn="1"/>
          </p:nvSpPr>
          <p:spPr bwMode="gray">
            <a:xfrm>
              <a:off x="262161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5" name="Rechteck 474">
              <a:extLst>
                <a:ext uri="{FF2B5EF4-FFF2-40B4-BE49-F238E27FC236}">
                  <a16:creationId xmlns:a16="http://schemas.microsoft.com/office/drawing/2014/main" id="{3492F79B-E3BA-2B4B-0011-5E8E84C9E6D3}"/>
                </a:ext>
              </a:extLst>
            </p:cNvPr>
            <p:cNvSpPr/>
            <p:nvPr userDrawn="1"/>
          </p:nvSpPr>
          <p:spPr bwMode="gray">
            <a:xfrm>
              <a:off x="204555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6" name="Rechteck 475">
              <a:extLst>
                <a:ext uri="{FF2B5EF4-FFF2-40B4-BE49-F238E27FC236}">
                  <a16:creationId xmlns:a16="http://schemas.microsoft.com/office/drawing/2014/main" id="{CF7CCFE7-E854-50E1-A97E-33BE808FB24A}"/>
                </a:ext>
              </a:extLst>
            </p:cNvPr>
            <p:cNvSpPr/>
            <p:nvPr userDrawn="1"/>
          </p:nvSpPr>
          <p:spPr bwMode="gray">
            <a:xfrm>
              <a:off x="146948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7" name="Rechteck 476">
              <a:extLst>
                <a:ext uri="{FF2B5EF4-FFF2-40B4-BE49-F238E27FC236}">
                  <a16:creationId xmlns:a16="http://schemas.microsoft.com/office/drawing/2014/main" id="{97A3BEFC-502D-EEDC-B75D-B240F22C35EC}"/>
                </a:ext>
              </a:extLst>
            </p:cNvPr>
            <p:cNvSpPr/>
            <p:nvPr userDrawn="1"/>
          </p:nvSpPr>
          <p:spPr bwMode="gray">
            <a:xfrm>
              <a:off x="89342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8" name="Rechteck 477">
              <a:extLst>
                <a:ext uri="{FF2B5EF4-FFF2-40B4-BE49-F238E27FC236}">
                  <a16:creationId xmlns:a16="http://schemas.microsoft.com/office/drawing/2014/main" id="{EEEED159-FCA5-29D0-EE46-533D56D2A5E6}"/>
                </a:ext>
              </a:extLst>
            </p:cNvPr>
            <p:cNvSpPr/>
            <p:nvPr userDrawn="1"/>
          </p:nvSpPr>
          <p:spPr bwMode="gray">
            <a:xfrm>
              <a:off x="31736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9" name="Rechteck 478">
              <a:extLst>
                <a:ext uri="{FF2B5EF4-FFF2-40B4-BE49-F238E27FC236}">
                  <a16:creationId xmlns:a16="http://schemas.microsoft.com/office/drawing/2014/main" id="{C4A200AD-B838-C6A4-048B-D82FA1DEA62A}"/>
                </a:ext>
              </a:extLst>
            </p:cNvPr>
            <p:cNvSpPr/>
            <p:nvPr userDrawn="1"/>
          </p:nvSpPr>
          <p:spPr bwMode="gray">
            <a:xfrm>
              <a:off x="1126257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0" name="Rechteck 479">
              <a:extLst>
                <a:ext uri="{FF2B5EF4-FFF2-40B4-BE49-F238E27FC236}">
                  <a16:creationId xmlns:a16="http://schemas.microsoft.com/office/drawing/2014/main" id="{CF7EA03D-9B5A-9EE3-4C3B-41061123267C}"/>
                </a:ext>
              </a:extLst>
            </p:cNvPr>
            <p:cNvSpPr/>
            <p:nvPr userDrawn="1"/>
          </p:nvSpPr>
          <p:spPr bwMode="gray">
            <a:xfrm>
              <a:off x="1068651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1" name="Rechteck 480">
              <a:extLst>
                <a:ext uri="{FF2B5EF4-FFF2-40B4-BE49-F238E27FC236}">
                  <a16:creationId xmlns:a16="http://schemas.microsoft.com/office/drawing/2014/main" id="{1AE3FF5D-1839-480C-8841-ABBEBEE3DA32}"/>
                </a:ext>
              </a:extLst>
            </p:cNvPr>
            <p:cNvSpPr/>
            <p:nvPr userDrawn="1"/>
          </p:nvSpPr>
          <p:spPr bwMode="gray">
            <a:xfrm>
              <a:off x="1011044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2" name="Rechteck 481">
              <a:extLst>
                <a:ext uri="{FF2B5EF4-FFF2-40B4-BE49-F238E27FC236}">
                  <a16:creationId xmlns:a16="http://schemas.microsoft.com/office/drawing/2014/main" id="{A19B7920-BF63-A8DC-64F6-67EDEA3A7CD1}"/>
                </a:ext>
              </a:extLst>
            </p:cNvPr>
            <p:cNvSpPr/>
            <p:nvPr userDrawn="1"/>
          </p:nvSpPr>
          <p:spPr bwMode="gray">
            <a:xfrm>
              <a:off x="953438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3" name="Rechteck 482">
              <a:extLst>
                <a:ext uri="{FF2B5EF4-FFF2-40B4-BE49-F238E27FC236}">
                  <a16:creationId xmlns:a16="http://schemas.microsoft.com/office/drawing/2014/main" id="{0D9B8CFF-27A5-55FF-42F1-24C043824E10}"/>
                </a:ext>
              </a:extLst>
            </p:cNvPr>
            <p:cNvSpPr/>
            <p:nvPr userDrawn="1"/>
          </p:nvSpPr>
          <p:spPr bwMode="gray">
            <a:xfrm>
              <a:off x="895832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4" name="Rechteck 483">
              <a:extLst>
                <a:ext uri="{FF2B5EF4-FFF2-40B4-BE49-F238E27FC236}">
                  <a16:creationId xmlns:a16="http://schemas.microsoft.com/office/drawing/2014/main" id="{0DFB13EF-1879-A0E8-1B1B-D9F84798A400}"/>
                </a:ext>
              </a:extLst>
            </p:cNvPr>
            <p:cNvSpPr/>
            <p:nvPr userDrawn="1"/>
          </p:nvSpPr>
          <p:spPr bwMode="gray">
            <a:xfrm>
              <a:off x="838225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5" name="Rechteck 484">
              <a:extLst>
                <a:ext uri="{FF2B5EF4-FFF2-40B4-BE49-F238E27FC236}">
                  <a16:creationId xmlns:a16="http://schemas.microsoft.com/office/drawing/2014/main" id="{BB628139-0CE5-5074-A119-125F316BD210}"/>
                </a:ext>
              </a:extLst>
            </p:cNvPr>
            <p:cNvSpPr/>
            <p:nvPr userDrawn="1"/>
          </p:nvSpPr>
          <p:spPr bwMode="gray">
            <a:xfrm>
              <a:off x="780619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6" name="Rechteck 485">
              <a:extLst>
                <a:ext uri="{FF2B5EF4-FFF2-40B4-BE49-F238E27FC236}">
                  <a16:creationId xmlns:a16="http://schemas.microsoft.com/office/drawing/2014/main" id="{24498143-3850-415D-568C-D4C84F0C0F07}"/>
                </a:ext>
              </a:extLst>
            </p:cNvPr>
            <p:cNvSpPr/>
            <p:nvPr userDrawn="1"/>
          </p:nvSpPr>
          <p:spPr bwMode="gray">
            <a:xfrm>
              <a:off x="723012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7" name="Rechteck 486">
              <a:extLst>
                <a:ext uri="{FF2B5EF4-FFF2-40B4-BE49-F238E27FC236}">
                  <a16:creationId xmlns:a16="http://schemas.microsoft.com/office/drawing/2014/main" id="{AAA093E8-6AD0-5E4A-A3A8-8F6CE118DC91}"/>
                </a:ext>
              </a:extLst>
            </p:cNvPr>
            <p:cNvSpPr/>
            <p:nvPr userDrawn="1"/>
          </p:nvSpPr>
          <p:spPr bwMode="gray">
            <a:xfrm>
              <a:off x="665406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8" name="Rechteck 487">
              <a:extLst>
                <a:ext uri="{FF2B5EF4-FFF2-40B4-BE49-F238E27FC236}">
                  <a16:creationId xmlns:a16="http://schemas.microsoft.com/office/drawing/2014/main" id="{E4256AE1-0525-DC18-1B5D-8EA09AD496D3}"/>
                </a:ext>
              </a:extLst>
            </p:cNvPr>
            <p:cNvSpPr/>
            <p:nvPr userDrawn="1"/>
          </p:nvSpPr>
          <p:spPr bwMode="gray">
            <a:xfrm>
              <a:off x="607800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9" name="Rechteck 488">
              <a:extLst>
                <a:ext uri="{FF2B5EF4-FFF2-40B4-BE49-F238E27FC236}">
                  <a16:creationId xmlns:a16="http://schemas.microsoft.com/office/drawing/2014/main" id="{B3E3220C-4EDF-CEC9-F7C3-4F2BD546A3C4}"/>
                </a:ext>
              </a:extLst>
            </p:cNvPr>
            <p:cNvSpPr/>
            <p:nvPr userDrawn="1"/>
          </p:nvSpPr>
          <p:spPr bwMode="gray">
            <a:xfrm>
              <a:off x="550193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0" name="Rechteck 489">
              <a:extLst>
                <a:ext uri="{FF2B5EF4-FFF2-40B4-BE49-F238E27FC236}">
                  <a16:creationId xmlns:a16="http://schemas.microsoft.com/office/drawing/2014/main" id="{D9D81F8A-B46C-486C-F47E-1DE4B3B1B6B9}"/>
                </a:ext>
              </a:extLst>
            </p:cNvPr>
            <p:cNvSpPr/>
            <p:nvPr userDrawn="1"/>
          </p:nvSpPr>
          <p:spPr bwMode="gray">
            <a:xfrm>
              <a:off x="492587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1" name="Rechteck 490">
              <a:extLst>
                <a:ext uri="{FF2B5EF4-FFF2-40B4-BE49-F238E27FC236}">
                  <a16:creationId xmlns:a16="http://schemas.microsoft.com/office/drawing/2014/main" id="{F7C31209-6951-36BA-04C8-F497983EDEBA}"/>
                </a:ext>
              </a:extLst>
            </p:cNvPr>
            <p:cNvSpPr/>
            <p:nvPr userDrawn="1"/>
          </p:nvSpPr>
          <p:spPr bwMode="gray">
            <a:xfrm>
              <a:off x="434980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2" name="Rechteck 491">
              <a:extLst>
                <a:ext uri="{FF2B5EF4-FFF2-40B4-BE49-F238E27FC236}">
                  <a16:creationId xmlns:a16="http://schemas.microsoft.com/office/drawing/2014/main" id="{CBE1384E-CB01-B54D-610E-DB8977F41536}"/>
                </a:ext>
              </a:extLst>
            </p:cNvPr>
            <p:cNvSpPr/>
            <p:nvPr userDrawn="1"/>
          </p:nvSpPr>
          <p:spPr bwMode="gray">
            <a:xfrm>
              <a:off x="377374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3" name="Rechteck 492">
              <a:extLst>
                <a:ext uri="{FF2B5EF4-FFF2-40B4-BE49-F238E27FC236}">
                  <a16:creationId xmlns:a16="http://schemas.microsoft.com/office/drawing/2014/main" id="{BA253E83-A257-83FF-500F-1A7E3574A295}"/>
                </a:ext>
              </a:extLst>
            </p:cNvPr>
            <p:cNvSpPr/>
            <p:nvPr userDrawn="1"/>
          </p:nvSpPr>
          <p:spPr bwMode="gray">
            <a:xfrm>
              <a:off x="319768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4" name="Rechteck 493">
              <a:extLst>
                <a:ext uri="{FF2B5EF4-FFF2-40B4-BE49-F238E27FC236}">
                  <a16:creationId xmlns:a16="http://schemas.microsoft.com/office/drawing/2014/main" id="{009D11A7-8B0A-4640-6E96-0861C0E03D59}"/>
                </a:ext>
              </a:extLst>
            </p:cNvPr>
            <p:cNvSpPr/>
            <p:nvPr userDrawn="1"/>
          </p:nvSpPr>
          <p:spPr bwMode="gray">
            <a:xfrm>
              <a:off x="262161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5" name="Rechteck 494">
              <a:extLst>
                <a:ext uri="{FF2B5EF4-FFF2-40B4-BE49-F238E27FC236}">
                  <a16:creationId xmlns:a16="http://schemas.microsoft.com/office/drawing/2014/main" id="{FA3F38BD-921C-0B40-18A1-E9CD3F4823F2}"/>
                </a:ext>
              </a:extLst>
            </p:cNvPr>
            <p:cNvSpPr/>
            <p:nvPr userDrawn="1"/>
          </p:nvSpPr>
          <p:spPr bwMode="gray">
            <a:xfrm>
              <a:off x="204555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6" name="Rechteck 495">
              <a:extLst>
                <a:ext uri="{FF2B5EF4-FFF2-40B4-BE49-F238E27FC236}">
                  <a16:creationId xmlns:a16="http://schemas.microsoft.com/office/drawing/2014/main" id="{43FBD65F-E178-F2DC-006D-94125B6F9564}"/>
                </a:ext>
              </a:extLst>
            </p:cNvPr>
            <p:cNvSpPr/>
            <p:nvPr userDrawn="1"/>
          </p:nvSpPr>
          <p:spPr bwMode="gray">
            <a:xfrm>
              <a:off x="146948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7" name="Rechteck 496">
              <a:extLst>
                <a:ext uri="{FF2B5EF4-FFF2-40B4-BE49-F238E27FC236}">
                  <a16:creationId xmlns:a16="http://schemas.microsoft.com/office/drawing/2014/main" id="{CCEFB799-3589-6658-6763-66D72AFBF943}"/>
                </a:ext>
              </a:extLst>
            </p:cNvPr>
            <p:cNvSpPr/>
            <p:nvPr userDrawn="1"/>
          </p:nvSpPr>
          <p:spPr bwMode="gray">
            <a:xfrm>
              <a:off x="89342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8" name="Rechteck 497">
              <a:extLst>
                <a:ext uri="{FF2B5EF4-FFF2-40B4-BE49-F238E27FC236}">
                  <a16:creationId xmlns:a16="http://schemas.microsoft.com/office/drawing/2014/main" id="{0D5ACF09-E7CA-4E74-D52C-D3C9BF508EFF}"/>
                </a:ext>
              </a:extLst>
            </p:cNvPr>
            <p:cNvSpPr/>
            <p:nvPr userDrawn="1"/>
          </p:nvSpPr>
          <p:spPr bwMode="gray">
            <a:xfrm>
              <a:off x="31736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9" name="Rechteck 498">
              <a:extLst>
                <a:ext uri="{FF2B5EF4-FFF2-40B4-BE49-F238E27FC236}">
                  <a16:creationId xmlns:a16="http://schemas.microsoft.com/office/drawing/2014/main" id="{20B67E00-17D6-D33B-BFDB-6D8AFDD0AFA1}"/>
                </a:ext>
              </a:extLst>
            </p:cNvPr>
            <p:cNvSpPr/>
            <p:nvPr userDrawn="1"/>
          </p:nvSpPr>
          <p:spPr bwMode="gray">
            <a:xfrm>
              <a:off x="1126257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00" name="Rechteck 499">
              <a:extLst>
                <a:ext uri="{FF2B5EF4-FFF2-40B4-BE49-F238E27FC236}">
                  <a16:creationId xmlns:a16="http://schemas.microsoft.com/office/drawing/2014/main" id="{06DB2F5B-0DC3-A8E6-62C7-6FDF709807EA}"/>
                </a:ext>
              </a:extLst>
            </p:cNvPr>
            <p:cNvSpPr/>
            <p:nvPr userDrawn="1"/>
          </p:nvSpPr>
          <p:spPr bwMode="gray">
            <a:xfrm>
              <a:off x="1068651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01" name="Rechteck 500">
              <a:extLst>
                <a:ext uri="{FF2B5EF4-FFF2-40B4-BE49-F238E27FC236}">
                  <a16:creationId xmlns:a16="http://schemas.microsoft.com/office/drawing/2014/main" id="{27EA7F57-ABA9-6161-210B-C266EA776DFA}"/>
                </a:ext>
              </a:extLst>
            </p:cNvPr>
            <p:cNvSpPr/>
            <p:nvPr userDrawn="1"/>
          </p:nvSpPr>
          <p:spPr bwMode="gray">
            <a:xfrm>
              <a:off x="1011044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02" name="Rechteck 501">
              <a:extLst>
                <a:ext uri="{FF2B5EF4-FFF2-40B4-BE49-F238E27FC236}">
                  <a16:creationId xmlns:a16="http://schemas.microsoft.com/office/drawing/2014/main" id="{B9EFC01B-F2FC-C6F5-853A-CF2D765E8881}"/>
                </a:ext>
              </a:extLst>
            </p:cNvPr>
            <p:cNvSpPr/>
            <p:nvPr userDrawn="1"/>
          </p:nvSpPr>
          <p:spPr bwMode="gray">
            <a:xfrm>
              <a:off x="953438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03" name="Rechteck 502">
              <a:extLst>
                <a:ext uri="{FF2B5EF4-FFF2-40B4-BE49-F238E27FC236}">
                  <a16:creationId xmlns:a16="http://schemas.microsoft.com/office/drawing/2014/main" id="{308322A3-A640-D97E-4503-25DA5904A62A}"/>
                </a:ext>
              </a:extLst>
            </p:cNvPr>
            <p:cNvSpPr/>
            <p:nvPr userDrawn="1"/>
          </p:nvSpPr>
          <p:spPr bwMode="gray">
            <a:xfrm>
              <a:off x="895832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04" name="Rechteck 503">
              <a:extLst>
                <a:ext uri="{FF2B5EF4-FFF2-40B4-BE49-F238E27FC236}">
                  <a16:creationId xmlns:a16="http://schemas.microsoft.com/office/drawing/2014/main" id="{51FAAE0B-1EEA-F1C2-1910-8850B718981F}"/>
                </a:ext>
              </a:extLst>
            </p:cNvPr>
            <p:cNvSpPr/>
            <p:nvPr userDrawn="1"/>
          </p:nvSpPr>
          <p:spPr bwMode="gray">
            <a:xfrm>
              <a:off x="838225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05" name="Rechteck 504">
              <a:extLst>
                <a:ext uri="{FF2B5EF4-FFF2-40B4-BE49-F238E27FC236}">
                  <a16:creationId xmlns:a16="http://schemas.microsoft.com/office/drawing/2014/main" id="{EE18D161-C044-E487-E2ED-80C3917F9F56}"/>
                </a:ext>
              </a:extLst>
            </p:cNvPr>
            <p:cNvSpPr/>
            <p:nvPr userDrawn="1"/>
          </p:nvSpPr>
          <p:spPr bwMode="gray">
            <a:xfrm>
              <a:off x="780619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06" name="Rechteck 505">
              <a:extLst>
                <a:ext uri="{FF2B5EF4-FFF2-40B4-BE49-F238E27FC236}">
                  <a16:creationId xmlns:a16="http://schemas.microsoft.com/office/drawing/2014/main" id="{2BBD7221-1933-D482-ADBB-7598FE9C19D9}"/>
                </a:ext>
              </a:extLst>
            </p:cNvPr>
            <p:cNvSpPr/>
            <p:nvPr userDrawn="1"/>
          </p:nvSpPr>
          <p:spPr bwMode="gray">
            <a:xfrm>
              <a:off x="723012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07" name="Rechteck 506">
              <a:extLst>
                <a:ext uri="{FF2B5EF4-FFF2-40B4-BE49-F238E27FC236}">
                  <a16:creationId xmlns:a16="http://schemas.microsoft.com/office/drawing/2014/main" id="{172E325D-8002-9362-A731-8BF2E3F2ECCC}"/>
                </a:ext>
              </a:extLst>
            </p:cNvPr>
            <p:cNvSpPr/>
            <p:nvPr userDrawn="1"/>
          </p:nvSpPr>
          <p:spPr bwMode="gray">
            <a:xfrm>
              <a:off x="665406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08" name="Rechteck 507">
              <a:extLst>
                <a:ext uri="{FF2B5EF4-FFF2-40B4-BE49-F238E27FC236}">
                  <a16:creationId xmlns:a16="http://schemas.microsoft.com/office/drawing/2014/main" id="{477F1AC2-057D-704E-56D2-99A9990B7DF5}"/>
                </a:ext>
              </a:extLst>
            </p:cNvPr>
            <p:cNvSpPr/>
            <p:nvPr userDrawn="1"/>
          </p:nvSpPr>
          <p:spPr bwMode="gray">
            <a:xfrm>
              <a:off x="607800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09" name="Rechteck 508">
              <a:extLst>
                <a:ext uri="{FF2B5EF4-FFF2-40B4-BE49-F238E27FC236}">
                  <a16:creationId xmlns:a16="http://schemas.microsoft.com/office/drawing/2014/main" id="{72A67CF7-CE6B-92F2-CB27-08791F660AE4}"/>
                </a:ext>
              </a:extLst>
            </p:cNvPr>
            <p:cNvSpPr/>
            <p:nvPr userDrawn="1"/>
          </p:nvSpPr>
          <p:spPr bwMode="gray">
            <a:xfrm>
              <a:off x="550193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10" name="Rechteck 509">
              <a:extLst>
                <a:ext uri="{FF2B5EF4-FFF2-40B4-BE49-F238E27FC236}">
                  <a16:creationId xmlns:a16="http://schemas.microsoft.com/office/drawing/2014/main" id="{FB1678D4-9240-7126-52F5-0382C96501B2}"/>
                </a:ext>
              </a:extLst>
            </p:cNvPr>
            <p:cNvSpPr/>
            <p:nvPr userDrawn="1"/>
          </p:nvSpPr>
          <p:spPr bwMode="gray">
            <a:xfrm>
              <a:off x="492587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11" name="Rechteck 510">
              <a:extLst>
                <a:ext uri="{FF2B5EF4-FFF2-40B4-BE49-F238E27FC236}">
                  <a16:creationId xmlns:a16="http://schemas.microsoft.com/office/drawing/2014/main" id="{4985286D-AE22-BBF4-9AC3-107B37C94C2A}"/>
                </a:ext>
              </a:extLst>
            </p:cNvPr>
            <p:cNvSpPr/>
            <p:nvPr userDrawn="1"/>
          </p:nvSpPr>
          <p:spPr bwMode="gray">
            <a:xfrm>
              <a:off x="434980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12" name="Rechteck 511">
              <a:extLst>
                <a:ext uri="{FF2B5EF4-FFF2-40B4-BE49-F238E27FC236}">
                  <a16:creationId xmlns:a16="http://schemas.microsoft.com/office/drawing/2014/main" id="{908AC641-E7C7-9D74-2B99-48038809163B}"/>
                </a:ext>
              </a:extLst>
            </p:cNvPr>
            <p:cNvSpPr/>
            <p:nvPr userDrawn="1"/>
          </p:nvSpPr>
          <p:spPr bwMode="gray">
            <a:xfrm>
              <a:off x="377374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13" name="Rechteck 512">
              <a:extLst>
                <a:ext uri="{FF2B5EF4-FFF2-40B4-BE49-F238E27FC236}">
                  <a16:creationId xmlns:a16="http://schemas.microsoft.com/office/drawing/2014/main" id="{3C71E757-A3CA-8197-2212-70D2AF90FBD3}"/>
                </a:ext>
              </a:extLst>
            </p:cNvPr>
            <p:cNvSpPr/>
            <p:nvPr userDrawn="1"/>
          </p:nvSpPr>
          <p:spPr bwMode="gray">
            <a:xfrm>
              <a:off x="319768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14" name="Rechteck 513">
              <a:extLst>
                <a:ext uri="{FF2B5EF4-FFF2-40B4-BE49-F238E27FC236}">
                  <a16:creationId xmlns:a16="http://schemas.microsoft.com/office/drawing/2014/main" id="{43EB1CEC-FAF6-5434-EAF9-6EF9E506FF5B}"/>
                </a:ext>
              </a:extLst>
            </p:cNvPr>
            <p:cNvSpPr/>
            <p:nvPr userDrawn="1"/>
          </p:nvSpPr>
          <p:spPr bwMode="gray">
            <a:xfrm>
              <a:off x="262161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15" name="Rechteck 514">
              <a:extLst>
                <a:ext uri="{FF2B5EF4-FFF2-40B4-BE49-F238E27FC236}">
                  <a16:creationId xmlns:a16="http://schemas.microsoft.com/office/drawing/2014/main" id="{A9DDA3F8-6811-708E-39FD-CA8B17CBE2C8}"/>
                </a:ext>
              </a:extLst>
            </p:cNvPr>
            <p:cNvSpPr/>
            <p:nvPr userDrawn="1"/>
          </p:nvSpPr>
          <p:spPr bwMode="gray">
            <a:xfrm>
              <a:off x="204555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16" name="Rechteck 515">
              <a:extLst>
                <a:ext uri="{FF2B5EF4-FFF2-40B4-BE49-F238E27FC236}">
                  <a16:creationId xmlns:a16="http://schemas.microsoft.com/office/drawing/2014/main" id="{57B7723E-3012-B75E-2CC6-C0241FABB75D}"/>
                </a:ext>
              </a:extLst>
            </p:cNvPr>
            <p:cNvSpPr/>
            <p:nvPr userDrawn="1"/>
          </p:nvSpPr>
          <p:spPr bwMode="gray">
            <a:xfrm>
              <a:off x="146948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17" name="Rechteck 516">
              <a:extLst>
                <a:ext uri="{FF2B5EF4-FFF2-40B4-BE49-F238E27FC236}">
                  <a16:creationId xmlns:a16="http://schemas.microsoft.com/office/drawing/2014/main" id="{7E6D8401-2953-19F1-89B3-C735F7727D2C}"/>
                </a:ext>
              </a:extLst>
            </p:cNvPr>
            <p:cNvSpPr/>
            <p:nvPr userDrawn="1"/>
          </p:nvSpPr>
          <p:spPr bwMode="gray">
            <a:xfrm>
              <a:off x="89342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18" name="Rechteck 517">
              <a:extLst>
                <a:ext uri="{FF2B5EF4-FFF2-40B4-BE49-F238E27FC236}">
                  <a16:creationId xmlns:a16="http://schemas.microsoft.com/office/drawing/2014/main" id="{033B13AB-9AD7-98BB-A344-7827DF927C2A}"/>
                </a:ext>
              </a:extLst>
            </p:cNvPr>
            <p:cNvSpPr/>
            <p:nvPr userDrawn="1"/>
          </p:nvSpPr>
          <p:spPr bwMode="gray">
            <a:xfrm>
              <a:off x="31736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19" name="Rechteck 518">
              <a:extLst>
                <a:ext uri="{FF2B5EF4-FFF2-40B4-BE49-F238E27FC236}">
                  <a16:creationId xmlns:a16="http://schemas.microsoft.com/office/drawing/2014/main" id="{20605729-12A9-2CB9-4ACE-D514DC6E9368}"/>
                </a:ext>
              </a:extLst>
            </p:cNvPr>
            <p:cNvSpPr/>
            <p:nvPr userDrawn="1"/>
          </p:nvSpPr>
          <p:spPr bwMode="gray">
            <a:xfrm>
              <a:off x="1126257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20" name="Rechteck 519">
              <a:extLst>
                <a:ext uri="{FF2B5EF4-FFF2-40B4-BE49-F238E27FC236}">
                  <a16:creationId xmlns:a16="http://schemas.microsoft.com/office/drawing/2014/main" id="{ACF74092-BB09-EFBE-4529-FCA235996CC4}"/>
                </a:ext>
              </a:extLst>
            </p:cNvPr>
            <p:cNvSpPr/>
            <p:nvPr userDrawn="1"/>
          </p:nvSpPr>
          <p:spPr bwMode="gray">
            <a:xfrm>
              <a:off x="1068651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21" name="Rechteck 520">
              <a:extLst>
                <a:ext uri="{FF2B5EF4-FFF2-40B4-BE49-F238E27FC236}">
                  <a16:creationId xmlns:a16="http://schemas.microsoft.com/office/drawing/2014/main" id="{20AE6617-982D-C2CD-F2B4-7E21AFF96E16}"/>
                </a:ext>
              </a:extLst>
            </p:cNvPr>
            <p:cNvSpPr/>
            <p:nvPr userDrawn="1"/>
          </p:nvSpPr>
          <p:spPr bwMode="gray">
            <a:xfrm>
              <a:off x="1011044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22" name="Rechteck 521">
              <a:extLst>
                <a:ext uri="{FF2B5EF4-FFF2-40B4-BE49-F238E27FC236}">
                  <a16:creationId xmlns:a16="http://schemas.microsoft.com/office/drawing/2014/main" id="{2ACC1950-0258-0210-DEE8-0DAC2FD31920}"/>
                </a:ext>
              </a:extLst>
            </p:cNvPr>
            <p:cNvSpPr/>
            <p:nvPr userDrawn="1"/>
          </p:nvSpPr>
          <p:spPr bwMode="gray">
            <a:xfrm>
              <a:off x="953438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23" name="Rechteck 522">
              <a:extLst>
                <a:ext uri="{FF2B5EF4-FFF2-40B4-BE49-F238E27FC236}">
                  <a16:creationId xmlns:a16="http://schemas.microsoft.com/office/drawing/2014/main" id="{61079C32-1884-B350-EEFA-994D958648C8}"/>
                </a:ext>
              </a:extLst>
            </p:cNvPr>
            <p:cNvSpPr/>
            <p:nvPr userDrawn="1"/>
          </p:nvSpPr>
          <p:spPr bwMode="gray">
            <a:xfrm>
              <a:off x="895832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24" name="Rechteck 523">
              <a:extLst>
                <a:ext uri="{FF2B5EF4-FFF2-40B4-BE49-F238E27FC236}">
                  <a16:creationId xmlns:a16="http://schemas.microsoft.com/office/drawing/2014/main" id="{D2361CAE-2AAC-BCEB-FD3C-43DC38A10F38}"/>
                </a:ext>
              </a:extLst>
            </p:cNvPr>
            <p:cNvSpPr/>
            <p:nvPr userDrawn="1"/>
          </p:nvSpPr>
          <p:spPr bwMode="gray">
            <a:xfrm>
              <a:off x="838225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25" name="Rechteck 524">
              <a:extLst>
                <a:ext uri="{FF2B5EF4-FFF2-40B4-BE49-F238E27FC236}">
                  <a16:creationId xmlns:a16="http://schemas.microsoft.com/office/drawing/2014/main" id="{D36C84BD-8512-6358-7E37-3D6DE6059854}"/>
                </a:ext>
              </a:extLst>
            </p:cNvPr>
            <p:cNvSpPr/>
            <p:nvPr userDrawn="1"/>
          </p:nvSpPr>
          <p:spPr bwMode="gray">
            <a:xfrm>
              <a:off x="780619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26" name="Rechteck 525">
              <a:extLst>
                <a:ext uri="{FF2B5EF4-FFF2-40B4-BE49-F238E27FC236}">
                  <a16:creationId xmlns:a16="http://schemas.microsoft.com/office/drawing/2014/main" id="{1305DF3A-CC40-CB5D-7420-B85AF71581C9}"/>
                </a:ext>
              </a:extLst>
            </p:cNvPr>
            <p:cNvSpPr/>
            <p:nvPr userDrawn="1"/>
          </p:nvSpPr>
          <p:spPr bwMode="gray">
            <a:xfrm>
              <a:off x="723012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27" name="Rechteck 526">
              <a:extLst>
                <a:ext uri="{FF2B5EF4-FFF2-40B4-BE49-F238E27FC236}">
                  <a16:creationId xmlns:a16="http://schemas.microsoft.com/office/drawing/2014/main" id="{F5922E5F-9FA7-D1EC-9B55-EEC7929507F8}"/>
                </a:ext>
              </a:extLst>
            </p:cNvPr>
            <p:cNvSpPr/>
            <p:nvPr userDrawn="1"/>
          </p:nvSpPr>
          <p:spPr bwMode="gray">
            <a:xfrm>
              <a:off x="665406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28" name="Rechteck 527">
              <a:extLst>
                <a:ext uri="{FF2B5EF4-FFF2-40B4-BE49-F238E27FC236}">
                  <a16:creationId xmlns:a16="http://schemas.microsoft.com/office/drawing/2014/main" id="{AACA11C5-08C2-D923-2206-D501D927D323}"/>
                </a:ext>
              </a:extLst>
            </p:cNvPr>
            <p:cNvSpPr/>
            <p:nvPr userDrawn="1"/>
          </p:nvSpPr>
          <p:spPr bwMode="gray">
            <a:xfrm>
              <a:off x="607800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29" name="Rechteck 528">
              <a:extLst>
                <a:ext uri="{FF2B5EF4-FFF2-40B4-BE49-F238E27FC236}">
                  <a16:creationId xmlns:a16="http://schemas.microsoft.com/office/drawing/2014/main" id="{4FDB394D-33BE-492D-A0E0-E5A4FDA7AAE2}"/>
                </a:ext>
              </a:extLst>
            </p:cNvPr>
            <p:cNvSpPr/>
            <p:nvPr userDrawn="1"/>
          </p:nvSpPr>
          <p:spPr bwMode="gray">
            <a:xfrm>
              <a:off x="550193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30" name="Rechteck 529">
              <a:extLst>
                <a:ext uri="{FF2B5EF4-FFF2-40B4-BE49-F238E27FC236}">
                  <a16:creationId xmlns:a16="http://schemas.microsoft.com/office/drawing/2014/main" id="{194408D2-B8C5-85BA-CBB7-20B7507C42EF}"/>
                </a:ext>
              </a:extLst>
            </p:cNvPr>
            <p:cNvSpPr/>
            <p:nvPr userDrawn="1"/>
          </p:nvSpPr>
          <p:spPr bwMode="gray">
            <a:xfrm>
              <a:off x="492587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31" name="Rechteck 530">
              <a:extLst>
                <a:ext uri="{FF2B5EF4-FFF2-40B4-BE49-F238E27FC236}">
                  <a16:creationId xmlns:a16="http://schemas.microsoft.com/office/drawing/2014/main" id="{0BBC13AC-85BB-3BED-33CC-C3138704E337}"/>
                </a:ext>
              </a:extLst>
            </p:cNvPr>
            <p:cNvSpPr/>
            <p:nvPr userDrawn="1"/>
          </p:nvSpPr>
          <p:spPr bwMode="gray">
            <a:xfrm>
              <a:off x="434980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32" name="Rechteck 531">
              <a:extLst>
                <a:ext uri="{FF2B5EF4-FFF2-40B4-BE49-F238E27FC236}">
                  <a16:creationId xmlns:a16="http://schemas.microsoft.com/office/drawing/2014/main" id="{20381A0E-F7B5-6427-2148-FCAAA6C826A9}"/>
                </a:ext>
              </a:extLst>
            </p:cNvPr>
            <p:cNvSpPr/>
            <p:nvPr userDrawn="1"/>
          </p:nvSpPr>
          <p:spPr bwMode="gray">
            <a:xfrm>
              <a:off x="377374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33" name="Rechteck 532">
              <a:extLst>
                <a:ext uri="{FF2B5EF4-FFF2-40B4-BE49-F238E27FC236}">
                  <a16:creationId xmlns:a16="http://schemas.microsoft.com/office/drawing/2014/main" id="{E82DE4E2-47B9-1845-85FA-843589EEC7F2}"/>
                </a:ext>
              </a:extLst>
            </p:cNvPr>
            <p:cNvSpPr/>
            <p:nvPr userDrawn="1"/>
          </p:nvSpPr>
          <p:spPr bwMode="gray">
            <a:xfrm>
              <a:off x="319768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34" name="Rechteck 533">
              <a:extLst>
                <a:ext uri="{FF2B5EF4-FFF2-40B4-BE49-F238E27FC236}">
                  <a16:creationId xmlns:a16="http://schemas.microsoft.com/office/drawing/2014/main" id="{D5CBBC28-415B-8768-05E3-5CC7D3A45149}"/>
                </a:ext>
              </a:extLst>
            </p:cNvPr>
            <p:cNvSpPr/>
            <p:nvPr userDrawn="1"/>
          </p:nvSpPr>
          <p:spPr bwMode="gray">
            <a:xfrm>
              <a:off x="262161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35" name="Rechteck 534">
              <a:extLst>
                <a:ext uri="{FF2B5EF4-FFF2-40B4-BE49-F238E27FC236}">
                  <a16:creationId xmlns:a16="http://schemas.microsoft.com/office/drawing/2014/main" id="{8F9FD9E0-F92C-0CB5-6DC3-8B04992AD80F}"/>
                </a:ext>
              </a:extLst>
            </p:cNvPr>
            <p:cNvSpPr/>
            <p:nvPr userDrawn="1"/>
          </p:nvSpPr>
          <p:spPr bwMode="gray">
            <a:xfrm>
              <a:off x="204555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36" name="Rechteck 535">
              <a:extLst>
                <a:ext uri="{FF2B5EF4-FFF2-40B4-BE49-F238E27FC236}">
                  <a16:creationId xmlns:a16="http://schemas.microsoft.com/office/drawing/2014/main" id="{7CB7E2C6-4D96-1F73-8284-A36A25CB2D47}"/>
                </a:ext>
              </a:extLst>
            </p:cNvPr>
            <p:cNvSpPr/>
            <p:nvPr userDrawn="1"/>
          </p:nvSpPr>
          <p:spPr bwMode="gray">
            <a:xfrm>
              <a:off x="146948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37" name="Rechteck 536">
              <a:extLst>
                <a:ext uri="{FF2B5EF4-FFF2-40B4-BE49-F238E27FC236}">
                  <a16:creationId xmlns:a16="http://schemas.microsoft.com/office/drawing/2014/main" id="{A1E3B5CB-C7DC-F49E-B734-84CB33FB7346}"/>
                </a:ext>
              </a:extLst>
            </p:cNvPr>
            <p:cNvSpPr/>
            <p:nvPr userDrawn="1"/>
          </p:nvSpPr>
          <p:spPr bwMode="gray">
            <a:xfrm>
              <a:off x="89342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38" name="Rechteck 537">
              <a:extLst>
                <a:ext uri="{FF2B5EF4-FFF2-40B4-BE49-F238E27FC236}">
                  <a16:creationId xmlns:a16="http://schemas.microsoft.com/office/drawing/2014/main" id="{1FDEE753-85B8-4F4E-9773-5D33197A7846}"/>
                </a:ext>
              </a:extLst>
            </p:cNvPr>
            <p:cNvSpPr/>
            <p:nvPr userDrawn="1"/>
          </p:nvSpPr>
          <p:spPr bwMode="gray">
            <a:xfrm>
              <a:off x="31736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39" name="Rechteck 538">
              <a:extLst>
                <a:ext uri="{FF2B5EF4-FFF2-40B4-BE49-F238E27FC236}">
                  <a16:creationId xmlns:a16="http://schemas.microsoft.com/office/drawing/2014/main" id="{F06064E8-A93F-57BC-154A-45E2C7F469E5}"/>
                </a:ext>
              </a:extLst>
            </p:cNvPr>
            <p:cNvSpPr/>
            <p:nvPr userDrawn="1"/>
          </p:nvSpPr>
          <p:spPr bwMode="gray">
            <a:xfrm>
              <a:off x="1126257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40" name="Rechteck 539">
              <a:extLst>
                <a:ext uri="{FF2B5EF4-FFF2-40B4-BE49-F238E27FC236}">
                  <a16:creationId xmlns:a16="http://schemas.microsoft.com/office/drawing/2014/main" id="{50C6B1EC-DFE3-4813-0A63-32A64AF37FFB}"/>
                </a:ext>
              </a:extLst>
            </p:cNvPr>
            <p:cNvSpPr/>
            <p:nvPr userDrawn="1"/>
          </p:nvSpPr>
          <p:spPr bwMode="gray">
            <a:xfrm>
              <a:off x="1068651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41" name="Rechteck 540">
              <a:extLst>
                <a:ext uri="{FF2B5EF4-FFF2-40B4-BE49-F238E27FC236}">
                  <a16:creationId xmlns:a16="http://schemas.microsoft.com/office/drawing/2014/main" id="{6E8B6CAE-FE3B-04DE-7C35-37C1E11A9ABE}"/>
                </a:ext>
              </a:extLst>
            </p:cNvPr>
            <p:cNvSpPr/>
            <p:nvPr userDrawn="1"/>
          </p:nvSpPr>
          <p:spPr bwMode="gray">
            <a:xfrm>
              <a:off x="1011044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42" name="Rechteck 541">
              <a:extLst>
                <a:ext uri="{FF2B5EF4-FFF2-40B4-BE49-F238E27FC236}">
                  <a16:creationId xmlns:a16="http://schemas.microsoft.com/office/drawing/2014/main" id="{EB7008BA-937A-9FF1-4806-CC0491A82A46}"/>
                </a:ext>
              </a:extLst>
            </p:cNvPr>
            <p:cNvSpPr/>
            <p:nvPr userDrawn="1"/>
          </p:nvSpPr>
          <p:spPr bwMode="gray">
            <a:xfrm>
              <a:off x="953438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43" name="Rechteck 542">
              <a:extLst>
                <a:ext uri="{FF2B5EF4-FFF2-40B4-BE49-F238E27FC236}">
                  <a16:creationId xmlns:a16="http://schemas.microsoft.com/office/drawing/2014/main" id="{CA6A1E95-E1CE-4F94-4810-0FADBEFA570F}"/>
                </a:ext>
              </a:extLst>
            </p:cNvPr>
            <p:cNvSpPr/>
            <p:nvPr userDrawn="1"/>
          </p:nvSpPr>
          <p:spPr bwMode="gray">
            <a:xfrm>
              <a:off x="895832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44" name="Rechteck 543">
              <a:extLst>
                <a:ext uri="{FF2B5EF4-FFF2-40B4-BE49-F238E27FC236}">
                  <a16:creationId xmlns:a16="http://schemas.microsoft.com/office/drawing/2014/main" id="{3AE3AD0A-CD9E-A331-BA64-B9F76949044F}"/>
                </a:ext>
              </a:extLst>
            </p:cNvPr>
            <p:cNvSpPr/>
            <p:nvPr userDrawn="1"/>
          </p:nvSpPr>
          <p:spPr bwMode="gray">
            <a:xfrm>
              <a:off x="838225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45" name="Rechteck 544">
              <a:extLst>
                <a:ext uri="{FF2B5EF4-FFF2-40B4-BE49-F238E27FC236}">
                  <a16:creationId xmlns:a16="http://schemas.microsoft.com/office/drawing/2014/main" id="{DD33545B-A901-CC93-E31D-9346DEC6CD36}"/>
                </a:ext>
              </a:extLst>
            </p:cNvPr>
            <p:cNvSpPr/>
            <p:nvPr userDrawn="1"/>
          </p:nvSpPr>
          <p:spPr bwMode="gray">
            <a:xfrm>
              <a:off x="780619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46" name="Rechteck 545">
              <a:extLst>
                <a:ext uri="{FF2B5EF4-FFF2-40B4-BE49-F238E27FC236}">
                  <a16:creationId xmlns:a16="http://schemas.microsoft.com/office/drawing/2014/main" id="{2794BC4A-B561-8916-95C6-CB81DF2E7FE5}"/>
                </a:ext>
              </a:extLst>
            </p:cNvPr>
            <p:cNvSpPr/>
            <p:nvPr userDrawn="1"/>
          </p:nvSpPr>
          <p:spPr bwMode="gray">
            <a:xfrm>
              <a:off x="723012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47" name="Rechteck 546">
              <a:extLst>
                <a:ext uri="{FF2B5EF4-FFF2-40B4-BE49-F238E27FC236}">
                  <a16:creationId xmlns:a16="http://schemas.microsoft.com/office/drawing/2014/main" id="{3383573D-C47E-9CE7-5F40-8C4972F8E224}"/>
                </a:ext>
              </a:extLst>
            </p:cNvPr>
            <p:cNvSpPr/>
            <p:nvPr userDrawn="1"/>
          </p:nvSpPr>
          <p:spPr bwMode="gray">
            <a:xfrm>
              <a:off x="665406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48" name="Rechteck 547">
              <a:extLst>
                <a:ext uri="{FF2B5EF4-FFF2-40B4-BE49-F238E27FC236}">
                  <a16:creationId xmlns:a16="http://schemas.microsoft.com/office/drawing/2014/main" id="{80956E66-02AC-88D6-5E1D-B06DD8A5AEC5}"/>
                </a:ext>
              </a:extLst>
            </p:cNvPr>
            <p:cNvSpPr/>
            <p:nvPr userDrawn="1"/>
          </p:nvSpPr>
          <p:spPr bwMode="gray">
            <a:xfrm>
              <a:off x="607800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49" name="Rechteck 548">
              <a:extLst>
                <a:ext uri="{FF2B5EF4-FFF2-40B4-BE49-F238E27FC236}">
                  <a16:creationId xmlns:a16="http://schemas.microsoft.com/office/drawing/2014/main" id="{8E2A9702-BD3B-7433-3034-4BBF547BD666}"/>
                </a:ext>
              </a:extLst>
            </p:cNvPr>
            <p:cNvSpPr/>
            <p:nvPr userDrawn="1"/>
          </p:nvSpPr>
          <p:spPr bwMode="gray">
            <a:xfrm>
              <a:off x="550193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50" name="Rechteck 549">
              <a:extLst>
                <a:ext uri="{FF2B5EF4-FFF2-40B4-BE49-F238E27FC236}">
                  <a16:creationId xmlns:a16="http://schemas.microsoft.com/office/drawing/2014/main" id="{861F774D-AA10-8C64-C299-FE0E92B46F87}"/>
                </a:ext>
              </a:extLst>
            </p:cNvPr>
            <p:cNvSpPr/>
            <p:nvPr userDrawn="1"/>
          </p:nvSpPr>
          <p:spPr bwMode="gray">
            <a:xfrm>
              <a:off x="492587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51" name="Rechteck 550">
              <a:extLst>
                <a:ext uri="{FF2B5EF4-FFF2-40B4-BE49-F238E27FC236}">
                  <a16:creationId xmlns:a16="http://schemas.microsoft.com/office/drawing/2014/main" id="{09D31B6A-4ACB-FEF1-A708-833C08D6442F}"/>
                </a:ext>
              </a:extLst>
            </p:cNvPr>
            <p:cNvSpPr/>
            <p:nvPr userDrawn="1"/>
          </p:nvSpPr>
          <p:spPr bwMode="gray">
            <a:xfrm>
              <a:off x="434980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52" name="Rechteck 551">
              <a:extLst>
                <a:ext uri="{FF2B5EF4-FFF2-40B4-BE49-F238E27FC236}">
                  <a16:creationId xmlns:a16="http://schemas.microsoft.com/office/drawing/2014/main" id="{D00B332D-74DE-9D32-AB10-021C9838207D}"/>
                </a:ext>
              </a:extLst>
            </p:cNvPr>
            <p:cNvSpPr/>
            <p:nvPr userDrawn="1"/>
          </p:nvSpPr>
          <p:spPr bwMode="gray">
            <a:xfrm>
              <a:off x="377374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53" name="Rechteck 552">
              <a:extLst>
                <a:ext uri="{FF2B5EF4-FFF2-40B4-BE49-F238E27FC236}">
                  <a16:creationId xmlns:a16="http://schemas.microsoft.com/office/drawing/2014/main" id="{A04D55B5-2294-896D-B34D-13C8A75119B6}"/>
                </a:ext>
              </a:extLst>
            </p:cNvPr>
            <p:cNvSpPr/>
            <p:nvPr userDrawn="1"/>
          </p:nvSpPr>
          <p:spPr bwMode="gray">
            <a:xfrm>
              <a:off x="319768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54" name="Rechteck 553">
              <a:extLst>
                <a:ext uri="{FF2B5EF4-FFF2-40B4-BE49-F238E27FC236}">
                  <a16:creationId xmlns:a16="http://schemas.microsoft.com/office/drawing/2014/main" id="{ECB1E7E9-31A6-3EFD-5432-9BF904657169}"/>
                </a:ext>
              </a:extLst>
            </p:cNvPr>
            <p:cNvSpPr/>
            <p:nvPr userDrawn="1"/>
          </p:nvSpPr>
          <p:spPr bwMode="gray">
            <a:xfrm>
              <a:off x="262161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55" name="Rechteck 554">
              <a:extLst>
                <a:ext uri="{FF2B5EF4-FFF2-40B4-BE49-F238E27FC236}">
                  <a16:creationId xmlns:a16="http://schemas.microsoft.com/office/drawing/2014/main" id="{E26DBA41-FB48-8FBB-0A94-620722DEBB95}"/>
                </a:ext>
              </a:extLst>
            </p:cNvPr>
            <p:cNvSpPr/>
            <p:nvPr userDrawn="1"/>
          </p:nvSpPr>
          <p:spPr bwMode="gray">
            <a:xfrm>
              <a:off x="204555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56" name="Rechteck 555">
              <a:extLst>
                <a:ext uri="{FF2B5EF4-FFF2-40B4-BE49-F238E27FC236}">
                  <a16:creationId xmlns:a16="http://schemas.microsoft.com/office/drawing/2014/main" id="{AF168BC8-50BA-4B0B-A4CB-668E4F16C0FB}"/>
                </a:ext>
              </a:extLst>
            </p:cNvPr>
            <p:cNvSpPr/>
            <p:nvPr userDrawn="1"/>
          </p:nvSpPr>
          <p:spPr bwMode="gray">
            <a:xfrm>
              <a:off x="146948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57" name="Rechteck 556">
              <a:extLst>
                <a:ext uri="{FF2B5EF4-FFF2-40B4-BE49-F238E27FC236}">
                  <a16:creationId xmlns:a16="http://schemas.microsoft.com/office/drawing/2014/main" id="{B08DD3FE-2E9E-05CE-6FD8-D05224C4E13C}"/>
                </a:ext>
              </a:extLst>
            </p:cNvPr>
            <p:cNvSpPr/>
            <p:nvPr userDrawn="1"/>
          </p:nvSpPr>
          <p:spPr bwMode="gray">
            <a:xfrm>
              <a:off x="89342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58" name="Rechteck 557">
              <a:extLst>
                <a:ext uri="{FF2B5EF4-FFF2-40B4-BE49-F238E27FC236}">
                  <a16:creationId xmlns:a16="http://schemas.microsoft.com/office/drawing/2014/main" id="{A47F7C7B-9934-5379-E01C-349EA74F5F0E}"/>
                </a:ext>
              </a:extLst>
            </p:cNvPr>
            <p:cNvSpPr/>
            <p:nvPr userDrawn="1"/>
          </p:nvSpPr>
          <p:spPr bwMode="gray">
            <a:xfrm>
              <a:off x="31736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59" name="Rechteck 558">
              <a:extLst>
                <a:ext uri="{FF2B5EF4-FFF2-40B4-BE49-F238E27FC236}">
                  <a16:creationId xmlns:a16="http://schemas.microsoft.com/office/drawing/2014/main" id="{88A7EE4B-1A1D-22D7-4865-824581B7D715}"/>
                </a:ext>
              </a:extLst>
            </p:cNvPr>
            <p:cNvSpPr/>
            <p:nvPr userDrawn="1"/>
          </p:nvSpPr>
          <p:spPr bwMode="gray">
            <a:xfrm>
              <a:off x="1183864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60" name="Rechteck 559">
              <a:extLst>
                <a:ext uri="{FF2B5EF4-FFF2-40B4-BE49-F238E27FC236}">
                  <a16:creationId xmlns:a16="http://schemas.microsoft.com/office/drawing/2014/main" id="{1855CAAB-2855-88C7-9AF1-682ED63A8EED}"/>
                </a:ext>
              </a:extLst>
            </p:cNvPr>
            <p:cNvSpPr/>
            <p:nvPr userDrawn="1"/>
          </p:nvSpPr>
          <p:spPr bwMode="gray">
            <a:xfrm>
              <a:off x="1183864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61" name="Rechteck 560">
              <a:extLst>
                <a:ext uri="{FF2B5EF4-FFF2-40B4-BE49-F238E27FC236}">
                  <a16:creationId xmlns:a16="http://schemas.microsoft.com/office/drawing/2014/main" id="{B9238654-2666-E53A-003C-C23AC170A572}"/>
                </a:ext>
              </a:extLst>
            </p:cNvPr>
            <p:cNvSpPr/>
            <p:nvPr userDrawn="1"/>
          </p:nvSpPr>
          <p:spPr bwMode="gray">
            <a:xfrm>
              <a:off x="1183864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62" name="Rechteck 561">
              <a:extLst>
                <a:ext uri="{FF2B5EF4-FFF2-40B4-BE49-F238E27FC236}">
                  <a16:creationId xmlns:a16="http://schemas.microsoft.com/office/drawing/2014/main" id="{6EAE14D6-6634-7EC4-A15F-DD94B3190BB6}"/>
                </a:ext>
              </a:extLst>
            </p:cNvPr>
            <p:cNvSpPr/>
            <p:nvPr userDrawn="1"/>
          </p:nvSpPr>
          <p:spPr bwMode="gray">
            <a:xfrm>
              <a:off x="1183864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63" name="Rechteck 562">
              <a:extLst>
                <a:ext uri="{FF2B5EF4-FFF2-40B4-BE49-F238E27FC236}">
                  <a16:creationId xmlns:a16="http://schemas.microsoft.com/office/drawing/2014/main" id="{B7E8D9E3-0725-1A0F-9513-7090597EB381}"/>
                </a:ext>
              </a:extLst>
            </p:cNvPr>
            <p:cNvSpPr/>
            <p:nvPr userDrawn="1"/>
          </p:nvSpPr>
          <p:spPr bwMode="gray">
            <a:xfrm>
              <a:off x="1183864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64" name="Rechteck 563">
              <a:extLst>
                <a:ext uri="{FF2B5EF4-FFF2-40B4-BE49-F238E27FC236}">
                  <a16:creationId xmlns:a16="http://schemas.microsoft.com/office/drawing/2014/main" id="{EAEBB8D6-1374-3EA2-D38B-BF4273200CFA}"/>
                </a:ext>
              </a:extLst>
            </p:cNvPr>
            <p:cNvSpPr/>
            <p:nvPr userDrawn="1"/>
          </p:nvSpPr>
          <p:spPr bwMode="gray">
            <a:xfrm>
              <a:off x="1183864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65" name="Rechteck 564">
              <a:extLst>
                <a:ext uri="{FF2B5EF4-FFF2-40B4-BE49-F238E27FC236}">
                  <a16:creationId xmlns:a16="http://schemas.microsoft.com/office/drawing/2014/main" id="{4DA2BC1D-EF8A-D62B-2691-4D17DCD9E798}"/>
                </a:ext>
              </a:extLst>
            </p:cNvPr>
            <p:cNvSpPr/>
            <p:nvPr userDrawn="1"/>
          </p:nvSpPr>
          <p:spPr bwMode="gray">
            <a:xfrm>
              <a:off x="1183864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66" name="Rechteck 565">
              <a:extLst>
                <a:ext uri="{FF2B5EF4-FFF2-40B4-BE49-F238E27FC236}">
                  <a16:creationId xmlns:a16="http://schemas.microsoft.com/office/drawing/2014/main" id="{4E1C4FF8-4FFD-D953-CB69-19202F75E75F}"/>
                </a:ext>
              </a:extLst>
            </p:cNvPr>
            <p:cNvSpPr/>
            <p:nvPr userDrawn="1"/>
          </p:nvSpPr>
          <p:spPr bwMode="gray">
            <a:xfrm>
              <a:off x="1183864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67" name="Rechteck 566">
              <a:extLst>
                <a:ext uri="{FF2B5EF4-FFF2-40B4-BE49-F238E27FC236}">
                  <a16:creationId xmlns:a16="http://schemas.microsoft.com/office/drawing/2014/main" id="{69B49E78-1DF8-07D8-F84C-12B3D6C6A4B3}"/>
                </a:ext>
              </a:extLst>
            </p:cNvPr>
            <p:cNvSpPr/>
            <p:nvPr userDrawn="1"/>
          </p:nvSpPr>
          <p:spPr bwMode="gray">
            <a:xfrm>
              <a:off x="1183864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grpSp>
      <p:sp>
        <p:nvSpPr>
          <p:cNvPr id="570" name="Freihandform: Form 569">
            <a:extLst>
              <a:ext uri="{FF2B5EF4-FFF2-40B4-BE49-F238E27FC236}">
                <a16:creationId xmlns:a16="http://schemas.microsoft.com/office/drawing/2014/main" id="{39553E9F-89BC-7E03-F1F1-07694B54A747}"/>
              </a:ext>
              <a:ext uri="{C183D7F6-B498-43B3-948B-1728B52AA6E4}">
                <adec:decorative xmlns:adec="http://schemas.microsoft.com/office/drawing/2017/decorative" val="1"/>
              </a:ext>
            </a:extLst>
          </p:cNvPr>
          <p:cNvSpPr/>
          <p:nvPr userDrawn="1"/>
        </p:nvSpPr>
        <p:spPr>
          <a:xfrm>
            <a:off x="911424" y="2060848"/>
            <a:ext cx="2892425" cy="2879303"/>
          </a:xfrm>
          <a:custGeom>
            <a:avLst/>
            <a:gdLst>
              <a:gd name="connsiteX0" fmla="*/ 0 w 2892425"/>
              <a:gd name="connsiteY0" fmla="*/ 0 h 2879303"/>
              <a:gd name="connsiteX1" fmla="*/ 2892425 w 2892425"/>
              <a:gd name="connsiteY1" fmla="*/ 0 h 2879303"/>
              <a:gd name="connsiteX2" fmla="*/ 2307742 w 2892425"/>
              <a:gd name="connsiteY2" fmla="*/ 2298575 h 2879303"/>
              <a:gd name="connsiteX3" fmla="*/ 0 w 2892425"/>
              <a:gd name="connsiteY3" fmla="*/ 2879303 h 2879303"/>
            </a:gdLst>
            <a:ahLst/>
            <a:cxnLst>
              <a:cxn ang="0">
                <a:pos x="connsiteX0" y="connsiteY0"/>
              </a:cxn>
              <a:cxn ang="0">
                <a:pos x="connsiteX1" y="connsiteY1"/>
              </a:cxn>
              <a:cxn ang="0">
                <a:pos x="connsiteX2" y="connsiteY2"/>
              </a:cxn>
              <a:cxn ang="0">
                <a:pos x="connsiteX3" y="connsiteY3"/>
              </a:cxn>
            </a:cxnLst>
            <a:rect l="l" t="t" r="r" b="b"/>
            <a:pathLst>
              <a:path w="2892425" h="2879303">
                <a:moveTo>
                  <a:pt x="0" y="0"/>
                </a:moveTo>
                <a:lnTo>
                  <a:pt x="2892425" y="0"/>
                </a:lnTo>
                <a:lnTo>
                  <a:pt x="2307742" y="2298575"/>
                </a:lnTo>
                <a:lnTo>
                  <a:pt x="0" y="2879303"/>
                </a:lnTo>
                <a:close/>
              </a:path>
            </a:pathLst>
          </a:custGeom>
          <a:solidFill>
            <a:schemeClr val="bg1"/>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de-DE" sz="1600" dirty="0" err="1"/>
          </a:p>
        </p:txBody>
      </p:sp>
      <p:sp>
        <p:nvSpPr>
          <p:cNvPr id="571" name="Number">
            <a:extLst>
              <a:ext uri="{FF2B5EF4-FFF2-40B4-BE49-F238E27FC236}">
                <a16:creationId xmlns:a16="http://schemas.microsoft.com/office/drawing/2014/main" id="{2C3405EF-84EB-D4A9-60CC-EEB9588F251C}"/>
              </a:ext>
            </a:extLst>
          </p:cNvPr>
          <p:cNvSpPr>
            <a:spLocks noGrp="1"/>
          </p:cNvSpPr>
          <p:nvPr>
            <p:ph type="body" sz="quarter" idx="22" hasCustomPrompt="1"/>
          </p:nvPr>
        </p:nvSpPr>
        <p:spPr bwMode="gray">
          <a:xfrm>
            <a:off x="913259" y="2060997"/>
            <a:ext cx="2892425" cy="2879303"/>
          </a:xfrm>
          <a:custGeom>
            <a:avLst/>
            <a:gdLst>
              <a:gd name="connsiteX0" fmla="*/ 0 w 3022600"/>
              <a:gd name="connsiteY0" fmla="*/ 0 h 3024187"/>
              <a:gd name="connsiteX1" fmla="*/ 3022600 w 3022600"/>
              <a:gd name="connsiteY1" fmla="*/ 0 h 3024187"/>
              <a:gd name="connsiteX2" fmla="*/ 2517775 w 3022600"/>
              <a:gd name="connsiteY2" fmla="*/ 2520950 h 3024187"/>
              <a:gd name="connsiteX3" fmla="*/ 0 w 3022600"/>
              <a:gd name="connsiteY3" fmla="*/ 3024187 h 3024187"/>
              <a:gd name="connsiteX0" fmla="*/ 0 w 3022600"/>
              <a:gd name="connsiteY0" fmla="*/ 0 h 3024187"/>
              <a:gd name="connsiteX1" fmla="*/ 3022600 w 3022600"/>
              <a:gd name="connsiteY1" fmla="*/ 0 h 3024187"/>
              <a:gd name="connsiteX2" fmla="*/ 2159443 w 3022600"/>
              <a:gd name="connsiteY2" fmla="*/ 2134117 h 3024187"/>
              <a:gd name="connsiteX3" fmla="*/ 0 w 3022600"/>
              <a:gd name="connsiteY3" fmla="*/ 3024187 h 3024187"/>
              <a:gd name="connsiteX4" fmla="*/ 0 w 3022600"/>
              <a:gd name="connsiteY4" fmla="*/ 0 h 3024187"/>
              <a:gd name="connsiteX0" fmla="*/ 0 w 3022600"/>
              <a:gd name="connsiteY0" fmla="*/ 0 h 3024187"/>
              <a:gd name="connsiteX1" fmla="*/ 3022600 w 3022600"/>
              <a:gd name="connsiteY1" fmla="*/ 0 h 3024187"/>
              <a:gd name="connsiteX2" fmla="*/ 2411603 w 3022600"/>
              <a:gd name="connsiteY2" fmla="*/ 2414237 h 3024187"/>
              <a:gd name="connsiteX3" fmla="*/ 0 w 3022600"/>
              <a:gd name="connsiteY3" fmla="*/ 3024187 h 3024187"/>
              <a:gd name="connsiteX4" fmla="*/ 0 w 3022600"/>
              <a:gd name="connsiteY4" fmla="*/ 0 h 3024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2600" h="3024187">
                <a:moveTo>
                  <a:pt x="0" y="0"/>
                </a:moveTo>
                <a:lnTo>
                  <a:pt x="3022600" y="0"/>
                </a:lnTo>
                <a:lnTo>
                  <a:pt x="2411603" y="2414237"/>
                </a:lnTo>
                <a:lnTo>
                  <a:pt x="0" y="3024187"/>
                </a:lnTo>
                <a:lnTo>
                  <a:pt x="0" y="0"/>
                </a:lnTo>
                <a:close/>
              </a:path>
            </a:pathLst>
          </a:custGeom>
          <a:solidFill>
            <a:schemeClr val="accent6"/>
          </a:solidFill>
          <a:ln w="127">
            <a:solidFill>
              <a:srgbClr val="FFA52F">
                <a:alpha val="0"/>
              </a:srgbClr>
            </a:solidFill>
          </a:ln>
        </p:spPr>
        <p:txBody>
          <a:bodyPr wrap="square" lIns="216000" tIns="0" rIns="0" bIns="0" anchor="t" anchorCtr="0">
            <a:noAutofit/>
          </a:bodyPr>
          <a:lstStyle>
            <a:lvl1pPr marL="0" indent="0" algn="l">
              <a:lnSpc>
                <a:spcPct val="100000"/>
              </a:lnSpc>
              <a:spcBef>
                <a:spcPts val="0"/>
              </a:spcBef>
              <a:buFont typeface="Arial" panose="020B0604020202020204" pitchFamily="34" charset="0"/>
              <a:buNone/>
              <a:defRPr sz="6900" b="0" baseline="0">
                <a:solidFill>
                  <a:schemeClr val="tx1"/>
                </a:solidFill>
                <a:latin typeface="+mj-lt"/>
              </a:defRPr>
            </a:lvl1pPr>
            <a:lvl2pPr marL="0" indent="0" algn="l">
              <a:lnSpc>
                <a:spcPct val="100000"/>
              </a:lnSpc>
              <a:spcBef>
                <a:spcPts val="0"/>
              </a:spcBef>
              <a:buFont typeface="Arial" panose="020B0604020202020204" pitchFamily="34" charset="0"/>
              <a:buNone/>
              <a:defRPr sz="6900" b="1">
                <a:solidFill>
                  <a:schemeClr val="tx1"/>
                </a:solidFill>
                <a:latin typeface="+mj-lt"/>
              </a:defRPr>
            </a:lvl2pPr>
            <a:lvl3pPr marL="0" indent="0" algn="l">
              <a:lnSpc>
                <a:spcPct val="100000"/>
              </a:lnSpc>
              <a:spcBef>
                <a:spcPts val="0"/>
              </a:spcBef>
              <a:buFont typeface="Arial" panose="020B0604020202020204" pitchFamily="34" charset="0"/>
              <a:buNone/>
              <a:defRPr sz="6900" b="1">
                <a:solidFill>
                  <a:schemeClr val="tx1"/>
                </a:solidFill>
                <a:latin typeface="+mj-lt"/>
              </a:defRPr>
            </a:lvl3pPr>
            <a:lvl4pPr marL="0" indent="0" algn="l">
              <a:lnSpc>
                <a:spcPct val="100000"/>
              </a:lnSpc>
              <a:spcBef>
                <a:spcPts val="0"/>
              </a:spcBef>
              <a:buFont typeface="Arial" panose="020B0604020202020204" pitchFamily="34" charset="0"/>
              <a:buNone/>
              <a:defRPr sz="6900" b="1">
                <a:solidFill>
                  <a:schemeClr val="tx1"/>
                </a:solidFill>
                <a:latin typeface="+mj-lt"/>
              </a:defRPr>
            </a:lvl4pPr>
            <a:lvl5pPr marL="0" indent="0" algn="l">
              <a:lnSpc>
                <a:spcPct val="100000"/>
              </a:lnSpc>
              <a:spcBef>
                <a:spcPts val="0"/>
              </a:spcBef>
              <a:buFont typeface="Arial" panose="020B0604020202020204" pitchFamily="34" charset="0"/>
              <a:buNone/>
              <a:defRPr sz="6900" b="1">
                <a:solidFill>
                  <a:schemeClr val="tx1"/>
                </a:solidFill>
                <a:latin typeface="+mj-lt"/>
              </a:defRPr>
            </a:lvl5pPr>
            <a:lvl6pPr marL="0" indent="0" algn="l">
              <a:lnSpc>
                <a:spcPct val="100000"/>
              </a:lnSpc>
              <a:spcBef>
                <a:spcPts val="0"/>
              </a:spcBef>
              <a:buNone/>
              <a:defRPr sz="6900" b="1">
                <a:solidFill>
                  <a:schemeClr val="tx1"/>
                </a:solidFill>
                <a:latin typeface="+mj-lt"/>
              </a:defRPr>
            </a:lvl6pPr>
            <a:lvl7pPr marL="0" indent="0" algn="l">
              <a:lnSpc>
                <a:spcPct val="100000"/>
              </a:lnSpc>
              <a:spcBef>
                <a:spcPts val="0"/>
              </a:spcBef>
              <a:buNone/>
              <a:defRPr sz="6900" b="1">
                <a:solidFill>
                  <a:schemeClr val="tx1"/>
                </a:solidFill>
                <a:latin typeface="+mj-lt"/>
              </a:defRPr>
            </a:lvl7pPr>
            <a:lvl8pPr marL="0" indent="0" algn="l">
              <a:lnSpc>
                <a:spcPct val="100000"/>
              </a:lnSpc>
              <a:spcBef>
                <a:spcPts val="0"/>
              </a:spcBef>
              <a:buNone/>
              <a:defRPr sz="6900" b="1">
                <a:solidFill>
                  <a:schemeClr val="tx1"/>
                </a:solidFill>
                <a:latin typeface="+mj-lt"/>
              </a:defRPr>
            </a:lvl8pPr>
            <a:lvl9pPr marL="0" indent="0" algn="l">
              <a:lnSpc>
                <a:spcPct val="100000"/>
              </a:lnSpc>
              <a:spcBef>
                <a:spcPts val="0"/>
              </a:spcBef>
              <a:buNone/>
              <a:defRPr sz="6900" b="1">
                <a:solidFill>
                  <a:schemeClr val="tx1"/>
                </a:solidFill>
                <a:latin typeface="+mj-lt"/>
              </a:defRPr>
            </a:lvl9pPr>
          </a:lstStyle>
          <a:p>
            <a:r>
              <a:rPr lang="en-GB" dirty="0"/>
              <a:t>00</a:t>
            </a:r>
          </a:p>
        </p:txBody>
      </p:sp>
      <p:sp>
        <p:nvSpPr>
          <p:cNvPr id="273" name="Title">
            <a:extLst>
              <a:ext uri="{FF2B5EF4-FFF2-40B4-BE49-F238E27FC236}">
                <a16:creationId xmlns:a16="http://schemas.microsoft.com/office/drawing/2014/main" id="{5045B4CF-70E9-BCFE-9B48-6605269A13EE}"/>
              </a:ext>
            </a:extLst>
          </p:cNvPr>
          <p:cNvSpPr>
            <a:spLocks noGrp="1"/>
          </p:cNvSpPr>
          <p:nvPr>
            <p:ph type="title" hasCustomPrompt="1"/>
          </p:nvPr>
        </p:nvSpPr>
        <p:spPr bwMode="gray">
          <a:xfrm>
            <a:off x="4727849" y="1988995"/>
            <a:ext cx="5040000" cy="2088000"/>
          </a:xfrm>
          <a:prstGeom prst="rect">
            <a:avLst/>
          </a:prstGeom>
          <a:solidFill>
            <a:schemeClr val="bg1"/>
          </a:solidFill>
          <a:ln w="127">
            <a:solidFill>
              <a:schemeClr val="bg1"/>
            </a:solidFill>
          </a:ln>
        </p:spPr>
        <p:txBody>
          <a:bodyPr vert="horz" lIns="216000" tIns="36000" rIns="216000">
            <a:noAutofit/>
          </a:bodyPr>
          <a:lstStyle>
            <a:lvl1pPr>
              <a:lnSpc>
                <a:spcPct val="90000"/>
              </a:lnSpc>
              <a:defRPr sz="3000">
                <a:solidFill>
                  <a:schemeClr val="tx1"/>
                </a:solidFill>
              </a:defRPr>
            </a:lvl1pPr>
          </a:lstStyle>
          <a:p>
            <a:r>
              <a:rPr lang="en-GB" dirty="0"/>
              <a:t>Divider slide | Insert your headline in maximal 3 </a:t>
            </a:r>
            <a:br>
              <a:rPr lang="en-GB" dirty="0"/>
            </a:br>
            <a:r>
              <a:rPr lang="en-GB" dirty="0"/>
              <a:t>lines here</a:t>
            </a:r>
          </a:p>
        </p:txBody>
      </p:sp>
      <p:sp>
        <p:nvSpPr>
          <p:cNvPr id="274" name="Subtitle 2">
            <a:extLst>
              <a:ext uri="{FF2B5EF4-FFF2-40B4-BE49-F238E27FC236}">
                <a16:creationId xmlns:a16="http://schemas.microsoft.com/office/drawing/2014/main" id="{75DAE668-322A-0790-5244-385F9D46A8A1}"/>
              </a:ext>
            </a:extLst>
          </p:cNvPr>
          <p:cNvSpPr>
            <a:spLocks noGrp="1"/>
          </p:cNvSpPr>
          <p:nvPr>
            <p:ph type="subTitle" idx="1" hasCustomPrompt="1"/>
          </p:nvPr>
        </p:nvSpPr>
        <p:spPr bwMode="gray">
          <a:xfrm>
            <a:off x="4727848" y="4076996"/>
            <a:ext cx="5040000" cy="1007999"/>
          </a:xfrm>
          <a:prstGeom prst="rect">
            <a:avLst/>
          </a:prstGeom>
          <a:solidFill>
            <a:schemeClr val="bg1"/>
          </a:solidFill>
          <a:ln w="127">
            <a:solidFill>
              <a:schemeClr val="bg1"/>
            </a:solidFill>
          </a:ln>
        </p:spPr>
        <p:txBody>
          <a:bodyPr lIns="216000" rIns="216000"/>
          <a:lstStyle>
            <a:lvl1pPr marL="0" indent="0" algn="l">
              <a:lnSpc>
                <a:spcPct val="100000"/>
              </a:lnSpc>
              <a:spcBef>
                <a:spcPts val="0"/>
              </a:spcBef>
              <a:buFont typeface="Arial" panose="020B0604020202020204" pitchFamily="34" charset="0"/>
              <a:buNone/>
              <a:defRPr sz="2000" b="0">
                <a:latin typeface="+mn-lt"/>
              </a:defRPr>
            </a:lvl1pPr>
            <a:lvl2pPr marL="0" indent="0" algn="l">
              <a:lnSpc>
                <a:spcPct val="100000"/>
              </a:lnSpc>
              <a:spcBef>
                <a:spcPts val="0"/>
              </a:spcBef>
              <a:buFont typeface="Arial" panose="020B0604020202020204" pitchFamily="34" charset="0"/>
              <a:buNone/>
              <a:defRPr sz="2000" b="0">
                <a:latin typeface="+mn-lt"/>
              </a:defRPr>
            </a:lvl2pPr>
            <a:lvl3pPr marL="0" indent="0" algn="l">
              <a:lnSpc>
                <a:spcPct val="100000"/>
              </a:lnSpc>
              <a:spcBef>
                <a:spcPts val="0"/>
              </a:spcBef>
              <a:buFont typeface="Arial" panose="020B0604020202020204" pitchFamily="34" charset="0"/>
              <a:buNone/>
              <a:defRPr sz="2000" b="0">
                <a:latin typeface="+mn-lt"/>
              </a:defRPr>
            </a:lvl3pPr>
            <a:lvl4pPr marL="0" indent="0" algn="l">
              <a:lnSpc>
                <a:spcPct val="100000"/>
              </a:lnSpc>
              <a:spcBef>
                <a:spcPts val="0"/>
              </a:spcBef>
              <a:buFont typeface="Arial" panose="020B0604020202020204" pitchFamily="34" charset="0"/>
              <a:buNone/>
              <a:defRPr sz="2000" b="0">
                <a:latin typeface="+mn-lt"/>
              </a:defRPr>
            </a:lvl4pPr>
            <a:lvl5pPr marL="0" indent="0" algn="l">
              <a:lnSpc>
                <a:spcPct val="100000"/>
              </a:lnSpc>
              <a:spcBef>
                <a:spcPts val="0"/>
              </a:spcBef>
              <a:buFont typeface="Arial" panose="020B0604020202020204" pitchFamily="34" charset="0"/>
              <a:buNone/>
              <a:defRPr sz="2000" b="0">
                <a:latin typeface="+mn-lt"/>
              </a:defRPr>
            </a:lvl5pPr>
            <a:lvl6pPr marL="0" indent="0" algn="l">
              <a:lnSpc>
                <a:spcPct val="100000"/>
              </a:lnSpc>
              <a:spcBef>
                <a:spcPts val="0"/>
              </a:spcBef>
              <a:buFont typeface="Arial" panose="020B0604020202020204" pitchFamily="34" charset="0"/>
              <a:buNone/>
              <a:defRPr sz="2000" b="0">
                <a:latin typeface="+mn-lt"/>
              </a:defRPr>
            </a:lvl6pPr>
            <a:lvl7pPr marL="0" indent="0" algn="l">
              <a:lnSpc>
                <a:spcPct val="100000"/>
              </a:lnSpc>
              <a:spcBef>
                <a:spcPts val="0"/>
              </a:spcBef>
              <a:buFont typeface="Arial" panose="020B0604020202020204" pitchFamily="34" charset="0"/>
              <a:buNone/>
              <a:defRPr sz="2000" b="0">
                <a:latin typeface="+mn-lt"/>
              </a:defRPr>
            </a:lvl7pPr>
            <a:lvl8pPr marL="0" indent="0" algn="l">
              <a:lnSpc>
                <a:spcPct val="100000"/>
              </a:lnSpc>
              <a:spcBef>
                <a:spcPts val="0"/>
              </a:spcBef>
              <a:buFont typeface="Arial" panose="020B0604020202020204" pitchFamily="34" charset="0"/>
              <a:buNone/>
              <a:defRPr sz="2000" b="0">
                <a:latin typeface="+mn-lt"/>
              </a:defRPr>
            </a:lvl8pPr>
            <a:lvl9pPr marL="0" indent="0" algn="l">
              <a:lnSpc>
                <a:spcPct val="100000"/>
              </a:lnSpc>
              <a:spcBef>
                <a:spcPts val="0"/>
              </a:spcBef>
              <a:buFont typeface="Arial" panose="020B0604020202020204" pitchFamily="34" charset="0"/>
              <a:buNone/>
              <a:defRPr sz="2000" b="0">
                <a:latin typeface="+mn-lt"/>
              </a:defRPr>
            </a:lvl9pPr>
          </a:lstStyle>
          <a:p>
            <a:r>
              <a:rPr lang="en-GB" dirty="0"/>
              <a:t>Insert here your subtitle</a:t>
            </a:r>
          </a:p>
        </p:txBody>
      </p:sp>
    </p:spTree>
    <p:extLst>
      <p:ext uri="{BB962C8B-B14F-4D97-AF65-F5344CB8AC3E}">
        <p14:creationId xmlns:p14="http://schemas.microsoft.com/office/powerpoint/2010/main" val="39450588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ivider 3 | Petrol">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F719E231-EC0C-5505-DFDA-9CF0289ABFF4}"/>
              </a:ext>
            </a:extLst>
          </p:cNvPr>
          <p:cNvGraphicFramePr>
            <a:graphicFrameLocks noChangeAspect="1"/>
          </p:cNvGraphicFramePr>
          <p:nvPr userDrawn="1">
            <p:custDataLst>
              <p:tags r:id="rId1"/>
            </p:custDataLst>
            <p:extLst>
              <p:ext uri="{D42A27DB-BD31-4B8C-83A1-F6EECF244321}">
                <p14:modId xmlns:p14="http://schemas.microsoft.com/office/powerpoint/2010/main" val="977942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2" name="Objekt 1" hidden="1">
                        <a:extLst>
                          <a:ext uri="{FF2B5EF4-FFF2-40B4-BE49-F238E27FC236}">
                            <a16:creationId xmlns:a16="http://schemas.microsoft.com/office/drawing/2014/main" id="{F719E231-EC0C-5505-DFDA-9CF0289ABF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umsplatzhalter 7">
            <a:extLst>
              <a:ext uri="{FF2B5EF4-FFF2-40B4-BE49-F238E27FC236}">
                <a16:creationId xmlns:a16="http://schemas.microsoft.com/office/drawing/2014/main" id="{83E93F41-389B-4F3F-B43E-B481EF5BFD93}"/>
              </a:ext>
            </a:extLst>
          </p:cNvPr>
          <p:cNvSpPr>
            <a:spLocks noGrp="1"/>
          </p:cNvSpPr>
          <p:nvPr>
            <p:ph type="dt" sz="half" idx="18"/>
          </p:nvPr>
        </p:nvSpPr>
        <p:spPr/>
        <p:txBody>
          <a:bodyPr/>
          <a:lstStyle/>
          <a:p>
            <a:r>
              <a:rPr lang="en-US"/>
              <a:t>7/26/2022</a:t>
            </a:r>
            <a:endParaRPr lang="en-GB" dirty="0"/>
          </a:p>
        </p:txBody>
      </p:sp>
      <p:sp>
        <p:nvSpPr>
          <p:cNvPr id="9" name="Fußzeilenplatzhalter 8">
            <a:extLst>
              <a:ext uri="{FF2B5EF4-FFF2-40B4-BE49-F238E27FC236}">
                <a16:creationId xmlns:a16="http://schemas.microsoft.com/office/drawing/2014/main" id="{57C93C7F-9E90-34FB-AAEE-B6056EB70F95}"/>
              </a:ext>
            </a:extLst>
          </p:cNvPr>
          <p:cNvSpPr>
            <a:spLocks noGrp="1"/>
          </p:cNvSpPr>
          <p:nvPr>
            <p:ph type="ftr" sz="quarter" idx="19"/>
          </p:nvPr>
        </p:nvSpPr>
        <p:spPr/>
        <p:txBody>
          <a:bodyPr/>
          <a:lstStyle/>
          <a:p>
            <a:r>
              <a:rPr lang="de-DE"/>
              <a:t>Der Konsument nach Corona und Consumer Voice</a:t>
            </a:r>
            <a:endParaRPr lang="de-DE" dirty="0"/>
          </a:p>
        </p:txBody>
      </p:sp>
      <p:sp>
        <p:nvSpPr>
          <p:cNvPr id="10" name="Foliennummernplatzhalter 9">
            <a:extLst>
              <a:ext uri="{FF2B5EF4-FFF2-40B4-BE49-F238E27FC236}">
                <a16:creationId xmlns:a16="http://schemas.microsoft.com/office/drawing/2014/main" id="{B3414605-4C7E-7388-A800-0F64FA68C78A}"/>
              </a:ext>
            </a:extLst>
          </p:cNvPr>
          <p:cNvSpPr>
            <a:spLocks noGrp="1"/>
          </p:cNvSpPr>
          <p:nvPr>
            <p:ph type="sldNum" sz="quarter" idx="20"/>
          </p:nvPr>
        </p:nvSpPr>
        <p:spPr/>
        <p:txBody>
          <a:bodyPr/>
          <a:lstStyle/>
          <a:p>
            <a:fld id="{CAEA825B-D749-4F0A-886E-8D45A39EAF2A}" type="slidenum">
              <a:rPr lang="de-DE" smtClean="0"/>
              <a:pPr/>
              <a:t>‹Nº›</a:t>
            </a:fld>
            <a:endParaRPr lang="de-DE"/>
          </a:p>
        </p:txBody>
      </p:sp>
      <p:sp>
        <p:nvSpPr>
          <p:cNvPr id="458" name="Source">
            <a:extLst>
              <a:ext uri="{FF2B5EF4-FFF2-40B4-BE49-F238E27FC236}">
                <a16:creationId xmlns:a16="http://schemas.microsoft.com/office/drawing/2014/main" id="{9C089872-846F-2874-2B9B-70CAA1B56E5A}"/>
              </a:ext>
            </a:extLst>
          </p:cNvPr>
          <p:cNvSpPr>
            <a:spLocks noGrp="1"/>
          </p:cNvSpPr>
          <p:nvPr>
            <p:ph type="body" sz="quarter" idx="21"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grpSp>
        <p:nvGrpSpPr>
          <p:cNvPr id="192" name="Gruppieren 191">
            <a:extLst>
              <a:ext uri="{FF2B5EF4-FFF2-40B4-BE49-F238E27FC236}">
                <a16:creationId xmlns:a16="http://schemas.microsoft.com/office/drawing/2014/main" id="{A84861AC-2B26-93B6-D283-D2D64D095465}"/>
              </a:ext>
            </a:extLst>
          </p:cNvPr>
          <p:cNvGrpSpPr/>
          <p:nvPr userDrawn="1"/>
        </p:nvGrpSpPr>
        <p:grpSpPr>
          <a:xfrm>
            <a:off x="317360" y="1484784"/>
            <a:ext cx="11539280" cy="4626512"/>
            <a:chOff x="317360" y="1484784"/>
            <a:chExt cx="11539280" cy="4626512"/>
          </a:xfrm>
        </p:grpSpPr>
        <p:sp>
          <p:nvSpPr>
            <p:cNvPr id="193" name="Rechteck 192">
              <a:extLst>
                <a:ext uri="{FF2B5EF4-FFF2-40B4-BE49-F238E27FC236}">
                  <a16:creationId xmlns:a16="http://schemas.microsoft.com/office/drawing/2014/main" id="{2696FF5E-BE76-2F93-9BBF-129C8F34C485}"/>
                </a:ext>
              </a:extLst>
            </p:cNvPr>
            <p:cNvSpPr/>
            <p:nvPr userDrawn="1"/>
          </p:nvSpPr>
          <p:spPr bwMode="gray">
            <a:xfrm>
              <a:off x="1126257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194" name="Rechteck 193">
              <a:extLst>
                <a:ext uri="{FF2B5EF4-FFF2-40B4-BE49-F238E27FC236}">
                  <a16:creationId xmlns:a16="http://schemas.microsoft.com/office/drawing/2014/main" id="{4EFC3CF4-3C23-05E8-22E1-CD689C36C852}"/>
                </a:ext>
              </a:extLst>
            </p:cNvPr>
            <p:cNvSpPr/>
            <p:nvPr userDrawn="1"/>
          </p:nvSpPr>
          <p:spPr bwMode="gray">
            <a:xfrm>
              <a:off x="1068651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195" name="Rechteck 194">
              <a:extLst>
                <a:ext uri="{FF2B5EF4-FFF2-40B4-BE49-F238E27FC236}">
                  <a16:creationId xmlns:a16="http://schemas.microsoft.com/office/drawing/2014/main" id="{AEFFF3B2-9AD5-5CB7-D8BE-1E096F9DFCAA}"/>
                </a:ext>
              </a:extLst>
            </p:cNvPr>
            <p:cNvSpPr/>
            <p:nvPr userDrawn="1"/>
          </p:nvSpPr>
          <p:spPr bwMode="gray">
            <a:xfrm>
              <a:off x="1011044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196" name="Rechteck 195">
              <a:extLst>
                <a:ext uri="{FF2B5EF4-FFF2-40B4-BE49-F238E27FC236}">
                  <a16:creationId xmlns:a16="http://schemas.microsoft.com/office/drawing/2014/main" id="{C9F19841-8696-9AFC-774D-60A52A692AA4}"/>
                </a:ext>
              </a:extLst>
            </p:cNvPr>
            <p:cNvSpPr/>
            <p:nvPr userDrawn="1"/>
          </p:nvSpPr>
          <p:spPr bwMode="gray">
            <a:xfrm>
              <a:off x="953438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197" name="Rechteck 196">
              <a:extLst>
                <a:ext uri="{FF2B5EF4-FFF2-40B4-BE49-F238E27FC236}">
                  <a16:creationId xmlns:a16="http://schemas.microsoft.com/office/drawing/2014/main" id="{F31C13F0-CE7E-8244-52EC-8B3773DEED84}"/>
                </a:ext>
              </a:extLst>
            </p:cNvPr>
            <p:cNvSpPr/>
            <p:nvPr userDrawn="1"/>
          </p:nvSpPr>
          <p:spPr bwMode="gray">
            <a:xfrm>
              <a:off x="895832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198" name="Rechteck 197">
              <a:extLst>
                <a:ext uri="{FF2B5EF4-FFF2-40B4-BE49-F238E27FC236}">
                  <a16:creationId xmlns:a16="http://schemas.microsoft.com/office/drawing/2014/main" id="{229308E0-E376-F3BC-BBC6-F6924B0F8664}"/>
                </a:ext>
              </a:extLst>
            </p:cNvPr>
            <p:cNvSpPr/>
            <p:nvPr userDrawn="1"/>
          </p:nvSpPr>
          <p:spPr bwMode="gray">
            <a:xfrm>
              <a:off x="838225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199" name="Rechteck 198">
              <a:extLst>
                <a:ext uri="{FF2B5EF4-FFF2-40B4-BE49-F238E27FC236}">
                  <a16:creationId xmlns:a16="http://schemas.microsoft.com/office/drawing/2014/main" id="{D83300D4-1806-F851-BED9-04231F527BA7}"/>
                </a:ext>
              </a:extLst>
            </p:cNvPr>
            <p:cNvSpPr/>
            <p:nvPr userDrawn="1"/>
          </p:nvSpPr>
          <p:spPr bwMode="gray">
            <a:xfrm>
              <a:off x="780619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00" name="Rechteck 199">
              <a:extLst>
                <a:ext uri="{FF2B5EF4-FFF2-40B4-BE49-F238E27FC236}">
                  <a16:creationId xmlns:a16="http://schemas.microsoft.com/office/drawing/2014/main" id="{3260414E-DB79-3102-9410-EDFFF7960A11}"/>
                </a:ext>
              </a:extLst>
            </p:cNvPr>
            <p:cNvSpPr/>
            <p:nvPr userDrawn="1"/>
          </p:nvSpPr>
          <p:spPr bwMode="gray">
            <a:xfrm>
              <a:off x="723012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01" name="Rechteck 200">
              <a:extLst>
                <a:ext uri="{FF2B5EF4-FFF2-40B4-BE49-F238E27FC236}">
                  <a16:creationId xmlns:a16="http://schemas.microsoft.com/office/drawing/2014/main" id="{33EAACF7-6001-8A58-2C94-C43387FB9E45}"/>
                </a:ext>
              </a:extLst>
            </p:cNvPr>
            <p:cNvSpPr/>
            <p:nvPr userDrawn="1"/>
          </p:nvSpPr>
          <p:spPr bwMode="gray">
            <a:xfrm>
              <a:off x="665406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02" name="Rechteck 201">
              <a:extLst>
                <a:ext uri="{FF2B5EF4-FFF2-40B4-BE49-F238E27FC236}">
                  <a16:creationId xmlns:a16="http://schemas.microsoft.com/office/drawing/2014/main" id="{289EDEE4-EAA7-2449-56B3-2FB8E4C99BC2}"/>
                </a:ext>
              </a:extLst>
            </p:cNvPr>
            <p:cNvSpPr/>
            <p:nvPr userDrawn="1"/>
          </p:nvSpPr>
          <p:spPr bwMode="gray">
            <a:xfrm>
              <a:off x="607800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03" name="Rechteck 202">
              <a:extLst>
                <a:ext uri="{FF2B5EF4-FFF2-40B4-BE49-F238E27FC236}">
                  <a16:creationId xmlns:a16="http://schemas.microsoft.com/office/drawing/2014/main" id="{E2E83898-104A-6BDD-EF82-CC5ADABF4121}"/>
                </a:ext>
              </a:extLst>
            </p:cNvPr>
            <p:cNvSpPr/>
            <p:nvPr userDrawn="1"/>
          </p:nvSpPr>
          <p:spPr bwMode="gray">
            <a:xfrm>
              <a:off x="550193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04" name="Rechteck 203">
              <a:extLst>
                <a:ext uri="{FF2B5EF4-FFF2-40B4-BE49-F238E27FC236}">
                  <a16:creationId xmlns:a16="http://schemas.microsoft.com/office/drawing/2014/main" id="{761D9B81-DB79-49A6-3FE3-FA2443A83362}"/>
                </a:ext>
              </a:extLst>
            </p:cNvPr>
            <p:cNvSpPr/>
            <p:nvPr userDrawn="1"/>
          </p:nvSpPr>
          <p:spPr bwMode="gray">
            <a:xfrm>
              <a:off x="492587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05" name="Rechteck 204">
              <a:extLst>
                <a:ext uri="{FF2B5EF4-FFF2-40B4-BE49-F238E27FC236}">
                  <a16:creationId xmlns:a16="http://schemas.microsoft.com/office/drawing/2014/main" id="{A79AEA92-DA2E-CAC3-B49F-46B7662D4754}"/>
                </a:ext>
              </a:extLst>
            </p:cNvPr>
            <p:cNvSpPr/>
            <p:nvPr userDrawn="1"/>
          </p:nvSpPr>
          <p:spPr bwMode="gray">
            <a:xfrm>
              <a:off x="434980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06" name="Rechteck 205">
              <a:extLst>
                <a:ext uri="{FF2B5EF4-FFF2-40B4-BE49-F238E27FC236}">
                  <a16:creationId xmlns:a16="http://schemas.microsoft.com/office/drawing/2014/main" id="{BAB536AC-4146-C212-8018-79E474A9FA88}"/>
                </a:ext>
              </a:extLst>
            </p:cNvPr>
            <p:cNvSpPr/>
            <p:nvPr userDrawn="1"/>
          </p:nvSpPr>
          <p:spPr bwMode="gray">
            <a:xfrm>
              <a:off x="377374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07" name="Rechteck 206">
              <a:extLst>
                <a:ext uri="{FF2B5EF4-FFF2-40B4-BE49-F238E27FC236}">
                  <a16:creationId xmlns:a16="http://schemas.microsoft.com/office/drawing/2014/main" id="{6247A99B-FB4A-E42B-D496-D62A9398EB11}"/>
                </a:ext>
              </a:extLst>
            </p:cNvPr>
            <p:cNvSpPr/>
            <p:nvPr userDrawn="1"/>
          </p:nvSpPr>
          <p:spPr bwMode="gray">
            <a:xfrm>
              <a:off x="319768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08" name="Rechteck 207">
              <a:extLst>
                <a:ext uri="{FF2B5EF4-FFF2-40B4-BE49-F238E27FC236}">
                  <a16:creationId xmlns:a16="http://schemas.microsoft.com/office/drawing/2014/main" id="{4F636693-BAF6-E1B1-38F3-E02C55F37C34}"/>
                </a:ext>
              </a:extLst>
            </p:cNvPr>
            <p:cNvSpPr/>
            <p:nvPr userDrawn="1"/>
          </p:nvSpPr>
          <p:spPr bwMode="gray">
            <a:xfrm>
              <a:off x="262161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09" name="Rechteck 208">
              <a:extLst>
                <a:ext uri="{FF2B5EF4-FFF2-40B4-BE49-F238E27FC236}">
                  <a16:creationId xmlns:a16="http://schemas.microsoft.com/office/drawing/2014/main" id="{F0161D4E-31EF-5E74-ADD7-79A174231113}"/>
                </a:ext>
              </a:extLst>
            </p:cNvPr>
            <p:cNvSpPr/>
            <p:nvPr userDrawn="1"/>
          </p:nvSpPr>
          <p:spPr bwMode="gray">
            <a:xfrm>
              <a:off x="204555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10" name="Rechteck 209">
              <a:extLst>
                <a:ext uri="{FF2B5EF4-FFF2-40B4-BE49-F238E27FC236}">
                  <a16:creationId xmlns:a16="http://schemas.microsoft.com/office/drawing/2014/main" id="{277B4F25-01CD-1D2D-2ADD-E94A960C78CB}"/>
                </a:ext>
              </a:extLst>
            </p:cNvPr>
            <p:cNvSpPr/>
            <p:nvPr userDrawn="1"/>
          </p:nvSpPr>
          <p:spPr bwMode="gray">
            <a:xfrm>
              <a:off x="146948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11" name="Rechteck 210">
              <a:extLst>
                <a:ext uri="{FF2B5EF4-FFF2-40B4-BE49-F238E27FC236}">
                  <a16:creationId xmlns:a16="http://schemas.microsoft.com/office/drawing/2014/main" id="{1186D66B-AC1F-47A9-7AC2-CEAF38F44F20}"/>
                </a:ext>
              </a:extLst>
            </p:cNvPr>
            <p:cNvSpPr/>
            <p:nvPr userDrawn="1"/>
          </p:nvSpPr>
          <p:spPr bwMode="gray">
            <a:xfrm>
              <a:off x="89342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12" name="Rechteck 211">
              <a:extLst>
                <a:ext uri="{FF2B5EF4-FFF2-40B4-BE49-F238E27FC236}">
                  <a16:creationId xmlns:a16="http://schemas.microsoft.com/office/drawing/2014/main" id="{1A411849-96AD-AFD6-CC32-CC2A01E0CFDC}"/>
                </a:ext>
              </a:extLst>
            </p:cNvPr>
            <p:cNvSpPr/>
            <p:nvPr userDrawn="1"/>
          </p:nvSpPr>
          <p:spPr bwMode="gray">
            <a:xfrm>
              <a:off x="31736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13" name="Rechteck 212">
              <a:extLst>
                <a:ext uri="{FF2B5EF4-FFF2-40B4-BE49-F238E27FC236}">
                  <a16:creationId xmlns:a16="http://schemas.microsoft.com/office/drawing/2014/main" id="{3D93290D-9E5B-AA85-F09A-C207863F9B34}"/>
                </a:ext>
              </a:extLst>
            </p:cNvPr>
            <p:cNvSpPr/>
            <p:nvPr userDrawn="1"/>
          </p:nvSpPr>
          <p:spPr bwMode="gray">
            <a:xfrm>
              <a:off x="1126257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14" name="Rechteck 213">
              <a:extLst>
                <a:ext uri="{FF2B5EF4-FFF2-40B4-BE49-F238E27FC236}">
                  <a16:creationId xmlns:a16="http://schemas.microsoft.com/office/drawing/2014/main" id="{D1E2F302-4B53-FC4A-3334-1066139F9F63}"/>
                </a:ext>
              </a:extLst>
            </p:cNvPr>
            <p:cNvSpPr/>
            <p:nvPr userDrawn="1"/>
          </p:nvSpPr>
          <p:spPr bwMode="gray">
            <a:xfrm>
              <a:off x="1068651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15" name="Rechteck 214">
              <a:extLst>
                <a:ext uri="{FF2B5EF4-FFF2-40B4-BE49-F238E27FC236}">
                  <a16:creationId xmlns:a16="http://schemas.microsoft.com/office/drawing/2014/main" id="{EC46E057-A631-3F7B-C45E-19A9D94D8C8B}"/>
                </a:ext>
              </a:extLst>
            </p:cNvPr>
            <p:cNvSpPr/>
            <p:nvPr userDrawn="1"/>
          </p:nvSpPr>
          <p:spPr bwMode="gray">
            <a:xfrm>
              <a:off x="1011044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16" name="Rechteck 215">
              <a:extLst>
                <a:ext uri="{FF2B5EF4-FFF2-40B4-BE49-F238E27FC236}">
                  <a16:creationId xmlns:a16="http://schemas.microsoft.com/office/drawing/2014/main" id="{57C2BF52-5BC4-EE1E-48E2-485ED3834DFA}"/>
                </a:ext>
              </a:extLst>
            </p:cNvPr>
            <p:cNvSpPr/>
            <p:nvPr userDrawn="1"/>
          </p:nvSpPr>
          <p:spPr bwMode="gray">
            <a:xfrm>
              <a:off x="953438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17" name="Rechteck 216">
              <a:extLst>
                <a:ext uri="{FF2B5EF4-FFF2-40B4-BE49-F238E27FC236}">
                  <a16:creationId xmlns:a16="http://schemas.microsoft.com/office/drawing/2014/main" id="{0CD705A9-5D79-D0D1-1E1C-56CF7153C81F}"/>
                </a:ext>
              </a:extLst>
            </p:cNvPr>
            <p:cNvSpPr/>
            <p:nvPr userDrawn="1"/>
          </p:nvSpPr>
          <p:spPr bwMode="gray">
            <a:xfrm>
              <a:off x="895832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18" name="Rechteck 217">
              <a:extLst>
                <a:ext uri="{FF2B5EF4-FFF2-40B4-BE49-F238E27FC236}">
                  <a16:creationId xmlns:a16="http://schemas.microsoft.com/office/drawing/2014/main" id="{26931B4E-7232-0A26-10C3-C15C1DE4A471}"/>
                </a:ext>
              </a:extLst>
            </p:cNvPr>
            <p:cNvSpPr/>
            <p:nvPr userDrawn="1"/>
          </p:nvSpPr>
          <p:spPr bwMode="gray">
            <a:xfrm>
              <a:off x="838225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19" name="Rechteck 218">
              <a:extLst>
                <a:ext uri="{FF2B5EF4-FFF2-40B4-BE49-F238E27FC236}">
                  <a16:creationId xmlns:a16="http://schemas.microsoft.com/office/drawing/2014/main" id="{4A9F603E-D8E5-B353-21E3-22B33D10F585}"/>
                </a:ext>
              </a:extLst>
            </p:cNvPr>
            <p:cNvSpPr/>
            <p:nvPr userDrawn="1"/>
          </p:nvSpPr>
          <p:spPr bwMode="gray">
            <a:xfrm>
              <a:off x="780619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20" name="Rechteck 219">
              <a:extLst>
                <a:ext uri="{FF2B5EF4-FFF2-40B4-BE49-F238E27FC236}">
                  <a16:creationId xmlns:a16="http://schemas.microsoft.com/office/drawing/2014/main" id="{BD9D65CD-E693-9726-F70C-F1391BE5A15C}"/>
                </a:ext>
              </a:extLst>
            </p:cNvPr>
            <p:cNvSpPr/>
            <p:nvPr userDrawn="1"/>
          </p:nvSpPr>
          <p:spPr bwMode="gray">
            <a:xfrm>
              <a:off x="723012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21" name="Rechteck 220">
              <a:extLst>
                <a:ext uri="{FF2B5EF4-FFF2-40B4-BE49-F238E27FC236}">
                  <a16:creationId xmlns:a16="http://schemas.microsoft.com/office/drawing/2014/main" id="{CFE4226B-B3BB-418E-C504-9CFBCE4D1F28}"/>
                </a:ext>
              </a:extLst>
            </p:cNvPr>
            <p:cNvSpPr/>
            <p:nvPr userDrawn="1"/>
          </p:nvSpPr>
          <p:spPr bwMode="gray">
            <a:xfrm>
              <a:off x="665406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22" name="Rechteck 221">
              <a:extLst>
                <a:ext uri="{FF2B5EF4-FFF2-40B4-BE49-F238E27FC236}">
                  <a16:creationId xmlns:a16="http://schemas.microsoft.com/office/drawing/2014/main" id="{C40159DA-9A5F-EBCE-EF32-17C1510E93CE}"/>
                </a:ext>
              </a:extLst>
            </p:cNvPr>
            <p:cNvSpPr/>
            <p:nvPr userDrawn="1"/>
          </p:nvSpPr>
          <p:spPr bwMode="gray">
            <a:xfrm>
              <a:off x="607800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23" name="Rechteck 222">
              <a:extLst>
                <a:ext uri="{FF2B5EF4-FFF2-40B4-BE49-F238E27FC236}">
                  <a16:creationId xmlns:a16="http://schemas.microsoft.com/office/drawing/2014/main" id="{D317A6EC-1B91-2F25-CE30-FF95A6589E8F}"/>
                </a:ext>
              </a:extLst>
            </p:cNvPr>
            <p:cNvSpPr/>
            <p:nvPr userDrawn="1"/>
          </p:nvSpPr>
          <p:spPr bwMode="gray">
            <a:xfrm>
              <a:off x="550193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24" name="Rechteck 223">
              <a:extLst>
                <a:ext uri="{FF2B5EF4-FFF2-40B4-BE49-F238E27FC236}">
                  <a16:creationId xmlns:a16="http://schemas.microsoft.com/office/drawing/2014/main" id="{E7739646-67DD-B692-AF16-182C151904E7}"/>
                </a:ext>
              </a:extLst>
            </p:cNvPr>
            <p:cNvSpPr/>
            <p:nvPr userDrawn="1"/>
          </p:nvSpPr>
          <p:spPr bwMode="gray">
            <a:xfrm>
              <a:off x="492587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25" name="Rechteck 224">
              <a:extLst>
                <a:ext uri="{FF2B5EF4-FFF2-40B4-BE49-F238E27FC236}">
                  <a16:creationId xmlns:a16="http://schemas.microsoft.com/office/drawing/2014/main" id="{FCC5E8AB-DBF6-C8BF-B281-14F816B1152A}"/>
                </a:ext>
              </a:extLst>
            </p:cNvPr>
            <p:cNvSpPr/>
            <p:nvPr userDrawn="1"/>
          </p:nvSpPr>
          <p:spPr bwMode="gray">
            <a:xfrm>
              <a:off x="434980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26" name="Rechteck 225">
              <a:extLst>
                <a:ext uri="{FF2B5EF4-FFF2-40B4-BE49-F238E27FC236}">
                  <a16:creationId xmlns:a16="http://schemas.microsoft.com/office/drawing/2014/main" id="{9D50852B-9390-4B31-8D0C-BCC41A8B844C}"/>
                </a:ext>
              </a:extLst>
            </p:cNvPr>
            <p:cNvSpPr/>
            <p:nvPr userDrawn="1"/>
          </p:nvSpPr>
          <p:spPr bwMode="gray">
            <a:xfrm>
              <a:off x="377374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27" name="Rechteck 226">
              <a:extLst>
                <a:ext uri="{FF2B5EF4-FFF2-40B4-BE49-F238E27FC236}">
                  <a16:creationId xmlns:a16="http://schemas.microsoft.com/office/drawing/2014/main" id="{DC297F2B-14F3-E832-27B9-80DB111082E2}"/>
                </a:ext>
              </a:extLst>
            </p:cNvPr>
            <p:cNvSpPr/>
            <p:nvPr userDrawn="1"/>
          </p:nvSpPr>
          <p:spPr bwMode="gray">
            <a:xfrm>
              <a:off x="319768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28" name="Rechteck 227">
              <a:extLst>
                <a:ext uri="{FF2B5EF4-FFF2-40B4-BE49-F238E27FC236}">
                  <a16:creationId xmlns:a16="http://schemas.microsoft.com/office/drawing/2014/main" id="{D8232C4F-828B-A11D-B5ED-EF5F942BF35E}"/>
                </a:ext>
              </a:extLst>
            </p:cNvPr>
            <p:cNvSpPr/>
            <p:nvPr userDrawn="1"/>
          </p:nvSpPr>
          <p:spPr bwMode="gray">
            <a:xfrm>
              <a:off x="262161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29" name="Rechteck 228">
              <a:extLst>
                <a:ext uri="{FF2B5EF4-FFF2-40B4-BE49-F238E27FC236}">
                  <a16:creationId xmlns:a16="http://schemas.microsoft.com/office/drawing/2014/main" id="{D22B55AB-6DFC-6775-6EBF-9AD1A6929307}"/>
                </a:ext>
              </a:extLst>
            </p:cNvPr>
            <p:cNvSpPr/>
            <p:nvPr userDrawn="1"/>
          </p:nvSpPr>
          <p:spPr bwMode="gray">
            <a:xfrm>
              <a:off x="204555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30" name="Rechteck 229">
              <a:extLst>
                <a:ext uri="{FF2B5EF4-FFF2-40B4-BE49-F238E27FC236}">
                  <a16:creationId xmlns:a16="http://schemas.microsoft.com/office/drawing/2014/main" id="{3626E252-7BB3-4CC7-D21A-404C41A61C89}"/>
                </a:ext>
              </a:extLst>
            </p:cNvPr>
            <p:cNvSpPr/>
            <p:nvPr userDrawn="1"/>
          </p:nvSpPr>
          <p:spPr bwMode="gray">
            <a:xfrm>
              <a:off x="146948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31" name="Rechteck 230">
              <a:extLst>
                <a:ext uri="{FF2B5EF4-FFF2-40B4-BE49-F238E27FC236}">
                  <a16:creationId xmlns:a16="http://schemas.microsoft.com/office/drawing/2014/main" id="{F80DDC08-98CF-82F7-F618-9B0AF4C44F9A}"/>
                </a:ext>
              </a:extLst>
            </p:cNvPr>
            <p:cNvSpPr/>
            <p:nvPr userDrawn="1"/>
          </p:nvSpPr>
          <p:spPr bwMode="gray">
            <a:xfrm>
              <a:off x="89342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32" name="Rechteck 231">
              <a:extLst>
                <a:ext uri="{FF2B5EF4-FFF2-40B4-BE49-F238E27FC236}">
                  <a16:creationId xmlns:a16="http://schemas.microsoft.com/office/drawing/2014/main" id="{04C92381-F4B4-8C4F-668E-6D93B8588B5F}"/>
                </a:ext>
              </a:extLst>
            </p:cNvPr>
            <p:cNvSpPr/>
            <p:nvPr userDrawn="1"/>
          </p:nvSpPr>
          <p:spPr bwMode="gray">
            <a:xfrm>
              <a:off x="31736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33" name="Rechteck 232">
              <a:extLst>
                <a:ext uri="{FF2B5EF4-FFF2-40B4-BE49-F238E27FC236}">
                  <a16:creationId xmlns:a16="http://schemas.microsoft.com/office/drawing/2014/main" id="{1C6823F7-5762-03A5-2723-3F7CD4576EA8}"/>
                </a:ext>
              </a:extLst>
            </p:cNvPr>
            <p:cNvSpPr/>
            <p:nvPr userDrawn="1"/>
          </p:nvSpPr>
          <p:spPr bwMode="gray">
            <a:xfrm>
              <a:off x="1126257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34" name="Rechteck 233">
              <a:extLst>
                <a:ext uri="{FF2B5EF4-FFF2-40B4-BE49-F238E27FC236}">
                  <a16:creationId xmlns:a16="http://schemas.microsoft.com/office/drawing/2014/main" id="{44EDE5F7-9161-D02E-B545-5A2DACC2A7E4}"/>
                </a:ext>
              </a:extLst>
            </p:cNvPr>
            <p:cNvSpPr/>
            <p:nvPr userDrawn="1"/>
          </p:nvSpPr>
          <p:spPr bwMode="gray">
            <a:xfrm>
              <a:off x="1068651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35" name="Rechteck 234">
              <a:extLst>
                <a:ext uri="{FF2B5EF4-FFF2-40B4-BE49-F238E27FC236}">
                  <a16:creationId xmlns:a16="http://schemas.microsoft.com/office/drawing/2014/main" id="{A7D264A9-CC7A-654B-0FF8-6749F4D6D970}"/>
                </a:ext>
              </a:extLst>
            </p:cNvPr>
            <p:cNvSpPr/>
            <p:nvPr userDrawn="1"/>
          </p:nvSpPr>
          <p:spPr bwMode="gray">
            <a:xfrm>
              <a:off x="1011044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36" name="Rechteck 235">
              <a:extLst>
                <a:ext uri="{FF2B5EF4-FFF2-40B4-BE49-F238E27FC236}">
                  <a16:creationId xmlns:a16="http://schemas.microsoft.com/office/drawing/2014/main" id="{B35A4750-8535-2ABF-59FB-C7806C7B7279}"/>
                </a:ext>
              </a:extLst>
            </p:cNvPr>
            <p:cNvSpPr/>
            <p:nvPr userDrawn="1"/>
          </p:nvSpPr>
          <p:spPr bwMode="gray">
            <a:xfrm>
              <a:off x="953438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37" name="Rechteck 236">
              <a:extLst>
                <a:ext uri="{FF2B5EF4-FFF2-40B4-BE49-F238E27FC236}">
                  <a16:creationId xmlns:a16="http://schemas.microsoft.com/office/drawing/2014/main" id="{0D40B982-BEED-C7EB-DD0C-12683D687350}"/>
                </a:ext>
              </a:extLst>
            </p:cNvPr>
            <p:cNvSpPr/>
            <p:nvPr userDrawn="1"/>
          </p:nvSpPr>
          <p:spPr bwMode="gray">
            <a:xfrm>
              <a:off x="895832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38" name="Rechteck 237">
              <a:extLst>
                <a:ext uri="{FF2B5EF4-FFF2-40B4-BE49-F238E27FC236}">
                  <a16:creationId xmlns:a16="http://schemas.microsoft.com/office/drawing/2014/main" id="{90FB0832-C658-9359-B95D-F16018C7FE5B}"/>
                </a:ext>
              </a:extLst>
            </p:cNvPr>
            <p:cNvSpPr/>
            <p:nvPr userDrawn="1"/>
          </p:nvSpPr>
          <p:spPr bwMode="gray">
            <a:xfrm>
              <a:off x="838225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39" name="Rechteck 238">
              <a:extLst>
                <a:ext uri="{FF2B5EF4-FFF2-40B4-BE49-F238E27FC236}">
                  <a16:creationId xmlns:a16="http://schemas.microsoft.com/office/drawing/2014/main" id="{DDD6B419-263F-F9E6-6B41-39D03F6D0014}"/>
                </a:ext>
              </a:extLst>
            </p:cNvPr>
            <p:cNvSpPr/>
            <p:nvPr userDrawn="1"/>
          </p:nvSpPr>
          <p:spPr bwMode="gray">
            <a:xfrm>
              <a:off x="780619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40" name="Rechteck 239">
              <a:extLst>
                <a:ext uri="{FF2B5EF4-FFF2-40B4-BE49-F238E27FC236}">
                  <a16:creationId xmlns:a16="http://schemas.microsoft.com/office/drawing/2014/main" id="{A9EC44BF-0436-3828-7DCA-D2E2ECDFE36B}"/>
                </a:ext>
              </a:extLst>
            </p:cNvPr>
            <p:cNvSpPr/>
            <p:nvPr userDrawn="1"/>
          </p:nvSpPr>
          <p:spPr bwMode="gray">
            <a:xfrm>
              <a:off x="723012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41" name="Rechteck 240">
              <a:extLst>
                <a:ext uri="{FF2B5EF4-FFF2-40B4-BE49-F238E27FC236}">
                  <a16:creationId xmlns:a16="http://schemas.microsoft.com/office/drawing/2014/main" id="{23FC142A-22F2-10CF-059C-B0A11AB28318}"/>
                </a:ext>
              </a:extLst>
            </p:cNvPr>
            <p:cNvSpPr/>
            <p:nvPr userDrawn="1"/>
          </p:nvSpPr>
          <p:spPr bwMode="gray">
            <a:xfrm>
              <a:off x="665406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42" name="Rechteck 241">
              <a:extLst>
                <a:ext uri="{FF2B5EF4-FFF2-40B4-BE49-F238E27FC236}">
                  <a16:creationId xmlns:a16="http://schemas.microsoft.com/office/drawing/2014/main" id="{EE239627-F512-B3D5-9CAF-762BE89AEF6C}"/>
                </a:ext>
              </a:extLst>
            </p:cNvPr>
            <p:cNvSpPr/>
            <p:nvPr userDrawn="1"/>
          </p:nvSpPr>
          <p:spPr bwMode="gray">
            <a:xfrm>
              <a:off x="607800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43" name="Rechteck 242">
              <a:extLst>
                <a:ext uri="{FF2B5EF4-FFF2-40B4-BE49-F238E27FC236}">
                  <a16:creationId xmlns:a16="http://schemas.microsoft.com/office/drawing/2014/main" id="{FD54EC84-18F0-CBAF-E19C-36E1ED52A948}"/>
                </a:ext>
              </a:extLst>
            </p:cNvPr>
            <p:cNvSpPr/>
            <p:nvPr userDrawn="1"/>
          </p:nvSpPr>
          <p:spPr bwMode="gray">
            <a:xfrm>
              <a:off x="550193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44" name="Rechteck 243">
              <a:extLst>
                <a:ext uri="{FF2B5EF4-FFF2-40B4-BE49-F238E27FC236}">
                  <a16:creationId xmlns:a16="http://schemas.microsoft.com/office/drawing/2014/main" id="{4EAB5FE2-9EF6-66CC-1F0F-A8FCDB59026D}"/>
                </a:ext>
              </a:extLst>
            </p:cNvPr>
            <p:cNvSpPr/>
            <p:nvPr userDrawn="1"/>
          </p:nvSpPr>
          <p:spPr bwMode="gray">
            <a:xfrm>
              <a:off x="492587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45" name="Rechteck 244">
              <a:extLst>
                <a:ext uri="{FF2B5EF4-FFF2-40B4-BE49-F238E27FC236}">
                  <a16:creationId xmlns:a16="http://schemas.microsoft.com/office/drawing/2014/main" id="{86D5373E-C038-3F66-AD1C-B8FFC26A2ABF}"/>
                </a:ext>
              </a:extLst>
            </p:cNvPr>
            <p:cNvSpPr/>
            <p:nvPr userDrawn="1"/>
          </p:nvSpPr>
          <p:spPr bwMode="gray">
            <a:xfrm>
              <a:off x="434980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46" name="Rechteck 245">
              <a:extLst>
                <a:ext uri="{FF2B5EF4-FFF2-40B4-BE49-F238E27FC236}">
                  <a16:creationId xmlns:a16="http://schemas.microsoft.com/office/drawing/2014/main" id="{02E8EF78-0091-7784-B881-BC1A23420813}"/>
                </a:ext>
              </a:extLst>
            </p:cNvPr>
            <p:cNvSpPr/>
            <p:nvPr userDrawn="1"/>
          </p:nvSpPr>
          <p:spPr bwMode="gray">
            <a:xfrm>
              <a:off x="377374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47" name="Rechteck 246">
              <a:extLst>
                <a:ext uri="{FF2B5EF4-FFF2-40B4-BE49-F238E27FC236}">
                  <a16:creationId xmlns:a16="http://schemas.microsoft.com/office/drawing/2014/main" id="{CB7B9BFA-E95A-27AA-9463-EC3C6B1D6758}"/>
                </a:ext>
              </a:extLst>
            </p:cNvPr>
            <p:cNvSpPr/>
            <p:nvPr userDrawn="1"/>
          </p:nvSpPr>
          <p:spPr bwMode="gray">
            <a:xfrm>
              <a:off x="319768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48" name="Rechteck 247">
              <a:extLst>
                <a:ext uri="{FF2B5EF4-FFF2-40B4-BE49-F238E27FC236}">
                  <a16:creationId xmlns:a16="http://schemas.microsoft.com/office/drawing/2014/main" id="{1D6C93E2-5932-BC1C-2BC0-22F2F84A9446}"/>
                </a:ext>
              </a:extLst>
            </p:cNvPr>
            <p:cNvSpPr/>
            <p:nvPr userDrawn="1"/>
          </p:nvSpPr>
          <p:spPr bwMode="gray">
            <a:xfrm>
              <a:off x="262161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49" name="Rechteck 248">
              <a:extLst>
                <a:ext uri="{FF2B5EF4-FFF2-40B4-BE49-F238E27FC236}">
                  <a16:creationId xmlns:a16="http://schemas.microsoft.com/office/drawing/2014/main" id="{FF08CD82-7101-4ECD-29FD-877BB615399D}"/>
                </a:ext>
              </a:extLst>
            </p:cNvPr>
            <p:cNvSpPr/>
            <p:nvPr userDrawn="1"/>
          </p:nvSpPr>
          <p:spPr bwMode="gray">
            <a:xfrm>
              <a:off x="204555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50" name="Rechteck 249">
              <a:extLst>
                <a:ext uri="{FF2B5EF4-FFF2-40B4-BE49-F238E27FC236}">
                  <a16:creationId xmlns:a16="http://schemas.microsoft.com/office/drawing/2014/main" id="{FC916C93-578E-0611-4900-C744BC336FAB}"/>
                </a:ext>
              </a:extLst>
            </p:cNvPr>
            <p:cNvSpPr/>
            <p:nvPr userDrawn="1"/>
          </p:nvSpPr>
          <p:spPr bwMode="gray">
            <a:xfrm>
              <a:off x="146948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51" name="Rechteck 250">
              <a:extLst>
                <a:ext uri="{FF2B5EF4-FFF2-40B4-BE49-F238E27FC236}">
                  <a16:creationId xmlns:a16="http://schemas.microsoft.com/office/drawing/2014/main" id="{D969A920-1533-9986-55B2-40CBF9ABA070}"/>
                </a:ext>
              </a:extLst>
            </p:cNvPr>
            <p:cNvSpPr/>
            <p:nvPr userDrawn="1"/>
          </p:nvSpPr>
          <p:spPr bwMode="gray">
            <a:xfrm>
              <a:off x="89342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52" name="Rechteck 251">
              <a:extLst>
                <a:ext uri="{FF2B5EF4-FFF2-40B4-BE49-F238E27FC236}">
                  <a16:creationId xmlns:a16="http://schemas.microsoft.com/office/drawing/2014/main" id="{926394EF-81DA-A14C-AA54-3E81AE9A3058}"/>
                </a:ext>
              </a:extLst>
            </p:cNvPr>
            <p:cNvSpPr/>
            <p:nvPr userDrawn="1"/>
          </p:nvSpPr>
          <p:spPr bwMode="gray">
            <a:xfrm>
              <a:off x="31736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53" name="Rechteck 252">
              <a:extLst>
                <a:ext uri="{FF2B5EF4-FFF2-40B4-BE49-F238E27FC236}">
                  <a16:creationId xmlns:a16="http://schemas.microsoft.com/office/drawing/2014/main" id="{DA978E9C-ECCC-D03D-517E-F0BF49C069F4}"/>
                </a:ext>
              </a:extLst>
            </p:cNvPr>
            <p:cNvSpPr/>
            <p:nvPr userDrawn="1"/>
          </p:nvSpPr>
          <p:spPr bwMode="gray">
            <a:xfrm>
              <a:off x="1126257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54" name="Rechteck 253">
              <a:extLst>
                <a:ext uri="{FF2B5EF4-FFF2-40B4-BE49-F238E27FC236}">
                  <a16:creationId xmlns:a16="http://schemas.microsoft.com/office/drawing/2014/main" id="{E7F01950-38D7-BF8A-F941-A5D81D410489}"/>
                </a:ext>
              </a:extLst>
            </p:cNvPr>
            <p:cNvSpPr/>
            <p:nvPr userDrawn="1"/>
          </p:nvSpPr>
          <p:spPr bwMode="gray">
            <a:xfrm>
              <a:off x="1068651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55" name="Rechteck 254">
              <a:extLst>
                <a:ext uri="{FF2B5EF4-FFF2-40B4-BE49-F238E27FC236}">
                  <a16:creationId xmlns:a16="http://schemas.microsoft.com/office/drawing/2014/main" id="{C8EC1E2C-4083-B5FE-88AB-CB1AA5A483DE}"/>
                </a:ext>
              </a:extLst>
            </p:cNvPr>
            <p:cNvSpPr/>
            <p:nvPr userDrawn="1"/>
          </p:nvSpPr>
          <p:spPr bwMode="gray">
            <a:xfrm>
              <a:off x="1011044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56" name="Rechteck 255">
              <a:extLst>
                <a:ext uri="{FF2B5EF4-FFF2-40B4-BE49-F238E27FC236}">
                  <a16:creationId xmlns:a16="http://schemas.microsoft.com/office/drawing/2014/main" id="{C1FCA7FD-177E-E499-2BFB-B2399902C12B}"/>
                </a:ext>
              </a:extLst>
            </p:cNvPr>
            <p:cNvSpPr/>
            <p:nvPr userDrawn="1"/>
          </p:nvSpPr>
          <p:spPr bwMode="gray">
            <a:xfrm>
              <a:off x="953438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57" name="Rechteck 256">
              <a:extLst>
                <a:ext uri="{FF2B5EF4-FFF2-40B4-BE49-F238E27FC236}">
                  <a16:creationId xmlns:a16="http://schemas.microsoft.com/office/drawing/2014/main" id="{F0AB7CC3-F6B6-B8E8-6482-8FC8149FC8E6}"/>
                </a:ext>
              </a:extLst>
            </p:cNvPr>
            <p:cNvSpPr/>
            <p:nvPr userDrawn="1"/>
          </p:nvSpPr>
          <p:spPr bwMode="gray">
            <a:xfrm>
              <a:off x="895832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58" name="Rechteck 257">
              <a:extLst>
                <a:ext uri="{FF2B5EF4-FFF2-40B4-BE49-F238E27FC236}">
                  <a16:creationId xmlns:a16="http://schemas.microsoft.com/office/drawing/2014/main" id="{4A34D919-2D4F-8BD3-7D28-AC0EDB485743}"/>
                </a:ext>
              </a:extLst>
            </p:cNvPr>
            <p:cNvSpPr/>
            <p:nvPr userDrawn="1"/>
          </p:nvSpPr>
          <p:spPr bwMode="gray">
            <a:xfrm>
              <a:off x="838225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59" name="Rechteck 258">
              <a:extLst>
                <a:ext uri="{FF2B5EF4-FFF2-40B4-BE49-F238E27FC236}">
                  <a16:creationId xmlns:a16="http://schemas.microsoft.com/office/drawing/2014/main" id="{2C17866B-673D-B8E5-DEC9-2E15E11CD663}"/>
                </a:ext>
              </a:extLst>
            </p:cNvPr>
            <p:cNvSpPr/>
            <p:nvPr userDrawn="1"/>
          </p:nvSpPr>
          <p:spPr bwMode="gray">
            <a:xfrm>
              <a:off x="780619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60" name="Rechteck 259">
              <a:extLst>
                <a:ext uri="{FF2B5EF4-FFF2-40B4-BE49-F238E27FC236}">
                  <a16:creationId xmlns:a16="http://schemas.microsoft.com/office/drawing/2014/main" id="{6A151901-8C1C-26D1-8F7C-5B0C9A6DAE70}"/>
                </a:ext>
              </a:extLst>
            </p:cNvPr>
            <p:cNvSpPr/>
            <p:nvPr userDrawn="1"/>
          </p:nvSpPr>
          <p:spPr bwMode="gray">
            <a:xfrm>
              <a:off x="723012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61" name="Rechteck 260">
              <a:extLst>
                <a:ext uri="{FF2B5EF4-FFF2-40B4-BE49-F238E27FC236}">
                  <a16:creationId xmlns:a16="http://schemas.microsoft.com/office/drawing/2014/main" id="{CDB6E56F-22E8-4424-AFB8-C2E40CE59429}"/>
                </a:ext>
              </a:extLst>
            </p:cNvPr>
            <p:cNvSpPr/>
            <p:nvPr userDrawn="1"/>
          </p:nvSpPr>
          <p:spPr bwMode="gray">
            <a:xfrm>
              <a:off x="665406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62" name="Rechteck 261">
              <a:extLst>
                <a:ext uri="{FF2B5EF4-FFF2-40B4-BE49-F238E27FC236}">
                  <a16:creationId xmlns:a16="http://schemas.microsoft.com/office/drawing/2014/main" id="{DB8CF013-4D62-41D5-301F-CE520B33A100}"/>
                </a:ext>
              </a:extLst>
            </p:cNvPr>
            <p:cNvSpPr/>
            <p:nvPr userDrawn="1"/>
          </p:nvSpPr>
          <p:spPr bwMode="gray">
            <a:xfrm>
              <a:off x="607800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63" name="Rechteck 262">
              <a:extLst>
                <a:ext uri="{FF2B5EF4-FFF2-40B4-BE49-F238E27FC236}">
                  <a16:creationId xmlns:a16="http://schemas.microsoft.com/office/drawing/2014/main" id="{BC7F594D-B25F-1766-4549-75C81D8F1893}"/>
                </a:ext>
              </a:extLst>
            </p:cNvPr>
            <p:cNvSpPr/>
            <p:nvPr userDrawn="1"/>
          </p:nvSpPr>
          <p:spPr bwMode="gray">
            <a:xfrm>
              <a:off x="550193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64" name="Rechteck 263">
              <a:extLst>
                <a:ext uri="{FF2B5EF4-FFF2-40B4-BE49-F238E27FC236}">
                  <a16:creationId xmlns:a16="http://schemas.microsoft.com/office/drawing/2014/main" id="{43A04AFB-B62D-2BDB-4A24-21AECCC5088E}"/>
                </a:ext>
              </a:extLst>
            </p:cNvPr>
            <p:cNvSpPr/>
            <p:nvPr userDrawn="1"/>
          </p:nvSpPr>
          <p:spPr bwMode="gray">
            <a:xfrm>
              <a:off x="492587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65" name="Rechteck 264">
              <a:extLst>
                <a:ext uri="{FF2B5EF4-FFF2-40B4-BE49-F238E27FC236}">
                  <a16:creationId xmlns:a16="http://schemas.microsoft.com/office/drawing/2014/main" id="{0F2061B7-F7BA-7460-5609-A9D4747B8786}"/>
                </a:ext>
              </a:extLst>
            </p:cNvPr>
            <p:cNvSpPr/>
            <p:nvPr userDrawn="1"/>
          </p:nvSpPr>
          <p:spPr bwMode="gray">
            <a:xfrm>
              <a:off x="434980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66" name="Rechteck 265">
              <a:extLst>
                <a:ext uri="{FF2B5EF4-FFF2-40B4-BE49-F238E27FC236}">
                  <a16:creationId xmlns:a16="http://schemas.microsoft.com/office/drawing/2014/main" id="{C90051ED-9C72-900C-5865-4D6351555A04}"/>
                </a:ext>
              </a:extLst>
            </p:cNvPr>
            <p:cNvSpPr/>
            <p:nvPr userDrawn="1"/>
          </p:nvSpPr>
          <p:spPr bwMode="gray">
            <a:xfrm>
              <a:off x="377374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67" name="Rechteck 266">
              <a:extLst>
                <a:ext uri="{FF2B5EF4-FFF2-40B4-BE49-F238E27FC236}">
                  <a16:creationId xmlns:a16="http://schemas.microsoft.com/office/drawing/2014/main" id="{DF453489-B67D-135C-42B5-7F238203118B}"/>
                </a:ext>
              </a:extLst>
            </p:cNvPr>
            <p:cNvSpPr/>
            <p:nvPr userDrawn="1"/>
          </p:nvSpPr>
          <p:spPr bwMode="gray">
            <a:xfrm>
              <a:off x="319768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68" name="Rechteck 267">
              <a:extLst>
                <a:ext uri="{FF2B5EF4-FFF2-40B4-BE49-F238E27FC236}">
                  <a16:creationId xmlns:a16="http://schemas.microsoft.com/office/drawing/2014/main" id="{42214A48-196D-26EA-2366-46EBA7BF8A0B}"/>
                </a:ext>
              </a:extLst>
            </p:cNvPr>
            <p:cNvSpPr/>
            <p:nvPr userDrawn="1"/>
          </p:nvSpPr>
          <p:spPr bwMode="gray">
            <a:xfrm>
              <a:off x="262161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69" name="Rechteck 268">
              <a:extLst>
                <a:ext uri="{FF2B5EF4-FFF2-40B4-BE49-F238E27FC236}">
                  <a16:creationId xmlns:a16="http://schemas.microsoft.com/office/drawing/2014/main" id="{2FE59AB8-A5CA-2862-079D-433A68F75E64}"/>
                </a:ext>
              </a:extLst>
            </p:cNvPr>
            <p:cNvSpPr/>
            <p:nvPr userDrawn="1"/>
          </p:nvSpPr>
          <p:spPr bwMode="gray">
            <a:xfrm>
              <a:off x="204555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70" name="Rechteck 269">
              <a:extLst>
                <a:ext uri="{FF2B5EF4-FFF2-40B4-BE49-F238E27FC236}">
                  <a16:creationId xmlns:a16="http://schemas.microsoft.com/office/drawing/2014/main" id="{2A90BFFC-627C-A93E-9E3D-47EF50212615}"/>
                </a:ext>
              </a:extLst>
            </p:cNvPr>
            <p:cNvSpPr/>
            <p:nvPr userDrawn="1"/>
          </p:nvSpPr>
          <p:spPr bwMode="gray">
            <a:xfrm>
              <a:off x="146948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71" name="Rechteck 270">
              <a:extLst>
                <a:ext uri="{FF2B5EF4-FFF2-40B4-BE49-F238E27FC236}">
                  <a16:creationId xmlns:a16="http://schemas.microsoft.com/office/drawing/2014/main" id="{7E31F949-E82F-6F25-F284-B760387B0A57}"/>
                </a:ext>
              </a:extLst>
            </p:cNvPr>
            <p:cNvSpPr/>
            <p:nvPr userDrawn="1"/>
          </p:nvSpPr>
          <p:spPr bwMode="gray">
            <a:xfrm>
              <a:off x="89342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272" name="Rechteck 271">
              <a:extLst>
                <a:ext uri="{FF2B5EF4-FFF2-40B4-BE49-F238E27FC236}">
                  <a16:creationId xmlns:a16="http://schemas.microsoft.com/office/drawing/2014/main" id="{AF43D47F-9E7D-2235-88EC-038E7829ADBD}"/>
                </a:ext>
              </a:extLst>
            </p:cNvPr>
            <p:cNvSpPr/>
            <p:nvPr userDrawn="1"/>
          </p:nvSpPr>
          <p:spPr bwMode="gray">
            <a:xfrm>
              <a:off x="31736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59" name="Rechteck 458">
              <a:extLst>
                <a:ext uri="{FF2B5EF4-FFF2-40B4-BE49-F238E27FC236}">
                  <a16:creationId xmlns:a16="http://schemas.microsoft.com/office/drawing/2014/main" id="{D23415BE-14E0-858F-394B-7BD0B4E8A249}"/>
                </a:ext>
              </a:extLst>
            </p:cNvPr>
            <p:cNvSpPr/>
            <p:nvPr userDrawn="1"/>
          </p:nvSpPr>
          <p:spPr bwMode="gray">
            <a:xfrm>
              <a:off x="1126257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0" name="Rechteck 459">
              <a:extLst>
                <a:ext uri="{FF2B5EF4-FFF2-40B4-BE49-F238E27FC236}">
                  <a16:creationId xmlns:a16="http://schemas.microsoft.com/office/drawing/2014/main" id="{289DAA57-4C8D-2B5D-CFD5-0128CA917CC5}"/>
                </a:ext>
              </a:extLst>
            </p:cNvPr>
            <p:cNvSpPr/>
            <p:nvPr userDrawn="1"/>
          </p:nvSpPr>
          <p:spPr bwMode="gray">
            <a:xfrm>
              <a:off x="1068651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1" name="Rechteck 460">
              <a:extLst>
                <a:ext uri="{FF2B5EF4-FFF2-40B4-BE49-F238E27FC236}">
                  <a16:creationId xmlns:a16="http://schemas.microsoft.com/office/drawing/2014/main" id="{0CD28E10-A184-A634-2079-D65381DB7390}"/>
                </a:ext>
              </a:extLst>
            </p:cNvPr>
            <p:cNvSpPr/>
            <p:nvPr userDrawn="1"/>
          </p:nvSpPr>
          <p:spPr bwMode="gray">
            <a:xfrm>
              <a:off x="1011044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2" name="Rechteck 461">
              <a:extLst>
                <a:ext uri="{FF2B5EF4-FFF2-40B4-BE49-F238E27FC236}">
                  <a16:creationId xmlns:a16="http://schemas.microsoft.com/office/drawing/2014/main" id="{11A5A6AD-3EDE-F2A3-19A8-4C4C1C99C7B8}"/>
                </a:ext>
              </a:extLst>
            </p:cNvPr>
            <p:cNvSpPr/>
            <p:nvPr userDrawn="1"/>
          </p:nvSpPr>
          <p:spPr bwMode="gray">
            <a:xfrm>
              <a:off x="953438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3" name="Rechteck 462">
              <a:extLst>
                <a:ext uri="{FF2B5EF4-FFF2-40B4-BE49-F238E27FC236}">
                  <a16:creationId xmlns:a16="http://schemas.microsoft.com/office/drawing/2014/main" id="{E5F87B1D-4CB0-4F76-C097-6C0A2C16DF9D}"/>
                </a:ext>
              </a:extLst>
            </p:cNvPr>
            <p:cNvSpPr/>
            <p:nvPr userDrawn="1"/>
          </p:nvSpPr>
          <p:spPr bwMode="gray">
            <a:xfrm>
              <a:off x="895832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4" name="Rechteck 463">
              <a:extLst>
                <a:ext uri="{FF2B5EF4-FFF2-40B4-BE49-F238E27FC236}">
                  <a16:creationId xmlns:a16="http://schemas.microsoft.com/office/drawing/2014/main" id="{6BE4EF4E-F062-69A0-649F-637AB8EFEAFF}"/>
                </a:ext>
              </a:extLst>
            </p:cNvPr>
            <p:cNvSpPr/>
            <p:nvPr userDrawn="1"/>
          </p:nvSpPr>
          <p:spPr bwMode="gray">
            <a:xfrm>
              <a:off x="838225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5" name="Rechteck 464">
              <a:extLst>
                <a:ext uri="{FF2B5EF4-FFF2-40B4-BE49-F238E27FC236}">
                  <a16:creationId xmlns:a16="http://schemas.microsoft.com/office/drawing/2014/main" id="{F8AAFD1B-3754-019C-8AE5-9CA5A467371A}"/>
                </a:ext>
              </a:extLst>
            </p:cNvPr>
            <p:cNvSpPr/>
            <p:nvPr userDrawn="1"/>
          </p:nvSpPr>
          <p:spPr bwMode="gray">
            <a:xfrm>
              <a:off x="780619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6" name="Rechteck 465">
              <a:extLst>
                <a:ext uri="{FF2B5EF4-FFF2-40B4-BE49-F238E27FC236}">
                  <a16:creationId xmlns:a16="http://schemas.microsoft.com/office/drawing/2014/main" id="{849AFDF4-82DF-482C-C69F-8AF5DC1E91C4}"/>
                </a:ext>
              </a:extLst>
            </p:cNvPr>
            <p:cNvSpPr/>
            <p:nvPr userDrawn="1"/>
          </p:nvSpPr>
          <p:spPr bwMode="gray">
            <a:xfrm>
              <a:off x="723012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7" name="Rechteck 466">
              <a:extLst>
                <a:ext uri="{FF2B5EF4-FFF2-40B4-BE49-F238E27FC236}">
                  <a16:creationId xmlns:a16="http://schemas.microsoft.com/office/drawing/2014/main" id="{40CAC516-6F4E-9A93-11F8-BF50262F2FE7}"/>
                </a:ext>
              </a:extLst>
            </p:cNvPr>
            <p:cNvSpPr/>
            <p:nvPr userDrawn="1"/>
          </p:nvSpPr>
          <p:spPr bwMode="gray">
            <a:xfrm>
              <a:off x="665406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8" name="Rechteck 467">
              <a:extLst>
                <a:ext uri="{FF2B5EF4-FFF2-40B4-BE49-F238E27FC236}">
                  <a16:creationId xmlns:a16="http://schemas.microsoft.com/office/drawing/2014/main" id="{FFEF8369-67DA-A04A-7481-2E7B0AB3A5DD}"/>
                </a:ext>
              </a:extLst>
            </p:cNvPr>
            <p:cNvSpPr/>
            <p:nvPr userDrawn="1"/>
          </p:nvSpPr>
          <p:spPr bwMode="gray">
            <a:xfrm>
              <a:off x="607800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69" name="Rechteck 468">
              <a:extLst>
                <a:ext uri="{FF2B5EF4-FFF2-40B4-BE49-F238E27FC236}">
                  <a16:creationId xmlns:a16="http://schemas.microsoft.com/office/drawing/2014/main" id="{208D5752-6000-545F-DB4D-46438F8D9829}"/>
                </a:ext>
              </a:extLst>
            </p:cNvPr>
            <p:cNvSpPr/>
            <p:nvPr userDrawn="1"/>
          </p:nvSpPr>
          <p:spPr bwMode="gray">
            <a:xfrm>
              <a:off x="550193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0" name="Rechteck 469">
              <a:extLst>
                <a:ext uri="{FF2B5EF4-FFF2-40B4-BE49-F238E27FC236}">
                  <a16:creationId xmlns:a16="http://schemas.microsoft.com/office/drawing/2014/main" id="{F6C9CD63-06EB-9AC5-96CD-9813A352D96E}"/>
                </a:ext>
              </a:extLst>
            </p:cNvPr>
            <p:cNvSpPr/>
            <p:nvPr userDrawn="1"/>
          </p:nvSpPr>
          <p:spPr bwMode="gray">
            <a:xfrm>
              <a:off x="492587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1" name="Rechteck 470">
              <a:extLst>
                <a:ext uri="{FF2B5EF4-FFF2-40B4-BE49-F238E27FC236}">
                  <a16:creationId xmlns:a16="http://schemas.microsoft.com/office/drawing/2014/main" id="{C974F452-D8D6-9CF6-9223-9FA34AEC75DB}"/>
                </a:ext>
              </a:extLst>
            </p:cNvPr>
            <p:cNvSpPr/>
            <p:nvPr userDrawn="1"/>
          </p:nvSpPr>
          <p:spPr bwMode="gray">
            <a:xfrm>
              <a:off x="434980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2" name="Rechteck 471">
              <a:extLst>
                <a:ext uri="{FF2B5EF4-FFF2-40B4-BE49-F238E27FC236}">
                  <a16:creationId xmlns:a16="http://schemas.microsoft.com/office/drawing/2014/main" id="{B52B6307-A3BB-71E8-76D0-5134C9510BEB}"/>
                </a:ext>
              </a:extLst>
            </p:cNvPr>
            <p:cNvSpPr/>
            <p:nvPr userDrawn="1"/>
          </p:nvSpPr>
          <p:spPr bwMode="gray">
            <a:xfrm>
              <a:off x="377374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3" name="Rechteck 472">
              <a:extLst>
                <a:ext uri="{FF2B5EF4-FFF2-40B4-BE49-F238E27FC236}">
                  <a16:creationId xmlns:a16="http://schemas.microsoft.com/office/drawing/2014/main" id="{2ED0692E-2D67-D54F-9B49-47DB89A8B97D}"/>
                </a:ext>
              </a:extLst>
            </p:cNvPr>
            <p:cNvSpPr/>
            <p:nvPr userDrawn="1"/>
          </p:nvSpPr>
          <p:spPr bwMode="gray">
            <a:xfrm>
              <a:off x="319768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4" name="Rechteck 473">
              <a:extLst>
                <a:ext uri="{FF2B5EF4-FFF2-40B4-BE49-F238E27FC236}">
                  <a16:creationId xmlns:a16="http://schemas.microsoft.com/office/drawing/2014/main" id="{AE447DD3-2E2E-8E56-B653-23AEECD14AD8}"/>
                </a:ext>
              </a:extLst>
            </p:cNvPr>
            <p:cNvSpPr/>
            <p:nvPr userDrawn="1"/>
          </p:nvSpPr>
          <p:spPr bwMode="gray">
            <a:xfrm>
              <a:off x="262161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5" name="Rechteck 474">
              <a:extLst>
                <a:ext uri="{FF2B5EF4-FFF2-40B4-BE49-F238E27FC236}">
                  <a16:creationId xmlns:a16="http://schemas.microsoft.com/office/drawing/2014/main" id="{11769375-6C25-628B-75BD-9CF79D466454}"/>
                </a:ext>
              </a:extLst>
            </p:cNvPr>
            <p:cNvSpPr/>
            <p:nvPr userDrawn="1"/>
          </p:nvSpPr>
          <p:spPr bwMode="gray">
            <a:xfrm>
              <a:off x="204555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6" name="Rechteck 475">
              <a:extLst>
                <a:ext uri="{FF2B5EF4-FFF2-40B4-BE49-F238E27FC236}">
                  <a16:creationId xmlns:a16="http://schemas.microsoft.com/office/drawing/2014/main" id="{80B8FC5D-EC69-94B6-129D-C4CB49AEC2AF}"/>
                </a:ext>
              </a:extLst>
            </p:cNvPr>
            <p:cNvSpPr/>
            <p:nvPr userDrawn="1"/>
          </p:nvSpPr>
          <p:spPr bwMode="gray">
            <a:xfrm>
              <a:off x="146948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7" name="Rechteck 476">
              <a:extLst>
                <a:ext uri="{FF2B5EF4-FFF2-40B4-BE49-F238E27FC236}">
                  <a16:creationId xmlns:a16="http://schemas.microsoft.com/office/drawing/2014/main" id="{EA37455C-48DD-877D-033E-76B8A28FB091}"/>
                </a:ext>
              </a:extLst>
            </p:cNvPr>
            <p:cNvSpPr/>
            <p:nvPr userDrawn="1"/>
          </p:nvSpPr>
          <p:spPr bwMode="gray">
            <a:xfrm>
              <a:off x="89342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8" name="Rechteck 477">
              <a:extLst>
                <a:ext uri="{FF2B5EF4-FFF2-40B4-BE49-F238E27FC236}">
                  <a16:creationId xmlns:a16="http://schemas.microsoft.com/office/drawing/2014/main" id="{B184EE41-DD20-E4B3-9F69-CD4F3A420DA0}"/>
                </a:ext>
              </a:extLst>
            </p:cNvPr>
            <p:cNvSpPr/>
            <p:nvPr userDrawn="1"/>
          </p:nvSpPr>
          <p:spPr bwMode="gray">
            <a:xfrm>
              <a:off x="31736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79" name="Rechteck 478">
              <a:extLst>
                <a:ext uri="{FF2B5EF4-FFF2-40B4-BE49-F238E27FC236}">
                  <a16:creationId xmlns:a16="http://schemas.microsoft.com/office/drawing/2014/main" id="{20D78F29-48E5-3B50-16A9-5E34CAF3DADA}"/>
                </a:ext>
              </a:extLst>
            </p:cNvPr>
            <p:cNvSpPr/>
            <p:nvPr userDrawn="1"/>
          </p:nvSpPr>
          <p:spPr bwMode="gray">
            <a:xfrm>
              <a:off x="1126257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0" name="Rechteck 479">
              <a:extLst>
                <a:ext uri="{FF2B5EF4-FFF2-40B4-BE49-F238E27FC236}">
                  <a16:creationId xmlns:a16="http://schemas.microsoft.com/office/drawing/2014/main" id="{053886A5-8947-57CE-4160-E464C22C784D}"/>
                </a:ext>
              </a:extLst>
            </p:cNvPr>
            <p:cNvSpPr/>
            <p:nvPr userDrawn="1"/>
          </p:nvSpPr>
          <p:spPr bwMode="gray">
            <a:xfrm>
              <a:off x="1068651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1" name="Rechteck 480">
              <a:extLst>
                <a:ext uri="{FF2B5EF4-FFF2-40B4-BE49-F238E27FC236}">
                  <a16:creationId xmlns:a16="http://schemas.microsoft.com/office/drawing/2014/main" id="{00F688FD-206B-1F27-BBC2-9ED9A3AF0595}"/>
                </a:ext>
              </a:extLst>
            </p:cNvPr>
            <p:cNvSpPr/>
            <p:nvPr userDrawn="1"/>
          </p:nvSpPr>
          <p:spPr bwMode="gray">
            <a:xfrm>
              <a:off x="1011044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2" name="Rechteck 481">
              <a:extLst>
                <a:ext uri="{FF2B5EF4-FFF2-40B4-BE49-F238E27FC236}">
                  <a16:creationId xmlns:a16="http://schemas.microsoft.com/office/drawing/2014/main" id="{D7BB1DC8-F5DA-4DEB-9ED8-F3EB352911E7}"/>
                </a:ext>
              </a:extLst>
            </p:cNvPr>
            <p:cNvSpPr/>
            <p:nvPr userDrawn="1"/>
          </p:nvSpPr>
          <p:spPr bwMode="gray">
            <a:xfrm>
              <a:off x="953438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3" name="Rechteck 482">
              <a:extLst>
                <a:ext uri="{FF2B5EF4-FFF2-40B4-BE49-F238E27FC236}">
                  <a16:creationId xmlns:a16="http://schemas.microsoft.com/office/drawing/2014/main" id="{1D86D91B-DB41-217C-6A1A-0DA8B9495BB6}"/>
                </a:ext>
              </a:extLst>
            </p:cNvPr>
            <p:cNvSpPr/>
            <p:nvPr userDrawn="1"/>
          </p:nvSpPr>
          <p:spPr bwMode="gray">
            <a:xfrm>
              <a:off x="895832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4" name="Rechteck 483">
              <a:extLst>
                <a:ext uri="{FF2B5EF4-FFF2-40B4-BE49-F238E27FC236}">
                  <a16:creationId xmlns:a16="http://schemas.microsoft.com/office/drawing/2014/main" id="{7A33080D-225A-B681-FA0B-89A2768988B0}"/>
                </a:ext>
              </a:extLst>
            </p:cNvPr>
            <p:cNvSpPr/>
            <p:nvPr userDrawn="1"/>
          </p:nvSpPr>
          <p:spPr bwMode="gray">
            <a:xfrm>
              <a:off x="838225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5" name="Rechteck 484">
              <a:extLst>
                <a:ext uri="{FF2B5EF4-FFF2-40B4-BE49-F238E27FC236}">
                  <a16:creationId xmlns:a16="http://schemas.microsoft.com/office/drawing/2014/main" id="{24F5A31D-8BE4-3D4C-BAA7-DE24120C62DD}"/>
                </a:ext>
              </a:extLst>
            </p:cNvPr>
            <p:cNvSpPr/>
            <p:nvPr userDrawn="1"/>
          </p:nvSpPr>
          <p:spPr bwMode="gray">
            <a:xfrm>
              <a:off x="780619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6" name="Rechteck 485">
              <a:extLst>
                <a:ext uri="{FF2B5EF4-FFF2-40B4-BE49-F238E27FC236}">
                  <a16:creationId xmlns:a16="http://schemas.microsoft.com/office/drawing/2014/main" id="{8260334D-EB89-A156-5AF1-65156BAE970B}"/>
                </a:ext>
              </a:extLst>
            </p:cNvPr>
            <p:cNvSpPr/>
            <p:nvPr userDrawn="1"/>
          </p:nvSpPr>
          <p:spPr bwMode="gray">
            <a:xfrm>
              <a:off x="723012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7" name="Rechteck 486">
              <a:extLst>
                <a:ext uri="{FF2B5EF4-FFF2-40B4-BE49-F238E27FC236}">
                  <a16:creationId xmlns:a16="http://schemas.microsoft.com/office/drawing/2014/main" id="{1A0510F5-B135-9731-26CC-0AF945138976}"/>
                </a:ext>
              </a:extLst>
            </p:cNvPr>
            <p:cNvSpPr/>
            <p:nvPr userDrawn="1"/>
          </p:nvSpPr>
          <p:spPr bwMode="gray">
            <a:xfrm>
              <a:off x="665406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8" name="Rechteck 487">
              <a:extLst>
                <a:ext uri="{FF2B5EF4-FFF2-40B4-BE49-F238E27FC236}">
                  <a16:creationId xmlns:a16="http://schemas.microsoft.com/office/drawing/2014/main" id="{4EDA5661-3E25-3238-3D26-956F613CA7D4}"/>
                </a:ext>
              </a:extLst>
            </p:cNvPr>
            <p:cNvSpPr/>
            <p:nvPr userDrawn="1"/>
          </p:nvSpPr>
          <p:spPr bwMode="gray">
            <a:xfrm>
              <a:off x="607800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89" name="Rechteck 488">
              <a:extLst>
                <a:ext uri="{FF2B5EF4-FFF2-40B4-BE49-F238E27FC236}">
                  <a16:creationId xmlns:a16="http://schemas.microsoft.com/office/drawing/2014/main" id="{84FDA7D9-179B-B666-C826-2E6B7543F37F}"/>
                </a:ext>
              </a:extLst>
            </p:cNvPr>
            <p:cNvSpPr/>
            <p:nvPr userDrawn="1"/>
          </p:nvSpPr>
          <p:spPr bwMode="gray">
            <a:xfrm>
              <a:off x="550193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0" name="Rechteck 489">
              <a:extLst>
                <a:ext uri="{FF2B5EF4-FFF2-40B4-BE49-F238E27FC236}">
                  <a16:creationId xmlns:a16="http://schemas.microsoft.com/office/drawing/2014/main" id="{BFD8FB46-9C4A-F813-9538-9C184CE440FB}"/>
                </a:ext>
              </a:extLst>
            </p:cNvPr>
            <p:cNvSpPr/>
            <p:nvPr userDrawn="1"/>
          </p:nvSpPr>
          <p:spPr bwMode="gray">
            <a:xfrm>
              <a:off x="492587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1" name="Rechteck 490">
              <a:extLst>
                <a:ext uri="{FF2B5EF4-FFF2-40B4-BE49-F238E27FC236}">
                  <a16:creationId xmlns:a16="http://schemas.microsoft.com/office/drawing/2014/main" id="{4ED2AFC9-729B-2D6B-D587-FE15CA630E5F}"/>
                </a:ext>
              </a:extLst>
            </p:cNvPr>
            <p:cNvSpPr/>
            <p:nvPr userDrawn="1"/>
          </p:nvSpPr>
          <p:spPr bwMode="gray">
            <a:xfrm>
              <a:off x="434980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2" name="Rechteck 491">
              <a:extLst>
                <a:ext uri="{FF2B5EF4-FFF2-40B4-BE49-F238E27FC236}">
                  <a16:creationId xmlns:a16="http://schemas.microsoft.com/office/drawing/2014/main" id="{88F3F1CE-4ACC-6A47-E629-C472C715B092}"/>
                </a:ext>
              </a:extLst>
            </p:cNvPr>
            <p:cNvSpPr/>
            <p:nvPr userDrawn="1"/>
          </p:nvSpPr>
          <p:spPr bwMode="gray">
            <a:xfrm>
              <a:off x="377374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3" name="Rechteck 492">
              <a:extLst>
                <a:ext uri="{FF2B5EF4-FFF2-40B4-BE49-F238E27FC236}">
                  <a16:creationId xmlns:a16="http://schemas.microsoft.com/office/drawing/2014/main" id="{E332CED7-223A-2B3A-C8D3-C4395A4C50D0}"/>
                </a:ext>
              </a:extLst>
            </p:cNvPr>
            <p:cNvSpPr/>
            <p:nvPr userDrawn="1"/>
          </p:nvSpPr>
          <p:spPr bwMode="gray">
            <a:xfrm>
              <a:off x="319768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4" name="Rechteck 493">
              <a:extLst>
                <a:ext uri="{FF2B5EF4-FFF2-40B4-BE49-F238E27FC236}">
                  <a16:creationId xmlns:a16="http://schemas.microsoft.com/office/drawing/2014/main" id="{5062DF14-1215-03B5-DFB7-B2F2B7ACF270}"/>
                </a:ext>
              </a:extLst>
            </p:cNvPr>
            <p:cNvSpPr/>
            <p:nvPr userDrawn="1"/>
          </p:nvSpPr>
          <p:spPr bwMode="gray">
            <a:xfrm>
              <a:off x="262161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5" name="Rechteck 494">
              <a:extLst>
                <a:ext uri="{FF2B5EF4-FFF2-40B4-BE49-F238E27FC236}">
                  <a16:creationId xmlns:a16="http://schemas.microsoft.com/office/drawing/2014/main" id="{CF0EE141-10FB-200A-4E5E-B632D045D969}"/>
                </a:ext>
              </a:extLst>
            </p:cNvPr>
            <p:cNvSpPr/>
            <p:nvPr userDrawn="1"/>
          </p:nvSpPr>
          <p:spPr bwMode="gray">
            <a:xfrm>
              <a:off x="204555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6" name="Rechteck 495">
              <a:extLst>
                <a:ext uri="{FF2B5EF4-FFF2-40B4-BE49-F238E27FC236}">
                  <a16:creationId xmlns:a16="http://schemas.microsoft.com/office/drawing/2014/main" id="{A025D08E-9F12-F22D-9EFE-BCFB0BBCD5C4}"/>
                </a:ext>
              </a:extLst>
            </p:cNvPr>
            <p:cNvSpPr/>
            <p:nvPr userDrawn="1"/>
          </p:nvSpPr>
          <p:spPr bwMode="gray">
            <a:xfrm>
              <a:off x="146948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7" name="Rechteck 496">
              <a:extLst>
                <a:ext uri="{FF2B5EF4-FFF2-40B4-BE49-F238E27FC236}">
                  <a16:creationId xmlns:a16="http://schemas.microsoft.com/office/drawing/2014/main" id="{71324948-50C5-0C50-3D81-3566BE1F71BC}"/>
                </a:ext>
              </a:extLst>
            </p:cNvPr>
            <p:cNvSpPr/>
            <p:nvPr userDrawn="1"/>
          </p:nvSpPr>
          <p:spPr bwMode="gray">
            <a:xfrm>
              <a:off x="89342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8" name="Rechteck 497">
              <a:extLst>
                <a:ext uri="{FF2B5EF4-FFF2-40B4-BE49-F238E27FC236}">
                  <a16:creationId xmlns:a16="http://schemas.microsoft.com/office/drawing/2014/main" id="{3A0FDE95-6524-F2D7-A2E8-E15D5A48DB65}"/>
                </a:ext>
              </a:extLst>
            </p:cNvPr>
            <p:cNvSpPr/>
            <p:nvPr userDrawn="1"/>
          </p:nvSpPr>
          <p:spPr bwMode="gray">
            <a:xfrm>
              <a:off x="31736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499" name="Rechteck 498">
              <a:extLst>
                <a:ext uri="{FF2B5EF4-FFF2-40B4-BE49-F238E27FC236}">
                  <a16:creationId xmlns:a16="http://schemas.microsoft.com/office/drawing/2014/main" id="{09E6DF47-8422-15B2-C550-009FB9727298}"/>
                </a:ext>
              </a:extLst>
            </p:cNvPr>
            <p:cNvSpPr/>
            <p:nvPr userDrawn="1"/>
          </p:nvSpPr>
          <p:spPr bwMode="gray">
            <a:xfrm>
              <a:off x="1126257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00" name="Rechteck 499">
              <a:extLst>
                <a:ext uri="{FF2B5EF4-FFF2-40B4-BE49-F238E27FC236}">
                  <a16:creationId xmlns:a16="http://schemas.microsoft.com/office/drawing/2014/main" id="{C59BA8B7-B81E-EF63-EDCB-E8E6BF42BC21}"/>
                </a:ext>
              </a:extLst>
            </p:cNvPr>
            <p:cNvSpPr/>
            <p:nvPr userDrawn="1"/>
          </p:nvSpPr>
          <p:spPr bwMode="gray">
            <a:xfrm>
              <a:off x="1068651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01" name="Rechteck 500">
              <a:extLst>
                <a:ext uri="{FF2B5EF4-FFF2-40B4-BE49-F238E27FC236}">
                  <a16:creationId xmlns:a16="http://schemas.microsoft.com/office/drawing/2014/main" id="{36C56416-D6F5-9389-45EA-2C404A019BEA}"/>
                </a:ext>
              </a:extLst>
            </p:cNvPr>
            <p:cNvSpPr/>
            <p:nvPr userDrawn="1"/>
          </p:nvSpPr>
          <p:spPr bwMode="gray">
            <a:xfrm>
              <a:off x="1011044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02" name="Rechteck 501">
              <a:extLst>
                <a:ext uri="{FF2B5EF4-FFF2-40B4-BE49-F238E27FC236}">
                  <a16:creationId xmlns:a16="http://schemas.microsoft.com/office/drawing/2014/main" id="{79CFF5DD-BD08-E403-8A12-23FB09D56AA7}"/>
                </a:ext>
              </a:extLst>
            </p:cNvPr>
            <p:cNvSpPr/>
            <p:nvPr userDrawn="1"/>
          </p:nvSpPr>
          <p:spPr bwMode="gray">
            <a:xfrm>
              <a:off x="953438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03" name="Rechteck 502">
              <a:extLst>
                <a:ext uri="{FF2B5EF4-FFF2-40B4-BE49-F238E27FC236}">
                  <a16:creationId xmlns:a16="http://schemas.microsoft.com/office/drawing/2014/main" id="{A4E96681-D15D-D45A-C0A8-3AAC1FE8EC32}"/>
                </a:ext>
              </a:extLst>
            </p:cNvPr>
            <p:cNvSpPr/>
            <p:nvPr userDrawn="1"/>
          </p:nvSpPr>
          <p:spPr bwMode="gray">
            <a:xfrm>
              <a:off x="895832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04" name="Rechteck 503">
              <a:extLst>
                <a:ext uri="{FF2B5EF4-FFF2-40B4-BE49-F238E27FC236}">
                  <a16:creationId xmlns:a16="http://schemas.microsoft.com/office/drawing/2014/main" id="{EF3A4893-72BE-E1A4-E7A8-1E5E1E8BBD7A}"/>
                </a:ext>
              </a:extLst>
            </p:cNvPr>
            <p:cNvSpPr/>
            <p:nvPr userDrawn="1"/>
          </p:nvSpPr>
          <p:spPr bwMode="gray">
            <a:xfrm>
              <a:off x="838225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05" name="Rechteck 504">
              <a:extLst>
                <a:ext uri="{FF2B5EF4-FFF2-40B4-BE49-F238E27FC236}">
                  <a16:creationId xmlns:a16="http://schemas.microsoft.com/office/drawing/2014/main" id="{F0C0718B-1243-1E1B-5C31-E57B256AF4DB}"/>
                </a:ext>
              </a:extLst>
            </p:cNvPr>
            <p:cNvSpPr/>
            <p:nvPr userDrawn="1"/>
          </p:nvSpPr>
          <p:spPr bwMode="gray">
            <a:xfrm>
              <a:off x="780619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06" name="Rechteck 505">
              <a:extLst>
                <a:ext uri="{FF2B5EF4-FFF2-40B4-BE49-F238E27FC236}">
                  <a16:creationId xmlns:a16="http://schemas.microsoft.com/office/drawing/2014/main" id="{D6945107-C5B5-EC06-DA93-4F9D71E9158B}"/>
                </a:ext>
              </a:extLst>
            </p:cNvPr>
            <p:cNvSpPr/>
            <p:nvPr userDrawn="1"/>
          </p:nvSpPr>
          <p:spPr bwMode="gray">
            <a:xfrm>
              <a:off x="723012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07" name="Rechteck 506">
              <a:extLst>
                <a:ext uri="{FF2B5EF4-FFF2-40B4-BE49-F238E27FC236}">
                  <a16:creationId xmlns:a16="http://schemas.microsoft.com/office/drawing/2014/main" id="{38578740-A4C3-583A-3C62-747BE26BAF95}"/>
                </a:ext>
              </a:extLst>
            </p:cNvPr>
            <p:cNvSpPr/>
            <p:nvPr userDrawn="1"/>
          </p:nvSpPr>
          <p:spPr bwMode="gray">
            <a:xfrm>
              <a:off x="665406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08" name="Rechteck 507">
              <a:extLst>
                <a:ext uri="{FF2B5EF4-FFF2-40B4-BE49-F238E27FC236}">
                  <a16:creationId xmlns:a16="http://schemas.microsoft.com/office/drawing/2014/main" id="{4916CCCC-2614-E30D-462A-C20B1D60272B}"/>
                </a:ext>
              </a:extLst>
            </p:cNvPr>
            <p:cNvSpPr/>
            <p:nvPr userDrawn="1"/>
          </p:nvSpPr>
          <p:spPr bwMode="gray">
            <a:xfrm>
              <a:off x="607800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09" name="Rechteck 508">
              <a:extLst>
                <a:ext uri="{FF2B5EF4-FFF2-40B4-BE49-F238E27FC236}">
                  <a16:creationId xmlns:a16="http://schemas.microsoft.com/office/drawing/2014/main" id="{E308DA26-B717-2EF0-7E88-FCDEA484010B}"/>
                </a:ext>
              </a:extLst>
            </p:cNvPr>
            <p:cNvSpPr/>
            <p:nvPr userDrawn="1"/>
          </p:nvSpPr>
          <p:spPr bwMode="gray">
            <a:xfrm>
              <a:off x="550193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10" name="Rechteck 509">
              <a:extLst>
                <a:ext uri="{FF2B5EF4-FFF2-40B4-BE49-F238E27FC236}">
                  <a16:creationId xmlns:a16="http://schemas.microsoft.com/office/drawing/2014/main" id="{7586CB40-A2AC-D75F-C74B-7BBF7A7E4DAA}"/>
                </a:ext>
              </a:extLst>
            </p:cNvPr>
            <p:cNvSpPr/>
            <p:nvPr userDrawn="1"/>
          </p:nvSpPr>
          <p:spPr bwMode="gray">
            <a:xfrm>
              <a:off x="492587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11" name="Rechteck 510">
              <a:extLst>
                <a:ext uri="{FF2B5EF4-FFF2-40B4-BE49-F238E27FC236}">
                  <a16:creationId xmlns:a16="http://schemas.microsoft.com/office/drawing/2014/main" id="{C8F8097C-0ADD-C0B5-FE2A-F469E217ECAA}"/>
                </a:ext>
              </a:extLst>
            </p:cNvPr>
            <p:cNvSpPr/>
            <p:nvPr userDrawn="1"/>
          </p:nvSpPr>
          <p:spPr bwMode="gray">
            <a:xfrm>
              <a:off x="434980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12" name="Rechteck 511">
              <a:extLst>
                <a:ext uri="{FF2B5EF4-FFF2-40B4-BE49-F238E27FC236}">
                  <a16:creationId xmlns:a16="http://schemas.microsoft.com/office/drawing/2014/main" id="{3704B544-AF10-C9C7-E476-B15E03E4349C}"/>
                </a:ext>
              </a:extLst>
            </p:cNvPr>
            <p:cNvSpPr/>
            <p:nvPr userDrawn="1"/>
          </p:nvSpPr>
          <p:spPr bwMode="gray">
            <a:xfrm>
              <a:off x="377374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13" name="Rechteck 512">
              <a:extLst>
                <a:ext uri="{FF2B5EF4-FFF2-40B4-BE49-F238E27FC236}">
                  <a16:creationId xmlns:a16="http://schemas.microsoft.com/office/drawing/2014/main" id="{5CFF3EA5-0391-789F-A3C6-6F040FD560A0}"/>
                </a:ext>
              </a:extLst>
            </p:cNvPr>
            <p:cNvSpPr/>
            <p:nvPr userDrawn="1"/>
          </p:nvSpPr>
          <p:spPr bwMode="gray">
            <a:xfrm>
              <a:off x="319768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14" name="Rechteck 513">
              <a:extLst>
                <a:ext uri="{FF2B5EF4-FFF2-40B4-BE49-F238E27FC236}">
                  <a16:creationId xmlns:a16="http://schemas.microsoft.com/office/drawing/2014/main" id="{C0E31FA7-FCF1-6701-6494-FFD017E4F277}"/>
                </a:ext>
              </a:extLst>
            </p:cNvPr>
            <p:cNvSpPr/>
            <p:nvPr userDrawn="1"/>
          </p:nvSpPr>
          <p:spPr bwMode="gray">
            <a:xfrm>
              <a:off x="262161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15" name="Rechteck 514">
              <a:extLst>
                <a:ext uri="{FF2B5EF4-FFF2-40B4-BE49-F238E27FC236}">
                  <a16:creationId xmlns:a16="http://schemas.microsoft.com/office/drawing/2014/main" id="{6A176DB0-D43A-AEB8-205B-8ECC6A6C4FA2}"/>
                </a:ext>
              </a:extLst>
            </p:cNvPr>
            <p:cNvSpPr/>
            <p:nvPr userDrawn="1"/>
          </p:nvSpPr>
          <p:spPr bwMode="gray">
            <a:xfrm>
              <a:off x="204555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16" name="Rechteck 515">
              <a:extLst>
                <a:ext uri="{FF2B5EF4-FFF2-40B4-BE49-F238E27FC236}">
                  <a16:creationId xmlns:a16="http://schemas.microsoft.com/office/drawing/2014/main" id="{8AB12E84-C8A6-DD90-63E2-73E4E5ED7137}"/>
                </a:ext>
              </a:extLst>
            </p:cNvPr>
            <p:cNvSpPr/>
            <p:nvPr userDrawn="1"/>
          </p:nvSpPr>
          <p:spPr bwMode="gray">
            <a:xfrm>
              <a:off x="146948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17" name="Rechteck 516">
              <a:extLst>
                <a:ext uri="{FF2B5EF4-FFF2-40B4-BE49-F238E27FC236}">
                  <a16:creationId xmlns:a16="http://schemas.microsoft.com/office/drawing/2014/main" id="{B99F2997-078D-A357-B5C7-94B3A528054E}"/>
                </a:ext>
              </a:extLst>
            </p:cNvPr>
            <p:cNvSpPr/>
            <p:nvPr userDrawn="1"/>
          </p:nvSpPr>
          <p:spPr bwMode="gray">
            <a:xfrm>
              <a:off x="89342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18" name="Rechteck 517">
              <a:extLst>
                <a:ext uri="{FF2B5EF4-FFF2-40B4-BE49-F238E27FC236}">
                  <a16:creationId xmlns:a16="http://schemas.microsoft.com/office/drawing/2014/main" id="{5497181A-4DCD-1C1E-0F58-3C2ED214B8D8}"/>
                </a:ext>
              </a:extLst>
            </p:cNvPr>
            <p:cNvSpPr/>
            <p:nvPr userDrawn="1"/>
          </p:nvSpPr>
          <p:spPr bwMode="gray">
            <a:xfrm>
              <a:off x="31736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19" name="Rechteck 518">
              <a:extLst>
                <a:ext uri="{FF2B5EF4-FFF2-40B4-BE49-F238E27FC236}">
                  <a16:creationId xmlns:a16="http://schemas.microsoft.com/office/drawing/2014/main" id="{8EE2C80D-A68E-F8AF-D662-8D91C920F84E}"/>
                </a:ext>
              </a:extLst>
            </p:cNvPr>
            <p:cNvSpPr/>
            <p:nvPr userDrawn="1"/>
          </p:nvSpPr>
          <p:spPr bwMode="gray">
            <a:xfrm>
              <a:off x="1126257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20" name="Rechteck 519">
              <a:extLst>
                <a:ext uri="{FF2B5EF4-FFF2-40B4-BE49-F238E27FC236}">
                  <a16:creationId xmlns:a16="http://schemas.microsoft.com/office/drawing/2014/main" id="{96EB1FE4-4EF7-123F-74A1-BE14993F42FF}"/>
                </a:ext>
              </a:extLst>
            </p:cNvPr>
            <p:cNvSpPr/>
            <p:nvPr userDrawn="1"/>
          </p:nvSpPr>
          <p:spPr bwMode="gray">
            <a:xfrm>
              <a:off x="1068651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21" name="Rechteck 520">
              <a:extLst>
                <a:ext uri="{FF2B5EF4-FFF2-40B4-BE49-F238E27FC236}">
                  <a16:creationId xmlns:a16="http://schemas.microsoft.com/office/drawing/2014/main" id="{E99CB62B-BB39-0128-1A41-56D0B5BCA1D1}"/>
                </a:ext>
              </a:extLst>
            </p:cNvPr>
            <p:cNvSpPr/>
            <p:nvPr userDrawn="1"/>
          </p:nvSpPr>
          <p:spPr bwMode="gray">
            <a:xfrm>
              <a:off x="1011044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22" name="Rechteck 521">
              <a:extLst>
                <a:ext uri="{FF2B5EF4-FFF2-40B4-BE49-F238E27FC236}">
                  <a16:creationId xmlns:a16="http://schemas.microsoft.com/office/drawing/2014/main" id="{C7F4E707-206E-442B-0617-25B78FEB635C}"/>
                </a:ext>
              </a:extLst>
            </p:cNvPr>
            <p:cNvSpPr/>
            <p:nvPr userDrawn="1"/>
          </p:nvSpPr>
          <p:spPr bwMode="gray">
            <a:xfrm>
              <a:off x="953438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23" name="Rechteck 522">
              <a:extLst>
                <a:ext uri="{FF2B5EF4-FFF2-40B4-BE49-F238E27FC236}">
                  <a16:creationId xmlns:a16="http://schemas.microsoft.com/office/drawing/2014/main" id="{DAE7D44E-4947-356E-57FC-5FF18F48E83F}"/>
                </a:ext>
              </a:extLst>
            </p:cNvPr>
            <p:cNvSpPr/>
            <p:nvPr userDrawn="1"/>
          </p:nvSpPr>
          <p:spPr bwMode="gray">
            <a:xfrm>
              <a:off x="895832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24" name="Rechteck 523">
              <a:extLst>
                <a:ext uri="{FF2B5EF4-FFF2-40B4-BE49-F238E27FC236}">
                  <a16:creationId xmlns:a16="http://schemas.microsoft.com/office/drawing/2014/main" id="{DFBEE1CE-3E0C-D826-D5C2-F9DFDDAE494F}"/>
                </a:ext>
              </a:extLst>
            </p:cNvPr>
            <p:cNvSpPr/>
            <p:nvPr userDrawn="1"/>
          </p:nvSpPr>
          <p:spPr bwMode="gray">
            <a:xfrm>
              <a:off x="838225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25" name="Rechteck 524">
              <a:extLst>
                <a:ext uri="{FF2B5EF4-FFF2-40B4-BE49-F238E27FC236}">
                  <a16:creationId xmlns:a16="http://schemas.microsoft.com/office/drawing/2014/main" id="{2E3129F7-5659-FD59-CECB-0F97AA8D02C2}"/>
                </a:ext>
              </a:extLst>
            </p:cNvPr>
            <p:cNvSpPr/>
            <p:nvPr userDrawn="1"/>
          </p:nvSpPr>
          <p:spPr bwMode="gray">
            <a:xfrm>
              <a:off x="780619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26" name="Rechteck 525">
              <a:extLst>
                <a:ext uri="{FF2B5EF4-FFF2-40B4-BE49-F238E27FC236}">
                  <a16:creationId xmlns:a16="http://schemas.microsoft.com/office/drawing/2014/main" id="{05F5CE8E-1B8C-29EB-041F-9694D856FD14}"/>
                </a:ext>
              </a:extLst>
            </p:cNvPr>
            <p:cNvSpPr/>
            <p:nvPr userDrawn="1"/>
          </p:nvSpPr>
          <p:spPr bwMode="gray">
            <a:xfrm>
              <a:off x="723012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27" name="Rechteck 526">
              <a:extLst>
                <a:ext uri="{FF2B5EF4-FFF2-40B4-BE49-F238E27FC236}">
                  <a16:creationId xmlns:a16="http://schemas.microsoft.com/office/drawing/2014/main" id="{B5E58C5A-FDD5-E929-D63A-6D6B0427810C}"/>
                </a:ext>
              </a:extLst>
            </p:cNvPr>
            <p:cNvSpPr/>
            <p:nvPr userDrawn="1"/>
          </p:nvSpPr>
          <p:spPr bwMode="gray">
            <a:xfrm>
              <a:off x="665406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28" name="Rechteck 527">
              <a:extLst>
                <a:ext uri="{FF2B5EF4-FFF2-40B4-BE49-F238E27FC236}">
                  <a16:creationId xmlns:a16="http://schemas.microsoft.com/office/drawing/2014/main" id="{905C6093-FF62-C621-9FA2-9E84EB125481}"/>
                </a:ext>
              </a:extLst>
            </p:cNvPr>
            <p:cNvSpPr/>
            <p:nvPr userDrawn="1"/>
          </p:nvSpPr>
          <p:spPr bwMode="gray">
            <a:xfrm>
              <a:off x="607800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29" name="Rechteck 528">
              <a:extLst>
                <a:ext uri="{FF2B5EF4-FFF2-40B4-BE49-F238E27FC236}">
                  <a16:creationId xmlns:a16="http://schemas.microsoft.com/office/drawing/2014/main" id="{5103BC67-1910-C6D4-F2D0-48B70F052789}"/>
                </a:ext>
              </a:extLst>
            </p:cNvPr>
            <p:cNvSpPr/>
            <p:nvPr userDrawn="1"/>
          </p:nvSpPr>
          <p:spPr bwMode="gray">
            <a:xfrm>
              <a:off x="550193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30" name="Rechteck 529">
              <a:extLst>
                <a:ext uri="{FF2B5EF4-FFF2-40B4-BE49-F238E27FC236}">
                  <a16:creationId xmlns:a16="http://schemas.microsoft.com/office/drawing/2014/main" id="{187D0143-F0A6-883C-0686-3F5C4AEF1E57}"/>
                </a:ext>
              </a:extLst>
            </p:cNvPr>
            <p:cNvSpPr/>
            <p:nvPr userDrawn="1"/>
          </p:nvSpPr>
          <p:spPr bwMode="gray">
            <a:xfrm>
              <a:off x="492587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31" name="Rechteck 530">
              <a:extLst>
                <a:ext uri="{FF2B5EF4-FFF2-40B4-BE49-F238E27FC236}">
                  <a16:creationId xmlns:a16="http://schemas.microsoft.com/office/drawing/2014/main" id="{67DD1600-DEF3-B558-4419-50BF94B2814B}"/>
                </a:ext>
              </a:extLst>
            </p:cNvPr>
            <p:cNvSpPr/>
            <p:nvPr userDrawn="1"/>
          </p:nvSpPr>
          <p:spPr bwMode="gray">
            <a:xfrm>
              <a:off x="434980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32" name="Rechteck 531">
              <a:extLst>
                <a:ext uri="{FF2B5EF4-FFF2-40B4-BE49-F238E27FC236}">
                  <a16:creationId xmlns:a16="http://schemas.microsoft.com/office/drawing/2014/main" id="{4CBE1E7D-82E6-CD56-612A-0D3E3D1E87CC}"/>
                </a:ext>
              </a:extLst>
            </p:cNvPr>
            <p:cNvSpPr/>
            <p:nvPr userDrawn="1"/>
          </p:nvSpPr>
          <p:spPr bwMode="gray">
            <a:xfrm>
              <a:off x="377374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33" name="Rechteck 532">
              <a:extLst>
                <a:ext uri="{FF2B5EF4-FFF2-40B4-BE49-F238E27FC236}">
                  <a16:creationId xmlns:a16="http://schemas.microsoft.com/office/drawing/2014/main" id="{1090E6E4-BF41-7507-2740-2166FE17B16E}"/>
                </a:ext>
              </a:extLst>
            </p:cNvPr>
            <p:cNvSpPr/>
            <p:nvPr userDrawn="1"/>
          </p:nvSpPr>
          <p:spPr bwMode="gray">
            <a:xfrm>
              <a:off x="319768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34" name="Rechteck 533">
              <a:extLst>
                <a:ext uri="{FF2B5EF4-FFF2-40B4-BE49-F238E27FC236}">
                  <a16:creationId xmlns:a16="http://schemas.microsoft.com/office/drawing/2014/main" id="{17B5CD48-029F-DB05-6CF5-5089DC53F872}"/>
                </a:ext>
              </a:extLst>
            </p:cNvPr>
            <p:cNvSpPr/>
            <p:nvPr userDrawn="1"/>
          </p:nvSpPr>
          <p:spPr bwMode="gray">
            <a:xfrm>
              <a:off x="262161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35" name="Rechteck 534">
              <a:extLst>
                <a:ext uri="{FF2B5EF4-FFF2-40B4-BE49-F238E27FC236}">
                  <a16:creationId xmlns:a16="http://schemas.microsoft.com/office/drawing/2014/main" id="{797E35F6-ABB0-1554-7AEB-7981EF76D168}"/>
                </a:ext>
              </a:extLst>
            </p:cNvPr>
            <p:cNvSpPr/>
            <p:nvPr userDrawn="1"/>
          </p:nvSpPr>
          <p:spPr bwMode="gray">
            <a:xfrm>
              <a:off x="204555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36" name="Rechteck 535">
              <a:extLst>
                <a:ext uri="{FF2B5EF4-FFF2-40B4-BE49-F238E27FC236}">
                  <a16:creationId xmlns:a16="http://schemas.microsoft.com/office/drawing/2014/main" id="{09768406-A4A6-3444-9CE9-82924D922D3B}"/>
                </a:ext>
              </a:extLst>
            </p:cNvPr>
            <p:cNvSpPr/>
            <p:nvPr userDrawn="1"/>
          </p:nvSpPr>
          <p:spPr bwMode="gray">
            <a:xfrm>
              <a:off x="146948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37" name="Rechteck 536">
              <a:extLst>
                <a:ext uri="{FF2B5EF4-FFF2-40B4-BE49-F238E27FC236}">
                  <a16:creationId xmlns:a16="http://schemas.microsoft.com/office/drawing/2014/main" id="{0E737EA5-90CF-8323-3E35-68B16D84DB97}"/>
                </a:ext>
              </a:extLst>
            </p:cNvPr>
            <p:cNvSpPr/>
            <p:nvPr userDrawn="1"/>
          </p:nvSpPr>
          <p:spPr bwMode="gray">
            <a:xfrm>
              <a:off x="89342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38" name="Rechteck 537">
              <a:extLst>
                <a:ext uri="{FF2B5EF4-FFF2-40B4-BE49-F238E27FC236}">
                  <a16:creationId xmlns:a16="http://schemas.microsoft.com/office/drawing/2014/main" id="{50F20321-ECDB-E2CB-8AAC-1E241B5167B8}"/>
                </a:ext>
              </a:extLst>
            </p:cNvPr>
            <p:cNvSpPr/>
            <p:nvPr userDrawn="1"/>
          </p:nvSpPr>
          <p:spPr bwMode="gray">
            <a:xfrm>
              <a:off x="31736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39" name="Rechteck 538">
              <a:extLst>
                <a:ext uri="{FF2B5EF4-FFF2-40B4-BE49-F238E27FC236}">
                  <a16:creationId xmlns:a16="http://schemas.microsoft.com/office/drawing/2014/main" id="{DD539495-5C61-4B30-1ED4-76AE815D99FE}"/>
                </a:ext>
              </a:extLst>
            </p:cNvPr>
            <p:cNvSpPr/>
            <p:nvPr userDrawn="1"/>
          </p:nvSpPr>
          <p:spPr bwMode="gray">
            <a:xfrm>
              <a:off x="1126257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40" name="Rechteck 539">
              <a:extLst>
                <a:ext uri="{FF2B5EF4-FFF2-40B4-BE49-F238E27FC236}">
                  <a16:creationId xmlns:a16="http://schemas.microsoft.com/office/drawing/2014/main" id="{B4A232A3-0E6A-08DF-C6EB-EF5B9BB522D6}"/>
                </a:ext>
              </a:extLst>
            </p:cNvPr>
            <p:cNvSpPr/>
            <p:nvPr userDrawn="1"/>
          </p:nvSpPr>
          <p:spPr bwMode="gray">
            <a:xfrm>
              <a:off x="1068651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41" name="Rechteck 540">
              <a:extLst>
                <a:ext uri="{FF2B5EF4-FFF2-40B4-BE49-F238E27FC236}">
                  <a16:creationId xmlns:a16="http://schemas.microsoft.com/office/drawing/2014/main" id="{DB303FD5-41C0-FFE9-0114-75A0022F937E}"/>
                </a:ext>
              </a:extLst>
            </p:cNvPr>
            <p:cNvSpPr/>
            <p:nvPr userDrawn="1"/>
          </p:nvSpPr>
          <p:spPr bwMode="gray">
            <a:xfrm>
              <a:off x="1011044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42" name="Rechteck 541">
              <a:extLst>
                <a:ext uri="{FF2B5EF4-FFF2-40B4-BE49-F238E27FC236}">
                  <a16:creationId xmlns:a16="http://schemas.microsoft.com/office/drawing/2014/main" id="{F674E6CD-B42D-B53E-B2FD-FE9627335BE7}"/>
                </a:ext>
              </a:extLst>
            </p:cNvPr>
            <p:cNvSpPr/>
            <p:nvPr userDrawn="1"/>
          </p:nvSpPr>
          <p:spPr bwMode="gray">
            <a:xfrm>
              <a:off x="953438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43" name="Rechteck 542">
              <a:extLst>
                <a:ext uri="{FF2B5EF4-FFF2-40B4-BE49-F238E27FC236}">
                  <a16:creationId xmlns:a16="http://schemas.microsoft.com/office/drawing/2014/main" id="{8738A593-2E7A-2188-D2C5-E8E45CBDD3C5}"/>
                </a:ext>
              </a:extLst>
            </p:cNvPr>
            <p:cNvSpPr/>
            <p:nvPr userDrawn="1"/>
          </p:nvSpPr>
          <p:spPr bwMode="gray">
            <a:xfrm>
              <a:off x="895832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44" name="Rechteck 543">
              <a:extLst>
                <a:ext uri="{FF2B5EF4-FFF2-40B4-BE49-F238E27FC236}">
                  <a16:creationId xmlns:a16="http://schemas.microsoft.com/office/drawing/2014/main" id="{EEE4EB10-5537-4C73-C1BF-4D3A941459DD}"/>
                </a:ext>
              </a:extLst>
            </p:cNvPr>
            <p:cNvSpPr/>
            <p:nvPr userDrawn="1"/>
          </p:nvSpPr>
          <p:spPr bwMode="gray">
            <a:xfrm>
              <a:off x="838225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45" name="Rechteck 544">
              <a:extLst>
                <a:ext uri="{FF2B5EF4-FFF2-40B4-BE49-F238E27FC236}">
                  <a16:creationId xmlns:a16="http://schemas.microsoft.com/office/drawing/2014/main" id="{9FC1FF33-3802-2802-DCDD-79131D42E32A}"/>
                </a:ext>
              </a:extLst>
            </p:cNvPr>
            <p:cNvSpPr/>
            <p:nvPr userDrawn="1"/>
          </p:nvSpPr>
          <p:spPr bwMode="gray">
            <a:xfrm>
              <a:off x="780619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46" name="Rechteck 545">
              <a:extLst>
                <a:ext uri="{FF2B5EF4-FFF2-40B4-BE49-F238E27FC236}">
                  <a16:creationId xmlns:a16="http://schemas.microsoft.com/office/drawing/2014/main" id="{69BC0701-F03A-FC62-CF89-AA34DDC2B249}"/>
                </a:ext>
              </a:extLst>
            </p:cNvPr>
            <p:cNvSpPr/>
            <p:nvPr userDrawn="1"/>
          </p:nvSpPr>
          <p:spPr bwMode="gray">
            <a:xfrm>
              <a:off x="723012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47" name="Rechteck 546">
              <a:extLst>
                <a:ext uri="{FF2B5EF4-FFF2-40B4-BE49-F238E27FC236}">
                  <a16:creationId xmlns:a16="http://schemas.microsoft.com/office/drawing/2014/main" id="{48A4DFEA-4C49-0E4E-869F-E022CB63F73E}"/>
                </a:ext>
              </a:extLst>
            </p:cNvPr>
            <p:cNvSpPr/>
            <p:nvPr userDrawn="1"/>
          </p:nvSpPr>
          <p:spPr bwMode="gray">
            <a:xfrm>
              <a:off x="665406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48" name="Rechteck 547">
              <a:extLst>
                <a:ext uri="{FF2B5EF4-FFF2-40B4-BE49-F238E27FC236}">
                  <a16:creationId xmlns:a16="http://schemas.microsoft.com/office/drawing/2014/main" id="{E07EA70A-D39F-2747-371E-1B72CE19A00B}"/>
                </a:ext>
              </a:extLst>
            </p:cNvPr>
            <p:cNvSpPr/>
            <p:nvPr userDrawn="1"/>
          </p:nvSpPr>
          <p:spPr bwMode="gray">
            <a:xfrm>
              <a:off x="607800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49" name="Rechteck 548">
              <a:extLst>
                <a:ext uri="{FF2B5EF4-FFF2-40B4-BE49-F238E27FC236}">
                  <a16:creationId xmlns:a16="http://schemas.microsoft.com/office/drawing/2014/main" id="{53A603AF-FE54-84D6-7D45-A02C3338C124}"/>
                </a:ext>
              </a:extLst>
            </p:cNvPr>
            <p:cNvSpPr/>
            <p:nvPr userDrawn="1"/>
          </p:nvSpPr>
          <p:spPr bwMode="gray">
            <a:xfrm>
              <a:off x="550193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50" name="Rechteck 549">
              <a:extLst>
                <a:ext uri="{FF2B5EF4-FFF2-40B4-BE49-F238E27FC236}">
                  <a16:creationId xmlns:a16="http://schemas.microsoft.com/office/drawing/2014/main" id="{26F5ED20-C116-F7D7-312B-A5497C84CCFC}"/>
                </a:ext>
              </a:extLst>
            </p:cNvPr>
            <p:cNvSpPr/>
            <p:nvPr userDrawn="1"/>
          </p:nvSpPr>
          <p:spPr bwMode="gray">
            <a:xfrm>
              <a:off x="492587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51" name="Rechteck 550">
              <a:extLst>
                <a:ext uri="{FF2B5EF4-FFF2-40B4-BE49-F238E27FC236}">
                  <a16:creationId xmlns:a16="http://schemas.microsoft.com/office/drawing/2014/main" id="{4CD3D3E5-67AB-C0CB-EAB8-179FCECF77F9}"/>
                </a:ext>
              </a:extLst>
            </p:cNvPr>
            <p:cNvSpPr/>
            <p:nvPr userDrawn="1"/>
          </p:nvSpPr>
          <p:spPr bwMode="gray">
            <a:xfrm>
              <a:off x="434980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52" name="Rechteck 551">
              <a:extLst>
                <a:ext uri="{FF2B5EF4-FFF2-40B4-BE49-F238E27FC236}">
                  <a16:creationId xmlns:a16="http://schemas.microsoft.com/office/drawing/2014/main" id="{79D3A9AE-5AF4-5793-DFC6-003C5989CB32}"/>
                </a:ext>
              </a:extLst>
            </p:cNvPr>
            <p:cNvSpPr/>
            <p:nvPr userDrawn="1"/>
          </p:nvSpPr>
          <p:spPr bwMode="gray">
            <a:xfrm>
              <a:off x="377374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53" name="Rechteck 552">
              <a:extLst>
                <a:ext uri="{FF2B5EF4-FFF2-40B4-BE49-F238E27FC236}">
                  <a16:creationId xmlns:a16="http://schemas.microsoft.com/office/drawing/2014/main" id="{6C165688-2037-15AE-D8D1-3DD507262C20}"/>
                </a:ext>
              </a:extLst>
            </p:cNvPr>
            <p:cNvSpPr/>
            <p:nvPr userDrawn="1"/>
          </p:nvSpPr>
          <p:spPr bwMode="gray">
            <a:xfrm>
              <a:off x="319768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54" name="Rechteck 553">
              <a:extLst>
                <a:ext uri="{FF2B5EF4-FFF2-40B4-BE49-F238E27FC236}">
                  <a16:creationId xmlns:a16="http://schemas.microsoft.com/office/drawing/2014/main" id="{6031DFE9-1FA7-1310-0070-26055847244B}"/>
                </a:ext>
              </a:extLst>
            </p:cNvPr>
            <p:cNvSpPr/>
            <p:nvPr userDrawn="1"/>
          </p:nvSpPr>
          <p:spPr bwMode="gray">
            <a:xfrm>
              <a:off x="262161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55" name="Rechteck 554">
              <a:extLst>
                <a:ext uri="{FF2B5EF4-FFF2-40B4-BE49-F238E27FC236}">
                  <a16:creationId xmlns:a16="http://schemas.microsoft.com/office/drawing/2014/main" id="{5B6566A1-F777-4A9E-45DC-6746B9B3CF1A}"/>
                </a:ext>
              </a:extLst>
            </p:cNvPr>
            <p:cNvSpPr/>
            <p:nvPr userDrawn="1"/>
          </p:nvSpPr>
          <p:spPr bwMode="gray">
            <a:xfrm>
              <a:off x="204555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56" name="Rechteck 555">
              <a:extLst>
                <a:ext uri="{FF2B5EF4-FFF2-40B4-BE49-F238E27FC236}">
                  <a16:creationId xmlns:a16="http://schemas.microsoft.com/office/drawing/2014/main" id="{7AF7E5F2-928C-90BD-2C66-FBBFF02600D7}"/>
                </a:ext>
              </a:extLst>
            </p:cNvPr>
            <p:cNvSpPr/>
            <p:nvPr userDrawn="1"/>
          </p:nvSpPr>
          <p:spPr bwMode="gray">
            <a:xfrm>
              <a:off x="146948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57" name="Rechteck 556">
              <a:extLst>
                <a:ext uri="{FF2B5EF4-FFF2-40B4-BE49-F238E27FC236}">
                  <a16:creationId xmlns:a16="http://schemas.microsoft.com/office/drawing/2014/main" id="{8129B366-24BD-CD5D-C88A-B48D80CAF395}"/>
                </a:ext>
              </a:extLst>
            </p:cNvPr>
            <p:cNvSpPr/>
            <p:nvPr userDrawn="1"/>
          </p:nvSpPr>
          <p:spPr bwMode="gray">
            <a:xfrm>
              <a:off x="89342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58" name="Rechteck 557">
              <a:extLst>
                <a:ext uri="{FF2B5EF4-FFF2-40B4-BE49-F238E27FC236}">
                  <a16:creationId xmlns:a16="http://schemas.microsoft.com/office/drawing/2014/main" id="{2D32598D-B099-D3B9-7108-704FFE954928}"/>
                </a:ext>
              </a:extLst>
            </p:cNvPr>
            <p:cNvSpPr/>
            <p:nvPr userDrawn="1"/>
          </p:nvSpPr>
          <p:spPr bwMode="gray">
            <a:xfrm>
              <a:off x="31736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59" name="Rechteck 558">
              <a:extLst>
                <a:ext uri="{FF2B5EF4-FFF2-40B4-BE49-F238E27FC236}">
                  <a16:creationId xmlns:a16="http://schemas.microsoft.com/office/drawing/2014/main" id="{C740F768-1239-4BFB-B42B-0711CF779588}"/>
                </a:ext>
              </a:extLst>
            </p:cNvPr>
            <p:cNvSpPr/>
            <p:nvPr userDrawn="1"/>
          </p:nvSpPr>
          <p:spPr bwMode="gray">
            <a:xfrm>
              <a:off x="1183864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60" name="Rechteck 559">
              <a:extLst>
                <a:ext uri="{FF2B5EF4-FFF2-40B4-BE49-F238E27FC236}">
                  <a16:creationId xmlns:a16="http://schemas.microsoft.com/office/drawing/2014/main" id="{D53E6A09-CB54-3D44-C000-0CD599051B5C}"/>
                </a:ext>
              </a:extLst>
            </p:cNvPr>
            <p:cNvSpPr/>
            <p:nvPr userDrawn="1"/>
          </p:nvSpPr>
          <p:spPr bwMode="gray">
            <a:xfrm>
              <a:off x="1183864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61" name="Rechteck 560">
              <a:extLst>
                <a:ext uri="{FF2B5EF4-FFF2-40B4-BE49-F238E27FC236}">
                  <a16:creationId xmlns:a16="http://schemas.microsoft.com/office/drawing/2014/main" id="{6B62D044-8154-1D33-AB3F-0B0B2F802350}"/>
                </a:ext>
              </a:extLst>
            </p:cNvPr>
            <p:cNvSpPr/>
            <p:nvPr userDrawn="1"/>
          </p:nvSpPr>
          <p:spPr bwMode="gray">
            <a:xfrm>
              <a:off x="1183864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62" name="Rechteck 561">
              <a:extLst>
                <a:ext uri="{FF2B5EF4-FFF2-40B4-BE49-F238E27FC236}">
                  <a16:creationId xmlns:a16="http://schemas.microsoft.com/office/drawing/2014/main" id="{D0581170-278C-951F-EF10-8768BA9D75B9}"/>
                </a:ext>
              </a:extLst>
            </p:cNvPr>
            <p:cNvSpPr/>
            <p:nvPr userDrawn="1"/>
          </p:nvSpPr>
          <p:spPr bwMode="gray">
            <a:xfrm>
              <a:off x="1183864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63" name="Rechteck 562">
              <a:extLst>
                <a:ext uri="{FF2B5EF4-FFF2-40B4-BE49-F238E27FC236}">
                  <a16:creationId xmlns:a16="http://schemas.microsoft.com/office/drawing/2014/main" id="{A6B6C9E2-3F73-7703-B64E-6D04215CC836}"/>
                </a:ext>
              </a:extLst>
            </p:cNvPr>
            <p:cNvSpPr/>
            <p:nvPr userDrawn="1"/>
          </p:nvSpPr>
          <p:spPr bwMode="gray">
            <a:xfrm>
              <a:off x="1183864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64" name="Rechteck 563">
              <a:extLst>
                <a:ext uri="{FF2B5EF4-FFF2-40B4-BE49-F238E27FC236}">
                  <a16:creationId xmlns:a16="http://schemas.microsoft.com/office/drawing/2014/main" id="{FAE51131-4DFB-2DE9-B164-F38EFE01AB90}"/>
                </a:ext>
              </a:extLst>
            </p:cNvPr>
            <p:cNvSpPr/>
            <p:nvPr userDrawn="1"/>
          </p:nvSpPr>
          <p:spPr bwMode="gray">
            <a:xfrm>
              <a:off x="1183864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65" name="Rechteck 564">
              <a:extLst>
                <a:ext uri="{FF2B5EF4-FFF2-40B4-BE49-F238E27FC236}">
                  <a16:creationId xmlns:a16="http://schemas.microsoft.com/office/drawing/2014/main" id="{FD4BEEB2-80AC-D77E-E500-7D61FF1B4EA1}"/>
                </a:ext>
              </a:extLst>
            </p:cNvPr>
            <p:cNvSpPr/>
            <p:nvPr userDrawn="1"/>
          </p:nvSpPr>
          <p:spPr bwMode="gray">
            <a:xfrm>
              <a:off x="1183864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66" name="Rechteck 565">
              <a:extLst>
                <a:ext uri="{FF2B5EF4-FFF2-40B4-BE49-F238E27FC236}">
                  <a16:creationId xmlns:a16="http://schemas.microsoft.com/office/drawing/2014/main" id="{8DBDD1AB-C711-69F6-F120-A24AD7862910}"/>
                </a:ext>
              </a:extLst>
            </p:cNvPr>
            <p:cNvSpPr/>
            <p:nvPr userDrawn="1"/>
          </p:nvSpPr>
          <p:spPr bwMode="gray">
            <a:xfrm>
              <a:off x="1183864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67" name="Rechteck 566">
              <a:extLst>
                <a:ext uri="{FF2B5EF4-FFF2-40B4-BE49-F238E27FC236}">
                  <a16:creationId xmlns:a16="http://schemas.microsoft.com/office/drawing/2014/main" id="{DF580362-1142-39BB-55AF-48C4892FF841}"/>
                </a:ext>
              </a:extLst>
            </p:cNvPr>
            <p:cNvSpPr/>
            <p:nvPr userDrawn="1"/>
          </p:nvSpPr>
          <p:spPr bwMode="gray">
            <a:xfrm>
              <a:off x="1183864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grpSp>
      <p:sp>
        <p:nvSpPr>
          <p:cNvPr id="570" name="Freihandform: Form 569">
            <a:extLst>
              <a:ext uri="{FF2B5EF4-FFF2-40B4-BE49-F238E27FC236}">
                <a16:creationId xmlns:a16="http://schemas.microsoft.com/office/drawing/2014/main" id="{C5494A8E-1E2B-3911-B741-EC48141EBD18}"/>
              </a:ext>
              <a:ext uri="{C183D7F6-B498-43B3-948B-1728B52AA6E4}">
                <adec:decorative xmlns:adec="http://schemas.microsoft.com/office/drawing/2017/decorative" val="1"/>
              </a:ext>
            </a:extLst>
          </p:cNvPr>
          <p:cNvSpPr/>
          <p:nvPr userDrawn="1"/>
        </p:nvSpPr>
        <p:spPr>
          <a:xfrm>
            <a:off x="911424" y="2060848"/>
            <a:ext cx="2892425" cy="2879303"/>
          </a:xfrm>
          <a:custGeom>
            <a:avLst/>
            <a:gdLst>
              <a:gd name="connsiteX0" fmla="*/ 0 w 2892425"/>
              <a:gd name="connsiteY0" fmla="*/ 0 h 2879303"/>
              <a:gd name="connsiteX1" fmla="*/ 2892425 w 2892425"/>
              <a:gd name="connsiteY1" fmla="*/ 0 h 2879303"/>
              <a:gd name="connsiteX2" fmla="*/ 2307742 w 2892425"/>
              <a:gd name="connsiteY2" fmla="*/ 2298575 h 2879303"/>
              <a:gd name="connsiteX3" fmla="*/ 0 w 2892425"/>
              <a:gd name="connsiteY3" fmla="*/ 2879303 h 2879303"/>
            </a:gdLst>
            <a:ahLst/>
            <a:cxnLst>
              <a:cxn ang="0">
                <a:pos x="connsiteX0" y="connsiteY0"/>
              </a:cxn>
              <a:cxn ang="0">
                <a:pos x="connsiteX1" y="connsiteY1"/>
              </a:cxn>
              <a:cxn ang="0">
                <a:pos x="connsiteX2" y="connsiteY2"/>
              </a:cxn>
              <a:cxn ang="0">
                <a:pos x="connsiteX3" y="connsiteY3"/>
              </a:cxn>
            </a:cxnLst>
            <a:rect l="l" t="t" r="r" b="b"/>
            <a:pathLst>
              <a:path w="2892425" h="2879303">
                <a:moveTo>
                  <a:pt x="0" y="0"/>
                </a:moveTo>
                <a:lnTo>
                  <a:pt x="2892425" y="0"/>
                </a:lnTo>
                <a:lnTo>
                  <a:pt x="2307742" y="2298575"/>
                </a:lnTo>
                <a:lnTo>
                  <a:pt x="0" y="2879303"/>
                </a:lnTo>
                <a:close/>
              </a:path>
            </a:pathLst>
          </a:custGeom>
          <a:solidFill>
            <a:schemeClr val="bg1"/>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de-DE" sz="1600" dirty="0" err="1"/>
          </a:p>
        </p:txBody>
      </p:sp>
      <p:sp>
        <p:nvSpPr>
          <p:cNvPr id="571" name="Number">
            <a:extLst>
              <a:ext uri="{FF2B5EF4-FFF2-40B4-BE49-F238E27FC236}">
                <a16:creationId xmlns:a16="http://schemas.microsoft.com/office/drawing/2014/main" id="{D35868B8-07D6-38C7-C74F-B3B993F2F09A}"/>
              </a:ext>
            </a:extLst>
          </p:cNvPr>
          <p:cNvSpPr>
            <a:spLocks noGrp="1"/>
          </p:cNvSpPr>
          <p:nvPr>
            <p:ph type="body" sz="quarter" idx="22" hasCustomPrompt="1"/>
          </p:nvPr>
        </p:nvSpPr>
        <p:spPr bwMode="gray">
          <a:xfrm>
            <a:off x="913259" y="2060997"/>
            <a:ext cx="2892425" cy="2879303"/>
          </a:xfrm>
          <a:custGeom>
            <a:avLst/>
            <a:gdLst>
              <a:gd name="connsiteX0" fmla="*/ 0 w 3022600"/>
              <a:gd name="connsiteY0" fmla="*/ 0 h 3024187"/>
              <a:gd name="connsiteX1" fmla="*/ 3022600 w 3022600"/>
              <a:gd name="connsiteY1" fmla="*/ 0 h 3024187"/>
              <a:gd name="connsiteX2" fmla="*/ 2517775 w 3022600"/>
              <a:gd name="connsiteY2" fmla="*/ 2520950 h 3024187"/>
              <a:gd name="connsiteX3" fmla="*/ 0 w 3022600"/>
              <a:gd name="connsiteY3" fmla="*/ 3024187 h 3024187"/>
              <a:gd name="connsiteX0" fmla="*/ 0 w 3022600"/>
              <a:gd name="connsiteY0" fmla="*/ 0 h 3024187"/>
              <a:gd name="connsiteX1" fmla="*/ 3022600 w 3022600"/>
              <a:gd name="connsiteY1" fmla="*/ 0 h 3024187"/>
              <a:gd name="connsiteX2" fmla="*/ 2159443 w 3022600"/>
              <a:gd name="connsiteY2" fmla="*/ 2134117 h 3024187"/>
              <a:gd name="connsiteX3" fmla="*/ 0 w 3022600"/>
              <a:gd name="connsiteY3" fmla="*/ 3024187 h 3024187"/>
              <a:gd name="connsiteX4" fmla="*/ 0 w 3022600"/>
              <a:gd name="connsiteY4" fmla="*/ 0 h 3024187"/>
              <a:gd name="connsiteX0" fmla="*/ 0 w 3022600"/>
              <a:gd name="connsiteY0" fmla="*/ 0 h 3024187"/>
              <a:gd name="connsiteX1" fmla="*/ 3022600 w 3022600"/>
              <a:gd name="connsiteY1" fmla="*/ 0 h 3024187"/>
              <a:gd name="connsiteX2" fmla="*/ 2411603 w 3022600"/>
              <a:gd name="connsiteY2" fmla="*/ 2414237 h 3024187"/>
              <a:gd name="connsiteX3" fmla="*/ 0 w 3022600"/>
              <a:gd name="connsiteY3" fmla="*/ 3024187 h 3024187"/>
              <a:gd name="connsiteX4" fmla="*/ 0 w 3022600"/>
              <a:gd name="connsiteY4" fmla="*/ 0 h 3024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2600" h="3024187">
                <a:moveTo>
                  <a:pt x="0" y="0"/>
                </a:moveTo>
                <a:lnTo>
                  <a:pt x="3022600" y="0"/>
                </a:lnTo>
                <a:lnTo>
                  <a:pt x="2411603" y="2414237"/>
                </a:lnTo>
                <a:lnTo>
                  <a:pt x="0" y="3024187"/>
                </a:lnTo>
                <a:lnTo>
                  <a:pt x="0" y="0"/>
                </a:lnTo>
                <a:close/>
              </a:path>
            </a:pathLst>
          </a:custGeom>
          <a:solidFill>
            <a:srgbClr val="519FBC"/>
          </a:solidFill>
          <a:ln w="127">
            <a:solidFill>
              <a:srgbClr val="FFA52F">
                <a:alpha val="0"/>
              </a:srgbClr>
            </a:solidFill>
          </a:ln>
        </p:spPr>
        <p:txBody>
          <a:bodyPr wrap="square" lIns="216000" tIns="0" rIns="0" bIns="0" anchor="t" anchorCtr="0">
            <a:noAutofit/>
          </a:bodyPr>
          <a:lstStyle>
            <a:lvl1pPr marL="0" indent="0" algn="l">
              <a:lnSpc>
                <a:spcPct val="100000"/>
              </a:lnSpc>
              <a:spcBef>
                <a:spcPts val="0"/>
              </a:spcBef>
              <a:buFont typeface="Arial" panose="020B0604020202020204" pitchFamily="34" charset="0"/>
              <a:buNone/>
              <a:defRPr sz="6900" b="0" baseline="0">
                <a:solidFill>
                  <a:schemeClr val="tx1"/>
                </a:solidFill>
                <a:latin typeface="+mj-lt"/>
              </a:defRPr>
            </a:lvl1pPr>
            <a:lvl2pPr marL="0" indent="0" algn="l">
              <a:lnSpc>
                <a:spcPct val="100000"/>
              </a:lnSpc>
              <a:spcBef>
                <a:spcPts val="0"/>
              </a:spcBef>
              <a:buFont typeface="Arial" panose="020B0604020202020204" pitchFamily="34" charset="0"/>
              <a:buNone/>
              <a:defRPr sz="6900" b="1">
                <a:solidFill>
                  <a:schemeClr val="tx1"/>
                </a:solidFill>
                <a:latin typeface="+mj-lt"/>
              </a:defRPr>
            </a:lvl2pPr>
            <a:lvl3pPr marL="0" indent="0" algn="l">
              <a:lnSpc>
                <a:spcPct val="100000"/>
              </a:lnSpc>
              <a:spcBef>
                <a:spcPts val="0"/>
              </a:spcBef>
              <a:buFont typeface="Arial" panose="020B0604020202020204" pitchFamily="34" charset="0"/>
              <a:buNone/>
              <a:defRPr sz="6900" b="1">
                <a:solidFill>
                  <a:schemeClr val="tx1"/>
                </a:solidFill>
                <a:latin typeface="+mj-lt"/>
              </a:defRPr>
            </a:lvl3pPr>
            <a:lvl4pPr marL="0" indent="0" algn="l">
              <a:lnSpc>
                <a:spcPct val="100000"/>
              </a:lnSpc>
              <a:spcBef>
                <a:spcPts val="0"/>
              </a:spcBef>
              <a:buFont typeface="Arial" panose="020B0604020202020204" pitchFamily="34" charset="0"/>
              <a:buNone/>
              <a:defRPr sz="6900" b="1">
                <a:solidFill>
                  <a:schemeClr val="tx1"/>
                </a:solidFill>
                <a:latin typeface="+mj-lt"/>
              </a:defRPr>
            </a:lvl4pPr>
            <a:lvl5pPr marL="0" indent="0" algn="l">
              <a:lnSpc>
                <a:spcPct val="100000"/>
              </a:lnSpc>
              <a:spcBef>
                <a:spcPts val="0"/>
              </a:spcBef>
              <a:buFont typeface="Arial" panose="020B0604020202020204" pitchFamily="34" charset="0"/>
              <a:buNone/>
              <a:defRPr sz="6900" b="1">
                <a:solidFill>
                  <a:schemeClr val="tx1"/>
                </a:solidFill>
                <a:latin typeface="+mj-lt"/>
              </a:defRPr>
            </a:lvl5pPr>
            <a:lvl6pPr marL="0" indent="0" algn="l">
              <a:lnSpc>
                <a:spcPct val="100000"/>
              </a:lnSpc>
              <a:spcBef>
                <a:spcPts val="0"/>
              </a:spcBef>
              <a:buNone/>
              <a:defRPr sz="6900" b="1">
                <a:solidFill>
                  <a:schemeClr val="tx1"/>
                </a:solidFill>
                <a:latin typeface="+mj-lt"/>
              </a:defRPr>
            </a:lvl6pPr>
            <a:lvl7pPr marL="0" indent="0" algn="l">
              <a:lnSpc>
                <a:spcPct val="100000"/>
              </a:lnSpc>
              <a:spcBef>
                <a:spcPts val="0"/>
              </a:spcBef>
              <a:buNone/>
              <a:defRPr sz="6900" b="1">
                <a:solidFill>
                  <a:schemeClr val="tx1"/>
                </a:solidFill>
                <a:latin typeface="+mj-lt"/>
              </a:defRPr>
            </a:lvl7pPr>
            <a:lvl8pPr marL="0" indent="0" algn="l">
              <a:lnSpc>
                <a:spcPct val="100000"/>
              </a:lnSpc>
              <a:spcBef>
                <a:spcPts val="0"/>
              </a:spcBef>
              <a:buNone/>
              <a:defRPr sz="6900" b="1">
                <a:solidFill>
                  <a:schemeClr val="tx1"/>
                </a:solidFill>
                <a:latin typeface="+mj-lt"/>
              </a:defRPr>
            </a:lvl8pPr>
            <a:lvl9pPr marL="0" indent="0" algn="l">
              <a:lnSpc>
                <a:spcPct val="100000"/>
              </a:lnSpc>
              <a:spcBef>
                <a:spcPts val="0"/>
              </a:spcBef>
              <a:buNone/>
              <a:defRPr sz="6900" b="1">
                <a:solidFill>
                  <a:schemeClr val="tx1"/>
                </a:solidFill>
                <a:latin typeface="+mj-lt"/>
              </a:defRPr>
            </a:lvl9pPr>
          </a:lstStyle>
          <a:p>
            <a:r>
              <a:rPr lang="en-GB" dirty="0"/>
              <a:t>00</a:t>
            </a:r>
          </a:p>
        </p:txBody>
      </p:sp>
      <p:sp>
        <p:nvSpPr>
          <p:cNvPr id="273" name="Title">
            <a:extLst>
              <a:ext uri="{FF2B5EF4-FFF2-40B4-BE49-F238E27FC236}">
                <a16:creationId xmlns:a16="http://schemas.microsoft.com/office/drawing/2014/main" id="{A170475D-98E5-B638-18D5-B4B6D0997C36}"/>
              </a:ext>
            </a:extLst>
          </p:cNvPr>
          <p:cNvSpPr>
            <a:spLocks noGrp="1"/>
          </p:cNvSpPr>
          <p:nvPr>
            <p:ph type="title" hasCustomPrompt="1"/>
          </p:nvPr>
        </p:nvSpPr>
        <p:spPr bwMode="gray">
          <a:xfrm>
            <a:off x="4727849" y="1988995"/>
            <a:ext cx="5040000" cy="2088000"/>
          </a:xfrm>
          <a:prstGeom prst="rect">
            <a:avLst/>
          </a:prstGeom>
          <a:solidFill>
            <a:schemeClr val="bg1"/>
          </a:solidFill>
          <a:ln w="127">
            <a:solidFill>
              <a:schemeClr val="bg1"/>
            </a:solidFill>
          </a:ln>
        </p:spPr>
        <p:txBody>
          <a:bodyPr vert="horz" lIns="216000" tIns="36000" rIns="216000">
            <a:noAutofit/>
          </a:bodyPr>
          <a:lstStyle>
            <a:lvl1pPr>
              <a:lnSpc>
                <a:spcPct val="90000"/>
              </a:lnSpc>
              <a:defRPr sz="3000">
                <a:solidFill>
                  <a:schemeClr val="tx1"/>
                </a:solidFill>
              </a:defRPr>
            </a:lvl1pPr>
          </a:lstStyle>
          <a:p>
            <a:r>
              <a:rPr lang="en-GB" dirty="0"/>
              <a:t>Divider slide | Insert your headline in maximal 3 </a:t>
            </a:r>
            <a:br>
              <a:rPr lang="en-GB" dirty="0"/>
            </a:br>
            <a:r>
              <a:rPr lang="en-GB" dirty="0"/>
              <a:t>lines here</a:t>
            </a:r>
          </a:p>
        </p:txBody>
      </p:sp>
      <p:sp>
        <p:nvSpPr>
          <p:cNvPr id="274" name="Subtitle 2">
            <a:extLst>
              <a:ext uri="{FF2B5EF4-FFF2-40B4-BE49-F238E27FC236}">
                <a16:creationId xmlns:a16="http://schemas.microsoft.com/office/drawing/2014/main" id="{089CC985-76FF-7D6A-17CC-BC6B57CE09B0}"/>
              </a:ext>
            </a:extLst>
          </p:cNvPr>
          <p:cNvSpPr>
            <a:spLocks noGrp="1"/>
          </p:cNvSpPr>
          <p:nvPr>
            <p:ph type="subTitle" idx="1" hasCustomPrompt="1"/>
          </p:nvPr>
        </p:nvSpPr>
        <p:spPr bwMode="gray">
          <a:xfrm>
            <a:off x="4727848" y="4076996"/>
            <a:ext cx="5040000" cy="1007999"/>
          </a:xfrm>
          <a:prstGeom prst="rect">
            <a:avLst/>
          </a:prstGeom>
          <a:solidFill>
            <a:schemeClr val="bg1"/>
          </a:solidFill>
          <a:ln w="127">
            <a:solidFill>
              <a:schemeClr val="bg1"/>
            </a:solidFill>
          </a:ln>
        </p:spPr>
        <p:txBody>
          <a:bodyPr lIns="216000" rIns="216000"/>
          <a:lstStyle>
            <a:lvl1pPr marL="0" indent="0" algn="l">
              <a:lnSpc>
                <a:spcPct val="100000"/>
              </a:lnSpc>
              <a:spcBef>
                <a:spcPts val="0"/>
              </a:spcBef>
              <a:buFont typeface="Arial" panose="020B0604020202020204" pitchFamily="34" charset="0"/>
              <a:buNone/>
              <a:defRPr sz="2000" b="0">
                <a:latin typeface="+mn-lt"/>
              </a:defRPr>
            </a:lvl1pPr>
            <a:lvl2pPr marL="0" indent="0" algn="l">
              <a:lnSpc>
                <a:spcPct val="100000"/>
              </a:lnSpc>
              <a:spcBef>
                <a:spcPts val="0"/>
              </a:spcBef>
              <a:buFont typeface="Arial" panose="020B0604020202020204" pitchFamily="34" charset="0"/>
              <a:buNone/>
              <a:defRPr sz="2000" b="0">
                <a:latin typeface="+mn-lt"/>
              </a:defRPr>
            </a:lvl2pPr>
            <a:lvl3pPr marL="0" indent="0" algn="l">
              <a:lnSpc>
                <a:spcPct val="100000"/>
              </a:lnSpc>
              <a:spcBef>
                <a:spcPts val="0"/>
              </a:spcBef>
              <a:buFont typeface="Arial" panose="020B0604020202020204" pitchFamily="34" charset="0"/>
              <a:buNone/>
              <a:defRPr sz="2000" b="0">
                <a:latin typeface="+mn-lt"/>
              </a:defRPr>
            </a:lvl3pPr>
            <a:lvl4pPr marL="0" indent="0" algn="l">
              <a:lnSpc>
                <a:spcPct val="100000"/>
              </a:lnSpc>
              <a:spcBef>
                <a:spcPts val="0"/>
              </a:spcBef>
              <a:buFont typeface="Arial" panose="020B0604020202020204" pitchFamily="34" charset="0"/>
              <a:buNone/>
              <a:defRPr sz="2000" b="0">
                <a:latin typeface="+mn-lt"/>
              </a:defRPr>
            </a:lvl4pPr>
            <a:lvl5pPr marL="0" indent="0" algn="l">
              <a:lnSpc>
                <a:spcPct val="100000"/>
              </a:lnSpc>
              <a:spcBef>
                <a:spcPts val="0"/>
              </a:spcBef>
              <a:buFont typeface="Arial" panose="020B0604020202020204" pitchFamily="34" charset="0"/>
              <a:buNone/>
              <a:defRPr sz="2000" b="0">
                <a:latin typeface="+mn-lt"/>
              </a:defRPr>
            </a:lvl5pPr>
            <a:lvl6pPr marL="0" indent="0" algn="l">
              <a:lnSpc>
                <a:spcPct val="100000"/>
              </a:lnSpc>
              <a:spcBef>
                <a:spcPts val="0"/>
              </a:spcBef>
              <a:buFont typeface="Arial" panose="020B0604020202020204" pitchFamily="34" charset="0"/>
              <a:buNone/>
              <a:defRPr sz="2000" b="0">
                <a:latin typeface="+mn-lt"/>
              </a:defRPr>
            </a:lvl6pPr>
            <a:lvl7pPr marL="0" indent="0" algn="l">
              <a:lnSpc>
                <a:spcPct val="100000"/>
              </a:lnSpc>
              <a:spcBef>
                <a:spcPts val="0"/>
              </a:spcBef>
              <a:buFont typeface="Arial" panose="020B0604020202020204" pitchFamily="34" charset="0"/>
              <a:buNone/>
              <a:defRPr sz="2000" b="0">
                <a:latin typeface="+mn-lt"/>
              </a:defRPr>
            </a:lvl7pPr>
            <a:lvl8pPr marL="0" indent="0" algn="l">
              <a:lnSpc>
                <a:spcPct val="100000"/>
              </a:lnSpc>
              <a:spcBef>
                <a:spcPts val="0"/>
              </a:spcBef>
              <a:buFont typeface="Arial" panose="020B0604020202020204" pitchFamily="34" charset="0"/>
              <a:buNone/>
              <a:defRPr sz="2000" b="0">
                <a:latin typeface="+mn-lt"/>
              </a:defRPr>
            </a:lvl8pPr>
            <a:lvl9pPr marL="0" indent="0" algn="l">
              <a:lnSpc>
                <a:spcPct val="100000"/>
              </a:lnSpc>
              <a:spcBef>
                <a:spcPts val="0"/>
              </a:spcBef>
              <a:buFont typeface="Arial" panose="020B0604020202020204" pitchFamily="34" charset="0"/>
              <a:buNone/>
              <a:defRPr sz="2000" b="0">
                <a:latin typeface="+mn-lt"/>
              </a:defRPr>
            </a:lvl9pPr>
          </a:lstStyle>
          <a:p>
            <a:r>
              <a:rPr lang="en-GB" dirty="0"/>
              <a:t>Insert here your subtitle</a:t>
            </a:r>
          </a:p>
        </p:txBody>
      </p:sp>
    </p:spTree>
    <p:extLst>
      <p:ext uri="{BB962C8B-B14F-4D97-AF65-F5344CB8AC3E}">
        <p14:creationId xmlns:p14="http://schemas.microsoft.com/office/powerpoint/2010/main" val="370669026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49F76EC-0FF3-C8B6-E1FA-FDCA50C5AFCC}"/>
              </a:ext>
            </a:extLst>
          </p:cNvPr>
          <p:cNvGraphicFramePr>
            <a:graphicFrameLocks noChangeAspect="1"/>
          </p:cNvGraphicFramePr>
          <p:nvPr userDrawn="1">
            <p:custDataLst>
              <p:tags r:id="rId1"/>
            </p:custDataLst>
            <p:extLst>
              <p:ext uri="{D42A27DB-BD31-4B8C-83A1-F6EECF244321}">
                <p14:modId xmlns:p14="http://schemas.microsoft.com/office/powerpoint/2010/main" val="3127377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3" name="Objekt 2" hidden="1">
                        <a:extLst>
                          <a:ext uri="{FF2B5EF4-FFF2-40B4-BE49-F238E27FC236}">
                            <a16:creationId xmlns:a16="http://schemas.microsoft.com/office/drawing/2014/main" id="{B49F76EC-0FF3-C8B6-E1FA-FDCA50C5AF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ubtitle"/>
          <p:cNvSpPr>
            <a:spLocks noGrp="1"/>
          </p:cNvSpPr>
          <p:nvPr>
            <p:ph type="subTitle" idx="13" hasCustomPrompt="1"/>
          </p:nvPr>
        </p:nvSpPr>
        <p:spPr bwMode="gray">
          <a:xfrm>
            <a:off x="334963" y="659362"/>
            <a:ext cx="8641357" cy="360040"/>
          </a:xfrm>
          <a:prstGeom prst="rect">
            <a:avLst/>
          </a:prstGeom>
        </p:spPr>
        <p:txBody>
          <a:bodyPr wrap="none" tIns="0"/>
          <a:lstStyle>
            <a:lvl1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1pPr>
            <a:lvl2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2pPr>
            <a:lvl3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3pPr>
            <a:lvl4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4pPr>
            <a:lvl5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5pPr>
            <a:lvl6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6pPr>
            <a:lvl7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7pPr>
            <a:lvl8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8pPr>
            <a:lvl9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9pPr>
          </a:lstStyle>
          <a:p>
            <a:r>
              <a:rPr lang="en-GB" dirty="0"/>
              <a:t>Insert your sub-headline in </a:t>
            </a:r>
            <a:r>
              <a:rPr lang="en-GB" dirty="0" err="1"/>
              <a:t>Lato</a:t>
            </a:r>
            <a:r>
              <a:rPr lang="en-GB" dirty="0"/>
              <a:t> light 20 </a:t>
            </a:r>
            <a:r>
              <a:rPr lang="en-GB" dirty="0" err="1"/>
              <a:t>pt</a:t>
            </a:r>
            <a:r>
              <a:rPr lang="en-GB" dirty="0"/>
              <a:t> here</a:t>
            </a:r>
          </a:p>
        </p:txBody>
      </p:sp>
      <p:sp>
        <p:nvSpPr>
          <p:cNvPr id="4" name="Titel 3">
            <a:extLst>
              <a:ext uri="{FF2B5EF4-FFF2-40B4-BE49-F238E27FC236}">
                <a16:creationId xmlns:a16="http://schemas.microsoft.com/office/drawing/2014/main" id="{B0795529-4D73-3332-2945-704225E04976}"/>
              </a:ext>
            </a:extLst>
          </p:cNvPr>
          <p:cNvSpPr>
            <a:spLocks noGrp="1"/>
          </p:cNvSpPr>
          <p:nvPr>
            <p:ph type="title" hasCustomPrompt="1"/>
          </p:nvPr>
        </p:nvSpPr>
        <p:spPr>
          <a:xfrm>
            <a:off x="334963" y="260648"/>
            <a:ext cx="8641357" cy="369332"/>
          </a:xfrm>
        </p:spPr>
        <p:txBody>
          <a:bodyPr vert="horz"/>
          <a:lstStyle>
            <a:lvl1pPr>
              <a:defRPr/>
            </a:lvl1pPr>
          </a:lstStyle>
          <a:p>
            <a:r>
              <a:rPr lang="en-GB" dirty="0"/>
              <a:t>Insert your headline in </a:t>
            </a:r>
            <a:r>
              <a:rPr lang="en-GB" dirty="0" err="1"/>
              <a:t>Lato</a:t>
            </a:r>
            <a:r>
              <a:rPr lang="en-GB" dirty="0"/>
              <a:t> Heavy 24 </a:t>
            </a:r>
            <a:r>
              <a:rPr lang="en-GB" dirty="0" err="1"/>
              <a:t>pt</a:t>
            </a:r>
            <a:r>
              <a:rPr lang="en-GB" dirty="0"/>
              <a:t> here</a:t>
            </a:r>
          </a:p>
        </p:txBody>
      </p:sp>
      <p:sp>
        <p:nvSpPr>
          <p:cNvPr id="8" name="Datumsplatzhalter 7">
            <a:extLst>
              <a:ext uri="{FF2B5EF4-FFF2-40B4-BE49-F238E27FC236}">
                <a16:creationId xmlns:a16="http://schemas.microsoft.com/office/drawing/2014/main" id="{EF647F6E-02E4-5A28-5FC9-0AE0D7CB6F72}"/>
              </a:ext>
            </a:extLst>
          </p:cNvPr>
          <p:cNvSpPr>
            <a:spLocks noGrp="1"/>
          </p:cNvSpPr>
          <p:nvPr>
            <p:ph type="dt" sz="half" idx="18"/>
          </p:nvPr>
        </p:nvSpPr>
        <p:spPr/>
        <p:txBody>
          <a:bodyPr/>
          <a:lstStyle/>
          <a:p>
            <a:r>
              <a:rPr lang="en-US"/>
              <a:t>7/26/2022</a:t>
            </a:r>
            <a:endParaRPr lang="en-GB" dirty="0"/>
          </a:p>
        </p:txBody>
      </p:sp>
      <p:sp>
        <p:nvSpPr>
          <p:cNvPr id="10" name="Fußzeilenplatzhalter 9">
            <a:extLst>
              <a:ext uri="{FF2B5EF4-FFF2-40B4-BE49-F238E27FC236}">
                <a16:creationId xmlns:a16="http://schemas.microsoft.com/office/drawing/2014/main" id="{292A6A39-ECEF-5F4F-7D24-206298A0A9F5}"/>
              </a:ext>
            </a:extLst>
          </p:cNvPr>
          <p:cNvSpPr>
            <a:spLocks noGrp="1"/>
          </p:cNvSpPr>
          <p:nvPr>
            <p:ph type="ftr" sz="quarter" idx="19"/>
          </p:nvPr>
        </p:nvSpPr>
        <p:spPr>
          <a:xfrm>
            <a:off x="552000" y="6957393"/>
            <a:ext cx="10584560" cy="72007"/>
          </a:xfrm>
        </p:spPr>
        <p:txBody>
          <a:bodyPr/>
          <a:lstStyle>
            <a:lvl1pPr marL="0" indent="0">
              <a:buFont typeface="Arial" panose="020B0604020202020204" pitchFamily="34" charset="0"/>
              <a:buNone/>
              <a:defRPr sz="900">
                <a:solidFill>
                  <a:schemeClr val="tx1">
                    <a:alpha val="0"/>
                  </a:schemeClr>
                </a:solidFill>
              </a:defRPr>
            </a:lvl1pPr>
            <a:lvl2pPr marL="0" indent="0">
              <a:defRPr sz="900"/>
            </a:lvl2pPr>
            <a:lvl3pPr marL="0" indent="0">
              <a:defRPr sz="900"/>
            </a:lvl3pPr>
            <a:lvl4pPr marL="0" indent="0">
              <a:defRPr sz="900"/>
            </a:lvl4pPr>
            <a:lvl5pPr marL="0" indent="0">
              <a:defRPr sz="900"/>
            </a:lvl5pPr>
            <a:lvl6pPr marL="0" indent="0">
              <a:defRPr sz="900"/>
            </a:lvl6pPr>
            <a:lvl7pPr marL="0" indent="0">
              <a:defRPr sz="900"/>
            </a:lvl7pPr>
            <a:lvl8pPr marL="0" indent="0">
              <a:defRPr sz="900"/>
            </a:lvl8pPr>
            <a:lvl9pPr marL="0" indent="0">
              <a:defRPr sz="900"/>
            </a:lvl9pPr>
          </a:lstStyle>
          <a:p>
            <a:r>
              <a:rPr lang="de-DE"/>
              <a:t>Der Konsument nach Corona und Consumer Voice</a:t>
            </a:r>
            <a:endParaRPr lang="de-DE" dirty="0"/>
          </a:p>
        </p:txBody>
      </p:sp>
      <p:sp>
        <p:nvSpPr>
          <p:cNvPr id="11" name="Foliennummernplatzhalter 10">
            <a:extLst>
              <a:ext uri="{FF2B5EF4-FFF2-40B4-BE49-F238E27FC236}">
                <a16:creationId xmlns:a16="http://schemas.microsoft.com/office/drawing/2014/main" id="{22C7A0F2-CEA0-277C-7563-ECC7A39502F5}"/>
              </a:ext>
            </a:extLst>
          </p:cNvPr>
          <p:cNvSpPr>
            <a:spLocks noGrp="1"/>
          </p:cNvSpPr>
          <p:nvPr>
            <p:ph type="sldNum" sz="quarter" idx="20"/>
          </p:nvPr>
        </p:nvSpPr>
        <p:spPr>
          <a:xfrm>
            <a:off x="11208568" y="6957394"/>
            <a:ext cx="432048" cy="72008"/>
          </a:xfrm>
        </p:spPr>
        <p:txBody>
          <a:bodyPr/>
          <a:lstStyle>
            <a:lvl1pPr>
              <a:defRPr sz="1100">
                <a:solidFill>
                  <a:schemeClr val="tx1">
                    <a:alpha val="0"/>
                  </a:schemeClr>
                </a:solidFill>
              </a:defRPr>
            </a:lvl1pPr>
          </a:lstStyle>
          <a:p>
            <a:fld id="{CAEA825B-D749-4F0A-886E-8D45A39EAF2A}" type="slidenum">
              <a:rPr lang="de-DE" smtClean="0"/>
              <a:pPr/>
              <a:t>‹Nº›</a:t>
            </a:fld>
            <a:endParaRPr lang="de-DE" dirty="0"/>
          </a:p>
        </p:txBody>
      </p:sp>
      <p:sp>
        <p:nvSpPr>
          <p:cNvPr id="41" name="Text Placeholder 4">
            <a:extLst>
              <a:ext uri="{FF2B5EF4-FFF2-40B4-BE49-F238E27FC236}">
                <a16:creationId xmlns:a16="http://schemas.microsoft.com/office/drawing/2014/main" id="{3807B01A-3552-EF40-1656-EEB891FB7105}"/>
              </a:ext>
            </a:extLst>
          </p:cNvPr>
          <p:cNvSpPr>
            <a:spLocks noGrp="1"/>
          </p:cNvSpPr>
          <p:nvPr>
            <p:ph type="body" sz="quarter" idx="17" hasCustomPrompt="1"/>
          </p:nvPr>
        </p:nvSpPr>
        <p:spPr>
          <a:xfrm>
            <a:off x="1487488" y="6525344"/>
            <a:ext cx="9217024" cy="144016"/>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solidFill>
                  <a:schemeClr val="tx1"/>
                </a:solidFill>
              </a:defRPr>
            </a:lvl1pPr>
            <a:lvl2pPr marL="0" indent="0" algn="l">
              <a:lnSpc>
                <a:spcPct val="100000"/>
              </a:lnSpc>
              <a:spcBef>
                <a:spcPts val="0"/>
              </a:spcBef>
              <a:buFont typeface="Arial" panose="020B0604020202020204" pitchFamily="34" charset="0"/>
              <a:buNone/>
              <a:defRPr sz="900">
                <a:solidFill>
                  <a:schemeClr val="tx1"/>
                </a:solidFill>
              </a:defRPr>
            </a:lvl2pPr>
            <a:lvl3pPr marL="0" indent="0" algn="l">
              <a:lnSpc>
                <a:spcPct val="100000"/>
              </a:lnSpc>
              <a:spcBef>
                <a:spcPts val="0"/>
              </a:spcBef>
              <a:buFont typeface="Arial" panose="020B0604020202020204" pitchFamily="34" charset="0"/>
              <a:buNone/>
              <a:defRPr sz="900">
                <a:solidFill>
                  <a:schemeClr val="tx1"/>
                </a:solidFill>
              </a:defRPr>
            </a:lvl3pPr>
            <a:lvl4pPr marL="0" indent="0" algn="l">
              <a:lnSpc>
                <a:spcPct val="100000"/>
              </a:lnSpc>
              <a:spcBef>
                <a:spcPts val="0"/>
              </a:spcBef>
              <a:buFont typeface="Arial" panose="020B0604020202020204" pitchFamily="34" charset="0"/>
              <a:buNone/>
              <a:defRPr sz="900">
                <a:solidFill>
                  <a:schemeClr val="tx1"/>
                </a:solidFill>
              </a:defRPr>
            </a:lvl4pPr>
            <a:lvl5pPr marL="0" indent="0" algn="l">
              <a:lnSpc>
                <a:spcPct val="100000"/>
              </a:lnSpc>
              <a:spcBef>
                <a:spcPts val="0"/>
              </a:spcBef>
              <a:buFont typeface="Arial" panose="020B0604020202020204" pitchFamily="34" charset="0"/>
              <a:buNone/>
              <a:defRPr sz="900">
                <a:solidFill>
                  <a:schemeClr val="tx1"/>
                </a:solidFill>
              </a:defRPr>
            </a:lvl5pPr>
            <a:lvl6pPr marL="0" indent="0">
              <a:spcBef>
                <a:spcPts val="0"/>
              </a:spcBef>
              <a:buNone/>
              <a:defRPr sz="900">
                <a:solidFill>
                  <a:schemeClr val="tx1"/>
                </a:solidFill>
              </a:defRPr>
            </a:lvl6pPr>
            <a:lvl7pPr marL="0" indent="0">
              <a:spcBef>
                <a:spcPts val="0"/>
              </a:spcBef>
              <a:buNone/>
              <a:defRPr sz="900">
                <a:solidFill>
                  <a:schemeClr val="tx1"/>
                </a:solidFill>
              </a:defRPr>
            </a:lvl7pPr>
            <a:lvl8pPr marL="0" indent="0">
              <a:spcBef>
                <a:spcPts val="0"/>
              </a:spcBef>
              <a:buNone/>
              <a:defRPr sz="900">
                <a:solidFill>
                  <a:schemeClr val="tx1"/>
                </a:solidFill>
              </a:defRPr>
            </a:lvl8pPr>
            <a:lvl9pPr marL="0" indent="0">
              <a:spcBef>
                <a:spcPts val="0"/>
              </a:spcBef>
              <a:buNone/>
              <a:defRPr sz="900">
                <a:solidFill>
                  <a:schemeClr val="tx1"/>
                </a:solidFill>
              </a:defRPr>
            </a:lvl9pPr>
          </a:lstStyle>
          <a:p>
            <a:pPr lvl="0"/>
            <a:r>
              <a:rPr lang="de-DE" dirty="0"/>
              <a:t>Source, Footnote</a:t>
            </a:r>
            <a:endParaRPr lang="en-GB" dirty="0"/>
          </a:p>
        </p:txBody>
      </p:sp>
      <p:grpSp>
        <p:nvGrpSpPr>
          <p:cNvPr id="26" name="Gruppieren 25">
            <a:extLst>
              <a:ext uri="{FF2B5EF4-FFF2-40B4-BE49-F238E27FC236}">
                <a16:creationId xmlns:a16="http://schemas.microsoft.com/office/drawing/2014/main" id="{D83CF277-C745-96CF-3B26-00240E25ABFE}"/>
              </a:ext>
              <a:ext uri="{C183D7F6-B498-43B3-948B-1728B52AA6E4}">
                <adec:decorative xmlns:adec="http://schemas.microsoft.com/office/drawing/2017/decorative" val="1"/>
              </a:ext>
            </a:extLst>
          </p:cNvPr>
          <p:cNvGrpSpPr/>
          <p:nvPr userDrawn="1"/>
        </p:nvGrpSpPr>
        <p:grpSpPr>
          <a:xfrm>
            <a:off x="-168768" y="-171392"/>
            <a:ext cx="12025408" cy="6264688"/>
            <a:chOff x="-168768" y="-171392"/>
            <a:chExt cx="12025408" cy="6264688"/>
          </a:xfrm>
        </p:grpSpPr>
        <p:cxnSp>
          <p:nvCxnSpPr>
            <p:cNvPr id="27" name="Gerader Verbinder 26">
              <a:extLst>
                <a:ext uri="{FF2B5EF4-FFF2-40B4-BE49-F238E27FC236}">
                  <a16:creationId xmlns:a16="http://schemas.microsoft.com/office/drawing/2014/main" id="{361FEB40-DC8C-45CE-16D5-DEE863A179A7}"/>
                </a:ext>
              </a:extLst>
            </p:cNvPr>
            <p:cNvCxnSpPr/>
            <p:nvPr userDrawn="1"/>
          </p:nvCxnSpPr>
          <p:spPr bwMode="gray">
            <a:xfrm>
              <a:off x="33536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0909279E-8785-E95C-CD9E-8B659DD06937}"/>
                </a:ext>
              </a:extLst>
            </p:cNvPr>
            <p:cNvCxnSpPr/>
            <p:nvPr userDrawn="1"/>
          </p:nvCxnSpPr>
          <p:spPr bwMode="gray">
            <a:xfrm>
              <a:off x="436780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7AF56B99-0456-ECE2-0C4E-177B2F4E46E9}"/>
                </a:ext>
              </a:extLst>
            </p:cNvPr>
            <p:cNvCxnSpPr/>
            <p:nvPr userDrawn="1"/>
          </p:nvCxnSpPr>
          <p:spPr bwMode="gray">
            <a:xfrm>
              <a:off x="494387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19D9628E-0B32-30B1-A064-5C167AB5E212}"/>
                </a:ext>
              </a:extLst>
            </p:cNvPr>
            <p:cNvCxnSpPr/>
            <p:nvPr userDrawn="1"/>
          </p:nvCxnSpPr>
          <p:spPr bwMode="gray">
            <a:xfrm>
              <a:off x="667206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A820E157-A4CC-A9E2-04E7-51B6BF1F3A0D}"/>
                </a:ext>
              </a:extLst>
            </p:cNvPr>
            <p:cNvCxnSpPr/>
            <p:nvPr userDrawn="1"/>
          </p:nvCxnSpPr>
          <p:spPr bwMode="gray">
            <a:xfrm>
              <a:off x="609600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36B47171-B86D-80BC-31F7-850BF667074B}"/>
                </a:ext>
              </a:extLst>
            </p:cNvPr>
            <p:cNvCxnSpPr/>
            <p:nvPr userDrawn="1"/>
          </p:nvCxnSpPr>
          <p:spPr bwMode="gray">
            <a:xfrm>
              <a:off x="724812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345FACF7-0462-675E-DDD5-32C265D9067D}"/>
                </a:ext>
              </a:extLst>
            </p:cNvPr>
            <p:cNvCxnSpPr/>
            <p:nvPr userDrawn="1"/>
          </p:nvCxnSpPr>
          <p:spPr bwMode="gray">
            <a:xfrm>
              <a:off x="782419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C8EB43D7-846B-0AA7-C285-164F354A2DA9}"/>
                </a:ext>
              </a:extLst>
            </p:cNvPr>
            <p:cNvCxnSpPr/>
            <p:nvPr userDrawn="1"/>
          </p:nvCxnSpPr>
          <p:spPr bwMode="gray">
            <a:xfrm>
              <a:off x="840025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C55913F1-7414-5E37-4EAA-3C2C35D13C0A}"/>
                </a:ext>
              </a:extLst>
            </p:cNvPr>
            <p:cNvCxnSpPr/>
            <p:nvPr userDrawn="1"/>
          </p:nvCxnSpPr>
          <p:spPr bwMode="gray">
            <a:xfrm>
              <a:off x="897632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B855F45F-779D-2EDE-143D-756CF15F1CEF}"/>
                </a:ext>
              </a:extLst>
            </p:cNvPr>
            <p:cNvCxnSpPr/>
            <p:nvPr userDrawn="1"/>
          </p:nvCxnSpPr>
          <p:spPr bwMode="gray">
            <a:xfrm>
              <a:off x="1128057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49ABCC2D-48C9-FF55-4383-4AD9A8322CE8}"/>
                </a:ext>
              </a:extLst>
            </p:cNvPr>
            <p:cNvCxnSpPr/>
            <p:nvPr userDrawn="1"/>
          </p:nvCxnSpPr>
          <p:spPr bwMode="gray">
            <a:xfrm>
              <a:off x="1185664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B21E6863-C58D-356B-A9E4-90BCF720EA3F}"/>
                </a:ext>
              </a:extLst>
            </p:cNvPr>
            <p:cNvCxnSpPr>
              <a:cxnSpLocks/>
            </p:cNvCxnSpPr>
            <p:nvPr userDrawn="1"/>
          </p:nvCxnSpPr>
          <p:spPr bwMode="gray">
            <a:xfrm rot="5400000">
              <a:off x="-132688" y="29665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732696DF-1F9A-AD34-33BE-C25B59C5E620}"/>
                </a:ext>
              </a:extLst>
            </p:cNvPr>
            <p:cNvCxnSpPr/>
            <p:nvPr userDrawn="1"/>
          </p:nvCxnSpPr>
          <p:spPr bwMode="gray">
            <a:xfrm>
              <a:off x="321568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3272E917-08D4-CC26-E627-2902F6409543}"/>
                </a:ext>
              </a:extLst>
            </p:cNvPr>
            <p:cNvCxnSpPr/>
            <p:nvPr userDrawn="1"/>
          </p:nvCxnSpPr>
          <p:spPr bwMode="gray">
            <a:xfrm>
              <a:off x="379174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211DFF1C-2109-D419-8D3D-3C66662F913E}"/>
                </a:ext>
              </a:extLst>
            </p:cNvPr>
            <p:cNvCxnSpPr>
              <a:cxnSpLocks/>
            </p:cNvCxnSpPr>
            <p:nvPr userDrawn="1"/>
          </p:nvCxnSpPr>
          <p:spPr bwMode="gray">
            <a:xfrm rot="5400000">
              <a:off x="-132704" y="87272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45757A65-B2B4-EDF6-5281-D99ABC925297}"/>
                </a:ext>
              </a:extLst>
            </p:cNvPr>
            <p:cNvCxnSpPr>
              <a:cxnSpLocks/>
            </p:cNvCxnSpPr>
            <p:nvPr userDrawn="1"/>
          </p:nvCxnSpPr>
          <p:spPr bwMode="gray">
            <a:xfrm rot="5400000">
              <a:off x="-132712" y="202484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DF9CAC55-15F8-2DBD-233A-2C9BE7217598}"/>
                </a:ext>
              </a:extLst>
            </p:cNvPr>
            <p:cNvCxnSpPr>
              <a:cxnSpLocks/>
            </p:cNvCxnSpPr>
            <p:nvPr userDrawn="1"/>
          </p:nvCxnSpPr>
          <p:spPr bwMode="gray">
            <a:xfrm rot="5400000">
              <a:off x="-132768" y="605729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4220985A-2DAE-FEAB-803B-8E5B9D812986}"/>
                </a:ext>
              </a:extLst>
            </p:cNvPr>
            <p:cNvCxnSpPr/>
            <p:nvPr/>
          </p:nvCxnSpPr>
          <p:spPr bwMode="gray">
            <a:xfrm>
              <a:off x="1070451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A174CF69-6471-845D-9717-A680C0962E52}"/>
                </a:ext>
              </a:extLst>
            </p:cNvPr>
            <p:cNvCxnSpPr/>
            <p:nvPr/>
          </p:nvCxnSpPr>
          <p:spPr bwMode="gray">
            <a:xfrm>
              <a:off x="1012844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80AC1286-3015-6EB9-5754-893B73DC0C3F}"/>
                </a:ext>
              </a:extLst>
            </p:cNvPr>
            <p:cNvCxnSpPr/>
            <p:nvPr/>
          </p:nvCxnSpPr>
          <p:spPr bwMode="gray">
            <a:xfrm>
              <a:off x="955059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EA28E21F-3707-04F6-337B-45BD05906EEE}"/>
                </a:ext>
              </a:extLst>
            </p:cNvPr>
            <p:cNvCxnSpPr/>
            <p:nvPr/>
          </p:nvCxnSpPr>
          <p:spPr bwMode="gray">
            <a:xfrm>
              <a:off x="551973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FD165575-EAFE-0A05-F2A3-0EBEB82A5DAD}"/>
                </a:ext>
              </a:extLst>
            </p:cNvPr>
            <p:cNvCxnSpPr/>
            <p:nvPr/>
          </p:nvCxnSpPr>
          <p:spPr bwMode="gray">
            <a:xfrm>
              <a:off x="263961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6320B814-118C-AB6F-FCBE-EBF8902904E5}"/>
                </a:ext>
              </a:extLst>
            </p:cNvPr>
            <p:cNvCxnSpPr/>
            <p:nvPr/>
          </p:nvCxnSpPr>
          <p:spPr bwMode="gray">
            <a:xfrm>
              <a:off x="206355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F8AFACBD-037D-8124-6B86-7A73249D3DF1}"/>
                </a:ext>
              </a:extLst>
            </p:cNvPr>
            <p:cNvCxnSpPr/>
            <p:nvPr/>
          </p:nvCxnSpPr>
          <p:spPr bwMode="gray">
            <a:xfrm>
              <a:off x="148748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B745D536-C0C6-E338-E706-B0D1960E4920}"/>
                </a:ext>
              </a:extLst>
            </p:cNvPr>
            <p:cNvCxnSpPr/>
            <p:nvPr/>
          </p:nvCxnSpPr>
          <p:spPr bwMode="gray">
            <a:xfrm>
              <a:off x="91142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C8E6CA72-FFF8-4DF0-4FF7-BC68D91C4957}"/>
                </a:ext>
              </a:extLst>
            </p:cNvPr>
            <p:cNvCxnSpPr>
              <a:cxnSpLocks/>
            </p:cNvCxnSpPr>
            <p:nvPr/>
          </p:nvCxnSpPr>
          <p:spPr bwMode="gray">
            <a:xfrm rot="5400000">
              <a:off x="-132704" y="144878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64099ABF-1039-FC88-557F-8855CEC039B4}"/>
                </a:ext>
              </a:extLst>
            </p:cNvPr>
            <p:cNvCxnSpPr>
              <a:cxnSpLocks/>
            </p:cNvCxnSpPr>
            <p:nvPr/>
          </p:nvCxnSpPr>
          <p:spPr bwMode="gray">
            <a:xfrm rot="5400000">
              <a:off x="-132712" y="260091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358B961F-6C17-4952-BA6C-FF4E35354A25}"/>
                </a:ext>
              </a:extLst>
            </p:cNvPr>
            <p:cNvCxnSpPr>
              <a:cxnSpLocks/>
            </p:cNvCxnSpPr>
            <p:nvPr/>
          </p:nvCxnSpPr>
          <p:spPr bwMode="gray">
            <a:xfrm rot="5400000">
              <a:off x="-132712" y="317697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3B325C11-5D7D-0AF5-678E-49574A7B64D3}"/>
                </a:ext>
              </a:extLst>
            </p:cNvPr>
            <p:cNvCxnSpPr>
              <a:cxnSpLocks/>
            </p:cNvCxnSpPr>
            <p:nvPr/>
          </p:nvCxnSpPr>
          <p:spPr bwMode="gray">
            <a:xfrm rot="5400000">
              <a:off x="-132712" y="375304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163B6C7E-2221-3A80-AE5F-B4040FB16F4B}"/>
                </a:ext>
              </a:extLst>
            </p:cNvPr>
            <p:cNvCxnSpPr>
              <a:cxnSpLocks/>
            </p:cNvCxnSpPr>
            <p:nvPr/>
          </p:nvCxnSpPr>
          <p:spPr bwMode="gray">
            <a:xfrm rot="5400000">
              <a:off x="-132712" y="432910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A39D0634-3486-49A4-6F41-2645A5F614C0}"/>
                </a:ext>
              </a:extLst>
            </p:cNvPr>
            <p:cNvCxnSpPr>
              <a:cxnSpLocks/>
            </p:cNvCxnSpPr>
            <p:nvPr/>
          </p:nvCxnSpPr>
          <p:spPr bwMode="gray">
            <a:xfrm rot="5400000">
              <a:off x="-132712" y="490516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8BBCC9C5-69D9-E7CC-CCDB-B0AFE93A77AE}"/>
                </a:ext>
              </a:extLst>
            </p:cNvPr>
            <p:cNvCxnSpPr>
              <a:cxnSpLocks/>
            </p:cNvCxnSpPr>
            <p:nvPr/>
          </p:nvCxnSpPr>
          <p:spPr bwMode="gray">
            <a:xfrm rot="5400000">
              <a:off x="-132712" y="548123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56110272"/>
      </p:ext>
    </p:extLst>
  </p:cSld>
  <p:clrMapOvr>
    <a:masterClrMapping/>
  </p:clrMapOvr>
  <p:extLst>
    <p:ext uri="{DCECCB84-F9BA-43D5-87BE-67443E8EF086}">
      <p15:sldGuideLst xmlns:p15="http://schemas.microsoft.com/office/powerpoint/2012/main">
        <p15:guide id="1" orient="horz" pos="1298" userDrawn="1">
          <p15:clr>
            <a:srgbClr val="FBAE40"/>
          </p15:clr>
        </p15:guide>
        <p15:guide id="4" orient="horz" pos="3838" userDrawn="1">
          <p15:clr>
            <a:srgbClr val="FBAE40"/>
          </p15:clr>
        </p15:guide>
        <p15:guide id="5" pos="211" userDrawn="1">
          <p15:clr>
            <a:srgbClr val="FBAE40"/>
          </p15:clr>
        </p15:guide>
        <p15:guide id="6" orient="horz" pos="935" userDrawn="1">
          <p15:clr>
            <a:srgbClr val="FBAE40"/>
          </p15:clr>
        </p15:guide>
        <p15:guide id="7" orient="horz" pos="212" userDrawn="1">
          <p15:clr>
            <a:srgbClr val="FBAE40"/>
          </p15:clr>
        </p15:guide>
        <p15:guide id="8" pos="7469" userDrawn="1">
          <p15:clr>
            <a:srgbClr val="FBAE40"/>
          </p15:clr>
        </p15:guide>
        <p15:guide id="9" pos="7106"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77D783D-414A-A75B-D6B2-F169BF7EA4DE}"/>
              </a:ext>
            </a:extLst>
          </p:cNvPr>
          <p:cNvGraphicFramePr>
            <a:graphicFrameLocks noChangeAspect="1"/>
          </p:cNvGraphicFramePr>
          <p:nvPr userDrawn="1">
            <p:custDataLst>
              <p:tags r:id="rId1"/>
            </p:custDataLst>
            <p:extLst>
              <p:ext uri="{D42A27DB-BD31-4B8C-83A1-F6EECF244321}">
                <p14:modId xmlns:p14="http://schemas.microsoft.com/office/powerpoint/2010/main" val="3879633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4" name="Objekt 3" hidden="1">
                        <a:extLst>
                          <a:ext uri="{FF2B5EF4-FFF2-40B4-BE49-F238E27FC236}">
                            <a16:creationId xmlns:a16="http://schemas.microsoft.com/office/drawing/2014/main" id="{B77D783D-414A-A75B-D6B2-F169BF7EA4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a:extLst>
              <a:ext uri="{FF2B5EF4-FFF2-40B4-BE49-F238E27FC236}">
                <a16:creationId xmlns:a16="http://schemas.microsoft.com/office/drawing/2014/main" id="{CF5EDE16-5B1A-4150-90CB-D4C4142476EB}"/>
              </a:ext>
            </a:extLst>
          </p:cNvPr>
          <p:cNvSpPr>
            <a:spLocks noGrp="1"/>
          </p:cNvSpPr>
          <p:nvPr>
            <p:ph type="title" hasCustomPrompt="1"/>
          </p:nvPr>
        </p:nvSpPr>
        <p:spPr bwMode="gray">
          <a:xfrm>
            <a:off x="334964" y="260648"/>
            <a:ext cx="8641356" cy="369332"/>
          </a:xfrm>
        </p:spPr>
        <p:txBody>
          <a:bodyPr vert="horz"/>
          <a:lstStyle>
            <a:lvl1pPr>
              <a:defRPr/>
            </a:lvl1pPr>
          </a:lstStyle>
          <a:p>
            <a:r>
              <a:rPr lang="en-GB"/>
              <a:t>Insert your headline in Lato Heavy 24 pt here</a:t>
            </a:r>
            <a:endParaRPr lang="en-GB" dirty="0"/>
          </a:p>
        </p:txBody>
      </p:sp>
      <p:sp>
        <p:nvSpPr>
          <p:cNvPr id="3" name="Content Placeholder 2"/>
          <p:cNvSpPr>
            <a:spLocks noGrp="1"/>
          </p:cNvSpPr>
          <p:nvPr>
            <p:ph idx="1" hasCustomPrompt="1"/>
          </p:nvPr>
        </p:nvSpPr>
        <p:spPr bwMode="gray">
          <a:xfrm>
            <a:off x="334963" y="2060575"/>
            <a:ext cx="10945812" cy="4032249"/>
          </a:xfrm>
          <a:prstGeom prst="rect">
            <a:avLst/>
          </a:prstGeom>
        </p:spPr>
        <p:txBody>
          <a:bodyPr/>
          <a:lstStyle>
            <a:lvl1pPr>
              <a:defRPr baseline="0"/>
            </a:lvl1p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0" name="Datumsplatzhalter 9">
            <a:extLst>
              <a:ext uri="{FF2B5EF4-FFF2-40B4-BE49-F238E27FC236}">
                <a16:creationId xmlns:a16="http://schemas.microsoft.com/office/drawing/2014/main" id="{B10F9FE1-8933-6258-C125-11CB62255F30}"/>
              </a:ext>
            </a:extLst>
          </p:cNvPr>
          <p:cNvSpPr>
            <a:spLocks noGrp="1"/>
          </p:cNvSpPr>
          <p:nvPr>
            <p:ph type="dt" sz="half" idx="18"/>
          </p:nvPr>
        </p:nvSpPr>
        <p:spPr/>
        <p:txBody>
          <a:bodyPr/>
          <a:lstStyle/>
          <a:p>
            <a:r>
              <a:rPr lang="en-US"/>
              <a:t>7/26/2022</a:t>
            </a:r>
            <a:endParaRPr lang="en-GB" dirty="0"/>
          </a:p>
        </p:txBody>
      </p:sp>
      <p:sp>
        <p:nvSpPr>
          <p:cNvPr id="11" name="Fußzeilenplatzhalter 10">
            <a:extLst>
              <a:ext uri="{FF2B5EF4-FFF2-40B4-BE49-F238E27FC236}">
                <a16:creationId xmlns:a16="http://schemas.microsoft.com/office/drawing/2014/main" id="{A165BA0F-49C9-69D2-0872-687BBBAE0CDB}"/>
              </a:ext>
            </a:extLst>
          </p:cNvPr>
          <p:cNvSpPr>
            <a:spLocks noGrp="1"/>
          </p:cNvSpPr>
          <p:nvPr>
            <p:ph type="ftr" sz="quarter" idx="19"/>
          </p:nvPr>
        </p:nvSpPr>
        <p:spPr/>
        <p:txBody>
          <a:bodyPr/>
          <a:lstStyle/>
          <a:p>
            <a:r>
              <a:rPr lang="de-DE"/>
              <a:t>Der Konsument nach Corona und Consumer Voice</a:t>
            </a:r>
            <a:endParaRPr lang="de-DE" dirty="0"/>
          </a:p>
        </p:txBody>
      </p:sp>
      <p:sp>
        <p:nvSpPr>
          <p:cNvPr id="12" name="Foliennummernplatzhalter 11">
            <a:extLst>
              <a:ext uri="{FF2B5EF4-FFF2-40B4-BE49-F238E27FC236}">
                <a16:creationId xmlns:a16="http://schemas.microsoft.com/office/drawing/2014/main" id="{E1A608F5-9BC6-D945-0D61-68FF1FCB59D6}"/>
              </a:ext>
            </a:extLst>
          </p:cNvPr>
          <p:cNvSpPr>
            <a:spLocks noGrp="1"/>
          </p:cNvSpPr>
          <p:nvPr>
            <p:ph type="sldNum" sz="quarter" idx="20"/>
          </p:nvPr>
        </p:nvSpPr>
        <p:spPr/>
        <p:txBody>
          <a:bodyPr/>
          <a:lstStyle/>
          <a:p>
            <a:fld id="{CAEA825B-D749-4F0A-886E-8D45A39EAF2A}" type="slidenum">
              <a:rPr lang="de-DE" smtClean="0"/>
              <a:pPr/>
              <a:t>‹Nº›</a:t>
            </a:fld>
            <a:endParaRPr lang="de-DE"/>
          </a:p>
        </p:txBody>
      </p:sp>
      <p:sp>
        <p:nvSpPr>
          <p:cNvPr id="13" name="Subtitle">
            <a:extLst>
              <a:ext uri="{FF2B5EF4-FFF2-40B4-BE49-F238E27FC236}">
                <a16:creationId xmlns:a16="http://schemas.microsoft.com/office/drawing/2014/main" id="{81716598-9EB7-D21A-CE7D-5822B707C9DC}"/>
              </a:ext>
            </a:extLst>
          </p:cNvPr>
          <p:cNvSpPr>
            <a:spLocks noGrp="1"/>
          </p:cNvSpPr>
          <p:nvPr>
            <p:ph type="subTitle" idx="13" hasCustomPrompt="1"/>
          </p:nvPr>
        </p:nvSpPr>
        <p:spPr bwMode="gray">
          <a:xfrm>
            <a:off x="334963" y="659362"/>
            <a:ext cx="8641357" cy="360040"/>
          </a:xfrm>
          <a:prstGeom prst="rect">
            <a:avLst/>
          </a:prstGeom>
        </p:spPr>
        <p:txBody>
          <a:bodyPr wrap="none" tIns="0"/>
          <a:lstStyle>
            <a:lvl1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1pPr>
            <a:lvl2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2pPr>
            <a:lvl3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3pPr>
            <a:lvl4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4pPr>
            <a:lvl5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5pPr>
            <a:lvl6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6pPr>
            <a:lvl7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7pPr>
            <a:lvl8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8pPr>
            <a:lvl9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9pPr>
          </a:lstStyle>
          <a:p>
            <a:r>
              <a:rPr lang="en-GB" dirty="0"/>
              <a:t>Insert your sub-headline in </a:t>
            </a:r>
            <a:r>
              <a:rPr lang="en-GB" dirty="0" err="1"/>
              <a:t>Lato</a:t>
            </a:r>
            <a:r>
              <a:rPr lang="en-GB" dirty="0"/>
              <a:t> light 20 </a:t>
            </a:r>
            <a:r>
              <a:rPr lang="en-GB" dirty="0" err="1"/>
              <a:t>pt</a:t>
            </a:r>
            <a:r>
              <a:rPr lang="en-GB" dirty="0"/>
              <a:t> here</a:t>
            </a:r>
          </a:p>
        </p:txBody>
      </p:sp>
      <p:sp>
        <p:nvSpPr>
          <p:cNvPr id="41" name="Text Placeholder 4">
            <a:extLst>
              <a:ext uri="{FF2B5EF4-FFF2-40B4-BE49-F238E27FC236}">
                <a16:creationId xmlns:a16="http://schemas.microsoft.com/office/drawing/2014/main" id="{7BED3BE6-41EF-3E8F-FA90-0BA7B9ACDFB2}"/>
              </a:ext>
            </a:extLst>
          </p:cNvPr>
          <p:cNvSpPr>
            <a:spLocks noGrp="1"/>
          </p:cNvSpPr>
          <p:nvPr>
            <p:ph type="body" sz="quarter" idx="17" hasCustomPrompt="1"/>
          </p:nvPr>
        </p:nvSpPr>
        <p:spPr>
          <a:xfrm>
            <a:off x="1487488" y="6525344"/>
            <a:ext cx="9217024" cy="144016"/>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solidFill>
                  <a:schemeClr val="tx1"/>
                </a:solidFill>
              </a:defRPr>
            </a:lvl1pPr>
            <a:lvl2pPr marL="0" indent="0" algn="l">
              <a:lnSpc>
                <a:spcPct val="100000"/>
              </a:lnSpc>
              <a:spcBef>
                <a:spcPts val="0"/>
              </a:spcBef>
              <a:buFont typeface="Arial" panose="020B0604020202020204" pitchFamily="34" charset="0"/>
              <a:buNone/>
              <a:defRPr sz="900">
                <a:solidFill>
                  <a:schemeClr val="tx1"/>
                </a:solidFill>
              </a:defRPr>
            </a:lvl2pPr>
            <a:lvl3pPr marL="0" indent="0" algn="l">
              <a:lnSpc>
                <a:spcPct val="100000"/>
              </a:lnSpc>
              <a:spcBef>
                <a:spcPts val="0"/>
              </a:spcBef>
              <a:buFont typeface="Arial" panose="020B0604020202020204" pitchFamily="34" charset="0"/>
              <a:buNone/>
              <a:defRPr sz="900">
                <a:solidFill>
                  <a:schemeClr val="tx1"/>
                </a:solidFill>
              </a:defRPr>
            </a:lvl3pPr>
            <a:lvl4pPr marL="0" indent="0" algn="l">
              <a:lnSpc>
                <a:spcPct val="100000"/>
              </a:lnSpc>
              <a:spcBef>
                <a:spcPts val="0"/>
              </a:spcBef>
              <a:buFont typeface="Arial" panose="020B0604020202020204" pitchFamily="34" charset="0"/>
              <a:buNone/>
              <a:defRPr sz="900">
                <a:solidFill>
                  <a:schemeClr val="tx1"/>
                </a:solidFill>
              </a:defRPr>
            </a:lvl4pPr>
            <a:lvl5pPr marL="0" indent="0" algn="l">
              <a:lnSpc>
                <a:spcPct val="100000"/>
              </a:lnSpc>
              <a:spcBef>
                <a:spcPts val="0"/>
              </a:spcBef>
              <a:buFont typeface="Arial" panose="020B0604020202020204" pitchFamily="34" charset="0"/>
              <a:buNone/>
              <a:defRPr sz="900">
                <a:solidFill>
                  <a:schemeClr val="tx1"/>
                </a:solidFill>
              </a:defRPr>
            </a:lvl5pPr>
            <a:lvl6pPr marL="0" indent="0">
              <a:spcBef>
                <a:spcPts val="0"/>
              </a:spcBef>
              <a:buNone/>
              <a:defRPr sz="900">
                <a:solidFill>
                  <a:schemeClr val="tx1"/>
                </a:solidFill>
              </a:defRPr>
            </a:lvl6pPr>
            <a:lvl7pPr marL="0" indent="0">
              <a:spcBef>
                <a:spcPts val="0"/>
              </a:spcBef>
              <a:buNone/>
              <a:defRPr sz="900">
                <a:solidFill>
                  <a:schemeClr val="tx1"/>
                </a:solidFill>
              </a:defRPr>
            </a:lvl7pPr>
            <a:lvl8pPr marL="0" indent="0">
              <a:spcBef>
                <a:spcPts val="0"/>
              </a:spcBef>
              <a:buNone/>
              <a:defRPr sz="900">
                <a:solidFill>
                  <a:schemeClr val="tx1"/>
                </a:solidFill>
              </a:defRPr>
            </a:lvl8pPr>
            <a:lvl9pPr marL="0" indent="0">
              <a:spcBef>
                <a:spcPts val="0"/>
              </a:spcBef>
              <a:buNone/>
              <a:defRPr sz="900">
                <a:solidFill>
                  <a:schemeClr val="tx1"/>
                </a:solidFill>
              </a:defRPr>
            </a:lvl9pPr>
          </a:lstStyle>
          <a:p>
            <a:pPr lvl="0"/>
            <a:r>
              <a:rPr lang="de-DE" dirty="0"/>
              <a:t>Source, Footnote</a:t>
            </a:r>
            <a:endParaRPr lang="en-GB" dirty="0"/>
          </a:p>
        </p:txBody>
      </p:sp>
      <p:grpSp>
        <p:nvGrpSpPr>
          <p:cNvPr id="27" name="Gruppieren 26">
            <a:extLst>
              <a:ext uri="{FF2B5EF4-FFF2-40B4-BE49-F238E27FC236}">
                <a16:creationId xmlns:a16="http://schemas.microsoft.com/office/drawing/2014/main" id="{93818099-6FDB-0206-6148-C5E5A4721086}"/>
              </a:ext>
              <a:ext uri="{C183D7F6-B498-43B3-948B-1728B52AA6E4}">
                <adec:decorative xmlns:adec="http://schemas.microsoft.com/office/drawing/2017/decorative" val="1"/>
              </a:ext>
            </a:extLst>
          </p:cNvPr>
          <p:cNvGrpSpPr/>
          <p:nvPr userDrawn="1"/>
        </p:nvGrpSpPr>
        <p:grpSpPr>
          <a:xfrm>
            <a:off x="-168768" y="-171392"/>
            <a:ext cx="12025408" cy="6264688"/>
            <a:chOff x="-168768" y="-171392"/>
            <a:chExt cx="12025408" cy="6264688"/>
          </a:xfrm>
        </p:grpSpPr>
        <p:cxnSp>
          <p:nvCxnSpPr>
            <p:cNvPr id="28" name="Gerader Verbinder 27">
              <a:extLst>
                <a:ext uri="{FF2B5EF4-FFF2-40B4-BE49-F238E27FC236}">
                  <a16:creationId xmlns:a16="http://schemas.microsoft.com/office/drawing/2014/main" id="{1067CD34-7E09-DF31-4B53-22B7C7F88080}"/>
                </a:ext>
              </a:extLst>
            </p:cNvPr>
            <p:cNvCxnSpPr/>
            <p:nvPr userDrawn="1"/>
          </p:nvCxnSpPr>
          <p:spPr bwMode="gray">
            <a:xfrm>
              <a:off x="33536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CC652826-CA95-65E4-1790-23EFAA8D67B7}"/>
                </a:ext>
              </a:extLst>
            </p:cNvPr>
            <p:cNvCxnSpPr/>
            <p:nvPr userDrawn="1"/>
          </p:nvCxnSpPr>
          <p:spPr bwMode="gray">
            <a:xfrm>
              <a:off x="436780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35358EDA-48C1-401B-C8B2-32A1A6AAB4FE}"/>
                </a:ext>
              </a:extLst>
            </p:cNvPr>
            <p:cNvCxnSpPr/>
            <p:nvPr userDrawn="1"/>
          </p:nvCxnSpPr>
          <p:spPr bwMode="gray">
            <a:xfrm>
              <a:off x="494387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3F375CC4-8EAC-03AA-4A98-AB61046E0E49}"/>
                </a:ext>
              </a:extLst>
            </p:cNvPr>
            <p:cNvCxnSpPr/>
            <p:nvPr userDrawn="1"/>
          </p:nvCxnSpPr>
          <p:spPr bwMode="gray">
            <a:xfrm>
              <a:off x="667206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5A96B0EA-5E77-48EA-8066-7AA71E80B66B}"/>
                </a:ext>
              </a:extLst>
            </p:cNvPr>
            <p:cNvCxnSpPr/>
            <p:nvPr userDrawn="1"/>
          </p:nvCxnSpPr>
          <p:spPr bwMode="gray">
            <a:xfrm>
              <a:off x="609600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0B1C87BF-FB67-D9B9-A894-B0348E125CD2}"/>
                </a:ext>
              </a:extLst>
            </p:cNvPr>
            <p:cNvCxnSpPr/>
            <p:nvPr userDrawn="1"/>
          </p:nvCxnSpPr>
          <p:spPr bwMode="gray">
            <a:xfrm>
              <a:off x="724812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CA8672BF-9ACE-6E04-1450-143820A0E820}"/>
                </a:ext>
              </a:extLst>
            </p:cNvPr>
            <p:cNvCxnSpPr/>
            <p:nvPr userDrawn="1"/>
          </p:nvCxnSpPr>
          <p:spPr bwMode="gray">
            <a:xfrm>
              <a:off x="782419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75B38E90-554E-E3C4-7833-7A7DE0FB1D49}"/>
                </a:ext>
              </a:extLst>
            </p:cNvPr>
            <p:cNvCxnSpPr/>
            <p:nvPr userDrawn="1"/>
          </p:nvCxnSpPr>
          <p:spPr bwMode="gray">
            <a:xfrm>
              <a:off x="840025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BB27E74E-ECDF-A267-6FF8-C77CFC365883}"/>
                </a:ext>
              </a:extLst>
            </p:cNvPr>
            <p:cNvCxnSpPr/>
            <p:nvPr userDrawn="1"/>
          </p:nvCxnSpPr>
          <p:spPr bwMode="gray">
            <a:xfrm>
              <a:off x="897632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9ED1A9A2-C55B-1707-9A75-7553304C2D16}"/>
                </a:ext>
              </a:extLst>
            </p:cNvPr>
            <p:cNvCxnSpPr/>
            <p:nvPr userDrawn="1"/>
          </p:nvCxnSpPr>
          <p:spPr bwMode="gray">
            <a:xfrm>
              <a:off x="1128057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6BDEFEA1-FB65-2B89-D49C-6DCD3AD6EC6E}"/>
                </a:ext>
              </a:extLst>
            </p:cNvPr>
            <p:cNvCxnSpPr/>
            <p:nvPr userDrawn="1"/>
          </p:nvCxnSpPr>
          <p:spPr bwMode="gray">
            <a:xfrm>
              <a:off x="1185664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3A9678DF-40F4-A661-7048-14272EAE4043}"/>
                </a:ext>
              </a:extLst>
            </p:cNvPr>
            <p:cNvCxnSpPr>
              <a:cxnSpLocks/>
            </p:cNvCxnSpPr>
            <p:nvPr userDrawn="1"/>
          </p:nvCxnSpPr>
          <p:spPr bwMode="gray">
            <a:xfrm rot="5400000">
              <a:off x="-132688" y="29665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899379E3-9A85-846C-6B31-3D589944EC25}"/>
                </a:ext>
              </a:extLst>
            </p:cNvPr>
            <p:cNvCxnSpPr/>
            <p:nvPr userDrawn="1"/>
          </p:nvCxnSpPr>
          <p:spPr bwMode="gray">
            <a:xfrm>
              <a:off x="321568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85DCF5C8-060C-B520-97CF-8B0892966A42}"/>
                </a:ext>
              </a:extLst>
            </p:cNvPr>
            <p:cNvCxnSpPr/>
            <p:nvPr userDrawn="1"/>
          </p:nvCxnSpPr>
          <p:spPr bwMode="gray">
            <a:xfrm>
              <a:off x="379174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AB29ED6A-9E63-3063-F57D-B2AE4F121000}"/>
                </a:ext>
              </a:extLst>
            </p:cNvPr>
            <p:cNvCxnSpPr>
              <a:cxnSpLocks/>
            </p:cNvCxnSpPr>
            <p:nvPr userDrawn="1"/>
          </p:nvCxnSpPr>
          <p:spPr bwMode="gray">
            <a:xfrm rot="5400000">
              <a:off x="-132704" y="87272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CD75853C-A72D-453B-3596-DFBF60CBD6A6}"/>
                </a:ext>
              </a:extLst>
            </p:cNvPr>
            <p:cNvCxnSpPr>
              <a:cxnSpLocks/>
            </p:cNvCxnSpPr>
            <p:nvPr userDrawn="1"/>
          </p:nvCxnSpPr>
          <p:spPr bwMode="gray">
            <a:xfrm rot="5400000">
              <a:off x="-132712" y="202484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B89E8142-80D5-4A82-DCE9-652F0008E2E9}"/>
                </a:ext>
              </a:extLst>
            </p:cNvPr>
            <p:cNvCxnSpPr>
              <a:cxnSpLocks/>
            </p:cNvCxnSpPr>
            <p:nvPr userDrawn="1"/>
          </p:nvCxnSpPr>
          <p:spPr bwMode="gray">
            <a:xfrm rot="5400000">
              <a:off x="-132768" y="605729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4868CAB-0627-3953-0F37-33AD51C0081F}"/>
                </a:ext>
              </a:extLst>
            </p:cNvPr>
            <p:cNvCxnSpPr/>
            <p:nvPr/>
          </p:nvCxnSpPr>
          <p:spPr bwMode="gray">
            <a:xfrm>
              <a:off x="1070451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CDAC1FE5-8F64-1FA7-8932-C0F015D6430F}"/>
                </a:ext>
              </a:extLst>
            </p:cNvPr>
            <p:cNvCxnSpPr/>
            <p:nvPr/>
          </p:nvCxnSpPr>
          <p:spPr bwMode="gray">
            <a:xfrm>
              <a:off x="1012844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7B6EE8C1-8C3C-C527-1ADB-B7E0921A1550}"/>
                </a:ext>
              </a:extLst>
            </p:cNvPr>
            <p:cNvCxnSpPr/>
            <p:nvPr/>
          </p:nvCxnSpPr>
          <p:spPr bwMode="gray">
            <a:xfrm>
              <a:off x="955059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380E262E-0FA8-90A5-B1AD-5CB1A823979A}"/>
                </a:ext>
              </a:extLst>
            </p:cNvPr>
            <p:cNvCxnSpPr/>
            <p:nvPr/>
          </p:nvCxnSpPr>
          <p:spPr bwMode="gray">
            <a:xfrm>
              <a:off x="551973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AF300784-2740-3FA2-FAFC-82DF53B1592D}"/>
                </a:ext>
              </a:extLst>
            </p:cNvPr>
            <p:cNvCxnSpPr/>
            <p:nvPr/>
          </p:nvCxnSpPr>
          <p:spPr bwMode="gray">
            <a:xfrm>
              <a:off x="263961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7C92B4F0-C1C8-5777-F657-22450DE51D95}"/>
                </a:ext>
              </a:extLst>
            </p:cNvPr>
            <p:cNvCxnSpPr/>
            <p:nvPr/>
          </p:nvCxnSpPr>
          <p:spPr bwMode="gray">
            <a:xfrm>
              <a:off x="206355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689D5183-7C2C-F9DC-40BE-2257116005D5}"/>
                </a:ext>
              </a:extLst>
            </p:cNvPr>
            <p:cNvCxnSpPr/>
            <p:nvPr/>
          </p:nvCxnSpPr>
          <p:spPr bwMode="gray">
            <a:xfrm>
              <a:off x="148748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41138DE6-2C50-05FF-AD88-418199777B4F}"/>
                </a:ext>
              </a:extLst>
            </p:cNvPr>
            <p:cNvCxnSpPr/>
            <p:nvPr/>
          </p:nvCxnSpPr>
          <p:spPr bwMode="gray">
            <a:xfrm>
              <a:off x="91142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3BAAC55B-B244-58AD-1D04-1B78A389D200}"/>
                </a:ext>
              </a:extLst>
            </p:cNvPr>
            <p:cNvCxnSpPr>
              <a:cxnSpLocks/>
            </p:cNvCxnSpPr>
            <p:nvPr/>
          </p:nvCxnSpPr>
          <p:spPr bwMode="gray">
            <a:xfrm rot="5400000">
              <a:off x="-132704" y="144878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5491C047-1909-E96B-DBE2-F6579EF9B247}"/>
                </a:ext>
              </a:extLst>
            </p:cNvPr>
            <p:cNvCxnSpPr>
              <a:cxnSpLocks/>
            </p:cNvCxnSpPr>
            <p:nvPr/>
          </p:nvCxnSpPr>
          <p:spPr bwMode="gray">
            <a:xfrm rot="5400000">
              <a:off x="-132712" y="260091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36DE9970-6C14-5278-2D34-BECCAE1B6358}"/>
                </a:ext>
              </a:extLst>
            </p:cNvPr>
            <p:cNvCxnSpPr>
              <a:cxnSpLocks/>
            </p:cNvCxnSpPr>
            <p:nvPr/>
          </p:nvCxnSpPr>
          <p:spPr bwMode="gray">
            <a:xfrm rot="5400000">
              <a:off x="-132712" y="317697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13D8CDFC-F40C-2DD7-DDF5-D2BB43F15F3C}"/>
                </a:ext>
              </a:extLst>
            </p:cNvPr>
            <p:cNvCxnSpPr>
              <a:cxnSpLocks/>
            </p:cNvCxnSpPr>
            <p:nvPr/>
          </p:nvCxnSpPr>
          <p:spPr bwMode="gray">
            <a:xfrm rot="5400000">
              <a:off x="-132712" y="375304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B8C41BBC-3E8B-0E7C-2F47-DC2D560AC532}"/>
                </a:ext>
              </a:extLst>
            </p:cNvPr>
            <p:cNvCxnSpPr>
              <a:cxnSpLocks/>
            </p:cNvCxnSpPr>
            <p:nvPr/>
          </p:nvCxnSpPr>
          <p:spPr bwMode="gray">
            <a:xfrm rot="5400000">
              <a:off x="-132712" y="432910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70F1A32C-4658-F713-4E3F-E10F1ACF21CD}"/>
                </a:ext>
              </a:extLst>
            </p:cNvPr>
            <p:cNvCxnSpPr>
              <a:cxnSpLocks/>
            </p:cNvCxnSpPr>
            <p:nvPr/>
          </p:nvCxnSpPr>
          <p:spPr bwMode="gray">
            <a:xfrm rot="5400000">
              <a:off x="-132712" y="490516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79D171DF-79B0-9D91-7BB0-54C4B11A6C55}"/>
                </a:ext>
              </a:extLst>
            </p:cNvPr>
            <p:cNvCxnSpPr>
              <a:cxnSpLocks/>
            </p:cNvCxnSpPr>
            <p:nvPr/>
          </p:nvCxnSpPr>
          <p:spPr bwMode="gray">
            <a:xfrm rot="5400000">
              <a:off x="-132712" y="548123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29462021"/>
      </p:ext>
    </p:extLst>
  </p:cSld>
  <p:clrMapOvr>
    <a:masterClrMapping/>
  </p:clrMapOvr>
  <p:extLst>
    <p:ext uri="{DCECCB84-F9BA-43D5-87BE-67443E8EF086}">
      <p15:sldGuideLst xmlns:p15="http://schemas.microsoft.com/office/powerpoint/2012/main">
        <p15:guide id="1" orient="horz" pos="935" userDrawn="1">
          <p15:clr>
            <a:srgbClr val="FBAE40"/>
          </p15:clr>
        </p15:guide>
        <p15:guide id="3" pos="7106" userDrawn="1">
          <p15:clr>
            <a:srgbClr val="FBAE40"/>
          </p15:clr>
        </p15:guide>
        <p15:guide id="4" orient="horz" pos="3838" userDrawn="1">
          <p15:clr>
            <a:srgbClr val="FBAE40"/>
          </p15:clr>
        </p15:guide>
        <p15:guide id="5" pos="211" userDrawn="1">
          <p15:clr>
            <a:srgbClr val="FBAE40"/>
          </p15:clr>
        </p15:guide>
        <p15:guide id="6" orient="horz" pos="1298"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98EA4F7F-A4C1-7F86-3C8B-8C6F118BE289}"/>
              </a:ext>
            </a:extLst>
          </p:cNvPr>
          <p:cNvGraphicFramePr>
            <a:graphicFrameLocks noChangeAspect="1"/>
          </p:cNvGraphicFramePr>
          <p:nvPr userDrawn="1">
            <p:custDataLst>
              <p:tags r:id="rId1"/>
            </p:custDataLst>
            <p:extLst>
              <p:ext uri="{D42A27DB-BD31-4B8C-83A1-F6EECF244321}">
                <p14:modId xmlns:p14="http://schemas.microsoft.com/office/powerpoint/2010/main" val="1731574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4" name="Objekt 3" hidden="1">
                        <a:extLst>
                          <a:ext uri="{FF2B5EF4-FFF2-40B4-BE49-F238E27FC236}">
                            <a16:creationId xmlns:a16="http://schemas.microsoft.com/office/drawing/2014/main" id="{98EA4F7F-A4C1-7F86-3C8B-8C6F118BE2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a:extLst>
              <a:ext uri="{FF2B5EF4-FFF2-40B4-BE49-F238E27FC236}">
                <a16:creationId xmlns:a16="http://schemas.microsoft.com/office/drawing/2014/main" id="{88B08B0E-0F2C-4F39-8C83-40D56780A439}"/>
              </a:ext>
            </a:extLst>
          </p:cNvPr>
          <p:cNvSpPr>
            <a:spLocks noGrp="1"/>
          </p:cNvSpPr>
          <p:nvPr>
            <p:ph type="title" hasCustomPrompt="1"/>
          </p:nvPr>
        </p:nvSpPr>
        <p:spPr bwMode="gray">
          <a:xfrm>
            <a:off x="334964" y="260648"/>
            <a:ext cx="8641356" cy="369332"/>
          </a:xfrm>
        </p:spPr>
        <p:txBody>
          <a:bodyPr vert="horz"/>
          <a:lstStyle>
            <a:lvl1pPr>
              <a:defRPr/>
            </a:lvl1pPr>
          </a:lstStyle>
          <a:p>
            <a:r>
              <a:rPr lang="en-GB" dirty="0"/>
              <a:t>Insert your headline in </a:t>
            </a:r>
            <a:r>
              <a:rPr lang="en-GB" dirty="0" err="1"/>
              <a:t>Lato</a:t>
            </a:r>
            <a:r>
              <a:rPr lang="en-GB" dirty="0"/>
              <a:t> Heavy 24 </a:t>
            </a:r>
            <a:r>
              <a:rPr lang="en-GB" dirty="0" err="1"/>
              <a:t>pt</a:t>
            </a:r>
            <a:r>
              <a:rPr lang="en-GB" dirty="0"/>
              <a:t> here</a:t>
            </a:r>
          </a:p>
        </p:txBody>
      </p:sp>
      <p:sp>
        <p:nvSpPr>
          <p:cNvPr id="3" name="Content Placeholder 2"/>
          <p:cNvSpPr>
            <a:spLocks noGrp="1"/>
          </p:cNvSpPr>
          <p:nvPr>
            <p:ph idx="1" hasCustomPrompt="1"/>
          </p:nvPr>
        </p:nvSpPr>
        <p:spPr bwMode="gray">
          <a:xfrm>
            <a:off x="335361" y="2060575"/>
            <a:ext cx="5184377" cy="4032249"/>
          </a:xfrm>
          <a:prstGeom prst="rect">
            <a:avLst/>
          </a:prstGeom>
        </p:spPr>
        <p:txBody>
          <a:bodyPr/>
          <a:lstStyle>
            <a:lvl1pPr>
              <a:defRPr/>
            </a:lvl1p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5" name="Picture Placeholder 4"/>
          <p:cNvSpPr>
            <a:spLocks noGrp="1"/>
          </p:cNvSpPr>
          <p:nvPr>
            <p:ph type="pic" sz="quarter" idx="17" hasCustomPrompt="1"/>
          </p:nvPr>
        </p:nvSpPr>
        <p:spPr bwMode="gray">
          <a:xfrm>
            <a:off x="6096000" y="2060575"/>
            <a:ext cx="5761038" cy="4032249"/>
          </a:xfrm>
          <a:prstGeom prst="rect">
            <a:avLst/>
          </a:prstGeom>
          <a:solidFill>
            <a:srgbClr val="D6D9DC"/>
          </a:solidFill>
        </p:spPr>
        <p:txBody>
          <a:bodyPr/>
          <a:lstStyle>
            <a:lvl1pPr marL="0" indent="0">
              <a:buNone/>
              <a:defRPr/>
            </a:lvl1pPr>
          </a:lstStyle>
          <a:p>
            <a:r>
              <a:rPr lang="en-GB"/>
              <a:t> </a:t>
            </a:r>
            <a:endParaRPr lang="en-GB" dirty="0"/>
          </a:p>
        </p:txBody>
      </p:sp>
      <p:sp>
        <p:nvSpPr>
          <p:cNvPr id="8" name="Datumsplatzhalter 7">
            <a:extLst>
              <a:ext uri="{FF2B5EF4-FFF2-40B4-BE49-F238E27FC236}">
                <a16:creationId xmlns:a16="http://schemas.microsoft.com/office/drawing/2014/main" id="{A8750777-45DF-39CE-98C6-76EB228D20A2}"/>
              </a:ext>
            </a:extLst>
          </p:cNvPr>
          <p:cNvSpPr>
            <a:spLocks noGrp="1"/>
          </p:cNvSpPr>
          <p:nvPr>
            <p:ph type="dt" sz="half" idx="19"/>
          </p:nvPr>
        </p:nvSpPr>
        <p:spPr/>
        <p:txBody>
          <a:bodyPr/>
          <a:lstStyle/>
          <a:p>
            <a:r>
              <a:rPr lang="en-US"/>
              <a:t>7/26/2022</a:t>
            </a:r>
            <a:endParaRPr lang="en-GB" dirty="0"/>
          </a:p>
        </p:txBody>
      </p:sp>
      <p:sp>
        <p:nvSpPr>
          <p:cNvPr id="12" name="Fußzeilenplatzhalter 11">
            <a:extLst>
              <a:ext uri="{FF2B5EF4-FFF2-40B4-BE49-F238E27FC236}">
                <a16:creationId xmlns:a16="http://schemas.microsoft.com/office/drawing/2014/main" id="{F14F79BD-34F5-E63D-52DE-7F3C3F725E8B}"/>
              </a:ext>
            </a:extLst>
          </p:cNvPr>
          <p:cNvSpPr>
            <a:spLocks noGrp="1"/>
          </p:cNvSpPr>
          <p:nvPr>
            <p:ph type="ftr" sz="quarter" idx="20"/>
          </p:nvPr>
        </p:nvSpPr>
        <p:spPr/>
        <p:txBody>
          <a:bodyPr/>
          <a:lstStyle/>
          <a:p>
            <a:r>
              <a:rPr lang="de-DE"/>
              <a:t>Der Konsument nach Corona und Consumer Voice</a:t>
            </a:r>
            <a:endParaRPr lang="de-DE" dirty="0"/>
          </a:p>
        </p:txBody>
      </p:sp>
      <p:sp>
        <p:nvSpPr>
          <p:cNvPr id="13" name="Foliennummernplatzhalter 12">
            <a:extLst>
              <a:ext uri="{FF2B5EF4-FFF2-40B4-BE49-F238E27FC236}">
                <a16:creationId xmlns:a16="http://schemas.microsoft.com/office/drawing/2014/main" id="{E4605AE2-41FD-098E-2CB0-745DC1244982}"/>
              </a:ext>
            </a:extLst>
          </p:cNvPr>
          <p:cNvSpPr>
            <a:spLocks noGrp="1"/>
          </p:cNvSpPr>
          <p:nvPr>
            <p:ph type="sldNum" sz="quarter" idx="21"/>
          </p:nvPr>
        </p:nvSpPr>
        <p:spPr/>
        <p:txBody>
          <a:bodyPr/>
          <a:lstStyle/>
          <a:p>
            <a:fld id="{CAEA825B-D749-4F0A-886E-8D45A39EAF2A}" type="slidenum">
              <a:rPr lang="de-DE" smtClean="0"/>
              <a:pPr/>
              <a:t>‹Nº›</a:t>
            </a:fld>
            <a:endParaRPr lang="de-DE"/>
          </a:p>
        </p:txBody>
      </p:sp>
      <p:sp>
        <p:nvSpPr>
          <p:cNvPr id="16" name="Subtitle">
            <a:extLst>
              <a:ext uri="{FF2B5EF4-FFF2-40B4-BE49-F238E27FC236}">
                <a16:creationId xmlns:a16="http://schemas.microsoft.com/office/drawing/2014/main" id="{5ED82D1B-DE32-8B17-5C23-1037B356ECDE}"/>
              </a:ext>
            </a:extLst>
          </p:cNvPr>
          <p:cNvSpPr>
            <a:spLocks noGrp="1"/>
          </p:cNvSpPr>
          <p:nvPr>
            <p:ph type="subTitle" idx="13" hasCustomPrompt="1"/>
          </p:nvPr>
        </p:nvSpPr>
        <p:spPr bwMode="gray">
          <a:xfrm>
            <a:off x="334964" y="659362"/>
            <a:ext cx="8641356" cy="360040"/>
          </a:xfrm>
          <a:prstGeom prst="rect">
            <a:avLst/>
          </a:prstGeom>
        </p:spPr>
        <p:txBody>
          <a:bodyPr wrap="none" tIns="0"/>
          <a:lstStyle>
            <a:lvl1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1pPr>
            <a:lvl2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2pPr>
            <a:lvl3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3pPr>
            <a:lvl4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4pPr>
            <a:lvl5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5pPr>
            <a:lvl6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6pPr>
            <a:lvl7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7pPr>
            <a:lvl8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8pPr>
            <a:lvl9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9pPr>
          </a:lstStyle>
          <a:p>
            <a:r>
              <a:rPr lang="en-GB" dirty="0"/>
              <a:t>Insert your sub-headline in </a:t>
            </a:r>
            <a:r>
              <a:rPr lang="en-GB" dirty="0" err="1"/>
              <a:t>Lato</a:t>
            </a:r>
            <a:r>
              <a:rPr lang="en-GB" dirty="0"/>
              <a:t> light 20 </a:t>
            </a:r>
            <a:r>
              <a:rPr lang="en-GB" dirty="0" err="1"/>
              <a:t>pt</a:t>
            </a:r>
            <a:r>
              <a:rPr lang="en-GB" dirty="0"/>
              <a:t> here</a:t>
            </a:r>
          </a:p>
        </p:txBody>
      </p:sp>
      <p:sp>
        <p:nvSpPr>
          <p:cNvPr id="41" name="Text Placeholder 4">
            <a:extLst>
              <a:ext uri="{FF2B5EF4-FFF2-40B4-BE49-F238E27FC236}">
                <a16:creationId xmlns:a16="http://schemas.microsoft.com/office/drawing/2014/main" id="{F5AAD56C-6B49-9F0A-5CA8-D884EADC2F0D}"/>
              </a:ext>
            </a:extLst>
          </p:cNvPr>
          <p:cNvSpPr>
            <a:spLocks noGrp="1"/>
          </p:cNvSpPr>
          <p:nvPr>
            <p:ph type="body" sz="quarter" idx="22" hasCustomPrompt="1"/>
          </p:nvPr>
        </p:nvSpPr>
        <p:spPr>
          <a:xfrm>
            <a:off x="1487488" y="6525344"/>
            <a:ext cx="9217024" cy="144016"/>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solidFill>
                  <a:schemeClr val="tx1"/>
                </a:solidFill>
              </a:defRPr>
            </a:lvl1pPr>
            <a:lvl2pPr marL="0" indent="0" algn="l">
              <a:lnSpc>
                <a:spcPct val="100000"/>
              </a:lnSpc>
              <a:spcBef>
                <a:spcPts val="0"/>
              </a:spcBef>
              <a:buFont typeface="Arial" panose="020B0604020202020204" pitchFamily="34" charset="0"/>
              <a:buNone/>
              <a:defRPr sz="900">
                <a:solidFill>
                  <a:schemeClr val="tx1"/>
                </a:solidFill>
              </a:defRPr>
            </a:lvl2pPr>
            <a:lvl3pPr marL="0" indent="0" algn="l">
              <a:lnSpc>
                <a:spcPct val="100000"/>
              </a:lnSpc>
              <a:spcBef>
                <a:spcPts val="0"/>
              </a:spcBef>
              <a:buFont typeface="Arial" panose="020B0604020202020204" pitchFamily="34" charset="0"/>
              <a:buNone/>
              <a:defRPr sz="900">
                <a:solidFill>
                  <a:schemeClr val="tx1"/>
                </a:solidFill>
              </a:defRPr>
            </a:lvl3pPr>
            <a:lvl4pPr marL="0" indent="0" algn="l">
              <a:lnSpc>
                <a:spcPct val="100000"/>
              </a:lnSpc>
              <a:spcBef>
                <a:spcPts val="0"/>
              </a:spcBef>
              <a:buFont typeface="Arial" panose="020B0604020202020204" pitchFamily="34" charset="0"/>
              <a:buNone/>
              <a:defRPr sz="900">
                <a:solidFill>
                  <a:schemeClr val="tx1"/>
                </a:solidFill>
              </a:defRPr>
            </a:lvl4pPr>
            <a:lvl5pPr marL="0" indent="0" algn="l">
              <a:lnSpc>
                <a:spcPct val="100000"/>
              </a:lnSpc>
              <a:spcBef>
                <a:spcPts val="0"/>
              </a:spcBef>
              <a:buFont typeface="Arial" panose="020B0604020202020204" pitchFamily="34" charset="0"/>
              <a:buNone/>
              <a:defRPr sz="900">
                <a:solidFill>
                  <a:schemeClr val="tx1"/>
                </a:solidFill>
              </a:defRPr>
            </a:lvl5pPr>
            <a:lvl6pPr marL="0" indent="0">
              <a:spcBef>
                <a:spcPts val="0"/>
              </a:spcBef>
              <a:buNone/>
              <a:defRPr sz="900">
                <a:solidFill>
                  <a:schemeClr val="tx1"/>
                </a:solidFill>
              </a:defRPr>
            </a:lvl6pPr>
            <a:lvl7pPr marL="0" indent="0">
              <a:spcBef>
                <a:spcPts val="0"/>
              </a:spcBef>
              <a:buNone/>
              <a:defRPr sz="900">
                <a:solidFill>
                  <a:schemeClr val="tx1"/>
                </a:solidFill>
              </a:defRPr>
            </a:lvl7pPr>
            <a:lvl8pPr marL="0" indent="0">
              <a:spcBef>
                <a:spcPts val="0"/>
              </a:spcBef>
              <a:buNone/>
              <a:defRPr sz="900">
                <a:solidFill>
                  <a:schemeClr val="tx1"/>
                </a:solidFill>
              </a:defRPr>
            </a:lvl8pPr>
            <a:lvl9pPr marL="0" indent="0">
              <a:spcBef>
                <a:spcPts val="0"/>
              </a:spcBef>
              <a:buNone/>
              <a:defRPr sz="900">
                <a:solidFill>
                  <a:schemeClr val="tx1"/>
                </a:solidFill>
              </a:defRPr>
            </a:lvl9pPr>
          </a:lstStyle>
          <a:p>
            <a:pPr lvl="0"/>
            <a:r>
              <a:rPr lang="de-DE" dirty="0"/>
              <a:t>Source, </a:t>
            </a:r>
            <a:r>
              <a:rPr lang="de-DE" dirty="0" err="1"/>
              <a:t>Footnote</a:t>
            </a:r>
            <a:endParaRPr lang="en-GB" dirty="0"/>
          </a:p>
        </p:txBody>
      </p:sp>
      <p:grpSp>
        <p:nvGrpSpPr>
          <p:cNvPr id="28" name="Gruppieren 27">
            <a:extLst>
              <a:ext uri="{FF2B5EF4-FFF2-40B4-BE49-F238E27FC236}">
                <a16:creationId xmlns:a16="http://schemas.microsoft.com/office/drawing/2014/main" id="{B2011940-F743-2416-1CA3-AB1446957A09}"/>
              </a:ext>
              <a:ext uri="{C183D7F6-B498-43B3-948B-1728B52AA6E4}">
                <adec:decorative xmlns:adec="http://schemas.microsoft.com/office/drawing/2017/decorative" val="1"/>
              </a:ext>
            </a:extLst>
          </p:cNvPr>
          <p:cNvGrpSpPr/>
          <p:nvPr userDrawn="1"/>
        </p:nvGrpSpPr>
        <p:grpSpPr>
          <a:xfrm>
            <a:off x="-168768" y="-171392"/>
            <a:ext cx="12025408" cy="6264688"/>
            <a:chOff x="-168768" y="-171392"/>
            <a:chExt cx="12025408" cy="6264688"/>
          </a:xfrm>
        </p:grpSpPr>
        <p:cxnSp>
          <p:nvCxnSpPr>
            <p:cNvPr id="29" name="Gerader Verbinder 28">
              <a:extLst>
                <a:ext uri="{FF2B5EF4-FFF2-40B4-BE49-F238E27FC236}">
                  <a16:creationId xmlns:a16="http://schemas.microsoft.com/office/drawing/2014/main" id="{EB5A538F-8FA3-C6BB-3818-D5282791A24D}"/>
                </a:ext>
              </a:extLst>
            </p:cNvPr>
            <p:cNvCxnSpPr/>
            <p:nvPr userDrawn="1"/>
          </p:nvCxnSpPr>
          <p:spPr bwMode="gray">
            <a:xfrm>
              <a:off x="33536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F8CE4638-EE27-7E82-F42B-CEBD43D5AEE8}"/>
                </a:ext>
              </a:extLst>
            </p:cNvPr>
            <p:cNvCxnSpPr/>
            <p:nvPr userDrawn="1"/>
          </p:nvCxnSpPr>
          <p:spPr bwMode="gray">
            <a:xfrm>
              <a:off x="436780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46E092F9-9C40-3628-C254-E5B2D9A6AA48}"/>
                </a:ext>
              </a:extLst>
            </p:cNvPr>
            <p:cNvCxnSpPr/>
            <p:nvPr userDrawn="1"/>
          </p:nvCxnSpPr>
          <p:spPr bwMode="gray">
            <a:xfrm>
              <a:off x="494387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4E098906-0864-2358-6AC2-16664A60A97E}"/>
                </a:ext>
              </a:extLst>
            </p:cNvPr>
            <p:cNvCxnSpPr/>
            <p:nvPr userDrawn="1"/>
          </p:nvCxnSpPr>
          <p:spPr bwMode="gray">
            <a:xfrm>
              <a:off x="667206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5A42C355-C105-CA03-0A90-7588743C5293}"/>
                </a:ext>
              </a:extLst>
            </p:cNvPr>
            <p:cNvCxnSpPr/>
            <p:nvPr userDrawn="1"/>
          </p:nvCxnSpPr>
          <p:spPr bwMode="gray">
            <a:xfrm>
              <a:off x="609600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7D516135-5062-7FCF-655B-24C56F5F43E8}"/>
                </a:ext>
              </a:extLst>
            </p:cNvPr>
            <p:cNvCxnSpPr/>
            <p:nvPr userDrawn="1"/>
          </p:nvCxnSpPr>
          <p:spPr bwMode="gray">
            <a:xfrm>
              <a:off x="724812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DD65C410-B0E9-BB6C-1199-12596C94B291}"/>
                </a:ext>
              </a:extLst>
            </p:cNvPr>
            <p:cNvCxnSpPr/>
            <p:nvPr userDrawn="1"/>
          </p:nvCxnSpPr>
          <p:spPr bwMode="gray">
            <a:xfrm>
              <a:off x="782419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6560C0B6-36AF-3938-944D-06AA0ED9FAAB}"/>
                </a:ext>
              </a:extLst>
            </p:cNvPr>
            <p:cNvCxnSpPr/>
            <p:nvPr userDrawn="1"/>
          </p:nvCxnSpPr>
          <p:spPr bwMode="gray">
            <a:xfrm>
              <a:off x="840025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448B40C0-F1A9-BFF9-ED6F-0B8DB794787D}"/>
                </a:ext>
              </a:extLst>
            </p:cNvPr>
            <p:cNvCxnSpPr/>
            <p:nvPr userDrawn="1"/>
          </p:nvCxnSpPr>
          <p:spPr bwMode="gray">
            <a:xfrm>
              <a:off x="897632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B98F384A-95BE-D4A2-24F0-DDABF8AD7AEA}"/>
                </a:ext>
              </a:extLst>
            </p:cNvPr>
            <p:cNvCxnSpPr/>
            <p:nvPr userDrawn="1"/>
          </p:nvCxnSpPr>
          <p:spPr bwMode="gray">
            <a:xfrm>
              <a:off x="1128057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CB6CFCED-7F38-F2C4-C7DE-3DD6C5EE678E}"/>
                </a:ext>
              </a:extLst>
            </p:cNvPr>
            <p:cNvCxnSpPr/>
            <p:nvPr userDrawn="1"/>
          </p:nvCxnSpPr>
          <p:spPr bwMode="gray">
            <a:xfrm>
              <a:off x="1185664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8D7772C-E368-9ABA-0CFF-6632615FA97A}"/>
                </a:ext>
              </a:extLst>
            </p:cNvPr>
            <p:cNvCxnSpPr>
              <a:cxnSpLocks/>
            </p:cNvCxnSpPr>
            <p:nvPr userDrawn="1"/>
          </p:nvCxnSpPr>
          <p:spPr bwMode="gray">
            <a:xfrm rot="5400000">
              <a:off x="-132688" y="29665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BB959AC7-2379-FAA0-1FD2-422343026EF8}"/>
                </a:ext>
              </a:extLst>
            </p:cNvPr>
            <p:cNvCxnSpPr/>
            <p:nvPr userDrawn="1"/>
          </p:nvCxnSpPr>
          <p:spPr bwMode="gray">
            <a:xfrm>
              <a:off x="321568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64D28B8A-7994-FB6A-D985-122068D6D450}"/>
                </a:ext>
              </a:extLst>
            </p:cNvPr>
            <p:cNvCxnSpPr/>
            <p:nvPr userDrawn="1"/>
          </p:nvCxnSpPr>
          <p:spPr bwMode="gray">
            <a:xfrm>
              <a:off x="379174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B9DD28AB-D573-98DA-00EC-090241EA390B}"/>
                </a:ext>
              </a:extLst>
            </p:cNvPr>
            <p:cNvCxnSpPr>
              <a:cxnSpLocks/>
            </p:cNvCxnSpPr>
            <p:nvPr userDrawn="1"/>
          </p:nvCxnSpPr>
          <p:spPr bwMode="gray">
            <a:xfrm rot="5400000">
              <a:off x="-132704" y="87272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B2F3C9C3-1A7C-E95B-F0EC-6A344A1FA2A5}"/>
                </a:ext>
              </a:extLst>
            </p:cNvPr>
            <p:cNvCxnSpPr>
              <a:cxnSpLocks/>
            </p:cNvCxnSpPr>
            <p:nvPr userDrawn="1"/>
          </p:nvCxnSpPr>
          <p:spPr bwMode="gray">
            <a:xfrm rot="5400000">
              <a:off x="-132712" y="202484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B448C787-1F88-C334-9BA2-FF68558527BC}"/>
                </a:ext>
              </a:extLst>
            </p:cNvPr>
            <p:cNvCxnSpPr>
              <a:cxnSpLocks/>
            </p:cNvCxnSpPr>
            <p:nvPr userDrawn="1"/>
          </p:nvCxnSpPr>
          <p:spPr bwMode="gray">
            <a:xfrm rot="5400000">
              <a:off x="-132768" y="605729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69A8901F-0394-274A-A07B-1364C375787F}"/>
                </a:ext>
              </a:extLst>
            </p:cNvPr>
            <p:cNvCxnSpPr/>
            <p:nvPr/>
          </p:nvCxnSpPr>
          <p:spPr bwMode="gray">
            <a:xfrm>
              <a:off x="1070451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CB5CD8C9-61FC-0E04-38DF-4D15717975CD}"/>
                </a:ext>
              </a:extLst>
            </p:cNvPr>
            <p:cNvCxnSpPr/>
            <p:nvPr/>
          </p:nvCxnSpPr>
          <p:spPr bwMode="gray">
            <a:xfrm>
              <a:off x="1012844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0B39C2AC-3596-8D42-126E-9236D2BF0BA2}"/>
                </a:ext>
              </a:extLst>
            </p:cNvPr>
            <p:cNvCxnSpPr/>
            <p:nvPr/>
          </p:nvCxnSpPr>
          <p:spPr bwMode="gray">
            <a:xfrm>
              <a:off x="955059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A68451E5-522C-6C52-B53E-8436EE02D013}"/>
                </a:ext>
              </a:extLst>
            </p:cNvPr>
            <p:cNvCxnSpPr/>
            <p:nvPr/>
          </p:nvCxnSpPr>
          <p:spPr bwMode="gray">
            <a:xfrm>
              <a:off x="551973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902DB303-D441-CB91-1E67-89B18DF6A057}"/>
                </a:ext>
              </a:extLst>
            </p:cNvPr>
            <p:cNvCxnSpPr/>
            <p:nvPr/>
          </p:nvCxnSpPr>
          <p:spPr bwMode="gray">
            <a:xfrm>
              <a:off x="263961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B18F0824-2508-1130-AC29-4E2DF236B063}"/>
                </a:ext>
              </a:extLst>
            </p:cNvPr>
            <p:cNvCxnSpPr/>
            <p:nvPr/>
          </p:nvCxnSpPr>
          <p:spPr bwMode="gray">
            <a:xfrm>
              <a:off x="206355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190EBFE8-815D-349E-EC11-300F45B90F8F}"/>
                </a:ext>
              </a:extLst>
            </p:cNvPr>
            <p:cNvCxnSpPr/>
            <p:nvPr/>
          </p:nvCxnSpPr>
          <p:spPr bwMode="gray">
            <a:xfrm>
              <a:off x="148748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B403BDAD-857A-F8E8-3CAA-B2B644FB14D2}"/>
                </a:ext>
              </a:extLst>
            </p:cNvPr>
            <p:cNvCxnSpPr/>
            <p:nvPr/>
          </p:nvCxnSpPr>
          <p:spPr bwMode="gray">
            <a:xfrm>
              <a:off x="91142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A476C5BD-873C-B470-3F03-7CABF0A2836F}"/>
                </a:ext>
              </a:extLst>
            </p:cNvPr>
            <p:cNvCxnSpPr>
              <a:cxnSpLocks/>
            </p:cNvCxnSpPr>
            <p:nvPr/>
          </p:nvCxnSpPr>
          <p:spPr bwMode="gray">
            <a:xfrm rot="5400000">
              <a:off x="-132704" y="144878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A5C0BE80-146A-BBAB-261A-16DCFD97DB0C}"/>
                </a:ext>
              </a:extLst>
            </p:cNvPr>
            <p:cNvCxnSpPr>
              <a:cxnSpLocks/>
            </p:cNvCxnSpPr>
            <p:nvPr/>
          </p:nvCxnSpPr>
          <p:spPr bwMode="gray">
            <a:xfrm rot="5400000">
              <a:off x="-132712" y="260091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296BE370-46ED-1B20-FD46-25DBF1C74068}"/>
                </a:ext>
              </a:extLst>
            </p:cNvPr>
            <p:cNvCxnSpPr>
              <a:cxnSpLocks/>
            </p:cNvCxnSpPr>
            <p:nvPr/>
          </p:nvCxnSpPr>
          <p:spPr bwMode="gray">
            <a:xfrm rot="5400000">
              <a:off x="-132712" y="317697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E4C6563C-8F74-A87F-9484-B65EDBF69B54}"/>
                </a:ext>
              </a:extLst>
            </p:cNvPr>
            <p:cNvCxnSpPr>
              <a:cxnSpLocks/>
            </p:cNvCxnSpPr>
            <p:nvPr/>
          </p:nvCxnSpPr>
          <p:spPr bwMode="gray">
            <a:xfrm rot="5400000">
              <a:off x="-132712" y="375304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BC02F02B-6FC4-174D-1C1D-1F6FE7CA921B}"/>
                </a:ext>
              </a:extLst>
            </p:cNvPr>
            <p:cNvCxnSpPr>
              <a:cxnSpLocks/>
            </p:cNvCxnSpPr>
            <p:nvPr/>
          </p:nvCxnSpPr>
          <p:spPr bwMode="gray">
            <a:xfrm rot="5400000">
              <a:off x="-132712" y="432910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7801FD70-3997-18D2-485F-DF0C5E8E95CF}"/>
                </a:ext>
              </a:extLst>
            </p:cNvPr>
            <p:cNvCxnSpPr>
              <a:cxnSpLocks/>
            </p:cNvCxnSpPr>
            <p:nvPr/>
          </p:nvCxnSpPr>
          <p:spPr bwMode="gray">
            <a:xfrm rot="5400000">
              <a:off x="-132712" y="490516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id="{F8C86943-ECC4-290D-9993-A6D5E149D49F}"/>
                </a:ext>
              </a:extLst>
            </p:cNvPr>
            <p:cNvCxnSpPr>
              <a:cxnSpLocks/>
            </p:cNvCxnSpPr>
            <p:nvPr/>
          </p:nvCxnSpPr>
          <p:spPr bwMode="gray">
            <a:xfrm rot="5400000">
              <a:off x="-132712" y="548123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69894910"/>
      </p:ext>
    </p:extLst>
  </p:cSld>
  <p:clrMapOvr>
    <a:masterClrMapping/>
  </p:clrMapOvr>
  <p:extLst>
    <p:ext uri="{DCECCB84-F9BA-43D5-87BE-67443E8EF086}">
      <p15:sldGuideLst xmlns:p15="http://schemas.microsoft.com/office/powerpoint/2012/main">
        <p15:guide id="1" orient="horz" pos="1298" userDrawn="1">
          <p15:clr>
            <a:srgbClr val="FBAE40"/>
          </p15:clr>
        </p15:guide>
        <p15:guide id="2" pos="211" userDrawn="1">
          <p15:clr>
            <a:srgbClr val="FBAE40"/>
          </p15:clr>
        </p15:guide>
        <p15:guide id="3" pos="3477" userDrawn="1">
          <p15:clr>
            <a:srgbClr val="FBAE40"/>
          </p15:clr>
        </p15:guide>
        <p15:guide id="4" orient="horz" pos="3838" userDrawn="1">
          <p15:clr>
            <a:srgbClr val="FBAE40"/>
          </p15:clr>
        </p15:guide>
        <p15:guide id="5" pos="3840" userDrawn="1">
          <p15:clr>
            <a:srgbClr val="FBAE40"/>
          </p15:clr>
        </p15:guide>
        <p15:guide id="6" pos="7469"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 Two contents and pictur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5ED7002-F83A-6B8F-D9E6-17546EE8A370}"/>
              </a:ext>
            </a:extLst>
          </p:cNvPr>
          <p:cNvGraphicFramePr>
            <a:graphicFrameLocks noChangeAspect="1"/>
          </p:cNvGraphicFramePr>
          <p:nvPr userDrawn="1">
            <p:custDataLst>
              <p:tags r:id="rId1"/>
            </p:custDataLst>
            <p:extLst>
              <p:ext uri="{D42A27DB-BD31-4B8C-83A1-F6EECF244321}">
                <p14:modId xmlns:p14="http://schemas.microsoft.com/office/powerpoint/2010/main" val="482179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4" name="Objekt 3" hidden="1">
                        <a:extLst>
                          <a:ext uri="{FF2B5EF4-FFF2-40B4-BE49-F238E27FC236}">
                            <a16:creationId xmlns:a16="http://schemas.microsoft.com/office/drawing/2014/main" id="{05ED7002-F83A-6B8F-D9E6-17546EE8A3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a:extLst>
              <a:ext uri="{FF2B5EF4-FFF2-40B4-BE49-F238E27FC236}">
                <a16:creationId xmlns:a16="http://schemas.microsoft.com/office/drawing/2014/main" id="{88B08B0E-0F2C-4F39-8C83-40D56780A439}"/>
              </a:ext>
            </a:extLst>
          </p:cNvPr>
          <p:cNvSpPr>
            <a:spLocks noGrp="1"/>
          </p:cNvSpPr>
          <p:nvPr>
            <p:ph type="title" hasCustomPrompt="1"/>
          </p:nvPr>
        </p:nvSpPr>
        <p:spPr bwMode="gray">
          <a:xfrm>
            <a:off x="334964" y="260648"/>
            <a:ext cx="8641356" cy="369332"/>
          </a:xfrm>
        </p:spPr>
        <p:txBody>
          <a:bodyPr vert="horz"/>
          <a:lstStyle>
            <a:lvl1pPr>
              <a:defRPr/>
            </a:lvl1pPr>
          </a:lstStyle>
          <a:p>
            <a:r>
              <a:rPr lang="en-GB" dirty="0"/>
              <a:t>Insert your headline in </a:t>
            </a:r>
            <a:r>
              <a:rPr lang="en-GB" dirty="0" err="1"/>
              <a:t>Lato</a:t>
            </a:r>
            <a:r>
              <a:rPr lang="en-GB" dirty="0"/>
              <a:t> Heavy 24 </a:t>
            </a:r>
            <a:r>
              <a:rPr lang="en-GB" dirty="0" err="1"/>
              <a:t>pt</a:t>
            </a:r>
            <a:r>
              <a:rPr lang="en-GB" dirty="0"/>
              <a:t> here</a:t>
            </a:r>
          </a:p>
        </p:txBody>
      </p:sp>
      <p:sp>
        <p:nvSpPr>
          <p:cNvPr id="3" name="Content Placeholder 2"/>
          <p:cNvSpPr>
            <a:spLocks noGrp="1"/>
          </p:cNvSpPr>
          <p:nvPr>
            <p:ph idx="1" hasCustomPrompt="1"/>
          </p:nvPr>
        </p:nvSpPr>
        <p:spPr bwMode="gray">
          <a:xfrm>
            <a:off x="335360" y="2060575"/>
            <a:ext cx="2303463" cy="4032250"/>
          </a:xfrm>
          <a:prstGeom prst="rect">
            <a:avLst/>
          </a:prstGeom>
        </p:spPr>
        <p:txBody>
          <a:bodyPr/>
          <a:lstStyle>
            <a:lvl1pPr>
              <a:defRPr/>
            </a:lvl1p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1" name="Content Placeholder 2">
            <a:extLst>
              <a:ext uri="{FF2B5EF4-FFF2-40B4-BE49-F238E27FC236}">
                <a16:creationId xmlns:a16="http://schemas.microsoft.com/office/drawing/2014/main" id="{603689BB-5D3D-4CA0-AB51-B4084500818D}"/>
              </a:ext>
            </a:extLst>
          </p:cNvPr>
          <p:cNvSpPr>
            <a:spLocks noGrp="1"/>
          </p:cNvSpPr>
          <p:nvPr>
            <p:ph idx="21" hasCustomPrompt="1"/>
          </p:nvPr>
        </p:nvSpPr>
        <p:spPr bwMode="gray">
          <a:xfrm>
            <a:off x="3216275" y="2060575"/>
            <a:ext cx="2303463" cy="4032250"/>
          </a:xfrm>
          <a:prstGeom prst="rect">
            <a:avLst/>
          </a:prstGeom>
        </p:spPr>
        <p:txBody>
          <a:bodyPr/>
          <a:lstStyle>
            <a:lvl1pPr>
              <a:defRPr/>
            </a:lvl1p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5" name="Picture Placeholder 4"/>
          <p:cNvSpPr>
            <a:spLocks noGrp="1"/>
          </p:cNvSpPr>
          <p:nvPr>
            <p:ph type="pic" sz="quarter" idx="17" hasCustomPrompt="1"/>
          </p:nvPr>
        </p:nvSpPr>
        <p:spPr bwMode="gray">
          <a:xfrm>
            <a:off x="6096000" y="2060575"/>
            <a:ext cx="5761036" cy="4032250"/>
          </a:xfrm>
          <a:prstGeom prst="rect">
            <a:avLst/>
          </a:prstGeom>
          <a:solidFill>
            <a:srgbClr val="D6D9DC"/>
          </a:solidFill>
        </p:spPr>
        <p:txBody>
          <a:bodyPr/>
          <a:lstStyle>
            <a:lvl1pPr marL="0" indent="0">
              <a:buNone/>
              <a:defRPr/>
            </a:lvl1pPr>
          </a:lstStyle>
          <a:p>
            <a:r>
              <a:rPr lang="en-GB"/>
              <a:t> </a:t>
            </a:r>
            <a:endParaRPr lang="en-GB" dirty="0"/>
          </a:p>
        </p:txBody>
      </p:sp>
      <p:sp>
        <p:nvSpPr>
          <p:cNvPr id="8" name="Datumsplatzhalter 7">
            <a:extLst>
              <a:ext uri="{FF2B5EF4-FFF2-40B4-BE49-F238E27FC236}">
                <a16:creationId xmlns:a16="http://schemas.microsoft.com/office/drawing/2014/main" id="{3B1ED0D1-BB92-A209-12CB-5E66868A7162}"/>
              </a:ext>
            </a:extLst>
          </p:cNvPr>
          <p:cNvSpPr>
            <a:spLocks noGrp="1"/>
          </p:cNvSpPr>
          <p:nvPr>
            <p:ph type="dt" sz="half" idx="22"/>
          </p:nvPr>
        </p:nvSpPr>
        <p:spPr/>
        <p:txBody>
          <a:bodyPr/>
          <a:lstStyle/>
          <a:p>
            <a:r>
              <a:rPr lang="en-US"/>
              <a:t>7/26/2022</a:t>
            </a:r>
            <a:endParaRPr lang="en-GB" dirty="0"/>
          </a:p>
        </p:txBody>
      </p:sp>
      <p:sp>
        <p:nvSpPr>
          <p:cNvPr id="13" name="Fußzeilenplatzhalter 12">
            <a:extLst>
              <a:ext uri="{FF2B5EF4-FFF2-40B4-BE49-F238E27FC236}">
                <a16:creationId xmlns:a16="http://schemas.microsoft.com/office/drawing/2014/main" id="{D6FE0B10-8CE7-A395-6702-FCCB8373E5C5}"/>
              </a:ext>
            </a:extLst>
          </p:cNvPr>
          <p:cNvSpPr>
            <a:spLocks noGrp="1"/>
          </p:cNvSpPr>
          <p:nvPr>
            <p:ph type="ftr" sz="quarter" idx="23"/>
          </p:nvPr>
        </p:nvSpPr>
        <p:spPr/>
        <p:txBody>
          <a:bodyPr/>
          <a:lstStyle/>
          <a:p>
            <a:r>
              <a:rPr lang="de-DE"/>
              <a:t>Der Konsument nach Corona und Consumer Voice</a:t>
            </a:r>
            <a:endParaRPr lang="de-DE" dirty="0"/>
          </a:p>
        </p:txBody>
      </p:sp>
      <p:sp>
        <p:nvSpPr>
          <p:cNvPr id="14" name="Foliennummernplatzhalter 13">
            <a:extLst>
              <a:ext uri="{FF2B5EF4-FFF2-40B4-BE49-F238E27FC236}">
                <a16:creationId xmlns:a16="http://schemas.microsoft.com/office/drawing/2014/main" id="{7C71C22B-0CF1-3788-7480-93CAD59FC73D}"/>
              </a:ext>
            </a:extLst>
          </p:cNvPr>
          <p:cNvSpPr>
            <a:spLocks noGrp="1"/>
          </p:cNvSpPr>
          <p:nvPr>
            <p:ph type="sldNum" sz="quarter" idx="24"/>
          </p:nvPr>
        </p:nvSpPr>
        <p:spPr/>
        <p:txBody>
          <a:bodyPr/>
          <a:lstStyle/>
          <a:p>
            <a:fld id="{CAEA825B-D749-4F0A-886E-8D45A39EAF2A}" type="slidenum">
              <a:rPr lang="de-DE" smtClean="0"/>
              <a:pPr/>
              <a:t>‹Nº›</a:t>
            </a:fld>
            <a:endParaRPr lang="de-DE"/>
          </a:p>
        </p:txBody>
      </p:sp>
      <p:sp>
        <p:nvSpPr>
          <p:cNvPr id="15" name="Subtitle">
            <a:extLst>
              <a:ext uri="{FF2B5EF4-FFF2-40B4-BE49-F238E27FC236}">
                <a16:creationId xmlns:a16="http://schemas.microsoft.com/office/drawing/2014/main" id="{019412FF-6722-F213-6E11-8C363A76C104}"/>
              </a:ext>
            </a:extLst>
          </p:cNvPr>
          <p:cNvSpPr>
            <a:spLocks noGrp="1"/>
          </p:cNvSpPr>
          <p:nvPr>
            <p:ph type="subTitle" idx="13" hasCustomPrompt="1"/>
          </p:nvPr>
        </p:nvSpPr>
        <p:spPr bwMode="gray">
          <a:xfrm>
            <a:off x="334963" y="659362"/>
            <a:ext cx="8641357" cy="360040"/>
          </a:xfrm>
          <a:prstGeom prst="rect">
            <a:avLst/>
          </a:prstGeom>
        </p:spPr>
        <p:txBody>
          <a:bodyPr wrap="none" tIns="0"/>
          <a:lstStyle>
            <a:lvl1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1pPr>
            <a:lvl2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2pPr>
            <a:lvl3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3pPr>
            <a:lvl4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4pPr>
            <a:lvl5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5pPr>
            <a:lvl6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6pPr>
            <a:lvl7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7pPr>
            <a:lvl8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8pPr>
            <a:lvl9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9pPr>
          </a:lstStyle>
          <a:p>
            <a:r>
              <a:rPr lang="en-GB" dirty="0"/>
              <a:t>Insert your sub-headline in </a:t>
            </a:r>
            <a:r>
              <a:rPr lang="en-GB" dirty="0" err="1"/>
              <a:t>Lato</a:t>
            </a:r>
            <a:r>
              <a:rPr lang="en-GB" dirty="0"/>
              <a:t> light 20 </a:t>
            </a:r>
            <a:r>
              <a:rPr lang="en-GB" dirty="0" err="1"/>
              <a:t>pt</a:t>
            </a:r>
            <a:r>
              <a:rPr lang="en-GB" dirty="0"/>
              <a:t> here</a:t>
            </a:r>
          </a:p>
        </p:txBody>
      </p:sp>
      <p:sp>
        <p:nvSpPr>
          <p:cNvPr id="16" name="Source">
            <a:extLst>
              <a:ext uri="{FF2B5EF4-FFF2-40B4-BE49-F238E27FC236}">
                <a16:creationId xmlns:a16="http://schemas.microsoft.com/office/drawing/2014/main" id="{59B05139-1B3B-EED0-0B6D-4FEB458BD6D5}"/>
              </a:ext>
            </a:extLst>
          </p:cNvPr>
          <p:cNvSpPr>
            <a:spLocks noGrp="1"/>
          </p:cNvSpPr>
          <p:nvPr>
            <p:ph type="body" sz="quarter" idx="25"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grpSp>
        <p:nvGrpSpPr>
          <p:cNvPr id="29" name="Gruppieren 28">
            <a:extLst>
              <a:ext uri="{FF2B5EF4-FFF2-40B4-BE49-F238E27FC236}">
                <a16:creationId xmlns:a16="http://schemas.microsoft.com/office/drawing/2014/main" id="{FFFD3AD1-3A5F-86D0-1754-AE23B12DDFC1}"/>
              </a:ext>
              <a:ext uri="{C183D7F6-B498-43B3-948B-1728B52AA6E4}">
                <adec:decorative xmlns:adec="http://schemas.microsoft.com/office/drawing/2017/decorative" val="1"/>
              </a:ext>
            </a:extLst>
          </p:cNvPr>
          <p:cNvGrpSpPr/>
          <p:nvPr userDrawn="1"/>
        </p:nvGrpSpPr>
        <p:grpSpPr>
          <a:xfrm>
            <a:off x="-168768" y="-171392"/>
            <a:ext cx="12025408" cy="6264688"/>
            <a:chOff x="-168768" y="-171392"/>
            <a:chExt cx="12025408" cy="6264688"/>
          </a:xfrm>
        </p:grpSpPr>
        <p:cxnSp>
          <p:nvCxnSpPr>
            <p:cNvPr id="30" name="Gerader Verbinder 29">
              <a:extLst>
                <a:ext uri="{FF2B5EF4-FFF2-40B4-BE49-F238E27FC236}">
                  <a16:creationId xmlns:a16="http://schemas.microsoft.com/office/drawing/2014/main" id="{E958BD63-9A78-3F4F-6FB5-CC4AC348FF44}"/>
                </a:ext>
              </a:extLst>
            </p:cNvPr>
            <p:cNvCxnSpPr/>
            <p:nvPr userDrawn="1"/>
          </p:nvCxnSpPr>
          <p:spPr bwMode="gray">
            <a:xfrm>
              <a:off x="33536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47D2DBE-9F3E-C0F0-7407-06AB52F575B7}"/>
                </a:ext>
              </a:extLst>
            </p:cNvPr>
            <p:cNvCxnSpPr/>
            <p:nvPr userDrawn="1"/>
          </p:nvCxnSpPr>
          <p:spPr bwMode="gray">
            <a:xfrm>
              <a:off x="436780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C9EA1A7E-DC77-8A6F-12B0-851B70C95771}"/>
                </a:ext>
              </a:extLst>
            </p:cNvPr>
            <p:cNvCxnSpPr/>
            <p:nvPr userDrawn="1"/>
          </p:nvCxnSpPr>
          <p:spPr bwMode="gray">
            <a:xfrm>
              <a:off x="494387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30FD1091-5276-7B02-595D-9B373F1EAA3C}"/>
                </a:ext>
              </a:extLst>
            </p:cNvPr>
            <p:cNvCxnSpPr/>
            <p:nvPr userDrawn="1"/>
          </p:nvCxnSpPr>
          <p:spPr bwMode="gray">
            <a:xfrm>
              <a:off x="667206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2482208D-E74E-8946-4520-00D307C63122}"/>
                </a:ext>
              </a:extLst>
            </p:cNvPr>
            <p:cNvCxnSpPr/>
            <p:nvPr userDrawn="1"/>
          </p:nvCxnSpPr>
          <p:spPr bwMode="gray">
            <a:xfrm>
              <a:off x="609600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A4A2E355-2A22-F7A7-32DA-64A0AF08DA97}"/>
                </a:ext>
              </a:extLst>
            </p:cNvPr>
            <p:cNvCxnSpPr/>
            <p:nvPr userDrawn="1"/>
          </p:nvCxnSpPr>
          <p:spPr bwMode="gray">
            <a:xfrm>
              <a:off x="724812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ECC6CC2B-60B7-8EC9-99A3-2393B9FE003E}"/>
                </a:ext>
              </a:extLst>
            </p:cNvPr>
            <p:cNvCxnSpPr/>
            <p:nvPr userDrawn="1"/>
          </p:nvCxnSpPr>
          <p:spPr bwMode="gray">
            <a:xfrm>
              <a:off x="782419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48D1D7C2-27BE-1ED1-3864-D036E86A1749}"/>
                </a:ext>
              </a:extLst>
            </p:cNvPr>
            <p:cNvCxnSpPr/>
            <p:nvPr userDrawn="1"/>
          </p:nvCxnSpPr>
          <p:spPr bwMode="gray">
            <a:xfrm>
              <a:off x="840025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DF5C382E-129D-4904-CE48-AE3C01BB479B}"/>
                </a:ext>
              </a:extLst>
            </p:cNvPr>
            <p:cNvCxnSpPr/>
            <p:nvPr userDrawn="1"/>
          </p:nvCxnSpPr>
          <p:spPr bwMode="gray">
            <a:xfrm>
              <a:off x="897632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5363FEF9-7F6A-B222-906C-B5414C1A6B13}"/>
                </a:ext>
              </a:extLst>
            </p:cNvPr>
            <p:cNvCxnSpPr/>
            <p:nvPr userDrawn="1"/>
          </p:nvCxnSpPr>
          <p:spPr bwMode="gray">
            <a:xfrm>
              <a:off x="1128057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24D45F17-8614-0604-A820-2001EA932014}"/>
                </a:ext>
              </a:extLst>
            </p:cNvPr>
            <p:cNvCxnSpPr/>
            <p:nvPr userDrawn="1"/>
          </p:nvCxnSpPr>
          <p:spPr bwMode="gray">
            <a:xfrm>
              <a:off x="1185664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7CE4C2FB-8AF6-437F-6A23-70AA6C188FD1}"/>
                </a:ext>
              </a:extLst>
            </p:cNvPr>
            <p:cNvCxnSpPr>
              <a:cxnSpLocks/>
            </p:cNvCxnSpPr>
            <p:nvPr userDrawn="1"/>
          </p:nvCxnSpPr>
          <p:spPr bwMode="gray">
            <a:xfrm rot="5400000">
              <a:off x="-132688" y="29665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F06A52B2-391E-E811-2849-E788301CCA32}"/>
                </a:ext>
              </a:extLst>
            </p:cNvPr>
            <p:cNvCxnSpPr/>
            <p:nvPr userDrawn="1"/>
          </p:nvCxnSpPr>
          <p:spPr bwMode="gray">
            <a:xfrm>
              <a:off x="321568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948F11C1-F679-35AF-DD72-E0E6A202FDB7}"/>
                </a:ext>
              </a:extLst>
            </p:cNvPr>
            <p:cNvCxnSpPr/>
            <p:nvPr userDrawn="1"/>
          </p:nvCxnSpPr>
          <p:spPr bwMode="gray">
            <a:xfrm>
              <a:off x="379174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E3512488-CD6F-DAA5-37E5-0A82290ADD76}"/>
                </a:ext>
              </a:extLst>
            </p:cNvPr>
            <p:cNvCxnSpPr>
              <a:cxnSpLocks/>
            </p:cNvCxnSpPr>
            <p:nvPr userDrawn="1"/>
          </p:nvCxnSpPr>
          <p:spPr bwMode="gray">
            <a:xfrm rot="5400000">
              <a:off x="-132704" y="87272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E2CA7F89-4781-CABC-C38D-C8B15AD88B24}"/>
                </a:ext>
              </a:extLst>
            </p:cNvPr>
            <p:cNvCxnSpPr>
              <a:cxnSpLocks/>
            </p:cNvCxnSpPr>
            <p:nvPr userDrawn="1"/>
          </p:nvCxnSpPr>
          <p:spPr bwMode="gray">
            <a:xfrm rot="5400000">
              <a:off x="-132712" y="202484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1599C92F-D7D6-11B3-B625-7C47A43DD4BB}"/>
                </a:ext>
              </a:extLst>
            </p:cNvPr>
            <p:cNvCxnSpPr>
              <a:cxnSpLocks/>
            </p:cNvCxnSpPr>
            <p:nvPr userDrawn="1"/>
          </p:nvCxnSpPr>
          <p:spPr bwMode="gray">
            <a:xfrm rot="5400000">
              <a:off x="-132768" y="605729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5F7E4E66-F5F0-9DB4-736D-0D5E668372BE}"/>
                </a:ext>
              </a:extLst>
            </p:cNvPr>
            <p:cNvCxnSpPr/>
            <p:nvPr/>
          </p:nvCxnSpPr>
          <p:spPr bwMode="gray">
            <a:xfrm>
              <a:off x="1070451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572A89D7-B6CA-3B49-D3E7-F6CF59FAD173}"/>
                </a:ext>
              </a:extLst>
            </p:cNvPr>
            <p:cNvCxnSpPr/>
            <p:nvPr/>
          </p:nvCxnSpPr>
          <p:spPr bwMode="gray">
            <a:xfrm>
              <a:off x="1012844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F1308764-6681-CBBE-E0AC-93761C28F9C8}"/>
                </a:ext>
              </a:extLst>
            </p:cNvPr>
            <p:cNvCxnSpPr/>
            <p:nvPr/>
          </p:nvCxnSpPr>
          <p:spPr bwMode="gray">
            <a:xfrm>
              <a:off x="955059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80B5EC5A-0EB6-2006-DD61-1C1C2144BF87}"/>
                </a:ext>
              </a:extLst>
            </p:cNvPr>
            <p:cNvCxnSpPr/>
            <p:nvPr/>
          </p:nvCxnSpPr>
          <p:spPr bwMode="gray">
            <a:xfrm>
              <a:off x="551973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6B8315B2-0539-B655-05B4-EADEA1153939}"/>
                </a:ext>
              </a:extLst>
            </p:cNvPr>
            <p:cNvCxnSpPr/>
            <p:nvPr/>
          </p:nvCxnSpPr>
          <p:spPr bwMode="gray">
            <a:xfrm>
              <a:off x="263961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398460DC-7AB0-13D8-A248-E12478299181}"/>
                </a:ext>
              </a:extLst>
            </p:cNvPr>
            <p:cNvCxnSpPr/>
            <p:nvPr/>
          </p:nvCxnSpPr>
          <p:spPr bwMode="gray">
            <a:xfrm>
              <a:off x="206355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443564B1-571E-AD09-364F-DD599D5F1484}"/>
                </a:ext>
              </a:extLst>
            </p:cNvPr>
            <p:cNvCxnSpPr/>
            <p:nvPr/>
          </p:nvCxnSpPr>
          <p:spPr bwMode="gray">
            <a:xfrm>
              <a:off x="148748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73AF4833-FF69-99ED-2FFC-86A530ABAC9A}"/>
                </a:ext>
              </a:extLst>
            </p:cNvPr>
            <p:cNvCxnSpPr/>
            <p:nvPr/>
          </p:nvCxnSpPr>
          <p:spPr bwMode="gray">
            <a:xfrm>
              <a:off x="91142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1C256CF4-BA21-6395-C8DE-50D2BFB6A149}"/>
                </a:ext>
              </a:extLst>
            </p:cNvPr>
            <p:cNvCxnSpPr>
              <a:cxnSpLocks/>
            </p:cNvCxnSpPr>
            <p:nvPr/>
          </p:nvCxnSpPr>
          <p:spPr bwMode="gray">
            <a:xfrm rot="5400000">
              <a:off x="-132704" y="144878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B9E59FAE-5C1F-46AD-A40D-185AE0DBB48C}"/>
                </a:ext>
              </a:extLst>
            </p:cNvPr>
            <p:cNvCxnSpPr>
              <a:cxnSpLocks/>
            </p:cNvCxnSpPr>
            <p:nvPr/>
          </p:nvCxnSpPr>
          <p:spPr bwMode="gray">
            <a:xfrm rot="5400000">
              <a:off x="-132712" y="260091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391E6170-451E-060F-6E52-BF4DBBAAF63D}"/>
                </a:ext>
              </a:extLst>
            </p:cNvPr>
            <p:cNvCxnSpPr>
              <a:cxnSpLocks/>
            </p:cNvCxnSpPr>
            <p:nvPr/>
          </p:nvCxnSpPr>
          <p:spPr bwMode="gray">
            <a:xfrm rot="5400000">
              <a:off x="-132712" y="317697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33F7CC10-3018-84BE-7FE8-605EB0C450E7}"/>
                </a:ext>
              </a:extLst>
            </p:cNvPr>
            <p:cNvCxnSpPr>
              <a:cxnSpLocks/>
            </p:cNvCxnSpPr>
            <p:nvPr/>
          </p:nvCxnSpPr>
          <p:spPr bwMode="gray">
            <a:xfrm rot="5400000">
              <a:off x="-132712" y="375304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4FD2CC9B-56CE-F470-3B02-8A464F565935}"/>
                </a:ext>
              </a:extLst>
            </p:cNvPr>
            <p:cNvCxnSpPr>
              <a:cxnSpLocks/>
            </p:cNvCxnSpPr>
            <p:nvPr/>
          </p:nvCxnSpPr>
          <p:spPr bwMode="gray">
            <a:xfrm rot="5400000">
              <a:off x="-132712" y="432910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5EC03F2D-C580-DD19-A206-208DB09700B4}"/>
                </a:ext>
              </a:extLst>
            </p:cNvPr>
            <p:cNvCxnSpPr>
              <a:cxnSpLocks/>
            </p:cNvCxnSpPr>
            <p:nvPr/>
          </p:nvCxnSpPr>
          <p:spPr bwMode="gray">
            <a:xfrm rot="5400000">
              <a:off x="-132712" y="490516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id="{5D1DAFD2-B917-ADF3-6CDD-E750A6CD674D}"/>
                </a:ext>
              </a:extLst>
            </p:cNvPr>
            <p:cNvCxnSpPr>
              <a:cxnSpLocks/>
            </p:cNvCxnSpPr>
            <p:nvPr/>
          </p:nvCxnSpPr>
          <p:spPr bwMode="gray">
            <a:xfrm rot="5400000">
              <a:off x="-132712" y="548123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9867608"/>
      </p:ext>
    </p:extLst>
  </p:cSld>
  <p:clrMapOvr>
    <a:masterClrMapping/>
  </p:clrMapOvr>
  <p:extLst>
    <p:ext uri="{DCECCB84-F9BA-43D5-87BE-67443E8EF086}">
      <p15:sldGuideLst xmlns:p15="http://schemas.microsoft.com/office/powerpoint/2012/main">
        <p15:guide id="1" orient="horz" pos="1298" userDrawn="1">
          <p15:clr>
            <a:srgbClr val="FBAE40"/>
          </p15:clr>
        </p15:guide>
        <p15:guide id="2" pos="211" userDrawn="1">
          <p15:clr>
            <a:srgbClr val="FBAE40"/>
          </p15:clr>
        </p15:guide>
        <p15:guide id="3" pos="3840" userDrawn="1">
          <p15:clr>
            <a:srgbClr val="FBAE40"/>
          </p15:clr>
        </p15:guide>
        <p15:guide id="4" pos="3477" userDrawn="1">
          <p15:clr>
            <a:srgbClr val="FBAE40"/>
          </p15:clr>
        </p15:guide>
        <p15:guide id="5" pos="7469" userDrawn="1">
          <p15:clr>
            <a:srgbClr val="FBAE40"/>
          </p15:clr>
        </p15:guide>
        <p15:guide id="6" orient="horz" pos="383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with full pictur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EC35FD4C-3043-1756-DD5D-A13E5033E6AC}"/>
              </a:ext>
            </a:extLst>
          </p:cNvPr>
          <p:cNvGraphicFramePr>
            <a:graphicFrameLocks noChangeAspect="1"/>
          </p:cNvGraphicFramePr>
          <p:nvPr userDrawn="1">
            <p:custDataLst>
              <p:tags r:id="rId1"/>
            </p:custDataLst>
            <p:extLst>
              <p:ext uri="{D42A27DB-BD31-4B8C-83A1-F6EECF244321}">
                <p14:modId xmlns:p14="http://schemas.microsoft.com/office/powerpoint/2010/main" val="4108708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2" name="Objekt 1" hidden="1">
                        <a:extLst>
                          <a:ext uri="{FF2B5EF4-FFF2-40B4-BE49-F238E27FC236}">
                            <a16:creationId xmlns:a16="http://schemas.microsoft.com/office/drawing/2014/main" id="{EC35FD4C-3043-1756-DD5D-A13E5033E6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hape">
            <a:extLst>
              <a:ext uri="{FF2B5EF4-FFF2-40B4-BE49-F238E27FC236}">
                <a16:creationId xmlns:a16="http://schemas.microsoft.com/office/drawing/2014/main" id="{3F86E13A-084F-ED45-B21A-67352041946A}"/>
              </a:ext>
              <a:ext uri="{C183D7F6-B498-43B3-948B-1728B52AA6E4}">
                <adec:decorative xmlns:adec="http://schemas.microsoft.com/office/drawing/2017/decorative" val="1"/>
              </a:ext>
            </a:extLst>
          </p:cNvPr>
          <p:cNvSpPr/>
          <p:nvPr userDrawn="1"/>
        </p:nvSpPr>
        <p:spPr bwMode="gray">
          <a:xfrm>
            <a:off x="10704512" y="0"/>
            <a:ext cx="360040" cy="13414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1600" dirty="0"/>
          </a:p>
        </p:txBody>
      </p:sp>
      <p:sp>
        <p:nvSpPr>
          <p:cNvPr id="20" name="Picture">
            <a:extLst>
              <a:ext uri="{FF2B5EF4-FFF2-40B4-BE49-F238E27FC236}">
                <a16:creationId xmlns:a16="http://schemas.microsoft.com/office/drawing/2014/main" id="{4A4DB585-6D1E-7B61-ADF1-62BBDEF4151C}"/>
              </a:ext>
            </a:extLst>
          </p:cNvPr>
          <p:cNvSpPr>
            <a:spLocks noGrp="1"/>
          </p:cNvSpPr>
          <p:nvPr>
            <p:ph type="pic" sz="quarter" idx="21" hasCustomPrompt="1"/>
          </p:nvPr>
        </p:nvSpPr>
        <p:spPr bwMode="gray">
          <a:xfrm>
            <a:off x="0" y="0"/>
            <a:ext cx="10704512" cy="6858000"/>
          </a:xfrm>
          <a:custGeom>
            <a:avLst/>
            <a:gdLst>
              <a:gd name="connsiteX0" fmla="*/ 0 w 10632504"/>
              <a:gd name="connsiteY0" fmla="*/ 0 h 6858000"/>
              <a:gd name="connsiteX1" fmla="*/ 10632504 w 10632504"/>
              <a:gd name="connsiteY1" fmla="*/ 0 h 6858000"/>
              <a:gd name="connsiteX2" fmla="*/ 10632504 w 10632504"/>
              <a:gd name="connsiteY2" fmla="*/ 6858000 h 6858000"/>
              <a:gd name="connsiteX3" fmla="*/ 0 w 1063250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0632504" h="6858000">
                <a:moveTo>
                  <a:pt x="0" y="0"/>
                </a:moveTo>
                <a:lnTo>
                  <a:pt x="10632504" y="0"/>
                </a:lnTo>
                <a:lnTo>
                  <a:pt x="10632504" y="6858000"/>
                </a:lnTo>
                <a:lnTo>
                  <a:pt x="0" y="6858000"/>
                </a:lnTo>
                <a:close/>
              </a:path>
            </a:pathLst>
          </a:custGeom>
          <a:solidFill>
            <a:srgbClr val="D6D9DC"/>
          </a:solidFill>
        </p:spPr>
        <p:txBody>
          <a:bodyPr wrap="square">
            <a:noAutofit/>
          </a:bodyPr>
          <a:lstStyle>
            <a:lvl1pPr marL="0" indent="0">
              <a:buNone/>
              <a:defRPr/>
            </a:lvl1pPr>
          </a:lstStyle>
          <a:p>
            <a:r>
              <a:rPr lang="en-GB" dirty="0"/>
              <a:t> </a:t>
            </a:r>
          </a:p>
        </p:txBody>
      </p:sp>
      <p:sp>
        <p:nvSpPr>
          <p:cNvPr id="22" name="Content">
            <a:extLst>
              <a:ext uri="{FF2B5EF4-FFF2-40B4-BE49-F238E27FC236}">
                <a16:creationId xmlns:a16="http://schemas.microsoft.com/office/drawing/2014/main" id="{93536E9D-E5E2-4B0C-91F6-B80985E0540D}"/>
              </a:ext>
            </a:extLst>
          </p:cNvPr>
          <p:cNvSpPr>
            <a:spLocks noGrp="1"/>
          </p:cNvSpPr>
          <p:nvPr>
            <p:ph type="body" sz="quarter" idx="22" hasCustomPrompt="1"/>
          </p:nvPr>
        </p:nvSpPr>
        <p:spPr bwMode="gray">
          <a:xfrm>
            <a:off x="911424" y="1484784"/>
            <a:ext cx="3464918" cy="2544488"/>
          </a:xfrm>
          <a:solidFill>
            <a:schemeClr val="bg1"/>
          </a:solidFill>
        </p:spPr>
        <p:txBody>
          <a:bodyPr wrap="square" lIns="216000" tIns="216000" rIns="216000" bIns="216000">
            <a:spAutoFit/>
          </a:body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a:p>
            <a:pPr lvl="2"/>
            <a:r>
              <a:rPr lang="en-GB" dirty="0"/>
              <a:t>Third level</a:t>
            </a:r>
          </a:p>
          <a:p>
            <a:pPr lvl="3"/>
            <a:r>
              <a:rPr lang="en-GB" dirty="0"/>
              <a:t>Fourth level</a:t>
            </a:r>
          </a:p>
        </p:txBody>
      </p:sp>
      <p:sp>
        <p:nvSpPr>
          <p:cNvPr id="7" name="Datumsplatzhalter 6">
            <a:extLst>
              <a:ext uri="{FF2B5EF4-FFF2-40B4-BE49-F238E27FC236}">
                <a16:creationId xmlns:a16="http://schemas.microsoft.com/office/drawing/2014/main" id="{4861F5B2-6906-1716-D379-D3C5A569D003}"/>
              </a:ext>
            </a:extLst>
          </p:cNvPr>
          <p:cNvSpPr>
            <a:spLocks noGrp="1"/>
          </p:cNvSpPr>
          <p:nvPr>
            <p:ph type="dt" sz="half" idx="23"/>
          </p:nvPr>
        </p:nvSpPr>
        <p:spPr/>
        <p:txBody>
          <a:bodyPr/>
          <a:lstStyle>
            <a:lvl1pPr>
              <a:defRPr>
                <a:solidFill>
                  <a:schemeClr val="bg1"/>
                </a:solidFill>
              </a:defRPr>
            </a:lvl1pPr>
          </a:lstStyle>
          <a:p>
            <a:r>
              <a:rPr lang="en-US"/>
              <a:t>7/26/2022</a:t>
            </a:r>
            <a:endParaRPr lang="en-GB" dirty="0"/>
          </a:p>
        </p:txBody>
      </p:sp>
      <p:sp>
        <p:nvSpPr>
          <p:cNvPr id="9" name="Fußzeilenplatzhalter 8">
            <a:extLst>
              <a:ext uri="{FF2B5EF4-FFF2-40B4-BE49-F238E27FC236}">
                <a16:creationId xmlns:a16="http://schemas.microsoft.com/office/drawing/2014/main" id="{1E75756F-1CDF-EF5B-5988-A7CCF322C072}"/>
              </a:ext>
            </a:extLst>
          </p:cNvPr>
          <p:cNvSpPr>
            <a:spLocks noGrp="1"/>
          </p:cNvSpPr>
          <p:nvPr>
            <p:ph type="ftr" sz="quarter" idx="24"/>
          </p:nvPr>
        </p:nvSpPr>
        <p:spPr/>
        <p:txBody>
          <a:bodyPr/>
          <a:lstStyle/>
          <a:p>
            <a:r>
              <a:rPr lang="de-DE"/>
              <a:t>Der Konsument nach Corona und Consumer Voice</a:t>
            </a:r>
            <a:endParaRPr lang="de-DE" dirty="0"/>
          </a:p>
        </p:txBody>
      </p:sp>
      <p:sp>
        <p:nvSpPr>
          <p:cNvPr id="10" name="Foliennummernplatzhalter 9">
            <a:extLst>
              <a:ext uri="{FF2B5EF4-FFF2-40B4-BE49-F238E27FC236}">
                <a16:creationId xmlns:a16="http://schemas.microsoft.com/office/drawing/2014/main" id="{DBCFAECC-FD3D-79EC-CCCF-AFA7311FF2A3}"/>
              </a:ext>
            </a:extLst>
          </p:cNvPr>
          <p:cNvSpPr>
            <a:spLocks noGrp="1"/>
          </p:cNvSpPr>
          <p:nvPr>
            <p:ph type="sldNum" sz="quarter" idx="25"/>
          </p:nvPr>
        </p:nvSpPr>
        <p:spPr/>
        <p:txBody>
          <a:bodyPr/>
          <a:lstStyle/>
          <a:p>
            <a:fld id="{CAEA825B-D749-4F0A-886E-8D45A39EAF2A}" type="slidenum">
              <a:rPr lang="de-DE" smtClean="0"/>
              <a:pPr/>
              <a:t>‹Nº›</a:t>
            </a:fld>
            <a:endParaRPr lang="de-DE"/>
          </a:p>
        </p:txBody>
      </p:sp>
      <p:sp>
        <p:nvSpPr>
          <p:cNvPr id="11" name="Source">
            <a:extLst>
              <a:ext uri="{FF2B5EF4-FFF2-40B4-BE49-F238E27FC236}">
                <a16:creationId xmlns:a16="http://schemas.microsoft.com/office/drawing/2014/main" id="{2C749477-9657-0C6B-A088-A8A71DEF5785}"/>
              </a:ext>
            </a:extLst>
          </p:cNvPr>
          <p:cNvSpPr>
            <a:spLocks noGrp="1"/>
          </p:cNvSpPr>
          <p:nvPr>
            <p:ph type="body" sz="quarter" idx="26"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solidFill>
                  <a:schemeClr val="bg1"/>
                </a:solidFill>
              </a:defRPr>
            </a:lvl1pPr>
            <a:lvl2pPr marL="0" indent="0" algn="l">
              <a:lnSpc>
                <a:spcPct val="100000"/>
              </a:lnSpc>
              <a:spcBef>
                <a:spcPts val="0"/>
              </a:spcBef>
              <a:buFont typeface="Arial" panose="020B0604020202020204" pitchFamily="34" charset="0"/>
              <a:buNone/>
              <a:defRPr sz="900">
                <a:solidFill>
                  <a:schemeClr val="bg1"/>
                </a:solidFill>
              </a:defRPr>
            </a:lvl2pPr>
            <a:lvl3pPr marL="0" indent="0" algn="l">
              <a:lnSpc>
                <a:spcPct val="100000"/>
              </a:lnSpc>
              <a:spcBef>
                <a:spcPts val="0"/>
              </a:spcBef>
              <a:buFont typeface="Arial" panose="020B0604020202020204" pitchFamily="34" charset="0"/>
              <a:buNone/>
              <a:defRPr sz="900">
                <a:solidFill>
                  <a:schemeClr val="bg1"/>
                </a:solidFill>
              </a:defRPr>
            </a:lvl3pPr>
            <a:lvl4pPr marL="0" indent="0" algn="l">
              <a:lnSpc>
                <a:spcPct val="100000"/>
              </a:lnSpc>
              <a:spcBef>
                <a:spcPts val="0"/>
              </a:spcBef>
              <a:buFont typeface="Arial" panose="020B0604020202020204" pitchFamily="34" charset="0"/>
              <a:buNone/>
              <a:defRPr sz="900">
                <a:solidFill>
                  <a:schemeClr val="bg1"/>
                </a:solidFill>
              </a:defRPr>
            </a:lvl4pPr>
            <a:lvl5pPr marL="0" indent="0" algn="l">
              <a:lnSpc>
                <a:spcPct val="100000"/>
              </a:lnSpc>
              <a:spcBef>
                <a:spcPts val="0"/>
              </a:spcBef>
              <a:buFont typeface="Arial" panose="020B0604020202020204" pitchFamily="34" charset="0"/>
              <a:buNone/>
              <a:defRPr sz="900" b="0">
                <a:solidFill>
                  <a:schemeClr val="bg1"/>
                </a:solidFill>
                <a:latin typeface="+mn-lt"/>
              </a:defRPr>
            </a:lvl5pPr>
            <a:lvl6pPr marL="0" indent="0">
              <a:lnSpc>
                <a:spcPct val="100000"/>
              </a:lnSpc>
              <a:spcBef>
                <a:spcPts val="0"/>
              </a:spcBef>
              <a:buNone/>
              <a:defRPr sz="900" b="0">
                <a:solidFill>
                  <a:schemeClr val="bg1"/>
                </a:solidFill>
                <a:latin typeface="+mn-lt"/>
              </a:defRPr>
            </a:lvl6pPr>
            <a:lvl7pPr marL="0" indent="0">
              <a:lnSpc>
                <a:spcPct val="100000"/>
              </a:lnSpc>
              <a:spcBef>
                <a:spcPts val="0"/>
              </a:spcBef>
              <a:buNone/>
              <a:defRPr sz="900" b="0">
                <a:solidFill>
                  <a:schemeClr val="bg1"/>
                </a:solidFill>
                <a:latin typeface="+mn-lt"/>
              </a:defRPr>
            </a:lvl7pPr>
            <a:lvl8pPr marL="0" indent="0">
              <a:lnSpc>
                <a:spcPct val="100000"/>
              </a:lnSpc>
              <a:spcBef>
                <a:spcPts val="0"/>
              </a:spcBef>
              <a:buNone/>
              <a:defRPr sz="900" b="0">
                <a:solidFill>
                  <a:schemeClr val="bg1"/>
                </a:solidFill>
                <a:latin typeface="+mn-lt"/>
              </a:defRPr>
            </a:lvl8pPr>
            <a:lvl9pPr marL="0" indent="0">
              <a:lnSpc>
                <a:spcPct val="100000"/>
              </a:lnSpc>
              <a:spcBef>
                <a:spcPts val="0"/>
              </a:spcBef>
              <a:buNone/>
              <a:defRPr sz="900" b="0">
                <a:solidFill>
                  <a:schemeClr val="bg1"/>
                </a:solidFill>
                <a:latin typeface="+mn-lt"/>
              </a:defRPr>
            </a:lvl9pPr>
          </a:lstStyle>
          <a:p>
            <a:pPr lvl="0"/>
            <a:r>
              <a:rPr lang="en-GB" dirty="0"/>
              <a:t>Source, Footnote</a:t>
            </a:r>
          </a:p>
        </p:txBody>
      </p:sp>
    </p:spTree>
    <p:extLst>
      <p:ext uri="{BB962C8B-B14F-4D97-AF65-F5344CB8AC3E}">
        <p14:creationId xmlns:p14="http://schemas.microsoft.com/office/powerpoint/2010/main" val="1911733267"/>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2 | Yellow">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1337BF3-B31C-138E-3AD3-5E617CEA4C78}"/>
              </a:ext>
            </a:extLst>
          </p:cNvPr>
          <p:cNvGraphicFramePr>
            <a:graphicFrameLocks noChangeAspect="1"/>
          </p:cNvGraphicFramePr>
          <p:nvPr userDrawn="1">
            <p:custDataLst>
              <p:tags r:id="rId1"/>
            </p:custDataLst>
            <p:extLst>
              <p:ext uri="{D42A27DB-BD31-4B8C-83A1-F6EECF244321}">
                <p14:modId xmlns:p14="http://schemas.microsoft.com/office/powerpoint/2010/main" val="3829522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3" name="Objekt 2" hidden="1">
                        <a:extLst>
                          <a:ext uri="{FF2B5EF4-FFF2-40B4-BE49-F238E27FC236}">
                            <a16:creationId xmlns:a16="http://schemas.microsoft.com/office/drawing/2014/main" id="{F1337BF3-B31C-138E-3AD3-5E617CEA4C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94" name="Gruppieren 593">
            <a:extLst>
              <a:ext uri="{FF2B5EF4-FFF2-40B4-BE49-F238E27FC236}">
                <a16:creationId xmlns:a16="http://schemas.microsoft.com/office/drawing/2014/main" id="{32616642-F936-7CA1-2F67-48BB14DCE5D7}"/>
              </a:ext>
            </a:extLst>
          </p:cNvPr>
          <p:cNvGrpSpPr/>
          <p:nvPr userDrawn="1"/>
        </p:nvGrpSpPr>
        <p:grpSpPr>
          <a:xfrm>
            <a:off x="317360" y="1484784"/>
            <a:ext cx="11539280" cy="4626512"/>
            <a:chOff x="317360" y="1484784"/>
            <a:chExt cx="11539280" cy="4626512"/>
          </a:xfrm>
        </p:grpSpPr>
        <p:sp>
          <p:nvSpPr>
            <p:cNvPr id="595" name="Rechteck 594">
              <a:extLst>
                <a:ext uri="{FF2B5EF4-FFF2-40B4-BE49-F238E27FC236}">
                  <a16:creationId xmlns:a16="http://schemas.microsoft.com/office/drawing/2014/main" id="{B71DFEA5-53F6-511C-7FB6-2E399A27FC82}"/>
                </a:ext>
              </a:extLst>
            </p:cNvPr>
            <p:cNvSpPr/>
            <p:nvPr userDrawn="1"/>
          </p:nvSpPr>
          <p:spPr bwMode="gray">
            <a:xfrm>
              <a:off x="1126257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6" name="Rechteck 595">
              <a:extLst>
                <a:ext uri="{FF2B5EF4-FFF2-40B4-BE49-F238E27FC236}">
                  <a16:creationId xmlns:a16="http://schemas.microsoft.com/office/drawing/2014/main" id="{66A6A02D-E817-C133-8ED6-AE8DE12B8B4B}"/>
                </a:ext>
              </a:extLst>
            </p:cNvPr>
            <p:cNvSpPr/>
            <p:nvPr userDrawn="1"/>
          </p:nvSpPr>
          <p:spPr bwMode="gray">
            <a:xfrm>
              <a:off x="1068651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7" name="Rechteck 596">
              <a:extLst>
                <a:ext uri="{FF2B5EF4-FFF2-40B4-BE49-F238E27FC236}">
                  <a16:creationId xmlns:a16="http://schemas.microsoft.com/office/drawing/2014/main" id="{979C1D3C-EE84-C9E8-76F0-323DC07387E8}"/>
                </a:ext>
              </a:extLst>
            </p:cNvPr>
            <p:cNvSpPr/>
            <p:nvPr userDrawn="1"/>
          </p:nvSpPr>
          <p:spPr bwMode="gray">
            <a:xfrm>
              <a:off x="1011044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8" name="Rechteck 597">
              <a:extLst>
                <a:ext uri="{FF2B5EF4-FFF2-40B4-BE49-F238E27FC236}">
                  <a16:creationId xmlns:a16="http://schemas.microsoft.com/office/drawing/2014/main" id="{3988E5F3-719D-2FD5-8478-2B353AA5AD39}"/>
                </a:ext>
              </a:extLst>
            </p:cNvPr>
            <p:cNvSpPr/>
            <p:nvPr userDrawn="1"/>
          </p:nvSpPr>
          <p:spPr bwMode="gray">
            <a:xfrm>
              <a:off x="953438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9" name="Rechteck 598">
              <a:extLst>
                <a:ext uri="{FF2B5EF4-FFF2-40B4-BE49-F238E27FC236}">
                  <a16:creationId xmlns:a16="http://schemas.microsoft.com/office/drawing/2014/main" id="{CD5EA384-7EF4-8B00-9572-CB560198819F}"/>
                </a:ext>
              </a:extLst>
            </p:cNvPr>
            <p:cNvSpPr/>
            <p:nvPr userDrawn="1"/>
          </p:nvSpPr>
          <p:spPr bwMode="gray">
            <a:xfrm>
              <a:off x="895832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0" name="Rechteck 599">
              <a:extLst>
                <a:ext uri="{FF2B5EF4-FFF2-40B4-BE49-F238E27FC236}">
                  <a16:creationId xmlns:a16="http://schemas.microsoft.com/office/drawing/2014/main" id="{4E51DA4C-4C79-F6A0-033D-C42349178235}"/>
                </a:ext>
              </a:extLst>
            </p:cNvPr>
            <p:cNvSpPr/>
            <p:nvPr userDrawn="1"/>
          </p:nvSpPr>
          <p:spPr bwMode="gray">
            <a:xfrm>
              <a:off x="838225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1" name="Rechteck 600">
              <a:extLst>
                <a:ext uri="{FF2B5EF4-FFF2-40B4-BE49-F238E27FC236}">
                  <a16:creationId xmlns:a16="http://schemas.microsoft.com/office/drawing/2014/main" id="{9DF13808-95BF-81FC-F54C-3FCE6BB69378}"/>
                </a:ext>
              </a:extLst>
            </p:cNvPr>
            <p:cNvSpPr/>
            <p:nvPr userDrawn="1"/>
          </p:nvSpPr>
          <p:spPr bwMode="gray">
            <a:xfrm>
              <a:off x="780619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2" name="Rechteck 601">
              <a:extLst>
                <a:ext uri="{FF2B5EF4-FFF2-40B4-BE49-F238E27FC236}">
                  <a16:creationId xmlns:a16="http://schemas.microsoft.com/office/drawing/2014/main" id="{E3311BA1-108A-1B4D-F2E8-FDD50A462460}"/>
                </a:ext>
              </a:extLst>
            </p:cNvPr>
            <p:cNvSpPr/>
            <p:nvPr userDrawn="1"/>
          </p:nvSpPr>
          <p:spPr bwMode="gray">
            <a:xfrm>
              <a:off x="723012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3" name="Rechteck 602">
              <a:extLst>
                <a:ext uri="{FF2B5EF4-FFF2-40B4-BE49-F238E27FC236}">
                  <a16:creationId xmlns:a16="http://schemas.microsoft.com/office/drawing/2014/main" id="{B14342D1-A331-0CA8-DB2B-115C0F0D2C67}"/>
                </a:ext>
              </a:extLst>
            </p:cNvPr>
            <p:cNvSpPr/>
            <p:nvPr userDrawn="1"/>
          </p:nvSpPr>
          <p:spPr bwMode="gray">
            <a:xfrm>
              <a:off x="665406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4" name="Rechteck 603">
              <a:extLst>
                <a:ext uri="{FF2B5EF4-FFF2-40B4-BE49-F238E27FC236}">
                  <a16:creationId xmlns:a16="http://schemas.microsoft.com/office/drawing/2014/main" id="{96B251C9-B2D5-A787-73BB-C45003CED6A2}"/>
                </a:ext>
              </a:extLst>
            </p:cNvPr>
            <p:cNvSpPr/>
            <p:nvPr userDrawn="1"/>
          </p:nvSpPr>
          <p:spPr bwMode="gray">
            <a:xfrm>
              <a:off x="607800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5" name="Rechteck 604">
              <a:extLst>
                <a:ext uri="{FF2B5EF4-FFF2-40B4-BE49-F238E27FC236}">
                  <a16:creationId xmlns:a16="http://schemas.microsoft.com/office/drawing/2014/main" id="{C6788741-5A82-AD36-0D0B-57283DAA32A0}"/>
                </a:ext>
              </a:extLst>
            </p:cNvPr>
            <p:cNvSpPr/>
            <p:nvPr userDrawn="1"/>
          </p:nvSpPr>
          <p:spPr bwMode="gray">
            <a:xfrm>
              <a:off x="550193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6" name="Rechteck 605">
              <a:extLst>
                <a:ext uri="{FF2B5EF4-FFF2-40B4-BE49-F238E27FC236}">
                  <a16:creationId xmlns:a16="http://schemas.microsoft.com/office/drawing/2014/main" id="{A8B7349A-B462-328F-A126-9BF39F386538}"/>
                </a:ext>
              </a:extLst>
            </p:cNvPr>
            <p:cNvSpPr/>
            <p:nvPr userDrawn="1"/>
          </p:nvSpPr>
          <p:spPr bwMode="gray">
            <a:xfrm>
              <a:off x="492587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7" name="Rechteck 606">
              <a:extLst>
                <a:ext uri="{FF2B5EF4-FFF2-40B4-BE49-F238E27FC236}">
                  <a16:creationId xmlns:a16="http://schemas.microsoft.com/office/drawing/2014/main" id="{C7B086FD-5C1C-CAB5-887B-DA9CD3CC8879}"/>
                </a:ext>
              </a:extLst>
            </p:cNvPr>
            <p:cNvSpPr/>
            <p:nvPr userDrawn="1"/>
          </p:nvSpPr>
          <p:spPr bwMode="gray">
            <a:xfrm>
              <a:off x="434980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8" name="Rechteck 607">
              <a:extLst>
                <a:ext uri="{FF2B5EF4-FFF2-40B4-BE49-F238E27FC236}">
                  <a16:creationId xmlns:a16="http://schemas.microsoft.com/office/drawing/2014/main" id="{1DEC48DC-FA5E-7CD8-E965-B4EB8D5E7CEC}"/>
                </a:ext>
              </a:extLst>
            </p:cNvPr>
            <p:cNvSpPr/>
            <p:nvPr userDrawn="1"/>
          </p:nvSpPr>
          <p:spPr bwMode="gray">
            <a:xfrm>
              <a:off x="377374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9" name="Rechteck 608">
              <a:extLst>
                <a:ext uri="{FF2B5EF4-FFF2-40B4-BE49-F238E27FC236}">
                  <a16:creationId xmlns:a16="http://schemas.microsoft.com/office/drawing/2014/main" id="{F453417C-3C40-2DE4-9A4F-60A07A8F6985}"/>
                </a:ext>
              </a:extLst>
            </p:cNvPr>
            <p:cNvSpPr/>
            <p:nvPr userDrawn="1"/>
          </p:nvSpPr>
          <p:spPr bwMode="gray">
            <a:xfrm>
              <a:off x="319768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0" name="Rechteck 609">
              <a:extLst>
                <a:ext uri="{FF2B5EF4-FFF2-40B4-BE49-F238E27FC236}">
                  <a16:creationId xmlns:a16="http://schemas.microsoft.com/office/drawing/2014/main" id="{D7CFC18C-9155-C79B-8C5A-81C532A66887}"/>
                </a:ext>
              </a:extLst>
            </p:cNvPr>
            <p:cNvSpPr/>
            <p:nvPr userDrawn="1"/>
          </p:nvSpPr>
          <p:spPr bwMode="gray">
            <a:xfrm>
              <a:off x="262161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1" name="Rechteck 610">
              <a:extLst>
                <a:ext uri="{FF2B5EF4-FFF2-40B4-BE49-F238E27FC236}">
                  <a16:creationId xmlns:a16="http://schemas.microsoft.com/office/drawing/2014/main" id="{FE261F85-196B-1746-0EC8-50A6B2E3E870}"/>
                </a:ext>
              </a:extLst>
            </p:cNvPr>
            <p:cNvSpPr/>
            <p:nvPr userDrawn="1"/>
          </p:nvSpPr>
          <p:spPr bwMode="gray">
            <a:xfrm>
              <a:off x="204555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2" name="Rechteck 611">
              <a:extLst>
                <a:ext uri="{FF2B5EF4-FFF2-40B4-BE49-F238E27FC236}">
                  <a16:creationId xmlns:a16="http://schemas.microsoft.com/office/drawing/2014/main" id="{3E7BBD25-8E83-C9DB-CC47-78FE82F60347}"/>
                </a:ext>
              </a:extLst>
            </p:cNvPr>
            <p:cNvSpPr/>
            <p:nvPr userDrawn="1"/>
          </p:nvSpPr>
          <p:spPr bwMode="gray">
            <a:xfrm>
              <a:off x="146948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3" name="Rechteck 612">
              <a:extLst>
                <a:ext uri="{FF2B5EF4-FFF2-40B4-BE49-F238E27FC236}">
                  <a16:creationId xmlns:a16="http://schemas.microsoft.com/office/drawing/2014/main" id="{C2BA0D99-1B3D-C110-31A7-6882C571C010}"/>
                </a:ext>
              </a:extLst>
            </p:cNvPr>
            <p:cNvSpPr/>
            <p:nvPr userDrawn="1"/>
          </p:nvSpPr>
          <p:spPr bwMode="gray">
            <a:xfrm>
              <a:off x="89342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4" name="Rechteck 613">
              <a:extLst>
                <a:ext uri="{FF2B5EF4-FFF2-40B4-BE49-F238E27FC236}">
                  <a16:creationId xmlns:a16="http://schemas.microsoft.com/office/drawing/2014/main" id="{797CE6DB-0C4E-E5A8-BEC5-C8E209276195}"/>
                </a:ext>
              </a:extLst>
            </p:cNvPr>
            <p:cNvSpPr/>
            <p:nvPr userDrawn="1"/>
          </p:nvSpPr>
          <p:spPr bwMode="gray">
            <a:xfrm>
              <a:off x="31736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5" name="Rechteck 614">
              <a:extLst>
                <a:ext uri="{FF2B5EF4-FFF2-40B4-BE49-F238E27FC236}">
                  <a16:creationId xmlns:a16="http://schemas.microsoft.com/office/drawing/2014/main" id="{2391FD5E-EC3F-016B-A8DD-84CCBC4D7340}"/>
                </a:ext>
              </a:extLst>
            </p:cNvPr>
            <p:cNvSpPr/>
            <p:nvPr userDrawn="1"/>
          </p:nvSpPr>
          <p:spPr bwMode="gray">
            <a:xfrm>
              <a:off x="1126257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6" name="Rechteck 615">
              <a:extLst>
                <a:ext uri="{FF2B5EF4-FFF2-40B4-BE49-F238E27FC236}">
                  <a16:creationId xmlns:a16="http://schemas.microsoft.com/office/drawing/2014/main" id="{0BEE2C7F-BB3D-3294-65BD-96F687827A71}"/>
                </a:ext>
              </a:extLst>
            </p:cNvPr>
            <p:cNvSpPr/>
            <p:nvPr userDrawn="1"/>
          </p:nvSpPr>
          <p:spPr bwMode="gray">
            <a:xfrm>
              <a:off x="1068651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7" name="Rechteck 616">
              <a:extLst>
                <a:ext uri="{FF2B5EF4-FFF2-40B4-BE49-F238E27FC236}">
                  <a16:creationId xmlns:a16="http://schemas.microsoft.com/office/drawing/2014/main" id="{5E25DF93-1E56-9786-3D03-02D0C5130A3D}"/>
                </a:ext>
              </a:extLst>
            </p:cNvPr>
            <p:cNvSpPr/>
            <p:nvPr userDrawn="1"/>
          </p:nvSpPr>
          <p:spPr bwMode="gray">
            <a:xfrm>
              <a:off x="1011044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8" name="Rechteck 617">
              <a:extLst>
                <a:ext uri="{FF2B5EF4-FFF2-40B4-BE49-F238E27FC236}">
                  <a16:creationId xmlns:a16="http://schemas.microsoft.com/office/drawing/2014/main" id="{2F40D298-285B-ABB8-FC3D-84D2BB981A14}"/>
                </a:ext>
              </a:extLst>
            </p:cNvPr>
            <p:cNvSpPr/>
            <p:nvPr userDrawn="1"/>
          </p:nvSpPr>
          <p:spPr bwMode="gray">
            <a:xfrm>
              <a:off x="953438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9" name="Rechteck 618">
              <a:extLst>
                <a:ext uri="{FF2B5EF4-FFF2-40B4-BE49-F238E27FC236}">
                  <a16:creationId xmlns:a16="http://schemas.microsoft.com/office/drawing/2014/main" id="{1A65ED63-D5E6-F68C-7960-971547B20C45}"/>
                </a:ext>
              </a:extLst>
            </p:cNvPr>
            <p:cNvSpPr/>
            <p:nvPr userDrawn="1"/>
          </p:nvSpPr>
          <p:spPr bwMode="gray">
            <a:xfrm>
              <a:off x="895832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0" name="Rechteck 619">
              <a:extLst>
                <a:ext uri="{FF2B5EF4-FFF2-40B4-BE49-F238E27FC236}">
                  <a16:creationId xmlns:a16="http://schemas.microsoft.com/office/drawing/2014/main" id="{A7CAB645-434F-F1AE-E3C2-94C45B1E3EF3}"/>
                </a:ext>
              </a:extLst>
            </p:cNvPr>
            <p:cNvSpPr/>
            <p:nvPr userDrawn="1"/>
          </p:nvSpPr>
          <p:spPr bwMode="gray">
            <a:xfrm>
              <a:off x="838225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1" name="Rechteck 620">
              <a:extLst>
                <a:ext uri="{FF2B5EF4-FFF2-40B4-BE49-F238E27FC236}">
                  <a16:creationId xmlns:a16="http://schemas.microsoft.com/office/drawing/2014/main" id="{892229B1-B39D-EF94-AD5B-918899A03E7B}"/>
                </a:ext>
              </a:extLst>
            </p:cNvPr>
            <p:cNvSpPr/>
            <p:nvPr userDrawn="1"/>
          </p:nvSpPr>
          <p:spPr bwMode="gray">
            <a:xfrm>
              <a:off x="780619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2" name="Rechteck 621">
              <a:extLst>
                <a:ext uri="{FF2B5EF4-FFF2-40B4-BE49-F238E27FC236}">
                  <a16:creationId xmlns:a16="http://schemas.microsoft.com/office/drawing/2014/main" id="{CA01BD61-84AC-8AE4-2893-130E1073EB29}"/>
                </a:ext>
              </a:extLst>
            </p:cNvPr>
            <p:cNvSpPr/>
            <p:nvPr userDrawn="1"/>
          </p:nvSpPr>
          <p:spPr bwMode="gray">
            <a:xfrm>
              <a:off x="723012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3" name="Rechteck 622">
              <a:extLst>
                <a:ext uri="{FF2B5EF4-FFF2-40B4-BE49-F238E27FC236}">
                  <a16:creationId xmlns:a16="http://schemas.microsoft.com/office/drawing/2014/main" id="{E2751E7A-4D98-2202-261F-A9703976E609}"/>
                </a:ext>
              </a:extLst>
            </p:cNvPr>
            <p:cNvSpPr/>
            <p:nvPr userDrawn="1"/>
          </p:nvSpPr>
          <p:spPr bwMode="gray">
            <a:xfrm>
              <a:off x="665406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4" name="Rechteck 623">
              <a:extLst>
                <a:ext uri="{FF2B5EF4-FFF2-40B4-BE49-F238E27FC236}">
                  <a16:creationId xmlns:a16="http://schemas.microsoft.com/office/drawing/2014/main" id="{587D096C-DC5E-5156-DBD4-6E3DA2F71DDC}"/>
                </a:ext>
              </a:extLst>
            </p:cNvPr>
            <p:cNvSpPr/>
            <p:nvPr userDrawn="1"/>
          </p:nvSpPr>
          <p:spPr bwMode="gray">
            <a:xfrm>
              <a:off x="607800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5" name="Rechteck 624">
              <a:extLst>
                <a:ext uri="{FF2B5EF4-FFF2-40B4-BE49-F238E27FC236}">
                  <a16:creationId xmlns:a16="http://schemas.microsoft.com/office/drawing/2014/main" id="{B4F156FC-BA88-EE9A-0E89-9427690A9E59}"/>
                </a:ext>
              </a:extLst>
            </p:cNvPr>
            <p:cNvSpPr/>
            <p:nvPr userDrawn="1"/>
          </p:nvSpPr>
          <p:spPr bwMode="gray">
            <a:xfrm>
              <a:off x="550193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6" name="Rechteck 625">
              <a:extLst>
                <a:ext uri="{FF2B5EF4-FFF2-40B4-BE49-F238E27FC236}">
                  <a16:creationId xmlns:a16="http://schemas.microsoft.com/office/drawing/2014/main" id="{9DCF9648-4393-3E4E-6301-333F4ED1FAFF}"/>
                </a:ext>
              </a:extLst>
            </p:cNvPr>
            <p:cNvSpPr/>
            <p:nvPr userDrawn="1"/>
          </p:nvSpPr>
          <p:spPr bwMode="gray">
            <a:xfrm>
              <a:off x="492587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7" name="Rechteck 626">
              <a:extLst>
                <a:ext uri="{FF2B5EF4-FFF2-40B4-BE49-F238E27FC236}">
                  <a16:creationId xmlns:a16="http://schemas.microsoft.com/office/drawing/2014/main" id="{D8F9353F-E948-F7BF-55D8-F8A22E4957D7}"/>
                </a:ext>
              </a:extLst>
            </p:cNvPr>
            <p:cNvSpPr/>
            <p:nvPr userDrawn="1"/>
          </p:nvSpPr>
          <p:spPr bwMode="gray">
            <a:xfrm>
              <a:off x="434980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8" name="Rechteck 627">
              <a:extLst>
                <a:ext uri="{FF2B5EF4-FFF2-40B4-BE49-F238E27FC236}">
                  <a16:creationId xmlns:a16="http://schemas.microsoft.com/office/drawing/2014/main" id="{E24BA2E7-F558-A78E-C957-F3D84E0B64DB}"/>
                </a:ext>
              </a:extLst>
            </p:cNvPr>
            <p:cNvSpPr/>
            <p:nvPr userDrawn="1"/>
          </p:nvSpPr>
          <p:spPr bwMode="gray">
            <a:xfrm>
              <a:off x="377374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9" name="Rechteck 628">
              <a:extLst>
                <a:ext uri="{FF2B5EF4-FFF2-40B4-BE49-F238E27FC236}">
                  <a16:creationId xmlns:a16="http://schemas.microsoft.com/office/drawing/2014/main" id="{09FAA4B6-62BA-BB43-E8FA-C68ED912A59A}"/>
                </a:ext>
              </a:extLst>
            </p:cNvPr>
            <p:cNvSpPr/>
            <p:nvPr userDrawn="1"/>
          </p:nvSpPr>
          <p:spPr bwMode="gray">
            <a:xfrm>
              <a:off x="319768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0" name="Rechteck 629">
              <a:extLst>
                <a:ext uri="{FF2B5EF4-FFF2-40B4-BE49-F238E27FC236}">
                  <a16:creationId xmlns:a16="http://schemas.microsoft.com/office/drawing/2014/main" id="{8257ECE5-46A5-2317-A3D4-233D1E067571}"/>
                </a:ext>
              </a:extLst>
            </p:cNvPr>
            <p:cNvSpPr/>
            <p:nvPr userDrawn="1"/>
          </p:nvSpPr>
          <p:spPr bwMode="gray">
            <a:xfrm>
              <a:off x="262161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1" name="Rechteck 630">
              <a:extLst>
                <a:ext uri="{FF2B5EF4-FFF2-40B4-BE49-F238E27FC236}">
                  <a16:creationId xmlns:a16="http://schemas.microsoft.com/office/drawing/2014/main" id="{104FECB4-95DF-49B8-28FD-1662D2EB69C2}"/>
                </a:ext>
              </a:extLst>
            </p:cNvPr>
            <p:cNvSpPr/>
            <p:nvPr userDrawn="1"/>
          </p:nvSpPr>
          <p:spPr bwMode="gray">
            <a:xfrm>
              <a:off x="204555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2" name="Rechteck 631">
              <a:extLst>
                <a:ext uri="{FF2B5EF4-FFF2-40B4-BE49-F238E27FC236}">
                  <a16:creationId xmlns:a16="http://schemas.microsoft.com/office/drawing/2014/main" id="{E4AE9CE5-DECB-4635-4BB8-2CB82C2FE0DB}"/>
                </a:ext>
              </a:extLst>
            </p:cNvPr>
            <p:cNvSpPr/>
            <p:nvPr userDrawn="1"/>
          </p:nvSpPr>
          <p:spPr bwMode="gray">
            <a:xfrm>
              <a:off x="146948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3" name="Rechteck 632">
              <a:extLst>
                <a:ext uri="{FF2B5EF4-FFF2-40B4-BE49-F238E27FC236}">
                  <a16:creationId xmlns:a16="http://schemas.microsoft.com/office/drawing/2014/main" id="{1F81176E-B89E-9008-F246-3E9A6CCD3260}"/>
                </a:ext>
              </a:extLst>
            </p:cNvPr>
            <p:cNvSpPr/>
            <p:nvPr userDrawn="1"/>
          </p:nvSpPr>
          <p:spPr bwMode="gray">
            <a:xfrm>
              <a:off x="89342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4" name="Rechteck 633">
              <a:extLst>
                <a:ext uri="{FF2B5EF4-FFF2-40B4-BE49-F238E27FC236}">
                  <a16:creationId xmlns:a16="http://schemas.microsoft.com/office/drawing/2014/main" id="{8EF02176-F1AA-7A8E-91C0-65C431B52C5F}"/>
                </a:ext>
              </a:extLst>
            </p:cNvPr>
            <p:cNvSpPr/>
            <p:nvPr userDrawn="1"/>
          </p:nvSpPr>
          <p:spPr bwMode="gray">
            <a:xfrm>
              <a:off x="31736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5" name="Rechteck 634">
              <a:extLst>
                <a:ext uri="{FF2B5EF4-FFF2-40B4-BE49-F238E27FC236}">
                  <a16:creationId xmlns:a16="http://schemas.microsoft.com/office/drawing/2014/main" id="{B839976B-72FA-B559-AC0F-A6D23BD6FED8}"/>
                </a:ext>
              </a:extLst>
            </p:cNvPr>
            <p:cNvSpPr/>
            <p:nvPr userDrawn="1"/>
          </p:nvSpPr>
          <p:spPr bwMode="gray">
            <a:xfrm>
              <a:off x="1126257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6" name="Rechteck 635">
              <a:extLst>
                <a:ext uri="{FF2B5EF4-FFF2-40B4-BE49-F238E27FC236}">
                  <a16:creationId xmlns:a16="http://schemas.microsoft.com/office/drawing/2014/main" id="{2E2C3D3B-7A27-E527-792A-E594C3745FC2}"/>
                </a:ext>
              </a:extLst>
            </p:cNvPr>
            <p:cNvSpPr/>
            <p:nvPr userDrawn="1"/>
          </p:nvSpPr>
          <p:spPr bwMode="gray">
            <a:xfrm>
              <a:off x="1068651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7" name="Rechteck 636">
              <a:extLst>
                <a:ext uri="{FF2B5EF4-FFF2-40B4-BE49-F238E27FC236}">
                  <a16:creationId xmlns:a16="http://schemas.microsoft.com/office/drawing/2014/main" id="{36485EF6-8396-C55C-8E8D-9517C5BAF673}"/>
                </a:ext>
              </a:extLst>
            </p:cNvPr>
            <p:cNvSpPr/>
            <p:nvPr userDrawn="1"/>
          </p:nvSpPr>
          <p:spPr bwMode="gray">
            <a:xfrm>
              <a:off x="1011044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8" name="Rechteck 637">
              <a:extLst>
                <a:ext uri="{FF2B5EF4-FFF2-40B4-BE49-F238E27FC236}">
                  <a16:creationId xmlns:a16="http://schemas.microsoft.com/office/drawing/2014/main" id="{639FCD22-DCF9-DE04-BBC5-B446B64F33F4}"/>
                </a:ext>
              </a:extLst>
            </p:cNvPr>
            <p:cNvSpPr/>
            <p:nvPr userDrawn="1"/>
          </p:nvSpPr>
          <p:spPr bwMode="gray">
            <a:xfrm>
              <a:off x="953438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9" name="Rechteck 638">
              <a:extLst>
                <a:ext uri="{FF2B5EF4-FFF2-40B4-BE49-F238E27FC236}">
                  <a16:creationId xmlns:a16="http://schemas.microsoft.com/office/drawing/2014/main" id="{8DBDC1CB-114D-8E10-C7E6-E8161AF49B3C}"/>
                </a:ext>
              </a:extLst>
            </p:cNvPr>
            <p:cNvSpPr/>
            <p:nvPr userDrawn="1"/>
          </p:nvSpPr>
          <p:spPr bwMode="gray">
            <a:xfrm>
              <a:off x="895832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0" name="Rechteck 639">
              <a:extLst>
                <a:ext uri="{FF2B5EF4-FFF2-40B4-BE49-F238E27FC236}">
                  <a16:creationId xmlns:a16="http://schemas.microsoft.com/office/drawing/2014/main" id="{645C8D53-D17A-0952-B5E8-5DF061EE76C6}"/>
                </a:ext>
              </a:extLst>
            </p:cNvPr>
            <p:cNvSpPr/>
            <p:nvPr userDrawn="1"/>
          </p:nvSpPr>
          <p:spPr bwMode="gray">
            <a:xfrm>
              <a:off x="838225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1" name="Rechteck 640">
              <a:extLst>
                <a:ext uri="{FF2B5EF4-FFF2-40B4-BE49-F238E27FC236}">
                  <a16:creationId xmlns:a16="http://schemas.microsoft.com/office/drawing/2014/main" id="{BE0DE06F-1AD1-F3FA-CFF0-7911B24C42C9}"/>
                </a:ext>
              </a:extLst>
            </p:cNvPr>
            <p:cNvSpPr/>
            <p:nvPr userDrawn="1"/>
          </p:nvSpPr>
          <p:spPr bwMode="gray">
            <a:xfrm>
              <a:off x="780619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2" name="Rechteck 641">
              <a:extLst>
                <a:ext uri="{FF2B5EF4-FFF2-40B4-BE49-F238E27FC236}">
                  <a16:creationId xmlns:a16="http://schemas.microsoft.com/office/drawing/2014/main" id="{7749350C-EDBF-ED92-6D47-5E27713136DC}"/>
                </a:ext>
              </a:extLst>
            </p:cNvPr>
            <p:cNvSpPr/>
            <p:nvPr userDrawn="1"/>
          </p:nvSpPr>
          <p:spPr bwMode="gray">
            <a:xfrm>
              <a:off x="723012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3" name="Rechteck 642">
              <a:extLst>
                <a:ext uri="{FF2B5EF4-FFF2-40B4-BE49-F238E27FC236}">
                  <a16:creationId xmlns:a16="http://schemas.microsoft.com/office/drawing/2014/main" id="{D10BCFF1-A80B-EC19-006B-5D1A25D224B4}"/>
                </a:ext>
              </a:extLst>
            </p:cNvPr>
            <p:cNvSpPr/>
            <p:nvPr userDrawn="1"/>
          </p:nvSpPr>
          <p:spPr bwMode="gray">
            <a:xfrm>
              <a:off x="665406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4" name="Rechteck 643">
              <a:extLst>
                <a:ext uri="{FF2B5EF4-FFF2-40B4-BE49-F238E27FC236}">
                  <a16:creationId xmlns:a16="http://schemas.microsoft.com/office/drawing/2014/main" id="{7CEFC6F2-CC3B-C172-DA89-C4A02CE5AE88}"/>
                </a:ext>
              </a:extLst>
            </p:cNvPr>
            <p:cNvSpPr/>
            <p:nvPr userDrawn="1"/>
          </p:nvSpPr>
          <p:spPr bwMode="gray">
            <a:xfrm>
              <a:off x="607800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5" name="Rechteck 644">
              <a:extLst>
                <a:ext uri="{FF2B5EF4-FFF2-40B4-BE49-F238E27FC236}">
                  <a16:creationId xmlns:a16="http://schemas.microsoft.com/office/drawing/2014/main" id="{91396361-3368-1895-5C1E-4D3E5261D137}"/>
                </a:ext>
              </a:extLst>
            </p:cNvPr>
            <p:cNvSpPr/>
            <p:nvPr userDrawn="1"/>
          </p:nvSpPr>
          <p:spPr bwMode="gray">
            <a:xfrm>
              <a:off x="550193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6" name="Rechteck 645">
              <a:extLst>
                <a:ext uri="{FF2B5EF4-FFF2-40B4-BE49-F238E27FC236}">
                  <a16:creationId xmlns:a16="http://schemas.microsoft.com/office/drawing/2014/main" id="{B6B56CB0-B0BA-CC46-FA2C-657755A6C999}"/>
                </a:ext>
              </a:extLst>
            </p:cNvPr>
            <p:cNvSpPr/>
            <p:nvPr userDrawn="1"/>
          </p:nvSpPr>
          <p:spPr bwMode="gray">
            <a:xfrm>
              <a:off x="492587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7" name="Rechteck 646">
              <a:extLst>
                <a:ext uri="{FF2B5EF4-FFF2-40B4-BE49-F238E27FC236}">
                  <a16:creationId xmlns:a16="http://schemas.microsoft.com/office/drawing/2014/main" id="{0DC57DF3-D0E1-10EA-D4DE-BF03F6818B20}"/>
                </a:ext>
              </a:extLst>
            </p:cNvPr>
            <p:cNvSpPr/>
            <p:nvPr userDrawn="1"/>
          </p:nvSpPr>
          <p:spPr bwMode="gray">
            <a:xfrm>
              <a:off x="434980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8" name="Rechteck 647">
              <a:extLst>
                <a:ext uri="{FF2B5EF4-FFF2-40B4-BE49-F238E27FC236}">
                  <a16:creationId xmlns:a16="http://schemas.microsoft.com/office/drawing/2014/main" id="{833102E3-4412-4E8D-F563-452DBE6D8CC8}"/>
                </a:ext>
              </a:extLst>
            </p:cNvPr>
            <p:cNvSpPr/>
            <p:nvPr userDrawn="1"/>
          </p:nvSpPr>
          <p:spPr bwMode="gray">
            <a:xfrm>
              <a:off x="377374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9" name="Rechteck 648">
              <a:extLst>
                <a:ext uri="{FF2B5EF4-FFF2-40B4-BE49-F238E27FC236}">
                  <a16:creationId xmlns:a16="http://schemas.microsoft.com/office/drawing/2014/main" id="{40462E81-74A0-CE24-99C2-7A4966CC6035}"/>
                </a:ext>
              </a:extLst>
            </p:cNvPr>
            <p:cNvSpPr/>
            <p:nvPr userDrawn="1"/>
          </p:nvSpPr>
          <p:spPr bwMode="gray">
            <a:xfrm>
              <a:off x="319768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0" name="Rechteck 649">
              <a:extLst>
                <a:ext uri="{FF2B5EF4-FFF2-40B4-BE49-F238E27FC236}">
                  <a16:creationId xmlns:a16="http://schemas.microsoft.com/office/drawing/2014/main" id="{52FF1A6F-E5DC-E360-7FCD-616B79719B39}"/>
                </a:ext>
              </a:extLst>
            </p:cNvPr>
            <p:cNvSpPr/>
            <p:nvPr userDrawn="1"/>
          </p:nvSpPr>
          <p:spPr bwMode="gray">
            <a:xfrm>
              <a:off x="262161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1" name="Rechteck 650">
              <a:extLst>
                <a:ext uri="{FF2B5EF4-FFF2-40B4-BE49-F238E27FC236}">
                  <a16:creationId xmlns:a16="http://schemas.microsoft.com/office/drawing/2014/main" id="{EDA99EA4-4B59-292B-7B6A-91BE75F1DF01}"/>
                </a:ext>
              </a:extLst>
            </p:cNvPr>
            <p:cNvSpPr/>
            <p:nvPr userDrawn="1"/>
          </p:nvSpPr>
          <p:spPr bwMode="gray">
            <a:xfrm>
              <a:off x="204555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2" name="Rechteck 651">
              <a:extLst>
                <a:ext uri="{FF2B5EF4-FFF2-40B4-BE49-F238E27FC236}">
                  <a16:creationId xmlns:a16="http://schemas.microsoft.com/office/drawing/2014/main" id="{1EC77C51-AFF2-A84D-E832-F7E77B099C30}"/>
                </a:ext>
              </a:extLst>
            </p:cNvPr>
            <p:cNvSpPr/>
            <p:nvPr userDrawn="1"/>
          </p:nvSpPr>
          <p:spPr bwMode="gray">
            <a:xfrm>
              <a:off x="146948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3" name="Rechteck 652">
              <a:extLst>
                <a:ext uri="{FF2B5EF4-FFF2-40B4-BE49-F238E27FC236}">
                  <a16:creationId xmlns:a16="http://schemas.microsoft.com/office/drawing/2014/main" id="{1AF953F6-F138-69AD-D299-D4CFCABCAA19}"/>
                </a:ext>
              </a:extLst>
            </p:cNvPr>
            <p:cNvSpPr/>
            <p:nvPr userDrawn="1"/>
          </p:nvSpPr>
          <p:spPr bwMode="gray">
            <a:xfrm>
              <a:off x="89342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4" name="Rechteck 653">
              <a:extLst>
                <a:ext uri="{FF2B5EF4-FFF2-40B4-BE49-F238E27FC236}">
                  <a16:creationId xmlns:a16="http://schemas.microsoft.com/office/drawing/2014/main" id="{FDB511E8-0045-46F1-64B2-7FDC7A24A3A2}"/>
                </a:ext>
              </a:extLst>
            </p:cNvPr>
            <p:cNvSpPr/>
            <p:nvPr userDrawn="1"/>
          </p:nvSpPr>
          <p:spPr bwMode="gray">
            <a:xfrm>
              <a:off x="31736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5" name="Rechteck 654">
              <a:extLst>
                <a:ext uri="{FF2B5EF4-FFF2-40B4-BE49-F238E27FC236}">
                  <a16:creationId xmlns:a16="http://schemas.microsoft.com/office/drawing/2014/main" id="{39491065-8ECA-9989-CF21-FF44514E45B7}"/>
                </a:ext>
              </a:extLst>
            </p:cNvPr>
            <p:cNvSpPr/>
            <p:nvPr userDrawn="1"/>
          </p:nvSpPr>
          <p:spPr bwMode="gray">
            <a:xfrm>
              <a:off x="1126257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6" name="Rechteck 655">
              <a:extLst>
                <a:ext uri="{FF2B5EF4-FFF2-40B4-BE49-F238E27FC236}">
                  <a16:creationId xmlns:a16="http://schemas.microsoft.com/office/drawing/2014/main" id="{9F4D882D-946F-D469-B5DC-E5AA18860769}"/>
                </a:ext>
              </a:extLst>
            </p:cNvPr>
            <p:cNvSpPr/>
            <p:nvPr userDrawn="1"/>
          </p:nvSpPr>
          <p:spPr bwMode="gray">
            <a:xfrm>
              <a:off x="1068651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7" name="Rechteck 656">
              <a:extLst>
                <a:ext uri="{FF2B5EF4-FFF2-40B4-BE49-F238E27FC236}">
                  <a16:creationId xmlns:a16="http://schemas.microsoft.com/office/drawing/2014/main" id="{02082AEB-25D7-59A4-E17E-EB3F06D43188}"/>
                </a:ext>
              </a:extLst>
            </p:cNvPr>
            <p:cNvSpPr/>
            <p:nvPr userDrawn="1"/>
          </p:nvSpPr>
          <p:spPr bwMode="gray">
            <a:xfrm>
              <a:off x="1011044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8" name="Rechteck 657">
              <a:extLst>
                <a:ext uri="{FF2B5EF4-FFF2-40B4-BE49-F238E27FC236}">
                  <a16:creationId xmlns:a16="http://schemas.microsoft.com/office/drawing/2014/main" id="{6F414C17-9B85-44B4-7833-F94E505259EB}"/>
                </a:ext>
              </a:extLst>
            </p:cNvPr>
            <p:cNvSpPr/>
            <p:nvPr userDrawn="1"/>
          </p:nvSpPr>
          <p:spPr bwMode="gray">
            <a:xfrm>
              <a:off x="953438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9" name="Rechteck 658">
              <a:extLst>
                <a:ext uri="{FF2B5EF4-FFF2-40B4-BE49-F238E27FC236}">
                  <a16:creationId xmlns:a16="http://schemas.microsoft.com/office/drawing/2014/main" id="{E57DFE97-48B7-2291-F43F-3EA8611ED77E}"/>
                </a:ext>
              </a:extLst>
            </p:cNvPr>
            <p:cNvSpPr/>
            <p:nvPr userDrawn="1"/>
          </p:nvSpPr>
          <p:spPr bwMode="gray">
            <a:xfrm>
              <a:off x="895832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0" name="Rechteck 659">
              <a:extLst>
                <a:ext uri="{FF2B5EF4-FFF2-40B4-BE49-F238E27FC236}">
                  <a16:creationId xmlns:a16="http://schemas.microsoft.com/office/drawing/2014/main" id="{BDC8E0CC-D086-CA63-D194-95B565992ADB}"/>
                </a:ext>
              </a:extLst>
            </p:cNvPr>
            <p:cNvSpPr/>
            <p:nvPr userDrawn="1"/>
          </p:nvSpPr>
          <p:spPr bwMode="gray">
            <a:xfrm>
              <a:off x="838225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1" name="Rechteck 660">
              <a:extLst>
                <a:ext uri="{FF2B5EF4-FFF2-40B4-BE49-F238E27FC236}">
                  <a16:creationId xmlns:a16="http://schemas.microsoft.com/office/drawing/2014/main" id="{43249363-9EC7-3BE3-8FBC-3A5A304971EB}"/>
                </a:ext>
              </a:extLst>
            </p:cNvPr>
            <p:cNvSpPr/>
            <p:nvPr userDrawn="1"/>
          </p:nvSpPr>
          <p:spPr bwMode="gray">
            <a:xfrm>
              <a:off x="780619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2" name="Rechteck 661">
              <a:extLst>
                <a:ext uri="{FF2B5EF4-FFF2-40B4-BE49-F238E27FC236}">
                  <a16:creationId xmlns:a16="http://schemas.microsoft.com/office/drawing/2014/main" id="{F0013AD1-8843-A9B0-6896-C8D729514E5B}"/>
                </a:ext>
              </a:extLst>
            </p:cNvPr>
            <p:cNvSpPr/>
            <p:nvPr userDrawn="1"/>
          </p:nvSpPr>
          <p:spPr bwMode="gray">
            <a:xfrm>
              <a:off x="723012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3" name="Rechteck 662">
              <a:extLst>
                <a:ext uri="{FF2B5EF4-FFF2-40B4-BE49-F238E27FC236}">
                  <a16:creationId xmlns:a16="http://schemas.microsoft.com/office/drawing/2014/main" id="{E8AB35B9-3503-A02F-8D93-4354379F0E74}"/>
                </a:ext>
              </a:extLst>
            </p:cNvPr>
            <p:cNvSpPr/>
            <p:nvPr userDrawn="1"/>
          </p:nvSpPr>
          <p:spPr bwMode="gray">
            <a:xfrm>
              <a:off x="665406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4" name="Rechteck 663">
              <a:extLst>
                <a:ext uri="{FF2B5EF4-FFF2-40B4-BE49-F238E27FC236}">
                  <a16:creationId xmlns:a16="http://schemas.microsoft.com/office/drawing/2014/main" id="{36C04AFC-5D53-FCD9-CEA4-E6309671D3D9}"/>
                </a:ext>
              </a:extLst>
            </p:cNvPr>
            <p:cNvSpPr/>
            <p:nvPr userDrawn="1"/>
          </p:nvSpPr>
          <p:spPr bwMode="gray">
            <a:xfrm>
              <a:off x="607800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5" name="Rechteck 664">
              <a:extLst>
                <a:ext uri="{FF2B5EF4-FFF2-40B4-BE49-F238E27FC236}">
                  <a16:creationId xmlns:a16="http://schemas.microsoft.com/office/drawing/2014/main" id="{B74AC5F3-C960-3AA6-8396-528C824AB2AB}"/>
                </a:ext>
              </a:extLst>
            </p:cNvPr>
            <p:cNvSpPr/>
            <p:nvPr userDrawn="1"/>
          </p:nvSpPr>
          <p:spPr bwMode="gray">
            <a:xfrm>
              <a:off x="550193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6" name="Rechteck 665">
              <a:extLst>
                <a:ext uri="{FF2B5EF4-FFF2-40B4-BE49-F238E27FC236}">
                  <a16:creationId xmlns:a16="http://schemas.microsoft.com/office/drawing/2014/main" id="{F96AAC54-BD04-1522-FDE3-1094D79121A9}"/>
                </a:ext>
              </a:extLst>
            </p:cNvPr>
            <p:cNvSpPr/>
            <p:nvPr userDrawn="1"/>
          </p:nvSpPr>
          <p:spPr bwMode="gray">
            <a:xfrm>
              <a:off x="492587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7" name="Rechteck 666">
              <a:extLst>
                <a:ext uri="{FF2B5EF4-FFF2-40B4-BE49-F238E27FC236}">
                  <a16:creationId xmlns:a16="http://schemas.microsoft.com/office/drawing/2014/main" id="{A86DAD03-672A-1B7E-F5A0-8632B873D5DA}"/>
                </a:ext>
              </a:extLst>
            </p:cNvPr>
            <p:cNvSpPr/>
            <p:nvPr userDrawn="1"/>
          </p:nvSpPr>
          <p:spPr bwMode="gray">
            <a:xfrm>
              <a:off x="434980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8" name="Rechteck 667">
              <a:extLst>
                <a:ext uri="{FF2B5EF4-FFF2-40B4-BE49-F238E27FC236}">
                  <a16:creationId xmlns:a16="http://schemas.microsoft.com/office/drawing/2014/main" id="{59F391FF-850B-C4DB-2705-AF6C5DE404A6}"/>
                </a:ext>
              </a:extLst>
            </p:cNvPr>
            <p:cNvSpPr/>
            <p:nvPr userDrawn="1"/>
          </p:nvSpPr>
          <p:spPr bwMode="gray">
            <a:xfrm>
              <a:off x="377374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9" name="Rechteck 668">
              <a:extLst>
                <a:ext uri="{FF2B5EF4-FFF2-40B4-BE49-F238E27FC236}">
                  <a16:creationId xmlns:a16="http://schemas.microsoft.com/office/drawing/2014/main" id="{87FD1149-3CB5-8DD2-DCE4-1909D2D3050D}"/>
                </a:ext>
              </a:extLst>
            </p:cNvPr>
            <p:cNvSpPr/>
            <p:nvPr userDrawn="1"/>
          </p:nvSpPr>
          <p:spPr bwMode="gray">
            <a:xfrm>
              <a:off x="319768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0" name="Rechteck 669">
              <a:extLst>
                <a:ext uri="{FF2B5EF4-FFF2-40B4-BE49-F238E27FC236}">
                  <a16:creationId xmlns:a16="http://schemas.microsoft.com/office/drawing/2014/main" id="{1D010A8E-AC9A-0D9C-F534-135521F19A5E}"/>
                </a:ext>
              </a:extLst>
            </p:cNvPr>
            <p:cNvSpPr/>
            <p:nvPr userDrawn="1"/>
          </p:nvSpPr>
          <p:spPr bwMode="gray">
            <a:xfrm>
              <a:off x="262161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1" name="Rechteck 670">
              <a:extLst>
                <a:ext uri="{FF2B5EF4-FFF2-40B4-BE49-F238E27FC236}">
                  <a16:creationId xmlns:a16="http://schemas.microsoft.com/office/drawing/2014/main" id="{53618FF0-3726-A121-7577-410E12CCAD20}"/>
                </a:ext>
              </a:extLst>
            </p:cNvPr>
            <p:cNvSpPr/>
            <p:nvPr userDrawn="1"/>
          </p:nvSpPr>
          <p:spPr bwMode="gray">
            <a:xfrm>
              <a:off x="204555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2" name="Rechteck 671">
              <a:extLst>
                <a:ext uri="{FF2B5EF4-FFF2-40B4-BE49-F238E27FC236}">
                  <a16:creationId xmlns:a16="http://schemas.microsoft.com/office/drawing/2014/main" id="{487C084A-093E-48E4-D761-8E053E48D909}"/>
                </a:ext>
              </a:extLst>
            </p:cNvPr>
            <p:cNvSpPr/>
            <p:nvPr userDrawn="1"/>
          </p:nvSpPr>
          <p:spPr bwMode="gray">
            <a:xfrm>
              <a:off x="146948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3" name="Rechteck 672">
              <a:extLst>
                <a:ext uri="{FF2B5EF4-FFF2-40B4-BE49-F238E27FC236}">
                  <a16:creationId xmlns:a16="http://schemas.microsoft.com/office/drawing/2014/main" id="{885C8212-0054-7E02-EAAF-3EE5F2293B9D}"/>
                </a:ext>
              </a:extLst>
            </p:cNvPr>
            <p:cNvSpPr/>
            <p:nvPr userDrawn="1"/>
          </p:nvSpPr>
          <p:spPr bwMode="gray">
            <a:xfrm>
              <a:off x="89342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4" name="Rechteck 673">
              <a:extLst>
                <a:ext uri="{FF2B5EF4-FFF2-40B4-BE49-F238E27FC236}">
                  <a16:creationId xmlns:a16="http://schemas.microsoft.com/office/drawing/2014/main" id="{D1C572A0-9F0D-EEB1-6255-688953AA481C}"/>
                </a:ext>
              </a:extLst>
            </p:cNvPr>
            <p:cNvSpPr/>
            <p:nvPr userDrawn="1"/>
          </p:nvSpPr>
          <p:spPr bwMode="gray">
            <a:xfrm>
              <a:off x="31736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5" name="Rechteck 674">
              <a:extLst>
                <a:ext uri="{FF2B5EF4-FFF2-40B4-BE49-F238E27FC236}">
                  <a16:creationId xmlns:a16="http://schemas.microsoft.com/office/drawing/2014/main" id="{91E39A0E-98D5-3A0F-BB60-16DF043C6CBF}"/>
                </a:ext>
              </a:extLst>
            </p:cNvPr>
            <p:cNvSpPr/>
            <p:nvPr userDrawn="1"/>
          </p:nvSpPr>
          <p:spPr bwMode="gray">
            <a:xfrm>
              <a:off x="1126257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6" name="Rechteck 675">
              <a:extLst>
                <a:ext uri="{FF2B5EF4-FFF2-40B4-BE49-F238E27FC236}">
                  <a16:creationId xmlns:a16="http://schemas.microsoft.com/office/drawing/2014/main" id="{11115FB6-DBCE-7302-CB3C-B9A5640BD087}"/>
                </a:ext>
              </a:extLst>
            </p:cNvPr>
            <p:cNvSpPr/>
            <p:nvPr userDrawn="1"/>
          </p:nvSpPr>
          <p:spPr bwMode="gray">
            <a:xfrm>
              <a:off x="1068651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7" name="Rechteck 676">
              <a:extLst>
                <a:ext uri="{FF2B5EF4-FFF2-40B4-BE49-F238E27FC236}">
                  <a16:creationId xmlns:a16="http://schemas.microsoft.com/office/drawing/2014/main" id="{19C4836A-4B1F-214E-FE16-C5317D8DFD50}"/>
                </a:ext>
              </a:extLst>
            </p:cNvPr>
            <p:cNvSpPr/>
            <p:nvPr userDrawn="1"/>
          </p:nvSpPr>
          <p:spPr bwMode="gray">
            <a:xfrm>
              <a:off x="1011044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8" name="Rechteck 677">
              <a:extLst>
                <a:ext uri="{FF2B5EF4-FFF2-40B4-BE49-F238E27FC236}">
                  <a16:creationId xmlns:a16="http://schemas.microsoft.com/office/drawing/2014/main" id="{C051C33F-5BB2-AA86-228E-A7E9EF7A6DF9}"/>
                </a:ext>
              </a:extLst>
            </p:cNvPr>
            <p:cNvSpPr/>
            <p:nvPr userDrawn="1"/>
          </p:nvSpPr>
          <p:spPr bwMode="gray">
            <a:xfrm>
              <a:off x="953438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9" name="Rechteck 678">
              <a:extLst>
                <a:ext uri="{FF2B5EF4-FFF2-40B4-BE49-F238E27FC236}">
                  <a16:creationId xmlns:a16="http://schemas.microsoft.com/office/drawing/2014/main" id="{15BEA18C-9153-7689-355E-39FD474A9120}"/>
                </a:ext>
              </a:extLst>
            </p:cNvPr>
            <p:cNvSpPr/>
            <p:nvPr userDrawn="1"/>
          </p:nvSpPr>
          <p:spPr bwMode="gray">
            <a:xfrm>
              <a:off x="895832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0" name="Rechteck 679">
              <a:extLst>
                <a:ext uri="{FF2B5EF4-FFF2-40B4-BE49-F238E27FC236}">
                  <a16:creationId xmlns:a16="http://schemas.microsoft.com/office/drawing/2014/main" id="{18557F20-9D34-9B39-F5DB-F311DF672FF3}"/>
                </a:ext>
              </a:extLst>
            </p:cNvPr>
            <p:cNvSpPr/>
            <p:nvPr userDrawn="1"/>
          </p:nvSpPr>
          <p:spPr bwMode="gray">
            <a:xfrm>
              <a:off x="838225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1" name="Rechteck 680">
              <a:extLst>
                <a:ext uri="{FF2B5EF4-FFF2-40B4-BE49-F238E27FC236}">
                  <a16:creationId xmlns:a16="http://schemas.microsoft.com/office/drawing/2014/main" id="{F6C48807-031D-762C-A17C-1C800E2A6918}"/>
                </a:ext>
              </a:extLst>
            </p:cNvPr>
            <p:cNvSpPr/>
            <p:nvPr userDrawn="1"/>
          </p:nvSpPr>
          <p:spPr bwMode="gray">
            <a:xfrm>
              <a:off x="780619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2" name="Rechteck 681">
              <a:extLst>
                <a:ext uri="{FF2B5EF4-FFF2-40B4-BE49-F238E27FC236}">
                  <a16:creationId xmlns:a16="http://schemas.microsoft.com/office/drawing/2014/main" id="{546FD122-2B45-E7D6-1724-97BE5F49BE2C}"/>
                </a:ext>
              </a:extLst>
            </p:cNvPr>
            <p:cNvSpPr/>
            <p:nvPr userDrawn="1"/>
          </p:nvSpPr>
          <p:spPr bwMode="gray">
            <a:xfrm>
              <a:off x="723012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3" name="Rechteck 682">
              <a:extLst>
                <a:ext uri="{FF2B5EF4-FFF2-40B4-BE49-F238E27FC236}">
                  <a16:creationId xmlns:a16="http://schemas.microsoft.com/office/drawing/2014/main" id="{7FEF365E-E05B-09EA-16BE-09AD245E3B3F}"/>
                </a:ext>
              </a:extLst>
            </p:cNvPr>
            <p:cNvSpPr/>
            <p:nvPr userDrawn="1"/>
          </p:nvSpPr>
          <p:spPr bwMode="gray">
            <a:xfrm>
              <a:off x="665406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4" name="Rechteck 683">
              <a:extLst>
                <a:ext uri="{FF2B5EF4-FFF2-40B4-BE49-F238E27FC236}">
                  <a16:creationId xmlns:a16="http://schemas.microsoft.com/office/drawing/2014/main" id="{539A6AE0-3AB2-F25D-84AA-4F42DC9A9E8D}"/>
                </a:ext>
              </a:extLst>
            </p:cNvPr>
            <p:cNvSpPr/>
            <p:nvPr userDrawn="1"/>
          </p:nvSpPr>
          <p:spPr bwMode="gray">
            <a:xfrm>
              <a:off x="607800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5" name="Rechteck 684">
              <a:extLst>
                <a:ext uri="{FF2B5EF4-FFF2-40B4-BE49-F238E27FC236}">
                  <a16:creationId xmlns:a16="http://schemas.microsoft.com/office/drawing/2014/main" id="{80CB220D-AD49-832C-FB0C-954750FF1207}"/>
                </a:ext>
              </a:extLst>
            </p:cNvPr>
            <p:cNvSpPr/>
            <p:nvPr userDrawn="1"/>
          </p:nvSpPr>
          <p:spPr bwMode="gray">
            <a:xfrm>
              <a:off x="550193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6" name="Rechteck 685">
              <a:extLst>
                <a:ext uri="{FF2B5EF4-FFF2-40B4-BE49-F238E27FC236}">
                  <a16:creationId xmlns:a16="http://schemas.microsoft.com/office/drawing/2014/main" id="{E072985D-6E7D-70D3-9134-B267D7DE24E9}"/>
                </a:ext>
              </a:extLst>
            </p:cNvPr>
            <p:cNvSpPr/>
            <p:nvPr userDrawn="1"/>
          </p:nvSpPr>
          <p:spPr bwMode="gray">
            <a:xfrm>
              <a:off x="492587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7" name="Rechteck 686">
              <a:extLst>
                <a:ext uri="{FF2B5EF4-FFF2-40B4-BE49-F238E27FC236}">
                  <a16:creationId xmlns:a16="http://schemas.microsoft.com/office/drawing/2014/main" id="{AA5349B0-5EB4-6545-1BD4-6FC5CB719BCF}"/>
                </a:ext>
              </a:extLst>
            </p:cNvPr>
            <p:cNvSpPr/>
            <p:nvPr userDrawn="1"/>
          </p:nvSpPr>
          <p:spPr bwMode="gray">
            <a:xfrm>
              <a:off x="434980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8" name="Rechteck 687">
              <a:extLst>
                <a:ext uri="{FF2B5EF4-FFF2-40B4-BE49-F238E27FC236}">
                  <a16:creationId xmlns:a16="http://schemas.microsoft.com/office/drawing/2014/main" id="{BF2E719E-B992-E329-0C03-FA4607E747E7}"/>
                </a:ext>
              </a:extLst>
            </p:cNvPr>
            <p:cNvSpPr/>
            <p:nvPr userDrawn="1"/>
          </p:nvSpPr>
          <p:spPr bwMode="gray">
            <a:xfrm>
              <a:off x="377374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9" name="Rechteck 688">
              <a:extLst>
                <a:ext uri="{FF2B5EF4-FFF2-40B4-BE49-F238E27FC236}">
                  <a16:creationId xmlns:a16="http://schemas.microsoft.com/office/drawing/2014/main" id="{3FB2D0DB-BC07-B6E3-3523-5439766AFAE4}"/>
                </a:ext>
              </a:extLst>
            </p:cNvPr>
            <p:cNvSpPr/>
            <p:nvPr userDrawn="1"/>
          </p:nvSpPr>
          <p:spPr bwMode="gray">
            <a:xfrm>
              <a:off x="319768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0" name="Rechteck 689">
              <a:extLst>
                <a:ext uri="{FF2B5EF4-FFF2-40B4-BE49-F238E27FC236}">
                  <a16:creationId xmlns:a16="http://schemas.microsoft.com/office/drawing/2014/main" id="{106B4B9D-1128-72C6-0855-97A515D53603}"/>
                </a:ext>
              </a:extLst>
            </p:cNvPr>
            <p:cNvSpPr/>
            <p:nvPr userDrawn="1"/>
          </p:nvSpPr>
          <p:spPr bwMode="gray">
            <a:xfrm>
              <a:off x="262161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1" name="Rechteck 690">
              <a:extLst>
                <a:ext uri="{FF2B5EF4-FFF2-40B4-BE49-F238E27FC236}">
                  <a16:creationId xmlns:a16="http://schemas.microsoft.com/office/drawing/2014/main" id="{88AF91A8-04E0-DAB1-982A-83B33F516899}"/>
                </a:ext>
              </a:extLst>
            </p:cNvPr>
            <p:cNvSpPr/>
            <p:nvPr userDrawn="1"/>
          </p:nvSpPr>
          <p:spPr bwMode="gray">
            <a:xfrm>
              <a:off x="204555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2" name="Rechteck 691">
              <a:extLst>
                <a:ext uri="{FF2B5EF4-FFF2-40B4-BE49-F238E27FC236}">
                  <a16:creationId xmlns:a16="http://schemas.microsoft.com/office/drawing/2014/main" id="{E3E5C741-5A9B-8506-812B-1C951FBEFDB6}"/>
                </a:ext>
              </a:extLst>
            </p:cNvPr>
            <p:cNvSpPr/>
            <p:nvPr userDrawn="1"/>
          </p:nvSpPr>
          <p:spPr bwMode="gray">
            <a:xfrm>
              <a:off x="146948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3" name="Rechteck 692">
              <a:extLst>
                <a:ext uri="{FF2B5EF4-FFF2-40B4-BE49-F238E27FC236}">
                  <a16:creationId xmlns:a16="http://schemas.microsoft.com/office/drawing/2014/main" id="{B16BA001-1DE8-26B6-7F76-D6BB9C353A83}"/>
                </a:ext>
              </a:extLst>
            </p:cNvPr>
            <p:cNvSpPr/>
            <p:nvPr userDrawn="1"/>
          </p:nvSpPr>
          <p:spPr bwMode="gray">
            <a:xfrm>
              <a:off x="89342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4" name="Rechteck 693">
              <a:extLst>
                <a:ext uri="{FF2B5EF4-FFF2-40B4-BE49-F238E27FC236}">
                  <a16:creationId xmlns:a16="http://schemas.microsoft.com/office/drawing/2014/main" id="{8F907C62-2B49-B87D-31A3-2D53F0539AEF}"/>
                </a:ext>
              </a:extLst>
            </p:cNvPr>
            <p:cNvSpPr/>
            <p:nvPr userDrawn="1"/>
          </p:nvSpPr>
          <p:spPr bwMode="gray">
            <a:xfrm>
              <a:off x="31736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5" name="Rechteck 694">
              <a:extLst>
                <a:ext uri="{FF2B5EF4-FFF2-40B4-BE49-F238E27FC236}">
                  <a16:creationId xmlns:a16="http://schemas.microsoft.com/office/drawing/2014/main" id="{E4B708B1-4ACE-AD91-9ADA-51897E3F9595}"/>
                </a:ext>
              </a:extLst>
            </p:cNvPr>
            <p:cNvSpPr/>
            <p:nvPr userDrawn="1"/>
          </p:nvSpPr>
          <p:spPr bwMode="gray">
            <a:xfrm>
              <a:off x="1126257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6" name="Rechteck 695">
              <a:extLst>
                <a:ext uri="{FF2B5EF4-FFF2-40B4-BE49-F238E27FC236}">
                  <a16:creationId xmlns:a16="http://schemas.microsoft.com/office/drawing/2014/main" id="{51536BB0-9703-F8F8-F881-D1079B0B2724}"/>
                </a:ext>
              </a:extLst>
            </p:cNvPr>
            <p:cNvSpPr/>
            <p:nvPr userDrawn="1"/>
          </p:nvSpPr>
          <p:spPr bwMode="gray">
            <a:xfrm>
              <a:off x="1068651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7" name="Rechteck 696">
              <a:extLst>
                <a:ext uri="{FF2B5EF4-FFF2-40B4-BE49-F238E27FC236}">
                  <a16:creationId xmlns:a16="http://schemas.microsoft.com/office/drawing/2014/main" id="{EC988787-4046-67DE-DE3F-AC6E067EC00E}"/>
                </a:ext>
              </a:extLst>
            </p:cNvPr>
            <p:cNvSpPr/>
            <p:nvPr userDrawn="1"/>
          </p:nvSpPr>
          <p:spPr bwMode="gray">
            <a:xfrm>
              <a:off x="1011044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8" name="Rechteck 697">
              <a:extLst>
                <a:ext uri="{FF2B5EF4-FFF2-40B4-BE49-F238E27FC236}">
                  <a16:creationId xmlns:a16="http://schemas.microsoft.com/office/drawing/2014/main" id="{1E550D1C-5938-44C9-32B5-3DB3D1C1DAB4}"/>
                </a:ext>
              </a:extLst>
            </p:cNvPr>
            <p:cNvSpPr/>
            <p:nvPr userDrawn="1"/>
          </p:nvSpPr>
          <p:spPr bwMode="gray">
            <a:xfrm>
              <a:off x="953438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9" name="Rechteck 698">
              <a:extLst>
                <a:ext uri="{FF2B5EF4-FFF2-40B4-BE49-F238E27FC236}">
                  <a16:creationId xmlns:a16="http://schemas.microsoft.com/office/drawing/2014/main" id="{9FA7F4DA-7581-E679-4CB7-F08DFE52FA24}"/>
                </a:ext>
              </a:extLst>
            </p:cNvPr>
            <p:cNvSpPr/>
            <p:nvPr userDrawn="1"/>
          </p:nvSpPr>
          <p:spPr bwMode="gray">
            <a:xfrm>
              <a:off x="895832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0" name="Rechteck 699">
              <a:extLst>
                <a:ext uri="{FF2B5EF4-FFF2-40B4-BE49-F238E27FC236}">
                  <a16:creationId xmlns:a16="http://schemas.microsoft.com/office/drawing/2014/main" id="{C097D8E7-56D6-C119-A63B-B6E1882DFCFB}"/>
                </a:ext>
              </a:extLst>
            </p:cNvPr>
            <p:cNvSpPr/>
            <p:nvPr userDrawn="1"/>
          </p:nvSpPr>
          <p:spPr bwMode="gray">
            <a:xfrm>
              <a:off x="838225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1" name="Rechteck 700">
              <a:extLst>
                <a:ext uri="{FF2B5EF4-FFF2-40B4-BE49-F238E27FC236}">
                  <a16:creationId xmlns:a16="http://schemas.microsoft.com/office/drawing/2014/main" id="{61C89FA3-AEE2-B251-248D-67EE7DBB46AE}"/>
                </a:ext>
              </a:extLst>
            </p:cNvPr>
            <p:cNvSpPr/>
            <p:nvPr userDrawn="1"/>
          </p:nvSpPr>
          <p:spPr bwMode="gray">
            <a:xfrm>
              <a:off x="780619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2" name="Rechteck 701">
              <a:extLst>
                <a:ext uri="{FF2B5EF4-FFF2-40B4-BE49-F238E27FC236}">
                  <a16:creationId xmlns:a16="http://schemas.microsoft.com/office/drawing/2014/main" id="{BE2E903A-6A53-D437-6C59-093375032CE9}"/>
                </a:ext>
              </a:extLst>
            </p:cNvPr>
            <p:cNvSpPr/>
            <p:nvPr userDrawn="1"/>
          </p:nvSpPr>
          <p:spPr bwMode="gray">
            <a:xfrm>
              <a:off x="723012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3" name="Rechteck 702">
              <a:extLst>
                <a:ext uri="{FF2B5EF4-FFF2-40B4-BE49-F238E27FC236}">
                  <a16:creationId xmlns:a16="http://schemas.microsoft.com/office/drawing/2014/main" id="{8153F25A-8C6D-5614-2FFF-6DDC96DC5A90}"/>
                </a:ext>
              </a:extLst>
            </p:cNvPr>
            <p:cNvSpPr/>
            <p:nvPr userDrawn="1"/>
          </p:nvSpPr>
          <p:spPr bwMode="gray">
            <a:xfrm>
              <a:off x="665406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4" name="Rechteck 703">
              <a:extLst>
                <a:ext uri="{FF2B5EF4-FFF2-40B4-BE49-F238E27FC236}">
                  <a16:creationId xmlns:a16="http://schemas.microsoft.com/office/drawing/2014/main" id="{C484601C-0BE7-E05B-7638-091DFB14D595}"/>
                </a:ext>
              </a:extLst>
            </p:cNvPr>
            <p:cNvSpPr/>
            <p:nvPr userDrawn="1"/>
          </p:nvSpPr>
          <p:spPr bwMode="gray">
            <a:xfrm>
              <a:off x="607800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5" name="Rechteck 704">
              <a:extLst>
                <a:ext uri="{FF2B5EF4-FFF2-40B4-BE49-F238E27FC236}">
                  <a16:creationId xmlns:a16="http://schemas.microsoft.com/office/drawing/2014/main" id="{EE7F9E8C-4F3B-5706-5ABF-734384FA17A2}"/>
                </a:ext>
              </a:extLst>
            </p:cNvPr>
            <p:cNvSpPr/>
            <p:nvPr userDrawn="1"/>
          </p:nvSpPr>
          <p:spPr bwMode="gray">
            <a:xfrm>
              <a:off x="550193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6" name="Rechteck 705">
              <a:extLst>
                <a:ext uri="{FF2B5EF4-FFF2-40B4-BE49-F238E27FC236}">
                  <a16:creationId xmlns:a16="http://schemas.microsoft.com/office/drawing/2014/main" id="{D1E953F0-BDAC-49AF-BEC5-F41D8B685521}"/>
                </a:ext>
              </a:extLst>
            </p:cNvPr>
            <p:cNvSpPr/>
            <p:nvPr userDrawn="1"/>
          </p:nvSpPr>
          <p:spPr bwMode="gray">
            <a:xfrm>
              <a:off x="492587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7" name="Rechteck 706">
              <a:extLst>
                <a:ext uri="{FF2B5EF4-FFF2-40B4-BE49-F238E27FC236}">
                  <a16:creationId xmlns:a16="http://schemas.microsoft.com/office/drawing/2014/main" id="{58D700B3-852B-1867-E4C3-676CDB248FB8}"/>
                </a:ext>
              </a:extLst>
            </p:cNvPr>
            <p:cNvSpPr/>
            <p:nvPr userDrawn="1"/>
          </p:nvSpPr>
          <p:spPr bwMode="gray">
            <a:xfrm>
              <a:off x="434980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8" name="Rechteck 707">
              <a:extLst>
                <a:ext uri="{FF2B5EF4-FFF2-40B4-BE49-F238E27FC236}">
                  <a16:creationId xmlns:a16="http://schemas.microsoft.com/office/drawing/2014/main" id="{5E782952-BFD3-D697-7E44-0C5A5508E1BC}"/>
                </a:ext>
              </a:extLst>
            </p:cNvPr>
            <p:cNvSpPr/>
            <p:nvPr userDrawn="1"/>
          </p:nvSpPr>
          <p:spPr bwMode="gray">
            <a:xfrm>
              <a:off x="377374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9" name="Rechteck 708">
              <a:extLst>
                <a:ext uri="{FF2B5EF4-FFF2-40B4-BE49-F238E27FC236}">
                  <a16:creationId xmlns:a16="http://schemas.microsoft.com/office/drawing/2014/main" id="{9D204DC8-1AF5-D159-CAE6-F03FDE3A2791}"/>
                </a:ext>
              </a:extLst>
            </p:cNvPr>
            <p:cNvSpPr/>
            <p:nvPr userDrawn="1"/>
          </p:nvSpPr>
          <p:spPr bwMode="gray">
            <a:xfrm>
              <a:off x="319768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0" name="Rechteck 709">
              <a:extLst>
                <a:ext uri="{FF2B5EF4-FFF2-40B4-BE49-F238E27FC236}">
                  <a16:creationId xmlns:a16="http://schemas.microsoft.com/office/drawing/2014/main" id="{B3439C7B-DAAE-E602-3809-27776290528E}"/>
                </a:ext>
              </a:extLst>
            </p:cNvPr>
            <p:cNvSpPr/>
            <p:nvPr userDrawn="1"/>
          </p:nvSpPr>
          <p:spPr bwMode="gray">
            <a:xfrm>
              <a:off x="262161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1" name="Rechteck 710">
              <a:extLst>
                <a:ext uri="{FF2B5EF4-FFF2-40B4-BE49-F238E27FC236}">
                  <a16:creationId xmlns:a16="http://schemas.microsoft.com/office/drawing/2014/main" id="{11AAC305-2958-7DE5-BEFF-02354CEB7658}"/>
                </a:ext>
              </a:extLst>
            </p:cNvPr>
            <p:cNvSpPr/>
            <p:nvPr userDrawn="1"/>
          </p:nvSpPr>
          <p:spPr bwMode="gray">
            <a:xfrm>
              <a:off x="204555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2" name="Rechteck 711">
              <a:extLst>
                <a:ext uri="{FF2B5EF4-FFF2-40B4-BE49-F238E27FC236}">
                  <a16:creationId xmlns:a16="http://schemas.microsoft.com/office/drawing/2014/main" id="{0B3A05D9-602D-361D-ACF9-5617CAB1578E}"/>
                </a:ext>
              </a:extLst>
            </p:cNvPr>
            <p:cNvSpPr/>
            <p:nvPr userDrawn="1"/>
          </p:nvSpPr>
          <p:spPr bwMode="gray">
            <a:xfrm>
              <a:off x="146948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3" name="Rechteck 712">
              <a:extLst>
                <a:ext uri="{FF2B5EF4-FFF2-40B4-BE49-F238E27FC236}">
                  <a16:creationId xmlns:a16="http://schemas.microsoft.com/office/drawing/2014/main" id="{8F8451F0-3579-5378-C3EE-F569872EE03E}"/>
                </a:ext>
              </a:extLst>
            </p:cNvPr>
            <p:cNvSpPr/>
            <p:nvPr userDrawn="1"/>
          </p:nvSpPr>
          <p:spPr bwMode="gray">
            <a:xfrm>
              <a:off x="89342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4" name="Rechteck 713">
              <a:extLst>
                <a:ext uri="{FF2B5EF4-FFF2-40B4-BE49-F238E27FC236}">
                  <a16:creationId xmlns:a16="http://schemas.microsoft.com/office/drawing/2014/main" id="{18060EC0-D15A-62DF-9B02-A9054DCCD4AF}"/>
                </a:ext>
              </a:extLst>
            </p:cNvPr>
            <p:cNvSpPr/>
            <p:nvPr userDrawn="1"/>
          </p:nvSpPr>
          <p:spPr bwMode="gray">
            <a:xfrm>
              <a:off x="31736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5" name="Rechteck 714">
              <a:extLst>
                <a:ext uri="{FF2B5EF4-FFF2-40B4-BE49-F238E27FC236}">
                  <a16:creationId xmlns:a16="http://schemas.microsoft.com/office/drawing/2014/main" id="{D863D834-297C-8996-1B27-B87B49C9EEAC}"/>
                </a:ext>
              </a:extLst>
            </p:cNvPr>
            <p:cNvSpPr/>
            <p:nvPr userDrawn="1"/>
          </p:nvSpPr>
          <p:spPr bwMode="gray">
            <a:xfrm>
              <a:off x="1126257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6" name="Rechteck 715">
              <a:extLst>
                <a:ext uri="{FF2B5EF4-FFF2-40B4-BE49-F238E27FC236}">
                  <a16:creationId xmlns:a16="http://schemas.microsoft.com/office/drawing/2014/main" id="{800C693B-1980-99DF-AC8E-BF2BBEC848A3}"/>
                </a:ext>
              </a:extLst>
            </p:cNvPr>
            <p:cNvSpPr/>
            <p:nvPr userDrawn="1"/>
          </p:nvSpPr>
          <p:spPr bwMode="gray">
            <a:xfrm>
              <a:off x="1068651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7" name="Rechteck 716">
              <a:extLst>
                <a:ext uri="{FF2B5EF4-FFF2-40B4-BE49-F238E27FC236}">
                  <a16:creationId xmlns:a16="http://schemas.microsoft.com/office/drawing/2014/main" id="{4144C978-1660-B1EC-8154-02EEAE070062}"/>
                </a:ext>
              </a:extLst>
            </p:cNvPr>
            <p:cNvSpPr/>
            <p:nvPr userDrawn="1"/>
          </p:nvSpPr>
          <p:spPr bwMode="gray">
            <a:xfrm>
              <a:off x="1011044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8" name="Rechteck 717">
              <a:extLst>
                <a:ext uri="{FF2B5EF4-FFF2-40B4-BE49-F238E27FC236}">
                  <a16:creationId xmlns:a16="http://schemas.microsoft.com/office/drawing/2014/main" id="{FEB3F0D6-9B7E-182E-8EB3-5925FFE9B275}"/>
                </a:ext>
              </a:extLst>
            </p:cNvPr>
            <p:cNvSpPr/>
            <p:nvPr userDrawn="1"/>
          </p:nvSpPr>
          <p:spPr bwMode="gray">
            <a:xfrm>
              <a:off x="953438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9" name="Rechteck 718">
              <a:extLst>
                <a:ext uri="{FF2B5EF4-FFF2-40B4-BE49-F238E27FC236}">
                  <a16:creationId xmlns:a16="http://schemas.microsoft.com/office/drawing/2014/main" id="{0D363F78-CB86-C97A-C44E-987EE93C7B78}"/>
                </a:ext>
              </a:extLst>
            </p:cNvPr>
            <p:cNvSpPr/>
            <p:nvPr userDrawn="1"/>
          </p:nvSpPr>
          <p:spPr bwMode="gray">
            <a:xfrm>
              <a:off x="895832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0" name="Rechteck 719">
              <a:extLst>
                <a:ext uri="{FF2B5EF4-FFF2-40B4-BE49-F238E27FC236}">
                  <a16:creationId xmlns:a16="http://schemas.microsoft.com/office/drawing/2014/main" id="{4459B110-7A66-339A-6649-865504A9DB14}"/>
                </a:ext>
              </a:extLst>
            </p:cNvPr>
            <p:cNvSpPr/>
            <p:nvPr userDrawn="1"/>
          </p:nvSpPr>
          <p:spPr bwMode="gray">
            <a:xfrm>
              <a:off x="838225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1" name="Rechteck 720">
              <a:extLst>
                <a:ext uri="{FF2B5EF4-FFF2-40B4-BE49-F238E27FC236}">
                  <a16:creationId xmlns:a16="http://schemas.microsoft.com/office/drawing/2014/main" id="{8E07A1C2-F047-2955-C2C0-F03BA1EF7720}"/>
                </a:ext>
              </a:extLst>
            </p:cNvPr>
            <p:cNvSpPr/>
            <p:nvPr userDrawn="1"/>
          </p:nvSpPr>
          <p:spPr bwMode="gray">
            <a:xfrm>
              <a:off x="780619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2" name="Rechteck 721">
              <a:extLst>
                <a:ext uri="{FF2B5EF4-FFF2-40B4-BE49-F238E27FC236}">
                  <a16:creationId xmlns:a16="http://schemas.microsoft.com/office/drawing/2014/main" id="{210B0E27-2D78-6CBE-ACC8-BDEE56DAEDA6}"/>
                </a:ext>
              </a:extLst>
            </p:cNvPr>
            <p:cNvSpPr/>
            <p:nvPr userDrawn="1"/>
          </p:nvSpPr>
          <p:spPr bwMode="gray">
            <a:xfrm>
              <a:off x="723012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3" name="Rechteck 722">
              <a:extLst>
                <a:ext uri="{FF2B5EF4-FFF2-40B4-BE49-F238E27FC236}">
                  <a16:creationId xmlns:a16="http://schemas.microsoft.com/office/drawing/2014/main" id="{593CA2C3-1103-C663-DA41-86D551B94335}"/>
                </a:ext>
              </a:extLst>
            </p:cNvPr>
            <p:cNvSpPr/>
            <p:nvPr userDrawn="1"/>
          </p:nvSpPr>
          <p:spPr bwMode="gray">
            <a:xfrm>
              <a:off x="665406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4" name="Rechteck 723">
              <a:extLst>
                <a:ext uri="{FF2B5EF4-FFF2-40B4-BE49-F238E27FC236}">
                  <a16:creationId xmlns:a16="http://schemas.microsoft.com/office/drawing/2014/main" id="{C4393D9A-5200-93CF-6E50-9DFE46AE8477}"/>
                </a:ext>
              </a:extLst>
            </p:cNvPr>
            <p:cNvSpPr/>
            <p:nvPr userDrawn="1"/>
          </p:nvSpPr>
          <p:spPr bwMode="gray">
            <a:xfrm>
              <a:off x="607800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5" name="Rechteck 724">
              <a:extLst>
                <a:ext uri="{FF2B5EF4-FFF2-40B4-BE49-F238E27FC236}">
                  <a16:creationId xmlns:a16="http://schemas.microsoft.com/office/drawing/2014/main" id="{F947CF15-2FB4-DCBE-00B1-773B5059E2F1}"/>
                </a:ext>
              </a:extLst>
            </p:cNvPr>
            <p:cNvSpPr/>
            <p:nvPr userDrawn="1"/>
          </p:nvSpPr>
          <p:spPr bwMode="gray">
            <a:xfrm>
              <a:off x="550193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6" name="Rechteck 725">
              <a:extLst>
                <a:ext uri="{FF2B5EF4-FFF2-40B4-BE49-F238E27FC236}">
                  <a16:creationId xmlns:a16="http://schemas.microsoft.com/office/drawing/2014/main" id="{4769BE24-7DB9-D547-E6F2-186D01D1067F}"/>
                </a:ext>
              </a:extLst>
            </p:cNvPr>
            <p:cNvSpPr/>
            <p:nvPr userDrawn="1"/>
          </p:nvSpPr>
          <p:spPr bwMode="gray">
            <a:xfrm>
              <a:off x="492587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7" name="Rechteck 726">
              <a:extLst>
                <a:ext uri="{FF2B5EF4-FFF2-40B4-BE49-F238E27FC236}">
                  <a16:creationId xmlns:a16="http://schemas.microsoft.com/office/drawing/2014/main" id="{29AF6B5E-CC6C-CBF8-3FC9-42D3F3AC8AE3}"/>
                </a:ext>
              </a:extLst>
            </p:cNvPr>
            <p:cNvSpPr/>
            <p:nvPr userDrawn="1"/>
          </p:nvSpPr>
          <p:spPr bwMode="gray">
            <a:xfrm>
              <a:off x="434980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8" name="Rechteck 727">
              <a:extLst>
                <a:ext uri="{FF2B5EF4-FFF2-40B4-BE49-F238E27FC236}">
                  <a16:creationId xmlns:a16="http://schemas.microsoft.com/office/drawing/2014/main" id="{A5CDC61E-CAE4-7D77-7890-AF7AC0AF3AC2}"/>
                </a:ext>
              </a:extLst>
            </p:cNvPr>
            <p:cNvSpPr/>
            <p:nvPr userDrawn="1"/>
          </p:nvSpPr>
          <p:spPr bwMode="gray">
            <a:xfrm>
              <a:off x="377374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9" name="Rechteck 728">
              <a:extLst>
                <a:ext uri="{FF2B5EF4-FFF2-40B4-BE49-F238E27FC236}">
                  <a16:creationId xmlns:a16="http://schemas.microsoft.com/office/drawing/2014/main" id="{AD625D30-A54D-8683-377A-C99A395F1B70}"/>
                </a:ext>
              </a:extLst>
            </p:cNvPr>
            <p:cNvSpPr/>
            <p:nvPr userDrawn="1"/>
          </p:nvSpPr>
          <p:spPr bwMode="gray">
            <a:xfrm>
              <a:off x="319768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0" name="Rechteck 729">
              <a:extLst>
                <a:ext uri="{FF2B5EF4-FFF2-40B4-BE49-F238E27FC236}">
                  <a16:creationId xmlns:a16="http://schemas.microsoft.com/office/drawing/2014/main" id="{96F1FF48-375E-A444-563A-F395F90CD7CB}"/>
                </a:ext>
              </a:extLst>
            </p:cNvPr>
            <p:cNvSpPr/>
            <p:nvPr userDrawn="1"/>
          </p:nvSpPr>
          <p:spPr bwMode="gray">
            <a:xfrm>
              <a:off x="262161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1" name="Rechteck 730">
              <a:extLst>
                <a:ext uri="{FF2B5EF4-FFF2-40B4-BE49-F238E27FC236}">
                  <a16:creationId xmlns:a16="http://schemas.microsoft.com/office/drawing/2014/main" id="{F2098470-3D91-3EFD-5A51-72AA5BA7F23D}"/>
                </a:ext>
              </a:extLst>
            </p:cNvPr>
            <p:cNvSpPr/>
            <p:nvPr userDrawn="1"/>
          </p:nvSpPr>
          <p:spPr bwMode="gray">
            <a:xfrm>
              <a:off x="204555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2" name="Rechteck 731">
              <a:extLst>
                <a:ext uri="{FF2B5EF4-FFF2-40B4-BE49-F238E27FC236}">
                  <a16:creationId xmlns:a16="http://schemas.microsoft.com/office/drawing/2014/main" id="{0D026592-E39C-3A75-BB40-74AB9804502A}"/>
                </a:ext>
              </a:extLst>
            </p:cNvPr>
            <p:cNvSpPr/>
            <p:nvPr userDrawn="1"/>
          </p:nvSpPr>
          <p:spPr bwMode="gray">
            <a:xfrm>
              <a:off x="146948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3" name="Rechteck 732">
              <a:extLst>
                <a:ext uri="{FF2B5EF4-FFF2-40B4-BE49-F238E27FC236}">
                  <a16:creationId xmlns:a16="http://schemas.microsoft.com/office/drawing/2014/main" id="{9A0A7D67-087E-6A85-5847-9401960CE565}"/>
                </a:ext>
              </a:extLst>
            </p:cNvPr>
            <p:cNvSpPr/>
            <p:nvPr userDrawn="1"/>
          </p:nvSpPr>
          <p:spPr bwMode="gray">
            <a:xfrm>
              <a:off x="89342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4" name="Rechteck 733">
              <a:extLst>
                <a:ext uri="{FF2B5EF4-FFF2-40B4-BE49-F238E27FC236}">
                  <a16:creationId xmlns:a16="http://schemas.microsoft.com/office/drawing/2014/main" id="{E6CBED49-A367-C447-2538-66B18921680F}"/>
                </a:ext>
              </a:extLst>
            </p:cNvPr>
            <p:cNvSpPr/>
            <p:nvPr userDrawn="1"/>
          </p:nvSpPr>
          <p:spPr bwMode="gray">
            <a:xfrm>
              <a:off x="31736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5" name="Rechteck 734">
              <a:extLst>
                <a:ext uri="{FF2B5EF4-FFF2-40B4-BE49-F238E27FC236}">
                  <a16:creationId xmlns:a16="http://schemas.microsoft.com/office/drawing/2014/main" id="{5C6BFF7D-7116-89E8-BB2C-2902F06CE121}"/>
                </a:ext>
              </a:extLst>
            </p:cNvPr>
            <p:cNvSpPr/>
            <p:nvPr userDrawn="1"/>
          </p:nvSpPr>
          <p:spPr bwMode="gray">
            <a:xfrm>
              <a:off x="1126257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6" name="Rechteck 735">
              <a:extLst>
                <a:ext uri="{FF2B5EF4-FFF2-40B4-BE49-F238E27FC236}">
                  <a16:creationId xmlns:a16="http://schemas.microsoft.com/office/drawing/2014/main" id="{D7CD964D-8EAA-9948-F713-6CD815602FA9}"/>
                </a:ext>
              </a:extLst>
            </p:cNvPr>
            <p:cNvSpPr/>
            <p:nvPr userDrawn="1"/>
          </p:nvSpPr>
          <p:spPr bwMode="gray">
            <a:xfrm>
              <a:off x="1068651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7" name="Rechteck 736">
              <a:extLst>
                <a:ext uri="{FF2B5EF4-FFF2-40B4-BE49-F238E27FC236}">
                  <a16:creationId xmlns:a16="http://schemas.microsoft.com/office/drawing/2014/main" id="{C125A4C6-1AE0-D17D-7C4F-84DA8BB80B36}"/>
                </a:ext>
              </a:extLst>
            </p:cNvPr>
            <p:cNvSpPr/>
            <p:nvPr userDrawn="1"/>
          </p:nvSpPr>
          <p:spPr bwMode="gray">
            <a:xfrm>
              <a:off x="1011044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8" name="Rechteck 737">
              <a:extLst>
                <a:ext uri="{FF2B5EF4-FFF2-40B4-BE49-F238E27FC236}">
                  <a16:creationId xmlns:a16="http://schemas.microsoft.com/office/drawing/2014/main" id="{B98144BC-363B-096D-7B8E-2B7796060BAA}"/>
                </a:ext>
              </a:extLst>
            </p:cNvPr>
            <p:cNvSpPr/>
            <p:nvPr userDrawn="1"/>
          </p:nvSpPr>
          <p:spPr bwMode="gray">
            <a:xfrm>
              <a:off x="953438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9" name="Rechteck 738">
              <a:extLst>
                <a:ext uri="{FF2B5EF4-FFF2-40B4-BE49-F238E27FC236}">
                  <a16:creationId xmlns:a16="http://schemas.microsoft.com/office/drawing/2014/main" id="{B909F77C-A609-64D5-379D-1CF5D7D72174}"/>
                </a:ext>
              </a:extLst>
            </p:cNvPr>
            <p:cNvSpPr/>
            <p:nvPr userDrawn="1"/>
          </p:nvSpPr>
          <p:spPr bwMode="gray">
            <a:xfrm>
              <a:off x="895832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0" name="Rechteck 739">
              <a:extLst>
                <a:ext uri="{FF2B5EF4-FFF2-40B4-BE49-F238E27FC236}">
                  <a16:creationId xmlns:a16="http://schemas.microsoft.com/office/drawing/2014/main" id="{D84AFB6D-0A1D-47BC-AC2E-3E1B4D3619DC}"/>
                </a:ext>
              </a:extLst>
            </p:cNvPr>
            <p:cNvSpPr/>
            <p:nvPr userDrawn="1"/>
          </p:nvSpPr>
          <p:spPr bwMode="gray">
            <a:xfrm>
              <a:off x="838225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1" name="Rechteck 740">
              <a:extLst>
                <a:ext uri="{FF2B5EF4-FFF2-40B4-BE49-F238E27FC236}">
                  <a16:creationId xmlns:a16="http://schemas.microsoft.com/office/drawing/2014/main" id="{40428988-276F-B4BE-FE9A-BBE5C0A1B09E}"/>
                </a:ext>
              </a:extLst>
            </p:cNvPr>
            <p:cNvSpPr/>
            <p:nvPr userDrawn="1"/>
          </p:nvSpPr>
          <p:spPr bwMode="gray">
            <a:xfrm>
              <a:off x="780619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2" name="Rechteck 741">
              <a:extLst>
                <a:ext uri="{FF2B5EF4-FFF2-40B4-BE49-F238E27FC236}">
                  <a16:creationId xmlns:a16="http://schemas.microsoft.com/office/drawing/2014/main" id="{43A74BEF-5AB7-8FBB-93F8-0E0055F7241B}"/>
                </a:ext>
              </a:extLst>
            </p:cNvPr>
            <p:cNvSpPr/>
            <p:nvPr userDrawn="1"/>
          </p:nvSpPr>
          <p:spPr bwMode="gray">
            <a:xfrm>
              <a:off x="723012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3" name="Rechteck 742">
              <a:extLst>
                <a:ext uri="{FF2B5EF4-FFF2-40B4-BE49-F238E27FC236}">
                  <a16:creationId xmlns:a16="http://schemas.microsoft.com/office/drawing/2014/main" id="{9A192428-E869-B594-3A8A-945BD75D2281}"/>
                </a:ext>
              </a:extLst>
            </p:cNvPr>
            <p:cNvSpPr/>
            <p:nvPr userDrawn="1"/>
          </p:nvSpPr>
          <p:spPr bwMode="gray">
            <a:xfrm>
              <a:off x="665406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4" name="Rechteck 743">
              <a:extLst>
                <a:ext uri="{FF2B5EF4-FFF2-40B4-BE49-F238E27FC236}">
                  <a16:creationId xmlns:a16="http://schemas.microsoft.com/office/drawing/2014/main" id="{AE0785CF-E740-2662-BD9F-6E30EE0137B3}"/>
                </a:ext>
              </a:extLst>
            </p:cNvPr>
            <p:cNvSpPr/>
            <p:nvPr userDrawn="1"/>
          </p:nvSpPr>
          <p:spPr bwMode="gray">
            <a:xfrm>
              <a:off x="607800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5" name="Rechteck 744">
              <a:extLst>
                <a:ext uri="{FF2B5EF4-FFF2-40B4-BE49-F238E27FC236}">
                  <a16:creationId xmlns:a16="http://schemas.microsoft.com/office/drawing/2014/main" id="{56EB91AF-B16D-CD52-F06C-2D077042895C}"/>
                </a:ext>
              </a:extLst>
            </p:cNvPr>
            <p:cNvSpPr/>
            <p:nvPr userDrawn="1"/>
          </p:nvSpPr>
          <p:spPr bwMode="gray">
            <a:xfrm>
              <a:off x="550193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6" name="Rechteck 745">
              <a:extLst>
                <a:ext uri="{FF2B5EF4-FFF2-40B4-BE49-F238E27FC236}">
                  <a16:creationId xmlns:a16="http://schemas.microsoft.com/office/drawing/2014/main" id="{05D50BDF-3D97-9FE4-F346-865A105A9DBF}"/>
                </a:ext>
              </a:extLst>
            </p:cNvPr>
            <p:cNvSpPr/>
            <p:nvPr userDrawn="1"/>
          </p:nvSpPr>
          <p:spPr bwMode="gray">
            <a:xfrm>
              <a:off x="492587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7" name="Rechteck 746">
              <a:extLst>
                <a:ext uri="{FF2B5EF4-FFF2-40B4-BE49-F238E27FC236}">
                  <a16:creationId xmlns:a16="http://schemas.microsoft.com/office/drawing/2014/main" id="{E8E17255-5939-1765-6CDF-18C6AFAFD9C7}"/>
                </a:ext>
              </a:extLst>
            </p:cNvPr>
            <p:cNvSpPr/>
            <p:nvPr userDrawn="1"/>
          </p:nvSpPr>
          <p:spPr bwMode="gray">
            <a:xfrm>
              <a:off x="434980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8" name="Rechteck 747">
              <a:extLst>
                <a:ext uri="{FF2B5EF4-FFF2-40B4-BE49-F238E27FC236}">
                  <a16:creationId xmlns:a16="http://schemas.microsoft.com/office/drawing/2014/main" id="{9B001CEB-3BC1-DB5C-FE28-9110CF64FF6A}"/>
                </a:ext>
              </a:extLst>
            </p:cNvPr>
            <p:cNvSpPr/>
            <p:nvPr userDrawn="1"/>
          </p:nvSpPr>
          <p:spPr bwMode="gray">
            <a:xfrm>
              <a:off x="377374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9" name="Rechteck 748">
              <a:extLst>
                <a:ext uri="{FF2B5EF4-FFF2-40B4-BE49-F238E27FC236}">
                  <a16:creationId xmlns:a16="http://schemas.microsoft.com/office/drawing/2014/main" id="{311D722A-9C70-6DDD-C631-66D5814D12CE}"/>
                </a:ext>
              </a:extLst>
            </p:cNvPr>
            <p:cNvSpPr/>
            <p:nvPr userDrawn="1"/>
          </p:nvSpPr>
          <p:spPr bwMode="gray">
            <a:xfrm>
              <a:off x="319768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0" name="Rechteck 749">
              <a:extLst>
                <a:ext uri="{FF2B5EF4-FFF2-40B4-BE49-F238E27FC236}">
                  <a16:creationId xmlns:a16="http://schemas.microsoft.com/office/drawing/2014/main" id="{3C0A0BAF-67BF-EEC3-32CB-ABFC1C1EB648}"/>
                </a:ext>
              </a:extLst>
            </p:cNvPr>
            <p:cNvSpPr/>
            <p:nvPr userDrawn="1"/>
          </p:nvSpPr>
          <p:spPr bwMode="gray">
            <a:xfrm>
              <a:off x="262161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1" name="Rechteck 750">
              <a:extLst>
                <a:ext uri="{FF2B5EF4-FFF2-40B4-BE49-F238E27FC236}">
                  <a16:creationId xmlns:a16="http://schemas.microsoft.com/office/drawing/2014/main" id="{BC56DDFD-1D35-27F4-401C-0719D8E708E9}"/>
                </a:ext>
              </a:extLst>
            </p:cNvPr>
            <p:cNvSpPr/>
            <p:nvPr userDrawn="1"/>
          </p:nvSpPr>
          <p:spPr bwMode="gray">
            <a:xfrm>
              <a:off x="204555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2" name="Rechteck 751">
              <a:extLst>
                <a:ext uri="{FF2B5EF4-FFF2-40B4-BE49-F238E27FC236}">
                  <a16:creationId xmlns:a16="http://schemas.microsoft.com/office/drawing/2014/main" id="{E7E433E1-6C7E-FD75-C728-C5698D203CBB}"/>
                </a:ext>
              </a:extLst>
            </p:cNvPr>
            <p:cNvSpPr/>
            <p:nvPr userDrawn="1"/>
          </p:nvSpPr>
          <p:spPr bwMode="gray">
            <a:xfrm>
              <a:off x="146948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3" name="Rechteck 752">
              <a:extLst>
                <a:ext uri="{FF2B5EF4-FFF2-40B4-BE49-F238E27FC236}">
                  <a16:creationId xmlns:a16="http://schemas.microsoft.com/office/drawing/2014/main" id="{ABA8B324-647F-04F2-0256-8A34103332F6}"/>
                </a:ext>
              </a:extLst>
            </p:cNvPr>
            <p:cNvSpPr/>
            <p:nvPr userDrawn="1"/>
          </p:nvSpPr>
          <p:spPr bwMode="gray">
            <a:xfrm>
              <a:off x="89342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4" name="Rechteck 753">
              <a:extLst>
                <a:ext uri="{FF2B5EF4-FFF2-40B4-BE49-F238E27FC236}">
                  <a16:creationId xmlns:a16="http://schemas.microsoft.com/office/drawing/2014/main" id="{8BB76144-40B9-DF76-FF47-D40196840A71}"/>
                </a:ext>
              </a:extLst>
            </p:cNvPr>
            <p:cNvSpPr/>
            <p:nvPr userDrawn="1"/>
          </p:nvSpPr>
          <p:spPr bwMode="gray">
            <a:xfrm>
              <a:off x="31736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5" name="Rechteck 754">
              <a:extLst>
                <a:ext uri="{FF2B5EF4-FFF2-40B4-BE49-F238E27FC236}">
                  <a16:creationId xmlns:a16="http://schemas.microsoft.com/office/drawing/2014/main" id="{E4977B73-2859-42DF-E281-45024D6368D0}"/>
                </a:ext>
              </a:extLst>
            </p:cNvPr>
            <p:cNvSpPr/>
            <p:nvPr userDrawn="1"/>
          </p:nvSpPr>
          <p:spPr bwMode="gray">
            <a:xfrm>
              <a:off x="1126257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6" name="Rechteck 755">
              <a:extLst>
                <a:ext uri="{FF2B5EF4-FFF2-40B4-BE49-F238E27FC236}">
                  <a16:creationId xmlns:a16="http://schemas.microsoft.com/office/drawing/2014/main" id="{832FB567-6862-72C5-FDEB-5A966FA78F91}"/>
                </a:ext>
              </a:extLst>
            </p:cNvPr>
            <p:cNvSpPr/>
            <p:nvPr userDrawn="1"/>
          </p:nvSpPr>
          <p:spPr bwMode="gray">
            <a:xfrm>
              <a:off x="1068651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7" name="Rechteck 756">
              <a:extLst>
                <a:ext uri="{FF2B5EF4-FFF2-40B4-BE49-F238E27FC236}">
                  <a16:creationId xmlns:a16="http://schemas.microsoft.com/office/drawing/2014/main" id="{159AEE56-D949-9F14-FE83-4919C93741B5}"/>
                </a:ext>
              </a:extLst>
            </p:cNvPr>
            <p:cNvSpPr/>
            <p:nvPr userDrawn="1"/>
          </p:nvSpPr>
          <p:spPr bwMode="gray">
            <a:xfrm>
              <a:off x="1011044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8" name="Rechteck 757">
              <a:extLst>
                <a:ext uri="{FF2B5EF4-FFF2-40B4-BE49-F238E27FC236}">
                  <a16:creationId xmlns:a16="http://schemas.microsoft.com/office/drawing/2014/main" id="{CC51FCED-FB32-478F-9DB2-C00D499B0B55}"/>
                </a:ext>
              </a:extLst>
            </p:cNvPr>
            <p:cNvSpPr/>
            <p:nvPr userDrawn="1"/>
          </p:nvSpPr>
          <p:spPr bwMode="gray">
            <a:xfrm>
              <a:off x="953438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9" name="Rechteck 758">
              <a:extLst>
                <a:ext uri="{FF2B5EF4-FFF2-40B4-BE49-F238E27FC236}">
                  <a16:creationId xmlns:a16="http://schemas.microsoft.com/office/drawing/2014/main" id="{15C205E7-AEE3-C60C-7FD5-03B42D8BB626}"/>
                </a:ext>
              </a:extLst>
            </p:cNvPr>
            <p:cNvSpPr/>
            <p:nvPr userDrawn="1"/>
          </p:nvSpPr>
          <p:spPr bwMode="gray">
            <a:xfrm>
              <a:off x="895832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0" name="Rechteck 759">
              <a:extLst>
                <a:ext uri="{FF2B5EF4-FFF2-40B4-BE49-F238E27FC236}">
                  <a16:creationId xmlns:a16="http://schemas.microsoft.com/office/drawing/2014/main" id="{36C2CC14-1FD7-20D4-9627-8B93FB4C0443}"/>
                </a:ext>
              </a:extLst>
            </p:cNvPr>
            <p:cNvSpPr/>
            <p:nvPr userDrawn="1"/>
          </p:nvSpPr>
          <p:spPr bwMode="gray">
            <a:xfrm>
              <a:off x="838225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1" name="Rechteck 760">
              <a:extLst>
                <a:ext uri="{FF2B5EF4-FFF2-40B4-BE49-F238E27FC236}">
                  <a16:creationId xmlns:a16="http://schemas.microsoft.com/office/drawing/2014/main" id="{9A1F07E9-93DB-505A-4818-C3708B6703BA}"/>
                </a:ext>
              </a:extLst>
            </p:cNvPr>
            <p:cNvSpPr/>
            <p:nvPr userDrawn="1"/>
          </p:nvSpPr>
          <p:spPr bwMode="gray">
            <a:xfrm>
              <a:off x="780619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2" name="Rechteck 761">
              <a:extLst>
                <a:ext uri="{FF2B5EF4-FFF2-40B4-BE49-F238E27FC236}">
                  <a16:creationId xmlns:a16="http://schemas.microsoft.com/office/drawing/2014/main" id="{BB9297CA-704D-4EB0-6D42-A41B11AA00AE}"/>
                </a:ext>
              </a:extLst>
            </p:cNvPr>
            <p:cNvSpPr/>
            <p:nvPr userDrawn="1"/>
          </p:nvSpPr>
          <p:spPr bwMode="gray">
            <a:xfrm>
              <a:off x="723012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3" name="Rechteck 762">
              <a:extLst>
                <a:ext uri="{FF2B5EF4-FFF2-40B4-BE49-F238E27FC236}">
                  <a16:creationId xmlns:a16="http://schemas.microsoft.com/office/drawing/2014/main" id="{A291D258-F3C8-6A58-F229-6B02B441D381}"/>
                </a:ext>
              </a:extLst>
            </p:cNvPr>
            <p:cNvSpPr/>
            <p:nvPr userDrawn="1"/>
          </p:nvSpPr>
          <p:spPr bwMode="gray">
            <a:xfrm>
              <a:off x="665406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4" name="Rechteck 763">
              <a:extLst>
                <a:ext uri="{FF2B5EF4-FFF2-40B4-BE49-F238E27FC236}">
                  <a16:creationId xmlns:a16="http://schemas.microsoft.com/office/drawing/2014/main" id="{6074AEEC-6604-9034-3C6D-BE847B2711A0}"/>
                </a:ext>
              </a:extLst>
            </p:cNvPr>
            <p:cNvSpPr/>
            <p:nvPr userDrawn="1"/>
          </p:nvSpPr>
          <p:spPr bwMode="gray">
            <a:xfrm>
              <a:off x="607800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5" name="Rechteck 764">
              <a:extLst>
                <a:ext uri="{FF2B5EF4-FFF2-40B4-BE49-F238E27FC236}">
                  <a16:creationId xmlns:a16="http://schemas.microsoft.com/office/drawing/2014/main" id="{FF3F587E-EAA7-1173-1EB7-C60985E56ACD}"/>
                </a:ext>
              </a:extLst>
            </p:cNvPr>
            <p:cNvSpPr/>
            <p:nvPr userDrawn="1"/>
          </p:nvSpPr>
          <p:spPr bwMode="gray">
            <a:xfrm>
              <a:off x="550193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6" name="Rechteck 765">
              <a:extLst>
                <a:ext uri="{FF2B5EF4-FFF2-40B4-BE49-F238E27FC236}">
                  <a16:creationId xmlns:a16="http://schemas.microsoft.com/office/drawing/2014/main" id="{29B04F8F-FDB4-5F47-9944-85D943820972}"/>
                </a:ext>
              </a:extLst>
            </p:cNvPr>
            <p:cNvSpPr/>
            <p:nvPr userDrawn="1"/>
          </p:nvSpPr>
          <p:spPr bwMode="gray">
            <a:xfrm>
              <a:off x="492587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7" name="Rechteck 766">
              <a:extLst>
                <a:ext uri="{FF2B5EF4-FFF2-40B4-BE49-F238E27FC236}">
                  <a16:creationId xmlns:a16="http://schemas.microsoft.com/office/drawing/2014/main" id="{A5DB9A57-07C3-F952-4519-66D042A8432D}"/>
                </a:ext>
              </a:extLst>
            </p:cNvPr>
            <p:cNvSpPr/>
            <p:nvPr userDrawn="1"/>
          </p:nvSpPr>
          <p:spPr bwMode="gray">
            <a:xfrm>
              <a:off x="434980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8" name="Rechteck 767">
              <a:extLst>
                <a:ext uri="{FF2B5EF4-FFF2-40B4-BE49-F238E27FC236}">
                  <a16:creationId xmlns:a16="http://schemas.microsoft.com/office/drawing/2014/main" id="{779866B8-4A90-9A63-61F8-1657C3EAF35C}"/>
                </a:ext>
              </a:extLst>
            </p:cNvPr>
            <p:cNvSpPr/>
            <p:nvPr userDrawn="1"/>
          </p:nvSpPr>
          <p:spPr bwMode="gray">
            <a:xfrm>
              <a:off x="377374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9" name="Rechteck 768">
              <a:extLst>
                <a:ext uri="{FF2B5EF4-FFF2-40B4-BE49-F238E27FC236}">
                  <a16:creationId xmlns:a16="http://schemas.microsoft.com/office/drawing/2014/main" id="{2E80A6FA-1935-D70A-1AF4-96FE48785E87}"/>
                </a:ext>
              </a:extLst>
            </p:cNvPr>
            <p:cNvSpPr/>
            <p:nvPr userDrawn="1"/>
          </p:nvSpPr>
          <p:spPr bwMode="gray">
            <a:xfrm>
              <a:off x="319768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0" name="Rechteck 769">
              <a:extLst>
                <a:ext uri="{FF2B5EF4-FFF2-40B4-BE49-F238E27FC236}">
                  <a16:creationId xmlns:a16="http://schemas.microsoft.com/office/drawing/2014/main" id="{822E5AFA-699F-D073-0E77-E3F5400155CE}"/>
                </a:ext>
              </a:extLst>
            </p:cNvPr>
            <p:cNvSpPr/>
            <p:nvPr userDrawn="1"/>
          </p:nvSpPr>
          <p:spPr bwMode="gray">
            <a:xfrm>
              <a:off x="262161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1" name="Rechteck 770">
              <a:extLst>
                <a:ext uri="{FF2B5EF4-FFF2-40B4-BE49-F238E27FC236}">
                  <a16:creationId xmlns:a16="http://schemas.microsoft.com/office/drawing/2014/main" id="{80C7199D-A474-FE1C-2030-E1A0647CFA11}"/>
                </a:ext>
              </a:extLst>
            </p:cNvPr>
            <p:cNvSpPr/>
            <p:nvPr userDrawn="1"/>
          </p:nvSpPr>
          <p:spPr bwMode="gray">
            <a:xfrm>
              <a:off x="204555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2" name="Rechteck 771">
              <a:extLst>
                <a:ext uri="{FF2B5EF4-FFF2-40B4-BE49-F238E27FC236}">
                  <a16:creationId xmlns:a16="http://schemas.microsoft.com/office/drawing/2014/main" id="{F30C1C0C-C408-D76F-11A3-9EC42F5BF951}"/>
                </a:ext>
              </a:extLst>
            </p:cNvPr>
            <p:cNvSpPr/>
            <p:nvPr userDrawn="1"/>
          </p:nvSpPr>
          <p:spPr bwMode="gray">
            <a:xfrm>
              <a:off x="146948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3" name="Rechteck 772">
              <a:extLst>
                <a:ext uri="{FF2B5EF4-FFF2-40B4-BE49-F238E27FC236}">
                  <a16:creationId xmlns:a16="http://schemas.microsoft.com/office/drawing/2014/main" id="{D9617C03-FFF7-C3DC-A2A3-7C7AC42A1AEA}"/>
                </a:ext>
              </a:extLst>
            </p:cNvPr>
            <p:cNvSpPr/>
            <p:nvPr userDrawn="1"/>
          </p:nvSpPr>
          <p:spPr bwMode="gray">
            <a:xfrm>
              <a:off x="89342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4" name="Rechteck 773">
              <a:extLst>
                <a:ext uri="{FF2B5EF4-FFF2-40B4-BE49-F238E27FC236}">
                  <a16:creationId xmlns:a16="http://schemas.microsoft.com/office/drawing/2014/main" id="{E328A424-8D65-9E7A-C271-5FD1DCA54415}"/>
                </a:ext>
              </a:extLst>
            </p:cNvPr>
            <p:cNvSpPr/>
            <p:nvPr userDrawn="1"/>
          </p:nvSpPr>
          <p:spPr bwMode="gray">
            <a:xfrm>
              <a:off x="31736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5" name="Rechteck 774">
              <a:extLst>
                <a:ext uri="{FF2B5EF4-FFF2-40B4-BE49-F238E27FC236}">
                  <a16:creationId xmlns:a16="http://schemas.microsoft.com/office/drawing/2014/main" id="{77AFFC25-E1C1-A551-C1DD-0EB5E67CF83F}"/>
                </a:ext>
              </a:extLst>
            </p:cNvPr>
            <p:cNvSpPr/>
            <p:nvPr userDrawn="1"/>
          </p:nvSpPr>
          <p:spPr bwMode="gray">
            <a:xfrm>
              <a:off x="1183864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6" name="Rechteck 775">
              <a:extLst>
                <a:ext uri="{FF2B5EF4-FFF2-40B4-BE49-F238E27FC236}">
                  <a16:creationId xmlns:a16="http://schemas.microsoft.com/office/drawing/2014/main" id="{74DF2A44-77B2-5192-D9DB-BFE28D1BC4CA}"/>
                </a:ext>
              </a:extLst>
            </p:cNvPr>
            <p:cNvSpPr/>
            <p:nvPr userDrawn="1"/>
          </p:nvSpPr>
          <p:spPr bwMode="gray">
            <a:xfrm>
              <a:off x="1183864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7" name="Rechteck 776">
              <a:extLst>
                <a:ext uri="{FF2B5EF4-FFF2-40B4-BE49-F238E27FC236}">
                  <a16:creationId xmlns:a16="http://schemas.microsoft.com/office/drawing/2014/main" id="{5C25FB19-19C6-D635-118B-A1B086115358}"/>
                </a:ext>
              </a:extLst>
            </p:cNvPr>
            <p:cNvSpPr/>
            <p:nvPr userDrawn="1"/>
          </p:nvSpPr>
          <p:spPr bwMode="gray">
            <a:xfrm>
              <a:off x="1183864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8" name="Rechteck 777">
              <a:extLst>
                <a:ext uri="{FF2B5EF4-FFF2-40B4-BE49-F238E27FC236}">
                  <a16:creationId xmlns:a16="http://schemas.microsoft.com/office/drawing/2014/main" id="{5CB1BB10-51D1-03CC-A1B5-0EA979630479}"/>
                </a:ext>
              </a:extLst>
            </p:cNvPr>
            <p:cNvSpPr/>
            <p:nvPr userDrawn="1"/>
          </p:nvSpPr>
          <p:spPr bwMode="gray">
            <a:xfrm>
              <a:off x="1183864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9" name="Rechteck 778">
              <a:extLst>
                <a:ext uri="{FF2B5EF4-FFF2-40B4-BE49-F238E27FC236}">
                  <a16:creationId xmlns:a16="http://schemas.microsoft.com/office/drawing/2014/main" id="{A4B5A2FC-4877-6D32-BF04-73CB2D57CB67}"/>
                </a:ext>
              </a:extLst>
            </p:cNvPr>
            <p:cNvSpPr/>
            <p:nvPr userDrawn="1"/>
          </p:nvSpPr>
          <p:spPr bwMode="gray">
            <a:xfrm>
              <a:off x="1183864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0" name="Rechteck 779">
              <a:extLst>
                <a:ext uri="{FF2B5EF4-FFF2-40B4-BE49-F238E27FC236}">
                  <a16:creationId xmlns:a16="http://schemas.microsoft.com/office/drawing/2014/main" id="{46298BD3-A4E3-C9C3-EF80-3115DBF22509}"/>
                </a:ext>
              </a:extLst>
            </p:cNvPr>
            <p:cNvSpPr/>
            <p:nvPr userDrawn="1"/>
          </p:nvSpPr>
          <p:spPr bwMode="gray">
            <a:xfrm>
              <a:off x="1183864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1" name="Rechteck 780">
              <a:extLst>
                <a:ext uri="{FF2B5EF4-FFF2-40B4-BE49-F238E27FC236}">
                  <a16:creationId xmlns:a16="http://schemas.microsoft.com/office/drawing/2014/main" id="{6903007A-94EA-824A-8097-D2A9ED6A062A}"/>
                </a:ext>
              </a:extLst>
            </p:cNvPr>
            <p:cNvSpPr/>
            <p:nvPr userDrawn="1"/>
          </p:nvSpPr>
          <p:spPr bwMode="gray">
            <a:xfrm>
              <a:off x="1183864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2" name="Rechteck 781">
              <a:extLst>
                <a:ext uri="{FF2B5EF4-FFF2-40B4-BE49-F238E27FC236}">
                  <a16:creationId xmlns:a16="http://schemas.microsoft.com/office/drawing/2014/main" id="{4B7CB288-B427-34C4-3E8D-1F51AC4320FB}"/>
                </a:ext>
              </a:extLst>
            </p:cNvPr>
            <p:cNvSpPr/>
            <p:nvPr userDrawn="1"/>
          </p:nvSpPr>
          <p:spPr bwMode="gray">
            <a:xfrm>
              <a:off x="1183864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3" name="Rechteck 782">
              <a:extLst>
                <a:ext uri="{FF2B5EF4-FFF2-40B4-BE49-F238E27FC236}">
                  <a16:creationId xmlns:a16="http://schemas.microsoft.com/office/drawing/2014/main" id="{CBA773E4-E937-B056-50F2-687EE77B7B39}"/>
                </a:ext>
              </a:extLst>
            </p:cNvPr>
            <p:cNvSpPr/>
            <p:nvPr userDrawn="1"/>
          </p:nvSpPr>
          <p:spPr bwMode="gray">
            <a:xfrm>
              <a:off x="1183864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grpSp>
      <p:grpSp>
        <p:nvGrpSpPr>
          <p:cNvPr id="373" name="Gruppieren 372">
            <a:extLst>
              <a:ext uri="{FF2B5EF4-FFF2-40B4-BE49-F238E27FC236}">
                <a16:creationId xmlns:a16="http://schemas.microsoft.com/office/drawing/2014/main" id="{862FBD51-4E8A-D083-2F62-F8860FB30A06}"/>
              </a:ext>
              <a:ext uri="{C183D7F6-B498-43B3-948B-1728B52AA6E4}">
                <adec:decorative xmlns:adec="http://schemas.microsoft.com/office/drawing/2017/decorative" val="1"/>
              </a:ext>
            </a:extLst>
          </p:cNvPr>
          <p:cNvGrpSpPr/>
          <p:nvPr userDrawn="1"/>
        </p:nvGrpSpPr>
        <p:grpSpPr>
          <a:xfrm>
            <a:off x="838831" y="2082829"/>
            <a:ext cx="2448000" cy="0"/>
            <a:chOff x="983432" y="2082829"/>
            <a:chExt cx="2448000" cy="0"/>
          </a:xfrm>
        </p:grpSpPr>
        <p:cxnSp>
          <p:nvCxnSpPr>
            <p:cNvPr id="374" name="Line">
              <a:extLst>
                <a:ext uri="{FF2B5EF4-FFF2-40B4-BE49-F238E27FC236}">
                  <a16:creationId xmlns:a16="http://schemas.microsoft.com/office/drawing/2014/main" id="{C3C674E9-2A02-D002-D877-7ED5E27F5918}"/>
                </a:ext>
                <a:ext uri="{C183D7F6-B498-43B3-948B-1728B52AA6E4}">
                  <adec:decorative xmlns:adec="http://schemas.microsoft.com/office/drawing/2017/decorative" val="1"/>
                </a:ext>
              </a:extLst>
            </p:cNvPr>
            <p:cNvCxnSpPr>
              <a:cxnSpLocks/>
            </p:cNvCxnSpPr>
            <p:nvPr userDrawn="1"/>
          </p:nvCxnSpPr>
          <p:spPr bwMode="gray">
            <a:xfrm>
              <a:off x="983432" y="2082829"/>
              <a:ext cx="2448000" cy="0"/>
            </a:xfrm>
            <a:prstGeom prst="line">
              <a:avLst/>
            </a:prstGeom>
            <a:ln w="1047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5" name="Line">
              <a:extLst>
                <a:ext uri="{FF2B5EF4-FFF2-40B4-BE49-F238E27FC236}">
                  <a16:creationId xmlns:a16="http://schemas.microsoft.com/office/drawing/2014/main" id="{503445ED-7855-05F7-0A44-4AC1DB1FE222}"/>
                </a:ext>
                <a:ext uri="{C183D7F6-B498-43B3-948B-1728B52AA6E4}">
                  <adec:decorative xmlns:adec="http://schemas.microsoft.com/office/drawing/2017/decorative" val="1"/>
                </a:ext>
              </a:extLst>
            </p:cNvPr>
            <p:cNvCxnSpPr>
              <a:cxnSpLocks/>
            </p:cNvCxnSpPr>
            <p:nvPr userDrawn="1"/>
          </p:nvCxnSpPr>
          <p:spPr bwMode="gray">
            <a:xfrm>
              <a:off x="1056000" y="2082829"/>
              <a:ext cx="2303696"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376" name="Shape">
            <a:extLst>
              <a:ext uri="{FF2B5EF4-FFF2-40B4-BE49-F238E27FC236}">
                <a16:creationId xmlns:a16="http://schemas.microsoft.com/office/drawing/2014/main" id="{293089BE-57FB-FA7C-5518-A7E83861B6C8}"/>
              </a:ext>
              <a:ext uri="{C183D7F6-B498-43B3-948B-1728B52AA6E4}">
                <adec:decorative xmlns:adec="http://schemas.microsoft.com/office/drawing/2017/decorative" val="1"/>
              </a:ext>
            </a:extLst>
          </p:cNvPr>
          <p:cNvSpPr>
            <a:spLocks/>
          </p:cNvSpPr>
          <p:nvPr userDrawn="1"/>
        </p:nvSpPr>
        <p:spPr bwMode="gray">
          <a:xfrm>
            <a:off x="4367808" y="2061400"/>
            <a:ext cx="5775177" cy="3463099"/>
          </a:xfrm>
          <a:custGeom>
            <a:avLst/>
            <a:gdLst>
              <a:gd name="connsiteX0" fmla="*/ 0 w 8604027"/>
              <a:gd name="connsiteY0" fmla="*/ 857 h 5734812"/>
              <a:gd name="connsiteX1" fmla="*/ 8604028 w 8604027"/>
              <a:gd name="connsiteY1" fmla="*/ 0 h 5734812"/>
              <a:gd name="connsiteX2" fmla="*/ 7170039 w 8604027"/>
              <a:gd name="connsiteY2" fmla="*/ 4301966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02506 w 8604029"/>
              <a:gd name="connsiteY2" fmla="*/ 3984076 h 5734812"/>
              <a:gd name="connsiteX3" fmla="*/ 0 w 8604029"/>
              <a:gd name="connsiteY3" fmla="*/ 5734812 h 5734812"/>
              <a:gd name="connsiteX4" fmla="*/ 0 w 8604029"/>
              <a:gd name="connsiteY4" fmla="*/ 857 h 5734812"/>
              <a:gd name="connsiteX0" fmla="*/ 0 w 8604027"/>
              <a:gd name="connsiteY0" fmla="*/ 857 h 5734812"/>
              <a:gd name="connsiteX1" fmla="*/ 8604028 w 8604027"/>
              <a:gd name="connsiteY1" fmla="*/ 0 h 5734812"/>
              <a:gd name="connsiteX2" fmla="*/ 7046854 w 8604027"/>
              <a:gd name="connsiteY2" fmla="*/ 4091749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50550 w 8604029"/>
              <a:gd name="connsiteY2" fmla="*/ 4107130 h 5734812"/>
              <a:gd name="connsiteX3" fmla="*/ 0 w 8604029"/>
              <a:gd name="connsiteY3" fmla="*/ 5734812 h 5734812"/>
              <a:gd name="connsiteX4" fmla="*/ 0 w 8604029"/>
              <a:gd name="connsiteY4" fmla="*/ 857 h 5734812"/>
              <a:gd name="connsiteX0" fmla="*/ 0 w 8604028"/>
              <a:gd name="connsiteY0" fmla="*/ 857 h 5734812"/>
              <a:gd name="connsiteX1" fmla="*/ 8604028 w 8604028"/>
              <a:gd name="connsiteY1" fmla="*/ 0 h 5734812"/>
              <a:gd name="connsiteX2" fmla="*/ 6576335 w 8604028"/>
              <a:gd name="connsiteY2" fmla="*/ 3411651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98802 w 8604028"/>
              <a:gd name="connsiteY2" fmla="*/ 3812078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905914 w 8604028"/>
              <a:gd name="connsiteY2" fmla="*/ 3827884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70437 w 8604028"/>
              <a:gd name="connsiteY2" fmla="*/ 3745075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84628 w 8604028"/>
              <a:gd name="connsiteY2" fmla="*/ 3827883 h 5734812"/>
              <a:gd name="connsiteX3" fmla="*/ 0 w 8604028"/>
              <a:gd name="connsiteY3" fmla="*/ 5734812 h 5734812"/>
              <a:gd name="connsiteX4" fmla="*/ 0 w 8604028"/>
              <a:gd name="connsiteY4" fmla="*/ 857 h 5734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4028" h="5734812">
                <a:moveTo>
                  <a:pt x="0" y="857"/>
                </a:moveTo>
                <a:lnTo>
                  <a:pt x="8604028" y="0"/>
                </a:lnTo>
                <a:lnTo>
                  <a:pt x="6884628" y="3827883"/>
                </a:lnTo>
                <a:lnTo>
                  <a:pt x="0" y="5734812"/>
                </a:lnTo>
                <a:lnTo>
                  <a:pt x="0" y="857"/>
                </a:lnTo>
                <a:close/>
              </a:path>
            </a:pathLst>
          </a:custGeom>
          <a:solidFill>
            <a:schemeClr val="bg1"/>
          </a:solidFill>
          <a:ln w="76200" cap="flat">
            <a:solidFill>
              <a:schemeClr val="bg1"/>
            </a:solidFill>
            <a:prstDash val="solid"/>
            <a:miter/>
          </a:ln>
        </p:spPr>
        <p:txBody>
          <a:bodyPr rtlCol="0" anchor="ctr"/>
          <a:lstStyle/>
          <a:p>
            <a:endParaRPr lang="en-GB" dirty="0"/>
          </a:p>
        </p:txBody>
      </p:sp>
      <p:sp>
        <p:nvSpPr>
          <p:cNvPr id="377" name="Shape">
            <a:extLst>
              <a:ext uri="{FF2B5EF4-FFF2-40B4-BE49-F238E27FC236}">
                <a16:creationId xmlns:a16="http://schemas.microsoft.com/office/drawing/2014/main" id="{F89109CA-9A6F-1A6B-C179-508611AFC0FE}"/>
              </a:ext>
              <a:ext uri="{C183D7F6-B498-43B3-948B-1728B52AA6E4}">
                <adec:decorative xmlns:adec="http://schemas.microsoft.com/office/drawing/2017/decorative" val="1"/>
              </a:ext>
            </a:extLst>
          </p:cNvPr>
          <p:cNvSpPr>
            <a:spLocks/>
          </p:cNvSpPr>
          <p:nvPr userDrawn="1"/>
        </p:nvSpPr>
        <p:spPr bwMode="gray">
          <a:xfrm>
            <a:off x="4367808" y="2061400"/>
            <a:ext cx="5775177" cy="3463099"/>
          </a:xfrm>
          <a:custGeom>
            <a:avLst/>
            <a:gdLst>
              <a:gd name="connsiteX0" fmla="*/ 0 w 8604027"/>
              <a:gd name="connsiteY0" fmla="*/ 857 h 5734812"/>
              <a:gd name="connsiteX1" fmla="*/ 8604028 w 8604027"/>
              <a:gd name="connsiteY1" fmla="*/ 0 h 5734812"/>
              <a:gd name="connsiteX2" fmla="*/ 7170039 w 8604027"/>
              <a:gd name="connsiteY2" fmla="*/ 4301966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02506 w 8604029"/>
              <a:gd name="connsiteY2" fmla="*/ 3984076 h 5734812"/>
              <a:gd name="connsiteX3" fmla="*/ 0 w 8604029"/>
              <a:gd name="connsiteY3" fmla="*/ 5734812 h 5734812"/>
              <a:gd name="connsiteX4" fmla="*/ 0 w 8604029"/>
              <a:gd name="connsiteY4" fmla="*/ 857 h 5734812"/>
              <a:gd name="connsiteX0" fmla="*/ 0 w 8604027"/>
              <a:gd name="connsiteY0" fmla="*/ 857 h 5734812"/>
              <a:gd name="connsiteX1" fmla="*/ 8604028 w 8604027"/>
              <a:gd name="connsiteY1" fmla="*/ 0 h 5734812"/>
              <a:gd name="connsiteX2" fmla="*/ 7046854 w 8604027"/>
              <a:gd name="connsiteY2" fmla="*/ 4091749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50550 w 8604029"/>
              <a:gd name="connsiteY2" fmla="*/ 4107130 h 5734812"/>
              <a:gd name="connsiteX3" fmla="*/ 0 w 8604029"/>
              <a:gd name="connsiteY3" fmla="*/ 5734812 h 5734812"/>
              <a:gd name="connsiteX4" fmla="*/ 0 w 8604029"/>
              <a:gd name="connsiteY4" fmla="*/ 857 h 5734812"/>
              <a:gd name="connsiteX0" fmla="*/ 0 w 8604028"/>
              <a:gd name="connsiteY0" fmla="*/ 857 h 5734812"/>
              <a:gd name="connsiteX1" fmla="*/ 8604028 w 8604028"/>
              <a:gd name="connsiteY1" fmla="*/ 0 h 5734812"/>
              <a:gd name="connsiteX2" fmla="*/ 6576335 w 8604028"/>
              <a:gd name="connsiteY2" fmla="*/ 3411651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98802 w 8604028"/>
              <a:gd name="connsiteY2" fmla="*/ 3812078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905914 w 8604028"/>
              <a:gd name="connsiteY2" fmla="*/ 3827884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70437 w 8604028"/>
              <a:gd name="connsiteY2" fmla="*/ 3745075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84628 w 8604028"/>
              <a:gd name="connsiteY2" fmla="*/ 3827883 h 5734812"/>
              <a:gd name="connsiteX3" fmla="*/ 0 w 8604028"/>
              <a:gd name="connsiteY3" fmla="*/ 5734812 h 5734812"/>
              <a:gd name="connsiteX4" fmla="*/ 0 w 8604028"/>
              <a:gd name="connsiteY4" fmla="*/ 857 h 5734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4028" h="5734812">
                <a:moveTo>
                  <a:pt x="0" y="857"/>
                </a:moveTo>
                <a:lnTo>
                  <a:pt x="8604028" y="0"/>
                </a:lnTo>
                <a:lnTo>
                  <a:pt x="6884628" y="3827883"/>
                </a:lnTo>
                <a:lnTo>
                  <a:pt x="0" y="5734812"/>
                </a:lnTo>
                <a:lnTo>
                  <a:pt x="0" y="857"/>
                </a:lnTo>
                <a:close/>
              </a:path>
            </a:pathLst>
          </a:custGeom>
          <a:solidFill>
            <a:schemeClr val="accent4"/>
          </a:solidFill>
          <a:ln w="9525" cap="flat">
            <a:noFill/>
            <a:prstDash val="solid"/>
            <a:miter/>
          </a:ln>
        </p:spPr>
        <p:txBody>
          <a:bodyPr rtlCol="0" anchor="ctr"/>
          <a:lstStyle/>
          <a:p>
            <a:endParaRPr lang="en-GB" dirty="0"/>
          </a:p>
        </p:txBody>
      </p:sp>
      <p:pic>
        <p:nvPicPr>
          <p:cNvPr id="378" name="Logo">
            <a:extLst>
              <a:ext uri="{FF2B5EF4-FFF2-40B4-BE49-F238E27FC236}">
                <a16:creationId xmlns:a16="http://schemas.microsoft.com/office/drawing/2014/main" id="{40FB6CFD-AE98-4971-6C76-D652A715976B}"/>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bwMode="gray">
          <a:xfrm>
            <a:off x="10128448" y="335757"/>
            <a:ext cx="1358180" cy="576000"/>
          </a:xfrm>
          <a:prstGeom prst="rect">
            <a:avLst/>
          </a:prstGeom>
        </p:spPr>
      </p:pic>
      <p:sp>
        <p:nvSpPr>
          <p:cNvPr id="379" name="Title">
            <a:extLst>
              <a:ext uri="{FF2B5EF4-FFF2-40B4-BE49-F238E27FC236}">
                <a16:creationId xmlns:a16="http://schemas.microsoft.com/office/drawing/2014/main" id="{B725CAF4-E8B3-6F00-F264-55F79BF43F08}"/>
              </a:ext>
            </a:extLst>
          </p:cNvPr>
          <p:cNvSpPr>
            <a:spLocks noGrp="1"/>
          </p:cNvSpPr>
          <p:nvPr>
            <p:ph type="ctrTitle" hasCustomPrompt="1"/>
          </p:nvPr>
        </p:nvSpPr>
        <p:spPr bwMode="gray">
          <a:xfrm>
            <a:off x="4583809" y="2205400"/>
            <a:ext cx="4968575" cy="1367992"/>
          </a:xfrm>
          <a:prstGeom prst="rect">
            <a:avLst/>
          </a:prstGeom>
        </p:spPr>
        <p:txBody>
          <a:bodyPr vert="horz" tIns="54000" anchor="t">
            <a:noAutofit/>
          </a:bodyPr>
          <a:lstStyle>
            <a:lvl1pPr algn="l">
              <a:lnSpc>
                <a:spcPct val="90000"/>
              </a:lnSpc>
              <a:defRPr sz="3000" baseline="0">
                <a:solidFill>
                  <a:schemeClr val="tx1"/>
                </a:solidFill>
              </a:defRPr>
            </a:lvl1pPr>
          </a:lstStyle>
          <a:p>
            <a:r>
              <a:rPr lang="en-GB" dirty="0"/>
              <a:t>Insert your long title of presentation here in maximal three lines</a:t>
            </a:r>
          </a:p>
        </p:txBody>
      </p:sp>
      <p:sp>
        <p:nvSpPr>
          <p:cNvPr id="380" name="Subtitle 2">
            <a:extLst>
              <a:ext uri="{FF2B5EF4-FFF2-40B4-BE49-F238E27FC236}">
                <a16:creationId xmlns:a16="http://schemas.microsoft.com/office/drawing/2014/main" id="{2CE9343C-DD5B-8F6B-07F4-00B2B6854EC1}"/>
              </a:ext>
            </a:extLst>
          </p:cNvPr>
          <p:cNvSpPr>
            <a:spLocks noGrp="1"/>
          </p:cNvSpPr>
          <p:nvPr>
            <p:ph type="subTitle" idx="1" hasCustomPrompt="1"/>
          </p:nvPr>
        </p:nvSpPr>
        <p:spPr bwMode="gray">
          <a:xfrm>
            <a:off x="4583809" y="3789400"/>
            <a:ext cx="4392511" cy="1080000"/>
          </a:xfrm>
          <a:prstGeom prst="rect">
            <a:avLst/>
          </a:prstGeom>
        </p:spPr>
        <p:txBody>
          <a:bodyPr/>
          <a:lstStyle>
            <a:lvl1pPr marL="0" indent="0" algn="l">
              <a:lnSpc>
                <a:spcPct val="100000"/>
              </a:lnSpc>
              <a:spcBef>
                <a:spcPts val="0"/>
              </a:spcBef>
              <a:buNone/>
              <a:defRPr sz="2000" b="0">
                <a:solidFill>
                  <a:schemeClr val="tx1"/>
                </a:solidFill>
                <a:latin typeface="+mn-lt"/>
              </a:defRPr>
            </a:lvl1pPr>
            <a:lvl2pPr marL="0" indent="0" algn="l">
              <a:lnSpc>
                <a:spcPct val="100000"/>
              </a:lnSpc>
              <a:spcBef>
                <a:spcPts val="0"/>
              </a:spcBef>
              <a:buNone/>
              <a:defRPr sz="2000" b="0">
                <a:solidFill>
                  <a:schemeClr val="tx1"/>
                </a:solidFill>
                <a:latin typeface="+mn-lt"/>
              </a:defRPr>
            </a:lvl2pPr>
            <a:lvl3pPr marL="0" indent="0" algn="l">
              <a:lnSpc>
                <a:spcPct val="100000"/>
              </a:lnSpc>
              <a:spcBef>
                <a:spcPts val="0"/>
              </a:spcBef>
              <a:buNone/>
              <a:defRPr sz="2000" b="0">
                <a:solidFill>
                  <a:schemeClr val="tx1"/>
                </a:solidFill>
                <a:latin typeface="+mn-lt"/>
              </a:defRPr>
            </a:lvl3pPr>
            <a:lvl4pPr marL="0" indent="0" algn="l">
              <a:lnSpc>
                <a:spcPct val="100000"/>
              </a:lnSpc>
              <a:spcBef>
                <a:spcPts val="0"/>
              </a:spcBef>
              <a:buNone/>
              <a:defRPr sz="2000" b="0">
                <a:solidFill>
                  <a:schemeClr val="tx1"/>
                </a:solidFill>
                <a:latin typeface="+mn-lt"/>
              </a:defRPr>
            </a:lvl4pPr>
            <a:lvl5pPr marL="0" indent="0" algn="l">
              <a:lnSpc>
                <a:spcPct val="100000"/>
              </a:lnSpc>
              <a:spcBef>
                <a:spcPts val="0"/>
              </a:spcBef>
              <a:buNone/>
              <a:defRPr sz="2000" b="0">
                <a:solidFill>
                  <a:schemeClr val="tx1"/>
                </a:solidFill>
                <a:latin typeface="+mn-lt"/>
              </a:defRPr>
            </a:lvl5pPr>
            <a:lvl6pPr marL="0" indent="0" algn="l">
              <a:lnSpc>
                <a:spcPct val="100000"/>
              </a:lnSpc>
              <a:spcBef>
                <a:spcPts val="0"/>
              </a:spcBef>
              <a:buNone/>
              <a:defRPr sz="2000" b="0">
                <a:solidFill>
                  <a:schemeClr val="tx1"/>
                </a:solidFill>
                <a:latin typeface="+mn-lt"/>
              </a:defRPr>
            </a:lvl6pPr>
            <a:lvl7pPr marL="0" indent="0" algn="l">
              <a:lnSpc>
                <a:spcPct val="100000"/>
              </a:lnSpc>
              <a:spcBef>
                <a:spcPts val="0"/>
              </a:spcBef>
              <a:buNone/>
              <a:defRPr sz="2000" b="0">
                <a:solidFill>
                  <a:schemeClr val="tx1"/>
                </a:solidFill>
                <a:latin typeface="+mn-lt"/>
              </a:defRPr>
            </a:lvl7pPr>
            <a:lvl8pPr marL="0" indent="0" algn="l">
              <a:lnSpc>
                <a:spcPct val="100000"/>
              </a:lnSpc>
              <a:spcBef>
                <a:spcPts val="0"/>
              </a:spcBef>
              <a:buNone/>
              <a:defRPr sz="2000" b="0">
                <a:solidFill>
                  <a:schemeClr val="tx1"/>
                </a:solidFill>
                <a:latin typeface="+mn-lt"/>
              </a:defRPr>
            </a:lvl8pPr>
            <a:lvl9pPr marL="0" indent="0" algn="l">
              <a:lnSpc>
                <a:spcPct val="100000"/>
              </a:lnSpc>
              <a:spcBef>
                <a:spcPts val="0"/>
              </a:spcBef>
              <a:buNone/>
              <a:defRPr sz="2000" b="0">
                <a:solidFill>
                  <a:schemeClr val="tx1"/>
                </a:solidFill>
                <a:latin typeface="+mn-lt"/>
              </a:defRPr>
            </a:lvl9pPr>
          </a:lstStyle>
          <a:p>
            <a:r>
              <a:rPr lang="en-GB" dirty="0"/>
              <a:t>Insert here your subtitle</a:t>
            </a:r>
          </a:p>
        </p:txBody>
      </p:sp>
      <p:sp>
        <p:nvSpPr>
          <p:cNvPr id="381" name="Author">
            <a:extLst>
              <a:ext uri="{FF2B5EF4-FFF2-40B4-BE49-F238E27FC236}">
                <a16:creationId xmlns:a16="http://schemas.microsoft.com/office/drawing/2014/main" id="{4A8430A1-248A-D24E-82D4-4C5724542F84}"/>
              </a:ext>
            </a:extLst>
          </p:cNvPr>
          <p:cNvSpPr>
            <a:spLocks noGrp="1"/>
          </p:cNvSpPr>
          <p:nvPr>
            <p:ph type="body" sz="quarter" idx="14" hasCustomPrompt="1"/>
          </p:nvPr>
        </p:nvSpPr>
        <p:spPr bwMode="gray">
          <a:xfrm>
            <a:off x="695400" y="2277400"/>
            <a:ext cx="2807728" cy="216000"/>
          </a:xfrm>
          <a:prstGeom prst="rect">
            <a:avLst/>
          </a:prstGeom>
          <a:solidFill>
            <a:schemeClr val="bg1"/>
          </a:solidFill>
          <a:ln w="127">
            <a:solidFill>
              <a:schemeClr val="bg1"/>
            </a:solidFill>
          </a:ln>
        </p:spPr>
        <p:txBody>
          <a:bodyPr wrap="square" lIns="216000" rIns="216000"/>
          <a:lstStyle>
            <a:lvl1pPr marL="0" indent="0">
              <a:lnSpc>
                <a:spcPct val="100000"/>
              </a:lnSpc>
              <a:spcBef>
                <a:spcPts val="0"/>
              </a:spcBef>
              <a:buFont typeface="Arial" panose="020B0604020202020204" pitchFamily="34" charset="0"/>
              <a:buNone/>
              <a:defRPr sz="1200" b="0">
                <a:latin typeface="+mj-lt"/>
              </a:defRPr>
            </a:lvl1pPr>
            <a:lvl2pPr marL="0" indent="0">
              <a:lnSpc>
                <a:spcPct val="100000"/>
              </a:lnSpc>
              <a:spcBef>
                <a:spcPts val="0"/>
              </a:spcBef>
              <a:buFont typeface="Arial" panose="020B0604020202020204" pitchFamily="34" charset="0"/>
              <a:buNone/>
              <a:defRPr sz="1200" b="0">
                <a:latin typeface="+mj-lt"/>
              </a:defRPr>
            </a:lvl2pPr>
            <a:lvl3pPr marL="0" indent="0">
              <a:lnSpc>
                <a:spcPct val="100000"/>
              </a:lnSpc>
              <a:spcBef>
                <a:spcPts val="0"/>
              </a:spcBef>
              <a:buFont typeface="Arial" panose="020B0604020202020204" pitchFamily="34" charset="0"/>
              <a:buNone/>
              <a:defRPr sz="1200" b="0">
                <a:latin typeface="+mj-lt"/>
              </a:defRPr>
            </a:lvl3pPr>
            <a:lvl4pPr marL="0" indent="0">
              <a:lnSpc>
                <a:spcPct val="100000"/>
              </a:lnSpc>
              <a:spcBef>
                <a:spcPts val="0"/>
              </a:spcBef>
              <a:buFont typeface="Arial" panose="020B0604020202020204" pitchFamily="34" charset="0"/>
              <a:buNone/>
              <a:defRPr sz="1200" b="0">
                <a:latin typeface="+mj-lt"/>
              </a:defRPr>
            </a:lvl4pPr>
            <a:lvl5pPr marL="0" indent="0">
              <a:lnSpc>
                <a:spcPct val="100000"/>
              </a:lnSpc>
              <a:spcBef>
                <a:spcPts val="0"/>
              </a:spcBef>
              <a:buFont typeface="Arial" panose="020B0604020202020204" pitchFamily="34" charset="0"/>
              <a:buNone/>
              <a:defRPr sz="1200" b="0">
                <a:latin typeface="+mj-lt"/>
              </a:defRPr>
            </a:lvl5pPr>
            <a:lvl6pPr marL="0" indent="0">
              <a:lnSpc>
                <a:spcPct val="100000"/>
              </a:lnSpc>
              <a:spcBef>
                <a:spcPts val="0"/>
              </a:spcBef>
              <a:buNone/>
              <a:defRPr sz="1200" b="0">
                <a:latin typeface="+mj-lt"/>
              </a:defRPr>
            </a:lvl6pPr>
            <a:lvl7pPr marL="0" indent="0">
              <a:lnSpc>
                <a:spcPct val="100000"/>
              </a:lnSpc>
              <a:spcBef>
                <a:spcPts val="0"/>
              </a:spcBef>
              <a:buNone/>
              <a:defRPr sz="1200" b="0">
                <a:latin typeface="+mj-lt"/>
              </a:defRPr>
            </a:lvl7pPr>
            <a:lvl8pPr marL="0" indent="0">
              <a:lnSpc>
                <a:spcPct val="100000"/>
              </a:lnSpc>
              <a:spcBef>
                <a:spcPts val="0"/>
              </a:spcBef>
              <a:buNone/>
              <a:defRPr sz="1200" b="0">
                <a:latin typeface="+mj-lt"/>
              </a:defRPr>
            </a:lvl8pPr>
            <a:lvl9pPr marL="0" indent="0">
              <a:lnSpc>
                <a:spcPct val="100000"/>
              </a:lnSpc>
              <a:spcBef>
                <a:spcPts val="0"/>
              </a:spcBef>
              <a:buNone/>
              <a:defRPr sz="1200" b="0">
                <a:latin typeface="+mj-lt"/>
              </a:defRPr>
            </a:lvl9pPr>
          </a:lstStyle>
          <a:p>
            <a:pPr lvl="0"/>
            <a:r>
              <a:rPr lang="en-GB" dirty="0"/>
              <a:t>First name Last name</a:t>
            </a:r>
          </a:p>
        </p:txBody>
      </p:sp>
      <p:sp>
        <p:nvSpPr>
          <p:cNvPr id="382" name="Department, Date">
            <a:extLst>
              <a:ext uri="{FF2B5EF4-FFF2-40B4-BE49-F238E27FC236}">
                <a16:creationId xmlns:a16="http://schemas.microsoft.com/office/drawing/2014/main" id="{CE770C1A-303A-8049-3F21-37196843AC75}"/>
              </a:ext>
            </a:extLst>
          </p:cNvPr>
          <p:cNvSpPr>
            <a:spLocks noGrp="1"/>
          </p:cNvSpPr>
          <p:nvPr>
            <p:ph type="body" sz="quarter" idx="15" hasCustomPrompt="1"/>
          </p:nvPr>
        </p:nvSpPr>
        <p:spPr bwMode="gray">
          <a:xfrm>
            <a:off x="695400" y="2493400"/>
            <a:ext cx="2807728" cy="1007608"/>
          </a:xfrm>
          <a:prstGeom prst="rect">
            <a:avLst/>
          </a:prstGeom>
          <a:solidFill>
            <a:schemeClr val="bg1"/>
          </a:solidFill>
          <a:ln w="127">
            <a:solidFill>
              <a:schemeClr val="bg1"/>
            </a:solidFill>
          </a:ln>
        </p:spPr>
        <p:txBody>
          <a:bodyPr wrap="square" lIns="216000" rIns="216000"/>
          <a:lstStyle>
            <a:lvl1pPr marL="0" indent="0">
              <a:lnSpc>
                <a:spcPct val="100000"/>
              </a:lnSpc>
              <a:spcBef>
                <a:spcPts val="0"/>
              </a:spcBef>
              <a:buFont typeface="Arial" panose="020B0604020202020204" pitchFamily="34" charset="0"/>
              <a:buNone/>
              <a:defRPr sz="1200" i="1">
                <a:latin typeface="+mn-lt"/>
              </a:defRPr>
            </a:lvl1pPr>
            <a:lvl2pPr marL="0" indent="0">
              <a:lnSpc>
                <a:spcPct val="100000"/>
              </a:lnSpc>
              <a:spcBef>
                <a:spcPts val="0"/>
              </a:spcBef>
              <a:buFont typeface="Arial" panose="020B0604020202020204" pitchFamily="34" charset="0"/>
              <a:buNone/>
              <a:defRPr sz="1200" i="1">
                <a:latin typeface="+mn-lt"/>
              </a:defRPr>
            </a:lvl2pPr>
            <a:lvl3pPr marL="0" indent="0">
              <a:lnSpc>
                <a:spcPct val="100000"/>
              </a:lnSpc>
              <a:spcBef>
                <a:spcPts val="0"/>
              </a:spcBef>
              <a:buFont typeface="Arial" panose="020B0604020202020204" pitchFamily="34" charset="0"/>
              <a:buNone/>
              <a:defRPr sz="1200" i="1">
                <a:latin typeface="+mn-lt"/>
              </a:defRPr>
            </a:lvl3pPr>
            <a:lvl4pPr marL="0" indent="0">
              <a:lnSpc>
                <a:spcPct val="100000"/>
              </a:lnSpc>
              <a:spcBef>
                <a:spcPts val="0"/>
              </a:spcBef>
              <a:buFont typeface="Arial" panose="020B0604020202020204" pitchFamily="34" charset="0"/>
              <a:buNone/>
              <a:defRPr sz="1200" i="1">
                <a:latin typeface="+mn-lt"/>
              </a:defRPr>
            </a:lvl4pPr>
            <a:lvl5pPr marL="0" indent="0">
              <a:lnSpc>
                <a:spcPct val="100000"/>
              </a:lnSpc>
              <a:spcBef>
                <a:spcPts val="0"/>
              </a:spcBef>
              <a:buFont typeface="Arial" panose="020B0604020202020204" pitchFamily="34" charset="0"/>
              <a:buNone/>
              <a:defRPr sz="1200" i="1">
                <a:latin typeface="+mn-lt"/>
              </a:defRPr>
            </a:lvl5pPr>
            <a:lvl6pPr marL="0" indent="0">
              <a:lnSpc>
                <a:spcPct val="100000"/>
              </a:lnSpc>
              <a:spcBef>
                <a:spcPts val="0"/>
              </a:spcBef>
              <a:buNone/>
              <a:defRPr sz="1200" i="1">
                <a:latin typeface="+mn-lt"/>
              </a:defRPr>
            </a:lvl6pPr>
            <a:lvl7pPr marL="0" indent="0">
              <a:lnSpc>
                <a:spcPct val="100000"/>
              </a:lnSpc>
              <a:spcBef>
                <a:spcPts val="0"/>
              </a:spcBef>
              <a:buNone/>
              <a:defRPr sz="1200" i="1">
                <a:latin typeface="+mn-lt"/>
              </a:defRPr>
            </a:lvl7pPr>
            <a:lvl8pPr marL="0" indent="0">
              <a:lnSpc>
                <a:spcPct val="100000"/>
              </a:lnSpc>
              <a:spcBef>
                <a:spcPts val="0"/>
              </a:spcBef>
              <a:buNone/>
              <a:defRPr sz="1200" i="1">
                <a:latin typeface="+mn-lt"/>
              </a:defRPr>
            </a:lvl8pPr>
            <a:lvl9pPr marL="0" indent="0">
              <a:lnSpc>
                <a:spcPct val="100000"/>
              </a:lnSpc>
              <a:spcBef>
                <a:spcPts val="0"/>
              </a:spcBef>
              <a:buNone/>
              <a:defRPr sz="1200" i="1">
                <a:latin typeface="+mn-lt"/>
              </a:defRPr>
            </a:lvl9pPr>
          </a:lstStyle>
          <a:p>
            <a:pPr lvl="0"/>
            <a:r>
              <a:rPr lang="en-GB" dirty="0"/>
              <a:t>Department</a:t>
            </a:r>
            <a:br>
              <a:rPr lang="en-GB" dirty="0"/>
            </a:br>
            <a:r>
              <a:rPr lang="en-GB" dirty="0"/>
              <a:t>DD/MM/YYYY</a:t>
            </a:r>
          </a:p>
        </p:txBody>
      </p:sp>
    </p:spTree>
    <p:extLst>
      <p:ext uri="{BB962C8B-B14F-4D97-AF65-F5344CB8AC3E}">
        <p14:creationId xmlns:p14="http://schemas.microsoft.com/office/powerpoint/2010/main" val="1605407779"/>
      </p:ext>
    </p:extLst>
  </p:cSld>
  <p:clrMapOvr>
    <a:overrideClrMapping bg1="dk1" tx1="lt1" bg2="dk2" tx2="lt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with picture 1/3">
    <p:spTree>
      <p:nvGrpSpPr>
        <p:cNvPr id="1" name=""/>
        <p:cNvGrpSpPr/>
        <p:nvPr/>
      </p:nvGrpSpPr>
      <p:grpSpPr>
        <a:xfrm>
          <a:off x="0" y="0"/>
          <a:ext cx="0" cy="0"/>
          <a:chOff x="0" y="0"/>
          <a:chExt cx="0" cy="0"/>
        </a:xfrm>
      </p:grpSpPr>
      <p:sp>
        <p:nvSpPr>
          <p:cNvPr id="16" name="Picture">
            <a:extLst>
              <a:ext uri="{FF2B5EF4-FFF2-40B4-BE49-F238E27FC236}">
                <a16:creationId xmlns:a16="http://schemas.microsoft.com/office/drawing/2014/main" id="{F9147370-4CB5-4DED-AFC1-3924091C14B8}"/>
              </a:ext>
            </a:extLst>
          </p:cNvPr>
          <p:cNvSpPr>
            <a:spLocks noGrp="1"/>
          </p:cNvSpPr>
          <p:nvPr>
            <p:ph type="pic" sz="quarter" idx="21" hasCustomPrompt="1"/>
          </p:nvPr>
        </p:nvSpPr>
        <p:spPr bwMode="gray">
          <a:xfrm>
            <a:off x="0" y="0"/>
            <a:ext cx="8401050" cy="6858000"/>
          </a:xfrm>
          <a:custGeom>
            <a:avLst/>
            <a:gdLst>
              <a:gd name="connsiteX0" fmla="*/ 0 w 8112125"/>
              <a:gd name="connsiteY0" fmla="*/ 0 h 6858000"/>
              <a:gd name="connsiteX1" fmla="*/ 8112125 w 8112125"/>
              <a:gd name="connsiteY1" fmla="*/ 0 h 6858000"/>
              <a:gd name="connsiteX2" fmla="*/ 8112125 w 8112125"/>
              <a:gd name="connsiteY2" fmla="*/ 6858000 h 6858000"/>
              <a:gd name="connsiteX3" fmla="*/ 0 w 8112125"/>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112125" h="6858000">
                <a:moveTo>
                  <a:pt x="0" y="0"/>
                </a:moveTo>
                <a:lnTo>
                  <a:pt x="8112125" y="0"/>
                </a:lnTo>
                <a:lnTo>
                  <a:pt x="8112125" y="6858000"/>
                </a:lnTo>
                <a:lnTo>
                  <a:pt x="0" y="6858000"/>
                </a:lnTo>
                <a:close/>
              </a:path>
            </a:pathLst>
          </a:custGeom>
          <a:solidFill>
            <a:srgbClr val="D6D9DC"/>
          </a:solidFill>
        </p:spPr>
        <p:txBody>
          <a:bodyPr wrap="square">
            <a:noAutofit/>
          </a:bodyPr>
          <a:lstStyle>
            <a:lvl1pPr marL="0" indent="0">
              <a:buNone/>
              <a:defRPr/>
            </a:lvl1pPr>
          </a:lstStyle>
          <a:p>
            <a:r>
              <a:rPr lang="en-GB"/>
              <a:t> </a:t>
            </a:r>
            <a:endParaRPr lang="en-GB" dirty="0"/>
          </a:p>
        </p:txBody>
      </p:sp>
      <p:sp>
        <p:nvSpPr>
          <p:cNvPr id="22" name="Content">
            <a:extLst>
              <a:ext uri="{FF2B5EF4-FFF2-40B4-BE49-F238E27FC236}">
                <a16:creationId xmlns:a16="http://schemas.microsoft.com/office/drawing/2014/main" id="{93536E9D-E5E2-4B0C-91F6-B80985E0540D}"/>
              </a:ext>
            </a:extLst>
          </p:cNvPr>
          <p:cNvSpPr>
            <a:spLocks noGrp="1"/>
          </p:cNvSpPr>
          <p:nvPr>
            <p:ph type="body" sz="quarter" idx="22" hasCustomPrompt="1"/>
          </p:nvPr>
        </p:nvSpPr>
        <p:spPr bwMode="gray">
          <a:xfrm>
            <a:off x="8976320" y="1484313"/>
            <a:ext cx="2880320" cy="4608512"/>
          </a:xfrm>
          <a:solidFill>
            <a:schemeClr val="bg1"/>
          </a:solidFill>
        </p:spPr>
        <p:txBody>
          <a:bodyPr lIns="0" tIns="0" rIns="0" bIns="0"/>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6" name="Datumsplatzhalter 5">
            <a:extLst>
              <a:ext uri="{FF2B5EF4-FFF2-40B4-BE49-F238E27FC236}">
                <a16:creationId xmlns:a16="http://schemas.microsoft.com/office/drawing/2014/main" id="{EDD1EB82-0E41-215C-6190-8D0BC4895644}"/>
              </a:ext>
            </a:extLst>
          </p:cNvPr>
          <p:cNvSpPr>
            <a:spLocks noGrp="1"/>
          </p:cNvSpPr>
          <p:nvPr>
            <p:ph type="dt" sz="half" idx="23"/>
          </p:nvPr>
        </p:nvSpPr>
        <p:spPr/>
        <p:txBody>
          <a:bodyPr/>
          <a:lstStyle>
            <a:lvl1pPr>
              <a:defRPr>
                <a:solidFill>
                  <a:schemeClr val="bg1"/>
                </a:solidFill>
              </a:defRPr>
            </a:lvl1pPr>
          </a:lstStyle>
          <a:p>
            <a:r>
              <a:rPr lang="en-US"/>
              <a:t>7/26/2022</a:t>
            </a:r>
            <a:endParaRPr lang="en-GB" dirty="0"/>
          </a:p>
        </p:txBody>
      </p:sp>
      <p:sp>
        <p:nvSpPr>
          <p:cNvPr id="7" name="Fußzeilenplatzhalter 6">
            <a:extLst>
              <a:ext uri="{FF2B5EF4-FFF2-40B4-BE49-F238E27FC236}">
                <a16:creationId xmlns:a16="http://schemas.microsoft.com/office/drawing/2014/main" id="{A2393FDA-973F-47E0-E8F5-149BD574CD30}"/>
              </a:ext>
            </a:extLst>
          </p:cNvPr>
          <p:cNvSpPr>
            <a:spLocks noGrp="1"/>
          </p:cNvSpPr>
          <p:nvPr>
            <p:ph type="ftr" sz="quarter" idx="24"/>
          </p:nvPr>
        </p:nvSpPr>
        <p:spPr/>
        <p:txBody>
          <a:bodyPr/>
          <a:lstStyle/>
          <a:p>
            <a:r>
              <a:rPr lang="de-DE"/>
              <a:t>Der Konsument nach Corona und Consumer Voice</a:t>
            </a:r>
            <a:endParaRPr lang="de-DE" dirty="0"/>
          </a:p>
        </p:txBody>
      </p:sp>
      <p:sp>
        <p:nvSpPr>
          <p:cNvPr id="9" name="Foliennummernplatzhalter 8">
            <a:extLst>
              <a:ext uri="{FF2B5EF4-FFF2-40B4-BE49-F238E27FC236}">
                <a16:creationId xmlns:a16="http://schemas.microsoft.com/office/drawing/2014/main" id="{85417EB2-F133-D479-A691-8176FFB9A4B4}"/>
              </a:ext>
            </a:extLst>
          </p:cNvPr>
          <p:cNvSpPr>
            <a:spLocks noGrp="1"/>
          </p:cNvSpPr>
          <p:nvPr>
            <p:ph type="sldNum" sz="quarter" idx="25"/>
          </p:nvPr>
        </p:nvSpPr>
        <p:spPr/>
        <p:txBody>
          <a:bodyPr/>
          <a:lstStyle/>
          <a:p>
            <a:fld id="{CAEA825B-D749-4F0A-886E-8D45A39EAF2A}" type="slidenum">
              <a:rPr lang="de-DE" smtClean="0"/>
              <a:pPr/>
              <a:t>‹Nº›</a:t>
            </a:fld>
            <a:endParaRPr lang="de-DE"/>
          </a:p>
        </p:txBody>
      </p:sp>
      <p:sp>
        <p:nvSpPr>
          <p:cNvPr id="10" name="Source">
            <a:extLst>
              <a:ext uri="{FF2B5EF4-FFF2-40B4-BE49-F238E27FC236}">
                <a16:creationId xmlns:a16="http://schemas.microsoft.com/office/drawing/2014/main" id="{08F68454-D295-CB65-5C51-4ED8F4D957F8}"/>
              </a:ext>
            </a:extLst>
          </p:cNvPr>
          <p:cNvSpPr>
            <a:spLocks noGrp="1"/>
          </p:cNvSpPr>
          <p:nvPr>
            <p:ph type="body" sz="quarter" idx="26"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solidFill>
                  <a:schemeClr val="bg1"/>
                </a:solidFill>
              </a:defRPr>
            </a:lvl1pPr>
            <a:lvl2pPr marL="0" indent="0" algn="l">
              <a:lnSpc>
                <a:spcPct val="100000"/>
              </a:lnSpc>
              <a:spcBef>
                <a:spcPts val="0"/>
              </a:spcBef>
              <a:buFont typeface="Arial" panose="020B0604020202020204" pitchFamily="34" charset="0"/>
              <a:buNone/>
              <a:defRPr sz="900">
                <a:solidFill>
                  <a:schemeClr val="bg1"/>
                </a:solidFill>
              </a:defRPr>
            </a:lvl2pPr>
            <a:lvl3pPr marL="0" indent="0" algn="l">
              <a:lnSpc>
                <a:spcPct val="100000"/>
              </a:lnSpc>
              <a:spcBef>
                <a:spcPts val="0"/>
              </a:spcBef>
              <a:buFont typeface="Arial" panose="020B0604020202020204" pitchFamily="34" charset="0"/>
              <a:buNone/>
              <a:defRPr sz="900">
                <a:solidFill>
                  <a:schemeClr val="bg1"/>
                </a:solidFill>
              </a:defRPr>
            </a:lvl3pPr>
            <a:lvl4pPr marL="0" indent="0" algn="l">
              <a:lnSpc>
                <a:spcPct val="100000"/>
              </a:lnSpc>
              <a:spcBef>
                <a:spcPts val="0"/>
              </a:spcBef>
              <a:buFont typeface="Arial" panose="020B0604020202020204" pitchFamily="34" charset="0"/>
              <a:buNone/>
              <a:defRPr sz="900">
                <a:solidFill>
                  <a:schemeClr val="bg1"/>
                </a:solidFill>
              </a:defRPr>
            </a:lvl4pPr>
            <a:lvl5pPr marL="0" indent="0" algn="l">
              <a:lnSpc>
                <a:spcPct val="100000"/>
              </a:lnSpc>
              <a:spcBef>
                <a:spcPts val="0"/>
              </a:spcBef>
              <a:buFont typeface="Arial" panose="020B0604020202020204" pitchFamily="34" charset="0"/>
              <a:buNone/>
              <a:defRPr sz="900" b="0">
                <a:solidFill>
                  <a:schemeClr val="bg1"/>
                </a:solidFill>
                <a:latin typeface="+mn-lt"/>
              </a:defRPr>
            </a:lvl5pPr>
            <a:lvl6pPr marL="0" indent="0">
              <a:lnSpc>
                <a:spcPct val="100000"/>
              </a:lnSpc>
              <a:spcBef>
                <a:spcPts val="0"/>
              </a:spcBef>
              <a:buNone/>
              <a:defRPr sz="900" b="0">
                <a:solidFill>
                  <a:schemeClr val="bg1"/>
                </a:solidFill>
                <a:latin typeface="+mn-lt"/>
              </a:defRPr>
            </a:lvl6pPr>
            <a:lvl7pPr marL="0" indent="0">
              <a:lnSpc>
                <a:spcPct val="100000"/>
              </a:lnSpc>
              <a:spcBef>
                <a:spcPts val="0"/>
              </a:spcBef>
              <a:buNone/>
              <a:defRPr sz="900" b="0">
                <a:solidFill>
                  <a:schemeClr val="bg1"/>
                </a:solidFill>
                <a:latin typeface="+mn-lt"/>
              </a:defRPr>
            </a:lvl7pPr>
            <a:lvl8pPr marL="0" indent="0">
              <a:lnSpc>
                <a:spcPct val="100000"/>
              </a:lnSpc>
              <a:spcBef>
                <a:spcPts val="0"/>
              </a:spcBef>
              <a:buNone/>
              <a:defRPr sz="900" b="0">
                <a:solidFill>
                  <a:schemeClr val="bg1"/>
                </a:solidFill>
                <a:latin typeface="+mn-lt"/>
              </a:defRPr>
            </a:lvl8pPr>
            <a:lvl9pPr marL="0" indent="0">
              <a:lnSpc>
                <a:spcPct val="100000"/>
              </a:lnSpc>
              <a:spcBef>
                <a:spcPts val="0"/>
              </a:spcBef>
              <a:buNone/>
              <a:defRPr sz="900" b="0">
                <a:solidFill>
                  <a:schemeClr val="bg1"/>
                </a:solidFill>
                <a:latin typeface="+mn-lt"/>
              </a:defRPr>
            </a:lvl9pPr>
          </a:lstStyle>
          <a:p>
            <a:pPr lvl="0"/>
            <a:r>
              <a:rPr lang="en-GB" dirty="0"/>
              <a:t>Source, Footnote</a:t>
            </a:r>
          </a:p>
        </p:txBody>
      </p:sp>
    </p:spTree>
    <p:extLst>
      <p:ext uri="{BB962C8B-B14F-4D97-AF65-F5344CB8AC3E}">
        <p14:creationId xmlns:p14="http://schemas.microsoft.com/office/powerpoint/2010/main" val="1740631298"/>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picture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7A2906F-27B2-6898-E426-FFE51F1AFB11}"/>
              </a:ext>
            </a:extLst>
          </p:cNvPr>
          <p:cNvGraphicFramePr>
            <a:graphicFrameLocks noChangeAspect="1"/>
          </p:cNvGraphicFramePr>
          <p:nvPr userDrawn="1">
            <p:custDataLst>
              <p:tags r:id="rId1"/>
            </p:custDataLst>
            <p:extLst>
              <p:ext uri="{D42A27DB-BD31-4B8C-83A1-F6EECF244321}">
                <p14:modId xmlns:p14="http://schemas.microsoft.com/office/powerpoint/2010/main" val="471188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3" name="Objekt 2" hidden="1">
                        <a:extLst>
                          <a:ext uri="{FF2B5EF4-FFF2-40B4-BE49-F238E27FC236}">
                            <a16:creationId xmlns:a16="http://schemas.microsoft.com/office/drawing/2014/main" id="{37A2906F-27B2-6898-E426-FFE51F1AFB1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a:extLst>
              <a:ext uri="{FF2B5EF4-FFF2-40B4-BE49-F238E27FC236}">
                <a16:creationId xmlns:a16="http://schemas.microsoft.com/office/drawing/2014/main" id="{0EA33E6C-B6EA-4396-A2D1-BF412B26090E}"/>
              </a:ext>
            </a:extLst>
          </p:cNvPr>
          <p:cNvSpPr>
            <a:spLocks noGrp="1"/>
          </p:cNvSpPr>
          <p:nvPr>
            <p:ph type="title" hasCustomPrompt="1"/>
          </p:nvPr>
        </p:nvSpPr>
        <p:spPr bwMode="gray">
          <a:xfrm>
            <a:off x="334964" y="260648"/>
            <a:ext cx="8641356" cy="369332"/>
          </a:xfrm>
        </p:spPr>
        <p:txBody>
          <a:bodyPr vert="horz"/>
          <a:lstStyle>
            <a:lvl1pPr>
              <a:defRPr/>
            </a:lvl1pPr>
          </a:lstStyle>
          <a:p>
            <a:r>
              <a:rPr lang="en-GB"/>
              <a:t>Insert your headline in Lato Heavy 24 pt here</a:t>
            </a:r>
            <a:endParaRPr lang="en-GB" dirty="0"/>
          </a:p>
        </p:txBody>
      </p:sp>
      <p:sp>
        <p:nvSpPr>
          <p:cNvPr id="5" name="Picture 1"/>
          <p:cNvSpPr>
            <a:spLocks noGrp="1"/>
          </p:cNvSpPr>
          <p:nvPr>
            <p:ph type="pic" sz="quarter" idx="17" hasCustomPrompt="1"/>
          </p:nvPr>
        </p:nvSpPr>
        <p:spPr bwMode="gray">
          <a:xfrm>
            <a:off x="334963" y="1484312"/>
            <a:ext cx="5184775" cy="4608513"/>
          </a:xfrm>
          <a:prstGeom prst="rect">
            <a:avLst/>
          </a:prstGeom>
          <a:solidFill>
            <a:srgbClr val="D6D9DC"/>
          </a:solidFill>
        </p:spPr>
        <p:txBody>
          <a:bodyPr/>
          <a:lstStyle>
            <a:lvl1pPr marL="0" indent="0">
              <a:buNone/>
              <a:defRPr/>
            </a:lvl1pPr>
          </a:lstStyle>
          <a:p>
            <a:r>
              <a:rPr lang="en-GB"/>
              <a:t> </a:t>
            </a:r>
            <a:endParaRPr lang="en-GB" dirty="0"/>
          </a:p>
        </p:txBody>
      </p:sp>
      <p:sp>
        <p:nvSpPr>
          <p:cNvPr id="9" name="Picture 2"/>
          <p:cNvSpPr>
            <a:spLocks noGrp="1"/>
          </p:cNvSpPr>
          <p:nvPr>
            <p:ph type="pic" sz="quarter" idx="18" hasCustomPrompt="1"/>
          </p:nvPr>
        </p:nvSpPr>
        <p:spPr bwMode="gray">
          <a:xfrm>
            <a:off x="6095999" y="1484313"/>
            <a:ext cx="5184775" cy="4608512"/>
          </a:xfrm>
          <a:prstGeom prst="rect">
            <a:avLst/>
          </a:prstGeom>
          <a:solidFill>
            <a:srgbClr val="D6D9DC"/>
          </a:solidFill>
        </p:spPr>
        <p:txBody>
          <a:bodyPr/>
          <a:lstStyle>
            <a:lvl1pPr marL="0" indent="0">
              <a:buNone/>
              <a:defRPr/>
            </a:lvl1pPr>
          </a:lstStyle>
          <a:p>
            <a:r>
              <a:rPr lang="en-GB"/>
              <a:t> </a:t>
            </a:r>
            <a:endParaRPr lang="en-GB" dirty="0"/>
          </a:p>
        </p:txBody>
      </p:sp>
      <p:sp>
        <p:nvSpPr>
          <p:cNvPr id="8" name="Datumsplatzhalter 7">
            <a:extLst>
              <a:ext uri="{FF2B5EF4-FFF2-40B4-BE49-F238E27FC236}">
                <a16:creationId xmlns:a16="http://schemas.microsoft.com/office/drawing/2014/main" id="{2011BA18-5B9A-E233-8556-0E941826F1EA}"/>
              </a:ext>
            </a:extLst>
          </p:cNvPr>
          <p:cNvSpPr>
            <a:spLocks noGrp="1"/>
          </p:cNvSpPr>
          <p:nvPr>
            <p:ph type="dt" sz="half" idx="20"/>
          </p:nvPr>
        </p:nvSpPr>
        <p:spPr/>
        <p:txBody>
          <a:bodyPr/>
          <a:lstStyle/>
          <a:p>
            <a:r>
              <a:rPr lang="en-US"/>
              <a:t>7/26/2022</a:t>
            </a:r>
            <a:endParaRPr lang="en-GB" dirty="0"/>
          </a:p>
        </p:txBody>
      </p:sp>
      <p:sp>
        <p:nvSpPr>
          <p:cNvPr id="12" name="Fußzeilenplatzhalter 11">
            <a:extLst>
              <a:ext uri="{FF2B5EF4-FFF2-40B4-BE49-F238E27FC236}">
                <a16:creationId xmlns:a16="http://schemas.microsoft.com/office/drawing/2014/main" id="{F018429F-CBC5-8CC4-93E2-90687B922050}"/>
              </a:ext>
            </a:extLst>
          </p:cNvPr>
          <p:cNvSpPr>
            <a:spLocks noGrp="1"/>
          </p:cNvSpPr>
          <p:nvPr>
            <p:ph type="ftr" sz="quarter" idx="21"/>
          </p:nvPr>
        </p:nvSpPr>
        <p:spPr/>
        <p:txBody>
          <a:bodyPr/>
          <a:lstStyle/>
          <a:p>
            <a:r>
              <a:rPr lang="de-DE"/>
              <a:t>Der Konsument nach Corona und Consumer Voice</a:t>
            </a:r>
            <a:endParaRPr lang="de-DE" dirty="0"/>
          </a:p>
        </p:txBody>
      </p:sp>
      <p:sp>
        <p:nvSpPr>
          <p:cNvPr id="13" name="Foliennummernplatzhalter 12">
            <a:extLst>
              <a:ext uri="{FF2B5EF4-FFF2-40B4-BE49-F238E27FC236}">
                <a16:creationId xmlns:a16="http://schemas.microsoft.com/office/drawing/2014/main" id="{3394B7ED-5ED8-3619-1491-FB0DD16AE494}"/>
              </a:ext>
            </a:extLst>
          </p:cNvPr>
          <p:cNvSpPr>
            <a:spLocks noGrp="1"/>
          </p:cNvSpPr>
          <p:nvPr>
            <p:ph type="sldNum" sz="quarter" idx="22"/>
          </p:nvPr>
        </p:nvSpPr>
        <p:spPr/>
        <p:txBody>
          <a:bodyPr/>
          <a:lstStyle/>
          <a:p>
            <a:fld id="{CAEA825B-D749-4F0A-886E-8D45A39EAF2A}" type="slidenum">
              <a:rPr lang="de-DE" smtClean="0"/>
              <a:pPr/>
              <a:t>‹Nº›</a:t>
            </a:fld>
            <a:endParaRPr lang="de-DE"/>
          </a:p>
        </p:txBody>
      </p:sp>
      <p:sp>
        <p:nvSpPr>
          <p:cNvPr id="14" name="Subtitle">
            <a:extLst>
              <a:ext uri="{FF2B5EF4-FFF2-40B4-BE49-F238E27FC236}">
                <a16:creationId xmlns:a16="http://schemas.microsoft.com/office/drawing/2014/main" id="{7A17EE86-603C-E177-1A6E-48ABB8CD7A28}"/>
              </a:ext>
            </a:extLst>
          </p:cNvPr>
          <p:cNvSpPr>
            <a:spLocks noGrp="1"/>
          </p:cNvSpPr>
          <p:nvPr>
            <p:ph type="subTitle" idx="13" hasCustomPrompt="1"/>
          </p:nvPr>
        </p:nvSpPr>
        <p:spPr bwMode="gray">
          <a:xfrm>
            <a:off x="334963" y="659362"/>
            <a:ext cx="8641357" cy="360040"/>
          </a:xfrm>
          <a:prstGeom prst="rect">
            <a:avLst/>
          </a:prstGeom>
        </p:spPr>
        <p:txBody>
          <a:bodyPr wrap="none" tIns="0"/>
          <a:lstStyle>
            <a:lvl1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1pPr>
            <a:lvl2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2pPr>
            <a:lvl3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3pPr>
            <a:lvl4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4pPr>
            <a:lvl5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5pPr>
            <a:lvl6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6pPr>
            <a:lvl7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7pPr>
            <a:lvl8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8pPr>
            <a:lvl9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9pPr>
          </a:lstStyle>
          <a:p>
            <a:r>
              <a:rPr lang="en-GB" dirty="0"/>
              <a:t>Insert your sub-headline in </a:t>
            </a:r>
            <a:r>
              <a:rPr lang="en-GB" dirty="0" err="1"/>
              <a:t>Lato</a:t>
            </a:r>
            <a:r>
              <a:rPr lang="en-GB" dirty="0"/>
              <a:t> light 20 </a:t>
            </a:r>
            <a:r>
              <a:rPr lang="en-GB" dirty="0" err="1"/>
              <a:t>pt</a:t>
            </a:r>
            <a:r>
              <a:rPr lang="en-GB" dirty="0"/>
              <a:t> here</a:t>
            </a:r>
          </a:p>
        </p:txBody>
      </p:sp>
      <p:sp>
        <p:nvSpPr>
          <p:cNvPr id="15" name="Source">
            <a:extLst>
              <a:ext uri="{FF2B5EF4-FFF2-40B4-BE49-F238E27FC236}">
                <a16:creationId xmlns:a16="http://schemas.microsoft.com/office/drawing/2014/main" id="{54DA4A41-0823-5AD7-993C-B235F1FB9BC9}"/>
              </a:ext>
            </a:extLst>
          </p:cNvPr>
          <p:cNvSpPr>
            <a:spLocks noGrp="1"/>
          </p:cNvSpPr>
          <p:nvPr>
            <p:ph type="body" sz="quarter" idx="25"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grpSp>
        <p:nvGrpSpPr>
          <p:cNvPr id="28" name="Gruppieren 27">
            <a:extLst>
              <a:ext uri="{FF2B5EF4-FFF2-40B4-BE49-F238E27FC236}">
                <a16:creationId xmlns:a16="http://schemas.microsoft.com/office/drawing/2014/main" id="{A1B4635A-14FA-C524-7ED6-A42B91198D89}"/>
              </a:ext>
              <a:ext uri="{C183D7F6-B498-43B3-948B-1728B52AA6E4}">
                <adec:decorative xmlns:adec="http://schemas.microsoft.com/office/drawing/2017/decorative" val="1"/>
              </a:ext>
            </a:extLst>
          </p:cNvPr>
          <p:cNvGrpSpPr/>
          <p:nvPr userDrawn="1"/>
        </p:nvGrpSpPr>
        <p:grpSpPr>
          <a:xfrm>
            <a:off x="-168768" y="-171392"/>
            <a:ext cx="12025408" cy="6264688"/>
            <a:chOff x="-168768" y="-171392"/>
            <a:chExt cx="12025408" cy="6264688"/>
          </a:xfrm>
        </p:grpSpPr>
        <p:cxnSp>
          <p:nvCxnSpPr>
            <p:cNvPr id="29" name="Gerader Verbinder 28">
              <a:extLst>
                <a:ext uri="{FF2B5EF4-FFF2-40B4-BE49-F238E27FC236}">
                  <a16:creationId xmlns:a16="http://schemas.microsoft.com/office/drawing/2014/main" id="{5532B2F2-7373-C587-AA63-C7B21CC77F2A}"/>
                </a:ext>
              </a:extLst>
            </p:cNvPr>
            <p:cNvCxnSpPr/>
            <p:nvPr userDrawn="1"/>
          </p:nvCxnSpPr>
          <p:spPr bwMode="gray">
            <a:xfrm>
              <a:off x="33536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D3F7A3B3-163F-4CBF-2243-BB2D0446B527}"/>
                </a:ext>
              </a:extLst>
            </p:cNvPr>
            <p:cNvCxnSpPr/>
            <p:nvPr userDrawn="1"/>
          </p:nvCxnSpPr>
          <p:spPr bwMode="gray">
            <a:xfrm>
              <a:off x="436780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D0C6E901-57C6-D501-D4A2-FF56B0FD415A}"/>
                </a:ext>
              </a:extLst>
            </p:cNvPr>
            <p:cNvCxnSpPr/>
            <p:nvPr userDrawn="1"/>
          </p:nvCxnSpPr>
          <p:spPr bwMode="gray">
            <a:xfrm>
              <a:off x="494387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569F18F1-4A5F-E680-90D1-31F1CFAE519D}"/>
                </a:ext>
              </a:extLst>
            </p:cNvPr>
            <p:cNvCxnSpPr/>
            <p:nvPr userDrawn="1"/>
          </p:nvCxnSpPr>
          <p:spPr bwMode="gray">
            <a:xfrm>
              <a:off x="667206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CA784A56-235A-D652-02F6-BEC4F2526378}"/>
                </a:ext>
              </a:extLst>
            </p:cNvPr>
            <p:cNvCxnSpPr/>
            <p:nvPr userDrawn="1"/>
          </p:nvCxnSpPr>
          <p:spPr bwMode="gray">
            <a:xfrm>
              <a:off x="609600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9523D5E-AEC2-0A5B-44F4-8031EF99EC17}"/>
                </a:ext>
              </a:extLst>
            </p:cNvPr>
            <p:cNvCxnSpPr/>
            <p:nvPr userDrawn="1"/>
          </p:nvCxnSpPr>
          <p:spPr bwMode="gray">
            <a:xfrm>
              <a:off x="724812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64BAEACD-9243-C3E8-E41F-5179A28C4BB8}"/>
                </a:ext>
              </a:extLst>
            </p:cNvPr>
            <p:cNvCxnSpPr/>
            <p:nvPr userDrawn="1"/>
          </p:nvCxnSpPr>
          <p:spPr bwMode="gray">
            <a:xfrm>
              <a:off x="782419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1D805557-0B8B-63C5-3823-A6053581EB36}"/>
                </a:ext>
              </a:extLst>
            </p:cNvPr>
            <p:cNvCxnSpPr/>
            <p:nvPr userDrawn="1"/>
          </p:nvCxnSpPr>
          <p:spPr bwMode="gray">
            <a:xfrm>
              <a:off x="840025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2BB91C06-57E0-2A5A-59BB-4C75BBFF84A2}"/>
                </a:ext>
              </a:extLst>
            </p:cNvPr>
            <p:cNvCxnSpPr/>
            <p:nvPr userDrawn="1"/>
          </p:nvCxnSpPr>
          <p:spPr bwMode="gray">
            <a:xfrm>
              <a:off x="897632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E77AA35C-448C-4714-6899-C61E3349E1AB}"/>
                </a:ext>
              </a:extLst>
            </p:cNvPr>
            <p:cNvCxnSpPr/>
            <p:nvPr userDrawn="1"/>
          </p:nvCxnSpPr>
          <p:spPr bwMode="gray">
            <a:xfrm>
              <a:off x="1128057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793FF167-5E32-6F3E-FE47-AFDA42B7040E}"/>
                </a:ext>
              </a:extLst>
            </p:cNvPr>
            <p:cNvCxnSpPr/>
            <p:nvPr userDrawn="1"/>
          </p:nvCxnSpPr>
          <p:spPr bwMode="gray">
            <a:xfrm>
              <a:off x="1185664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96A7EBEF-B5F9-636C-83BE-9C441DD21B19}"/>
                </a:ext>
              </a:extLst>
            </p:cNvPr>
            <p:cNvCxnSpPr>
              <a:cxnSpLocks/>
            </p:cNvCxnSpPr>
            <p:nvPr userDrawn="1"/>
          </p:nvCxnSpPr>
          <p:spPr bwMode="gray">
            <a:xfrm rot="5400000">
              <a:off x="-132688" y="29665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766B274E-2712-E1AD-5C39-29DD4BAC0232}"/>
                </a:ext>
              </a:extLst>
            </p:cNvPr>
            <p:cNvCxnSpPr/>
            <p:nvPr userDrawn="1"/>
          </p:nvCxnSpPr>
          <p:spPr bwMode="gray">
            <a:xfrm>
              <a:off x="321568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47F45D18-EBB4-26AE-7281-4E21F532B3A7}"/>
                </a:ext>
              </a:extLst>
            </p:cNvPr>
            <p:cNvCxnSpPr/>
            <p:nvPr userDrawn="1"/>
          </p:nvCxnSpPr>
          <p:spPr bwMode="gray">
            <a:xfrm>
              <a:off x="379174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C1391206-7C0F-231E-AA91-A87C63461E8A}"/>
                </a:ext>
              </a:extLst>
            </p:cNvPr>
            <p:cNvCxnSpPr>
              <a:cxnSpLocks/>
            </p:cNvCxnSpPr>
            <p:nvPr userDrawn="1"/>
          </p:nvCxnSpPr>
          <p:spPr bwMode="gray">
            <a:xfrm rot="5400000">
              <a:off x="-132704" y="87272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1A3D583A-5C3B-3F30-92F2-22786CA4D2AF}"/>
                </a:ext>
              </a:extLst>
            </p:cNvPr>
            <p:cNvCxnSpPr>
              <a:cxnSpLocks/>
            </p:cNvCxnSpPr>
            <p:nvPr userDrawn="1"/>
          </p:nvCxnSpPr>
          <p:spPr bwMode="gray">
            <a:xfrm rot="5400000">
              <a:off x="-132712" y="202484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3C61BAF1-0A97-646E-EA86-29876679B465}"/>
                </a:ext>
              </a:extLst>
            </p:cNvPr>
            <p:cNvCxnSpPr>
              <a:cxnSpLocks/>
            </p:cNvCxnSpPr>
            <p:nvPr userDrawn="1"/>
          </p:nvCxnSpPr>
          <p:spPr bwMode="gray">
            <a:xfrm rot="5400000">
              <a:off x="-132768" y="605729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DF5C80C0-AD22-B7C5-66ED-5015B9440FE7}"/>
                </a:ext>
              </a:extLst>
            </p:cNvPr>
            <p:cNvCxnSpPr/>
            <p:nvPr/>
          </p:nvCxnSpPr>
          <p:spPr bwMode="gray">
            <a:xfrm>
              <a:off x="1070451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F97B15E7-654A-255B-457D-FADB18076995}"/>
                </a:ext>
              </a:extLst>
            </p:cNvPr>
            <p:cNvCxnSpPr/>
            <p:nvPr/>
          </p:nvCxnSpPr>
          <p:spPr bwMode="gray">
            <a:xfrm>
              <a:off x="1012844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B4DBFA9D-2106-D5AF-53EE-E0C4C56063C8}"/>
                </a:ext>
              </a:extLst>
            </p:cNvPr>
            <p:cNvCxnSpPr/>
            <p:nvPr/>
          </p:nvCxnSpPr>
          <p:spPr bwMode="gray">
            <a:xfrm>
              <a:off x="955059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9E349BEC-0112-D12A-4B8C-2FA418AE9C32}"/>
                </a:ext>
              </a:extLst>
            </p:cNvPr>
            <p:cNvCxnSpPr/>
            <p:nvPr/>
          </p:nvCxnSpPr>
          <p:spPr bwMode="gray">
            <a:xfrm>
              <a:off x="551973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EA10A2BB-4337-CAC1-11B3-576CF8DD0A7D}"/>
                </a:ext>
              </a:extLst>
            </p:cNvPr>
            <p:cNvCxnSpPr/>
            <p:nvPr/>
          </p:nvCxnSpPr>
          <p:spPr bwMode="gray">
            <a:xfrm>
              <a:off x="263961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C23F21F7-4368-A63C-813D-DCD4EBAC9820}"/>
                </a:ext>
              </a:extLst>
            </p:cNvPr>
            <p:cNvCxnSpPr/>
            <p:nvPr/>
          </p:nvCxnSpPr>
          <p:spPr bwMode="gray">
            <a:xfrm>
              <a:off x="206355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97928159-D451-8956-FF1D-990080A35F9E}"/>
                </a:ext>
              </a:extLst>
            </p:cNvPr>
            <p:cNvCxnSpPr/>
            <p:nvPr/>
          </p:nvCxnSpPr>
          <p:spPr bwMode="gray">
            <a:xfrm>
              <a:off x="148748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9657E762-DEA0-F1DF-6726-EF9E6400ECF0}"/>
                </a:ext>
              </a:extLst>
            </p:cNvPr>
            <p:cNvCxnSpPr/>
            <p:nvPr/>
          </p:nvCxnSpPr>
          <p:spPr bwMode="gray">
            <a:xfrm>
              <a:off x="91142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C80F5CE6-E562-2445-7573-622B2748DA50}"/>
                </a:ext>
              </a:extLst>
            </p:cNvPr>
            <p:cNvCxnSpPr>
              <a:cxnSpLocks/>
            </p:cNvCxnSpPr>
            <p:nvPr/>
          </p:nvCxnSpPr>
          <p:spPr bwMode="gray">
            <a:xfrm rot="5400000">
              <a:off x="-132704" y="144878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05D44670-EF20-CAEB-64F0-44EA212FF2CD}"/>
                </a:ext>
              </a:extLst>
            </p:cNvPr>
            <p:cNvCxnSpPr>
              <a:cxnSpLocks/>
            </p:cNvCxnSpPr>
            <p:nvPr/>
          </p:nvCxnSpPr>
          <p:spPr bwMode="gray">
            <a:xfrm rot="5400000">
              <a:off x="-132712" y="260091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6F5A6501-6DF4-82DC-63C6-78692F562D9A}"/>
                </a:ext>
              </a:extLst>
            </p:cNvPr>
            <p:cNvCxnSpPr>
              <a:cxnSpLocks/>
            </p:cNvCxnSpPr>
            <p:nvPr/>
          </p:nvCxnSpPr>
          <p:spPr bwMode="gray">
            <a:xfrm rot="5400000">
              <a:off x="-132712" y="317697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11532178-8F6B-C260-A8A9-AE7E39ADF535}"/>
                </a:ext>
              </a:extLst>
            </p:cNvPr>
            <p:cNvCxnSpPr>
              <a:cxnSpLocks/>
            </p:cNvCxnSpPr>
            <p:nvPr/>
          </p:nvCxnSpPr>
          <p:spPr bwMode="gray">
            <a:xfrm rot="5400000">
              <a:off x="-132712" y="375304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FFB0556E-3F3E-55FD-AA21-3845378C8B68}"/>
                </a:ext>
              </a:extLst>
            </p:cNvPr>
            <p:cNvCxnSpPr>
              <a:cxnSpLocks/>
            </p:cNvCxnSpPr>
            <p:nvPr/>
          </p:nvCxnSpPr>
          <p:spPr bwMode="gray">
            <a:xfrm rot="5400000">
              <a:off x="-132712" y="432910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08C66409-7CE9-78FF-5609-1FDD2D045B57}"/>
                </a:ext>
              </a:extLst>
            </p:cNvPr>
            <p:cNvCxnSpPr>
              <a:cxnSpLocks/>
            </p:cNvCxnSpPr>
            <p:nvPr/>
          </p:nvCxnSpPr>
          <p:spPr bwMode="gray">
            <a:xfrm rot="5400000">
              <a:off x="-132712" y="490516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E18769AC-AEFE-F4EE-524B-F56558753FFD}"/>
                </a:ext>
              </a:extLst>
            </p:cNvPr>
            <p:cNvCxnSpPr>
              <a:cxnSpLocks/>
            </p:cNvCxnSpPr>
            <p:nvPr/>
          </p:nvCxnSpPr>
          <p:spPr bwMode="gray">
            <a:xfrm rot="5400000">
              <a:off x="-132712" y="548123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4192937"/>
      </p:ext>
    </p:extLst>
  </p:cSld>
  <p:clrMapOvr>
    <a:masterClrMapping/>
  </p:clrMapOvr>
  <p:extLst>
    <p:ext uri="{DCECCB84-F9BA-43D5-87BE-67443E8EF086}">
      <p15:sldGuideLst xmlns:p15="http://schemas.microsoft.com/office/powerpoint/2012/main">
        <p15:guide id="1" orient="horz" pos="935" userDrawn="1">
          <p15:clr>
            <a:srgbClr val="FBAE40"/>
          </p15:clr>
        </p15:guide>
        <p15:guide id="2" orient="horz" pos="3838" userDrawn="1">
          <p15:clr>
            <a:srgbClr val="FBAE40"/>
          </p15:clr>
        </p15:guide>
        <p15:guide id="3" pos="3840" userDrawn="1">
          <p15:clr>
            <a:srgbClr val="FBAE40"/>
          </p15:clr>
        </p15:guide>
        <p15:guide id="4" pos="3477" userDrawn="1">
          <p15:clr>
            <a:srgbClr val="FBAE40"/>
          </p15:clr>
        </p15:guide>
        <p15:guide id="5" pos="211" userDrawn="1">
          <p15:clr>
            <a:srgbClr val="FBAE40"/>
          </p15:clr>
        </p15:guide>
        <p15:guide id="6" pos="7106"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pictures &amp; content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1EA08B2-A595-65DC-1F32-A3076258B06A}"/>
              </a:ext>
            </a:extLst>
          </p:cNvPr>
          <p:cNvGraphicFramePr>
            <a:graphicFrameLocks noChangeAspect="1"/>
          </p:cNvGraphicFramePr>
          <p:nvPr userDrawn="1">
            <p:custDataLst>
              <p:tags r:id="rId1"/>
            </p:custDataLst>
            <p:extLst>
              <p:ext uri="{D42A27DB-BD31-4B8C-83A1-F6EECF244321}">
                <p14:modId xmlns:p14="http://schemas.microsoft.com/office/powerpoint/2010/main" val="671694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3" name="Objekt 2" hidden="1">
                        <a:extLst>
                          <a:ext uri="{FF2B5EF4-FFF2-40B4-BE49-F238E27FC236}">
                            <a16:creationId xmlns:a16="http://schemas.microsoft.com/office/drawing/2014/main" id="{11EA08B2-A595-65DC-1F32-A3076258B0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a:extLst>
              <a:ext uri="{FF2B5EF4-FFF2-40B4-BE49-F238E27FC236}">
                <a16:creationId xmlns:a16="http://schemas.microsoft.com/office/drawing/2014/main" id="{0EA33E6C-B6EA-4396-A2D1-BF412B26090E}"/>
              </a:ext>
            </a:extLst>
          </p:cNvPr>
          <p:cNvSpPr>
            <a:spLocks noGrp="1"/>
          </p:cNvSpPr>
          <p:nvPr>
            <p:ph type="title" hasCustomPrompt="1"/>
          </p:nvPr>
        </p:nvSpPr>
        <p:spPr bwMode="gray">
          <a:xfrm>
            <a:off x="334964" y="260648"/>
            <a:ext cx="8641356" cy="369332"/>
          </a:xfrm>
        </p:spPr>
        <p:txBody>
          <a:bodyPr vert="horz"/>
          <a:lstStyle>
            <a:lvl1pPr>
              <a:defRPr/>
            </a:lvl1pPr>
          </a:lstStyle>
          <a:p>
            <a:r>
              <a:rPr lang="en-GB" dirty="0"/>
              <a:t>Insert your headline in </a:t>
            </a:r>
            <a:r>
              <a:rPr lang="en-GB" dirty="0" err="1"/>
              <a:t>Lato</a:t>
            </a:r>
            <a:r>
              <a:rPr lang="en-GB" dirty="0"/>
              <a:t> Heavy 24 </a:t>
            </a:r>
            <a:r>
              <a:rPr lang="en-GB" dirty="0" err="1"/>
              <a:t>pt</a:t>
            </a:r>
            <a:r>
              <a:rPr lang="en-GB" dirty="0"/>
              <a:t> here</a:t>
            </a:r>
          </a:p>
        </p:txBody>
      </p:sp>
      <p:sp>
        <p:nvSpPr>
          <p:cNvPr id="5" name="Picture 1"/>
          <p:cNvSpPr>
            <a:spLocks noGrp="1"/>
          </p:cNvSpPr>
          <p:nvPr>
            <p:ph type="pic" sz="quarter" idx="17" hasCustomPrompt="1"/>
          </p:nvPr>
        </p:nvSpPr>
        <p:spPr bwMode="gray">
          <a:xfrm>
            <a:off x="335360" y="1484314"/>
            <a:ext cx="3457178" cy="1728786"/>
          </a:xfrm>
          <a:prstGeom prst="rect">
            <a:avLst/>
          </a:prstGeom>
          <a:solidFill>
            <a:srgbClr val="D6D9DC"/>
          </a:solidFill>
        </p:spPr>
        <p:txBody>
          <a:bodyPr/>
          <a:lstStyle>
            <a:lvl1pPr marL="0" indent="0">
              <a:buNone/>
              <a:defRPr/>
            </a:lvl1pPr>
          </a:lstStyle>
          <a:p>
            <a:r>
              <a:rPr lang="en-GB"/>
              <a:t> </a:t>
            </a:r>
            <a:endParaRPr lang="en-GB" dirty="0"/>
          </a:p>
        </p:txBody>
      </p:sp>
      <p:sp>
        <p:nvSpPr>
          <p:cNvPr id="7" name="Content 1">
            <a:extLst>
              <a:ext uri="{FF2B5EF4-FFF2-40B4-BE49-F238E27FC236}">
                <a16:creationId xmlns:a16="http://schemas.microsoft.com/office/drawing/2014/main" id="{06A67EB1-7EE7-45D3-A94D-6EA201E90CFF}"/>
              </a:ext>
            </a:extLst>
          </p:cNvPr>
          <p:cNvSpPr>
            <a:spLocks noGrp="1"/>
          </p:cNvSpPr>
          <p:nvPr>
            <p:ph type="body" sz="quarter" idx="23" hasCustomPrompt="1"/>
          </p:nvPr>
        </p:nvSpPr>
        <p:spPr bwMode="gray">
          <a:xfrm>
            <a:off x="335360" y="3789363"/>
            <a:ext cx="3457177" cy="2303461"/>
          </a:xfrm>
        </p:spPr>
        <p:txBody>
          <a:body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a:p>
            <a:pPr lvl="2"/>
            <a:r>
              <a:rPr lang="en-GB" dirty="0"/>
              <a:t>Third level</a:t>
            </a:r>
          </a:p>
          <a:p>
            <a:pPr lvl="3"/>
            <a:r>
              <a:rPr lang="en-GB" dirty="0"/>
              <a:t>Fourth level</a:t>
            </a:r>
          </a:p>
        </p:txBody>
      </p:sp>
      <p:sp>
        <p:nvSpPr>
          <p:cNvPr id="9" name="Picture 2"/>
          <p:cNvSpPr>
            <a:spLocks noGrp="1"/>
          </p:cNvSpPr>
          <p:nvPr>
            <p:ph type="pic" sz="quarter" idx="18" hasCustomPrompt="1"/>
          </p:nvPr>
        </p:nvSpPr>
        <p:spPr bwMode="gray">
          <a:xfrm>
            <a:off x="4367807" y="1484313"/>
            <a:ext cx="2880321" cy="1728787"/>
          </a:xfrm>
          <a:prstGeom prst="rect">
            <a:avLst/>
          </a:prstGeom>
          <a:solidFill>
            <a:srgbClr val="D6D9DC"/>
          </a:solidFill>
        </p:spPr>
        <p:txBody>
          <a:bodyPr/>
          <a:lstStyle>
            <a:lvl1pPr marL="0" indent="0">
              <a:buNone/>
              <a:defRPr/>
            </a:lvl1pPr>
          </a:lstStyle>
          <a:p>
            <a:r>
              <a:rPr lang="en-GB"/>
              <a:t> </a:t>
            </a:r>
            <a:endParaRPr lang="en-GB" dirty="0"/>
          </a:p>
        </p:txBody>
      </p:sp>
      <p:sp>
        <p:nvSpPr>
          <p:cNvPr id="12" name="Content 2">
            <a:extLst>
              <a:ext uri="{FF2B5EF4-FFF2-40B4-BE49-F238E27FC236}">
                <a16:creationId xmlns:a16="http://schemas.microsoft.com/office/drawing/2014/main" id="{C35DD715-4BC4-4F30-A849-B8E23CA41DB0}"/>
              </a:ext>
            </a:extLst>
          </p:cNvPr>
          <p:cNvSpPr>
            <a:spLocks noGrp="1"/>
          </p:cNvSpPr>
          <p:nvPr>
            <p:ph type="body" sz="quarter" idx="24" hasCustomPrompt="1"/>
          </p:nvPr>
        </p:nvSpPr>
        <p:spPr bwMode="gray">
          <a:xfrm>
            <a:off x="4367808" y="3789364"/>
            <a:ext cx="2880320" cy="2303461"/>
          </a:xfrm>
        </p:spPr>
        <p:txBody>
          <a:body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a:p>
            <a:pPr lvl="2"/>
            <a:r>
              <a:rPr lang="en-GB" dirty="0"/>
              <a:t>Third level</a:t>
            </a:r>
          </a:p>
          <a:p>
            <a:pPr lvl="3"/>
            <a:r>
              <a:rPr lang="en-GB" dirty="0"/>
              <a:t>Fourth level</a:t>
            </a:r>
          </a:p>
        </p:txBody>
      </p:sp>
      <p:sp>
        <p:nvSpPr>
          <p:cNvPr id="10" name="Picture 3">
            <a:extLst>
              <a:ext uri="{FF2B5EF4-FFF2-40B4-BE49-F238E27FC236}">
                <a16:creationId xmlns:a16="http://schemas.microsoft.com/office/drawing/2014/main" id="{13F83B90-1053-4BAE-A04B-E97DF0BCFAD6}"/>
              </a:ext>
            </a:extLst>
          </p:cNvPr>
          <p:cNvSpPr>
            <a:spLocks noGrp="1"/>
          </p:cNvSpPr>
          <p:nvPr>
            <p:ph type="pic" sz="quarter" idx="22" hasCustomPrompt="1"/>
          </p:nvPr>
        </p:nvSpPr>
        <p:spPr bwMode="gray">
          <a:xfrm>
            <a:off x="7824787" y="1484313"/>
            <a:ext cx="3455789" cy="1728787"/>
          </a:xfrm>
          <a:prstGeom prst="rect">
            <a:avLst/>
          </a:prstGeom>
          <a:solidFill>
            <a:srgbClr val="D6D9DC"/>
          </a:solidFill>
        </p:spPr>
        <p:txBody>
          <a:bodyPr/>
          <a:lstStyle>
            <a:lvl1pPr marL="0" indent="0">
              <a:buNone/>
              <a:defRPr/>
            </a:lvl1pPr>
          </a:lstStyle>
          <a:p>
            <a:r>
              <a:rPr lang="en-GB"/>
              <a:t> </a:t>
            </a:r>
            <a:endParaRPr lang="en-GB" dirty="0"/>
          </a:p>
        </p:txBody>
      </p:sp>
      <p:sp>
        <p:nvSpPr>
          <p:cNvPr id="13" name="Content 3">
            <a:extLst>
              <a:ext uri="{FF2B5EF4-FFF2-40B4-BE49-F238E27FC236}">
                <a16:creationId xmlns:a16="http://schemas.microsoft.com/office/drawing/2014/main" id="{312C35B1-615F-427F-BBA3-DA904C08CAD1}"/>
              </a:ext>
            </a:extLst>
          </p:cNvPr>
          <p:cNvSpPr>
            <a:spLocks noGrp="1"/>
          </p:cNvSpPr>
          <p:nvPr>
            <p:ph type="body" sz="quarter" idx="25" hasCustomPrompt="1"/>
          </p:nvPr>
        </p:nvSpPr>
        <p:spPr bwMode="gray">
          <a:xfrm>
            <a:off x="7824788" y="3789363"/>
            <a:ext cx="3455789" cy="2303461"/>
          </a:xfrm>
        </p:spPr>
        <p:txBody>
          <a:body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a:p>
            <a:pPr lvl="2"/>
            <a:r>
              <a:rPr lang="en-GB" dirty="0"/>
              <a:t>Third level</a:t>
            </a:r>
          </a:p>
          <a:p>
            <a:pPr lvl="3"/>
            <a:r>
              <a:rPr lang="en-GB" dirty="0"/>
              <a:t>Fourth level</a:t>
            </a:r>
          </a:p>
        </p:txBody>
      </p:sp>
      <p:sp>
        <p:nvSpPr>
          <p:cNvPr id="14" name="Datumsplatzhalter 13">
            <a:extLst>
              <a:ext uri="{FF2B5EF4-FFF2-40B4-BE49-F238E27FC236}">
                <a16:creationId xmlns:a16="http://schemas.microsoft.com/office/drawing/2014/main" id="{1E8859D9-949C-2985-C0EC-609FF76F89DD}"/>
              </a:ext>
            </a:extLst>
          </p:cNvPr>
          <p:cNvSpPr>
            <a:spLocks noGrp="1"/>
          </p:cNvSpPr>
          <p:nvPr>
            <p:ph type="dt" sz="half" idx="26"/>
          </p:nvPr>
        </p:nvSpPr>
        <p:spPr/>
        <p:txBody>
          <a:bodyPr/>
          <a:lstStyle/>
          <a:p>
            <a:r>
              <a:rPr lang="en-US"/>
              <a:t>7/26/2022</a:t>
            </a:r>
            <a:endParaRPr lang="en-GB" dirty="0"/>
          </a:p>
        </p:txBody>
      </p:sp>
      <p:sp>
        <p:nvSpPr>
          <p:cNvPr id="16" name="Fußzeilenplatzhalter 15">
            <a:extLst>
              <a:ext uri="{FF2B5EF4-FFF2-40B4-BE49-F238E27FC236}">
                <a16:creationId xmlns:a16="http://schemas.microsoft.com/office/drawing/2014/main" id="{B9F701DF-6767-1882-385D-8951C6E07945}"/>
              </a:ext>
            </a:extLst>
          </p:cNvPr>
          <p:cNvSpPr>
            <a:spLocks noGrp="1"/>
          </p:cNvSpPr>
          <p:nvPr>
            <p:ph type="ftr" sz="quarter" idx="27"/>
          </p:nvPr>
        </p:nvSpPr>
        <p:spPr/>
        <p:txBody>
          <a:bodyPr/>
          <a:lstStyle/>
          <a:p>
            <a:r>
              <a:rPr lang="de-DE"/>
              <a:t>Der Konsument nach Corona und Consumer Voice</a:t>
            </a:r>
            <a:endParaRPr lang="de-DE" dirty="0"/>
          </a:p>
        </p:txBody>
      </p:sp>
      <p:sp>
        <p:nvSpPr>
          <p:cNvPr id="17" name="Foliennummernplatzhalter 16">
            <a:extLst>
              <a:ext uri="{FF2B5EF4-FFF2-40B4-BE49-F238E27FC236}">
                <a16:creationId xmlns:a16="http://schemas.microsoft.com/office/drawing/2014/main" id="{02CFE2DF-5A7D-C386-0FE8-90E7AE225057}"/>
              </a:ext>
            </a:extLst>
          </p:cNvPr>
          <p:cNvSpPr>
            <a:spLocks noGrp="1"/>
          </p:cNvSpPr>
          <p:nvPr>
            <p:ph type="sldNum" sz="quarter" idx="28"/>
          </p:nvPr>
        </p:nvSpPr>
        <p:spPr/>
        <p:txBody>
          <a:bodyPr/>
          <a:lstStyle/>
          <a:p>
            <a:fld id="{CAEA825B-D749-4F0A-886E-8D45A39EAF2A}" type="slidenum">
              <a:rPr lang="de-DE" smtClean="0"/>
              <a:pPr/>
              <a:t>‹Nº›</a:t>
            </a:fld>
            <a:endParaRPr lang="de-DE"/>
          </a:p>
        </p:txBody>
      </p:sp>
      <p:sp>
        <p:nvSpPr>
          <p:cNvPr id="18" name="Subtitle">
            <a:extLst>
              <a:ext uri="{FF2B5EF4-FFF2-40B4-BE49-F238E27FC236}">
                <a16:creationId xmlns:a16="http://schemas.microsoft.com/office/drawing/2014/main" id="{AAAFDC5C-75DB-C84D-BF35-D58428B52E46}"/>
              </a:ext>
            </a:extLst>
          </p:cNvPr>
          <p:cNvSpPr>
            <a:spLocks noGrp="1"/>
          </p:cNvSpPr>
          <p:nvPr>
            <p:ph type="subTitle" idx="13" hasCustomPrompt="1"/>
          </p:nvPr>
        </p:nvSpPr>
        <p:spPr bwMode="gray">
          <a:xfrm>
            <a:off x="334963" y="659362"/>
            <a:ext cx="8641357" cy="360040"/>
          </a:xfrm>
          <a:prstGeom prst="rect">
            <a:avLst/>
          </a:prstGeom>
        </p:spPr>
        <p:txBody>
          <a:bodyPr wrap="none" tIns="0"/>
          <a:lstStyle>
            <a:lvl1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1pPr>
            <a:lvl2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2pPr>
            <a:lvl3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3pPr>
            <a:lvl4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4pPr>
            <a:lvl5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5pPr>
            <a:lvl6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6pPr>
            <a:lvl7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7pPr>
            <a:lvl8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8pPr>
            <a:lvl9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9pPr>
          </a:lstStyle>
          <a:p>
            <a:r>
              <a:rPr lang="en-GB" dirty="0"/>
              <a:t>Insert your sub-headline in </a:t>
            </a:r>
            <a:r>
              <a:rPr lang="en-GB" dirty="0" err="1"/>
              <a:t>Lato</a:t>
            </a:r>
            <a:r>
              <a:rPr lang="en-GB" dirty="0"/>
              <a:t> light 20 </a:t>
            </a:r>
            <a:r>
              <a:rPr lang="en-GB" dirty="0" err="1"/>
              <a:t>pt</a:t>
            </a:r>
            <a:r>
              <a:rPr lang="en-GB" dirty="0"/>
              <a:t> here</a:t>
            </a:r>
          </a:p>
        </p:txBody>
      </p:sp>
      <p:sp>
        <p:nvSpPr>
          <p:cNvPr id="19" name="Source">
            <a:extLst>
              <a:ext uri="{FF2B5EF4-FFF2-40B4-BE49-F238E27FC236}">
                <a16:creationId xmlns:a16="http://schemas.microsoft.com/office/drawing/2014/main" id="{37C5EFD7-BC01-EC71-2576-1CCB097F2789}"/>
              </a:ext>
            </a:extLst>
          </p:cNvPr>
          <p:cNvSpPr>
            <a:spLocks noGrp="1"/>
          </p:cNvSpPr>
          <p:nvPr>
            <p:ph type="body" sz="quarter" idx="29"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grpSp>
        <p:nvGrpSpPr>
          <p:cNvPr id="32" name="Gruppieren 31">
            <a:extLst>
              <a:ext uri="{FF2B5EF4-FFF2-40B4-BE49-F238E27FC236}">
                <a16:creationId xmlns:a16="http://schemas.microsoft.com/office/drawing/2014/main" id="{42BC663F-8C21-BD57-5CEA-BE6E59EF49BB}"/>
              </a:ext>
              <a:ext uri="{C183D7F6-B498-43B3-948B-1728B52AA6E4}">
                <adec:decorative xmlns:adec="http://schemas.microsoft.com/office/drawing/2017/decorative" val="1"/>
              </a:ext>
            </a:extLst>
          </p:cNvPr>
          <p:cNvGrpSpPr/>
          <p:nvPr userDrawn="1"/>
        </p:nvGrpSpPr>
        <p:grpSpPr>
          <a:xfrm>
            <a:off x="-168768" y="-171392"/>
            <a:ext cx="12025408" cy="6264688"/>
            <a:chOff x="-168768" y="-171392"/>
            <a:chExt cx="12025408" cy="6264688"/>
          </a:xfrm>
        </p:grpSpPr>
        <p:cxnSp>
          <p:nvCxnSpPr>
            <p:cNvPr id="33" name="Gerader Verbinder 32">
              <a:extLst>
                <a:ext uri="{FF2B5EF4-FFF2-40B4-BE49-F238E27FC236}">
                  <a16:creationId xmlns:a16="http://schemas.microsoft.com/office/drawing/2014/main" id="{8A2AE056-8446-4515-8574-F2981A1F2386}"/>
                </a:ext>
              </a:extLst>
            </p:cNvPr>
            <p:cNvCxnSpPr/>
            <p:nvPr userDrawn="1"/>
          </p:nvCxnSpPr>
          <p:spPr bwMode="gray">
            <a:xfrm>
              <a:off x="33536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01E844E-B6EE-CE2B-8FE8-C10784368BF3}"/>
                </a:ext>
              </a:extLst>
            </p:cNvPr>
            <p:cNvCxnSpPr/>
            <p:nvPr userDrawn="1"/>
          </p:nvCxnSpPr>
          <p:spPr bwMode="gray">
            <a:xfrm>
              <a:off x="436780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CBF2EC89-E9A6-6F5F-D10D-565DF6CB6349}"/>
                </a:ext>
              </a:extLst>
            </p:cNvPr>
            <p:cNvCxnSpPr/>
            <p:nvPr userDrawn="1"/>
          </p:nvCxnSpPr>
          <p:spPr bwMode="gray">
            <a:xfrm>
              <a:off x="494387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2C65234A-04E1-6B27-8386-4F0DC299E870}"/>
                </a:ext>
              </a:extLst>
            </p:cNvPr>
            <p:cNvCxnSpPr/>
            <p:nvPr userDrawn="1"/>
          </p:nvCxnSpPr>
          <p:spPr bwMode="gray">
            <a:xfrm>
              <a:off x="667206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E4EEE841-63B0-283C-EA14-3E53D5AAD530}"/>
                </a:ext>
              </a:extLst>
            </p:cNvPr>
            <p:cNvCxnSpPr/>
            <p:nvPr userDrawn="1"/>
          </p:nvCxnSpPr>
          <p:spPr bwMode="gray">
            <a:xfrm>
              <a:off x="609600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33201E14-1735-00DC-6CC3-C46B828FCC52}"/>
                </a:ext>
              </a:extLst>
            </p:cNvPr>
            <p:cNvCxnSpPr/>
            <p:nvPr userDrawn="1"/>
          </p:nvCxnSpPr>
          <p:spPr bwMode="gray">
            <a:xfrm>
              <a:off x="724812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FDF1ACB0-E048-1D50-7883-14F8C95808E8}"/>
                </a:ext>
              </a:extLst>
            </p:cNvPr>
            <p:cNvCxnSpPr/>
            <p:nvPr userDrawn="1"/>
          </p:nvCxnSpPr>
          <p:spPr bwMode="gray">
            <a:xfrm>
              <a:off x="782419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92A871C-8A4F-31F2-A92B-4FAC1DBA961A}"/>
                </a:ext>
              </a:extLst>
            </p:cNvPr>
            <p:cNvCxnSpPr/>
            <p:nvPr userDrawn="1"/>
          </p:nvCxnSpPr>
          <p:spPr bwMode="gray">
            <a:xfrm>
              <a:off x="840025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99787850-0E12-004F-BEDE-A8B231B42427}"/>
                </a:ext>
              </a:extLst>
            </p:cNvPr>
            <p:cNvCxnSpPr/>
            <p:nvPr userDrawn="1"/>
          </p:nvCxnSpPr>
          <p:spPr bwMode="gray">
            <a:xfrm>
              <a:off x="897632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632969E4-8E5D-7FBB-63C5-BE0FD1CE98D4}"/>
                </a:ext>
              </a:extLst>
            </p:cNvPr>
            <p:cNvCxnSpPr/>
            <p:nvPr userDrawn="1"/>
          </p:nvCxnSpPr>
          <p:spPr bwMode="gray">
            <a:xfrm>
              <a:off x="1128057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9078B487-169D-1D51-C274-8B92B6E5189D}"/>
                </a:ext>
              </a:extLst>
            </p:cNvPr>
            <p:cNvCxnSpPr/>
            <p:nvPr userDrawn="1"/>
          </p:nvCxnSpPr>
          <p:spPr bwMode="gray">
            <a:xfrm>
              <a:off x="1185664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FF41A62B-2D3E-5222-6B76-289694A8B4E7}"/>
                </a:ext>
              </a:extLst>
            </p:cNvPr>
            <p:cNvCxnSpPr>
              <a:cxnSpLocks/>
            </p:cNvCxnSpPr>
            <p:nvPr userDrawn="1"/>
          </p:nvCxnSpPr>
          <p:spPr bwMode="gray">
            <a:xfrm rot="5400000">
              <a:off x="-132688" y="29665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80093F83-DED1-A000-41E5-7E6D4DC39DF3}"/>
                </a:ext>
              </a:extLst>
            </p:cNvPr>
            <p:cNvCxnSpPr/>
            <p:nvPr userDrawn="1"/>
          </p:nvCxnSpPr>
          <p:spPr bwMode="gray">
            <a:xfrm>
              <a:off x="321568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036F193C-1390-3B14-F106-8F2E72C17D5C}"/>
                </a:ext>
              </a:extLst>
            </p:cNvPr>
            <p:cNvCxnSpPr/>
            <p:nvPr userDrawn="1"/>
          </p:nvCxnSpPr>
          <p:spPr bwMode="gray">
            <a:xfrm>
              <a:off x="379174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2B119975-4AB6-BE7F-BA5A-0650B994223A}"/>
                </a:ext>
              </a:extLst>
            </p:cNvPr>
            <p:cNvCxnSpPr>
              <a:cxnSpLocks/>
            </p:cNvCxnSpPr>
            <p:nvPr userDrawn="1"/>
          </p:nvCxnSpPr>
          <p:spPr bwMode="gray">
            <a:xfrm rot="5400000">
              <a:off x="-132704" y="87272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BF3E168B-3997-D33D-E3B3-72137C60D7E5}"/>
                </a:ext>
              </a:extLst>
            </p:cNvPr>
            <p:cNvCxnSpPr>
              <a:cxnSpLocks/>
            </p:cNvCxnSpPr>
            <p:nvPr userDrawn="1"/>
          </p:nvCxnSpPr>
          <p:spPr bwMode="gray">
            <a:xfrm rot="5400000">
              <a:off x="-132712" y="202484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C41A1A31-BAB9-41D0-D42F-486DA8A9449A}"/>
                </a:ext>
              </a:extLst>
            </p:cNvPr>
            <p:cNvCxnSpPr>
              <a:cxnSpLocks/>
            </p:cNvCxnSpPr>
            <p:nvPr userDrawn="1"/>
          </p:nvCxnSpPr>
          <p:spPr bwMode="gray">
            <a:xfrm rot="5400000">
              <a:off x="-132768" y="605729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EB5774C8-E1D6-368B-D467-CF98686351C0}"/>
                </a:ext>
              </a:extLst>
            </p:cNvPr>
            <p:cNvCxnSpPr/>
            <p:nvPr/>
          </p:nvCxnSpPr>
          <p:spPr bwMode="gray">
            <a:xfrm>
              <a:off x="1070451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927C5125-6CC1-BC0F-B37D-0C92F55DE873}"/>
                </a:ext>
              </a:extLst>
            </p:cNvPr>
            <p:cNvCxnSpPr/>
            <p:nvPr/>
          </p:nvCxnSpPr>
          <p:spPr bwMode="gray">
            <a:xfrm>
              <a:off x="1012844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BF15B1DD-C282-00AD-A6C7-2AA20FACE1B8}"/>
                </a:ext>
              </a:extLst>
            </p:cNvPr>
            <p:cNvCxnSpPr/>
            <p:nvPr/>
          </p:nvCxnSpPr>
          <p:spPr bwMode="gray">
            <a:xfrm>
              <a:off x="955059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7B8DF9BA-52D7-82A5-CE7B-9ED97ADAA85A}"/>
                </a:ext>
              </a:extLst>
            </p:cNvPr>
            <p:cNvCxnSpPr/>
            <p:nvPr/>
          </p:nvCxnSpPr>
          <p:spPr bwMode="gray">
            <a:xfrm>
              <a:off x="551973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C59BD975-6473-CD46-3722-B03F76D7811F}"/>
                </a:ext>
              </a:extLst>
            </p:cNvPr>
            <p:cNvCxnSpPr/>
            <p:nvPr/>
          </p:nvCxnSpPr>
          <p:spPr bwMode="gray">
            <a:xfrm>
              <a:off x="263961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3F68FCAA-D1E3-90E8-5252-4956683ECE72}"/>
                </a:ext>
              </a:extLst>
            </p:cNvPr>
            <p:cNvCxnSpPr/>
            <p:nvPr/>
          </p:nvCxnSpPr>
          <p:spPr bwMode="gray">
            <a:xfrm>
              <a:off x="206355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D7E634F4-493B-2813-EC0C-88C69865CE91}"/>
                </a:ext>
              </a:extLst>
            </p:cNvPr>
            <p:cNvCxnSpPr/>
            <p:nvPr/>
          </p:nvCxnSpPr>
          <p:spPr bwMode="gray">
            <a:xfrm>
              <a:off x="148748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BFF6FC8F-38C8-8734-FB88-0C19515A7F99}"/>
                </a:ext>
              </a:extLst>
            </p:cNvPr>
            <p:cNvCxnSpPr/>
            <p:nvPr/>
          </p:nvCxnSpPr>
          <p:spPr bwMode="gray">
            <a:xfrm>
              <a:off x="91142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E9B7DA41-7A55-47D2-C9C4-42F031B83823}"/>
                </a:ext>
              </a:extLst>
            </p:cNvPr>
            <p:cNvCxnSpPr>
              <a:cxnSpLocks/>
            </p:cNvCxnSpPr>
            <p:nvPr/>
          </p:nvCxnSpPr>
          <p:spPr bwMode="gray">
            <a:xfrm rot="5400000">
              <a:off x="-132704" y="144878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1E79568A-5C9D-B48B-EA5C-F5C02147E17E}"/>
                </a:ext>
              </a:extLst>
            </p:cNvPr>
            <p:cNvCxnSpPr>
              <a:cxnSpLocks/>
            </p:cNvCxnSpPr>
            <p:nvPr/>
          </p:nvCxnSpPr>
          <p:spPr bwMode="gray">
            <a:xfrm rot="5400000">
              <a:off x="-132712" y="260091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EECB22AC-DE8B-8FFD-7321-8CA59432C148}"/>
                </a:ext>
              </a:extLst>
            </p:cNvPr>
            <p:cNvCxnSpPr>
              <a:cxnSpLocks/>
            </p:cNvCxnSpPr>
            <p:nvPr/>
          </p:nvCxnSpPr>
          <p:spPr bwMode="gray">
            <a:xfrm rot="5400000">
              <a:off x="-132712" y="317697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id="{9BD021A5-2907-69A7-55D4-247A092F4C75}"/>
                </a:ext>
              </a:extLst>
            </p:cNvPr>
            <p:cNvCxnSpPr>
              <a:cxnSpLocks/>
            </p:cNvCxnSpPr>
            <p:nvPr/>
          </p:nvCxnSpPr>
          <p:spPr bwMode="gray">
            <a:xfrm rot="5400000">
              <a:off x="-132712" y="375304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id="{EB4B6F25-3CF1-8042-534B-F5DFF2818D1A}"/>
                </a:ext>
              </a:extLst>
            </p:cNvPr>
            <p:cNvCxnSpPr>
              <a:cxnSpLocks/>
            </p:cNvCxnSpPr>
            <p:nvPr/>
          </p:nvCxnSpPr>
          <p:spPr bwMode="gray">
            <a:xfrm rot="5400000">
              <a:off x="-132712" y="432910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BF9F8267-05A9-5A7A-0B56-FBAF3C1DC8DE}"/>
                </a:ext>
              </a:extLst>
            </p:cNvPr>
            <p:cNvCxnSpPr>
              <a:cxnSpLocks/>
            </p:cNvCxnSpPr>
            <p:nvPr/>
          </p:nvCxnSpPr>
          <p:spPr bwMode="gray">
            <a:xfrm rot="5400000">
              <a:off x="-132712" y="490516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A7DB18FA-43A7-38AF-40E8-7041D2AA49E6}"/>
                </a:ext>
              </a:extLst>
            </p:cNvPr>
            <p:cNvCxnSpPr>
              <a:cxnSpLocks/>
            </p:cNvCxnSpPr>
            <p:nvPr/>
          </p:nvCxnSpPr>
          <p:spPr bwMode="gray">
            <a:xfrm rot="5400000">
              <a:off x="-132712" y="548123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66116121"/>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11" userDrawn="1">
          <p15:clr>
            <a:srgbClr val="FBAE40"/>
          </p15:clr>
        </p15:guide>
        <p15:guide id="5" pos="4566" userDrawn="1">
          <p15:clr>
            <a:srgbClr val="FBAE40"/>
          </p15:clr>
        </p15:guide>
        <p15:guide id="6" pos="4929" userDrawn="1">
          <p15:clr>
            <a:srgbClr val="FBAE40"/>
          </p15:clr>
        </p15:guide>
        <p15:guide id="7" pos="7106" userDrawn="1">
          <p15:clr>
            <a:srgbClr val="FBAE40"/>
          </p15:clr>
        </p15:guide>
        <p15:guide id="8" orient="horz" pos="2024" userDrawn="1">
          <p15:clr>
            <a:srgbClr val="FBAE40"/>
          </p15:clr>
        </p15:guide>
        <p15:guide id="9" orient="horz" pos="2387" userDrawn="1">
          <p15:clr>
            <a:srgbClr val="FBAE40"/>
          </p15:clr>
        </p15:guide>
        <p15:guide id="10" orient="horz" pos="3838" userDrawn="1">
          <p15:clr>
            <a:srgbClr val="FBAE40"/>
          </p15:clr>
        </p15:guide>
        <p15:guide id="11" pos="2389" userDrawn="1">
          <p15:clr>
            <a:srgbClr val="FBAE40"/>
          </p15:clr>
        </p15:guide>
        <p15:guide id="12" pos="2751"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ur pictures &amp; content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6F253CE-7670-FB91-004E-F8885F70378D}"/>
              </a:ext>
            </a:extLst>
          </p:cNvPr>
          <p:cNvGraphicFramePr>
            <a:graphicFrameLocks noChangeAspect="1"/>
          </p:cNvGraphicFramePr>
          <p:nvPr userDrawn="1">
            <p:custDataLst>
              <p:tags r:id="rId1"/>
            </p:custDataLst>
            <p:extLst>
              <p:ext uri="{D42A27DB-BD31-4B8C-83A1-F6EECF244321}">
                <p14:modId xmlns:p14="http://schemas.microsoft.com/office/powerpoint/2010/main" val="32196701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3" name="Objekt 2" hidden="1">
                        <a:extLst>
                          <a:ext uri="{FF2B5EF4-FFF2-40B4-BE49-F238E27FC236}">
                            <a16:creationId xmlns:a16="http://schemas.microsoft.com/office/drawing/2014/main" id="{76F253CE-7670-FB91-004E-F8885F7037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a:extLst>
              <a:ext uri="{FF2B5EF4-FFF2-40B4-BE49-F238E27FC236}">
                <a16:creationId xmlns:a16="http://schemas.microsoft.com/office/drawing/2014/main" id="{0EA33E6C-B6EA-4396-A2D1-BF412B26090E}"/>
              </a:ext>
            </a:extLst>
          </p:cNvPr>
          <p:cNvSpPr>
            <a:spLocks noGrp="1"/>
          </p:cNvSpPr>
          <p:nvPr>
            <p:ph type="title" hasCustomPrompt="1"/>
          </p:nvPr>
        </p:nvSpPr>
        <p:spPr bwMode="gray">
          <a:xfrm>
            <a:off x="334964" y="260648"/>
            <a:ext cx="8640762" cy="369332"/>
          </a:xfrm>
        </p:spPr>
        <p:txBody>
          <a:bodyPr vert="horz"/>
          <a:lstStyle>
            <a:lvl1pPr>
              <a:defRPr/>
            </a:lvl1pPr>
          </a:lstStyle>
          <a:p>
            <a:r>
              <a:rPr lang="en-GB"/>
              <a:t>Insert your headline in Lato Heavy 24 pt here</a:t>
            </a:r>
            <a:endParaRPr lang="en-GB" dirty="0"/>
          </a:p>
        </p:txBody>
      </p:sp>
      <p:sp>
        <p:nvSpPr>
          <p:cNvPr id="5" name="Picture 1"/>
          <p:cNvSpPr>
            <a:spLocks noGrp="1"/>
          </p:cNvSpPr>
          <p:nvPr>
            <p:ph type="pic" sz="quarter" idx="17" hasCustomPrompt="1"/>
          </p:nvPr>
        </p:nvSpPr>
        <p:spPr bwMode="gray">
          <a:xfrm>
            <a:off x="335360" y="1484313"/>
            <a:ext cx="2304654" cy="1728787"/>
          </a:xfrm>
          <a:prstGeom prst="rect">
            <a:avLst/>
          </a:prstGeom>
          <a:solidFill>
            <a:srgbClr val="D6D9DC"/>
          </a:solidFill>
        </p:spPr>
        <p:txBody>
          <a:bodyPr/>
          <a:lstStyle>
            <a:lvl1pPr marL="0" indent="0">
              <a:buNone/>
              <a:defRPr/>
            </a:lvl1pPr>
          </a:lstStyle>
          <a:p>
            <a:r>
              <a:rPr lang="en-GB"/>
              <a:t> </a:t>
            </a:r>
            <a:endParaRPr lang="en-GB" dirty="0"/>
          </a:p>
        </p:txBody>
      </p:sp>
      <p:sp>
        <p:nvSpPr>
          <p:cNvPr id="7" name="Content 1">
            <a:extLst>
              <a:ext uri="{FF2B5EF4-FFF2-40B4-BE49-F238E27FC236}">
                <a16:creationId xmlns:a16="http://schemas.microsoft.com/office/drawing/2014/main" id="{06A67EB1-7EE7-45D3-A94D-6EA201E90CFF}"/>
              </a:ext>
            </a:extLst>
          </p:cNvPr>
          <p:cNvSpPr>
            <a:spLocks noGrp="1"/>
          </p:cNvSpPr>
          <p:nvPr>
            <p:ph type="body" sz="quarter" idx="23" hasCustomPrompt="1"/>
          </p:nvPr>
        </p:nvSpPr>
        <p:spPr bwMode="gray">
          <a:xfrm>
            <a:off x="335361" y="3789363"/>
            <a:ext cx="2304652" cy="2303462"/>
          </a:xfrm>
        </p:spPr>
        <p:txBody>
          <a:body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endParaRPr lang="en-GB" dirty="0"/>
          </a:p>
        </p:txBody>
      </p:sp>
      <p:sp>
        <p:nvSpPr>
          <p:cNvPr id="9" name="Picture 2"/>
          <p:cNvSpPr>
            <a:spLocks noGrp="1"/>
          </p:cNvSpPr>
          <p:nvPr>
            <p:ph type="pic" sz="quarter" idx="18" hasCustomPrompt="1"/>
          </p:nvPr>
        </p:nvSpPr>
        <p:spPr bwMode="gray">
          <a:xfrm>
            <a:off x="3216275" y="1484313"/>
            <a:ext cx="2303463" cy="1728787"/>
          </a:xfrm>
          <a:prstGeom prst="rect">
            <a:avLst/>
          </a:prstGeom>
          <a:solidFill>
            <a:srgbClr val="D6D9DC"/>
          </a:solidFill>
        </p:spPr>
        <p:txBody>
          <a:bodyPr/>
          <a:lstStyle>
            <a:lvl1pPr marL="0" indent="0">
              <a:buNone/>
              <a:defRPr/>
            </a:lvl1pPr>
          </a:lstStyle>
          <a:p>
            <a:r>
              <a:rPr lang="en-GB"/>
              <a:t> </a:t>
            </a:r>
            <a:endParaRPr lang="en-GB" dirty="0"/>
          </a:p>
        </p:txBody>
      </p:sp>
      <p:sp>
        <p:nvSpPr>
          <p:cNvPr id="12" name="Content 2">
            <a:extLst>
              <a:ext uri="{FF2B5EF4-FFF2-40B4-BE49-F238E27FC236}">
                <a16:creationId xmlns:a16="http://schemas.microsoft.com/office/drawing/2014/main" id="{C35DD715-4BC4-4F30-A849-B8E23CA41DB0}"/>
              </a:ext>
            </a:extLst>
          </p:cNvPr>
          <p:cNvSpPr>
            <a:spLocks noGrp="1"/>
          </p:cNvSpPr>
          <p:nvPr>
            <p:ph type="body" sz="quarter" idx="24" hasCustomPrompt="1"/>
          </p:nvPr>
        </p:nvSpPr>
        <p:spPr bwMode="gray">
          <a:xfrm>
            <a:off x="3216275" y="3789363"/>
            <a:ext cx="2303463" cy="2303462"/>
          </a:xfrm>
        </p:spPr>
        <p:txBody>
          <a:body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endParaRPr lang="en-GB" dirty="0"/>
          </a:p>
        </p:txBody>
      </p:sp>
      <p:sp>
        <p:nvSpPr>
          <p:cNvPr id="10" name="Picture 3">
            <a:extLst>
              <a:ext uri="{FF2B5EF4-FFF2-40B4-BE49-F238E27FC236}">
                <a16:creationId xmlns:a16="http://schemas.microsoft.com/office/drawing/2014/main" id="{13F83B90-1053-4BAE-A04B-E97DF0BCFAD6}"/>
              </a:ext>
            </a:extLst>
          </p:cNvPr>
          <p:cNvSpPr>
            <a:spLocks noGrp="1"/>
          </p:cNvSpPr>
          <p:nvPr>
            <p:ph type="pic" sz="quarter" idx="22" hasCustomPrompt="1"/>
          </p:nvPr>
        </p:nvSpPr>
        <p:spPr bwMode="gray">
          <a:xfrm>
            <a:off x="6096000" y="1484313"/>
            <a:ext cx="2305050" cy="1728787"/>
          </a:xfrm>
          <a:prstGeom prst="rect">
            <a:avLst/>
          </a:prstGeom>
          <a:solidFill>
            <a:srgbClr val="D6D9DC"/>
          </a:solidFill>
        </p:spPr>
        <p:txBody>
          <a:bodyPr/>
          <a:lstStyle>
            <a:lvl1pPr marL="0" indent="0">
              <a:buNone/>
              <a:defRPr/>
            </a:lvl1pPr>
          </a:lstStyle>
          <a:p>
            <a:r>
              <a:rPr lang="en-GB"/>
              <a:t> </a:t>
            </a:r>
            <a:endParaRPr lang="en-GB" dirty="0"/>
          </a:p>
        </p:txBody>
      </p:sp>
      <p:sp>
        <p:nvSpPr>
          <p:cNvPr id="13" name="Content 3">
            <a:extLst>
              <a:ext uri="{FF2B5EF4-FFF2-40B4-BE49-F238E27FC236}">
                <a16:creationId xmlns:a16="http://schemas.microsoft.com/office/drawing/2014/main" id="{312C35B1-615F-427F-BBA3-DA904C08CAD1}"/>
              </a:ext>
            </a:extLst>
          </p:cNvPr>
          <p:cNvSpPr>
            <a:spLocks noGrp="1"/>
          </p:cNvSpPr>
          <p:nvPr>
            <p:ph type="body" sz="quarter" idx="25" hasCustomPrompt="1"/>
          </p:nvPr>
        </p:nvSpPr>
        <p:spPr bwMode="gray">
          <a:xfrm>
            <a:off x="6096000" y="3789363"/>
            <a:ext cx="2305050" cy="2303462"/>
          </a:xfrm>
        </p:spPr>
        <p:txBody>
          <a:body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p:txBody>
      </p:sp>
      <p:sp>
        <p:nvSpPr>
          <p:cNvPr id="15" name="Picture 4">
            <a:extLst>
              <a:ext uri="{FF2B5EF4-FFF2-40B4-BE49-F238E27FC236}">
                <a16:creationId xmlns:a16="http://schemas.microsoft.com/office/drawing/2014/main" id="{66D73E2B-B33B-41C2-A349-344B52ABB4FC}"/>
              </a:ext>
            </a:extLst>
          </p:cNvPr>
          <p:cNvSpPr>
            <a:spLocks noGrp="1"/>
          </p:cNvSpPr>
          <p:nvPr>
            <p:ph type="pic" sz="quarter" idx="26" hasCustomPrompt="1"/>
          </p:nvPr>
        </p:nvSpPr>
        <p:spPr bwMode="gray">
          <a:xfrm>
            <a:off x="8975725" y="1484313"/>
            <a:ext cx="2305050" cy="1728787"/>
          </a:xfrm>
          <a:prstGeom prst="rect">
            <a:avLst/>
          </a:prstGeom>
          <a:solidFill>
            <a:srgbClr val="D6D9DC"/>
          </a:solidFill>
        </p:spPr>
        <p:txBody>
          <a:bodyPr/>
          <a:lstStyle>
            <a:lvl1pPr marL="0" indent="0">
              <a:buNone/>
              <a:defRPr/>
            </a:lvl1pPr>
          </a:lstStyle>
          <a:p>
            <a:r>
              <a:rPr lang="en-GB"/>
              <a:t> </a:t>
            </a:r>
            <a:endParaRPr lang="en-GB" dirty="0"/>
          </a:p>
        </p:txBody>
      </p:sp>
      <p:sp>
        <p:nvSpPr>
          <p:cNvPr id="16" name="Content 4">
            <a:extLst>
              <a:ext uri="{FF2B5EF4-FFF2-40B4-BE49-F238E27FC236}">
                <a16:creationId xmlns:a16="http://schemas.microsoft.com/office/drawing/2014/main" id="{6CA8DE4A-220D-4F9A-90B4-B0BB300CB3D4}"/>
              </a:ext>
            </a:extLst>
          </p:cNvPr>
          <p:cNvSpPr>
            <a:spLocks noGrp="1"/>
          </p:cNvSpPr>
          <p:nvPr>
            <p:ph type="body" sz="quarter" idx="27" hasCustomPrompt="1"/>
          </p:nvPr>
        </p:nvSpPr>
        <p:spPr bwMode="gray">
          <a:xfrm>
            <a:off x="8975725" y="3789363"/>
            <a:ext cx="2305050" cy="2303462"/>
          </a:xfrm>
        </p:spPr>
        <p:txBody>
          <a:body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endParaRPr lang="en-GB" dirty="0"/>
          </a:p>
        </p:txBody>
      </p:sp>
      <p:sp>
        <p:nvSpPr>
          <p:cNvPr id="14" name="Datumsplatzhalter 13">
            <a:extLst>
              <a:ext uri="{FF2B5EF4-FFF2-40B4-BE49-F238E27FC236}">
                <a16:creationId xmlns:a16="http://schemas.microsoft.com/office/drawing/2014/main" id="{6D05A9F1-0CAC-A094-BFB5-21CB5918B68E}"/>
              </a:ext>
            </a:extLst>
          </p:cNvPr>
          <p:cNvSpPr>
            <a:spLocks noGrp="1"/>
          </p:cNvSpPr>
          <p:nvPr>
            <p:ph type="dt" sz="half" idx="28"/>
          </p:nvPr>
        </p:nvSpPr>
        <p:spPr/>
        <p:txBody>
          <a:bodyPr/>
          <a:lstStyle/>
          <a:p>
            <a:r>
              <a:rPr lang="en-US"/>
              <a:t>7/26/2022</a:t>
            </a:r>
            <a:endParaRPr lang="en-GB" dirty="0"/>
          </a:p>
        </p:txBody>
      </p:sp>
      <p:sp>
        <p:nvSpPr>
          <p:cNvPr id="18" name="Fußzeilenplatzhalter 17">
            <a:extLst>
              <a:ext uri="{FF2B5EF4-FFF2-40B4-BE49-F238E27FC236}">
                <a16:creationId xmlns:a16="http://schemas.microsoft.com/office/drawing/2014/main" id="{4A5B53CE-998C-392D-BDC1-DD214CD886C6}"/>
              </a:ext>
            </a:extLst>
          </p:cNvPr>
          <p:cNvSpPr>
            <a:spLocks noGrp="1"/>
          </p:cNvSpPr>
          <p:nvPr>
            <p:ph type="ftr" sz="quarter" idx="29"/>
          </p:nvPr>
        </p:nvSpPr>
        <p:spPr/>
        <p:txBody>
          <a:bodyPr/>
          <a:lstStyle/>
          <a:p>
            <a:r>
              <a:rPr lang="de-DE"/>
              <a:t>Der Konsument nach Corona und Consumer Voice</a:t>
            </a:r>
            <a:endParaRPr lang="de-DE" dirty="0"/>
          </a:p>
        </p:txBody>
      </p:sp>
      <p:sp>
        <p:nvSpPr>
          <p:cNvPr id="19" name="Foliennummernplatzhalter 18">
            <a:extLst>
              <a:ext uri="{FF2B5EF4-FFF2-40B4-BE49-F238E27FC236}">
                <a16:creationId xmlns:a16="http://schemas.microsoft.com/office/drawing/2014/main" id="{C4736F99-7633-22C2-5815-763ADED8F6A3}"/>
              </a:ext>
            </a:extLst>
          </p:cNvPr>
          <p:cNvSpPr>
            <a:spLocks noGrp="1"/>
          </p:cNvSpPr>
          <p:nvPr>
            <p:ph type="sldNum" sz="quarter" idx="30"/>
          </p:nvPr>
        </p:nvSpPr>
        <p:spPr/>
        <p:txBody>
          <a:bodyPr/>
          <a:lstStyle/>
          <a:p>
            <a:fld id="{CAEA825B-D749-4F0A-886E-8D45A39EAF2A}" type="slidenum">
              <a:rPr lang="de-DE" smtClean="0"/>
              <a:pPr/>
              <a:t>‹Nº›</a:t>
            </a:fld>
            <a:endParaRPr lang="de-DE"/>
          </a:p>
        </p:txBody>
      </p:sp>
      <p:sp>
        <p:nvSpPr>
          <p:cNvPr id="20" name="Subtitle">
            <a:extLst>
              <a:ext uri="{FF2B5EF4-FFF2-40B4-BE49-F238E27FC236}">
                <a16:creationId xmlns:a16="http://schemas.microsoft.com/office/drawing/2014/main" id="{CF2D047A-DCCA-3B45-7D83-BF1E61724D4A}"/>
              </a:ext>
            </a:extLst>
          </p:cNvPr>
          <p:cNvSpPr>
            <a:spLocks noGrp="1"/>
          </p:cNvSpPr>
          <p:nvPr>
            <p:ph type="subTitle" idx="13" hasCustomPrompt="1"/>
          </p:nvPr>
        </p:nvSpPr>
        <p:spPr bwMode="gray">
          <a:xfrm>
            <a:off x="334963" y="659362"/>
            <a:ext cx="8640762" cy="360040"/>
          </a:xfrm>
          <a:prstGeom prst="rect">
            <a:avLst/>
          </a:prstGeom>
        </p:spPr>
        <p:txBody>
          <a:bodyPr wrap="none" tIns="0"/>
          <a:lstStyle>
            <a:lvl1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1pPr>
            <a:lvl2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2pPr>
            <a:lvl3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3pPr>
            <a:lvl4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4pPr>
            <a:lvl5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5pPr>
            <a:lvl6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6pPr>
            <a:lvl7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7pPr>
            <a:lvl8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8pPr>
            <a:lvl9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9pPr>
          </a:lstStyle>
          <a:p>
            <a:r>
              <a:rPr lang="en-GB" dirty="0"/>
              <a:t>Insert your sub-headline in </a:t>
            </a:r>
            <a:r>
              <a:rPr lang="en-GB" dirty="0" err="1"/>
              <a:t>Lato</a:t>
            </a:r>
            <a:r>
              <a:rPr lang="en-GB" dirty="0"/>
              <a:t> light 20 </a:t>
            </a:r>
            <a:r>
              <a:rPr lang="en-GB" dirty="0" err="1"/>
              <a:t>pt</a:t>
            </a:r>
            <a:r>
              <a:rPr lang="en-GB" dirty="0"/>
              <a:t> here</a:t>
            </a:r>
          </a:p>
        </p:txBody>
      </p:sp>
      <p:sp>
        <p:nvSpPr>
          <p:cNvPr id="21" name="Source">
            <a:extLst>
              <a:ext uri="{FF2B5EF4-FFF2-40B4-BE49-F238E27FC236}">
                <a16:creationId xmlns:a16="http://schemas.microsoft.com/office/drawing/2014/main" id="{D43BB731-88EB-7FF1-D77E-3BB52DB7B29D}"/>
              </a:ext>
            </a:extLst>
          </p:cNvPr>
          <p:cNvSpPr>
            <a:spLocks noGrp="1"/>
          </p:cNvSpPr>
          <p:nvPr>
            <p:ph type="body" sz="quarter" idx="31"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grpSp>
        <p:nvGrpSpPr>
          <p:cNvPr id="34" name="Gruppieren 33">
            <a:extLst>
              <a:ext uri="{FF2B5EF4-FFF2-40B4-BE49-F238E27FC236}">
                <a16:creationId xmlns:a16="http://schemas.microsoft.com/office/drawing/2014/main" id="{031CCC2A-964B-5153-DD64-319C54C4A2BD}"/>
              </a:ext>
              <a:ext uri="{C183D7F6-B498-43B3-948B-1728B52AA6E4}">
                <adec:decorative xmlns:adec="http://schemas.microsoft.com/office/drawing/2017/decorative" val="1"/>
              </a:ext>
            </a:extLst>
          </p:cNvPr>
          <p:cNvGrpSpPr/>
          <p:nvPr userDrawn="1"/>
        </p:nvGrpSpPr>
        <p:grpSpPr>
          <a:xfrm>
            <a:off x="-168768" y="-171392"/>
            <a:ext cx="12025408" cy="6264688"/>
            <a:chOff x="-168768" y="-171392"/>
            <a:chExt cx="12025408" cy="6264688"/>
          </a:xfrm>
        </p:grpSpPr>
        <p:cxnSp>
          <p:nvCxnSpPr>
            <p:cNvPr id="35" name="Gerader Verbinder 34">
              <a:extLst>
                <a:ext uri="{FF2B5EF4-FFF2-40B4-BE49-F238E27FC236}">
                  <a16:creationId xmlns:a16="http://schemas.microsoft.com/office/drawing/2014/main" id="{3B089A9A-CF4E-68E1-E483-197884547902}"/>
                </a:ext>
              </a:extLst>
            </p:cNvPr>
            <p:cNvCxnSpPr/>
            <p:nvPr userDrawn="1"/>
          </p:nvCxnSpPr>
          <p:spPr bwMode="gray">
            <a:xfrm>
              <a:off x="33536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8B706905-E4BE-D0BE-40AD-E2C38DE7CB84}"/>
                </a:ext>
              </a:extLst>
            </p:cNvPr>
            <p:cNvCxnSpPr/>
            <p:nvPr userDrawn="1"/>
          </p:nvCxnSpPr>
          <p:spPr bwMode="gray">
            <a:xfrm>
              <a:off x="436780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D09E033F-D408-D237-6330-DDF635CD2668}"/>
                </a:ext>
              </a:extLst>
            </p:cNvPr>
            <p:cNvCxnSpPr/>
            <p:nvPr userDrawn="1"/>
          </p:nvCxnSpPr>
          <p:spPr bwMode="gray">
            <a:xfrm>
              <a:off x="494387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B104BB51-3E26-D506-4165-E90B73C6C955}"/>
                </a:ext>
              </a:extLst>
            </p:cNvPr>
            <p:cNvCxnSpPr/>
            <p:nvPr userDrawn="1"/>
          </p:nvCxnSpPr>
          <p:spPr bwMode="gray">
            <a:xfrm>
              <a:off x="667206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ED246B65-E32C-71B8-6281-A1F7D676CD2F}"/>
                </a:ext>
              </a:extLst>
            </p:cNvPr>
            <p:cNvCxnSpPr/>
            <p:nvPr userDrawn="1"/>
          </p:nvCxnSpPr>
          <p:spPr bwMode="gray">
            <a:xfrm>
              <a:off x="609600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2B4C5CC0-9C0E-6E0D-0F98-26B5780E5B57}"/>
                </a:ext>
              </a:extLst>
            </p:cNvPr>
            <p:cNvCxnSpPr/>
            <p:nvPr userDrawn="1"/>
          </p:nvCxnSpPr>
          <p:spPr bwMode="gray">
            <a:xfrm>
              <a:off x="724812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49C8BE6A-D3E3-30EE-1642-0746D59E2406}"/>
                </a:ext>
              </a:extLst>
            </p:cNvPr>
            <p:cNvCxnSpPr/>
            <p:nvPr userDrawn="1"/>
          </p:nvCxnSpPr>
          <p:spPr bwMode="gray">
            <a:xfrm>
              <a:off x="782419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7CFB75E4-7299-C9F3-8197-C6D104561568}"/>
                </a:ext>
              </a:extLst>
            </p:cNvPr>
            <p:cNvCxnSpPr/>
            <p:nvPr userDrawn="1"/>
          </p:nvCxnSpPr>
          <p:spPr bwMode="gray">
            <a:xfrm>
              <a:off x="840025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480437F6-2DCA-709E-F9F8-A316744B815F}"/>
                </a:ext>
              </a:extLst>
            </p:cNvPr>
            <p:cNvCxnSpPr/>
            <p:nvPr userDrawn="1"/>
          </p:nvCxnSpPr>
          <p:spPr bwMode="gray">
            <a:xfrm>
              <a:off x="897632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F136B464-9040-FB62-6C03-7277DFFDE263}"/>
                </a:ext>
              </a:extLst>
            </p:cNvPr>
            <p:cNvCxnSpPr/>
            <p:nvPr userDrawn="1"/>
          </p:nvCxnSpPr>
          <p:spPr bwMode="gray">
            <a:xfrm>
              <a:off x="1128057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66FFB4FC-2D63-2D57-E029-C506D0FEF49B}"/>
                </a:ext>
              </a:extLst>
            </p:cNvPr>
            <p:cNvCxnSpPr/>
            <p:nvPr userDrawn="1"/>
          </p:nvCxnSpPr>
          <p:spPr bwMode="gray">
            <a:xfrm>
              <a:off x="1185664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EC537B26-8960-6612-1EC4-7F1DB5BBC1BB}"/>
                </a:ext>
              </a:extLst>
            </p:cNvPr>
            <p:cNvCxnSpPr>
              <a:cxnSpLocks/>
            </p:cNvCxnSpPr>
            <p:nvPr userDrawn="1"/>
          </p:nvCxnSpPr>
          <p:spPr bwMode="gray">
            <a:xfrm rot="5400000">
              <a:off x="-132688" y="29665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6B371C3E-A8FC-CEEA-1385-2B566C9C0186}"/>
                </a:ext>
              </a:extLst>
            </p:cNvPr>
            <p:cNvCxnSpPr/>
            <p:nvPr userDrawn="1"/>
          </p:nvCxnSpPr>
          <p:spPr bwMode="gray">
            <a:xfrm>
              <a:off x="321568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E5E4032B-A68B-F5DC-CCF8-4C9078C67E03}"/>
                </a:ext>
              </a:extLst>
            </p:cNvPr>
            <p:cNvCxnSpPr/>
            <p:nvPr userDrawn="1"/>
          </p:nvCxnSpPr>
          <p:spPr bwMode="gray">
            <a:xfrm>
              <a:off x="379174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D1DA89E1-C7D5-C9E7-DD43-893B75C0FA6E}"/>
                </a:ext>
              </a:extLst>
            </p:cNvPr>
            <p:cNvCxnSpPr>
              <a:cxnSpLocks/>
            </p:cNvCxnSpPr>
            <p:nvPr userDrawn="1"/>
          </p:nvCxnSpPr>
          <p:spPr bwMode="gray">
            <a:xfrm rot="5400000">
              <a:off x="-132704" y="87272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F5873125-63B2-51B8-984B-6F8DF0292AA1}"/>
                </a:ext>
              </a:extLst>
            </p:cNvPr>
            <p:cNvCxnSpPr>
              <a:cxnSpLocks/>
            </p:cNvCxnSpPr>
            <p:nvPr userDrawn="1"/>
          </p:nvCxnSpPr>
          <p:spPr bwMode="gray">
            <a:xfrm rot="5400000">
              <a:off x="-132712" y="202484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4C84798E-1E4F-C956-AB99-4C012EAB4E5C}"/>
                </a:ext>
              </a:extLst>
            </p:cNvPr>
            <p:cNvCxnSpPr>
              <a:cxnSpLocks/>
            </p:cNvCxnSpPr>
            <p:nvPr userDrawn="1"/>
          </p:nvCxnSpPr>
          <p:spPr bwMode="gray">
            <a:xfrm rot="5400000">
              <a:off x="-132768" y="605729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F8B2C390-3EE3-DCC1-C890-64532F82E0D5}"/>
                </a:ext>
              </a:extLst>
            </p:cNvPr>
            <p:cNvCxnSpPr/>
            <p:nvPr/>
          </p:nvCxnSpPr>
          <p:spPr bwMode="gray">
            <a:xfrm>
              <a:off x="1070451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74272E14-8532-32EB-BD53-C67E6FE7C6A0}"/>
                </a:ext>
              </a:extLst>
            </p:cNvPr>
            <p:cNvCxnSpPr/>
            <p:nvPr/>
          </p:nvCxnSpPr>
          <p:spPr bwMode="gray">
            <a:xfrm>
              <a:off x="1012844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142C3403-42A5-6F6B-7F2C-3CCCD23B46E7}"/>
                </a:ext>
              </a:extLst>
            </p:cNvPr>
            <p:cNvCxnSpPr/>
            <p:nvPr/>
          </p:nvCxnSpPr>
          <p:spPr bwMode="gray">
            <a:xfrm>
              <a:off x="955059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C0157B41-4DB7-7829-E88A-435704A1BAB6}"/>
                </a:ext>
              </a:extLst>
            </p:cNvPr>
            <p:cNvCxnSpPr/>
            <p:nvPr/>
          </p:nvCxnSpPr>
          <p:spPr bwMode="gray">
            <a:xfrm>
              <a:off x="551973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37C28530-D6FB-8B2F-047C-8B6A06F632CC}"/>
                </a:ext>
              </a:extLst>
            </p:cNvPr>
            <p:cNvCxnSpPr/>
            <p:nvPr/>
          </p:nvCxnSpPr>
          <p:spPr bwMode="gray">
            <a:xfrm>
              <a:off x="263961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860F510E-D361-854B-DCDB-C25F0AF8EB92}"/>
                </a:ext>
              </a:extLst>
            </p:cNvPr>
            <p:cNvCxnSpPr/>
            <p:nvPr/>
          </p:nvCxnSpPr>
          <p:spPr bwMode="gray">
            <a:xfrm>
              <a:off x="206355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8510EF8A-4142-1958-B3B4-6ADFF5D0B6A5}"/>
                </a:ext>
              </a:extLst>
            </p:cNvPr>
            <p:cNvCxnSpPr/>
            <p:nvPr/>
          </p:nvCxnSpPr>
          <p:spPr bwMode="gray">
            <a:xfrm>
              <a:off x="148748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5B06CC5B-5DB4-E7AA-24C2-272A5674A1EE}"/>
                </a:ext>
              </a:extLst>
            </p:cNvPr>
            <p:cNvCxnSpPr/>
            <p:nvPr/>
          </p:nvCxnSpPr>
          <p:spPr bwMode="gray">
            <a:xfrm>
              <a:off x="91142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A8DDFC90-B350-C31F-E1BC-4A3EDB41BF0F}"/>
                </a:ext>
              </a:extLst>
            </p:cNvPr>
            <p:cNvCxnSpPr>
              <a:cxnSpLocks/>
            </p:cNvCxnSpPr>
            <p:nvPr/>
          </p:nvCxnSpPr>
          <p:spPr bwMode="gray">
            <a:xfrm rot="5400000">
              <a:off x="-132704" y="144878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id="{DCA7F4B5-9148-EFB7-F2C4-3754BF7DDD7D}"/>
                </a:ext>
              </a:extLst>
            </p:cNvPr>
            <p:cNvCxnSpPr>
              <a:cxnSpLocks/>
            </p:cNvCxnSpPr>
            <p:nvPr/>
          </p:nvCxnSpPr>
          <p:spPr bwMode="gray">
            <a:xfrm rot="5400000">
              <a:off x="-132712" y="260091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id="{57E5CABE-1A88-A615-FB42-19A128C93C16}"/>
                </a:ext>
              </a:extLst>
            </p:cNvPr>
            <p:cNvCxnSpPr>
              <a:cxnSpLocks/>
            </p:cNvCxnSpPr>
            <p:nvPr/>
          </p:nvCxnSpPr>
          <p:spPr bwMode="gray">
            <a:xfrm rot="5400000">
              <a:off x="-132712" y="317697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6E88675E-D0AE-573C-3796-CD9544FED06F}"/>
                </a:ext>
              </a:extLst>
            </p:cNvPr>
            <p:cNvCxnSpPr>
              <a:cxnSpLocks/>
            </p:cNvCxnSpPr>
            <p:nvPr/>
          </p:nvCxnSpPr>
          <p:spPr bwMode="gray">
            <a:xfrm rot="5400000">
              <a:off x="-132712" y="375304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DDA1CBCC-4DC4-5633-E81F-8652051502AF}"/>
                </a:ext>
              </a:extLst>
            </p:cNvPr>
            <p:cNvCxnSpPr>
              <a:cxnSpLocks/>
            </p:cNvCxnSpPr>
            <p:nvPr/>
          </p:nvCxnSpPr>
          <p:spPr bwMode="gray">
            <a:xfrm rot="5400000">
              <a:off x="-132712" y="432910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3" name="Gerader Verbinder 82">
              <a:extLst>
                <a:ext uri="{FF2B5EF4-FFF2-40B4-BE49-F238E27FC236}">
                  <a16:creationId xmlns:a16="http://schemas.microsoft.com/office/drawing/2014/main" id="{A32BD8EA-11FC-D558-5C27-FAB9856A3434}"/>
                </a:ext>
              </a:extLst>
            </p:cNvPr>
            <p:cNvCxnSpPr>
              <a:cxnSpLocks/>
            </p:cNvCxnSpPr>
            <p:nvPr/>
          </p:nvCxnSpPr>
          <p:spPr bwMode="gray">
            <a:xfrm rot="5400000">
              <a:off x="-132712" y="490516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9110D522-63D5-BCB9-5942-C19BF40A14F2}"/>
                </a:ext>
              </a:extLst>
            </p:cNvPr>
            <p:cNvCxnSpPr>
              <a:cxnSpLocks/>
            </p:cNvCxnSpPr>
            <p:nvPr/>
          </p:nvCxnSpPr>
          <p:spPr bwMode="gray">
            <a:xfrm rot="5400000">
              <a:off x="-132712" y="548123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596450228"/>
      </p:ext>
    </p:extLst>
  </p:cSld>
  <p:clrMapOvr>
    <a:masterClrMapping/>
  </p:clrMapOvr>
  <p:extLst>
    <p:ext uri="{DCECCB84-F9BA-43D5-87BE-67443E8EF086}">
      <p15:sldGuideLst xmlns:p15="http://schemas.microsoft.com/office/powerpoint/2012/main">
        <p15:guide id="1" orient="horz" pos="935" userDrawn="1">
          <p15:clr>
            <a:srgbClr val="FBAE40"/>
          </p15:clr>
        </p15:guide>
        <p15:guide id="4" orient="horz" pos="2387" userDrawn="1">
          <p15:clr>
            <a:srgbClr val="FBAE40"/>
          </p15:clr>
        </p15:guide>
        <p15:guide id="5" orient="horz" pos="3838" userDrawn="1">
          <p15:clr>
            <a:srgbClr val="FBAE40"/>
          </p15:clr>
        </p15:guide>
        <p15:guide id="6" pos="211" userDrawn="1">
          <p15:clr>
            <a:srgbClr val="FBAE40"/>
          </p15:clr>
        </p15:guide>
        <p15:guide id="7" pos="7106" userDrawn="1">
          <p15:clr>
            <a:srgbClr val="FBAE40"/>
          </p15:clr>
        </p15:guide>
        <p15:guide id="8" pos="1663" userDrawn="1">
          <p15:clr>
            <a:srgbClr val="FBAE40"/>
          </p15:clr>
        </p15:guide>
        <p15:guide id="9" pos="2026" userDrawn="1">
          <p15:clr>
            <a:srgbClr val="FBAE40"/>
          </p15:clr>
        </p15:guide>
        <p15:guide id="10" pos="3477" userDrawn="1">
          <p15:clr>
            <a:srgbClr val="FBAE40"/>
          </p15:clr>
        </p15:guide>
        <p15:guide id="11" pos="3840" userDrawn="1">
          <p15:clr>
            <a:srgbClr val="FBAE40"/>
          </p15:clr>
        </p15:guide>
        <p15:guide id="12" pos="5292" userDrawn="1">
          <p15:clr>
            <a:srgbClr val="FBAE40"/>
          </p15:clr>
        </p15:guide>
        <p15:guide id="13" pos="5654" userDrawn="1">
          <p15:clr>
            <a:srgbClr val="FBAE40"/>
          </p15:clr>
        </p15:guide>
        <p15:guide id="14" orient="horz" pos="2024"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ur pictures &amp; contents 2x2">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EFA939F-D24C-1557-F68C-204A02A49B29}"/>
              </a:ext>
            </a:extLst>
          </p:cNvPr>
          <p:cNvGraphicFramePr>
            <a:graphicFrameLocks noChangeAspect="1"/>
          </p:cNvGraphicFramePr>
          <p:nvPr userDrawn="1">
            <p:custDataLst>
              <p:tags r:id="rId1"/>
            </p:custDataLst>
            <p:extLst>
              <p:ext uri="{D42A27DB-BD31-4B8C-83A1-F6EECF244321}">
                <p14:modId xmlns:p14="http://schemas.microsoft.com/office/powerpoint/2010/main" val="3737845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3" name="Objekt 2" hidden="1">
                        <a:extLst>
                          <a:ext uri="{FF2B5EF4-FFF2-40B4-BE49-F238E27FC236}">
                            <a16:creationId xmlns:a16="http://schemas.microsoft.com/office/drawing/2014/main" id="{1EFA939F-D24C-1557-F68C-204A02A49B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a:extLst>
              <a:ext uri="{FF2B5EF4-FFF2-40B4-BE49-F238E27FC236}">
                <a16:creationId xmlns:a16="http://schemas.microsoft.com/office/drawing/2014/main" id="{0EA33E6C-B6EA-4396-A2D1-BF412B26090E}"/>
              </a:ext>
            </a:extLst>
          </p:cNvPr>
          <p:cNvSpPr>
            <a:spLocks noGrp="1"/>
          </p:cNvSpPr>
          <p:nvPr>
            <p:ph type="title" hasCustomPrompt="1"/>
          </p:nvPr>
        </p:nvSpPr>
        <p:spPr bwMode="gray">
          <a:xfrm>
            <a:off x="334964" y="260648"/>
            <a:ext cx="8641356" cy="369332"/>
          </a:xfrm>
        </p:spPr>
        <p:txBody>
          <a:bodyPr vert="horz"/>
          <a:lstStyle>
            <a:lvl1pPr>
              <a:defRPr/>
            </a:lvl1pPr>
          </a:lstStyle>
          <a:p>
            <a:r>
              <a:rPr lang="en-GB" dirty="0"/>
              <a:t>Insert your headline in </a:t>
            </a:r>
            <a:r>
              <a:rPr lang="en-GB" dirty="0" err="1"/>
              <a:t>Lato</a:t>
            </a:r>
            <a:r>
              <a:rPr lang="en-GB" dirty="0"/>
              <a:t> Heavy 24 </a:t>
            </a:r>
            <a:r>
              <a:rPr lang="en-GB" dirty="0" err="1"/>
              <a:t>pt</a:t>
            </a:r>
            <a:r>
              <a:rPr lang="en-GB" dirty="0"/>
              <a:t> here</a:t>
            </a:r>
          </a:p>
        </p:txBody>
      </p:sp>
      <p:sp>
        <p:nvSpPr>
          <p:cNvPr id="5" name="Picture 1"/>
          <p:cNvSpPr>
            <a:spLocks noGrp="1"/>
          </p:cNvSpPr>
          <p:nvPr>
            <p:ph type="pic" sz="quarter" idx="17" hasCustomPrompt="1"/>
          </p:nvPr>
        </p:nvSpPr>
        <p:spPr bwMode="gray">
          <a:xfrm>
            <a:off x="335360" y="1484784"/>
            <a:ext cx="2304256" cy="2016125"/>
          </a:xfrm>
          <a:prstGeom prst="rect">
            <a:avLst/>
          </a:prstGeom>
          <a:solidFill>
            <a:srgbClr val="D6D9DC"/>
          </a:solidFill>
        </p:spPr>
        <p:txBody>
          <a:bodyPr/>
          <a:lstStyle>
            <a:lvl1pPr marL="0" indent="0">
              <a:buNone/>
              <a:defRPr/>
            </a:lvl1pPr>
          </a:lstStyle>
          <a:p>
            <a:r>
              <a:rPr lang="en-GB"/>
              <a:t> </a:t>
            </a:r>
            <a:endParaRPr lang="en-GB" dirty="0"/>
          </a:p>
        </p:txBody>
      </p:sp>
      <p:sp>
        <p:nvSpPr>
          <p:cNvPr id="7" name="Content 1">
            <a:extLst>
              <a:ext uri="{FF2B5EF4-FFF2-40B4-BE49-F238E27FC236}">
                <a16:creationId xmlns:a16="http://schemas.microsoft.com/office/drawing/2014/main" id="{06A67EB1-7EE7-45D3-A94D-6EA201E90CFF}"/>
              </a:ext>
            </a:extLst>
          </p:cNvPr>
          <p:cNvSpPr>
            <a:spLocks noGrp="1"/>
          </p:cNvSpPr>
          <p:nvPr>
            <p:ph type="body" sz="quarter" idx="23" hasCustomPrompt="1"/>
          </p:nvPr>
        </p:nvSpPr>
        <p:spPr bwMode="gray">
          <a:xfrm>
            <a:off x="3216274" y="1484312"/>
            <a:ext cx="2303662" cy="2016125"/>
          </a:xfrm>
        </p:spPr>
        <p:txBody>
          <a:body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p:txBody>
      </p:sp>
      <p:sp>
        <p:nvSpPr>
          <p:cNvPr id="9" name="Picture 2"/>
          <p:cNvSpPr>
            <a:spLocks noGrp="1"/>
          </p:cNvSpPr>
          <p:nvPr>
            <p:ph type="pic" sz="quarter" idx="18" hasCustomPrompt="1"/>
          </p:nvPr>
        </p:nvSpPr>
        <p:spPr bwMode="gray">
          <a:xfrm>
            <a:off x="335360" y="4077072"/>
            <a:ext cx="2304256" cy="2016124"/>
          </a:xfrm>
          <a:prstGeom prst="rect">
            <a:avLst/>
          </a:prstGeom>
          <a:solidFill>
            <a:srgbClr val="D6D9DC"/>
          </a:solidFill>
        </p:spPr>
        <p:txBody>
          <a:bodyPr/>
          <a:lstStyle>
            <a:lvl1pPr marL="0" indent="0">
              <a:buNone/>
              <a:defRPr/>
            </a:lvl1pPr>
          </a:lstStyle>
          <a:p>
            <a:r>
              <a:rPr lang="en-GB"/>
              <a:t> </a:t>
            </a:r>
            <a:endParaRPr lang="en-GB" dirty="0"/>
          </a:p>
        </p:txBody>
      </p:sp>
      <p:sp>
        <p:nvSpPr>
          <p:cNvPr id="12" name="Content 2">
            <a:extLst>
              <a:ext uri="{FF2B5EF4-FFF2-40B4-BE49-F238E27FC236}">
                <a16:creationId xmlns:a16="http://schemas.microsoft.com/office/drawing/2014/main" id="{C35DD715-4BC4-4F30-A849-B8E23CA41DB0}"/>
              </a:ext>
            </a:extLst>
          </p:cNvPr>
          <p:cNvSpPr>
            <a:spLocks noGrp="1"/>
          </p:cNvSpPr>
          <p:nvPr>
            <p:ph type="body" sz="quarter" idx="24" hasCustomPrompt="1"/>
          </p:nvPr>
        </p:nvSpPr>
        <p:spPr bwMode="gray">
          <a:xfrm>
            <a:off x="3216274" y="4076699"/>
            <a:ext cx="2303662" cy="2016125"/>
          </a:xfrm>
        </p:spPr>
        <p:txBody>
          <a:body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p:txBody>
      </p:sp>
      <p:sp>
        <p:nvSpPr>
          <p:cNvPr id="10" name="Picture3">
            <a:extLst>
              <a:ext uri="{FF2B5EF4-FFF2-40B4-BE49-F238E27FC236}">
                <a16:creationId xmlns:a16="http://schemas.microsoft.com/office/drawing/2014/main" id="{13F83B90-1053-4BAE-A04B-E97DF0BCFAD6}"/>
              </a:ext>
            </a:extLst>
          </p:cNvPr>
          <p:cNvSpPr>
            <a:spLocks noGrp="1"/>
          </p:cNvSpPr>
          <p:nvPr>
            <p:ph type="pic" sz="quarter" idx="22" hasCustomPrompt="1"/>
          </p:nvPr>
        </p:nvSpPr>
        <p:spPr bwMode="gray">
          <a:xfrm>
            <a:off x="6096000" y="1484312"/>
            <a:ext cx="2305750" cy="2016125"/>
          </a:xfrm>
          <a:prstGeom prst="rect">
            <a:avLst/>
          </a:prstGeom>
          <a:solidFill>
            <a:srgbClr val="D6D9DC"/>
          </a:solidFill>
        </p:spPr>
        <p:txBody>
          <a:bodyPr/>
          <a:lstStyle>
            <a:lvl1pPr marL="0" indent="0">
              <a:buNone/>
              <a:defRPr/>
            </a:lvl1pPr>
          </a:lstStyle>
          <a:p>
            <a:r>
              <a:rPr lang="en-GB"/>
              <a:t> </a:t>
            </a:r>
            <a:endParaRPr lang="en-GB" dirty="0"/>
          </a:p>
        </p:txBody>
      </p:sp>
      <p:sp>
        <p:nvSpPr>
          <p:cNvPr id="13" name="Content 3">
            <a:extLst>
              <a:ext uri="{FF2B5EF4-FFF2-40B4-BE49-F238E27FC236}">
                <a16:creationId xmlns:a16="http://schemas.microsoft.com/office/drawing/2014/main" id="{312C35B1-615F-427F-BBA3-DA904C08CAD1}"/>
              </a:ext>
            </a:extLst>
          </p:cNvPr>
          <p:cNvSpPr>
            <a:spLocks noGrp="1"/>
          </p:cNvSpPr>
          <p:nvPr>
            <p:ph type="body" sz="quarter" idx="25" hasCustomPrompt="1"/>
          </p:nvPr>
        </p:nvSpPr>
        <p:spPr bwMode="gray">
          <a:xfrm>
            <a:off x="8976320" y="1484312"/>
            <a:ext cx="2303448" cy="2016126"/>
          </a:xfrm>
        </p:spPr>
        <p:txBody>
          <a:body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p:txBody>
      </p:sp>
      <p:sp>
        <p:nvSpPr>
          <p:cNvPr id="15" name="Picture 4">
            <a:extLst>
              <a:ext uri="{FF2B5EF4-FFF2-40B4-BE49-F238E27FC236}">
                <a16:creationId xmlns:a16="http://schemas.microsoft.com/office/drawing/2014/main" id="{66D73E2B-B33B-41C2-A349-344B52ABB4FC}"/>
              </a:ext>
            </a:extLst>
          </p:cNvPr>
          <p:cNvSpPr>
            <a:spLocks noGrp="1"/>
          </p:cNvSpPr>
          <p:nvPr>
            <p:ph type="pic" sz="quarter" idx="26" hasCustomPrompt="1"/>
          </p:nvPr>
        </p:nvSpPr>
        <p:spPr bwMode="gray">
          <a:xfrm>
            <a:off x="6094506" y="4077072"/>
            <a:ext cx="2305750" cy="2016125"/>
          </a:xfrm>
          <a:prstGeom prst="rect">
            <a:avLst/>
          </a:prstGeom>
          <a:solidFill>
            <a:srgbClr val="D6D9DC"/>
          </a:solidFill>
        </p:spPr>
        <p:txBody>
          <a:bodyPr/>
          <a:lstStyle>
            <a:lvl1pPr marL="0" indent="0">
              <a:buNone/>
              <a:defRPr/>
            </a:lvl1pPr>
          </a:lstStyle>
          <a:p>
            <a:r>
              <a:rPr lang="en-GB"/>
              <a:t> </a:t>
            </a:r>
            <a:endParaRPr lang="en-GB" dirty="0"/>
          </a:p>
        </p:txBody>
      </p:sp>
      <p:sp>
        <p:nvSpPr>
          <p:cNvPr id="16" name="Content 4">
            <a:extLst>
              <a:ext uri="{FF2B5EF4-FFF2-40B4-BE49-F238E27FC236}">
                <a16:creationId xmlns:a16="http://schemas.microsoft.com/office/drawing/2014/main" id="{6CA8DE4A-220D-4F9A-90B4-B0BB300CB3D4}"/>
              </a:ext>
            </a:extLst>
          </p:cNvPr>
          <p:cNvSpPr>
            <a:spLocks noGrp="1"/>
          </p:cNvSpPr>
          <p:nvPr>
            <p:ph type="body" sz="quarter" idx="27" hasCustomPrompt="1"/>
          </p:nvPr>
        </p:nvSpPr>
        <p:spPr bwMode="gray">
          <a:xfrm>
            <a:off x="8976410" y="4076699"/>
            <a:ext cx="2304166" cy="2016126"/>
          </a:xfrm>
        </p:spPr>
        <p:txBody>
          <a:body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p:txBody>
      </p:sp>
      <p:sp>
        <p:nvSpPr>
          <p:cNvPr id="14" name="Datumsplatzhalter 13">
            <a:extLst>
              <a:ext uri="{FF2B5EF4-FFF2-40B4-BE49-F238E27FC236}">
                <a16:creationId xmlns:a16="http://schemas.microsoft.com/office/drawing/2014/main" id="{F0BE709E-DE0C-B8B9-CD2B-FB0D91F9AE51}"/>
              </a:ext>
            </a:extLst>
          </p:cNvPr>
          <p:cNvSpPr>
            <a:spLocks noGrp="1"/>
          </p:cNvSpPr>
          <p:nvPr>
            <p:ph type="dt" sz="half" idx="28"/>
          </p:nvPr>
        </p:nvSpPr>
        <p:spPr/>
        <p:txBody>
          <a:bodyPr/>
          <a:lstStyle/>
          <a:p>
            <a:r>
              <a:rPr lang="en-US"/>
              <a:t>7/26/2022</a:t>
            </a:r>
            <a:endParaRPr lang="en-GB" dirty="0"/>
          </a:p>
        </p:txBody>
      </p:sp>
      <p:sp>
        <p:nvSpPr>
          <p:cNvPr id="18" name="Fußzeilenplatzhalter 17">
            <a:extLst>
              <a:ext uri="{FF2B5EF4-FFF2-40B4-BE49-F238E27FC236}">
                <a16:creationId xmlns:a16="http://schemas.microsoft.com/office/drawing/2014/main" id="{3B5764C9-258A-58A9-9E7E-43B27B2ED7B0}"/>
              </a:ext>
            </a:extLst>
          </p:cNvPr>
          <p:cNvSpPr>
            <a:spLocks noGrp="1"/>
          </p:cNvSpPr>
          <p:nvPr>
            <p:ph type="ftr" sz="quarter" idx="29"/>
          </p:nvPr>
        </p:nvSpPr>
        <p:spPr/>
        <p:txBody>
          <a:bodyPr/>
          <a:lstStyle/>
          <a:p>
            <a:r>
              <a:rPr lang="de-DE"/>
              <a:t>Der Konsument nach Corona und Consumer Voice</a:t>
            </a:r>
            <a:endParaRPr lang="de-DE" dirty="0"/>
          </a:p>
        </p:txBody>
      </p:sp>
      <p:sp>
        <p:nvSpPr>
          <p:cNvPr id="19" name="Foliennummernplatzhalter 18">
            <a:extLst>
              <a:ext uri="{FF2B5EF4-FFF2-40B4-BE49-F238E27FC236}">
                <a16:creationId xmlns:a16="http://schemas.microsoft.com/office/drawing/2014/main" id="{D8BAB493-26C6-B103-6D66-35B98997A44E}"/>
              </a:ext>
            </a:extLst>
          </p:cNvPr>
          <p:cNvSpPr>
            <a:spLocks noGrp="1"/>
          </p:cNvSpPr>
          <p:nvPr>
            <p:ph type="sldNum" sz="quarter" idx="30"/>
          </p:nvPr>
        </p:nvSpPr>
        <p:spPr/>
        <p:txBody>
          <a:bodyPr/>
          <a:lstStyle/>
          <a:p>
            <a:fld id="{CAEA825B-D749-4F0A-886E-8D45A39EAF2A}" type="slidenum">
              <a:rPr lang="de-DE" smtClean="0"/>
              <a:pPr/>
              <a:t>‹Nº›</a:t>
            </a:fld>
            <a:endParaRPr lang="de-DE"/>
          </a:p>
        </p:txBody>
      </p:sp>
      <p:sp>
        <p:nvSpPr>
          <p:cNvPr id="20" name="Subtitle">
            <a:extLst>
              <a:ext uri="{FF2B5EF4-FFF2-40B4-BE49-F238E27FC236}">
                <a16:creationId xmlns:a16="http://schemas.microsoft.com/office/drawing/2014/main" id="{611FBA8A-3155-C6FA-CBC4-E125342DC9C2}"/>
              </a:ext>
            </a:extLst>
          </p:cNvPr>
          <p:cNvSpPr>
            <a:spLocks noGrp="1"/>
          </p:cNvSpPr>
          <p:nvPr>
            <p:ph type="subTitle" idx="13" hasCustomPrompt="1"/>
          </p:nvPr>
        </p:nvSpPr>
        <p:spPr bwMode="gray">
          <a:xfrm>
            <a:off x="334964" y="659362"/>
            <a:ext cx="8641356" cy="360040"/>
          </a:xfrm>
          <a:prstGeom prst="rect">
            <a:avLst/>
          </a:prstGeom>
        </p:spPr>
        <p:txBody>
          <a:bodyPr wrap="none" tIns="0"/>
          <a:lstStyle>
            <a:lvl1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1pPr>
            <a:lvl2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2pPr>
            <a:lvl3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3pPr>
            <a:lvl4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4pPr>
            <a:lvl5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5pPr>
            <a:lvl6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6pPr>
            <a:lvl7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7pPr>
            <a:lvl8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8pPr>
            <a:lvl9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9pPr>
          </a:lstStyle>
          <a:p>
            <a:r>
              <a:rPr lang="en-GB" dirty="0"/>
              <a:t>Insert your sub-headline in </a:t>
            </a:r>
            <a:r>
              <a:rPr lang="en-GB" dirty="0" err="1"/>
              <a:t>Lato</a:t>
            </a:r>
            <a:r>
              <a:rPr lang="en-GB" dirty="0"/>
              <a:t> light 20 </a:t>
            </a:r>
            <a:r>
              <a:rPr lang="en-GB" dirty="0" err="1"/>
              <a:t>pt</a:t>
            </a:r>
            <a:r>
              <a:rPr lang="en-GB" dirty="0"/>
              <a:t> here</a:t>
            </a:r>
          </a:p>
        </p:txBody>
      </p:sp>
      <p:sp>
        <p:nvSpPr>
          <p:cNvPr id="21" name="Source">
            <a:extLst>
              <a:ext uri="{FF2B5EF4-FFF2-40B4-BE49-F238E27FC236}">
                <a16:creationId xmlns:a16="http://schemas.microsoft.com/office/drawing/2014/main" id="{C4A02CCA-8EC5-6719-EADA-1078F106F07F}"/>
              </a:ext>
            </a:extLst>
          </p:cNvPr>
          <p:cNvSpPr>
            <a:spLocks noGrp="1"/>
          </p:cNvSpPr>
          <p:nvPr>
            <p:ph type="body" sz="quarter" idx="31"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grpSp>
        <p:nvGrpSpPr>
          <p:cNvPr id="34" name="Gruppieren 33">
            <a:extLst>
              <a:ext uri="{FF2B5EF4-FFF2-40B4-BE49-F238E27FC236}">
                <a16:creationId xmlns:a16="http://schemas.microsoft.com/office/drawing/2014/main" id="{50A2CA95-8D90-7B1D-ACF1-5A14D9F2C1CE}"/>
              </a:ext>
              <a:ext uri="{C183D7F6-B498-43B3-948B-1728B52AA6E4}">
                <adec:decorative xmlns:adec="http://schemas.microsoft.com/office/drawing/2017/decorative" val="1"/>
              </a:ext>
            </a:extLst>
          </p:cNvPr>
          <p:cNvGrpSpPr/>
          <p:nvPr userDrawn="1"/>
        </p:nvGrpSpPr>
        <p:grpSpPr>
          <a:xfrm>
            <a:off x="-168768" y="-171392"/>
            <a:ext cx="12025408" cy="6264688"/>
            <a:chOff x="-168768" y="-171392"/>
            <a:chExt cx="12025408" cy="6264688"/>
          </a:xfrm>
        </p:grpSpPr>
        <p:cxnSp>
          <p:nvCxnSpPr>
            <p:cNvPr id="35" name="Gerader Verbinder 34">
              <a:extLst>
                <a:ext uri="{FF2B5EF4-FFF2-40B4-BE49-F238E27FC236}">
                  <a16:creationId xmlns:a16="http://schemas.microsoft.com/office/drawing/2014/main" id="{14F27ADD-55CF-0C10-49B2-6C309A4CFD8E}"/>
                </a:ext>
              </a:extLst>
            </p:cNvPr>
            <p:cNvCxnSpPr/>
            <p:nvPr userDrawn="1"/>
          </p:nvCxnSpPr>
          <p:spPr bwMode="gray">
            <a:xfrm>
              <a:off x="33536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D7BE1856-A367-A74E-97F7-216E832BADE3}"/>
                </a:ext>
              </a:extLst>
            </p:cNvPr>
            <p:cNvCxnSpPr/>
            <p:nvPr userDrawn="1"/>
          </p:nvCxnSpPr>
          <p:spPr bwMode="gray">
            <a:xfrm>
              <a:off x="436780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C8B9ABA7-46AD-D624-300F-E53D24EA3ED4}"/>
                </a:ext>
              </a:extLst>
            </p:cNvPr>
            <p:cNvCxnSpPr/>
            <p:nvPr userDrawn="1"/>
          </p:nvCxnSpPr>
          <p:spPr bwMode="gray">
            <a:xfrm>
              <a:off x="494387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81B66C26-011A-8B97-B344-6CEAC7529EF7}"/>
                </a:ext>
              </a:extLst>
            </p:cNvPr>
            <p:cNvCxnSpPr/>
            <p:nvPr userDrawn="1"/>
          </p:nvCxnSpPr>
          <p:spPr bwMode="gray">
            <a:xfrm>
              <a:off x="667206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02359A0D-868A-B4B3-A9F1-F297A81EB8D6}"/>
                </a:ext>
              </a:extLst>
            </p:cNvPr>
            <p:cNvCxnSpPr/>
            <p:nvPr userDrawn="1"/>
          </p:nvCxnSpPr>
          <p:spPr bwMode="gray">
            <a:xfrm>
              <a:off x="609600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0A82E2F5-1CC6-8E95-DA6B-3C7E12C157AF}"/>
                </a:ext>
              </a:extLst>
            </p:cNvPr>
            <p:cNvCxnSpPr/>
            <p:nvPr userDrawn="1"/>
          </p:nvCxnSpPr>
          <p:spPr bwMode="gray">
            <a:xfrm>
              <a:off x="724812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56E6AB67-B7FC-5D83-1709-44ABD143D869}"/>
                </a:ext>
              </a:extLst>
            </p:cNvPr>
            <p:cNvCxnSpPr/>
            <p:nvPr userDrawn="1"/>
          </p:nvCxnSpPr>
          <p:spPr bwMode="gray">
            <a:xfrm>
              <a:off x="782419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7DBEFDA5-CC6B-8293-669D-9EC1E7E1B37F}"/>
                </a:ext>
              </a:extLst>
            </p:cNvPr>
            <p:cNvCxnSpPr/>
            <p:nvPr userDrawn="1"/>
          </p:nvCxnSpPr>
          <p:spPr bwMode="gray">
            <a:xfrm>
              <a:off x="840025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13AF6781-B046-F72A-B578-1723E549C774}"/>
                </a:ext>
              </a:extLst>
            </p:cNvPr>
            <p:cNvCxnSpPr/>
            <p:nvPr userDrawn="1"/>
          </p:nvCxnSpPr>
          <p:spPr bwMode="gray">
            <a:xfrm>
              <a:off x="897632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D52FC2B3-1323-1BE3-0BD0-254B72D76B4F}"/>
                </a:ext>
              </a:extLst>
            </p:cNvPr>
            <p:cNvCxnSpPr/>
            <p:nvPr userDrawn="1"/>
          </p:nvCxnSpPr>
          <p:spPr bwMode="gray">
            <a:xfrm>
              <a:off x="1128057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C7F770F4-D5F6-14F9-B152-BC8B473B781B}"/>
                </a:ext>
              </a:extLst>
            </p:cNvPr>
            <p:cNvCxnSpPr/>
            <p:nvPr userDrawn="1"/>
          </p:nvCxnSpPr>
          <p:spPr bwMode="gray">
            <a:xfrm>
              <a:off x="1185664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915D999A-822E-605F-7641-60B11F5CEA4F}"/>
                </a:ext>
              </a:extLst>
            </p:cNvPr>
            <p:cNvCxnSpPr>
              <a:cxnSpLocks/>
            </p:cNvCxnSpPr>
            <p:nvPr userDrawn="1"/>
          </p:nvCxnSpPr>
          <p:spPr bwMode="gray">
            <a:xfrm rot="5400000">
              <a:off x="-132688" y="29665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86E998F9-9D49-C2F0-DB33-1E951A88A218}"/>
                </a:ext>
              </a:extLst>
            </p:cNvPr>
            <p:cNvCxnSpPr/>
            <p:nvPr userDrawn="1"/>
          </p:nvCxnSpPr>
          <p:spPr bwMode="gray">
            <a:xfrm>
              <a:off x="321568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E0EAC9FC-673A-8D38-500C-E7B3AA7F0A7E}"/>
                </a:ext>
              </a:extLst>
            </p:cNvPr>
            <p:cNvCxnSpPr/>
            <p:nvPr userDrawn="1"/>
          </p:nvCxnSpPr>
          <p:spPr bwMode="gray">
            <a:xfrm>
              <a:off x="379174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DAD81303-87D7-F49A-0C69-4231253CFF67}"/>
                </a:ext>
              </a:extLst>
            </p:cNvPr>
            <p:cNvCxnSpPr>
              <a:cxnSpLocks/>
            </p:cNvCxnSpPr>
            <p:nvPr userDrawn="1"/>
          </p:nvCxnSpPr>
          <p:spPr bwMode="gray">
            <a:xfrm rot="5400000">
              <a:off x="-132704" y="87272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8556D824-D8D2-C88E-216B-6B97E96B65CA}"/>
                </a:ext>
              </a:extLst>
            </p:cNvPr>
            <p:cNvCxnSpPr>
              <a:cxnSpLocks/>
            </p:cNvCxnSpPr>
            <p:nvPr userDrawn="1"/>
          </p:nvCxnSpPr>
          <p:spPr bwMode="gray">
            <a:xfrm rot="5400000">
              <a:off x="-132712" y="202484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C7EA807E-84F3-818E-091F-E390F81EA9E5}"/>
                </a:ext>
              </a:extLst>
            </p:cNvPr>
            <p:cNvCxnSpPr>
              <a:cxnSpLocks/>
            </p:cNvCxnSpPr>
            <p:nvPr userDrawn="1"/>
          </p:nvCxnSpPr>
          <p:spPr bwMode="gray">
            <a:xfrm rot="5400000">
              <a:off x="-132768" y="605729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705FB1ED-0BDD-5027-FCAB-FA39165A79F5}"/>
                </a:ext>
              </a:extLst>
            </p:cNvPr>
            <p:cNvCxnSpPr/>
            <p:nvPr/>
          </p:nvCxnSpPr>
          <p:spPr bwMode="gray">
            <a:xfrm>
              <a:off x="1070451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8664D55D-4C7C-08D5-D4D4-7B358473A8ED}"/>
                </a:ext>
              </a:extLst>
            </p:cNvPr>
            <p:cNvCxnSpPr/>
            <p:nvPr/>
          </p:nvCxnSpPr>
          <p:spPr bwMode="gray">
            <a:xfrm>
              <a:off x="1012844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6C86EA77-4740-634B-2CF9-778F7CBD3A1A}"/>
                </a:ext>
              </a:extLst>
            </p:cNvPr>
            <p:cNvCxnSpPr/>
            <p:nvPr/>
          </p:nvCxnSpPr>
          <p:spPr bwMode="gray">
            <a:xfrm>
              <a:off x="955059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E95AB088-CF89-CECC-57A7-F2D6B62C4AB0}"/>
                </a:ext>
              </a:extLst>
            </p:cNvPr>
            <p:cNvCxnSpPr/>
            <p:nvPr/>
          </p:nvCxnSpPr>
          <p:spPr bwMode="gray">
            <a:xfrm>
              <a:off x="551973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B5DCA70A-C11A-7E3C-8599-F67AAC9CC7B2}"/>
                </a:ext>
              </a:extLst>
            </p:cNvPr>
            <p:cNvCxnSpPr/>
            <p:nvPr/>
          </p:nvCxnSpPr>
          <p:spPr bwMode="gray">
            <a:xfrm>
              <a:off x="263961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B6E367C9-ABED-D06B-1FA5-A28A2DA1C61C}"/>
                </a:ext>
              </a:extLst>
            </p:cNvPr>
            <p:cNvCxnSpPr/>
            <p:nvPr/>
          </p:nvCxnSpPr>
          <p:spPr bwMode="gray">
            <a:xfrm>
              <a:off x="206355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AF0CAD9F-DA82-0C97-68A2-7D6E9531FC17}"/>
                </a:ext>
              </a:extLst>
            </p:cNvPr>
            <p:cNvCxnSpPr/>
            <p:nvPr/>
          </p:nvCxnSpPr>
          <p:spPr bwMode="gray">
            <a:xfrm>
              <a:off x="148748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D9E5A025-B111-EE14-D3D6-8FAA8C2BDA9F}"/>
                </a:ext>
              </a:extLst>
            </p:cNvPr>
            <p:cNvCxnSpPr/>
            <p:nvPr/>
          </p:nvCxnSpPr>
          <p:spPr bwMode="gray">
            <a:xfrm>
              <a:off x="91142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D773125F-E534-E926-76DC-7375F5B36A58}"/>
                </a:ext>
              </a:extLst>
            </p:cNvPr>
            <p:cNvCxnSpPr>
              <a:cxnSpLocks/>
            </p:cNvCxnSpPr>
            <p:nvPr/>
          </p:nvCxnSpPr>
          <p:spPr bwMode="gray">
            <a:xfrm rot="5400000">
              <a:off x="-132704" y="144878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id="{4F117D7B-A960-58DE-924D-6EB9958CCCE7}"/>
                </a:ext>
              </a:extLst>
            </p:cNvPr>
            <p:cNvCxnSpPr>
              <a:cxnSpLocks/>
            </p:cNvCxnSpPr>
            <p:nvPr/>
          </p:nvCxnSpPr>
          <p:spPr bwMode="gray">
            <a:xfrm rot="5400000">
              <a:off x="-132712" y="260091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id="{74EF057D-7D7A-2B7D-376E-AAAF20455D5E}"/>
                </a:ext>
              </a:extLst>
            </p:cNvPr>
            <p:cNvCxnSpPr>
              <a:cxnSpLocks/>
            </p:cNvCxnSpPr>
            <p:nvPr/>
          </p:nvCxnSpPr>
          <p:spPr bwMode="gray">
            <a:xfrm rot="5400000">
              <a:off x="-132712" y="317697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D0179124-D2E2-1078-9E1C-2E86BD6B7B9E}"/>
                </a:ext>
              </a:extLst>
            </p:cNvPr>
            <p:cNvCxnSpPr>
              <a:cxnSpLocks/>
            </p:cNvCxnSpPr>
            <p:nvPr/>
          </p:nvCxnSpPr>
          <p:spPr bwMode="gray">
            <a:xfrm rot="5400000">
              <a:off x="-132712" y="375304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6B230E94-548F-899A-FE55-08C5DB936E1C}"/>
                </a:ext>
              </a:extLst>
            </p:cNvPr>
            <p:cNvCxnSpPr>
              <a:cxnSpLocks/>
            </p:cNvCxnSpPr>
            <p:nvPr/>
          </p:nvCxnSpPr>
          <p:spPr bwMode="gray">
            <a:xfrm rot="5400000">
              <a:off x="-132712" y="432910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3" name="Gerader Verbinder 82">
              <a:extLst>
                <a:ext uri="{FF2B5EF4-FFF2-40B4-BE49-F238E27FC236}">
                  <a16:creationId xmlns:a16="http://schemas.microsoft.com/office/drawing/2014/main" id="{A06502C3-D19F-13B3-6408-18223D4C4A9F}"/>
                </a:ext>
              </a:extLst>
            </p:cNvPr>
            <p:cNvCxnSpPr>
              <a:cxnSpLocks/>
            </p:cNvCxnSpPr>
            <p:nvPr/>
          </p:nvCxnSpPr>
          <p:spPr bwMode="gray">
            <a:xfrm rot="5400000">
              <a:off x="-132712" y="490516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A7933521-C6C8-115B-45C6-C57E1CC5316C}"/>
                </a:ext>
              </a:extLst>
            </p:cNvPr>
            <p:cNvCxnSpPr>
              <a:cxnSpLocks/>
            </p:cNvCxnSpPr>
            <p:nvPr/>
          </p:nvCxnSpPr>
          <p:spPr bwMode="gray">
            <a:xfrm rot="5400000">
              <a:off x="-132712" y="548123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05737378"/>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11" userDrawn="1">
          <p15:clr>
            <a:srgbClr val="FBAE40"/>
          </p15:clr>
        </p15:guide>
        <p15:guide id="5" pos="7106" userDrawn="1">
          <p15:clr>
            <a:srgbClr val="FBAE40"/>
          </p15:clr>
        </p15:guide>
        <p15:guide id="6" orient="horz" pos="2205" userDrawn="1">
          <p15:clr>
            <a:srgbClr val="FBAE40"/>
          </p15:clr>
        </p15:guide>
        <p15:guide id="7" orient="horz" pos="2568" userDrawn="1">
          <p15:clr>
            <a:srgbClr val="FBAE40"/>
          </p15:clr>
        </p15:guide>
        <p15:guide id="8" orient="horz" pos="3838" userDrawn="1">
          <p15:clr>
            <a:srgbClr val="FBAE40"/>
          </p15:clr>
        </p15:guide>
        <p15:guide id="9" pos="3477" userDrawn="1">
          <p15:clr>
            <a:srgbClr val="FBAE40"/>
          </p15:clr>
        </p15:guide>
        <p15:guide id="10" pos="384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 Diagrams &amp; content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C4B9DF7-5928-397A-9864-CD8A2581B075}"/>
              </a:ext>
            </a:extLst>
          </p:cNvPr>
          <p:cNvGraphicFramePr>
            <a:graphicFrameLocks noChangeAspect="1"/>
          </p:cNvGraphicFramePr>
          <p:nvPr userDrawn="1">
            <p:custDataLst>
              <p:tags r:id="rId1"/>
            </p:custDataLst>
            <p:extLst>
              <p:ext uri="{D42A27DB-BD31-4B8C-83A1-F6EECF244321}">
                <p14:modId xmlns:p14="http://schemas.microsoft.com/office/powerpoint/2010/main" val="1855736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3" name="Objekt 2" hidden="1">
                        <a:extLst>
                          <a:ext uri="{FF2B5EF4-FFF2-40B4-BE49-F238E27FC236}">
                            <a16:creationId xmlns:a16="http://schemas.microsoft.com/office/drawing/2014/main" id="{CC4B9DF7-5928-397A-9864-CD8A2581B0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a:extLst>
              <a:ext uri="{FF2B5EF4-FFF2-40B4-BE49-F238E27FC236}">
                <a16:creationId xmlns:a16="http://schemas.microsoft.com/office/drawing/2014/main" id="{0EA33E6C-B6EA-4396-A2D1-BF412B26090E}"/>
              </a:ext>
            </a:extLst>
          </p:cNvPr>
          <p:cNvSpPr>
            <a:spLocks noGrp="1"/>
          </p:cNvSpPr>
          <p:nvPr>
            <p:ph type="title" hasCustomPrompt="1"/>
          </p:nvPr>
        </p:nvSpPr>
        <p:spPr bwMode="gray">
          <a:xfrm>
            <a:off x="334964" y="260648"/>
            <a:ext cx="8641356" cy="369332"/>
          </a:xfrm>
        </p:spPr>
        <p:txBody>
          <a:bodyPr vert="horz"/>
          <a:lstStyle>
            <a:lvl1pPr>
              <a:defRPr/>
            </a:lvl1pPr>
          </a:lstStyle>
          <a:p>
            <a:r>
              <a:rPr lang="en-GB" dirty="0"/>
              <a:t>Insert your headline in </a:t>
            </a:r>
            <a:r>
              <a:rPr lang="en-GB" dirty="0" err="1"/>
              <a:t>Lato</a:t>
            </a:r>
            <a:r>
              <a:rPr lang="en-GB" dirty="0"/>
              <a:t> Heavy 24 </a:t>
            </a:r>
            <a:r>
              <a:rPr lang="en-GB" dirty="0" err="1"/>
              <a:t>pt</a:t>
            </a:r>
            <a:r>
              <a:rPr lang="en-GB" dirty="0"/>
              <a:t> here</a:t>
            </a:r>
          </a:p>
        </p:txBody>
      </p:sp>
      <p:sp>
        <p:nvSpPr>
          <p:cNvPr id="8" name="Diagram 1">
            <a:extLst>
              <a:ext uri="{FF2B5EF4-FFF2-40B4-BE49-F238E27FC236}">
                <a16:creationId xmlns:a16="http://schemas.microsoft.com/office/drawing/2014/main" id="{3C03ED19-FCCA-4F93-A27B-CE2D505869A8}"/>
              </a:ext>
            </a:extLst>
          </p:cNvPr>
          <p:cNvSpPr>
            <a:spLocks noGrp="1"/>
          </p:cNvSpPr>
          <p:nvPr>
            <p:ph type="chart" sz="quarter" idx="28" hasCustomPrompt="1"/>
          </p:nvPr>
        </p:nvSpPr>
        <p:spPr bwMode="gray">
          <a:xfrm>
            <a:off x="335360" y="1484313"/>
            <a:ext cx="2304653" cy="1728787"/>
          </a:xfrm>
        </p:spPr>
        <p:txBody>
          <a:bodyPr/>
          <a:lstStyle>
            <a:lvl1pPr marL="0" indent="0">
              <a:buNone/>
              <a:defRPr/>
            </a:lvl1pPr>
          </a:lstStyle>
          <a:p>
            <a:r>
              <a:rPr lang="en-GB"/>
              <a:t> </a:t>
            </a:r>
            <a:endParaRPr lang="en-GB" dirty="0"/>
          </a:p>
        </p:txBody>
      </p:sp>
      <p:sp>
        <p:nvSpPr>
          <p:cNvPr id="7" name="Content 1">
            <a:extLst>
              <a:ext uri="{FF2B5EF4-FFF2-40B4-BE49-F238E27FC236}">
                <a16:creationId xmlns:a16="http://schemas.microsoft.com/office/drawing/2014/main" id="{06A67EB1-7EE7-45D3-A94D-6EA201E90CFF}"/>
              </a:ext>
            </a:extLst>
          </p:cNvPr>
          <p:cNvSpPr>
            <a:spLocks noGrp="1"/>
          </p:cNvSpPr>
          <p:nvPr>
            <p:ph type="body" sz="quarter" idx="23" hasCustomPrompt="1"/>
          </p:nvPr>
        </p:nvSpPr>
        <p:spPr bwMode="gray">
          <a:xfrm>
            <a:off x="335361" y="3789363"/>
            <a:ext cx="2304653" cy="2303461"/>
          </a:xfrm>
        </p:spPr>
        <p:txBody>
          <a:body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p:txBody>
      </p:sp>
      <p:sp>
        <p:nvSpPr>
          <p:cNvPr id="17" name="Diagram 2">
            <a:extLst>
              <a:ext uri="{FF2B5EF4-FFF2-40B4-BE49-F238E27FC236}">
                <a16:creationId xmlns:a16="http://schemas.microsoft.com/office/drawing/2014/main" id="{D1A80D6A-DCC1-4500-888C-4F1A24AABF4F}"/>
              </a:ext>
            </a:extLst>
          </p:cNvPr>
          <p:cNvSpPr>
            <a:spLocks noGrp="1"/>
          </p:cNvSpPr>
          <p:nvPr>
            <p:ph type="chart" sz="quarter" idx="29" hasCustomPrompt="1"/>
          </p:nvPr>
        </p:nvSpPr>
        <p:spPr bwMode="gray">
          <a:xfrm>
            <a:off x="3216275" y="1484313"/>
            <a:ext cx="2303463" cy="1728787"/>
          </a:xfrm>
        </p:spPr>
        <p:txBody>
          <a:bodyPr/>
          <a:lstStyle>
            <a:lvl1pPr marL="0" indent="0">
              <a:buNone/>
              <a:defRPr/>
            </a:lvl1pPr>
          </a:lstStyle>
          <a:p>
            <a:r>
              <a:rPr lang="en-GB"/>
              <a:t> </a:t>
            </a:r>
            <a:endParaRPr lang="en-GB" dirty="0"/>
          </a:p>
        </p:txBody>
      </p:sp>
      <p:sp>
        <p:nvSpPr>
          <p:cNvPr id="12" name="Content 2">
            <a:extLst>
              <a:ext uri="{FF2B5EF4-FFF2-40B4-BE49-F238E27FC236}">
                <a16:creationId xmlns:a16="http://schemas.microsoft.com/office/drawing/2014/main" id="{C35DD715-4BC4-4F30-A849-B8E23CA41DB0}"/>
              </a:ext>
            </a:extLst>
          </p:cNvPr>
          <p:cNvSpPr>
            <a:spLocks noGrp="1"/>
          </p:cNvSpPr>
          <p:nvPr>
            <p:ph type="body" sz="quarter" idx="24" hasCustomPrompt="1"/>
          </p:nvPr>
        </p:nvSpPr>
        <p:spPr bwMode="gray">
          <a:xfrm>
            <a:off x="3216275" y="3789363"/>
            <a:ext cx="2303463" cy="2303462"/>
          </a:xfrm>
        </p:spPr>
        <p:txBody>
          <a:body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p:txBody>
      </p:sp>
      <p:sp>
        <p:nvSpPr>
          <p:cNvPr id="18" name="Diagram 3">
            <a:extLst>
              <a:ext uri="{FF2B5EF4-FFF2-40B4-BE49-F238E27FC236}">
                <a16:creationId xmlns:a16="http://schemas.microsoft.com/office/drawing/2014/main" id="{021B7AD0-D310-4069-ACD1-90BD901B155A}"/>
              </a:ext>
            </a:extLst>
          </p:cNvPr>
          <p:cNvSpPr>
            <a:spLocks noGrp="1"/>
          </p:cNvSpPr>
          <p:nvPr>
            <p:ph type="chart" sz="quarter" idx="30" hasCustomPrompt="1"/>
          </p:nvPr>
        </p:nvSpPr>
        <p:spPr bwMode="gray">
          <a:xfrm>
            <a:off x="6096000" y="1484313"/>
            <a:ext cx="2305050" cy="1728787"/>
          </a:xfrm>
        </p:spPr>
        <p:txBody>
          <a:bodyPr/>
          <a:lstStyle>
            <a:lvl1pPr marL="0" indent="0">
              <a:buNone/>
              <a:defRPr/>
            </a:lvl1pPr>
          </a:lstStyle>
          <a:p>
            <a:r>
              <a:rPr lang="en-GB"/>
              <a:t> </a:t>
            </a:r>
            <a:endParaRPr lang="en-GB" dirty="0"/>
          </a:p>
        </p:txBody>
      </p:sp>
      <p:sp>
        <p:nvSpPr>
          <p:cNvPr id="13" name="Content 3">
            <a:extLst>
              <a:ext uri="{FF2B5EF4-FFF2-40B4-BE49-F238E27FC236}">
                <a16:creationId xmlns:a16="http://schemas.microsoft.com/office/drawing/2014/main" id="{312C35B1-615F-427F-BBA3-DA904C08CAD1}"/>
              </a:ext>
            </a:extLst>
          </p:cNvPr>
          <p:cNvSpPr>
            <a:spLocks noGrp="1"/>
          </p:cNvSpPr>
          <p:nvPr>
            <p:ph type="body" sz="quarter" idx="25" hasCustomPrompt="1"/>
          </p:nvPr>
        </p:nvSpPr>
        <p:spPr bwMode="gray">
          <a:xfrm>
            <a:off x="6096000" y="3789363"/>
            <a:ext cx="2305050" cy="2303462"/>
          </a:xfrm>
        </p:spPr>
        <p:txBody>
          <a:body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p:txBody>
      </p:sp>
      <p:sp>
        <p:nvSpPr>
          <p:cNvPr id="19" name="Diagram 5">
            <a:extLst>
              <a:ext uri="{FF2B5EF4-FFF2-40B4-BE49-F238E27FC236}">
                <a16:creationId xmlns:a16="http://schemas.microsoft.com/office/drawing/2014/main" id="{2857BF4C-3473-4E27-93FF-E487BE286E40}"/>
              </a:ext>
            </a:extLst>
          </p:cNvPr>
          <p:cNvSpPr>
            <a:spLocks noGrp="1"/>
          </p:cNvSpPr>
          <p:nvPr>
            <p:ph type="chart" sz="quarter" idx="31" hasCustomPrompt="1"/>
          </p:nvPr>
        </p:nvSpPr>
        <p:spPr bwMode="gray">
          <a:xfrm>
            <a:off x="8976320" y="1484313"/>
            <a:ext cx="2304455" cy="1728787"/>
          </a:xfrm>
        </p:spPr>
        <p:txBody>
          <a:bodyPr/>
          <a:lstStyle>
            <a:lvl1pPr marL="0" indent="0">
              <a:buNone/>
              <a:defRPr/>
            </a:lvl1pPr>
          </a:lstStyle>
          <a:p>
            <a:r>
              <a:rPr lang="en-GB"/>
              <a:t> </a:t>
            </a:r>
            <a:endParaRPr lang="en-GB" dirty="0"/>
          </a:p>
        </p:txBody>
      </p:sp>
      <p:sp>
        <p:nvSpPr>
          <p:cNvPr id="16" name="Content 4">
            <a:extLst>
              <a:ext uri="{FF2B5EF4-FFF2-40B4-BE49-F238E27FC236}">
                <a16:creationId xmlns:a16="http://schemas.microsoft.com/office/drawing/2014/main" id="{6CA8DE4A-220D-4F9A-90B4-B0BB300CB3D4}"/>
              </a:ext>
            </a:extLst>
          </p:cNvPr>
          <p:cNvSpPr>
            <a:spLocks noGrp="1"/>
          </p:cNvSpPr>
          <p:nvPr>
            <p:ph type="body" sz="quarter" idx="27" hasCustomPrompt="1"/>
          </p:nvPr>
        </p:nvSpPr>
        <p:spPr bwMode="gray">
          <a:xfrm>
            <a:off x="8976348" y="3789363"/>
            <a:ext cx="2304688" cy="2303462"/>
          </a:xfrm>
        </p:spPr>
        <p:txBody>
          <a:body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p:txBody>
      </p:sp>
      <p:sp>
        <p:nvSpPr>
          <p:cNvPr id="9" name="Datumsplatzhalter 8">
            <a:extLst>
              <a:ext uri="{FF2B5EF4-FFF2-40B4-BE49-F238E27FC236}">
                <a16:creationId xmlns:a16="http://schemas.microsoft.com/office/drawing/2014/main" id="{43FA262F-A846-1A79-3999-F2D0A18AD479}"/>
              </a:ext>
            </a:extLst>
          </p:cNvPr>
          <p:cNvSpPr>
            <a:spLocks noGrp="1"/>
          </p:cNvSpPr>
          <p:nvPr>
            <p:ph type="dt" sz="half" idx="32"/>
          </p:nvPr>
        </p:nvSpPr>
        <p:spPr/>
        <p:txBody>
          <a:bodyPr/>
          <a:lstStyle/>
          <a:p>
            <a:r>
              <a:rPr lang="en-US"/>
              <a:t>7/26/2022</a:t>
            </a:r>
            <a:endParaRPr lang="en-GB" dirty="0"/>
          </a:p>
        </p:txBody>
      </p:sp>
      <p:sp>
        <p:nvSpPr>
          <p:cNvPr id="10" name="Fußzeilenplatzhalter 9">
            <a:extLst>
              <a:ext uri="{FF2B5EF4-FFF2-40B4-BE49-F238E27FC236}">
                <a16:creationId xmlns:a16="http://schemas.microsoft.com/office/drawing/2014/main" id="{A402DD41-46CD-125B-9B15-E27A468DA4C9}"/>
              </a:ext>
            </a:extLst>
          </p:cNvPr>
          <p:cNvSpPr>
            <a:spLocks noGrp="1"/>
          </p:cNvSpPr>
          <p:nvPr>
            <p:ph type="ftr" sz="quarter" idx="33"/>
          </p:nvPr>
        </p:nvSpPr>
        <p:spPr/>
        <p:txBody>
          <a:bodyPr/>
          <a:lstStyle/>
          <a:p>
            <a:r>
              <a:rPr lang="de-DE"/>
              <a:t>Der Konsument nach Corona und Consumer Voice</a:t>
            </a:r>
            <a:endParaRPr lang="de-DE" dirty="0"/>
          </a:p>
        </p:txBody>
      </p:sp>
      <p:sp>
        <p:nvSpPr>
          <p:cNvPr id="14" name="Foliennummernplatzhalter 13">
            <a:extLst>
              <a:ext uri="{FF2B5EF4-FFF2-40B4-BE49-F238E27FC236}">
                <a16:creationId xmlns:a16="http://schemas.microsoft.com/office/drawing/2014/main" id="{E639E429-752E-29FF-FAC3-9FA7E8209563}"/>
              </a:ext>
            </a:extLst>
          </p:cNvPr>
          <p:cNvSpPr>
            <a:spLocks noGrp="1"/>
          </p:cNvSpPr>
          <p:nvPr>
            <p:ph type="sldNum" sz="quarter" idx="34"/>
          </p:nvPr>
        </p:nvSpPr>
        <p:spPr/>
        <p:txBody>
          <a:bodyPr/>
          <a:lstStyle/>
          <a:p>
            <a:fld id="{CAEA825B-D749-4F0A-886E-8D45A39EAF2A}" type="slidenum">
              <a:rPr lang="de-DE" smtClean="0"/>
              <a:pPr/>
              <a:t>‹Nº›</a:t>
            </a:fld>
            <a:endParaRPr lang="de-DE"/>
          </a:p>
        </p:txBody>
      </p:sp>
      <p:sp>
        <p:nvSpPr>
          <p:cNvPr id="20" name="Subtitle">
            <a:extLst>
              <a:ext uri="{FF2B5EF4-FFF2-40B4-BE49-F238E27FC236}">
                <a16:creationId xmlns:a16="http://schemas.microsoft.com/office/drawing/2014/main" id="{1D0332CB-0566-9498-DC27-173D4A0169B4}"/>
              </a:ext>
            </a:extLst>
          </p:cNvPr>
          <p:cNvSpPr>
            <a:spLocks noGrp="1"/>
          </p:cNvSpPr>
          <p:nvPr>
            <p:ph type="subTitle" idx="13" hasCustomPrompt="1"/>
          </p:nvPr>
        </p:nvSpPr>
        <p:spPr bwMode="gray">
          <a:xfrm>
            <a:off x="334964" y="659362"/>
            <a:ext cx="8640762" cy="360040"/>
          </a:xfrm>
          <a:prstGeom prst="rect">
            <a:avLst/>
          </a:prstGeom>
        </p:spPr>
        <p:txBody>
          <a:bodyPr wrap="none" tIns="0"/>
          <a:lstStyle>
            <a:lvl1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1pPr>
            <a:lvl2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2pPr>
            <a:lvl3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3pPr>
            <a:lvl4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4pPr>
            <a:lvl5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5pPr>
            <a:lvl6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6pPr>
            <a:lvl7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7pPr>
            <a:lvl8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8pPr>
            <a:lvl9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9pPr>
          </a:lstStyle>
          <a:p>
            <a:r>
              <a:rPr lang="en-GB" dirty="0"/>
              <a:t>Insert your sub-headline in </a:t>
            </a:r>
            <a:r>
              <a:rPr lang="en-GB" dirty="0" err="1"/>
              <a:t>Lato</a:t>
            </a:r>
            <a:r>
              <a:rPr lang="en-GB" dirty="0"/>
              <a:t> light 20 </a:t>
            </a:r>
            <a:r>
              <a:rPr lang="en-GB" dirty="0" err="1"/>
              <a:t>pt</a:t>
            </a:r>
            <a:r>
              <a:rPr lang="en-GB" dirty="0"/>
              <a:t> here</a:t>
            </a:r>
          </a:p>
        </p:txBody>
      </p:sp>
      <p:sp>
        <p:nvSpPr>
          <p:cNvPr id="21" name="Source">
            <a:extLst>
              <a:ext uri="{FF2B5EF4-FFF2-40B4-BE49-F238E27FC236}">
                <a16:creationId xmlns:a16="http://schemas.microsoft.com/office/drawing/2014/main" id="{215A5566-E701-8CE8-2DA8-3CB6E9634BD8}"/>
              </a:ext>
            </a:extLst>
          </p:cNvPr>
          <p:cNvSpPr>
            <a:spLocks noGrp="1"/>
          </p:cNvSpPr>
          <p:nvPr>
            <p:ph type="body" sz="quarter" idx="35"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grpSp>
        <p:nvGrpSpPr>
          <p:cNvPr id="34" name="Gruppieren 33">
            <a:extLst>
              <a:ext uri="{FF2B5EF4-FFF2-40B4-BE49-F238E27FC236}">
                <a16:creationId xmlns:a16="http://schemas.microsoft.com/office/drawing/2014/main" id="{89FA4A75-3343-7323-D8A4-5B0C1A85DC41}"/>
              </a:ext>
              <a:ext uri="{C183D7F6-B498-43B3-948B-1728B52AA6E4}">
                <adec:decorative xmlns:adec="http://schemas.microsoft.com/office/drawing/2017/decorative" val="1"/>
              </a:ext>
            </a:extLst>
          </p:cNvPr>
          <p:cNvGrpSpPr/>
          <p:nvPr userDrawn="1"/>
        </p:nvGrpSpPr>
        <p:grpSpPr>
          <a:xfrm>
            <a:off x="-168768" y="-171392"/>
            <a:ext cx="12025408" cy="6264688"/>
            <a:chOff x="-168768" y="-171392"/>
            <a:chExt cx="12025408" cy="6264688"/>
          </a:xfrm>
        </p:grpSpPr>
        <p:cxnSp>
          <p:nvCxnSpPr>
            <p:cNvPr id="35" name="Gerader Verbinder 34">
              <a:extLst>
                <a:ext uri="{FF2B5EF4-FFF2-40B4-BE49-F238E27FC236}">
                  <a16:creationId xmlns:a16="http://schemas.microsoft.com/office/drawing/2014/main" id="{862C2964-9755-81FE-4F54-45C73EAFA843}"/>
                </a:ext>
              </a:extLst>
            </p:cNvPr>
            <p:cNvCxnSpPr/>
            <p:nvPr userDrawn="1"/>
          </p:nvCxnSpPr>
          <p:spPr bwMode="gray">
            <a:xfrm>
              <a:off x="33536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00FA98EE-CDF4-E367-589D-DBDC7FF9F301}"/>
                </a:ext>
              </a:extLst>
            </p:cNvPr>
            <p:cNvCxnSpPr/>
            <p:nvPr userDrawn="1"/>
          </p:nvCxnSpPr>
          <p:spPr bwMode="gray">
            <a:xfrm>
              <a:off x="436780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87CE53E1-2CD6-E7EA-B0B6-01E15B7C74DA}"/>
                </a:ext>
              </a:extLst>
            </p:cNvPr>
            <p:cNvCxnSpPr/>
            <p:nvPr userDrawn="1"/>
          </p:nvCxnSpPr>
          <p:spPr bwMode="gray">
            <a:xfrm>
              <a:off x="494387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976CC231-19C3-174A-D2AC-AF641B7FF526}"/>
                </a:ext>
              </a:extLst>
            </p:cNvPr>
            <p:cNvCxnSpPr/>
            <p:nvPr userDrawn="1"/>
          </p:nvCxnSpPr>
          <p:spPr bwMode="gray">
            <a:xfrm>
              <a:off x="667206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86204850-9429-5160-C85C-83A63DDD7EC8}"/>
                </a:ext>
              </a:extLst>
            </p:cNvPr>
            <p:cNvCxnSpPr/>
            <p:nvPr userDrawn="1"/>
          </p:nvCxnSpPr>
          <p:spPr bwMode="gray">
            <a:xfrm>
              <a:off x="609600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3F36E7A6-B507-2EDE-30AD-DC5C9CF99EB2}"/>
                </a:ext>
              </a:extLst>
            </p:cNvPr>
            <p:cNvCxnSpPr/>
            <p:nvPr userDrawn="1"/>
          </p:nvCxnSpPr>
          <p:spPr bwMode="gray">
            <a:xfrm>
              <a:off x="724812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311105AD-AB33-C3F3-D177-A0B18FFD2C46}"/>
                </a:ext>
              </a:extLst>
            </p:cNvPr>
            <p:cNvCxnSpPr/>
            <p:nvPr userDrawn="1"/>
          </p:nvCxnSpPr>
          <p:spPr bwMode="gray">
            <a:xfrm>
              <a:off x="782419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66F64A0-C2C7-6E16-7D65-898A5B4840A0}"/>
                </a:ext>
              </a:extLst>
            </p:cNvPr>
            <p:cNvCxnSpPr/>
            <p:nvPr userDrawn="1"/>
          </p:nvCxnSpPr>
          <p:spPr bwMode="gray">
            <a:xfrm>
              <a:off x="840025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83611535-3B52-516B-0A42-1F8B460B7D1D}"/>
                </a:ext>
              </a:extLst>
            </p:cNvPr>
            <p:cNvCxnSpPr/>
            <p:nvPr userDrawn="1"/>
          </p:nvCxnSpPr>
          <p:spPr bwMode="gray">
            <a:xfrm>
              <a:off x="897632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BC6AB79C-F34F-0F96-4822-0AB2607BB8CB}"/>
                </a:ext>
              </a:extLst>
            </p:cNvPr>
            <p:cNvCxnSpPr/>
            <p:nvPr userDrawn="1"/>
          </p:nvCxnSpPr>
          <p:spPr bwMode="gray">
            <a:xfrm>
              <a:off x="1128057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5B425608-1379-03A5-83A9-511C86154EC9}"/>
                </a:ext>
              </a:extLst>
            </p:cNvPr>
            <p:cNvCxnSpPr/>
            <p:nvPr userDrawn="1"/>
          </p:nvCxnSpPr>
          <p:spPr bwMode="gray">
            <a:xfrm>
              <a:off x="1185664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9B92D205-40AC-550A-A0F6-7D1B5DE735B9}"/>
                </a:ext>
              </a:extLst>
            </p:cNvPr>
            <p:cNvCxnSpPr>
              <a:cxnSpLocks/>
            </p:cNvCxnSpPr>
            <p:nvPr userDrawn="1"/>
          </p:nvCxnSpPr>
          <p:spPr bwMode="gray">
            <a:xfrm rot="5400000">
              <a:off x="-132688" y="29665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3D4E0959-2AE6-8D42-E806-8FA9E4B25247}"/>
                </a:ext>
              </a:extLst>
            </p:cNvPr>
            <p:cNvCxnSpPr/>
            <p:nvPr userDrawn="1"/>
          </p:nvCxnSpPr>
          <p:spPr bwMode="gray">
            <a:xfrm>
              <a:off x="321568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8" name="Gerader Verbinder 47">
              <a:extLst>
                <a:ext uri="{FF2B5EF4-FFF2-40B4-BE49-F238E27FC236}">
                  <a16:creationId xmlns:a16="http://schemas.microsoft.com/office/drawing/2014/main" id="{948D3A5A-B37E-9435-B553-F96A0406ADA6}"/>
                </a:ext>
              </a:extLst>
            </p:cNvPr>
            <p:cNvCxnSpPr/>
            <p:nvPr userDrawn="1"/>
          </p:nvCxnSpPr>
          <p:spPr bwMode="gray">
            <a:xfrm>
              <a:off x="379174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30E1D582-010C-AD18-5395-5747756A6D4E}"/>
                </a:ext>
              </a:extLst>
            </p:cNvPr>
            <p:cNvCxnSpPr>
              <a:cxnSpLocks/>
            </p:cNvCxnSpPr>
            <p:nvPr userDrawn="1"/>
          </p:nvCxnSpPr>
          <p:spPr bwMode="gray">
            <a:xfrm rot="5400000">
              <a:off x="-132704" y="87272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49657B8F-2547-1C1A-6776-61DB68D6B823}"/>
                </a:ext>
              </a:extLst>
            </p:cNvPr>
            <p:cNvCxnSpPr>
              <a:cxnSpLocks/>
            </p:cNvCxnSpPr>
            <p:nvPr userDrawn="1"/>
          </p:nvCxnSpPr>
          <p:spPr bwMode="gray">
            <a:xfrm rot="5400000">
              <a:off x="-132712" y="202484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C0D6215C-A02A-0B41-ECB8-5F6071BB4F71}"/>
                </a:ext>
              </a:extLst>
            </p:cNvPr>
            <p:cNvCxnSpPr>
              <a:cxnSpLocks/>
            </p:cNvCxnSpPr>
            <p:nvPr userDrawn="1"/>
          </p:nvCxnSpPr>
          <p:spPr bwMode="gray">
            <a:xfrm rot="5400000">
              <a:off x="-132768" y="605729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B04B8FF8-AC7A-3E38-8DD2-468035A6A8A3}"/>
                </a:ext>
              </a:extLst>
            </p:cNvPr>
            <p:cNvCxnSpPr/>
            <p:nvPr/>
          </p:nvCxnSpPr>
          <p:spPr bwMode="gray">
            <a:xfrm>
              <a:off x="1070451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E566E296-E015-8262-0718-333753653511}"/>
                </a:ext>
              </a:extLst>
            </p:cNvPr>
            <p:cNvCxnSpPr/>
            <p:nvPr/>
          </p:nvCxnSpPr>
          <p:spPr bwMode="gray">
            <a:xfrm>
              <a:off x="1012844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12758CC5-4CC1-55DA-117D-EAC646CE9403}"/>
                </a:ext>
              </a:extLst>
            </p:cNvPr>
            <p:cNvCxnSpPr/>
            <p:nvPr/>
          </p:nvCxnSpPr>
          <p:spPr bwMode="gray">
            <a:xfrm>
              <a:off x="955059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79C57716-6E30-7744-166B-1C41B9B57351}"/>
                </a:ext>
              </a:extLst>
            </p:cNvPr>
            <p:cNvCxnSpPr/>
            <p:nvPr/>
          </p:nvCxnSpPr>
          <p:spPr bwMode="gray">
            <a:xfrm>
              <a:off x="551973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74FBD4D9-5612-ABC6-09FB-5111010403EC}"/>
                </a:ext>
              </a:extLst>
            </p:cNvPr>
            <p:cNvCxnSpPr/>
            <p:nvPr/>
          </p:nvCxnSpPr>
          <p:spPr bwMode="gray">
            <a:xfrm>
              <a:off x="263961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B46ADD30-F579-B7B5-C47A-E1999E454AB2}"/>
                </a:ext>
              </a:extLst>
            </p:cNvPr>
            <p:cNvCxnSpPr/>
            <p:nvPr/>
          </p:nvCxnSpPr>
          <p:spPr bwMode="gray">
            <a:xfrm>
              <a:off x="206355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CE641FD1-84FA-3AB2-56FE-4C17FC7CEB5D}"/>
                </a:ext>
              </a:extLst>
            </p:cNvPr>
            <p:cNvCxnSpPr/>
            <p:nvPr/>
          </p:nvCxnSpPr>
          <p:spPr bwMode="gray">
            <a:xfrm>
              <a:off x="148748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6649EC7A-E823-16F5-29A3-7A2ECE80A4CB}"/>
                </a:ext>
              </a:extLst>
            </p:cNvPr>
            <p:cNvCxnSpPr/>
            <p:nvPr/>
          </p:nvCxnSpPr>
          <p:spPr bwMode="gray">
            <a:xfrm>
              <a:off x="91142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293674CD-0DB4-AAF1-2D2E-377E51E1A87B}"/>
                </a:ext>
              </a:extLst>
            </p:cNvPr>
            <p:cNvCxnSpPr>
              <a:cxnSpLocks/>
            </p:cNvCxnSpPr>
            <p:nvPr/>
          </p:nvCxnSpPr>
          <p:spPr bwMode="gray">
            <a:xfrm rot="5400000">
              <a:off x="-132704" y="144878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id="{E4B9A240-5F5B-DA48-7367-8B3763D395B0}"/>
                </a:ext>
              </a:extLst>
            </p:cNvPr>
            <p:cNvCxnSpPr>
              <a:cxnSpLocks/>
            </p:cNvCxnSpPr>
            <p:nvPr/>
          </p:nvCxnSpPr>
          <p:spPr bwMode="gray">
            <a:xfrm rot="5400000">
              <a:off x="-132712" y="260091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id="{3D82582A-15FA-D4F0-38B4-8A69E63FB7BA}"/>
                </a:ext>
              </a:extLst>
            </p:cNvPr>
            <p:cNvCxnSpPr>
              <a:cxnSpLocks/>
            </p:cNvCxnSpPr>
            <p:nvPr/>
          </p:nvCxnSpPr>
          <p:spPr bwMode="gray">
            <a:xfrm rot="5400000">
              <a:off x="-132712" y="317697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FE010D7B-9ED9-8318-B8BE-B4DF83E9B575}"/>
                </a:ext>
              </a:extLst>
            </p:cNvPr>
            <p:cNvCxnSpPr>
              <a:cxnSpLocks/>
            </p:cNvCxnSpPr>
            <p:nvPr/>
          </p:nvCxnSpPr>
          <p:spPr bwMode="gray">
            <a:xfrm rot="5400000">
              <a:off x="-132712" y="375304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E1E5DE1A-9FDD-2E0D-FBCD-4A6C442ECA1B}"/>
                </a:ext>
              </a:extLst>
            </p:cNvPr>
            <p:cNvCxnSpPr>
              <a:cxnSpLocks/>
            </p:cNvCxnSpPr>
            <p:nvPr/>
          </p:nvCxnSpPr>
          <p:spPr bwMode="gray">
            <a:xfrm rot="5400000">
              <a:off x="-132712" y="432910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3" name="Gerader Verbinder 82">
              <a:extLst>
                <a:ext uri="{FF2B5EF4-FFF2-40B4-BE49-F238E27FC236}">
                  <a16:creationId xmlns:a16="http://schemas.microsoft.com/office/drawing/2014/main" id="{AD040A17-4627-B007-E632-96A2A6ACF3A1}"/>
                </a:ext>
              </a:extLst>
            </p:cNvPr>
            <p:cNvCxnSpPr>
              <a:cxnSpLocks/>
            </p:cNvCxnSpPr>
            <p:nvPr/>
          </p:nvCxnSpPr>
          <p:spPr bwMode="gray">
            <a:xfrm rot="5400000">
              <a:off x="-132712" y="490516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BB8BAA33-7946-0603-7660-053FE940EB21}"/>
                </a:ext>
              </a:extLst>
            </p:cNvPr>
            <p:cNvCxnSpPr>
              <a:cxnSpLocks/>
            </p:cNvCxnSpPr>
            <p:nvPr/>
          </p:nvCxnSpPr>
          <p:spPr bwMode="gray">
            <a:xfrm rot="5400000">
              <a:off x="-132712" y="548123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28121789"/>
      </p:ext>
    </p:extLst>
  </p:cSld>
  <p:clrMapOvr>
    <a:masterClrMapping/>
  </p:clrMapOvr>
  <p:extLst>
    <p:ext uri="{DCECCB84-F9BA-43D5-87BE-67443E8EF086}">
      <p15:sldGuideLst xmlns:p15="http://schemas.microsoft.com/office/powerpoint/2012/main">
        <p15:guide id="1" orient="horz" pos="935" userDrawn="1">
          <p15:clr>
            <a:srgbClr val="FBAE40"/>
          </p15:clr>
        </p15:guide>
        <p15:guide id="3" orient="horz" pos="2024" userDrawn="1">
          <p15:clr>
            <a:srgbClr val="FBAE40"/>
          </p15:clr>
        </p15:guide>
        <p15:guide id="4" orient="horz" pos="2387" userDrawn="1">
          <p15:clr>
            <a:srgbClr val="FBAE40"/>
          </p15:clr>
        </p15:guide>
        <p15:guide id="5" orient="horz" pos="3838" userDrawn="1">
          <p15:clr>
            <a:srgbClr val="FBAE40"/>
          </p15:clr>
        </p15:guide>
        <p15:guide id="6" pos="211" userDrawn="1">
          <p15:clr>
            <a:srgbClr val="FBAE40"/>
          </p15:clr>
        </p15:guide>
        <p15:guide id="7" pos="7106" userDrawn="1">
          <p15:clr>
            <a:srgbClr val="FBAE40"/>
          </p15:clr>
        </p15:guide>
        <p15:guide id="8" pos="5654" userDrawn="1">
          <p15:clr>
            <a:srgbClr val="FBAE40"/>
          </p15:clr>
        </p15:guide>
        <p15:guide id="9" pos="5292" userDrawn="1">
          <p15:clr>
            <a:srgbClr val="FBAE40"/>
          </p15:clr>
        </p15:guide>
        <p15:guide id="10" pos="3840" userDrawn="1">
          <p15:clr>
            <a:srgbClr val="FBAE40"/>
          </p15:clr>
        </p15:guide>
        <p15:guide id="11" pos="3477" userDrawn="1">
          <p15:clr>
            <a:srgbClr val="FBAE40"/>
          </p15:clr>
        </p15:guide>
        <p15:guide id="12" pos="2026" userDrawn="1">
          <p15:clr>
            <a:srgbClr val="FBAE40"/>
          </p15:clr>
        </p15:guide>
        <p15:guide id="13" pos="1663"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486EC8D-2A69-E4B0-945F-A5365E7DA058}"/>
              </a:ext>
            </a:extLst>
          </p:cNvPr>
          <p:cNvGraphicFramePr>
            <a:graphicFrameLocks noChangeAspect="1"/>
          </p:cNvGraphicFramePr>
          <p:nvPr userDrawn="1">
            <p:custDataLst>
              <p:tags r:id="rId1"/>
            </p:custDataLst>
            <p:extLst>
              <p:ext uri="{D42A27DB-BD31-4B8C-83A1-F6EECF244321}">
                <p14:modId xmlns:p14="http://schemas.microsoft.com/office/powerpoint/2010/main" val="370484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4" name="Objekt 3" hidden="1">
                        <a:extLst>
                          <a:ext uri="{FF2B5EF4-FFF2-40B4-BE49-F238E27FC236}">
                            <a16:creationId xmlns:a16="http://schemas.microsoft.com/office/drawing/2014/main" id="{3486EC8D-2A69-E4B0-945F-A5365E7DA0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a:extLst>
              <a:ext uri="{FF2B5EF4-FFF2-40B4-BE49-F238E27FC236}">
                <a16:creationId xmlns:a16="http://schemas.microsoft.com/office/drawing/2014/main" id="{B323AA85-A1CF-4FE7-8932-7304C7420F15}"/>
              </a:ext>
            </a:extLst>
          </p:cNvPr>
          <p:cNvSpPr>
            <a:spLocks noGrp="1"/>
          </p:cNvSpPr>
          <p:nvPr>
            <p:ph type="title" hasCustomPrompt="1"/>
          </p:nvPr>
        </p:nvSpPr>
        <p:spPr bwMode="gray">
          <a:xfrm>
            <a:off x="334963" y="260648"/>
            <a:ext cx="8641356" cy="369332"/>
          </a:xfrm>
        </p:spPr>
        <p:txBody>
          <a:bodyPr vert="horz"/>
          <a:lstStyle>
            <a:lvl1pPr>
              <a:defRPr/>
            </a:lvl1pPr>
          </a:lstStyle>
          <a:p>
            <a:r>
              <a:rPr lang="en-GB"/>
              <a:t>Insert your headline in Lato Heavy 24 pt here</a:t>
            </a:r>
            <a:endParaRPr lang="en-GB" dirty="0"/>
          </a:p>
        </p:txBody>
      </p:sp>
      <p:sp>
        <p:nvSpPr>
          <p:cNvPr id="3" name="Content Placeholder 2"/>
          <p:cNvSpPr>
            <a:spLocks noGrp="1"/>
          </p:cNvSpPr>
          <p:nvPr>
            <p:ph idx="1" hasCustomPrompt="1"/>
          </p:nvPr>
        </p:nvSpPr>
        <p:spPr bwMode="gray">
          <a:xfrm>
            <a:off x="335361" y="2060575"/>
            <a:ext cx="5184377" cy="4032250"/>
          </a:xfrm>
          <a:prstGeom prst="rect">
            <a:avLst/>
          </a:prstGeom>
        </p:spPr>
        <p:txBody>
          <a:bodyPr/>
          <a:lstStyle>
            <a:lvl1pPr>
              <a:defRPr/>
            </a:lvl1p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9" name="Content Placeholder 2"/>
          <p:cNvSpPr>
            <a:spLocks noGrp="1"/>
          </p:cNvSpPr>
          <p:nvPr>
            <p:ph idx="17" hasCustomPrompt="1"/>
          </p:nvPr>
        </p:nvSpPr>
        <p:spPr bwMode="gray">
          <a:xfrm>
            <a:off x="6096000" y="2060575"/>
            <a:ext cx="5184576" cy="4032250"/>
          </a:xfrm>
          <a:prstGeom prst="rect">
            <a:avLst/>
          </a:prstGeom>
        </p:spPr>
        <p:txBody>
          <a:bodyPr/>
          <a:lstStyle>
            <a:lvl1pPr>
              <a:defRPr/>
            </a:lvl1p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8" name="Datumsplatzhalter 7">
            <a:extLst>
              <a:ext uri="{FF2B5EF4-FFF2-40B4-BE49-F238E27FC236}">
                <a16:creationId xmlns:a16="http://schemas.microsoft.com/office/drawing/2014/main" id="{91B92600-CCD8-6C0F-E245-455894C86AF5}"/>
              </a:ext>
            </a:extLst>
          </p:cNvPr>
          <p:cNvSpPr>
            <a:spLocks noGrp="1"/>
          </p:cNvSpPr>
          <p:nvPr>
            <p:ph type="dt" sz="half" idx="19"/>
          </p:nvPr>
        </p:nvSpPr>
        <p:spPr/>
        <p:txBody>
          <a:bodyPr/>
          <a:lstStyle/>
          <a:p>
            <a:r>
              <a:rPr lang="en-US"/>
              <a:t>7/26/2022</a:t>
            </a:r>
            <a:endParaRPr lang="en-GB" dirty="0"/>
          </a:p>
        </p:txBody>
      </p:sp>
      <p:sp>
        <p:nvSpPr>
          <p:cNvPr id="12" name="Fußzeilenplatzhalter 11">
            <a:extLst>
              <a:ext uri="{FF2B5EF4-FFF2-40B4-BE49-F238E27FC236}">
                <a16:creationId xmlns:a16="http://schemas.microsoft.com/office/drawing/2014/main" id="{CCE6B127-12BD-3F8A-E35E-27A37EF00791}"/>
              </a:ext>
            </a:extLst>
          </p:cNvPr>
          <p:cNvSpPr>
            <a:spLocks noGrp="1"/>
          </p:cNvSpPr>
          <p:nvPr>
            <p:ph type="ftr" sz="quarter" idx="20"/>
          </p:nvPr>
        </p:nvSpPr>
        <p:spPr/>
        <p:txBody>
          <a:bodyPr/>
          <a:lstStyle/>
          <a:p>
            <a:r>
              <a:rPr lang="de-DE"/>
              <a:t>Der Konsument nach Corona und Consumer Voice</a:t>
            </a:r>
            <a:endParaRPr lang="de-DE" dirty="0"/>
          </a:p>
        </p:txBody>
      </p:sp>
      <p:sp>
        <p:nvSpPr>
          <p:cNvPr id="13" name="Foliennummernplatzhalter 12">
            <a:extLst>
              <a:ext uri="{FF2B5EF4-FFF2-40B4-BE49-F238E27FC236}">
                <a16:creationId xmlns:a16="http://schemas.microsoft.com/office/drawing/2014/main" id="{3624A6AF-4B88-9117-A53C-037A328005EE}"/>
              </a:ext>
            </a:extLst>
          </p:cNvPr>
          <p:cNvSpPr>
            <a:spLocks noGrp="1"/>
          </p:cNvSpPr>
          <p:nvPr>
            <p:ph type="sldNum" sz="quarter" idx="21"/>
          </p:nvPr>
        </p:nvSpPr>
        <p:spPr/>
        <p:txBody>
          <a:bodyPr/>
          <a:lstStyle/>
          <a:p>
            <a:fld id="{CAEA825B-D749-4F0A-886E-8D45A39EAF2A}" type="slidenum">
              <a:rPr lang="de-DE" smtClean="0"/>
              <a:pPr/>
              <a:t>‹Nº›</a:t>
            </a:fld>
            <a:endParaRPr lang="de-DE"/>
          </a:p>
        </p:txBody>
      </p:sp>
      <p:sp>
        <p:nvSpPr>
          <p:cNvPr id="14" name="Subtitle">
            <a:extLst>
              <a:ext uri="{FF2B5EF4-FFF2-40B4-BE49-F238E27FC236}">
                <a16:creationId xmlns:a16="http://schemas.microsoft.com/office/drawing/2014/main" id="{673EB645-B6DD-53A4-DD88-87498A2645EB}"/>
              </a:ext>
            </a:extLst>
          </p:cNvPr>
          <p:cNvSpPr>
            <a:spLocks noGrp="1"/>
          </p:cNvSpPr>
          <p:nvPr>
            <p:ph type="subTitle" idx="13" hasCustomPrompt="1"/>
          </p:nvPr>
        </p:nvSpPr>
        <p:spPr bwMode="gray">
          <a:xfrm>
            <a:off x="334963" y="659362"/>
            <a:ext cx="8641357" cy="360040"/>
          </a:xfrm>
          <a:prstGeom prst="rect">
            <a:avLst/>
          </a:prstGeom>
        </p:spPr>
        <p:txBody>
          <a:bodyPr wrap="none" tIns="0"/>
          <a:lstStyle>
            <a:lvl1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1pPr>
            <a:lvl2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2pPr>
            <a:lvl3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3pPr>
            <a:lvl4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4pPr>
            <a:lvl5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5pPr>
            <a:lvl6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6pPr>
            <a:lvl7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7pPr>
            <a:lvl8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8pPr>
            <a:lvl9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9pPr>
          </a:lstStyle>
          <a:p>
            <a:r>
              <a:rPr lang="en-GB" dirty="0"/>
              <a:t>Insert your sub-headline in </a:t>
            </a:r>
            <a:r>
              <a:rPr lang="en-GB" dirty="0" err="1"/>
              <a:t>Lato</a:t>
            </a:r>
            <a:r>
              <a:rPr lang="en-GB" dirty="0"/>
              <a:t> light 20 </a:t>
            </a:r>
            <a:r>
              <a:rPr lang="en-GB" dirty="0" err="1"/>
              <a:t>pt</a:t>
            </a:r>
            <a:r>
              <a:rPr lang="en-GB" dirty="0"/>
              <a:t> here</a:t>
            </a:r>
          </a:p>
        </p:txBody>
      </p:sp>
      <p:sp>
        <p:nvSpPr>
          <p:cNvPr id="15" name="Source">
            <a:extLst>
              <a:ext uri="{FF2B5EF4-FFF2-40B4-BE49-F238E27FC236}">
                <a16:creationId xmlns:a16="http://schemas.microsoft.com/office/drawing/2014/main" id="{ED5EB746-4CB2-38AB-52A7-F1E146355BF7}"/>
              </a:ext>
            </a:extLst>
          </p:cNvPr>
          <p:cNvSpPr>
            <a:spLocks noGrp="1"/>
          </p:cNvSpPr>
          <p:nvPr>
            <p:ph type="body" sz="quarter" idx="25"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grpSp>
        <p:nvGrpSpPr>
          <p:cNvPr id="28" name="Gruppieren 27">
            <a:extLst>
              <a:ext uri="{FF2B5EF4-FFF2-40B4-BE49-F238E27FC236}">
                <a16:creationId xmlns:a16="http://schemas.microsoft.com/office/drawing/2014/main" id="{3EA30AF8-76C0-619D-AF54-F34DD5FEBF34}"/>
              </a:ext>
              <a:ext uri="{C183D7F6-B498-43B3-948B-1728B52AA6E4}">
                <adec:decorative xmlns:adec="http://schemas.microsoft.com/office/drawing/2017/decorative" val="1"/>
              </a:ext>
            </a:extLst>
          </p:cNvPr>
          <p:cNvGrpSpPr/>
          <p:nvPr userDrawn="1"/>
        </p:nvGrpSpPr>
        <p:grpSpPr>
          <a:xfrm>
            <a:off x="-168768" y="-171392"/>
            <a:ext cx="12025408" cy="6264688"/>
            <a:chOff x="-168768" y="-171392"/>
            <a:chExt cx="12025408" cy="6264688"/>
          </a:xfrm>
        </p:grpSpPr>
        <p:cxnSp>
          <p:nvCxnSpPr>
            <p:cNvPr id="29" name="Gerader Verbinder 28">
              <a:extLst>
                <a:ext uri="{FF2B5EF4-FFF2-40B4-BE49-F238E27FC236}">
                  <a16:creationId xmlns:a16="http://schemas.microsoft.com/office/drawing/2014/main" id="{6F1CC2C7-E87B-A874-7DC2-5FE495ADE247}"/>
                </a:ext>
              </a:extLst>
            </p:cNvPr>
            <p:cNvCxnSpPr/>
            <p:nvPr userDrawn="1"/>
          </p:nvCxnSpPr>
          <p:spPr bwMode="gray">
            <a:xfrm>
              <a:off x="33536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7EDD5F24-C054-C6B8-AA14-2E318CAC82B1}"/>
                </a:ext>
              </a:extLst>
            </p:cNvPr>
            <p:cNvCxnSpPr/>
            <p:nvPr userDrawn="1"/>
          </p:nvCxnSpPr>
          <p:spPr bwMode="gray">
            <a:xfrm>
              <a:off x="436780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9F8C9611-7CB4-15E8-1854-EB95DD678B93}"/>
                </a:ext>
              </a:extLst>
            </p:cNvPr>
            <p:cNvCxnSpPr/>
            <p:nvPr userDrawn="1"/>
          </p:nvCxnSpPr>
          <p:spPr bwMode="gray">
            <a:xfrm>
              <a:off x="494387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F25A4EEA-5593-3902-5A64-40F08F28CF7E}"/>
                </a:ext>
              </a:extLst>
            </p:cNvPr>
            <p:cNvCxnSpPr/>
            <p:nvPr userDrawn="1"/>
          </p:nvCxnSpPr>
          <p:spPr bwMode="gray">
            <a:xfrm>
              <a:off x="667206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638524ED-14FA-F0C4-1F1A-6867194EFC5D}"/>
                </a:ext>
              </a:extLst>
            </p:cNvPr>
            <p:cNvCxnSpPr/>
            <p:nvPr userDrawn="1"/>
          </p:nvCxnSpPr>
          <p:spPr bwMode="gray">
            <a:xfrm>
              <a:off x="609600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A64E366C-0CE7-23B6-7277-327EE0C930A3}"/>
                </a:ext>
              </a:extLst>
            </p:cNvPr>
            <p:cNvCxnSpPr/>
            <p:nvPr userDrawn="1"/>
          </p:nvCxnSpPr>
          <p:spPr bwMode="gray">
            <a:xfrm>
              <a:off x="724812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1A220DFC-AA2F-FD0A-3FD6-0435549BEC94}"/>
                </a:ext>
              </a:extLst>
            </p:cNvPr>
            <p:cNvCxnSpPr/>
            <p:nvPr userDrawn="1"/>
          </p:nvCxnSpPr>
          <p:spPr bwMode="gray">
            <a:xfrm>
              <a:off x="782419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7929152A-10F9-2D98-B945-BB8D8549A470}"/>
                </a:ext>
              </a:extLst>
            </p:cNvPr>
            <p:cNvCxnSpPr/>
            <p:nvPr userDrawn="1"/>
          </p:nvCxnSpPr>
          <p:spPr bwMode="gray">
            <a:xfrm>
              <a:off x="840025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EA3D4F8A-C531-7D21-4850-A1C2BCD99E08}"/>
                </a:ext>
              </a:extLst>
            </p:cNvPr>
            <p:cNvCxnSpPr/>
            <p:nvPr userDrawn="1"/>
          </p:nvCxnSpPr>
          <p:spPr bwMode="gray">
            <a:xfrm>
              <a:off x="897632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A6BAAC40-A8BC-8D6A-A5F0-13B71878B791}"/>
                </a:ext>
              </a:extLst>
            </p:cNvPr>
            <p:cNvCxnSpPr/>
            <p:nvPr userDrawn="1"/>
          </p:nvCxnSpPr>
          <p:spPr bwMode="gray">
            <a:xfrm>
              <a:off x="1128057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B3BF4E46-5AE9-64BB-CA3A-F51F9AE311F6}"/>
                </a:ext>
              </a:extLst>
            </p:cNvPr>
            <p:cNvCxnSpPr/>
            <p:nvPr userDrawn="1"/>
          </p:nvCxnSpPr>
          <p:spPr bwMode="gray">
            <a:xfrm>
              <a:off x="1185664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B5FB3DE9-5A4E-3F8F-A800-3C691F928402}"/>
                </a:ext>
              </a:extLst>
            </p:cNvPr>
            <p:cNvCxnSpPr>
              <a:cxnSpLocks/>
            </p:cNvCxnSpPr>
            <p:nvPr userDrawn="1"/>
          </p:nvCxnSpPr>
          <p:spPr bwMode="gray">
            <a:xfrm rot="5400000">
              <a:off x="-132688" y="29665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C0318B30-B0FC-A2B1-B5CC-2840B600ABF3}"/>
                </a:ext>
              </a:extLst>
            </p:cNvPr>
            <p:cNvCxnSpPr/>
            <p:nvPr userDrawn="1"/>
          </p:nvCxnSpPr>
          <p:spPr bwMode="gray">
            <a:xfrm>
              <a:off x="321568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CAA6A961-0EE3-76C6-4438-5283CB4F6162}"/>
                </a:ext>
              </a:extLst>
            </p:cNvPr>
            <p:cNvCxnSpPr/>
            <p:nvPr userDrawn="1"/>
          </p:nvCxnSpPr>
          <p:spPr bwMode="gray">
            <a:xfrm>
              <a:off x="379174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49853041-B649-26A2-1F83-0AE4C69A34A7}"/>
                </a:ext>
              </a:extLst>
            </p:cNvPr>
            <p:cNvCxnSpPr>
              <a:cxnSpLocks/>
            </p:cNvCxnSpPr>
            <p:nvPr userDrawn="1"/>
          </p:nvCxnSpPr>
          <p:spPr bwMode="gray">
            <a:xfrm rot="5400000">
              <a:off x="-132704" y="87272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CDFD7C9B-C973-56FD-9C86-6E06D670E298}"/>
                </a:ext>
              </a:extLst>
            </p:cNvPr>
            <p:cNvCxnSpPr>
              <a:cxnSpLocks/>
            </p:cNvCxnSpPr>
            <p:nvPr userDrawn="1"/>
          </p:nvCxnSpPr>
          <p:spPr bwMode="gray">
            <a:xfrm rot="5400000">
              <a:off x="-132712" y="202484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CE0D4CA9-AC5E-3E6C-075D-0B87DE1CA166}"/>
                </a:ext>
              </a:extLst>
            </p:cNvPr>
            <p:cNvCxnSpPr>
              <a:cxnSpLocks/>
            </p:cNvCxnSpPr>
            <p:nvPr userDrawn="1"/>
          </p:nvCxnSpPr>
          <p:spPr bwMode="gray">
            <a:xfrm rot="5400000">
              <a:off x="-132768" y="605729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AEA5552C-9752-6AA8-A743-714ADE7C83CD}"/>
                </a:ext>
              </a:extLst>
            </p:cNvPr>
            <p:cNvCxnSpPr/>
            <p:nvPr/>
          </p:nvCxnSpPr>
          <p:spPr bwMode="gray">
            <a:xfrm>
              <a:off x="1070451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3ECC5DDE-E003-5987-69F7-DE137F9F739B}"/>
                </a:ext>
              </a:extLst>
            </p:cNvPr>
            <p:cNvCxnSpPr/>
            <p:nvPr/>
          </p:nvCxnSpPr>
          <p:spPr bwMode="gray">
            <a:xfrm>
              <a:off x="1012844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2E36477E-87F8-E248-0C43-8CD95FF75262}"/>
                </a:ext>
              </a:extLst>
            </p:cNvPr>
            <p:cNvCxnSpPr/>
            <p:nvPr/>
          </p:nvCxnSpPr>
          <p:spPr bwMode="gray">
            <a:xfrm>
              <a:off x="955059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0F79262A-8087-C293-2B74-CFA18873FCAC}"/>
                </a:ext>
              </a:extLst>
            </p:cNvPr>
            <p:cNvCxnSpPr/>
            <p:nvPr/>
          </p:nvCxnSpPr>
          <p:spPr bwMode="gray">
            <a:xfrm>
              <a:off x="551973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96F5CEAF-6AA1-B2B9-3DEA-F23C70BBE6E7}"/>
                </a:ext>
              </a:extLst>
            </p:cNvPr>
            <p:cNvCxnSpPr/>
            <p:nvPr/>
          </p:nvCxnSpPr>
          <p:spPr bwMode="gray">
            <a:xfrm>
              <a:off x="263961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D665249E-F311-2C16-6864-9F3F298647D7}"/>
                </a:ext>
              </a:extLst>
            </p:cNvPr>
            <p:cNvCxnSpPr/>
            <p:nvPr/>
          </p:nvCxnSpPr>
          <p:spPr bwMode="gray">
            <a:xfrm>
              <a:off x="206355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7EDE270E-CF62-F619-033E-EC0FE37AA31B}"/>
                </a:ext>
              </a:extLst>
            </p:cNvPr>
            <p:cNvCxnSpPr/>
            <p:nvPr/>
          </p:nvCxnSpPr>
          <p:spPr bwMode="gray">
            <a:xfrm>
              <a:off x="148748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567C2B6C-7504-C3E7-19B3-E30C7BACF93D}"/>
                </a:ext>
              </a:extLst>
            </p:cNvPr>
            <p:cNvCxnSpPr/>
            <p:nvPr/>
          </p:nvCxnSpPr>
          <p:spPr bwMode="gray">
            <a:xfrm>
              <a:off x="91142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C2AE4FF9-68E7-DC9E-518A-D10365AF7ABA}"/>
                </a:ext>
              </a:extLst>
            </p:cNvPr>
            <p:cNvCxnSpPr>
              <a:cxnSpLocks/>
            </p:cNvCxnSpPr>
            <p:nvPr/>
          </p:nvCxnSpPr>
          <p:spPr bwMode="gray">
            <a:xfrm rot="5400000">
              <a:off x="-132704" y="144878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1ABC8124-5B20-433D-5253-A5D36EACC0A0}"/>
                </a:ext>
              </a:extLst>
            </p:cNvPr>
            <p:cNvCxnSpPr>
              <a:cxnSpLocks/>
            </p:cNvCxnSpPr>
            <p:nvPr/>
          </p:nvCxnSpPr>
          <p:spPr bwMode="gray">
            <a:xfrm rot="5400000">
              <a:off x="-132712" y="260091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082F7B41-E11E-840E-D278-26083FEE2D30}"/>
                </a:ext>
              </a:extLst>
            </p:cNvPr>
            <p:cNvCxnSpPr>
              <a:cxnSpLocks/>
            </p:cNvCxnSpPr>
            <p:nvPr/>
          </p:nvCxnSpPr>
          <p:spPr bwMode="gray">
            <a:xfrm rot="5400000">
              <a:off x="-132712" y="317697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2D5B425E-2C51-897A-B05B-3ED7AC1CFE82}"/>
                </a:ext>
              </a:extLst>
            </p:cNvPr>
            <p:cNvCxnSpPr>
              <a:cxnSpLocks/>
            </p:cNvCxnSpPr>
            <p:nvPr/>
          </p:nvCxnSpPr>
          <p:spPr bwMode="gray">
            <a:xfrm rot="5400000">
              <a:off x="-132712" y="375304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6C1B69BD-D1F4-B636-3032-7A7CD6BA1E70}"/>
                </a:ext>
              </a:extLst>
            </p:cNvPr>
            <p:cNvCxnSpPr>
              <a:cxnSpLocks/>
            </p:cNvCxnSpPr>
            <p:nvPr/>
          </p:nvCxnSpPr>
          <p:spPr bwMode="gray">
            <a:xfrm rot="5400000">
              <a:off x="-132712" y="432910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8CC7D0E8-CCB8-A319-3472-20BDDC76F129}"/>
                </a:ext>
              </a:extLst>
            </p:cNvPr>
            <p:cNvCxnSpPr>
              <a:cxnSpLocks/>
            </p:cNvCxnSpPr>
            <p:nvPr/>
          </p:nvCxnSpPr>
          <p:spPr bwMode="gray">
            <a:xfrm rot="5400000">
              <a:off x="-132712" y="490516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C5DB956E-7AA7-C2FA-DF8C-E4664C0AE6DE}"/>
                </a:ext>
              </a:extLst>
            </p:cNvPr>
            <p:cNvCxnSpPr>
              <a:cxnSpLocks/>
            </p:cNvCxnSpPr>
            <p:nvPr/>
          </p:nvCxnSpPr>
          <p:spPr bwMode="gray">
            <a:xfrm rot="5400000">
              <a:off x="-132712" y="548123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50863205"/>
      </p:ext>
    </p:extLst>
  </p:cSld>
  <p:clrMapOvr>
    <a:masterClrMapping/>
  </p:clrMapOvr>
  <p:extLst>
    <p:ext uri="{DCECCB84-F9BA-43D5-87BE-67443E8EF086}">
      <p15:sldGuideLst xmlns:p15="http://schemas.microsoft.com/office/powerpoint/2012/main">
        <p15:guide id="1" orient="horz" pos="1298" userDrawn="1">
          <p15:clr>
            <a:srgbClr val="FBAE40"/>
          </p15:clr>
        </p15:guide>
        <p15:guide id="2" pos="3840" userDrawn="1">
          <p15:clr>
            <a:srgbClr val="FBAE40"/>
          </p15:clr>
        </p15:guide>
        <p15:guide id="3" pos="3477" userDrawn="1">
          <p15:clr>
            <a:srgbClr val="FBAE40"/>
          </p15:clr>
        </p15:guide>
        <p15:guide id="4" pos="7106" userDrawn="1">
          <p15:clr>
            <a:srgbClr val="FBAE40"/>
          </p15:clr>
        </p15:guide>
        <p15:guide id="5" pos="211" userDrawn="1">
          <p15:clr>
            <a:srgbClr val="FBAE40"/>
          </p15:clr>
        </p15:guide>
        <p15:guide id="6" orient="horz" pos="3838"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507D111E-23B7-541C-9D65-C8D089A08B98}"/>
              </a:ext>
            </a:extLst>
          </p:cNvPr>
          <p:cNvGraphicFramePr>
            <a:graphicFrameLocks noChangeAspect="1"/>
          </p:cNvGraphicFramePr>
          <p:nvPr userDrawn="1">
            <p:custDataLst>
              <p:tags r:id="rId1"/>
            </p:custDataLst>
            <p:extLst>
              <p:ext uri="{D42A27DB-BD31-4B8C-83A1-F6EECF244321}">
                <p14:modId xmlns:p14="http://schemas.microsoft.com/office/powerpoint/2010/main" val="1292815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4" name="Objekt 3" hidden="1">
                        <a:extLst>
                          <a:ext uri="{FF2B5EF4-FFF2-40B4-BE49-F238E27FC236}">
                            <a16:creationId xmlns:a16="http://schemas.microsoft.com/office/drawing/2014/main" id="{507D111E-23B7-541C-9D65-C8D089A08B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a:extLst>
              <a:ext uri="{FF2B5EF4-FFF2-40B4-BE49-F238E27FC236}">
                <a16:creationId xmlns:a16="http://schemas.microsoft.com/office/drawing/2014/main" id="{FCA3E486-0EBD-4776-BA1F-112C5185C0F0}"/>
              </a:ext>
            </a:extLst>
          </p:cNvPr>
          <p:cNvSpPr>
            <a:spLocks noGrp="1"/>
          </p:cNvSpPr>
          <p:nvPr>
            <p:ph type="title" hasCustomPrompt="1"/>
          </p:nvPr>
        </p:nvSpPr>
        <p:spPr bwMode="gray">
          <a:xfrm>
            <a:off x="334964" y="260648"/>
            <a:ext cx="8641356" cy="369332"/>
          </a:xfrm>
        </p:spPr>
        <p:txBody>
          <a:bodyPr vert="horz"/>
          <a:lstStyle>
            <a:lvl1pPr>
              <a:defRPr/>
            </a:lvl1pPr>
          </a:lstStyle>
          <a:p>
            <a:r>
              <a:rPr lang="en-GB"/>
              <a:t>Insert your headline in Lato Heavy 24 pt here</a:t>
            </a:r>
            <a:endParaRPr lang="en-GB" dirty="0"/>
          </a:p>
        </p:txBody>
      </p:sp>
      <p:sp>
        <p:nvSpPr>
          <p:cNvPr id="3" name="Content Placeholder 2"/>
          <p:cNvSpPr>
            <a:spLocks noGrp="1"/>
          </p:cNvSpPr>
          <p:nvPr>
            <p:ph idx="1" hasCustomPrompt="1"/>
          </p:nvPr>
        </p:nvSpPr>
        <p:spPr bwMode="gray">
          <a:xfrm>
            <a:off x="335360" y="2060575"/>
            <a:ext cx="3457178" cy="4032250"/>
          </a:xfrm>
          <a:prstGeom prst="rect">
            <a:avLst/>
          </a:prstGeom>
        </p:spPr>
        <p:txBody>
          <a:bodyPr/>
          <a:lstStyle>
            <a:lvl1pPr>
              <a:defRPr/>
            </a:lvl1p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9" name="Content Placeholder 2"/>
          <p:cNvSpPr>
            <a:spLocks noGrp="1"/>
          </p:cNvSpPr>
          <p:nvPr>
            <p:ph idx="17" hasCustomPrompt="1"/>
          </p:nvPr>
        </p:nvSpPr>
        <p:spPr bwMode="gray">
          <a:xfrm>
            <a:off x="4367808" y="2060575"/>
            <a:ext cx="2880718" cy="4032250"/>
          </a:xfrm>
          <a:prstGeom prst="rect">
            <a:avLst/>
          </a:prstGeom>
        </p:spPr>
        <p:txBody>
          <a:bodyPr/>
          <a:lstStyle>
            <a:lvl1pPr>
              <a:defRPr/>
            </a:lvl1p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0" name="Content Placeholder 2"/>
          <p:cNvSpPr>
            <a:spLocks noGrp="1"/>
          </p:cNvSpPr>
          <p:nvPr>
            <p:ph idx="18" hasCustomPrompt="1"/>
          </p:nvPr>
        </p:nvSpPr>
        <p:spPr bwMode="gray">
          <a:xfrm>
            <a:off x="7824788" y="2060575"/>
            <a:ext cx="3455788" cy="4032250"/>
          </a:xfrm>
          <a:prstGeom prst="rect">
            <a:avLst/>
          </a:prstGeom>
        </p:spPr>
        <p:txBody>
          <a:bodyPr/>
          <a:lstStyle>
            <a:lvl1pPr>
              <a:defRPr/>
            </a:lvl1p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8" name="Datumsplatzhalter 7">
            <a:extLst>
              <a:ext uri="{FF2B5EF4-FFF2-40B4-BE49-F238E27FC236}">
                <a16:creationId xmlns:a16="http://schemas.microsoft.com/office/drawing/2014/main" id="{6C65ABD8-F666-3999-4C21-FD0A3049BA54}"/>
              </a:ext>
            </a:extLst>
          </p:cNvPr>
          <p:cNvSpPr>
            <a:spLocks noGrp="1"/>
          </p:cNvSpPr>
          <p:nvPr>
            <p:ph type="dt" sz="half" idx="20"/>
          </p:nvPr>
        </p:nvSpPr>
        <p:spPr/>
        <p:txBody>
          <a:bodyPr/>
          <a:lstStyle/>
          <a:p>
            <a:r>
              <a:rPr lang="en-US"/>
              <a:t>7/26/2022</a:t>
            </a:r>
            <a:endParaRPr lang="en-GB" dirty="0"/>
          </a:p>
        </p:txBody>
      </p:sp>
      <p:sp>
        <p:nvSpPr>
          <p:cNvPr id="13" name="Fußzeilenplatzhalter 12">
            <a:extLst>
              <a:ext uri="{FF2B5EF4-FFF2-40B4-BE49-F238E27FC236}">
                <a16:creationId xmlns:a16="http://schemas.microsoft.com/office/drawing/2014/main" id="{C53C75CD-95C2-2EC4-EC09-F012A05E7398}"/>
              </a:ext>
            </a:extLst>
          </p:cNvPr>
          <p:cNvSpPr>
            <a:spLocks noGrp="1"/>
          </p:cNvSpPr>
          <p:nvPr>
            <p:ph type="ftr" sz="quarter" idx="21"/>
          </p:nvPr>
        </p:nvSpPr>
        <p:spPr/>
        <p:txBody>
          <a:bodyPr/>
          <a:lstStyle/>
          <a:p>
            <a:r>
              <a:rPr lang="de-DE"/>
              <a:t>Der Konsument nach Corona und Consumer Voice</a:t>
            </a:r>
            <a:endParaRPr lang="de-DE" dirty="0"/>
          </a:p>
        </p:txBody>
      </p:sp>
      <p:sp>
        <p:nvSpPr>
          <p:cNvPr id="14" name="Foliennummernplatzhalter 13">
            <a:extLst>
              <a:ext uri="{FF2B5EF4-FFF2-40B4-BE49-F238E27FC236}">
                <a16:creationId xmlns:a16="http://schemas.microsoft.com/office/drawing/2014/main" id="{889EDFFE-E0F6-2D3F-85A8-0FA232405D97}"/>
              </a:ext>
            </a:extLst>
          </p:cNvPr>
          <p:cNvSpPr>
            <a:spLocks noGrp="1"/>
          </p:cNvSpPr>
          <p:nvPr>
            <p:ph type="sldNum" sz="quarter" idx="22"/>
          </p:nvPr>
        </p:nvSpPr>
        <p:spPr/>
        <p:txBody>
          <a:bodyPr/>
          <a:lstStyle/>
          <a:p>
            <a:fld id="{CAEA825B-D749-4F0A-886E-8D45A39EAF2A}" type="slidenum">
              <a:rPr lang="de-DE" smtClean="0"/>
              <a:pPr/>
              <a:t>‹Nº›</a:t>
            </a:fld>
            <a:endParaRPr lang="de-DE"/>
          </a:p>
        </p:txBody>
      </p:sp>
      <p:sp>
        <p:nvSpPr>
          <p:cNvPr id="15" name="Subtitle">
            <a:extLst>
              <a:ext uri="{FF2B5EF4-FFF2-40B4-BE49-F238E27FC236}">
                <a16:creationId xmlns:a16="http://schemas.microsoft.com/office/drawing/2014/main" id="{71AD5ED9-90D9-10DF-D233-D788A0166231}"/>
              </a:ext>
            </a:extLst>
          </p:cNvPr>
          <p:cNvSpPr>
            <a:spLocks noGrp="1"/>
          </p:cNvSpPr>
          <p:nvPr>
            <p:ph type="subTitle" idx="13" hasCustomPrompt="1"/>
          </p:nvPr>
        </p:nvSpPr>
        <p:spPr bwMode="gray">
          <a:xfrm>
            <a:off x="334964" y="659362"/>
            <a:ext cx="8641356" cy="360040"/>
          </a:xfrm>
          <a:prstGeom prst="rect">
            <a:avLst/>
          </a:prstGeom>
        </p:spPr>
        <p:txBody>
          <a:bodyPr wrap="none" tIns="0"/>
          <a:lstStyle>
            <a:lvl1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1pPr>
            <a:lvl2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2pPr>
            <a:lvl3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3pPr>
            <a:lvl4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4pPr>
            <a:lvl5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5pPr>
            <a:lvl6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6pPr>
            <a:lvl7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7pPr>
            <a:lvl8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8pPr>
            <a:lvl9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9pPr>
          </a:lstStyle>
          <a:p>
            <a:r>
              <a:rPr lang="en-GB" dirty="0"/>
              <a:t>Insert your sub-headline in </a:t>
            </a:r>
            <a:r>
              <a:rPr lang="en-GB" dirty="0" err="1"/>
              <a:t>Lato</a:t>
            </a:r>
            <a:r>
              <a:rPr lang="en-GB" dirty="0"/>
              <a:t> light 20 </a:t>
            </a:r>
            <a:r>
              <a:rPr lang="en-GB" dirty="0" err="1"/>
              <a:t>pt</a:t>
            </a:r>
            <a:r>
              <a:rPr lang="en-GB" dirty="0"/>
              <a:t> here</a:t>
            </a:r>
          </a:p>
        </p:txBody>
      </p:sp>
      <p:sp>
        <p:nvSpPr>
          <p:cNvPr id="16" name="Source">
            <a:extLst>
              <a:ext uri="{FF2B5EF4-FFF2-40B4-BE49-F238E27FC236}">
                <a16:creationId xmlns:a16="http://schemas.microsoft.com/office/drawing/2014/main" id="{367AEFE2-233C-21C0-1B62-85303634B08B}"/>
              </a:ext>
            </a:extLst>
          </p:cNvPr>
          <p:cNvSpPr>
            <a:spLocks noGrp="1"/>
          </p:cNvSpPr>
          <p:nvPr>
            <p:ph type="body" sz="quarter" idx="25"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grpSp>
        <p:nvGrpSpPr>
          <p:cNvPr id="29" name="Gruppieren 28">
            <a:extLst>
              <a:ext uri="{FF2B5EF4-FFF2-40B4-BE49-F238E27FC236}">
                <a16:creationId xmlns:a16="http://schemas.microsoft.com/office/drawing/2014/main" id="{400F2B7E-3D87-28A0-8FFE-1F67F80FBA6C}"/>
              </a:ext>
              <a:ext uri="{C183D7F6-B498-43B3-948B-1728B52AA6E4}">
                <adec:decorative xmlns:adec="http://schemas.microsoft.com/office/drawing/2017/decorative" val="1"/>
              </a:ext>
            </a:extLst>
          </p:cNvPr>
          <p:cNvGrpSpPr/>
          <p:nvPr userDrawn="1"/>
        </p:nvGrpSpPr>
        <p:grpSpPr>
          <a:xfrm>
            <a:off x="-168768" y="-171392"/>
            <a:ext cx="12025408" cy="6264688"/>
            <a:chOff x="-168768" y="-171392"/>
            <a:chExt cx="12025408" cy="6264688"/>
          </a:xfrm>
        </p:grpSpPr>
        <p:cxnSp>
          <p:nvCxnSpPr>
            <p:cNvPr id="30" name="Gerader Verbinder 29">
              <a:extLst>
                <a:ext uri="{FF2B5EF4-FFF2-40B4-BE49-F238E27FC236}">
                  <a16:creationId xmlns:a16="http://schemas.microsoft.com/office/drawing/2014/main" id="{02FAFA71-8D3C-C386-C959-8E5415A1465E}"/>
                </a:ext>
              </a:extLst>
            </p:cNvPr>
            <p:cNvCxnSpPr/>
            <p:nvPr userDrawn="1"/>
          </p:nvCxnSpPr>
          <p:spPr bwMode="gray">
            <a:xfrm>
              <a:off x="33536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B7AF13A1-B934-7E0A-FB22-6F0CCBBE23C5}"/>
                </a:ext>
              </a:extLst>
            </p:cNvPr>
            <p:cNvCxnSpPr/>
            <p:nvPr userDrawn="1"/>
          </p:nvCxnSpPr>
          <p:spPr bwMode="gray">
            <a:xfrm>
              <a:off x="436780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C2B9BBCD-F58D-29C0-3CCB-BEB161B15264}"/>
                </a:ext>
              </a:extLst>
            </p:cNvPr>
            <p:cNvCxnSpPr/>
            <p:nvPr userDrawn="1"/>
          </p:nvCxnSpPr>
          <p:spPr bwMode="gray">
            <a:xfrm>
              <a:off x="494387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3B6088BA-FFD6-6450-98CA-C3A0C027D36B}"/>
                </a:ext>
              </a:extLst>
            </p:cNvPr>
            <p:cNvCxnSpPr/>
            <p:nvPr userDrawn="1"/>
          </p:nvCxnSpPr>
          <p:spPr bwMode="gray">
            <a:xfrm>
              <a:off x="667206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B1EE70BD-45D0-8AA5-0703-7D91AA0F6461}"/>
                </a:ext>
              </a:extLst>
            </p:cNvPr>
            <p:cNvCxnSpPr/>
            <p:nvPr userDrawn="1"/>
          </p:nvCxnSpPr>
          <p:spPr bwMode="gray">
            <a:xfrm>
              <a:off x="609600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F24876B0-50CD-65F6-DB94-744AF9984068}"/>
                </a:ext>
              </a:extLst>
            </p:cNvPr>
            <p:cNvCxnSpPr/>
            <p:nvPr userDrawn="1"/>
          </p:nvCxnSpPr>
          <p:spPr bwMode="gray">
            <a:xfrm>
              <a:off x="724812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D1796033-1FEA-0FD7-7BEC-9F31FD8AE8D7}"/>
                </a:ext>
              </a:extLst>
            </p:cNvPr>
            <p:cNvCxnSpPr/>
            <p:nvPr userDrawn="1"/>
          </p:nvCxnSpPr>
          <p:spPr bwMode="gray">
            <a:xfrm>
              <a:off x="782419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A2856F5B-08F7-EF47-E65C-DE99FFF8C8DB}"/>
                </a:ext>
              </a:extLst>
            </p:cNvPr>
            <p:cNvCxnSpPr/>
            <p:nvPr userDrawn="1"/>
          </p:nvCxnSpPr>
          <p:spPr bwMode="gray">
            <a:xfrm>
              <a:off x="840025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E112B942-B6F8-3896-35F0-BA832BF78F57}"/>
                </a:ext>
              </a:extLst>
            </p:cNvPr>
            <p:cNvCxnSpPr/>
            <p:nvPr userDrawn="1"/>
          </p:nvCxnSpPr>
          <p:spPr bwMode="gray">
            <a:xfrm>
              <a:off x="897632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55102377-8FC3-FD4D-6BBA-959CA0A67F99}"/>
                </a:ext>
              </a:extLst>
            </p:cNvPr>
            <p:cNvCxnSpPr/>
            <p:nvPr userDrawn="1"/>
          </p:nvCxnSpPr>
          <p:spPr bwMode="gray">
            <a:xfrm>
              <a:off x="1128057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6BEB9048-7165-5141-9269-3605571B104F}"/>
                </a:ext>
              </a:extLst>
            </p:cNvPr>
            <p:cNvCxnSpPr/>
            <p:nvPr userDrawn="1"/>
          </p:nvCxnSpPr>
          <p:spPr bwMode="gray">
            <a:xfrm>
              <a:off x="1185664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D2EB1DF1-6737-3886-8C4D-7A0975DC83AC}"/>
                </a:ext>
              </a:extLst>
            </p:cNvPr>
            <p:cNvCxnSpPr>
              <a:cxnSpLocks/>
            </p:cNvCxnSpPr>
            <p:nvPr userDrawn="1"/>
          </p:nvCxnSpPr>
          <p:spPr bwMode="gray">
            <a:xfrm rot="5400000">
              <a:off x="-132688" y="29665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6F528441-A94E-6CA5-4448-D5DF5BD11ED2}"/>
                </a:ext>
              </a:extLst>
            </p:cNvPr>
            <p:cNvCxnSpPr/>
            <p:nvPr userDrawn="1"/>
          </p:nvCxnSpPr>
          <p:spPr bwMode="gray">
            <a:xfrm>
              <a:off x="321568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591C62AB-C43A-6535-9A5F-DFA61F4C4FF0}"/>
                </a:ext>
              </a:extLst>
            </p:cNvPr>
            <p:cNvCxnSpPr/>
            <p:nvPr userDrawn="1"/>
          </p:nvCxnSpPr>
          <p:spPr bwMode="gray">
            <a:xfrm>
              <a:off x="379174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019BA989-2B7C-28A6-B146-86BE4A252440}"/>
                </a:ext>
              </a:extLst>
            </p:cNvPr>
            <p:cNvCxnSpPr>
              <a:cxnSpLocks/>
            </p:cNvCxnSpPr>
            <p:nvPr userDrawn="1"/>
          </p:nvCxnSpPr>
          <p:spPr bwMode="gray">
            <a:xfrm rot="5400000">
              <a:off x="-132704" y="87272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B47F8628-D01B-D44B-F49B-EC1A54D4F538}"/>
                </a:ext>
              </a:extLst>
            </p:cNvPr>
            <p:cNvCxnSpPr>
              <a:cxnSpLocks/>
            </p:cNvCxnSpPr>
            <p:nvPr userDrawn="1"/>
          </p:nvCxnSpPr>
          <p:spPr bwMode="gray">
            <a:xfrm rot="5400000">
              <a:off x="-132712" y="202484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0E7DCE4C-E526-10AC-4550-5698C799A1FF}"/>
                </a:ext>
              </a:extLst>
            </p:cNvPr>
            <p:cNvCxnSpPr>
              <a:cxnSpLocks/>
            </p:cNvCxnSpPr>
            <p:nvPr userDrawn="1"/>
          </p:nvCxnSpPr>
          <p:spPr bwMode="gray">
            <a:xfrm rot="5400000">
              <a:off x="-132768" y="605729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005D1716-7523-A211-3A86-52BC412B03BC}"/>
                </a:ext>
              </a:extLst>
            </p:cNvPr>
            <p:cNvCxnSpPr/>
            <p:nvPr/>
          </p:nvCxnSpPr>
          <p:spPr bwMode="gray">
            <a:xfrm>
              <a:off x="1070451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090F883-284A-A1FA-A371-A3B0CFDF02DF}"/>
                </a:ext>
              </a:extLst>
            </p:cNvPr>
            <p:cNvCxnSpPr/>
            <p:nvPr/>
          </p:nvCxnSpPr>
          <p:spPr bwMode="gray">
            <a:xfrm>
              <a:off x="1012844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D10080B8-FB72-5CFE-59C7-E818537AD588}"/>
                </a:ext>
              </a:extLst>
            </p:cNvPr>
            <p:cNvCxnSpPr/>
            <p:nvPr/>
          </p:nvCxnSpPr>
          <p:spPr bwMode="gray">
            <a:xfrm>
              <a:off x="955059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A688F6E2-9505-8E15-6112-734A39E38382}"/>
                </a:ext>
              </a:extLst>
            </p:cNvPr>
            <p:cNvCxnSpPr/>
            <p:nvPr/>
          </p:nvCxnSpPr>
          <p:spPr bwMode="gray">
            <a:xfrm>
              <a:off x="551973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FEAB76A1-A836-FD47-BE6A-81E9D2E223EA}"/>
                </a:ext>
              </a:extLst>
            </p:cNvPr>
            <p:cNvCxnSpPr/>
            <p:nvPr/>
          </p:nvCxnSpPr>
          <p:spPr bwMode="gray">
            <a:xfrm>
              <a:off x="263961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6A572E40-4385-864F-846F-E63AA108CABB}"/>
                </a:ext>
              </a:extLst>
            </p:cNvPr>
            <p:cNvCxnSpPr/>
            <p:nvPr/>
          </p:nvCxnSpPr>
          <p:spPr bwMode="gray">
            <a:xfrm>
              <a:off x="206355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AD7A9D94-F381-A3A0-5DB7-76529EDDEF94}"/>
                </a:ext>
              </a:extLst>
            </p:cNvPr>
            <p:cNvCxnSpPr/>
            <p:nvPr/>
          </p:nvCxnSpPr>
          <p:spPr bwMode="gray">
            <a:xfrm>
              <a:off x="148748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0EFAABAA-A7C5-BA99-37FA-419F7B190BB8}"/>
                </a:ext>
              </a:extLst>
            </p:cNvPr>
            <p:cNvCxnSpPr/>
            <p:nvPr/>
          </p:nvCxnSpPr>
          <p:spPr bwMode="gray">
            <a:xfrm>
              <a:off x="91142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0D9A44D8-D0D4-8645-0E50-C99E3C71E77F}"/>
                </a:ext>
              </a:extLst>
            </p:cNvPr>
            <p:cNvCxnSpPr>
              <a:cxnSpLocks/>
            </p:cNvCxnSpPr>
            <p:nvPr/>
          </p:nvCxnSpPr>
          <p:spPr bwMode="gray">
            <a:xfrm rot="5400000">
              <a:off x="-132704" y="144878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A7B68266-0922-DECC-402C-27028C6ACB7A}"/>
                </a:ext>
              </a:extLst>
            </p:cNvPr>
            <p:cNvCxnSpPr>
              <a:cxnSpLocks/>
            </p:cNvCxnSpPr>
            <p:nvPr/>
          </p:nvCxnSpPr>
          <p:spPr bwMode="gray">
            <a:xfrm rot="5400000">
              <a:off x="-132712" y="260091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191BD6F6-CCAB-2DD8-ABFB-FFF62359B192}"/>
                </a:ext>
              </a:extLst>
            </p:cNvPr>
            <p:cNvCxnSpPr>
              <a:cxnSpLocks/>
            </p:cNvCxnSpPr>
            <p:nvPr/>
          </p:nvCxnSpPr>
          <p:spPr bwMode="gray">
            <a:xfrm rot="5400000">
              <a:off x="-132712" y="317697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8550DCC7-EB68-84EF-258E-9F7A644C2188}"/>
                </a:ext>
              </a:extLst>
            </p:cNvPr>
            <p:cNvCxnSpPr>
              <a:cxnSpLocks/>
            </p:cNvCxnSpPr>
            <p:nvPr/>
          </p:nvCxnSpPr>
          <p:spPr bwMode="gray">
            <a:xfrm rot="5400000">
              <a:off x="-132712" y="375304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091A51C9-73F1-A3B5-F344-7B339BB63628}"/>
                </a:ext>
              </a:extLst>
            </p:cNvPr>
            <p:cNvCxnSpPr>
              <a:cxnSpLocks/>
            </p:cNvCxnSpPr>
            <p:nvPr/>
          </p:nvCxnSpPr>
          <p:spPr bwMode="gray">
            <a:xfrm rot="5400000">
              <a:off x="-132712" y="432910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C72D2CDB-908E-AAFD-5068-27AEC183716D}"/>
                </a:ext>
              </a:extLst>
            </p:cNvPr>
            <p:cNvCxnSpPr>
              <a:cxnSpLocks/>
            </p:cNvCxnSpPr>
            <p:nvPr/>
          </p:nvCxnSpPr>
          <p:spPr bwMode="gray">
            <a:xfrm rot="5400000">
              <a:off x="-132712" y="490516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id="{FC87338C-0FDD-C736-9E5A-A9D18947A1C7}"/>
                </a:ext>
              </a:extLst>
            </p:cNvPr>
            <p:cNvCxnSpPr>
              <a:cxnSpLocks/>
            </p:cNvCxnSpPr>
            <p:nvPr/>
          </p:nvCxnSpPr>
          <p:spPr bwMode="gray">
            <a:xfrm rot="5400000">
              <a:off x="-132712" y="548123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137735089"/>
      </p:ext>
    </p:extLst>
  </p:cSld>
  <p:clrMapOvr>
    <a:masterClrMapping/>
  </p:clrMapOvr>
  <p:extLst>
    <p:ext uri="{DCECCB84-F9BA-43D5-87BE-67443E8EF086}">
      <p15:sldGuideLst xmlns:p15="http://schemas.microsoft.com/office/powerpoint/2012/main">
        <p15:guide id="1" orient="horz" pos="1298" userDrawn="1">
          <p15:clr>
            <a:srgbClr val="FBAE40"/>
          </p15:clr>
        </p15:guide>
        <p15:guide id="2" pos="211" userDrawn="1">
          <p15:clr>
            <a:srgbClr val="FBAE40"/>
          </p15:clr>
        </p15:guide>
        <p15:guide id="3" pos="2751" userDrawn="1">
          <p15:clr>
            <a:srgbClr val="FBAE40"/>
          </p15:clr>
        </p15:guide>
        <p15:guide id="4" pos="2389" userDrawn="1">
          <p15:clr>
            <a:srgbClr val="FBAE40"/>
          </p15:clr>
        </p15:guide>
        <p15:guide id="5" pos="4929" userDrawn="1">
          <p15:clr>
            <a:srgbClr val="FBAE40"/>
          </p15:clr>
        </p15:guide>
        <p15:guide id="6" pos="4566" userDrawn="1">
          <p15:clr>
            <a:srgbClr val="FBAE40"/>
          </p15:clr>
        </p15:guide>
        <p15:guide id="7" pos="7106" userDrawn="1">
          <p15:clr>
            <a:srgbClr val="FBAE40"/>
          </p15:clr>
        </p15:guide>
        <p15:guide id="8" orient="horz" pos="3838"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ur contents 1">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EDBD237-BF26-B35D-B02F-34D297AD12A4}"/>
              </a:ext>
            </a:extLst>
          </p:cNvPr>
          <p:cNvGraphicFramePr>
            <a:graphicFrameLocks noChangeAspect="1"/>
          </p:cNvGraphicFramePr>
          <p:nvPr userDrawn="1">
            <p:custDataLst>
              <p:tags r:id="rId1"/>
            </p:custDataLst>
            <p:extLst>
              <p:ext uri="{D42A27DB-BD31-4B8C-83A1-F6EECF244321}">
                <p14:modId xmlns:p14="http://schemas.microsoft.com/office/powerpoint/2010/main" val="209251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4" name="Objekt 3" hidden="1">
                        <a:extLst>
                          <a:ext uri="{FF2B5EF4-FFF2-40B4-BE49-F238E27FC236}">
                            <a16:creationId xmlns:a16="http://schemas.microsoft.com/office/drawing/2014/main" id="{FEDBD237-BF26-B35D-B02F-34D297AD12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a:extLst>
              <a:ext uri="{FF2B5EF4-FFF2-40B4-BE49-F238E27FC236}">
                <a16:creationId xmlns:a16="http://schemas.microsoft.com/office/drawing/2014/main" id="{9C3F806D-AD62-4FAF-ACF7-4E654593A03F}"/>
              </a:ext>
            </a:extLst>
          </p:cNvPr>
          <p:cNvSpPr>
            <a:spLocks noGrp="1"/>
          </p:cNvSpPr>
          <p:nvPr>
            <p:ph type="title" hasCustomPrompt="1"/>
          </p:nvPr>
        </p:nvSpPr>
        <p:spPr bwMode="gray">
          <a:xfrm>
            <a:off x="334963" y="260648"/>
            <a:ext cx="8641356" cy="369332"/>
          </a:xfrm>
        </p:spPr>
        <p:txBody>
          <a:bodyPr vert="horz"/>
          <a:lstStyle>
            <a:lvl1pPr>
              <a:defRPr/>
            </a:lvl1pPr>
          </a:lstStyle>
          <a:p>
            <a:r>
              <a:rPr lang="en-GB" dirty="0"/>
              <a:t>Insert your headline in </a:t>
            </a:r>
            <a:r>
              <a:rPr lang="en-GB" dirty="0" err="1"/>
              <a:t>Lato</a:t>
            </a:r>
            <a:r>
              <a:rPr lang="en-GB" dirty="0"/>
              <a:t> Heavy 24 </a:t>
            </a:r>
            <a:r>
              <a:rPr lang="en-GB" dirty="0" err="1"/>
              <a:t>pt</a:t>
            </a:r>
            <a:r>
              <a:rPr lang="en-GB" dirty="0"/>
              <a:t> here</a:t>
            </a:r>
          </a:p>
        </p:txBody>
      </p:sp>
      <p:sp>
        <p:nvSpPr>
          <p:cNvPr id="3" name="Content Placeholder 2"/>
          <p:cNvSpPr>
            <a:spLocks noGrp="1"/>
          </p:cNvSpPr>
          <p:nvPr>
            <p:ph idx="1" hasCustomPrompt="1"/>
          </p:nvPr>
        </p:nvSpPr>
        <p:spPr bwMode="gray">
          <a:xfrm>
            <a:off x="335361" y="2060575"/>
            <a:ext cx="2304256" cy="4032250"/>
          </a:xfrm>
          <a:prstGeom prst="rect">
            <a:avLst/>
          </a:prstGeom>
        </p:spPr>
        <p:txBody>
          <a:bodyPr/>
          <a:lstStyle>
            <a:lvl1pPr>
              <a:defRPr/>
            </a:lvl1p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9" name="Content Placeholder 2"/>
          <p:cNvSpPr>
            <a:spLocks noGrp="1"/>
          </p:cNvSpPr>
          <p:nvPr>
            <p:ph idx="17" hasCustomPrompt="1"/>
          </p:nvPr>
        </p:nvSpPr>
        <p:spPr bwMode="gray">
          <a:xfrm>
            <a:off x="3216275" y="2060574"/>
            <a:ext cx="2303661" cy="4032251"/>
          </a:xfrm>
          <a:prstGeom prst="rect">
            <a:avLst/>
          </a:prstGeom>
        </p:spPr>
        <p:txBody>
          <a:bodyPr/>
          <a:lstStyle>
            <a:lvl1pPr>
              <a:defRPr/>
            </a:lvl1p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0" name="Content Placeholder 2"/>
          <p:cNvSpPr>
            <a:spLocks noGrp="1"/>
          </p:cNvSpPr>
          <p:nvPr>
            <p:ph idx="18" hasCustomPrompt="1"/>
          </p:nvPr>
        </p:nvSpPr>
        <p:spPr bwMode="gray">
          <a:xfrm>
            <a:off x="6096000" y="2060575"/>
            <a:ext cx="2305050" cy="4032250"/>
          </a:xfrm>
          <a:prstGeom prst="rect">
            <a:avLst/>
          </a:prstGeom>
        </p:spPr>
        <p:txBody>
          <a:bodyPr/>
          <a:lstStyle>
            <a:lvl1pPr>
              <a:defRPr/>
            </a:lvl1p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3" name="Content Placeholder 2"/>
          <p:cNvSpPr>
            <a:spLocks noGrp="1"/>
          </p:cNvSpPr>
          <p:nvPr>
            <p:ph idx="19" hasCustomPrompt="1"/>
          </p:nvPr>
        </p:nvSpPr>
        <p:spPr bwMode="gray">
          <a:xfrm>
            <a:off x="8976320" y="2060574"/>
            <a:ext cx="2304256" cy="4032251"/>
          </a:xfrm>
          <a:prstGeom prst="rect">
            <a:avLst/>
          </a:prstGeom>
        </p:spPr>
        <p:txBody>
          <a:bodyPr/>
          <a:lstStyle>
            <a:lvl1pPr>
              <a:defRPr/>
            </a:lvl1p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5" name="Datumsplatzhalter 4">
            <a:extLst>
              <a:ext uri="{FF2B5EF4-FFF2-40B4-BE49-F238E27FC236}">
                <a16:creationId xmlns:a16="http://schemas.microsoft.com/office/drawing/2014/main" id="{871F9881-B4F2-B919-75EC-B222CF2711B7}"/>
              </a:ext>
            </a:extLst>
          </p:cNvPr>
          <p:cNvSpPr>
            <a:spLocks noGrp="1"/>
          </p:cNvSpPr>
          <p:nvPr>
            <p:ph type="dt" sz="half" idx="21"/>
          </p:nvPr>
        </p:nvSpPr>
        <p:spPr/>
        <p:txBody>
          <a:bodyPr/>
          <a:lstStyle/>
          <a:p>
            <a:r>
              <a:rPr lang="en-US"/>
              <a:t>7/26/2022</a:t>
            </a:r>
            <a:endParaRPr lang="en-GB" dirty="0"/>
          </a:p>
        </p:txBody>
      </p:sp>
      <p:sp>
        <p:nvSpPr>
          <p:cNvPr id="7" name="Fußzeilenplatzhalter 6">
            <a:extLst>
              <a:ext uri="{FF2B5EF4-FFF2-40B4-BE49-F238E27FC236}">
                <a16:creationId xmlns:a16="http://schemas.microsoft.com/office/drawing/2014/main" id="{42608C76-DD0A-7C21-5866-98DC6AF24C6C}"/>
              </a:ext>
            </a:extLst>
          </p:cNvPr>
          <p:cNvSpPr>
            <a:spLocks noGrp="1"/>
          </p:cNvSpPr>
          <p:nvPr>
            <p:ph type="ftr" sz="quarter" idx="22"/>
          </p:nvPr>
        </p:nvSpPr>
        <p:spPr/>
        <p:txBody>
          <a:bodyPr/>
          <a:lstStyle/>
          <a:p>
            <a:r>
              <a:rPr lang="de-DE"/>
              <a:t>Der Konsument nach Corona und Consumer Voice</a:t>
            </a:r>
            <a:endParaRPr lang="de-DE" dirty="0"/>
          </a:p>
        </p:txBody>
      </p:sp>
      <p:sp>
        <p:nvSpPr>
          <p:cNvPr id="15" name="Foliennummernplatzhalter 14">
            <a:extLst>
              <a:ext uri="{FF2B5EF4-FFF2-40B4-BE49-F238E27FC236}">
                <a16:creationId xmlns:a16="http://schemas.microsoft.com/office/drawing/2014/main" id="{DD338933-1468-589D-BB08-93CCF0A68962}"/>
              </a:ext>
            </a:extLst>
          </p:cNvPr>
          <p:cNvSpPr>
            <a:spLocks noGrp="1"/>
          </p:cNvSpPr>
          <p:nvPr>
            <p:ph type="sldNum" sz="quarter" idx="23"/>
          </p:nvPr>
        </p:nvSpPr>
        <p:spPr/>
        <p:txBody>
          <a:bodyPr/>
          <a:lstStyle/>
          <a:p>
            <a:fld id="{CAEA825B-D749-4F0A-886E-8D45A39EAF2A}" type="slidenum">
              <a:rPr lang="de-DE" smtClean="0"/>
              <a:pPr/>
              <a:t>‹Nº›</a:t>
            </a:fld>
            <a:endParaRPr lang="de-DE"/>
          </a:p>
        </p:txBody>
      </p:sp>
      <p:sp>
        <p:nvSpPr>
          <p:cNvPr id="14" name="Subtitle">
            <a:extLst>
              <a:ext uri="{FF2B5EF4-FFF2-40B4-BE49-F238E27FC236}">
                <a16:creationId xmlns:a16="http://schemas.microsoft.com/office/drawing/2014/main" id="{59260706-81E2-8B4C-B7CD-AE82FD78AA8E}"/>
              </a:ext>
            </a:extLst>
          </p:cNvPr>
          <p:cNvSpPr>
            <a:spLocks noGrp="1"/>
          </p:cNvSpPr>
          <p:nvPr>
            <p:ph type="subTitle" idx="13" hasCustomPrompt="1"/>
          </p:nvPr>
        </p:nvSpPr>
        <p:spPr bwMode="gray">
          <a:xfrm>
            <a:off x="334963" y="659362"/>
            <a:ext cx="8641356" cy="360040"/>
          </a:xfrm>
          <a:prstGeom prst="rect">
            <a:avLst/>
          </a:prstGeom>
        </p:spPr>
        <p:txBody>
          <a:bodyPr wrap="none" tIns="0"/>
          <a:lstStyle>
            <a:lvl1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1pPr>
            <a:lvl2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2pPr>
            <a:lvl3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3pPr>
            <a:lvl4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4pPr>
            <a:lvl5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5pPr>
            <a:lvl6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6pPr>
            <a:lvl7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7pPr>
            <a:lvl8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8pPr>
            <a:lvl9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9pPr>
          </a:lstStyle>
          <a:p>
            <a:r>
              <a:rPr lang="en-GB" dirty="0"/>
              <a:t>Insert your sub-headline in </a:t>
            </a:r>
            <a:r>
              <a:rPr lang="en-GB" dirty="0" err="1"/>
              <a:t>Lato</a:t>
            </a:r>
            <a:r>
              <a:rPr lang="en-GB" dirty="0"/>
              <a:t> light 20 </a:t>
            </a:r>
            <a:r>
              <a:rPr lang="en-GB" dirty="0" err="1"/>
              <a:t>pt</a:t>
            </a:r>
            <a:r>
              <a:rPr lang="en-GB" dirty="0"/>
              <a:t> here</a:t>
            </a:r>
          </a:p>
        </p:txBody>
      </p:sp>
      <p:sp>
        <p:nvSpPr>
          <p:cNvPr id="16" name="Source">
            <a:extLst>
              <a:ext uri="{FF2B5EF4-FFF2-40B4-BE49-F238E27FC236}">
                <a16:creationId xmlns:a16="http://schemas.microsoft.com/office/drawing/2014/main" id="{FF968B1A-5C81-1360-BAAA-92B0227CD898}"/>
              </a:ext>
            </a:extLst>
          </p:cNvPr>
          <p:cNvSpPr>
            <a:spLocks noGrp="1"/>
          </p:cNvSpPr>
          <p:nvPr>
            <p:ph type="body" sz="quarter" idx="25"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grpSp>
        <p:nvGrpSpPr>
          <p:cNvPr id="30" name="Gruppieren 29">
            <a:extLst>
              <a:ext uri="{FF2B5EF4-FFF2-40B4-BE49-F238E27FC236}">
                <a16:creationId xmlns:a16="http://schemas.microsoft.com/office/drawing/2014/main" id="{22D08356-0189-9700-81C6-B76DC94250B0}"/>
              </a:ext>
              <a:ext uri="{C183D7F6-B498-43B3-948B-1728B52AA6E4}">
                <adec:decorative xmlns:adec="http://schemas.microsoft.com/office/drawing/2017/decorative" val="1"/>
              </a:ext>
            </a:extLst>
          </p:cNvPr>
          <p:cNvGrpSpPr/>
          <p:nvPr userDrawn="1"/>
        </p:nvGrpSpPr>
        <p:grpSpPr>
          <a:xfrm>
            <a:off x="-168768" y="-171392"/>
            <a:ext cx="12025408" cy="6264688"/>
            <a:chOff x="-168768" y="-171392"/>
            <a:chExt cx="12025408" cy="6264688"/>
          </a:xfrm>
        </p:grpSpPr>
        <p:cxnSp>
          <p:nvCxnSpPr>
            <p:cNvPr id="31" name="Gerader Verbinder 30">
              <a:extLst>
                <a:ext uri="{FF2B5EF4-FFF2-40B4-BE49-F238E27FC236}">
                  <a16:creationId xmlns:a16="http://schemas.microsoft.com/office/drawing/2014/main" id="{06111D5B-FDEC-6711-CF72-B83787F6F9FF}"/>
                </a:ext>
              </a:extLst>
            </p:cNvPr>
            <p:cNvCxnSpPr/>
            <p:nvPr userDrawn="1"/>
          </p:nvCxnSpPr>
          <p:spPr bwMode="gray">
            <a:xfrm>
              <a:off x="33536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5B4A3BBC-9CB8-1DB6-7C62-D69F21507C34}"/>
                </a:ext>
              </a:extLst>
            </p:cNvPr>
            <p:cNvCxnSpPr/>
            <p:nvPr userDrawn="1"/>
          </p:nvCxnSpPr>
          <p:spPr bwMode="gray">
            <a:xfrm>
              <a:off x="436780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5C4D8F32-7F45-42FC-CCB5-9B8D87607A92}"/>
                </a:ext>
              </a:extLst>
            </p:cNvPr>
            <p:cNvCxnSpPr/>
            <p:nvPr userDrawn="1"/>
          </p:nvCxnSpPr>
          <p:spPr bwMode="gray">
            <a:xfrm>
              <a:off x="494387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B6EEEA9B-9BA2-2A72-4D17-83289DE406C9}"/>
                </a:ext>
              </a:extLst>
            </p:cNvPr>
            <p:cNvCxnSpPr/>
            <p:nvPr userDrawn="1"/>
          </p:nvCxnSpPr>
          <p:spPr bwMode="gray">
            <a:xfrm>
              <a:off x="667206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AA776B47-3D2F-E43F-CFAD-B07E230D659E}"/>
                </a:ext>
              </a:extLst>
            </p:cNvPr>
            <p:cNvCxnSpPr/>
            <p:nvPr userDrawn="1"/>
          </p:nvCxnSpPr>
          <p:spPr bwMode="gray">
            <a:xfrm>
              <a:off x="609600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088179A1-274F-0E47-5592-DD3A2337AC1D}"/>
                </a:ext>
              </a:extLst>
            </p:cNvPr>
            <p:cNvCxnSpPr/>
            <p:nvPr userDrawn="1"/>
          </p:nvCxnSpPr>
          <p:spPr bwMode="gray">
            <a:xfrm>
              <a:off x="724812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ADFCE44C-3246-39BF-2520-F2DF8EBA5E1F}"/>
                </a:ext>
              </a:extLst>
            </p:cNvPr>
            <p:cNvCxnSpPr/>
            <p:nvPr userDrawn="1"/>
          </p:nvCxnSpPr>
          <p:spPr bwMode="gray">
            <a:xfrm>
              <a:off x="782419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7EDD431C-B429-7554-4747-A974EA5BE6D6}"/>
                </a:ext>
              </a:extLst>
            </p:cNvPr>
            <p:cNvCxnSpPr/>
            <p:nvPr userDrawn="1"/>
          </p:nvCxnSpPr>
          <p:spPr bwMode="gray">
            <a:xfrm>
              <a:off x="840025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698D05BC-6E2D-0975-FDE5-DC500A90649C}"/>
                </a:ext>
              </a:extLst>
            </p:cNvPr>
            <p:cNvCxnSpPr/>
            <p:nvPr userDrawn="1"/>
          </p:nvCxnSpPr>
          <p:spPr bwMode="gray">
            <a:xfrm>
              <a:off x="897632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6147E9BD-D4C2-A27F-0484-FE2A82957E75}"/>
                </a:ext>
              </a:extLst>
            </p:cNvPr>
            <p:cNvCxnSpPr/>
            <p:nvPr userDrawn="1"/>
          </p:nvCxnSpPr>
          <p:spPr bwMode="gray">
            <a:xfrm>
              <a:off x="1128057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B2B03DE4-AA76-71C6-3BE7-D2B9BA8198D8}"/>
                </a:ext>
              </a:extLst>
            </p:cNvPr>
            <p:cNvCxnSpPr/>
            <p:nvPr userDrawn="1"/>
          </p:nvCxnSpPr>
          <p:spPr bwMode="gray">
            <a:xfrm>
              <a:off x="1185664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5AE8E7A3-B11D-8559-B96E-04FF4DF23207}"/>
                </a:ext>
              </a:extLst>
            </p:cNvPr>
            <p:cNvCxnSpPr>
              <a:cxnSpLocks/>
            </p:cNvCxnSpPr>
            <p:nvPr userDrawn="1"/>
          </p:nvCxnSpPr>
          <p:spPr bwMode="gray">
            <a:xfrm rot="5400000">
              <a:off x="-132688" y="29665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8FABDBCB-8EE3-75C9-E2E3-09F7A4CB1944}"/>
                </a:ext>
              </a:extLst>
            </p:cNvPr>
            <p:cNvCxnSpPr/>
            <p:nvPr userDrawn="1"/>
          </p:nvCxnSpPr>
          <p:spPr bwMode="gray">
            <a:xfrm>
              <a:off x="321568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A63185A0-E688-353A-C5B1-EC199D2E1A5B}"/>
                </a:ext>
              </a:extLst>
            </p:cNvPr>
            <p:cNvCxnSpPr/>
            <p:nvPr userDrawn="1"/>
          </p:nvCxnSpPr>
          <p:spPr bwMode="gray">
            <a:xfrm>
              <a:off x="379174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EC124EE3-B0EA-097E-279A-A8A6658FBEF7}"/>
                </a:ext>
              </a:extLst>
            </p:cNvPr>
            <p:cNvCxnSpPr>
              <a:cxnSpLocks/>
            </p:cNvCxnSpPr>
            <p:nvPr userDrawn="1"/>
          </p:nvCxnSpPr>
          <p:spPr bwMode="gray">
            <a:xfrm rot="5400000">
              <a:off x="-132704" y="87272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A1EB4E19-6D26-0D72-7B19-A16682E79DFD}"/>
                </a:ext>
              </a:extLst>
            </p:cNvPr>
            <p:cNvCxnSpPr>
              <a:cxnSpLocks/>
            </p:cNvCxnSpPr>
            <p:nvPr userDrawn="1"/>
          </p:nvCxnSpPr>
          <p:spPr bwMode="gray">
            <a:xfrm rot="5400000">
              <a:off x="-132712" y="202484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F5DD5920-CDFD-D2A9-42BD-A902E1A58ED8}"/>
                </a:ext>
              </a:extLst>
            </p:cNvPr>
            <p:cNvCxnSpPr>
              <a:cxnSpLocks/>
            </p:cNvCxnSpPr>
            <p:nvPr userDrawn="1"/>
          </p:nvCxnSpPr>
          <p:spPr bwMode="gray">
            <a:xfrm rot="5400000">
              <a:off x="-132768" y="605729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87497A16-B255-0CC9-8B45-ED7B59DD4C16}"/>
                </a:ext>
              </a:extLst>
            </p:cNvPr>
            <p:cNvCxnSpPr/>
            <p:nvPr/>
          </p:nvCxnSpPr>
          <p:spPr bwMode="gray">
            <a:xfrm>
              <a:off x="1070451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0C46F5D5-DC5A-9804-A88A-8A8A007E6A2D}"/>
                </a:ext>
              </a:extLst>
            </p:cNvPr>
            <p:cNvCxnSpPr/>
            <p:nvPr/>
          </p:nvCxnSpPr>
          <p:spPr bwMode="gray">
            <a:xfrm>
              <a:off x="1012844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8954746E-A111-54A4-2542-450AA2D29CD1}"/>
                </a:ext>
              </a:extLst>
            </p:cNvPr>
            <p:cNvCxnSpPr/>
            <p:nvPr/>
          </p:nvCxnSpPr>
          <p:spPr bwMode="gray">
            <a:xfrm>
              <a:off x="955059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69895237-3656-1587-BDA9-B5078EE3E1C9}"/>
                </a:ext>
              </a:extLst>
            </p:cNvPr>
            <p:cNvCxnSpPr/>
            <p:nvPr/>
          </p:nvCxnSpPr>
          <p:spPr bwMode="gray">
            <a:xfrm>
              <a:off x="551973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2BF7F29B-17EF-B570-F4BD-8D7BE4BD6B7C}"/>
                </a:ext>
              </a:extLst>
            </p:cNvPr>
            <p:cNvCxnSpPr/>
            <p:nvPr/>
          </p:nvCxnSpPr>
          <p:spPr bwMode="gray">
            <a:xfrm>
              <a:off x="263961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A1C2385A-AA97-C958-8D83-C096610DF182}"/>
                </a:ext>
              </a:extLst>
            </p:cNvPr>
            <p:cNvCxnSpPr/>
            <p:nvPr/>
          </p:nvCxnSpPr>
          <p:spPr bwMode="gray">
            <a:xfrm>
              <a:off x="206355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5B09DED9-BBBA-14B4-8996-B1E001CBCDBF}"/>
                </a:ext>
              </a:extLst>
            </p:cNvPr>
            <p:cNvCxnSpPr/>
            <p:nvPr/>
          </p:nvCxnSpPr>
          <p:spPr bwMode="gray">
            <a:xfrm>
              <a:off x="148748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4A305B1D-11D4-7097-D274-BD3443DD0881}"/>
                </a:ext>
              </a:extLst>
            </p:cNvPr>
            <p:cNvCxnSpPr/>
            <p:nvPr/>
          </p:nvCxnSpPr>
          <p:spPr bwMode="gray">
            <a:xfrm>
              <a:off x="91142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0D67F132-7241-C056-4E19-81832A53CCB9}"/>
                </a:ext>
              </a:extLst>
            </p:cNvPr>
            <p:cNvCxnSpPr>
              <a:cxnSpLocks/>
            </p:cNvCxnSpPr>
            <p:nvPr/>
          </p:nvCxnSpPr>
          <p:spPr bwMode="gray">
            <a:xfrm rot="5400000">
              <a:off x="-132704" y="144878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74444075-2A1B-6F2D-9999-3CD728FD8344}"/>
                </a:ext>
              </a:extLst>
            </p:cNvPr>
            <p:cNvCxnSpPr>
              <a:cxnSpLocks/>
            </p:cNvCxnSpPr>
            <p:nvPr/>
          </p:nvCxnSpPr>
          <p:spPr bwMode="gray">
            <a:xfrm rot="5400000">
              <a:off x="-132712" y="260091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38AF0493-F360-E973-DE4C-7032DB9E7DA3}"/>
                </a:ext>
              </a:extLst>
            </p:cNvPr>
            <p:cNvCxnSpPr>
              <a:cxnSpLocks/>
            </p:cNvCxnSpPr>
            <p:nvPr/>
          </p:nvCxnSpPr>
          <p:spPr bwMode="gray">
            <a:xfrm rot="5400000">
              <a:off x="-132712" y="317697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12ABCCAF-2E5D-F062-5398-1FED7D229303}"/>
                </a:ext>
              </a:extLst>
            </p:cNvPr>
            <p:cNvCxnSpPr>
              <a:cxnSpLocks/>
            </p:cNvCxnSpPr>
            <p:nvPr/>
          </p:nvCxnSpPr>
          <p:spPr bwMode="gray">
            <a:xfrm rot="5400000">
              <a:off x="-132712" y="375304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9C4900D2-9EAE-3562-03D0-BF62A1A23438}"/>
                </a:ext>
              </a:extLst>
            </p:cNvPr>
            <p:cNvCxnSpPr>
              <a:cxnSpLocks/>
            </p:cNvCxnSpPr>
            <p:nvPr/>
          </p:nvCxnSpPr>
          <p:spPr bwMode="gray">
            <a:xfrm rot="5400000">
              <a:off x="-132712" y="432910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id="{D8999707-5A98-CB22-436A-E26841ADC731}"/>
                </a:ext>
              </a:extLst>
            </p:cNvPr>
            <p:cNvCxnSpPr>
              <a:cxnSpLocks/>
            </p:cNvCxnSpPr>
            <p:nvPr/>
          </p:nvCxnSpPr>
          <p:spPr bwMode="gray">
            <a:xfrm rot="5400000">
              <a:off x="-132712" y="490516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id="{5CA9856D-1B55-F200-153C-F13BC99077BC}"/>
                </a:ext>
              </a:extLst>
            </p:cNvPr>
            <p:cNvCxnSpPr>
              <a:cxnSpLocks/>
            </p:cNvCxnSpPr>
            <p:nvPr/>
          </p:nvCxnSpPr>
          <p:spPr bwMode="gray">
            <a:xfrm rot="5400000">
              <a:off x="-132712" y="548123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92695559"/>
      </p:ext>
    </p:extLst>
  </p:cSld>
  <p:clrMapOvr>
    <a:masterClrMapping/>
  </p:clrMapOvr>
  <p:extLst>
    <p:ext uri="{DCECCB84-F9BA-43D5-87BE-67443E8EF086}">
      <p15:sldGuideLst xmlns:p15="http://schemas.microsoft.com/office/powerpoint/2012/main">
        <p15:guide id="1" orient="horz" pos="1298" userDrawn="1">
          <p15:clr>
            <a:srgbClr val="FBAE40"/>
          </p15:clr>
        </p15:guide>
        <p15:guide id="2" pos="211" userDrawn="1">
          <p15:clr>
            <a:srgbClr val="FBAE40"/>
          </p15:clr>
        </p15:guide>
        <p15:guide id="3" pos="7106" userDrawn="1">
          <p15:clr>
            <a:srgbClr val="FBAE40"/>
          </p15:clr>
        </p15:guide>
        <p15:guide id="4" orient="horz" pos="3838" userDrawn="1">
          <p15:clr>
            <a:srgbClr val="FBAE40"/>
          </p15:clr>
        </p15:guide>
        <p15:guide id="5" pos="1663" userDrawn="1">
          <p15:clr>
            <a:srgbClr val="FBAE40"/>
          </p15:clr>
        </p15:guide>
        <p15:guide id="6" pos="2026" userDrawn="1">
          <p15:clr>
            <a:srgbClr val="FBAE40"/>
          </p15:clr>
        </p15:guide>
        <p15:guide id="7" pos="3477" userDrawn="1">
          <p15:clr>
            <a:srgbClr val="FBAE40"/>
          </p15:clr>
        </p15:guide>
        <p15:guide id="8" pos="3840" userDrawn="1">
          <p15:clr>
            <a:srgbClr val="FBAE40"/>
          </p15:clr>
        </p15:guide>
        <p15:guide id="9" pos="5292" userDrawn="1">
          <p15:clr>
            <a:srgbClr val="FBAE40"/>
          </p15:clr>
        </p15:guide>
        <p15:guide id="10" pos="5654"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our contents 2">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6B6EE8C-9C7E-C3EB-D23F-E11776632A7F}"/>
              </a:ext>
            </a:extLst>
          </p:cNvPr>
          <p:cNvGraphicFramePr>
            <a:graphicFrameLocks noChangeAspect="1"/>
          </p:cNvGraphicFramePr>
          <p:nvPr userDrawn="1">
            <p:custDataLst>
              <p:tags r:id="rId1"/>
            </p:custDataLst>
            <p:extLst>
              <p:ext uri="{D42A27DB-BD31-4B8C-83A1-F6EECF244321}">
                <p14:modId xmlns:p14="http://schemas.microsoft.com/office/powerpoint/2010/main" val="2416002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4" name="Objekt 3" hidden="1">
                        <a:extLst>
                          <a:ext uri="{FF2B5EF4-FFF2-40B4-BE49-F238E27FC236}">
                            <a16:creationId xmlns:a16="http://schemas.microsoft.com/office/drawing/2014/main" id="{C6B6EE8C-9C7E-C3EB-D23F-E11776632A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a:extLst>
              <a:ext uri="{FF2B5EF4-FFF2-40B4-BE49-F238E27FC236}">
                <a16:creationId xmlns:a16="http://schemas.microsoft.com/office/drawing/2014/main" id="{456C613C-8B12-41CF-B6EE-ED0A59835723}"/>
              </a:ext>
            </a:extLst>
          </p:cNvPr>
          <p:cNvSpPr>
            <a:spLocks noGrp="1"/>
          </p:cNvSpPr>
          <p:nvPr>
            <p:ph type="title" hasCustomPrompt="1"/>
          </p:nvPr>
        </p:nvSpPr>
        <p:spPr bwMode="gray">
          <a:xfrm>
            <a:off x="334964" y="260648"/>
            <a:ext cx="8641356" cy="369332"/>
          </a:xfrm>
        </p:spPr>
        <p:txBody>
          <a:bodyPr vert="horz"/>
          <a:lstStyle>
            <a:lvl1pPr>
              <a:defRPr/>
            </a:lvl1pPr>
          </a:lstStyle>
          <a:p>
            <a:r>
              <a:rPr lang="en-GB"/>
              <a:t>Insert your headline in Lato Heavy 24 pt here</a:t>
            </a:r>
            <a:endParaRPr lang="en-GB" dirty="0"/>
          </a:p>
        </p:txBody>
      </p:sp>
      <p:sp>
        <p:nvSpPr>
          <p:cNvPr id="3" name="Content Placeholder 2"/>
          <p:cNvSpPr>
            <a:spLocks noGrp="1"/>
          </p:cNvSpPr>
          <p:nvPr>
            <p:ph idx="1" hasCustomPrompt="1"/>
          </p:nvPr>
        </p:nvSpPr>
        <p:spPr bwMode="gray">
          <a:xfrm>
            <a:off x="334963" y="1484313"/>
            <a:ext cx="5184973" cy="2016125"/>
          </a:xfrm>
          <a:prstGeom prst="rect">
            <a:avLst/>
          </a:prstGeom>
        </p:spPr>
        <p:txBody>
          <a:bodyPr/>
          <a:lstStyle>
            <a:lvl1pPr>
              <a:defRPr/>
            </a:lvl1p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a:p>
            <a:pPr lvl="2"/>
            <a:r>
              <a:rPr lang="en-GB" dirty="0"/>
              <a:t>Third level</a:t>
            </a:r>
          </a:p>
          <a:p>
            <a:pPr lvl="3"/>
            <a:r>
              <a:rPr lang="en-GB" dirty="0"/>
              <a:t>Fourth level</a:t>
            </a:r>
          </a:p>
        </p:txBody>
      </p:sp>
      <p:sp>
        <p:nvSpPr>
          <p:cNvPr id="9" name="Content Placeholder 2"/>
          <p:cNvSpPr>
            <a:spLocks noGrp="1"/>
          </p:cNvSpPr>
          <p:nvPr>
            <p:ph idx="17" hasCustomPrompt="1"/>
          </p:nvPr>
        </p:nvSpPr>
        <p:spPr bwMode="gray">
          <a:xfrm>
            <a:off x="6095999" y="1484313"/>
            <a:ext cx="5184775" cy="2016125"/>
          </a:xfrm>
          <a:prstGeom prst="rect">
            <a:avLst/>
          </a:prstGeom>
        </p:spPr>
        <p:txBody>
          <a:bodyPr/>
          <a:lstStyle>
            <a:lvl1pPr>
              <a:defRPr/>
            </a:lvl1p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a:p>
            <a:pPr lvl="2"/>
            <a:r>
              <a:rPr lang="en-GB" dirty="0"/>
              <a:t>Third level</a:t>
            </a:r>
          </a:p>
          <a:p>
            <a:pPr lvl="3"/>
            <a:r>
              <a:rPr lang="en-GB" dirty="0"/>
              <a:t>Fourth level</a:t>
            </a:r>
          </a:p>
        </p:txBody>
      </p:sp>
      <p:sp>
        <p:nvSpPr>
          <p:cNvPr id="10" name="Content Placeholder 2"/>
          <p:cNvSpPr>
            <a:spLocks noGrp="1"/>
          </p:cNvSpPr>
          <p:nvPr>
            <p:ph idx="18" hasCustomPrompt="1"/>
          </p:nvPr>
        </p:nvSpPr>
        <p:spPr bwMode="gray">
          <a:xfrm>
            <a:off x="334963" y="4076700"/>
            <a:ext cx="5184973" cy="2016126"/>
          </a:xfrm>
          <a:prstGeom prst="rect">
            <a:avLst/>
          </a:prstGeom>
        </p:spPr>
        <p:txBody>
          <a:bodyPr/>
          <a:lstStyle>
            <a:lvl1pPr>
              <a:defRPr/>
            </a:lvl1p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a:p>
            <a:pPr lvl="2"/>
            <a:r>
              <a:rPr lang="en-GB" dirty="0"/>
              <a:t>Third level</a:t>
            </a:r>
          </a:p>
          <a:p>
            <a:pPr lvl="3"/>
            <a:r>
              <a:rPr lang="en-GB" dirty="0"/>
              <a:t>Fourth level</a:t>
            </a:r>
          </a:p>
        </p:txBody>
      </p:sp>
      <p:sp>
        <p:nvSpPr>
          <p:cNvPr id="13" name="Content Placeholder 2"/>
          <p:cNvSpPr>
            <a:spLocks noGrp="1"/>
          </p:cNvSpPr>
          <p:nvPr>
            <p:ph idx="19" hasCustomPrompt="1"/>
          </p:nvPr>
        </p:nvSpPr>
        <p:spPr bwMode="gray">
          <a:xfrm>
            <a:off x="6096001" y="4076700"/>
            <a:ext cx="5184774" cy="2016126"/>
          </a:xfrm>
          <a:prstGeom prst="rect">
            <a:avLst/>
          </a:prstGeom>
        </p:spPr>
        <p:txBody>
          <a:bodyPr/>
          <a:lstStyle>
            <a:lvl1pPr>
              <a:defRPr/>
            </a:lvl1p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a:p>
            <a:pPr lvl="2"/>
            <a:r>
              <a:rPr lang="en-GB" dirty="0"/>
              <a:t>Third level</a:t>
            </a:r>
          </a:p>
          <a:p>
            <a:pPr lvl="3"/>
            <a:r>
              <a:rPr lang="en-GB" dirty="0"/>
              <a:t>Fourth level</a:t>
            </a:r>
          </a:p>
        </p:txBody>
      </p:sp>
      <p:sp>
        <p:nvSpPr>
          <p:cNvPr id="8" name="Datumsplatzhalter 7">
            <a:extLst>
              <a:ext uri="{FF2B5EF4-FFF2-40B4-BE49-F238E27FC236}">
                <a16:creationId xmlns:a16="http://schemas.microsoft.com/office/drawing/2014/main" id="{8F6B2AAE-D094-73E8-4D53-C60D514A62B8}"/>
              </a:ext>
            </a:extLst>
          </p:cNvPr>
          <p:cNvSpPr>
            <a:spLocks noGrp="1"/>
          </p:cNvSpPr>
          <p:nvPr>
            <p:ph type="dt" sz="half" idx="21"/>
          </p:nvPr>
        </p:nvSpPr>
        <p:spPr/>
        <p:txBody>
          <a:bodyPr/>
          <a:lstStyle/>
          <a:p>
            <a:r>
              <a:rPr lang="en-US"/>
              <a:t>7/26/2022</a:t>
            </a:r>
            <a:endParaRPr lang="en-GB" dirty="0"/>
          </a:p>
        </p:txBody>
      </p:sp>
      <p:sp>
        <p:nvSpPr>
          <p:cNvPr id="14" name="Fußzeilenplatzhalter 13">
            <a:extLst>
              <a:ext uri="{FF2B5EF4-FFF2-40B4-BE49-F238E27FC236}">
                <a16:creationId xmlns:a16="http://schemas.microsoft.com/office/drawing/2014/main" id="{7CB466B6-EFA4-0F02-91FA-99AA39DF7F51}"/>
              </a:ext>
            </a:extLst>
          </p:cNvPr>
          <p:cNvSpPr>
            <a:spLocks noGrp="1"/>
          </p:cNvSpPr>
          <p:nvPr>
            <p:ph type="ftr" sz="quarter" idx="22"/>
          </p:nvPr>
        </p:nvSpPr>
        <p:spPr/>
        <p:txBody>
          <a:bodyPr/>
          <a:lstStyle/>
          <a:p>
            <a:r>
              <a:rPr lang="de-DE"/>
              <a:t>Der Konsument nach Corona und Consumer Voice</a:t>
            </a:r>
            <a:endParaRPr lang="de-DE" dirty="0"/>
          </a:p>
        </p:txBody>
      </p:sp>
      <p:sp>
        <p:nvSpPr>
          <p:cNvPr id="15" name="Foliennummernplatzhalter 14">
            <a:extLst>
              <a:ext uri="{FF2B5EF4-FFF2-40B4-BE49-F238E27FC236}">
                <a16:creationId xmlns:a16="http://schemas.microsoft.com/office/drawing/2014/main" id="{B114B1D7-C76F-D40A-7288-BFA65760CF35}"/>
              </a:ext>
            </a:extLst>
          </p:cNvPr>
          <p:cNvSpPr>
            <a:spLocks noGrp="1"/>
          </p:cNvSpPr>
          <p:nvPr>
            <p:ph type="sldNum" sz="quarter" idx="23"/>
          </p:nvPr>
        </p:nvSpPr>
        <p:spPr/>
        <p:txBody>
          <a:bodyPr/>
          <a:lstStyle/>
          <a:p>
            <a:fld id="{CAEA825B-D749-4F0A-886E-8D45A39EAF2A}" type="slidenum">
              <a:rPr lang="de-DE" smtClean="0"/>
              <a:pPr/>
              <a:t>‹Nº›</a:t>
            </a:fld>
            <a:endParaRPr lang="de-DE"/>
          </a:p>
        </p:txBody>
      </p:sp>
      <p:sp>
        <p:nvSpPr>
          <p:cNvPr id="16" name="Subtitle">
            <a:extLst>
              <a:ext uri="{FF2B5EF4-FFF2-40B4-BE49-F238E27FC236}">
                <a16:creationId xmlns:a16="http://schemas.microsoft.com/office/drawing/2014/main" id="{83574211-7867-2B18-CF97-19A949A2998C}"/>
              </a:ext>
            </a:extLst>
          </p:cNvPr>
          <p:cNvSpPr>
            <a:spLocks noGrp="1"/>
          </p:cNvSpPr>
          <p:nvPr>
            <p:ph type="subTitle" idx="13" hasCustomPrompt="1"/>
          </p:nvPr>
        </p:nvSpPr>
        <p:spPr bwMode="gray">
          <a:xfrm>
            <a:off x="334567" y="659362"/>
            <a:ext cx="8641754" cy="360040"/>
          </a:xfrm>
          <a:prstGeom prst="rect">
            <a:avLst/>
          </a:prstGeom>
        </p:spPr>
        <p:txBody>
          <a:bodyPr wrap="none" tIns="0"/>
          <a:lstStyle>
            <a:lvl1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1pPr>
            <a:lvl2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2pPr>
            <a:lvl3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3pPr>
            <a:lvl4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4pPr>
            <a:lvl5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5pPr>
            <a:lvl6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6pPr>
            <a:lvl7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7pPr>
            <a:lvl8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8pPr>
            <a:lvl9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9pPr>
          </a:lstStyle>
          <a:p>
            <a:r>
              <a:rPr lang="en-GB" dirty="0"/>
              <a:t>Insert your sub-headline in </a:t>
            </a:r>
            <a:r>
              <a:rPr lang="en-GB" dirty="0" err="1"/>
              <a:t>Lato</a:t>
            </a:r>
            <a:r>
              <a:rPr lang="en-GB" dirty="0"/>
              <a:t> light 20 </a:t>
            </a:r>
            <a:r>
              <a:rPr lang="en-GB" dirty="0" err="1"/>
              <a:t>pt</a:t>
            </a:r>
            <a:r>
              <a:rPr lang="en-GB" dirty="0"/>
              <a:t> here</a:t>
            </a:r>
          </a:p>
        </p:txBody>
      </p:sp>
      <p:sp>
        <p:nvSpPr>
          <p:cNvPr id="17" name="Source">
            <a:extLst>
              <a:ext uri="{FF2B5EF4-FFF2-40B4-BE49-F238E27FC236}">
                <a16:creationId xmlns:a16="http://schemas.microsoft.com/office/drawing/2014/main" id="{C71CE357-91D8-29A7-5B6E-96E913AD83AD}"/>
              </a:ext>
            </a:extLst>
          </p:cNvPr>
          <p:cNvSpPr>
            <a:spLocks noGrp="1"/>
          </p:cNvSpPr>
          <p:nvPr>
            <p:ph type="body" sz="quarter" idx="25"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grpSp>
        <p:nvGrpSpPr>
          <p:cNvPr id="30" name="Gruppieren 29">
            <a:extLst>
              <a:ext uri="{FF2B5EF4-FFF2-40B4-BE49-F238E27FC236}">
                <a16:creationId xmlns:a16="http://schemas.microsoft.com/office/drawing/2014/main" id="{DE3E7145-8CE4-6C7A-BAB2-55551628350B}"/>
              </a:ext>
              <a:ext uri="{C183D7F6-B498-43B3-948B-1728B52AA6E4}">
                <adec:decorative xmlns:adec="http://schemas.microsoft.com/office/drawing/2017/decorative" val="1"/>
              </a:ext>
            </a:extLst>
          </p:cNvPr>
          <p:cNvGrpSpPr/>
          <p:nvPr userDrawn="1"/>
        </p:nvGrpSpPr>
        <p:grpSpPr>
          <a:xfrm>
            <a:off x="-168768" y="-171392"/>
            <a:ext cx="12025408" cy="6264688"/>
            <a:chOff x="-168768" y="-171392"/>
            <a:chExt cx="12025408" cy="6264688"/>
          </a:xfrm>
        </p:grpSpPr>
        <p:cxnSp>
          <p:nvCxnSpPr>
            <p:cNvPr id="31" name="Gerader Verbinder 30">
              <a:extLst>
                <a:ext uri="{FF2B5EF4-FFF2-40B4-BE49-F238E27FC236}">
                  <a16:creationId xmlns:a16="http://schemas.microsoft.com/office/drawing/2014/main" id="{8722BB44-B26A-FCD7-9CD5-D7B83A34C530}"/>
                </a:ext>
              </a:extLst>
            </p:cNvPr>
            <p:cNvCxnSpPr/>
            <p:nvPr userDrawn="1"/>
          </p:nvCxnSpPr>
          <p:spPr bwMode="gray">
            <a:xfrm>
              <a:off x="33536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D274FA5F-19D1-88D3-8180-26A989F6EE4A}"/>
                </a:ext>
              </a:extLst>
            </p:cNvPr>
            <p:cNvCxnSpPr/>
            <p:nvPr userDrawn="1"/>
          </p:nvCxnSpPr>
          <p:spPr bwMode="gray">
            <a:xfrm>
              <a:off x="436780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081381DE-0CFA-25A7-8B9C-DFF78AB1BC73}"/>
                </a:ext>
              </a:extLst>
            </p:cNvPr>
            <p:cNvCxnSpPr/>
            <p:nvPr userDrawn="1"/>
          </p:nvCxnSpPr>
          <p:spPr bwMode="gray">
            <a:xfrm>
              <a:off x="494387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50A1D8E2-D593-DEFE-6124-7A7CFC8F309E}"/>
                </a:ext>
              </a:extLst>
            </p:cNvPr>
            <p:cNvCxnSpPr/>
            <p:nvPr userDrawn="1"/>
          </p:nvCxnSpPr>
          <p:spPr bwMode="gray">
            <a:xfrm>
              <a:off x="667206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9D1B179D-AA67-953E-5D65-9F86F6D37BB1}"/>
                </a:ext>
              </a:extLst>
            </p:cNvPr>
            <p:cNvCxnSpPr/>
            <p:nvPr userDrawn="1"/>
          </p:nvCxnSpPr>
          <p:spPr bwMode="gray">
            <a:xfrm>
              <a:off x="609600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B5B3B855-40EA-E87D-8359-95275AD0F665}"/>
                </a:ext>
              </a:extLst>
            </p:cNvPr>
            <p:cNvCxnSpPr/>
            <p:nvPr userDrawn="1"/>
          </p:nvCxnSpPr>
          <p:spPr bwMode="gray">
            <a:xfrm>
              <a:off x="724812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3C4BC48E-47CA-861D-43DA-9826036776F0}"/>
                </a:ext>
              </a:extLst>
            </p:cNvPr>
            <p:cNvCxnSpPr/>
            <p:nvPr userDrawn="1"/>
          </p:nvCxnSpPr>
          <p:spPr bwMode="gray">
            <a:xfrm>
              <a:off x="782419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9D187F4C-D0AD-BAE4-559B-243ED0B90D97}"/>
                </a:ext>
              </a:extLst>
            </p:cNvPr>
            <p:cNvCxnSpPr/>
            <p:nvPr userDrawn="1"/>
          </p:nvCxnSpPr>
          <p:spPr bwMode="gray">
            <a:xfrm>
              <a:off x="840025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1219BFD9-1AE1-DCA3-E0DA-39FDB4FF5E7E}"/>
                </a:ext>
              </a:extLst>
            </p:cNvPr>
            <p:cNvCxnSpPr/>
            <p:nvPr userDrawn="1"/>
          </p:nvCxnSpPr>
          <p:spPr bwMode="gray">
            <a:xfrm>
              <a:off x="897632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34738D49-6BA7-0E1B-1FEF-BEC89C30C0E9}"/>
                </a:ext>
              </a:extLst>
            </p:cNvPr>
            <p:cNvCxnSpPr/>
            <p:nvPr userDrawn="1"/>
          </p:nvCxnSpPr>
          <p:spPr bwMode="gray">
            <a:xfrm>
              <a:off x="1128057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2D21C898-31DC-917F-4616-32A4BBA2CE6A}"/>
                </a:ext>
              </a:extLst>
            </p:cNvPr>
            <p:cNvCxnSpPr/>
            <p:nvPr userDrawn="1"/>
          </p:nvCxnSpPr>
          <p:spPr bwMode="gray">
            <a:xfrm>
              <a:off x="1185664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20C38E29-7BAD-70D1-2656-03139329223E}"/>
                </a:ext>
              </a:extLst>
            </p:cNvPr>
            <p:cNvCxnSpPr>
              <a:cxnSpLocks/>
            </p:cNvCxnSpPr>
            <p:nvPr userDrawn="1"/>
          </p:nvCxnSpPr>
          <p:spPr bwMode="gray">
            <a:xfrm rot="5400000">
              <a:off x="-132688" y="29665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87E9EDAC-494D-83CC-6189-0974B41913C8}"/>
                </a:ext>
              </a:extLst>
            </p:cNvPr>
            <p:cNvCxnSpPr/>
            <p:nvPr userDrawn="1"/>
          </p:nvCxnSpPr>
          <p:spPr bwMode="gray">
            <a:xfrm>
              <a:off x="321568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1E9289ED-DE06-CCA5-8271-D3A3397A6D9F}"/>
                </a:ext>
              </a:extLst>
            </p:cNvPr>
            <p:cNvCxnSpPr/>
            <p:nvPr userDrawn="1"/>
          </p:nvCxnSpPr>
          <p:spPr bwMode="gray">
            <a:xfrm>
              <a:off x="379174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B73F58D2-47B6-79BD-F97B-EF75FD57AEA4}"/>
                </a:ext>
              </a:extLst>
            </p:cNvPr>
            <p:cNvCxnSpPr>
              <a:cxnSpLocks/>
            </p:cNvCxnSpPr>
            <p:nvPr userDrawn="1"/>
          </p:nvCxnSpPr>
          <p:spPr bwMode="gray">
            <a:xfrm rot="5400000">
              <a:off x="-132704" y="87272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611D87C8-4CE6-28EC-AA5F-8921544A35B1}"/>
                </a:ext>
              </a:extLst>
            </p:cNvPr>
            <p:cNvCxnSpPr>
              <a:cxnSpLocks/>
            </p:cNvCxnSpPr>
            <p:nvPr userDrawn="1"/>
          </p:nvCxnSpPr>
          <p:spPr bwMode="gray">
            <a:xfrm rot="5400000">
              <a:off x="-132712" y="202484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E22FA51D-795E-18E5-9492-36859D75A8D9}"/>
                </a:ext>
              </a:extLst>
            </p:cNvPr>
            <p:cNvCxnSpPr>
              <a:cxnSpLocks/>
            </p:cNvCxnSpPr>
            <p:nvPr userDrawn="1"/>
          </p:nvCxnSpPr>
          <p:spPr bwMode="gray">
            <a:xfrm rot="5400000">
              <a:off x="-132768" y="605729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A7BED37D-B946-BE10-433C-90A9A98AA57B}"/>
                </a:ext>
              </a:extLst>
            </p:cNvPr>
            <p:cNvCxnSpPr/>
            <p:nvPr/>
          </p:nvCxnSpPr>
          <p:spPr bwMode="gray">
            <a:xfrm>
              <a:off x="1070451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3E3370BE-7364-FF14-49BD-34D78C8DEFC3}"/>
                </a:ext>
              </a:extLst>
            </p:cNvPr>
            <p:cNvCxnSpPr/>
            <p:nvPr/>
          </p:nvCxnSpPr>
          <p:spPr bwMode="gray">
            <a:xfrm>
              <a:off x="1012844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2F0CA176-198E-7083-8D37-9DC3B256C63D}"/>
                </a:ext>
              </a:extLst>
            </p:cNvPr>
            <p:cNvCxnSpPr/>
            <p:nvPr/>
          </p:nvCxnSpPr>
          <p:spPr bwMode="gray">
            <a:xfrm>
              <a:off x="955059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CBD28CE5-B8E5-B674-E365-F059484E6A16}"/>
                </a:ext>
              </a:extLst>
            </p:cNvPr>
            <p:cNvCxnSpPr/>
            <p:nvPr/>
          </p:nvCxnSpPr>
          <p:spPr bwMode="gray">
            <a:xfrm>
              <a:off x="551973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E3B61AB6-ACB2-CA54-5D48-DDDC9D56B6E0}"/>
                </a:ext>
              </a:extLst>
            </p:cNvPr>
            <p:cNvCxnSpPr/>
            <p:nvPr/>
          </p:nvCxnSpPr>
          <p:spPr bwMode="gray">
            <a:xfrm>
              <a:off x="263961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A232D3FD-DA0B-9AE2-5F4C-3A738BFDE95E}"/>
                </a:ext>
              </a:extLst>
            </p:cNvPr>
            <p:cNvCxnSpPr/>
            <p:nvPr/>
          </p:nvCxnSpPr>
          <p:spPr bwMode="gray">
            <a:xfrm>
              <a:off x="206355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6F1BBBEC-76B1-0BC8-09EF-1B470D37302B}"/>
                </a:ext>
              </a:extLst>
            </p:cNvPr>
            <p:cNvCxnSpPr/>
            <p:nvPr/>
          </p:nvCxnSpPr>
          <p:spPr bwMode="gray">
            <a:xfrm>
              <a:off x="148748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074C140E-1F23-1819-25A9-7FEA0AC96F4B}"/>
                </a:ext>
              </a:extLst>
            </p:cNvPr>
            <p:cNvCxnSpPr/>
            <p:nvPr/>
          </p:nvCxnSpPr>
          <p:spPr bwMode="gray">
            <a:xfrm>
              <a:off x="91142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01AB3D9B-F8BB-5C88-8C3A-E330DD04565A}"/>
                </a:ext>
              </a:extLst>
            </p:cNvPr>
            <p:cNvCxnSpPr>
              <a:cxnSpLocks/>
            </p:cNvCxnSpPr>
            <p:nvPr/>
          </p:nvCxnSpPr>
          <p:spPr bwMode="gray">
            <a:xfrm rot="5400000">
              <a:off x="-132704" y="144878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E4FCBE52-72F4-322D-136A-F9EED84B6D2E}"/>
                </a:ext>
              </a:extLst>
            </p:cNvPr>
            <p:cNvCxnSpPr>
              <a:cxnSpLocks/>
            </p:cNvCxnSpPr>
            <p:nvPr/>
          </p:nvCxnSpPr>
          <p:spPr bwMode="gray">
            <a:xfrm rot="5400000">
              <a:off x="-132712" y="260091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DF3CAE11-3F0E-DDD7-4462-9153632D76A4}"/>
                </a:ext>
              </a:extLst>
            </p:cNvPr>
            <p:cNvCxnSpPr>
              <a:cxnSpLocks/>
            </p:cNvCxnSpPr>
            <p:nvPr/>
          </p:nvCxnSpPr>
          <p:spPr bwMode="gray">
            <a:xfrm rot="5400000">
              <a:off x="-132712" y="317697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DE6B345D-0551-540B-11A5-AF30D24AC72E}"/>
                </a:ext>
              </a:extLst>
            </p:cNvPr>
            <p:cNvCxnSpPr>
              <a:cxnSpLocks/>
            </p:cNvCxnSpPr>
            <p:nvPr/>
          </p:nvCxnSpPr>
          <p:spPr bwMode="gray">
            <a:xfrm rot="5400000">
              <a:off x="-132712" y="375304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F4A21787-DFF3-1EAD-2D71-A0A86D6E658F}"/>
                </a:ext>
              </a:extLst>
            </p:cNvPr>
            <p:cNvCxnSpPr>
              <a:cxnSpLocks/>
            </p:cNvCxnSpPr>
            <p:nvPr/>
          </p:nvCxnSpPr>
          <p:spPr bwMode="gray">
            <a:xfrm rot="5400000">
              <a:off x="-132712" y="432910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id="{885CD717-671A-03A0-09E6-3B953FF3B79C}"/>
                </a:ext>
              </a:extLst>
            </p:cNvPr>
            <p:cNvCxnSpPr>
              <a:cxnSpLocks/>
            </p:cNvCxnSpPr>
            <p:nvPr/>
          </p:nvCxnSpPr>
          <p:spPr bwMode="gray">
            <a:xfrm rot="5400000">
              <a:off x="-132712" y="490516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id="{11C2DCC4-36E5-60B4-93C1-AD8DC0353806}"/>
                </a:ext>
              </a:extLst>
            </p:cNvPr>
            <p:cNvCxnSpPr>
              <a:cxnSpLocks/>
            </p:cNvCxnSpPr>
            <p:nvPr/>
          </p:nvCxnSpPr>
          <p:spPr bwMode="gray">
            <a:xfrm rot="5400000">
              <a:off x="-132712" y="548123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30033443"/>
      </p:ext>
    </p:extLst>
  </p:cSld>
  <p:clrMapOvr>
    <a:masterClrMapping/>
  </p:clrMapOvr>
  <p:extLst>
    <p:ext uri="{DCECCB84-F9BA-43D5-87BE-67443E8EF086}">
      <p15:sldGuideLst xmlns:p15="http://schemas.microsoft.com/office/powerpoint/2012/main">
        <p15:guide id="1" orient="horz" pos="935" userDrawn="1">
          <p15:clr>
            <a:srgbClr val="FBAE40"/>
          </p15:clr>
        </p15:guide>
        <p15:guide id="2" pos="211" userDrawn="1">
          <p15:clr>
            <a:srgbClr val="FBAE40"/>
          </p15:clr>
        </p15:guide>
        <p15:guide id="3" pos="3840" userDrawn="1">
          <p15:clr>
            <a:srgbClr val="FBAE40"/>
          </p15:clr>
        </p15:guide>
        <p15:guide id="4" pos="3477" userDrawn="1">
          <p15:clr>
            <a:srgbClr val="FBAE40"/>
          </p15:clr>
        </p15:guide>
        <p15:guide id="5" pos="7106" userDrawn="1">
          <p15:clr>
            <a:srgbClr val="FBAE40"/>
          </p15:clr>
        </p15:guide>
        <p15:guide id="6" orient="horz" pos="3838" userDrawn="1">
          <p15:clr>
            <a:srgbClr val="FBAE40"/>
          </p15:clr>
        </p15:guide>
        <p15:guide id="7" orient="horz" pos="2205" userDrawn="1">
          <p15:clr>
            <a:srgbClr val="FBAE40"/>
          </p15:clr>
        </p15:guide>
        <p15:guide id="8" orient="horz" pos="25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2 | Magenta">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67908555-75F3-9BF0-1333-F53CAA9E1C00}"/>
              </a:ext>
            </a:extLst>
          </p:cNvPr>
          <p:cNvGraphicFramePr>
            <a:graphicFrameLocks noChangeAspect="1"/>
          </p:cNvGraphicFramePr>
          <p:nvPr userDrawn="1">
            <p:custDataLst>
              <p:tags r:id="rId1"/>
            </p:custDataLst>
            <p:extLst>
              <p:ext uri="{D42A27DB-BD31-4B8C-83A1-F6EECF244321}">
                <p14:modId xmlns:p14="http://schemas.microsoft.com/office/powerpoint/2010/main" val="3232970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3" name="Objekt 2" hidden="1">
                        <a:extLst>
                          <a:ext uri="{FF2B5EF4-FFF2-40B4-BE49-F238E27FC236}">
                            <a16:creationId xmlns:a16="http://schemas.microsoft.com/office/drawing/2014/main" id="{67908555-75F3-9BF0-1333-F53CAA9E1C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94" name="Gruppieren 593">
            <a:extLst>
              <a:ext uri="{FF2B5EF4-FFF2-40B4-BE49-F238E27FC236}">
                <a16:creationId xmlns:a16="http://schemas.microsoft.com/office/drawing/2014/main" id="{66204F3A-AF9C-2E46-4E3F-0A051CD4579D}"/>
              </a:ext>
            </a:extLst>
          </p:cNvPr>
          <p:cNvGrpSpPr/>
          <p:nvPr userDrawn="1"/>
        </p:nvGrpSpPr>
        <p:grpSpPr>
          <a:xfrm>
            <a:off x="317360" y="1484784"/>
            <a:ext cx="11539280" cy="4626512"/>
            <a:chOff x="317360" y="1484784"/>
            <a:chExt cx="11539280" cy="4626512"/>
          </a:xfrm>
        </p:grpSpPr>
        <p:sp>
          <p:nvSpPr>
            <p:cNvPr id="595" name="Rechteck 594">
              <a:extLst>
                <a:ext uri="{FF2B5EF4-FFF2-40B4-BE49-F238E27FC236}">
                  <a16:creationId xmlns:a16="http://schemas.microsoft.com/office/drawing/2014/main" id="{6218E88F-D0EE-D95E-F0B3-81F4F159A2B2}"/>
                </a:ext>
              </a:extLst>
            </p:cNvPr>
            <p:cNvSpPr/>
            <p:nvPr userDrawn="1"/>
          </p:nvSpPr>
          <p:spPr bwMode="gray">
            <a:xfrm>
              <a:off x="1126257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6" name="Rechteck 595">
              <a:extLst>
                <a:ext uri="{FF2B5EF4-FFF2-40B4-BE49-F238E27FC236}">
                  <a16:creationId xmlns:a16="http://schemas.microsoft.com/office/drawing/2014/main" id="{9B41D5F1-3E46-D504-D2B5-30E3B83AE382}"/>
                </a:ext>
              </a:extLst>
            </p:cNvPr>
            <p:cNvSpPr/>
            <p:nvPr userDrawn="1"/>
          </p:nvSpPr>
          <p:spPr bwMode="gray">
            <a:xfrm>
              <a:off x="1068651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7" name="Rechteck 596">
              <a:extLst>
                <a:ext uri="{FF2B5EF4-FFF2-40B4-BE49-F238E27FC236}">
                  <a16:creationId xmlns:a16="http://schemas.microsoft.com/office/drawing/2014/main" id="{E510ECF0-D5DD-9DE7-E858-142625E86698}"/>
                </a:ext>
              </a:extLst>
            </p:cNvPr>
            <p:cNvSpPr/>
            <p:nvPr userDrawn="1"/>
          </p:nvSpPr>
          <p:spPr bwMode="gray">
            <a:xfrm>
              <a:off x="1011044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8" name="Rechteck 597">
              <a:extLst>
                <a:ext uri="{FF2B5EF4-FFF2-40B4-BE49-F238E27FC236}">
                  <a16:creationId xmlns:a16="http://schemas.microsoft.com/office/drawing/2014/main" id="{76643C83-59B9-8C3B-FCC4-3A2EE31B9F48}"/>
                </a:ext>
              </a:extLst>
            </p:cNvPr>
            <p:cNvSpPr/>
            <p:nvPr userDrawn="1"/>
          </p:nvSpPr>
          <p:spPr bwMode="gray">
            <a:xfrm>
              <a:off x="953438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9" name="Rechteck 598">
              <a:extLst>
                <a:ext uri="{FF2B5EF4-FFF2-40B4-BE49-F238E27FC236}">
                  <a16:creationId xmlns:a16="http://schemas.microsoft.com/office/drawing/2014/main" id="{8B141F42-57C7-5221-EF51-ADF25E083014}"/>
                </a:ext>
              </a:extLst>
            </p:cNvPr>
            <p:cNvSpPr/>
            <p:nvPr userDrawn="1"/>
          </p:nvSpPr>
          <p:spPr bwMode="gray">
            <a:xfrm>
              <a:off x="895832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0" name="Rechteck 599">
              <a:extLst>
                <a:ext uri="{FF2B5EF4-FFF2-40B4-BE49-F238E27FC236}">
                  <a16:creationId xmlns:a16="http://schemas.microsoft.com/office/drawing/2014/main" id="{1DEFF5A3-1475-B127-DA6F-0C4D45448F3F}"/>
                </a:ext>
              </a:extLst>
            </p:cNvPr>
            <p:cNvSpPr/>
            <p:nvPr userDrawn="1"/>
          </p:nvSpPr>
          <p:spPr bwMode="gray">
            <a:xfrm>
              <a:off x="838225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1" name="Rechteck 600">
              <a:extLst>
                <a:ext uri="{FF2B5EF4-FFF2-40B4-BE49-F238E27FC236}">
                  <a16:creationId xmlns:a16="http://schemas.microsoft.com/office/drawing/2014/main" id="{6CE388C7-8179-4B8E-F00D-701890E0703F}"/>
                </a:ext>
              </a:extLst>
            </p:cNvPr>
            <p:cNvSpPr/>
            <p:nvPr userDrawn="1"/>
          </p:nvSpPr>
          <p:spPr bwMode="gray">
            <a:xfrm>
              <a:off x="780619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2" name="Rechteck 601">
              <a:extLst>
                <a:ext uri="{FF2B5EF4-FFF2-40B4-BE49-F238E27FC236}">
                  <a16:creationId xmlns:a16="http://schemas.microsoft.com/office/drawing/2014/main" id="{24FD6338-C6E1-D736-FCE1-A20A9502D5DA}"/>
                </a:ext>
              </a:extLst>
            </p:cNvPr>
            <p:cNvSpPr/>
            <p:nvPr userDrawn="1"/>
          </p:nvSpPr>
          <p:spPr bwMode="gray">
            <a:xfrm>
              <a:off x="723012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3" name="Rechteck 602">
              <a:extLst>
                <a:ext uri="{FF2B5EF4-FFF2-40B4-BE49-F238E27FC236}">
                  <a16:creationId xmlns:a16="http://schemas.microsoft.com/office/drawing/2014/main" id="{3A55886A-B37E-9F1E-B20E-96945DD1CEAE}"/>
                </a:ext>
              </a:extLst>
            </p:cNvPr>
            <p:cNvSpPr/>
            <p:nvPr userDrawn="1"/>
          </p:nvSpPr>
          <p:spPr bwMode="gray">
            <a:xfrm>
              <a:off x="665406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4" name="Rechteck 603">
              <a:extLst>
                <a:ext uri="{FF2B5EF4-FFF2-40B4-BE49-F238E27FC236}">
                  <a16:creationId xmlns:a16="http://schemas.microsoft.com/office/drawing/2014/main" id="{EF85E5E4-DB30-5BA3-973D-B7255551DA70}"/>
                </a:ext>
              </a:extLst>
            </p:cNvPr>
            <p:cNvSpPr/>
            <p:nvPr userDrawn="1"/>
          </p:nvSpPr>
          <p:spPr bwMode="gray">
            <a:xfrm>
              <a:off x="607800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5" name="Rechteck 604">
              <a:extLst>
                <a:ext uri="{FF2B5EF4-FFF2-40B4-BE49-F238E27FC236}">
                  <a16:creationId xmlns:a16="http://schemas.microsoft.com/office/drawing/2014/main" id="{F04AFF1A-4A6D-898E-911D-0362B124A512}"/>
                </a:ext>
              </a:extLst>
            </p:cNvPr>
            <p:cNvSpPr/>
            <p:nvPr userDrawn="1"/>
          </p:nvSpPr>
          <p:spPr bwMode="gray">
            <a:xfrm>
              <a:off x="550193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6" name="Rechteck 605">
              <a:extLst>
                <a:ext uri="{FF2B5EF4-FFF2-40B4-BE49-F238E27FC236}">
                  <a16:creationId xmlns:a16="http://schemas.microsoft.com/office/drawing/2014/main" id="{6535A860-F12D-44C9-9A00-DE9AFAF91DD1}"/>
                </a:ext>
              </a:extLst>
            </p:cNvPr>
            <p:cNvSpPr/>
            <p:nvPr userDrawn="1"/>
          </p:nvSpPr>
          <p:spPr bwMode="gray">
            <a:xfrm>
              <a:off x="492587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7" name="Rechteck 606">
              <a:extLst>
                <a:ext uri="{FF2B5EF4-FFF2-40B4-BE49-F238E27FC236}">
                  <a16:creationId xmlns:a16="http://schemas.microsoft.com/office/drawing/2014/main" id="{49D924D4-5852-6404-D6FA-33993D75C223}"/>
                </a:ext>
              </a:extLst>
            </p:cNvPr>
            <p:cNvSpPr/>
            <p:nvPr userDrawn="1"/>
          </p:nvSpPr>
          <p:spPr bwMode="gray">
            <a:xfrm>
              <a:off x="434980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8" name="Rechteck 607">
              <a:extLst>
                <a:ext uri="{FF2B5EF4-FFF2-40B4-BE49-F238E27FC236}">
                  <a16:creationId xmlns:a16="http://schemas.microsoft.com/office/drawing/2014/main" id="{F5771CD8-8130-B306-F69B-A0A9AEBCFDB0}"/>
                </a:ext>
              </a:extLst>
            </p:cNvPr>
            <p:cNvSpPr/>
            <p:nvPr userDrawn="1"/>
          </p:nvSpPr>
          <p:spPr bwMode="gray">
            <a:xfrm>
              <a:off x="377374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9" name="Rechteck 608">
              <a:extLst>
                <a:ext uri="{FF2B5EF4-FFF2-40B4-BE49-F238E27FC236}">
                  <a16:creationId xmlns:a16="http://schemas.microsoft.com/office/drawing/2014/main" id="{73D616F2-3B3C-D5B5-AEE0-3A7963AEFE66}"/>
                </a:ext>
              </a:extLst>
            </p:cNvPr>
            <p:cNvSpPr/>
            <p:nvPr userDrawn="1"/>
          </p:nvSpPr>
          <p:spPr bwMode="gray">
            <a:xfrm>
              <a:off x="319768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0" name="Rechteck 609">
              <a:extLst>
                <a:ext uri="{FF2B5EF4-FFF2-40B4-BE49-F238E27FC236}">
                  <a16:creationId xmlns:a16="http://schemas.microsoft.com/office/drawing/2014/main" id="{0CBFAFC4-785F-4E67-F063-95539C589296}"/>
                </a:ext>
              </a:extLst>
            </p:cNvPr>
            <p:cNvSpPr/>
            <p:nvPr userDrawn="1"/>
          </p:nvSpPr>
          <p:spPr bwMode="gray">
            <a:xfrm>
              <a:off x="262161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1" name="Rechteck 610">
              <a:extLst>
                <a:ext uri="{FF2B5EF4-FFF2-40B4-BE49-F238E27FC236}">
                  <a16:creationId xmlns:a16="http://schemas.microsoft.com/office/drawing/2014/main" id="{524E0A52-FA88-44E7-BA66-9A6DF2CA2C3B}"/>
                </a:ext>
              </a:extLst>
            </p:cNvPr>
            <p:cNvSpPr/>
            <p:nvPr userDrawn="1"/>
          </p:nvSpPr>
          <p:spPr bwMode="gray">
            <a:xfrm>
              <a:off x="204555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2" name="Rechteck 611">
              <a:extLst>
                <a:ext uri="{FF2B5EF4-FFF2-40B4-BE49-F238E27FC236}">
                  <a16:creationId xmlns:a16="http://schemas.microsoft.com/office/drawing/2014/main" id="{512A08F3-2BC7-12C9-2B8E-79A6485BA4D9}"/>
                </a:ext>
              </a:extLst>
            </p:cNvPr>
            <p:cNvSpPr/>
            <p:nvPr userDrawn="1"/>
          </p:nvSpPr>
          <p:spPr bwMode="gray">
            <a:xfrm>
              <a:off x="146948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3" name="Rechteck 612">
              <a:extLst>
                <a:ext uri="{FF2B5EF4-FFF2-40B4-BE49-F238E27FC236}">
                  <a16:creationId xmlns:a16="http://schemas.microsoft.com/office/drawing/2014/main" id="{BBD72BDC-5A6A-FE5F-68FB-82FF91307A6D}"/>
                </a:ext>
              </a:extLst>
            </p:cNvPr>
            <p:cNvSpPr/>
            <p:nvPr userDrawn="1"/>
          </p:nvSpPr>
          <p:spPr bwMode="gray">
            <a:xfrm>
              <a:off x="89342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4" name="Rechteck 613">
              <a:extLst>
                <a:ext uri="{FF2B5EF4-FFF2-40B4-BE49-F238E27FC236}">
                  <a16:creationId xmlns:a16="http://schemas.microsoft.com/office/drawing/2014/main" id="{CA43E786-68D7-6A0C-AF79-DDD422E5A373}"/>
                </a:ext>
              </a:extLst>
            </p:cNvPr>
            <p:cNvSpPr/>
            <p:nvPr userDrawn="1"/>
          </p:nvSpPr>
          <p:spPr bwMode="gray">
            <a:xfrm>
              <a:off x="31736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5" name="Rechteck 614">
              <a:extLst>
                <a:ext uri="{FF2B5EF4-FFF2-40B4-BE49-F238E27FC236}">
                  <a16:creationId xmlns:a16="http://schemas.microsoft.com/office/drawing/2014/main" id="{68F8747A-E2C9-8AF1-D569-29F89A260AC3}"/>
                </a:ext>
              </a:extLst>
            </p:cNvPr>
            <p:cNvSpPr/>
            <p:nvPr userDrawn="1"/>
          </p:nvSpPr>
          <p:spPr bwMode="gray">
            <a:xfrm>
              <a:off x="1126257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6" name="Rechteck 615">
              <a:extLst>
                <a:ext uri="{FF2B5EF4-FFF2-40B4-BE49-F238E27FC236}">
                  <a16:creationId xmlns:a16="http://schemas.microsoft.com/office/drawing/2014/main" id="{96620660-CE41-91EB-9531-A2EDAEF1043F}"/>
                </a:ext>
              </a:extLst>
            </p:cNvPr>
            <p:cNvSpPr/>
            <p:nvPr userDrawn="1"/>
          </p:nvSpPr>
          <p:spPr bwMode="gray">
            <a:xfrm>
              <a:off x="1068651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7" name="Rechteck 616">
              <a:extLst>
                <a:ext uri="{FF2B5EF4-FFF2-40B4-BE49-F238E27FC236}">
                  <a16:creationId xmlns:a16="http://schemas.microsoft.com/office/drawing/2014/main" id="{775F3A65-0077-5259-7DA3-D7691324F7B8}"/>
                </a:ext>
              </a:extLst>
            </p:cNvPr>
            <p:cNvSpPr/>
            <p:nvPr userDrawn="1"/>
          </p:nvSpPr>
          <p:spPr bwMode="gray">
            <a:xfrm>
              <a:off x="1011044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8" name="Rechteck 617">
              <a:extLst>
                <a:ext uri="{FF2B5EF4-FFF2-40B4-BE49-F238E27FC236}">
                  <a16:creationId xmlns:a16="http://schemas.microsoft.com/office/drawing/2014/main" id="{AC113CD5-C83A-1471-6146-7C02F0298BA7}"/>
                </a:ext>
              </a:extLst>
            </p:cNvPr>
            <p:cNvSpPr/>
            <p:nvPr userDrawn="1"/>
          </p:nvSpPr>
          <p:spPr bwMode="gray">
            <a:xfrm>
              <a:off x="953438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9" name="Rechteck 618">
              <a:extLst>
                <a:ext uri="{FF2B5EF4-FFF2-40B4-BE49-F238E27FC236}">
                  <a16:creationId xmlns:a16="http://schemas.microsoft.com/office/drawing/2014/main" id="{AF8B8018-B77D-E597-85E9-6161BFAB7F86}"/>
                </a:ext>
              </a:extLst>
            </p:cNvPr>
            <p:cNvSpPr/>
            <p:nvPr userDrawn="1"/>
          </p:nvSpPr>
          <p:spPr bwMode="gray">
            <a:xfrm>
              <a:off x="895832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0" name="Rechteck 619">
              <a:extLst>
                <a:ext uri="{FF2B5EF4-FFF2-40B4-BE49-F238E27FC236}">
                  <a16:creationId xmlns:a16="http://schemas.microsoft.com/office/drawing/2014/main" id="{143593D2-62FF-B2BE-EB24-D985ACFA8213}"/>
                </a:ext>
              </a:extLst>
            </p:cNvPr>
            <p:cNvSpPr/>
            <p:nvPr userDrawn="1"/>
          </p:nvSpPr>
          <p:spPr bwMode="gray">
            <a:xfrm>
              <a:off x="838225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1" name="Rechteck 620">
              <a:extLst>
                <a:ext uri="{FF2B5EF4-FFF2-40B4-BE49-F238E27FC236}">
                  <a16:creationId xmlns:a16="http://schemas.microsoft.com/office/drawing/2014/main" id="{F014D819-5252-FE19-ECEC-2F6450081FB6}"/>
                </a:ext>
              </a:extLst>
            </p:cNvPr>
            <p:cNvSpPr/>
            <p:nvPr userDrawn="1"/>
          </p:nvSpPr>
          <p:spPr bwMode="gray">
            <a:xfrm>
              <a:off x="780619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2" name="Rechteck 621">
              <a:extLst>
                <a:ext uri="{FF2B5EF4-FFF2-40B4-BE49-F238E27FC236}">
                  <a16:creationId xmlns:a16="http://schemas.microsoft.com/office/drawing/2014/main" id="{AEB9E248-D410-9D17-9A37-394660C6D8B6}"/>
                </a:ext>
              </a:extLst>
            </p:cNvPr>
            <p:cNvSpPr/>
            <p:nvPr userDrawn="1"/>
          </p:nvSpPr>
          <p:spPr bwMode="gray">
            <a:xfrm>
              <a:off x="723012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3" name="Rechteck 622">
              <a:extLst>
                <a:ext uri="{FF2B5EF4-FFF2-40B4-BE49-F238E27FC236}">
                  <a16:creationId xmlns:a16="http://schemas.microsoft.com/office/drawing/2014/main" id="{14AE7389-24B8-BF5B-793A-C7527881BE54}"/>
                </a:ext>
              </a:extLst>
            </p:cNvPr>
            <p:cNvSpPr/>
            <p:nvPr userDrawn="1"/>
          </p:nvSpPr>
          <p:spPr bwMode="gray">
            <a:xfrm>
              <a:off x="665406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4" name="Rechteck 623">
              <a:extLst>
                <a:ext uri="{FF2B5EF4-FFF2-40B4-BE49-F238E27FC236}">
                  <a16:creationId xmlns:a16="http://schemas.microsoft.com/office/drawing/2014/main" id="{C039719F-0EFC-0DB1-F2CD-3031437D41D1}"/>
                </a:ext>
              </a:extLst>
            </p:cNvPr>
            <p:cNvSpPr/>
            <p:nvPr userDrawn="1"/>
          </p:nvSpPr>
          <p:spPr bwMode="gray">
            <a:xfrm>
              <a:off x="607800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5" name="Rechteck 624">
              <a:extLst>
                <a:ext uri="{FF2B5EF4-FFF2-40B4-BE49-F238E27FC236}">
                  <a16:creationId xmlns:a16="http://schemas.microsoft.com/office/drawing/2014/main" id="{4E7173AE-FD66-3C62-1F82-EB4C97495238}"/>
                </a:ext>
              </a:extLst>
            </p:cNvPr>
            <p:cNvSpPr/>
            <p:nvPr userDrawn="1"/>
          </p:nvSpPr>
          <p:spPr bwMode="gray">
            <a:xfrm>
              <a:off x="550193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6" name="Rechteck 625">
              <a:extLst>
                <a:ext uri="{FF2B5EF4-FFF2-40B4-BE49-F238E27FC236}">
                  <a16:creationId xmlns:a16="http://schemas.microsoft.com/office/drawing/2014/main" id="{634B32A0-8ADC-2F0B-E1B7-D8F52AFBB416}"/>
                </a:ext>
              </a:extLst>
            </p:cNvPr>
            <p:cNvSpPr/>
            <p:nvPr userDrawn="1"/>
          </p:nvSpPr>
          <p:spPr bwMode="gray">
            <a:xfrm>
              <a:off x="492587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7" name="Rechteck 626">
              <a:extLst>
                <a:ext uri="{FF2B5EF4-FFF2-40B4-BE49-F238E27FC236}">
                  <a16:creationId xmlns:a16="http://schemas.microsoft.com/office/drawing/2014/main" id="{AEEE8B67-01CA-3050-FAFD-6D9673356F30}"/>
                </a:ext>
              </a:extLst>
            </p:cNvPr>
            <p:cNvSpPr/>
            <p:nvPr userDrawn="1"/>
          </p:nvSpPr>
          <p:spPr bwMode="gray">
            <a:xfrm>
              <a:off x="434980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8" name="Rechteck 627">
              <a:extLst>
                <a:ext uri="{FF2B5EF4-FFF2-40B4-BE49-F238E27FC236}">
                  <a16:creationId xmlns:a16="http://schemas.microsoft.com/office/drawing/2014/main" id="{1681D767-1832-23AD-0493-5455D5180DDD}"/>
                </a:ext>
              </a:extLst>
            </p:cNvPr>
            <p:cNvSpPr/>
            <p:nvPr userDrawn="1"/>
          </p:nvSpPr>
          <p:spPr bwMode="gray">
            <a:xfrm>
              <a:off x="377374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9" name="Rechteck 628">
              <a:extLst>
                <a:ext uri="{FF2B5EF4-FFF2-40B4-BE49-F238E27FC236}">
                  <a16:creationId xmlns:a16="http://schemas.microsoft.com/office/drawing/2014/main" id="{F8648B16-29EA-9672-33B0-8542392729FC}"/>
                </a:ext>
              </a:extLst>
            </p:cNvPr>
            <p:cNvSpPr/>
            <p:nvPr userDrawn="1"/>
          </p:nvSpPr>
          <p:spPr bwMode="gray">
            <a:xfrm>
              <a:off x="319768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0" name="Rechteck 629">
              <a:extLst>
                <a:ext uri="{FF2B5EF4-FFF2-40B4-BE49-F238E27FC236}">
                  <a16:creationId xmlns:a16="http://schemas.microsoft.com/office/drawing/2014/main" id="{0FBCD874-C5DD-0D4A-143C-4CA5CA6E79DC}"/>
                </a:ext>
              </a:extLst>
            </p:cNvPr>
            <p:cNvSpPr/>
            <p:nvPr userDrawn="1"/>
          </p:nvSpPr>
          <p:spPr bwMode="gray">
            <a:xfrm>
              <a:off x="262161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1" name="Rechteck 630">
              <a:extLst>
                <a:ext uri="{FF2B5EF4-FFF2-40B4-BE49-F238E27FC236}">
                  <a16:creationId xmlns:a16="http://schemas.microsoft.com/office/drawing/2014/main" id="{50E5D84D-831E-94A2-834E-0F5445908D50}"/>
                </a:ext>
              </a:extLst>
            </p:cNvPr>
            <p:cNvSpPr/>
            <p:nvPr userDrawn="1"/>
          </p:nvSpPr>
          <p:spPr bwMode="gray">
            <a:xfrm>
              <a:off x="204555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2" name="Rechteck 631">
              <a:extLst>
                <a:ext uri="{FF2B5EF4-FFF2-40B4-BE49-F238E27FC236}">
                  <a16:creationId xmlns:a16="http://schemas.microsoft.com/office/drawing/2014/main" id="{F1CFD29F-D728-9FC8-E153-A7FBA9AD72A9}"/>
                </a:ext>
              </a:extLst>
            </p:cNvPr>
            <p:cNvSpPr/>
            <p:nvPr userDrawn="1"/>
          </p:nvSpPr>
          <p:spPr bwMode="gray">
            <a:xfrm>
              <a:off x="146948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3" name="Rechteck 632">
              <a:extLst>
                <a:ext uri="{FF2B5EF4-FFF2-40B4-BE49-F238E27FC236}">
                  <a16:creationId xmlns:a16="http://schemas.microsoft.com/office/drawing/2014/main" id="{B7CF23A3-0306-21A8-F8CB-410A5627AB08}"/>
                </a:ext>
              </a:extLst>
            </p:cNvPr>
            <p:cNvSpPr/>
            <p:nvPr userDrawn="1"/>
          </p:nvSpPr>
          <p:spPr bwMode="gray">
            <a:xfrm>
              <a:off x="89342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4" name="Rechteck 633">
              <a:extLst>
                <a:ext uri="{FF2B5EF4-FFF2-40B4-BE49-F238E27FC236}">
                  <a16:creationId xmlns:a16="http://schemas.microsoft.com/office/drawing/2014/main" id="{3EAFAC57-8DF3-983C-BC63-8FEBCF842C5E}"/>
                </a:ext>
              </a:extLst>
            </p:cNvPr>
            <p:cNvSpPr/>
            <p:nvPr userDrawn="1"/>
          </p:nvSpPr>
          <p:spPr bwMode="gray">
            <a:xfrm>
              <a:off x="31736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5" name="Rechteck 634">
              <a:extLst>
                <a:ext uri="{FF2B5EF4-FFF2-40B4-BE49-F238E27FC236}">
                  <a16:creationId xmlns:a16="http://schemas.microsoft.com/office/drawing/2014/main" id="{21E7D8E8-182E-09F5-C005-22F47F3F2596}"/>
                </a:ext>
              </a:extLst>
            </p:cNvPr>
            <p:cNvSpPr/>
            <p:nvPr userDrawn="1"/>
          </p:nvSpPr>
          <p:spPr bwMode="gray">
            <a:xfrm>
              <a:off x="1126257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6" name="Rechteck 635">
              <a:extLst>
                <a:ext uri="{FF2B5EF4-FFF2-40B4-BE49-F238E27FC236}">
                  <a16:creationId xmlns:a16="http://schemas.microsoft.com/office/drawing/2014/main" id="{FC6B1CDB-3D8F-C64C-E641-55CBA84D8A81}"/>
                </a:ext>
              </a:extLst>
            </p:cNvPr>
            <p:cNvSpPr/>
            <p:nvPr userDrawn="1"/>
          </p:nvSpPr>
          <p:spPr bwMode="gray">
            <a:xfrm>
              <a:off x="1068651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7" name="Rechteck 636">
              <a:extLst>
                <a:ext uri="{FF2B5EF4-FFF2-40B4-BE49-F238E27FC236}">
                  <a16:creationId xmlns:a16="http://schemas.microsoft.com/office/drawing/2014/main" id="{C9F444F2-9513-794E-48A4-F59AE8433664}"/>
                </a:ext>
              </a:extLst>
            </p:cNvPr>
            <p:cNvSpPr/>
            <p:nvPr userDrawn="1"/>
          </p:nvSpPr>
          <p:spPr bwMode="gray">
            <a:xfrm>
              <a:off x="1011044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8" name="Rechteck 637">
              <a:extLst>
                <a:ext uri="{FF2B5EF4-FFF2-40B4-BE49-F238E27FC236}">
                  <a16:creationId xmlns:a16="http://schemas.microsoft.com/office/drawing/2014/main" id="{8028C187-331A-092D-E0D1-56653B4A508C}"/>
                </a:ext>
              </a:extLst>
            </p:cNvPr>
            <p:cNvSpPr/>
            <p:nvPr userDrawn="1"/>
          </p:nvSpPr>
          <p:spPr bwMode="gray">
            <a:xfrm>
              <a:off x="953438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9" name="Rechteck 638">
              <a:extLst>
                <a:ext uri="{FF2B5EF4-FFF2-40B4-BE49-F238E27FC236}">
                  <a16:creationId xmlns:a16="http://schemas.microsoft.com/office/drawing/2014/main" id="{10BFC3D1-8F4B-F93D-51B4-3DAB22DF4DDA}"/>
                </a:ext>
              </a:extLst>
            </p:cNvPr>
            <p:cNvSpPr/>
            <p:nvPr userDrawn="1"/>
          </p:nvSpPr>
          <p:spPr bwMode="gray">
            <a:xfrm>
              <a:off x="895832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0" name="Rechteck 639">
              <a:extLst>
                <a:ext uri="{FF2B5EF4-FFF2-40B4-BE49-F238E27FC236}">
                  <a16:creationId xmlns:a16="http://schemas.microsoft.com/office/drawing/2014/main" id="{0CCD70AE-BAD9-9DC4-1D9F-330C76A474F7}"/>
                </a:ext>
              </a:extLst>
            </p:cNvPr>
            <p:cNvSpPr/>
            <p:nvPr userDrawn="1"/>
          </p:nvSpPr>
          <p:spPr bwMode="gray">
            <a:xfrm>
              <a:off x="838225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1" name="Rechteck 640">
              <a:extLst>
                <a:ext uri="{FF2B5EF4-FFF2-40B4-BE49-F238E27FC236}">
                  <a16:creationId xmlns:a16="http://schemas.microsoft.com/office/drawing/2014/main" id="{F820A500-785E-6ED0-E8C3-5C48AB9AF6C3}"/>
                </a:ext>
              </a:extLst>
            </p:cNvPr>
            <p:cNvSpPr/>
            <p:nvPr userDrawn="1"/>
          </p:nvSpPr>
          <p:spPr bwMode="gray">
            <a:xfrm>
              <a:off x="780619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2" name="Rechteck 641">
              <a:extLst>
                <a:ext uri="{FF2B5EF4-FFF2-40B4-BE49-F238E27FC236}">
                  <a16:creationId xmlns:a16="http://schemas.microsoft.com/office/drawing/2014/main" id="{47B94C46-A038-3668-9335-84DE5191873C}"/>
                </a:ext>
              </a:extLst>
            </p:cNvPr>
            <p:cNvSpPr/>
            <p:nvPr userDrawn="1"/>
          </p:nvSpPr>
          <p:spPr bwMode="gray">
            <a:xfrm>
              <a:off x="723012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3" name="Rechteck 642">
              <a:extLst>
                <a:ext uri="{FF2B5EF4-FFF2-40B4-BE49-F238E27FC236}">
                  <a16:creationId xmlns:a16="http://schemas.microsoft.com/office/drawing/2014/main" id="{64C3B57E-CD93-B142-2CD4-15BE5108CBE8}"/>
                </a:ext>
              </a:extLst>
            </p:cNvPr>
            <p:cNvSpPr/>
            <p:nvPr userDrawn="1"/>
          </p:nvSpPr>
          <p:spPr bwMode="gray">
            <a:xfrm>
              <a:off x="665406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4" name="Rechteck 643">
              <a:extLst>
                <a:ext uri="{FF2B5EF4-FFF2-40B4-BE49-F238E27FC236}">
                  <a16:creationId xmlns:a16="http://schemas.microsoft.com/office/drawing/2014/main" id="{24A5F97E-3BC1-3757-B901-C1D3980C633C}"/>
                </a:ext>
              </a:extLst>
            </p:cNvPr>
            <p:cNvSpPr/>
            <p:nvPr userDrawn="1"/>
          </p:nvSpPr>
          <p:spPr bwMode="gray">
            <a:xfrm>
              <a:off x="607800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5" name="Rechteck 644">
              <a:extLst>
                <a:ext uri="{FF2B5EF4-FFF2-40B4-BE49-F238E27FC236}">
                  <a16:creationId xmlns:a16="http://schemas.microsoft.com/office/drawing/2014/main" id="{3D026771-C97B-DCE3-11DF-1802F01DF024}"/>
                </a:ext>
              </a:extLst>
            </p:cNvPr>
            <p:cNvSpPr/>
            <p:nvPr userDrawn="1"/>
          </p:nvSpPr>
          <p:spPr bwMode="gray">
            <a:xfrm>
              <a:off x="550193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6" name="Rechteck 645">
              <a:extLst>
                <a:ext uri="{FF2B5EF4-FFF2-40B4-BE49-F238E27FC236}">
                  <a16:creationId xmlns:a16="http://schemas.microsoft.com/office/drawing/2014/main" id="{1072A7ED-FBFF-01F7-2F30-59EE0DFDC7F7}"/>
                </a:ext>
              </a:extLst>
            </p:cNvPr>
            <p:cNvSpPr/>
            <p:nvPr userDrawn="1"/>
          </p:nvSpPr>
          <p:spPr bwMode="gray">
            <a:xfrm>
              <a:off x="492587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7" name="Rechteck 646">
              <a:extLst>
                <a:ext uri="{FF2B5EF4-FFF2-40B4-BE49-F238E27FC236}">
                  <a16:creationId xmlns:a16="http://schemas.microsoft.com/office/drawing/2014/main" id="{516AFFB5-3194-5ECB-FFF7-EED875EB6772}"/>
                </a:ext>
              </a:extLst>
            </p:cNvPr>
            <p:cNvSpPr/>
            <p:nvPr userDrawn="1"/>
          </p:nvSpPr>
          <p:spPr bwMode="gray">
            <a:xfrm>
              <a:off x="434980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8" name="Rechteck 647">
              <a:extLst>
                <a:ext uri="{FF2B5EF4-FFF2-40B4-BE49-F238E27FC236}">
                  <a16:creationId xmlns:a16="http://schemas.microsoft.com/office/drawing/2014/main" id="{0084F36A-5A92-2805-02D7-E2D5BA219AE7}"/>
                </a:ext>
              </a:extLst>
            </p:cNvPr>
            <p:cNvSpPr/>
            <p:nvPr userDrawn="1"/>
          </p:nvSpPr>
          <p:spPr bwMode="gray">
            <a:xfrm>
              <a:off x="377374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9" name="Rechteck 648">
              <a:extLst>
                <a:ext uri="{FF2B5EF4-FFF2-40B4-BE49-F238E27FC236}">
                  <a16:creationId xmlns:a16="http://schemas.microsoft.com/office/drawing/2014/main" id="{D0C454F7-A873-82F9-5DBD-673024C2E6C8}"/>
                </a:ext>
              </a:extLst>
            </p:cNvPr>
            <p:cNvSpPr/>
            <p:nvPr userDrawn="1"/>
          </p:nvSpPr>
          <p:spPr bwMode="gray">
            <a:xfrm>
              <a:off x="319768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0" name="Rechteck 649">
              <a:extLst>
                <a:ext uri="{FF2B5EF4-FFF2-40B4-BE49-F238E27FC236}">
                  <a16:creationId xmlns:a16="http://schemas.microsoft.com/office/drawing/2014/main" id="{7EF5134B-34DD-216A-8C12-04B205BDD8D2}"/>
                </a:ext>
              </a:extLst>
            </p:cNvPr>
            <p:cNvSpPr/>
            <p:nvPr userDrawn="1"/>
          </p:nvSpPr>
          <p:spPr bwMode="gray">
            <a:xfrm>
              <a:off x="262161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1" name="Rechteck 650">
              <a:extLst>
                <a:ext uri="{FF2B5EF4-FFF2-40B4-BE49-F238E27FC236}">
                  <a16:creationId xmlns:a16="http://schemas.microsoft.com/office/drawing/2014/main" id="{8832717B-8F33-22EA-208E-59B18BEF992C}"/>
                </a:ext>
              </a:extLst>
            </p:cNvPr>
            <p:cNvSpPr/>
            <p:nvPr userDrawn="1"/>
          </p:nvSpPr>
          <p:spPr bwMode="gray">
            <a:xfrm>
              <a:off x="204555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2" name="Rechteck 651">
              <a:extLst>
                <a:ext uri="{FF2B5EF4-FFF2-40B4-BE49-F238E27FC236}">
                  <a16:creationId xmlns:a16="http://schemas.microsoft.com/office/drawing/2014/main" id="{CD8A33A0-A45F-7846-753C-B839ED5E3F8C}"/>
                </a:ext>
              </a:extLst>
            </p:cNvPr>
            <p:cNvSpPr/>
            <p:nvPr userDrawn="1"/>
          </p:nvSpPr>
          <p:spPr bwMode="gray">
            <a:xfrm>
              <a:off x="146948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3" name="Rechteck 652">
              <a:extLst>
                <a:ext uri="{FF2B5EF4-FFF2-40B4-BE49-F238E27FC236}">
                  <a16:creationId xmlns:a16="http://schemas.microsoft.com/office/drawing/2014/main" id="{B74502CD-F36C-7CBF-FFD5-E7BADB633A8A}"/>
                </a:ext>
              </a:extLst>
            </p:cNvPr>
            <p:cNvSpPr/>
            <p:nvPr userDrawn="1"/>
          </p:nvSpPr>
          <p:spPr bwMode="gray">
            <a:xfrm>
              <a:off x="89342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4" name="Rechteck 653">
              <a:extLst>
                <a:ext uri="{FF2B5EF4-FFF2-40B4-BE49-F238E27FC236}">
                  <a16:creationId xmlns:a16="http://schemas.microsoft.com/office/drawing/2014/main" id="{F3BE3EAF-6862-C480-3FD9-AFBDBEE1905D}"/>
                </a:ext>
              </a:extLst>
            </p:cNvPr>
            <p:cNvSpPr/>
            <p:nvPr userDrawn="1"/>
          </p:nvSpPr>
          <p:spPr bwMode="gray">
            <a:xfrm>
              <a:off x="31736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5" name="Rechteck 654">
              <a:extLst>
                <a:ext uri="{FF2B5EF4-FFF2-40B4-BE49-F238E27FC236}">
                  <a16:creationId xmlns:a16="http://schemas.microsoft.com/office/drawing/2014/main" id="{4ABBCFAD-154C-A68E-9887-AB9CBA6B5E5A}"/>
                </a:ext>
              </a:extLst>
            </p:cNvPr>
            <p:cNvSpPr/>
            <p:nvPr userDrawn="1"/>
          </p:nvSpPr>
          <p:spPr bwMode="gray">
            <a:xfrm>
              <a:off x="1126257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6" name="Rechteck 655">
              <a:extLst>
                <a:ext uri="{FF2B5EF4-FFF2-40B4-BE49-F238E27FC236}">
                  <a16:creationId xmlns:a16="http://schemas.microsoft.com/office/drawing/2014/main" id="{691465D2-E980-E058-162E-C56E30B7D4CC}"/>
                </a:ext>
              </a:extLst>
            </p:cNvPr>
            <p:cNvSpPr/>
            <p:nvPr userDrawn="1"/>
          </p:nvSpPr>
          <p:spPr bwMode="gray">
            <a:xfrm>
              <a:off x="1068651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7" name="Rechteck 656">
              <a:extLst>
                <a:ext uri="{FF2B5EF4-FFF2-40B4-BE49-F238E27FC236}">
                  <a16:creationId xmlns:a16="http://schemas.microsoft.com/office/drawing/2014/main" id="{43DC1573-D8B0-B99A-2EE5-B9FF7448FB6F}"/>
                </a:ext>
              </a:extLst>
            </p:cNvPr>
            <p:cNvSpPr/>
            <p:nvPr userDrawn="1"/>
          </p:nvSpPr>
          <p:spPr bwMode="gray">
            <a:xfrm>
              <a:off x="1011044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8" name="Rechteck 657">
              <a:extLst>
                <a:ext uri="{FF2B5EF4-FFF2-40B4-BE49-F238E27FC236}">
                  <a16:creationId xmlns:a16="http://schemas.microsoft.com/office/drawing/2014/main" id="{543C0F17-DFC7-3354-EB02-DB558A5F3E9D}"/>
                </a:ext>
              </a:extLst>
            </p:cNvPr>
            <p:cNvSpPr/>
            <p:nvPr userDrawn="1"/>
          </p:nvSpPr>
          <p:spPr bwMode="gray">
            <a:xfrm>
              <a:off x="953438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9" name="Rechteck 658">
              <a:extLst>
                <a:ext uri="{FF2B5EF4-FFF2-40B4-BE49-F238E27FC236}">
                  <a16:creationId xmlns:a16="http://schemas.microsoft.com/office/drawing/2014/main" id="{30ADB097-AD62-DE77-D42B-07C97A852C86}"/>
                </a:ext>
              </a:extLst>
            </p:cNvPr>
            <p:cNvSpPr/>
            <p:nvPr userDrawn="1"/>
          </p:nvSpPr>
          <p:spPr bwMode="gray">
            <a:xfrm>
              <a:off x="895832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0" name="Rechteck 659">
              <a:extLst>
                <a:ext uri="{FF2B5EF4-FFF2-40B4-BE49-F238E27FC236}">
                  <a16:creationId xmlns:a16="http://schemas.microsoft.com/office/drawing/2014/main" id="{1DA1D2EB-CFD9-FC83-09B0-0F778044B395}"/>
                </a:ext>
              </a:extLst>
            </p:cNvPr>
            <p:cNvSpPr/>
            <p:nvPr userDrawn="1"/>
          </p:nvSpPr>
          <p:spPr bwMode="gray">
            <a:xfrm>
              <a:off x="838225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1" name="Rechteck 660">
              <a:extLst>
                <a:ext uri="{FF2B5EF4-FFF2-40B4-BE49-F238E27FC236}">
                  <a16:creationId xmlns:a16="http://schemas.microsoft.com/office/drawing/2014/main" id="{58D5D400-3AD1-E5E3-EF36-FBC6565FF3BD}"/>
                </a:ext>
              </a:extLst>
            </p:cNvPr>
            <p:cNvSpPr/>
            <p:nvPr userDrawn="1"/>
          </p:nvSpPr>
          <p:spPr bwMode="gray">
            <a:xfrm>
              <a:off x="780619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2" name="Rechteck 661">
              <a:extLst>
                <a:ext uri="{FF2B5EF4-FFF2-40B4-BE49-F238E27FC236}">
                  <a16:creationId xmlns:a16="http://schemas.microsoft.com/office/drawing/2014/main" id="{C1BFE8BE-F57A-5C61-A3C3-AE7A7182CB47}"/>
                </a:ext>
              </a:extLst>
            </p:cNvPr>
            <p:cNvSpPr/>
            <p:nvPr userDrawn="1"/>
          </p:nvSpPr>
          <p:spPr bwMode="gray">
            <a:xfrm>
              <a:off x="723012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3" name="Rechteck 662">
              <a:extLst>
                <a:ext uri="{FF2B5EF4-FFF2-40B4-BE49-F238E27FC236}">
                  <a16:creationId xmlns:a16="http://schemas.microsoft.com/office/drawing/2014/main" id="{71B5D7A7-2CD5-51C1-8EE7-61AE4866B1D8}"/>
                </a:ext>
              </a:extLst>
            </p:cNvPr>
            <p:cNvSpPr/>
            <p:nvPr userDrawn="1"/>
          </p:nvSpPr>
          <p:spPr bwMode="gray">
            <a:xfrm>
              <a:off x="665406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4" name="Rechteck 663">
              <a:extLst>
                <a:ext uri="{FF2B5EF4-FFF2-40B4-BE49-F238E27FC236}">
                  <a16:creationId xmlns:a16="http://schemas.microsoft.com/office/drawing/2014/main" id="{5E1C6DF0-F0CA-49D0-14E0-0EC1886DCAFF}"/>
                </a:ext>
              </a:extLst>
            </p:cNvPr>
            <p:cNvSpPr/>
            <p:nvPr userDrawn="1"/>
          </p:nvSpPr>
          <p:spPr bwMode="gray">
            <a:xfrm>
              <a:off x="607800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5" name="Rechteck 664">
              <a:extLst>
                <a:ext uri="{FF2B5EF4-FFF2-40B4-BE49-F238E27FC236}">
                  <a16:creationId xmlns:a16="http://schemas.microsoft.com/office/drawing/2014/main" id="{B5862E2D-0ED6-0C1F-A042-14937EAB4E7B}"/>
                </a:ext>
              </a:extLst>
            </p:cNvPr>
            <p:cNvSpPr/>
            <p:nvPr userDrawn="1"/>
          </p:nvSpPr>
          <p:spPr bwMode="gray">
            <a:xfrm>
              <a:off x="550193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6" name="Rechteck 665">
              <a:extLst>
                <a:ext uri="{FF2B5EF4-FFF2-40B4-BE49-F238E27FC236}">
                  <a16:creationId xmlns:a16="http://schemas.microsoft.com/office/drawing/2014/main" id="{72657C26-593E-441F-F1D8-8C5FBFCF89C1}"/>
                </a:ext>
              </a:extLst>
            </p:cNvPr>
            <p:cNvSpPr/>
            <p:nvPr userDrawn="1"/>
          </p:nvSpPr>
          <p:spPr bwMode="gray">
            <a:xfrm>
              <a:off x="492587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7" name="Rechteck 666">
              <a:extLst>
                <a:ext uri="{FF2B5EF4-FFF2-40B4-BE49-F238E27FC236}">
                  <a16:creationId xmlns:a16="http://schemas.microsoft.com/office/drawing/2014/main" id="{DE9C2FF6-D710-560A-79DB-B8D9CC94531A}"/>
                </a:ext>
              </a:extLst>
            </p:cNvPr>
            <p:cNvSpPr/>
            <p:nvPr userDrawn="1"/>
          </p:nvSpPr>
          <p:spPr bwMode="gray">
            <a:xfrm>
              <a:off x="434980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8" name="Rechteck 667">
              <a:extLst>
                <a:ext uri="{FF2B5EF4-FFF2-40B4-BE49-F238E27FC236}">
                  <a16:creationId xmlns:a16="http://schemas.microsoft.com/office/drawing/2014/main" id="{3BC15613-77D6-2513-7A6E-8D9456C9D287}"/>
                </a:ext>
              </a:extLst>
            </p:cNvPr>
            <p:cNvSpPr/>
            <p:nvPr userDrawn="1"/>
          </p:nvSpPr>
          <p:spPr bwMode="gray">
            <a:xfrm>
              <a:off x="377374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9" name="Rechteck 668">
              <a:extLst>
                <a:ext uri="{FF2B5EF4-FFF2-40B4-BE49-F238E27FC236}">
                  <a16:creationId xmlns:a16="http://schemas.microsoft.com/office/drawing/2014/main" id="{32AC7E39-991A-9B1E-BE6A-47AFFD827C34}"/>
                </a:ext>
              </a:extLst>
            </p:cNvPr>
            <p:cNvSpPr/>
            <p:nvPr userDrawn="1"/>
          </p:nvSpPr>
          <p:spPr bwMode="gray">
            <a:xfrm>
              <a:off x="319768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0" name="Rechteck 669">
              <a:extLst>
                <a:ext uri="{FF2B5EF4-FFF2-40B4-BE49-F238E27FC236}">
                  <a16:creationId xmlns:a16="http://schemas.microsoft.com/office/drawing/2014/main" id="{A5C849B5-E8FF-17F3-893C-5C0C8B168194}"/>
                </a:ext>
              </a:extLst>
            </p:cNvPr>
            <p:cNvSpPr/>
            <p:nvPr userDrawn="1"/>
          </p:nvSpPr>
          <p:spPr bwMode="gray">
            <a:xfrm>
              <a:off x="262161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1" name="Rechteck 670">
              <a:extLst>
                <a:ext uri="{FF2B5EF4-FFF2-40B4-BE49-F238E27FC236}">
                  <a16:creationId xmlns:a16="http://schemas.microsoft.com/office/drawing/2014/main" id="{811BF966-CE59-3A31-A427-935B52D021DE}"/>
                </a:ext>
              </a:extLst>
            </p:cNvPr>
            <p:cNvSpPr/>
            <p:nvPr userDrawn="1"/>
          </p:nvSpPr>
          <p:spPr bwMode="gray">
            <a:xfrm>
              <a:off x="204555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2" name="Rechteck 671">
              <a:extLst>
                <a:ext uri="{FF2B5EF4-FFF2-40B4-BE49-F238E27FC236}">
                  <a16:creationId xmlns:a16="http://schemas.microsoft.com/office/drawing/2014/main" id="{59FEF06F-4A88-9DEC-65EA-5357AF10F37C}"/>
                </a:ext>
              </a:extLst>
            </p:cNvPr>
            <p:cNvSpPr/>
            <p:nvPr userDrawn="1"/>
          </p:nvSpPr>
          <p:spPr bwMode="gray">
            <a:xfrm>
              <a:off x="146948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3" name="Rechteck 672">
              <a:extLst>
                <a:ext uri="{FF2B5EF4-FFF2-40B4-BE49-F238E27FC236}">
                  <a16:creationId xmlns:a16="http://schemas.microsoft.com/office/drawing/2014/main" id="{C0716CFE-C703-746A-4A97-1CF7AF038226}"/>
                </a:ext>
              </a:extLst>
            </p:cNvPr>
            <p:cNvSpPr/>
            <p:nvPr userDrawn="1"/>
          </p:nvSpPr>
          <p:spPr bwMode="gray">
            <a:xfrm>
              <a:off x="89342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4" name="Rechteck 673">
              <a:extLst>
                <a:ext uri="{FF2B5EF4-FFF2-40B4-BE49-F238E27FC236}">
                  <a16:creationId xmlns:a16="http://schemas.microsoft.com/office/drawing/2014/main" id="{297847BA-0DEC-2B9D-C895-9D7CE3D9946D}"/>
                </a:ext>
              </a:extLst>
            </p:cNvPr>
            <p:cNvSpPr/>
            <p:nvPr userDrawn="1"/>
          </p:nvSpPr>
          <p:spPr bwMode="gray">
            <a:xfrm>
              <a:off x="31736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5" name="Rechteck 674">
              <a:extLst>
                <a:ext uri="{FF2B5EF4-FFF2-40B4-BE49-F238E27FC236}">
                  <a16:creationId xmlns:a16="http://schemas.microsoft.com/office/drawing/2014/main" id="{C4D878C6-4678-7610-E4E1-2251573A3D03}"/>
                </a:ext>
              </a:extLst>
            </p:cNvPr>
            <p:cNvSpPr/>
            <p:nvPr userDrawn="1"/>
          </p:nvSpPr>
          <p:spPr bwMode="gray">
            <a:xfrm>
              <a:off x="1126257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6" name="Rechteck 675">
              <a:extLst>
                <a:ext uri="{FF2B5EF4-FFF2-40B4-BE49-F238E27FC236}">
                  <a16:creationId xmlns:a16="http://schemas.microsoft.com/office/drawing/2014/main" id="{3E97E6A4-F8FC-F9E7-68AD-A696A674F6F3}"/>
                </a:ext>
              </a:extLst>
            </p:cNvPr>
            <p:cNvSpPr/>
            <p:nvPr userDrawn="1"/>
          </p:nvSpPr>
          <p:spPr bwMode="gray">
            <a:xfrm>
              <a:off x="1068651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7" name="Rechteck 676">
              <a:extLst>
                <a:ext uri="{FF2B5EF4-FFF2-40B4-BE49-F238E27FC236}">
                  <a16:creationId xmlns:a16="http://schemas.microsoft.com/office/drawing/2014/main" id="{7D10358A-AC94-2FBD-DD56-458E9B6816C2}"/>
                </a:ext>
              </a:extLst>
            </p:cNvPr>
            <p:cNvSpPr/>
            <p:nvPr userDrawn="1"/>
          </p:nvSpPr>
          <p:spPr bwMode="gray">
            <a:xfrm>
              <a:off x="1011044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8" name="Rechteck 677">
              <a:extLst>
                <a:ext uri="{FF2B5EF4-FFF2-40B4-BE49-F238E27FC236}">
                  <a16:creationId xmlns:a16="http://schemas.microsoft.com/office/drawing/2014/main" id="{C4ED3D66-40C7-7D1B-392A-52284EE8A8C0}"/>
                </a:ext>
              </a:extLst>
            </p:cNvPr>
            <p:cNvSpPr/>
            <p:nvPr userDrawn="1"/>
          </p:nvSpPr>
          <p:spPr bwMode="gray">
            <a:xfrm>
              <a:off x="953438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9" name="Rechteck 678">
              <a:extLst>
                <a:ext uri="{FF2B5EF4-FFF2-40B4-BE49-F238E27FC236}">
                  <a16:creationId xmlns:a16="http://schemas.microsoft.com/office/drawing/2014/main" id="{DD69F797-BE86-5B42-45A0-A30749D9B25E}"/>
                </a:ext>
              </a:extLst>
            </p:cNvPr>
            <p:cNvSpPr/>
            <p:nvPr userDrawn="1"/>
          </p:nvSpPr>
          <p:spPr bwMode="gray">
            <a:xfrm>
              <a:off x="895832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0" name="Rechteck 679">
              <a:extLst>
                <a:ext uri="{FF2B5EF4-FFF2-40B4-BE49-F238E27FC236}">
                  <a16:creationId xmlns:a16="http://schemas.microsoft.com/office/drawing/2014/main" id="{80C305C8-79A7-138B-2C26-D5CE6CE22B77}"/>
                </a:ext>
              </a:extLst>
            </p:cNvPr>
            <p:cNvSpPr/>
            <p:nvPr userDrawn="1"/>
          </p:nvSpPr>
          <p:spPr bwMode="gray">
            <a:xfrm>
              <a:off x="838225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1" name="Rechteck 680">
              <a:extLst>
                <a:ext uri="{FF2B5EF4-FFF2-40B4-BE49-F238E27FC236}">
                  <a16:creationId xmlns:a16="http://schemas.microsoft.com/office/drawing/2014/main" id="{460AEB46-3864-0AB4-DBD5-7CB513324281}"/>
                </a:ext>
              </a:extLst>
            </p:cNvPr>
            <p:cNvSpPr/>
            <p:nvPr userDrawn="1"/>
          </p:nvSpPr>
          <p:spPr bwMode="gray">
            <a:xfrm>
              <a:off x="780619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2" name="Rechteck 681">
              <a:extLst>
                <a:ext uri="{FF2B5EF4-FFF2-40B4-BE49-F238E27FC236}">
                  <a16:creationId xmlns:a16="http://schemas.microsoft.com/office/drawing/2014/main" id="{F527D987-FFB2-B863-0464-A4285E96F3AA}"/>
                </a:ext>
              </a:extLst>
            </p:cNvPr>
            <p:cNvSpPr/>
            <p:nvPr userDrawn="1"/>
          </p:nvSpPr>
          <p:spPr bwMode="gray">
            <a:xfrm>
              <a:off x="723012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3" name="Rechteck 682">
              <a:extLst>
                <a:ext uri="{FF2B5EF4-FFF2-40B4-BE49-F238E27FC236}">
                  <a16:creationId xmlns:a16="http://schemas.microsoft.com/office/drawing/2014/main" id="{9391F8D3-D846-1B32-6A95-FE4F18F09362}"/>
                </a:ext>
              </a:extLst>
            </p:cNvPr>
            <p:cNvSpPr/>
            <p:nvPr userDrawn="1"/>
          </p:nvSpPr>
          <p:spPr bwMode="gray">
            <a:xfrm>
              <a:off x="665406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4" name="Rechteck 683">
              <a:extLst>
                <a:ext uri="{FF2B5EF4-FFF2-40B4-BE49-F238E27FC236}">
                  <a16:creationId xmlns:a16="http://schemas.microsoft.com/office/drawing/2014/main" id="{B1D52BAD-3311-98D5-BFFD-25017B59A4C3}"/>
                </a:ext>
              </a:extLst>
            </p:cNvPr>
            <p:cNvSpPr/>
            <p:nvPr userDrawn="1"/>
          </p:nvSpPr>
          <p:spPr bwMode="gray">
            <a:xfrm>
              <a:off x="607800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5" name="Rechteck 684">
              <a:extLst>
                <a:ext uri="{FF2B5EF4-FFF2-40B4-BE49-F238E27FC236}">
                  <a16:creationId xmlns:a16="http://schemas.microsoft.com/office/drawing/2014/main" id="{E8BD66E8-65E5-DF62-BE7E-999B303CC332}"/>
                </a:ext>
              </a:extLst>
            </p:cNvPr>
            <p:cNvSpPr/>
            <p:nvPr userDrawn="1"/>
          </p:nvSpPr>
          <p:spPr bwMode="gray">
            <a:xfrm>
              <a:off x="550193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6" name="Rechteck 685">
              <a:extLst>
                <a:ext uri="{FF2B5EF4-FFF2-40B4-BE49-F238E27FC236}">
                  <a16:creationId xmlns:a16="http://schemas.microsoft.com/office/drawing/2014/main" id="{B14CC011-9D79-5B90-DBFB-32406689E17B}"/>
                </a:ext>
              </a:extLst>
            </p:cNvPr>
            <p:cNvSpPr/>
            <p:nvPr userDrawn="1"/>
          </p:nvSpPr>
          <p:spPr bwMode="gray">
            <a:xfrm>
              <a:off x="492587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7" name="Rechteck 686">
              <a:extLst>
                <a:ext uri="{FF2B5EF4-FFF2-40B4-BE49-F238E27FC236}">
                  <a16:creationId xmlns:a16="http://schemas.microsoft.com/office/drawing/2014/main" id="{24A28BEF-0BBF-39F8-9811-752A94C2BEBF}"/>
                </a:ext>
              </a:extLst>
            </p:cNvPr>
            <p:cNvSpPr/>
            <p:nvPr userDrawn="1"/>
          </p:nvSpPr>
          <p:spPr bwMode="gray">
            <a:xfrm>
              <a:off x="434980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8" name="Rechteck 687">
              <a:extLst>
                <a:ext uri="{FF2B5EF4-FFF2-40B4-BE49-F238E27FC236}">
                  <a16:creationId xmlns:a16="http://schemas.microsoft.com/office/drawing/2014/main" id="{18C6CF37-122B-8E64-CFD8-3EA39DD24236}"/>
                </a:ext>
              </a:extLst>
            </p:cNvPr>
            <p:cNvSpPr/>
            <p:nvPr userDrawn="1"/>
          </p:nvSpPr>
          <p:spPr bwMode="gray">
            <a:xfrm>
              <a:off x="377374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9" name="Rechteck 688">
              <a:extLst>
                <a:ext uri="{FF2B5EF4-FFF2-40B4-BE49-F238E27FC236}">
                  <a16:creationId xmlns:a16="http://schemas.microsoft.com/office/drawing/2014/main" id="{F5E8FE13-57CA-8B87-20A2-5FF3E1804ED2}"/>
                </a:ext>
              </a:extLst>
            </p:cNvPr>
            <p:cNvSpPr/>
            <p:nvPr userDrawn="1"/>
          </p:nvSpPr>
          <p:spPr bwMode="gray">
            <a:xfrm>
              <a:off x="319768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0" name="Rechteck 689">
              <a:extLst>
                <a:ext uri="{FF2B5EF4-FFF2-40B4-BE49-F238E27FC236}">
                  <a16:creationId xmlns:a16="http://schemas.microsoft.com/office/drawing/2014/main" id="{0D30E4E3-4D43-32D8-495F-755153C2845F}"/>
                </a:ext>
              </a:extLst>
            </p:cNvPr>
            <p:cNvSpPr/>
            <p:nvPr userDrawn="1"/>
          </p:nvSpPr>
          <p:spPr bwMode="gray">
            <a:xfrm>
              <a:off x="262161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1" name="Rechteck 690">
              <a:extLst>
                <a:ext uri="{FF2B5EF4-FFF2-40B4-BE49-F238E27FC236}">
                  <a16:creationId xmlns:a16="http://schemas.microsoft.com/office/drawing/2014/main" id="{A73BBEB2-DE19-649D-22FE-728A5645486E}"/>
                </a:ext>
              </a:extLst>
            </p:cNvPr>
            <p:cNvSpPr/>
            <p:nvPr userDrawn="1"/>
          </p:nvSpPr>
          <p:spPr bwMode="gray">
            <a:xfrm>
              <a:off x="204555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2" name="Rechteck 691">
              <a:extLst>
                <a:ext uri="{FF2B5EF4-FFF2-40B4-BE49-F238E27FC236}">
                  <a16:creationId xmlns:a16="http://schemas.microsoft.com/office/drawing/2014/main" id="{4D2BE64B-9A7A-53A9-C819-243BE631F024}"/>
                </a:ext>
              </a:extLst>
            </p:cNvPr>
            <p:cNvSpPr/>
            <p:nvPr userDrawn="1"/>
          </p:nvSpPr>
          <p:spPr bwMode="gray">
            <a:xfrm>
              <a:off x="146948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3" name="Rechteck 692">
              <a:extLst>
                <a:ext uri="{FF2B5EF4-FFF2-40B4-BE49-F238E27FC236}">
                  <a16:creationId xmlns:a16="http://schemas.microsoft.com/office/drawing/2014/main" id="{948405A6-9669-1EF0-C935-5D6C151DA678}"/>
                </a:ext>
              </a:extLst>
            </p:cNvPr>
            <p:cNvSpPr/>
            <p:nvPr userDrawn="1"/>
          </p:nvSpPr>
          <p:spPr bwMode="gray">
            <a:xfrm>
              <a:off x="89342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4" name="Rechteck 693">
              <a:extLst>
                <a:ext uri="{FF2B5EF4-FFF2-40B4-BE49-F238E27FC236}">
                  <a16:creationId xmlns:a16="http://schemas.microsoft.com/office/drawing/2014/main" id="{5506D032-9548-F045-AEF6-B0FE8010D261}"/>
                </a:ext>
              </a:extLst>
            </p:cNvPr>
            <p:cNvSpPr/>
            <p:nvPr userDrawn="1"/>
          </p:nvSpPr>
          <p:spPr bwMode="gray">
            <a:xfrm>
              <a:off x="31736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5" name="Rechteck 694">
              <a:extLst>
                <a:ext uri="{FF2B5EF4-FFF2-40B4-BE49-F238E27FC236}">
                  <a16:creationId xmlns:a16="http://schemas.microsoft.com/office/drawing/2014/main" id="{D1224027-FF52-8908-02CF-CA4EC21F015A}"/>
                </a:ext>
              </a:extLst>
            </p:cNvPr>
            <p:cNvSpPr/>
            <p:nvPr userDrawn="1"/>
          </p:nvSpPr>
          <p:spPr bwMode="gray">
            <a:xfrm>
              <a:off x="1126257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6" name="Rechteck 695">
              <a:extLst>
                <a:ext uri="{FF2B5EF4-FFF2-40B4-BE49-F238E27FC236}">
                  <a16:creationId xmlns:a16="http://schemas.microsoft.com/office/drawing/2014/main" id="{90B7522B-5495-B81C-181D-169237861A76}"/>
                </a:ext>
              </a:extLst>
            </p:cNvPr>
            <p:cNvSpPr/>
            <p:nvPr userDrawn="1"/>
          </p:nvSpPr>
          <p:spPr bwMode="gray">
            <a:xfrm>
              <a:off x="1068651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7" name="Rechteck 696">
              <a:extLst>
                <a:ext uri="{FF2B5EF4-FFF2-40B4-BE49-F238E27FC236}">
                  <a16:creationId xmlns:a16="http://schemas.microsoft.com/office/drawing/2014/main" id="{18F57D62-8A74-6CF5-9855-94B9B59FD99F}"/>
                </a:ext>
              </a:extLst>
            </p:cNvPr>
            <p:cNvSpPr/>
            <p:nvPr userDrawn="1"/>
          </p:nvSpPr>
          <p:spPr bwMode="gray">
            <a:xfrm>
              <a:off x="1011044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8" name="Rechteck 697">
              <a:extLst>
                <a:ext uri="{FF2B5EF4-FFF2-40B4-BE49-F238E27FC236}">
                  <a16:creationId xmlns:a16="http://schemas.microsoft.com/office/drawing/2014/main" id="{8DBD7474-A553-E25C-3215-8FBA51CE2164}"/>
                </a:ext>
              </a:extLst>
            </p:cNvPr>
            <p:cNvSpPr/>
            <p:nvPr userDrawn="1"/>
          </p:nvSpPr>
          <p:spPr bwMode="gray">
            <a:xfrm>
              <a:off x="953438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9" name="Rechteck 698">
              <a:extLst>
                <a:ext uri="{FF2B5EF4-FFF2-40B4-BE49-F238E27FC236}">
                  <a16:creationId xmlns:a16="http://schemas.microsoft.com/office/drawing/2014/main" id="{061A1E0C-E7FF-2AA1-2269-BDA6AF4BE244}"/>
                </a:ext>
              </a:extLst>
            </p:cNvPr>
            <p:cNvSpPr/>
            <p:nvPr userDrawn="1"/>
          </p:nvSpPr>
          <p:spPr bwMode="gray">
            <a:xfrm>
              <a:off x="895832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0" name="Rechteck 699">
              <a:extLst>
                <a:ext uri="{FF2B5EF4-FFF2-40B4-BE49-F238E27FC236}">
                  <a16:creationId xmlns:a16="http://schemas.microsoft.com/office/drawing/2014/main" id="{C2512624-068F-833F-5C37-5C78D6C652BC}"/>
                </a:ext>
              </a:extLst>
            </p:cNvPr>
            <p:cNvSpPr/>
            <p:nvPr userDrawn="1"/>
          </p:nvSpPr>
          <p:spPr bwMode="gray">
            <a:xfrm>
              <a:off x="838225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1" name="Rechteck 700">
              <a:extLst>
                <a:ext uri="{FF2B5EF4-FFF2-40B4-BE49-F238E27FC236}">
                  <a16:creationId xmlns:a16="http://schemas.microsoft.com/office/drawing/2014/main" id="{5613D7C1-51CC-460E-AC98-89F3F244BE28}"/>
                </a:ext>
              </a:extLst>
            </p:cNvPr>
            <p:cNvSpPr/>
            <p:nvPr userDrawn="1"/>
          </p:nvSpPr>
          <p:spPr bwMode="gray">
            <a:xfrm>
              <a:off x="780619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2" name="Rechteck 701">
              <a:extLst>
                <a:ext uri="{FF2B5EF4-FFF2-40B4-BE49-F238E27FC236}">
                  <a16:creationId xmlns:a16="http://schemas.microsoft.com/office/drawing/2014/main" id="{7D6EEA81-786C-3DE1-CDC3-265B3FC1910B}"/>
                </a:ext>
              </a:extLst>
            </p:cNvPr>
            <p:cNvSpPr/>
            <p:nvPr userDrawn="1"/>
          </p:nvSpPr>
          <p:spPr bwMode="gray">
            <a:xfrm>
              <a:off x="723012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3" name="Rechteck 702">
              <a:extLst>
                <a:ext uri="{FF2B5EF4-FFF2-40B4-BE49-F238E27FC236}">
                  <a16:creationId xmlns:a16="http://schemas.microsoft.com/office/drawing/2014/main" id="{C3D0391C-B3D2-534E-2C4C-153FE7C55E9C}"/>
                </a:ext>
              </a:extLst>
            </p:cNvPr>
            <p:cNvSpPr/>
            <p:nvPr userDrawn="1"/>
          </p:nvSpPr>
          <p:spPr bwMode="gray">
            <a:xfrm>
              <a:off x="665406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4" name="Rechteck 703">
              <a:extLst>
                <a:ext uri="{FF2B5EF4-FFF2-40B4-BE49-F238E27FC236}">
                  <a16:creationId xmlns:a16="http://schemas.microsoft.com/office/drawing/2014/main" id="{C05C5FF6-A39F-6469-5475-AD18D3EE88EF}"/>
                </a:ext>
              </a:extLst>
            </p:cNvPr>
            <p:cNvSpPr/>
            <p:nvPr userDrawn="1"/>
          </p:nvSpPr>
          <p:spPr bwMode="gray">
            <a:xfrm>
              <a:off x="607800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5" name="Rechteck 704">
              <a:extLst>
                <a:ext uri="{FF2B5EF4-FFF2-40B4-BE49-F238E27FC236}">
                  <a16:creationId xmlns:a16="http://schemas.microsoft.com/office/drawing/2014/main" id="{59041BE7-EEF8-863D-21D9-32D0A2FE74E5}"/>
                </a:ext>
              </a:extLst>
            </p:cNvPr>
            <p:cNvSpPr/>
            <p:nvPr userDrawn="1"/>
          </p:nvSpPr>
          <p:spPr bwMode="gray">
            <a:xfrm>
              <a:off x="550193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6" name="Rechteck 705">
              <a:extLst>
                <a:ext uri="{FF2B5EF4-FFF2-40B4-BE49-F238E27FC236}">
                  <a16:creationId xmlns:a16="http://schemas.microsoft.com/office/drawing/2014/main" id="{0898EC73-249A-0EAF-1F8E-43588383C648}"/>
                </a:ext>
              </a:extLst>
            </p:cNvPr>
            <p:cNvSpPr/>
            <p:nvPr userDrawn="1"/>
          </p:nvSpPr>
          <p:spPr bwMode="gray">
            <a:xfrm>
              <a:off x="492587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7" name="Rechteck 706">
              <a:extLst>
                <a:ext uri="{FF2B5EF4-FFF2-40B4-BE49-F238E27FC236}">
                  <a16:creationId xmlns:a16="http://schemas.microsoft.com/office/drawing/2014/main" id="{A4DFE144-93CF-287A-26E4-C9833BE919FC}"/>
                </a:ext>
              </a:extLst>
            </p:cNvPr>
            <p:cNvSpPr/>
            <p:nvPr userDrawn="1"/>
          </p:nvSpPr>
          <p:spPr bwMode="gray">
            <a:xfrm>
              <a:off x="434980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8" name="Rechteck 707">
              <a:extLst>
                <a:ext uri="{FF2B5EF4-FFF2-40B4-BE49-F238E27FC236}">
                  <a16:creationId xmlns:a16="http://schemas.microsoft.com/office/drawing/2014/main" id="{9B4A7E46-A4DB-F136-E8A8-E8C545A59F39}"/>
                </a:ext>
              </a:extLst>
            </p:cNvPr>
            <p:cNvSpPr/>
            <p:nvPr userDrawn="1"/>
          </p:nvSpPr>
          <p:spPr bwMode="gray">
            <a:xfrm>
              <a:off x="377374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9" name="Rechteck 708">
              <a:extLst>
                <a:ext uri="{FF2B5EF4-FFF2-40B4-BE49-F238E27FC236}">
                  <a16:creationId xmlns:a16="http://schemas.microsoft.com/office/drawing/2014/main" id="{22A2C97A-8AC4-2485-2C3B-45A941518195}"/>
                </a:ext>
              </a:extLst>
            </p:cNvPr>
            <p:cNvSpPr/>
            <p:nvPr userDrawn="1"/>
          </p:nvSpPr>
          <p:spPr bwMode="gray">
            <a:xfrm>
              <a:off x="319768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0" name="Rechteck 709">
              <a:extLst>
                <a:ext uri="{FF2B5EF4-FFF2-40B4-BE49-F238E27FC236}">
                  <a16:creationId xmlns:a16="http://schemas.microsoft.com/office/drawing/2014/main" id="{3672074A-6DCB-1A75-6824-0B6FE5F26269}"/>
                </a:ext>
              </a:extLst>
            </p:cNvPr>
            <p:cNvSpPr/>
            <p:nvPr userDrawn="1"/>
          </p:nvSpPr>
          <p:spPr bwMode="gray">
            <a:xfrm>
              <a:off x="262161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1" name="Rechteck 710">
              <a:extLst>
                <a:ext uri="{FF2B5EF4-FFF2-40B4-BE49-F238E27FC236}">
                  <a16:creationId xmlns:a16="http://schemas.microsoft.com/office/drawing/2014/main" id="{F4DC759A-991B-645B-A4F2-019B40E5085C}"/>
                </a:ext>
              </a:extLst>
            </p:cNvPr>
            <p:cNvSpPr/>
            <p:nvPr userDrawn="1"/>
          </p:nvSpPr>
          <p:spPr bwMode="gray">
            <a:xfrm>
              <a:off x="204555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2" name="Rechteck 711">
              <a:extLst>
                <a:ext uri="{FF2B5EF4-FFF2-40B4-BE49-F238E27FC236}">
                  <a16:creationId xmlns:a16="http://schemas.microsoft.com/office/drawing/2014/main" id="{83E596AB-06C9-9611-B5E2-F93ED4C4EE96}"/>
                </a:ext>
              </a:extLst>
            </p:cNvPr>
            <p:cNvSpPr/>
            <p:nvPr userDrawn="1"/>
          </p:nvSpPr>
          <p:spPr bwMode="gray">
            <a:xfrm>
              <a:off x="146948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3" name="Rechteck 712">
              <a:extLst>
                <a:ext uri="{FF2B5EF4-FFF2-40B4-BE49-F238E27FC236}">
                  <a16:creationId xmlns:a16="http://schemas.microsoft.com/office/drawing/2014/main" id="{903A387A-A171-8B9F-7017-53266AB55191}"/>
                </a:ext>
              </a:extLst>
            </p:cNvPr>
            <p:cNvSpPr/>
            <p:nvPr userDrawn="1"/>
          </p:nvSpPr>
          <p:spPr bwMode="gray">
            <a:xfrm>
              <a:off x="89342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4" name="Rechteck 713">
              <a:extLst>
                <a:ext uri="{FF2B5EF4-FFF2-40B4-BE49-F238E27FC236}">
                  <a16:creationId xmlns:a16="http://schemas.microsoft.com/office/drawing/2014/main" id="{E0AFE1A9-3A96-BED7-3E27-AABE21F922A0}"/>
                </a:ext>
              </a:extLst>
            </p:cNvPr>
            <p:cNvSpPr/>
            <p:nvPr userDrawn="1"/>
          </p:nvSpPr>
          <p:spPr bwMode="gray">
            <a:xfrm>
              <a:off x="31736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5" name="Rechteck 714">
              <a:extLst>
                <a:ext uri="{FF2B5EF4-FFF2-40B4-BE49-F238E27FC236}">
                  <a16:creationId xmlns:a16="http://schemas.microsoft.com/office/drawing/2014/main" id="{5E15396D-1A38-6464-3F73-7634E96F9106}"/>
                </a:ext>
              </a:extLst>
            </p:cNvPr>
            <p:cNvSpPr/>
            <p:nvPr userDrawn="1"/>
          </p:nvSpPr>
          <p:spPr bwMode="gray">
            <a:xfrm>
              <a:off x="1126257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6" name="Rechteck 715">
              <a:extLst>
                <a:ext uri="{FF2B5EF4-FFF2-40B4-BE49-F238E27FC236}">
                  <a16:creationId xmlns:a16="http://schemas.microsoft.com/office/drawing/2014/main" id="{B0405A9C-78F6-1753-E31E-CE673718673B}"/>
                </a:ext>
              </a:extLst>
            </p:cNvPr>
            <p:cNvSpPr/>
            <p:nvPr userDrawn="1"/>
          </p:nvSpPr>
          <p:spPr bwMode="gray">
            <a:xfrm>
              <a:off x="1068651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7" name="Rechteck 716">
              <a:extLst>
                <a:ext uri="{FF2B5EF4-FFF2-40B4-BE49-F238E27FC236}">
                  <a16:creationId xmlns:a16="http://schemas.microsoft.com/office/drawing/2014/main" id="{46D3EF15-C383-D461-5089-41B249C4BD4C}"/>
                </a:ext>
              </a:extLst>
            </p:cNvPr>
            <p:cNvSpPr/>
            <p:nvPr userDrawn="1"/>
          </p:nvSpPr>
          <p:spPr bwMode="gray">
            <a:xfrm>
              <a:off x="1011044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8" name="Rechteck 717">
              <a:extLst>
                <a:ext uri="{FF2B5EF4-FFF2-40B4-BE49-F238E27FC236}">
                  <a16:creationId xmlns:a16="http://schemas.microsoft.com/office/drawing/2014/main" id="{41010629-7D58-6AA9-11CE-E7EBEB099DDB}"/>
                </a:ext>
              </a:extLst>
            </p:cNvPr>
            <p:cNvSpPr/>
            <p:nvPr userDrawn="1"/>
          </p:nvSpPr>
          <p:spPr bwMode="gray">
            <a:xfrm>
              <a:off x="953438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9" name="Rechteck 718">
              <a:extLst>
                <a:ext uri="{FF2B5EF4-FFF2-40B4-BE49-F238E27FC236}">
                  <a16:creationId xmlns:a16="http://schemas.microsoft.com/office/drawing/2014/main" id="{AFD2C45C-D606-601A-D971-D5097188638D}"/>
                </a:ext>
              </a:extLst>
            </p:cNvPr>
            <p:cNvSpPr/>
            <p:nvPr userDrawn="1"/>
          </p:nvSpPr>
          <p:spPr bwMode="gray">
            <a:xfrm>
              <a:off x="895832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0" name="Rechteck 719">
              <a:extLst>
                <a:ext uri="{FF2B5EF4-FFF2-40B4-BE49-F238E27FC236}">
                  <a16:creationId xmlns:a16="http://schemas.microsoft.com/office/drawing/2014/main" id="{2F571C12-2DC0-A532-4B12-0354DDB946CF}"/>
                </a:ext>
              </a:extLst>
            </p:cNvPr>
            <p:cNvSpPr/>
            <p:nvPr userDrawn="1"/>
          </p:nvSpPr>
          <p:spPr bwMode="gray">
            <a:xfrm>
              <a:off x="838225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1" name="Rechteck 720">
              <a:extLst>
                <a:ext uri="{FF2B5EF4-FFF2-40B4-BE49-F238E27FC236}">
                  <a16:creationId xmlns:a16="http://schemas.microsoft.com/office/drawing/2014/main" id="{45432C77-1933-DF14-8F05-B10FD304F750}"/>
                </a:ext>
              </a:extLst>
            </p:cNvPr>
            <p:cNvSpPr/>
            <p:nvPr userDrawn="1"/>
          </p:nvSpPr>
          <p:spPr bwMode="gray">
            <a:xfrm>
              <a:off x="780619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2" name="Rechteck 721">
              <a:extLst>
                <a:ext uri="{FF2B5EF4-FFF2-40B4-BE49-F238E27FC236}">
                  <a16:creationId xmlns:a16="http://schemas.microsoft.com/office/drawing/2014/main" id="{E74AFD1F-DD83-EE46-3EB2-428C32CFD9B1}"/>
                </a:ext>
              </a:extLst>
            </p:cNvPr>
            <p:cNvSpPr/>
            <p:nvPr userDrawn="1"/>
          </p:nvSpPr>
          <p:spPr bwMode="gray">
            <a:xfrm>
              <a:off x="723012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3" name="Rechteck 722">
              <a:extLst>
                <a:ext uri="{FF2B5EF4-FFF2-40B4-BE49-F238E27FC236}">
                  <a16:creationId xmlns:a16="http://schemas.microsoft.com/office/drawing/2014/main" id="{C529136C-68E4-6EC4-EDE1-BBE0A4FB1F67}"/>
                </a:ext>
              </a:extLst>
            </p:cNvPr>
            <p:cNvSpPr/>
            <p:nvPr userDrawn="1"/>
          </p:nvSpPr>
          <p:spPr bwMode="gray">
            <a:xfrm>
              <a:off x="665406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4" name="Rechteck 723">
              <a:extLst>
                <a:ext uri="{FF2B5EF4-FFF2-40B4-BE49-F238E27FC236}">
                  <a16:creationId xmlns:a16="http://schemas.microsoft.com/office/drawing/2014/main" id="{FFDE0E57-4773-4FC5-9227-37F504081FD6}"/>
                </a:ext>
              </a:extLst>
            </p:cNvPr>
            <p:cNvSpPr/>
            <p:nvPr userDrawn="1"/>
          </p:nvSpPr>
          <p:spPr bwMode="gray">
            <a:xfrm>
              <a:off x="607800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5" name="Rechteck 724">
              <a:extLst>
                <a:ext uri="{FF2B5EF4-FFF2-40B4-BE49-F238E27FC236}">
                  <a16:creationId xmlns:a16="http://schemas.microsoft.com/office/drawing/2014/main" id="{A0E5C16F-2EB0-D023-A1A2-96F0CDFF477D}"/>
                </a:ext>
              </a:extLst>
            </p:cNvPr>
            <p:cNvSpPr/>
            <p:nvPr userDrawn="1"/>
          </p:nvSpPr>
          <p:spPr bwMode="gray">
            <a:xfrm>
              <a:off x="550193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6" name="Rechteck 725">
              <a:extLst>
                <a:ext uri="{FF2B5EF4-FFF2-40B4-BE49-F238E27FC236}">
                  <a16:creationId xmlns:a16="http://schemas.microsoft.com/office/drawing/2014/main" id="{3D8E881C-37A0-6733-A064-019FAE546B58}"/>
                </a:ext>
              </a:extLst>
            </p:cNvPr>
            <p:cNvSpPr/>
            <p:nvPr userDrawn="1"/>
          </p:nvSpPr>
          <p:spPr bwMode="gray">
            <a:xfrm>
              <a:off x="492587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7" name="Rechteck 726">
              <a:extLst>
                <a:ext uri="{FF2B5EF4-FFF2-40B4-BE49-F238E27FC236}">
                  <a16:creationId xmlns:a16="http://schemas.microsoft.com/office/drawing/2014/main" id="{BFFD9ACF-3DB6-B603-0D8F-DCF79059C66B}"/>
                </a:ext>
              </a:extLst>
            </p:cNvPr>
            <p:cNvSpPr/>
            <p:nvPr userDrawn="1"/>
          </p:nvSpPr>
          <p:spPr bwMode="gray">
            <a:xfrm>
              <a:off x="434980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8" name="Rechteck 727">
              <a:extLst>
                <a:ext uri="{FF2B5EF4-FFF2-40B4-BE49-F238E27FC236}">
                  <a16:creationId xmlns:a16="http://schemas.microsoft.com/office/drawing/2014/main" id="{3DCC19C5-1F8A-9E09-8949-C66CB0E2ADC8}"/>
                </a:ext>
              </a:extLst>
            </p:cNvPr>
            <p:cNvSpPr/>
            <p:nvPr userDrawn="1"/>
          </p:nvSpPr>
          <p:spPr bwMode="gray">
            <a:xfrm>
              <a:off x="377374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9" name="Rechteck 728">
              <a:extLst>
                <a:ext uri="{FF2B5EF4-FFF2-40B4-BE49-F238E27FC236}">
                  <a16:creationId xmlns:a16="http://schemas.microsoft.com/office/drawing/2014/main" id="{BDCCE821-EFC4-87B2-8447-1668D3800CBF}"/>
                </a:ext>
              </a:extLst>
            </p:cNvPr>
            <p:cNvSpPr/>
            <p:nvPr userDrawn="1"/>
          </p:nvSpPr>
          <p:spPr bwMode="gray">
            <a:xfrm>
              <a:off x="319768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0" name="Rechteck 729">
              <a:extLst>
                <a:ext uri="{FF2B5EF4-FFF2-40B4-BE49-F238E27FC236}">
                  <a16:creationId xmlns:a16="http://schemas.microsoft.com/office/drawing/2014/main" id="{DEBBDA4D-0ACC-DAF5-9C54-D9E2E4A53412}"/>
                </a:ext>
              </a:extLst>
            </p:cNvPr>
            <p:cNvSpPr/>
            <p:nvPr userDrawn="1"/>
          </p:nvSpPr>
          <p:spPr bwMode="gray">
            <a:xfrm>
              <a:off x="262161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1" name="Rechteck 730">
              <a:extLst>
                <a:ext uri="{FF2B5EF4-FFF2-40B4-BE49-F238E27FC236}">
                  <a16:creationId xmlns:a16="http://schemas.microsoft.com/office/drawing/2014/main" id="{04223128-2BD4-6578-6D02-9CA2ED4B0568}"/>
                </a:ext>
              </a:extLst>
            </p:cNvPr>
            <p:cNvSpPr/>
            <p:nvPr userDrawn="1"/>
          </p:nvSpPr>
          <p:spPr bwMode="gray">
            <a:xfrm>
              <a:off x="204555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2" name="Rechteck 731">
              <a:extLst>
                <a:ext uri="{FF2B5EF4-FFF2-40B4-BE49-F238E27FC236}">
                  <a16:creationId xmlns:a16="http://schemas.microsoft.com/office/drawing/2014/main" id="{76D5BA52-35A0-B4C1-030F-8F68A063C8AC}"/>
                </a:ext>
              </a:extLst>
            </p:cNvPr>
            <p:cNvSpPr/>
            <p:nvPr userDrawn="1"/>
          </p:nvSpPr>
          <p:spPr bwMode="gray">
            <a:xfrm>
              <a:off x="146948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3" name="Rechteck 732">
              <a:extLst>
                <a:ext uri="{FF2B5EF4-FFF2-40B4-BE49-F238E27FC236}">
                  <a16:creationId xmlns:a16="http://schemas.microsoft.com/office/drawing/2014/main" id="{9067269C-C4C4-1FF0-54B5-C2A9E1013277}"/>
                </a:ext>
              </a:extLst>
            </p:cNvPr>
            <p:cNvSpPr/>
            <p:nvPr userDrawn="1"/>
          </p:nvSpPr>
          <p:spPr bwMode="gray">
            <a:xfrm>
              <a:off x="89342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4" name="Rechteck 733">
              <a:extLst>
                <a:ext uri="{FF2B5EF4-FFF2-40B4-BE49-F238E27FC236}">
                  <a16:creationId xmlns:a16="http://schemas.microsoft.com/office/drawing/2014/main" id="{D6CCA07D-2E5C-E64F-AE03-6D71DAE9B6CA}"/>
                </a:ext>
              </a:extLst>
            </p:cNvPr>
            <p:cNvSpPr/>
            <p:nvPr userDrawn="1"/>
          </p:nvSpPr>
          <p:spPr bwMode="gray">
            <a:xfrm>
              <a:off x="31736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5" name="Rechteck 734">
              <a:extLst>
                <a:ext uri="{FF2B5EF4-FFF2-40B4-BE49-F238E27FC236}">
                  <a16:creationId xmlns:a16="http://schemas.microsoft.com/office/drawing/2014/main" id="{8AB0E212-C526-9EDC-78D9-3C240B8FB1A7}"/>
                </a:ext>
              </a:extLst>
            </p:cNvPr>
            <p:cNvSpPr/>
            <p:nvPr userDrawn="1"/>
          </p:nvSpPr>
          <p:spPr bwMode="gray">
            <a:xfrm>
              <a:off x="1126257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6" name="Rechteck 735">
              <a:extLst>
                <a:ext uri="{FF2B5EF4-FFF2-40B4-BE49-F238E27FC236}">
                  <a16:creationId xmlns:a16="http://schemas.microsoft.com/office/drawing/2014/main" id="{A59F7EBD-17F7-0CAF-5800-9C38B27CFEFF}"/>
                </a:ext>
              </a:extLst>
            </p:cNvPr>
            <p:cNvSpPr/>
            <p:nvPr userDrawn="1"/>
          </p:nvSpPr>
          <p:spPr bwMode="gray">
            <a:xfrm>
              <a:off x="1068651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7" name="Rechteck 736">
              <a:extLst>
                <a:ext uri="{FF2B5EF4-FFF2-40B4-BE49-F238E27FC236}">
                  <a16:creationId xmlns:a16="http://schemas.microsoft.com/office/drawing/2014/main" id="{724DD182-D750-A1F9-6049-EE20016311F4}"/>
                </a:ext>
              </a:extLst>
            </p:cNvPr>
            <p:cNvSpPr/>
            <p:nvPr userDrawn="1"/>
          </p:nvSpPr>
          <p:spPr bwMode="gray">
            <a:xfrm>
              <a:off x="1011044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8" name="Rechteck 737">
              <a:extLst>
                <a:ext uri="{FF2B5EF4-FFF2-40B4-BE49-F238E27FC236}">
                  <a16:creationId xmlns:a16="http://schemas.microsoft.com/office/drawing/2014/main" id="{9BCD860F-90FB-404D-6219-94B0E8648E2A}"/>
                </a:ext>
              </a:extLst>
            </p:cNvPr>
            <p:cNvSpPr/>
            <p:nvPr userDrawn="1"/>
          </p:nvSpPr>
          <p:spPr bwMode="gray">
            <a:xfrm>
              <a:off x="953438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9" name="Rechteck 738">
              <a:extLst>
                <a:ext uri="{FF2B5EF4-FFF2-40B4-BE49-F238E27FC236}">
                  <a16:creationId xmlns:a16="http://schemas.microsoft.com/office/drawing/2014/main" id="{25BE07CF-C906-EEB5-9B92-384190DADE01}"/>
                </a:ext>
              </a:extLst>
            </p:cNvPr>
            <p:cNvSpPr/>
            <p:nvPr userDrawn="1"/>
          </p:nvSpPr>
          <p:spPr bwMode="gray">
            <a:xfrm>
              <a:off x="895832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0" name="Rechteck 739">
              <a:extLst>
                <a:ext uri="{FF2B5EF4-FFF2-40B4-BE49-F238E27FC236}">
                  <a16:creationId xmlns:a16="http://schemas.microsoft.com/office/drawing/2014/main" id="{8A007C06-CD62-AE99-43DD-CC4EF434E459}"/>
                </a:ext>
              </a:extLst>
            </p:cNvPr>
            <p:cNvSpPr/>
            <p:nvPr userDrawn="1"/>
          </p:nvSpPr>
          <p:spPr bwMode="gray">
            <a:xfrm>
              <a:off x="838225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1" name="Rechteck 740">
              <a:extLst>
                <a:ext uri="{FF2B5EF4-FFF2-40B4-BE49-F238E27FC236}">
                  <a16:creationId xmlns:a16="http://schemas.microsoft.com/office/drawing/2014/main" id="{DE76811E-DFEE-A9E3-9891-C39851ABF40E}"/>
                </a:ext>
              </a:extLst>
            </p:cNvPr>
            <p:cNvSpPr/>
            <p:nvPr userDrawn="1"/>
          </p:nvSpPr>
          <p:spPr bwMode="gray">
            <a:xfrm>
              <a:off x="780619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2" name="Rechteck 741">
              <a:extLst>
                <a:ext uri="{FF2B5EF4-FFF2-40B4-BE49-F238E27FC236}">
                  <a16:creationId xmlns:a16="http://schemas.microsoft.com/office/drawing/2014/main" id="{F206AE6A-8131-B4D3-BD3D-D3224D725D3D}"/>
                </a:ext>
              </a:extLst>
            </p:cNvPr>
            <p:cNvSpPr/>
            <p:nvPr userDrawn="1"/>
          </p:nvSpPr>
          <p:spPr bwMode="gray">
            <a:xfrm>
              <a:off x="723012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3" name="Rechteck 742">
              <a:extLst>
                <a:ext uri="{FF2B5EF4-FFF2-40B4-BE49-F238E27FC236}">
                  <a16:creationId xmlns:a16="http://schemas.microsoft.com/office/drawing/2014/main" id="{4D5C342C-575B-59BE-8FE7-A814F1C80752}"/>
                </a:ext>
              </a:extLst>
            </p:cNvPr>
            <p:cNvSpPr/>
            <p:nvPr userDrawn="1"/>
          </p:nvSpPr>
          <p:spPr bwMode="gray">
            <a:xfrm>
              <a:off x="665406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4" name="Rechteck 743">
              <a:extLst>
                <a:ext uri="{FF2B5EF4-FFF2-40B4-BE49-F238E27FC236}">
                  <a16:creationId xmlns:a16="http://schemas.microsoft.com/office/drawing/2014/main" id="{3028FFCC-B195-3589-C1B4-918906FF5BC3}"/>
                </a:ext>
              </a:extLst>
            </p:cNvPr>
            <p:cNvSpPr/>
            <p:nvPr userDrawn="1"/>
          </p:nvSpPr>
          <p:spPr bwMode="gray">
            <a:xfrm>
              <a:off x="607800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5" name="Rechteck 744">
              <a:extLst>
                <a:ext uri="{FF2B5EF4-FFF2-40B4-BE49-F238E27FC236}">
                  <a16:creationId xmlns:a16="http://schemas.microsoft.com/office/drawing/2014/main" id="{93C69724-261A-30C1-C246-E5383E3CFD1F}"/>
                </a:ext>
              </a:extLst>
            </p:cNvPr>
            <p:cNvSpPr/>
            <p:nvPr userDrawn="1"/>
          </p:nvSpPr>
          <p:spPr bwMode="gray">
            <a:xfrm>
              <a:off x="550193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6" name="Rechteck 745">
              <a:extLst>
                <a:ext uri="{FF2B5EF4-FFF2-40B4-BE49-F238E27FC236}">
                  <a16:creationId xmlns:a16="http://schemas.microsoft.com/office/drawing/2014/main" id="{5A114632-CF76-45ED-24F7-00D48A3BE441}"/>
                </a:ext>
              </a:extLst>
            </p:cNvPr>
            <p:cNvSpPr/>
            <p:nvPr userDrawn="1"/>
          </p:nvSpPr>
          <p:spPr bwMode="gray">
            <a:xfrm>
              <a:off x="492587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7" name="Rechteck 746">
              <a:extLst>
                <a:ext uri="{FF2B5EF4-FFF2-40B4-BE49-F238E27FC236}">
                  <a16:creationId xmlns:a16="http://schemas.microsoft.com/office/drawing/2014/main" id="{3CF46089-2E28-F96A-BF9D-11E862DFBAA2}"/>
                </a:ext>
              </a:extLst>
            </p:cNvPr>
            <p:cNvSpPr/>
            <p:nvPr userDrawn="1"/>
          </p:nvSpPr>
          <p:spPr bwMode="gray">
            <a:xfrm>
              <a:off x="434980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8" name="Rechteck 747">
              <a:extLst>
                <a:ext uri="{FF2B5EF4-FFF2-40B4-BE49-F238E27FC236}">
                  <a16:creationId xmlns:a16="http://schemas.microsoft.com/office/drawing/2014/main" id="{EF37647D-79A9-1AA2-820A-4BFE45B2A6B5}"/>
                </a:ext>
              </a:extLst>
            </p:cNvPr>
            <p:cNvSpPr/>
            <p:nvPr userDrawn="1"/>
          </p:nvSpPr>
          <p:spPr bwMode="gray">
            <a:xfrm>
              <a:off x="377374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9" name="Rechteck 748">
              <a:extLst>
                <a:ext uri="{FF2B5EF4-FFF2-40B4-BE49-F238E27FC236}">
                  <a16:creationId xmlns:a16="http://schemas.microsoft.com/office/drawing/2014/main" id="{BB97E25B-5579-4208-CD9B-9D5F831E8164}"/>
                </a:ext>
              </a:extLst>
            </p:cNvPr>
            <p:cNvSpPr/>
            <p:nvPr userDrawn="1"/>
          </p:nvSpPr>
          <p:spPr bwMode="gray">
            <a:xfrm>
              <a:off x="319768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0" name="Rechteck 749">
              <a:extLst>
                <a:ext uri="{FF2B5EF4-FFF2-40B4-BE49-F238E27FC236}">
                  <a16:creationId xmlns:a16="http://schemas.microsoft.com/office/drawing/2014/main" id="{DD3F85D7-75E9-728B-95AC-F60248BD8BD8}"/>
                </a:ext>
              </a:extLst>
            </p:cNvPr>
            <p:cNvSpPr/>
            <p:nvPr userDrawn="1"/>
          </p:nvSpPr>
          <p:spPr bwMode="gray">
            <a:xfrm>
              <a:off x="262161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1" name="Rechteck 750">
              <a:extLst>
                <a:ext uri="{FF2B5EF4-FFF2-40B4-BE49-F238E27FC236}">
                  <a16:creationId xmlns:a16="http://schemas.microsoft.com/office/drawing/2014/main" id="{DB9083D4-C219-2223-8EDE-EF10873AD03C}"/>
                </a:ext>
              </a:extLst>
            </p:cNvPr>
            <p:cNvSpPr/>
            <p:nvPr userDrawn="1"/>
          </p:nvSpPr>
          <p:spPr bwMode="gray">
            <a:xfrm>
              <a:off x="204555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2" name="Rechteck 751">
              <a:extLst>
                <a:ext uri="{FF2B5EF4-FFF2-40B4-BE49-F238E27FC236}">
                  <a16:creationId xmlns:a16="http://schemas.microsoft.com/office/drawing/2014/main" id="{5A4B28E8-0F6E-0AE5-8E8E-175C19ADA5C3}"/>
                </a:ext>
              </a:extLst>
            </p:cNvPr>
            <p:cNvSpPr/>
            <p:nvPr userDrawn="1"/>
          </p:nvSpPr>
          <p:spPr bwMode="gray">
            <a:xfrm>
              <a:off x="146948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3" name="Rechteck 752">
              <a:extLst>
                <a:ext uri="{FF2B5EF4-FFF2-40B4-BE49-F238E27FC236}">
                  <a16:creationId xmlns:a16="http://schemas.microsoft.com/office/drawing/2014/main" id="{5BE68913-828E-348F-1EFE-F3A5ED1F8EC8}"/>
                </a:ext>
              </a:extLst>
            </p:cNvPr>
            <p:cNvSpPr/>
            <p:nvPr userDrawn="1"/>
          </p:nvSpPr>
          <p:spPr bwMode="gray">
            <a:xfrm>
              <a:off x="89342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4" name="Rechteck 753">
              <a:extLst>
                <a:ext uri="{FF2B5EF4-FFF2-40B4-BE49-F238E27FC236}">
                  <a16:creationId xmlns:a16="http://schemas.microsoft.com/office/drawing/2014/main" id="{3CF129BE-B18A-79CE-C9E2-699B2EEECC5E}"/>
                </a:ext>
              </a:extLst>
            </p:cNvPr>
            <p:cNvSpPr/>
            <p:nvPr userDrawn="1"/>
          </p:nvSpPr>
          <p:spPr bwMode="gray">
            <a:xfrm>
              <a:off x="31736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5" name="Rechteck 754">
              <a:extLst>
                <a:ext uri="{FF2B5EF4-FFF2-40B4-BE49-F238E27FC236}">
                  <a16:creationId xmlns:a16="http://schemas.microsoft.com/office/drawing/2014/main" id="{E1561736-6D1B-0AEB-1355-6E6AC291F8F3}"/>
                </a:ext>
              </a:extLst>
            </p:cNvPr>
            <p:cNvSpPr/>
            <p:nvPr userDrawn="1"/>
          </p:nvSpPr>
          <p:spPr bwMode="gray">
            <a:xfrm>
              <a:off x="1126257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6" name="Rechteck 755">
              <a:extLst>
                <a:ext uri="{FF2B5EF4-FFF2-40B4-BE49-F238E27FC236}">
                  <a16:creationId xmlns:a16="http://schemas.microsoft.com/office/drawing/2014/main" id="{2A894CE7-39F0-03EA-9DEE-731B76B5F93C}"/>
                </a:ext>
              </a:extLst>
            </p:cNvPr>
            <p:cNvSpPr/>
            <p:nvPr userDrawn="1"/>
          </p:nvSpPr>
          <p:spPr bwMode="gray">
            <a:xfrm>
              <a:off x="1068651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7" name="Rechteck 756">
              <a:extLst>
                <a:ext uri="{FF2B5EF4-FFF2-40B4-BE49-F238E27FC236}">
                  <a16:creationId xmlns:a16="http://schemas.microsoft.com/office/drawing/2014/main" id="{5EFBC1E0-E894-7C6E-C6CC-D5F070A57D74}"/>
                </a:ext>
              </a:extLst>
            </p:cNvPr>
            <p:cNvSpPr/>
            <p:nvPr userDrawn="1"/>
          </p:nvSpPr>
          <p:spPr bwMode="gray">
            <a:xfrm>
              <a:off x="1011044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8" name="Rechteck 757">
              <a:extLst>
                <a:ext uri="{FF2B5EF4-FFF2-40B4-BE49-F238E27FC236}">
                  <a16:creationId xmlns:a16="http://schemas.microsoft.com/office/drawing/2014/main" id="{E92FA0D8-34A1-7B91-290B-E2F37987C71B}"/>
                </a:ext>
              </a:extLst>
            </p:cNvPr>
            <p:cNvSpPr/>
            <p:nvPr userDrawn="1"/>
          </p:nvSpPr>
          <p:spPr bwMode="gray">
            <a:xfrm>
              <a:off x="953438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9" name="Rechteck 758">
              <a:extLst>
                <a:ext uri="{FF2B5EF4-FFF2-40B4-BE49-F238E27FC236}">
                  <a16:creationId xmlns:a16="http://schemas.microsoft.com/office/drawing/2014/main" id="{227685F1-978D-3666-F9FF-B0222506FA1A}"/>
                </a:ext>
              </a:extLst>
            </p:cNvPr>
            <p:cNvSpPr/>
            <p:nvPr userDrawn="1"/>
          </p:nvSpPr>
          <p:spPr bwMode="gray">
            <a:xfrm>
              <a:off x="895832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0" name="Rechteck 759">
              <a:extLst>
                <a:ext uri="{FF2B5EF4-FFF2-40B4-BE49-F238E27FC236}">
                  <a16:creationId xmlns:a16="http://schemas.microsoft.com/office/drawing/2014/main" id="{4CAEED98-1A97-D7CF-512A-1AA89B670667}"/>
                </a:ext>
              </a:extLst>
            </p:cNvPr>
            <p:cNvSpPr/>
            <p:nvPr userDrawn="1"/>
          </p:nvSpPr>
          <p:spPr bwMode="gray">
            <a:xfrm>
              <a:off x="838225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1" name="Rechteck 760">
              <a:extLst>
                <a:ext uri="{FF2B5EF4-FFF2-40B4-BE49-F238E27FC236}">
                  <a16:creationId xmlns:a16="http://schemas.microsoft.com/office/drawing/2014/main" id="{4D0E3DB8-7CE5-7C29-A917-788949AF835B}"/>
                </a:ext>
              </a:extLst>
            </p:cNvPr>
            <p:cNvSpPr/>
            <p:nvPr userDrawn="1"/>
          </p:nvSpPr>
          <p:spPr bwMode="gray">
            <a:xfrm>
              <a:off x="780619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2" name="Rechteck 761">
              <a:extLst>
                <a:ext uri="{FF2B5EF4-FFF2-40B4-BE49-F238E27FC236}">
                  <a16:creationId xmlns:a16="http://schemas.microsoft.com/office/drawing/2014/main" id="{8EE73659-719C-B928-B2F6-598E29774AF9}"/>
                </a:ext>
              </a:extLst>
            </p:cNvPr>
            <p:cNvSpPr/>
            <p:nvPr userDrawn="1"/>
          </p:nvSpPr>
          <p:spPr bwMode="gray">
            <a:xfrm>
              <a:off x="723012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3" name="Rechteck 762">
              <a:extLst>
                <a:ext uri="{FF2B5EF4-FFF2-40B4-BE49-F238E27FC236}">
                  <a16:creationId xmlns:a16="http://schemas.microsoft.com/office/drawing/2014/main" id="{72ADEBE7-8635-8E8A-F0D0-DC7D5FCE9917}"/>
                </a:ext>
              </a:extLst>
            </p:cNvPr>
            <p:cNvSpPr/>
            <p:nvPr userDrawn="1"/>
          </p:nvSpPr>
          <p:spPr bwMode="gray">
            <a:xfrm>
              <a:off x="665406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4" name="Rechteck 763">
              <a:extLst>
                <a:ext uri="{FF2B5EF4-FFF2-40B4-BE49-F238E27FC236}">
                  <a16:creationId xmlns:a16="http://schemas.microsoft.com/office/drawing/2014/main" id="{BF829382-D8E7-34A1-5925-23095FBC7B72}"/>
                </a:ext>
              </a:extLst>
            </p:cNvPr>
            <p:cNvSpPr/>
            <p:nvPr userDrawn="1"/>
          </p:nvSpPr>
          <p:spPr bwMode="gray">
            <a:xfrm>
              <a:off x="607800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5" name="Rechteck 764">
              <a:extLst>
                <a:ext uri="{FF2B5EF4-FFF2-40B4-BE49-F238E27FC236}">
                  <a16:creationId xmlns:a16="http://schemas.microsoft.com/office/drawing/2014/main" id="{FB1BD728-6DB1-89DE-8749-A00C9695B360}"/>
                </a:ext>
              </a:extLst>
            </p:cNvPr>
            <p:cNvSpPr/>
            <p:nvPr userDrawn="1"/>
          </p:nvSpPr>
          <p:spPr bwMode="gray">
            <a:xfrm>
              <a:off x="550193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6" name="Rechteck 765">
              <a:extLst>
                <a:ext uri="{FF2B5EF4-FFF2-40B4-BE49-F238E27FC236}">
                  <a16:creationId xmlns:a16="http://schemas.microsoft.com/office/drawing/2014/main" id="{8444D1D8-52F2-891A-9FE6-E5688F2142DE}"/>
                </a:ext>
              </a:extLst>
            </p:cNvPr>
            <p:cNvSpPr/>
            <p:nvPr userDrawn="1"/>
          </p:nvSpPr>
          <p:spPr bwMode="gray">
            <a:xfrm>
              <a:off x="492587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7" name="Rechteck 766">
              <a:extLst>
                <a:ext uri="{FF2B5EF4-FFF2-40B4-BE49-F238E27FC236}">
                  <a16:creationId xmlns:a16="http://schemas.microsoft.com/office/drawing/2014/main" id="{55E918F6-7703-F494-3AD1-C6537227398D}"/>
                </a:ext>
              </a:extLst>
            </p:cNvPr>
            <p:cNvSpPr/>
            <p:nvPr userDrawn="1"/>
          </p:nvSpPr>
          <p:spPr bwMode="gray">
            <a:xfrm>
              <a:off x="434980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8" name="Rechteck 767">
              <a:extLst>
                <a:ext uri="{FF2B5EF4-FFF2-40B4-BE49-F238E27FC236}">
                  <a16:creationId xmlns:a16="http://schemas.microsoft.com/office/drawing/2014/main" id="{5FAD81B7-221F-526F-CC0F-8A0529DF695D}"/>
                </a:ext>
              </a:extLst>
            </p:cNvPr>
            <p:cNvSpPr/>
            <p:nvPr userDrawn="1"/>
          </p:nvSpPr>
          <p:spPr bwMode="gray">
            <a:xfrm>
              <a:off x="377374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9" name="Rechteck 768">
              <a:extLst>
                <a:ext uri="{FF2B5EF4-FFF2-40B4-BE49-F238E27FC236}">
                  <a16:creationId xmlns:a16="http://schemas.microsoft.com/office/drawing/2014/main" id="{9D197F4C-7B25-D99E-AD88-D9F8ACBBACF0}"/>
                </a:ext>
              </a:extLst>
            </p:cNvPr>
            <p:cNvSpPr/>
            <p:nvPr userDrawn="1"/>
          </p:nvSpPr>
          <p:spPr bwMode="gray">
            <a:xfrm>
              <a:off x="319768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0" name="Rechteck 769">
              <a:extLst>
                <a:ext uri="{FF2B5EF4-FFF2-40B4-BE49-F238E27FC236}">
                  <a16:creationId xmlns:a16="http://schemas.microsoft.com/office/drawing/2014/main" id="{643BDABF-9812-7F4C-0659-24A404131E6E}"/>
                </a:ext>
              </a:extLst>
            </p:cNvPr>
            <p:cNvSpPr/>
            <p:nvPr userDrawn="1"/>
          </p:nvSpPr>
          <p:spPr bwMode="gray">
            <a:xfrm>
              <a:off x="262161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1" name="Rechteck 770">
              <a:extLst>
                <a:ext uri="{FF2B5EF4-FFF2-40B4-BE49-F238E27FC236}">
                  <a16:creationId xmlns:a16="http://schemas.microsoft.com/office/drawing/2014/main" id="{9B15B4A5-F35A-BB2E-3C9D-70C99C1807DE}"/>
                </a:ext>
              </a:extLst>
            </p:cNvPr>
            <p:cNvSpPr/>
            <p:nvPr userDrawn="1"/>
          </p:nvSpPr>
          <p:spPr bwMode="gray">
            <a:xfrm>
              <a:off x="204555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2" name="Rechteck 771">
              <a:extLst>
                <a:ext uri="{FF2B5EF4-FFF2-40B4-BE49-F238E27FC236}">
                  <a16:creationId xmlns:a16="http://schemas.microsoft.com/office/drawing/2014/main" id="{49CCCA99-C2B6-611A-CCCB-3811816822EF}"/>
                </a:ext>
              </a:extLst>
            </p:cNvPr>
            <p:cNvSpPr/>
            <p:nvPr userDrawn="1"/>
          </p:nvSpPr>
          <p:spPr bwMode="gray">
            <a:xfrm>
              <a:off x="146948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3" name="Rechteck 772">
              <a:extLst>
                <a:ext uri="{FF2B5EF4-FFF2-40B4-BE49-F238E27FC236}">
                  <a16:creationId xmlns:a16="http://schemas.microsoft.com/office/drawing/2014/main" id="{D971676A-49E8-8E52-F392-F62BCB00F56D}"/>
                </a:ext>
              </a:extLst>
            </p:cNvPr>
            <p:cNvSpPr/>
            <p:nvPr userDrawn="1"/>
          </p:nvSpPr>
          <p:spPr bwMode="gray">
            <a:xfrm>
              <a:off x="89342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4" name="Rechteck 773">
              <a:extLst>
                <a:ext uri="{FF2B5EF4-FFF2-40B4-BE49-F238E27FC236}">
                  <a16:creationId xmlns:a16="http://schemas.microsoft.com/office/drawing/2014/main" id="{0FAFFC2C-6D2A-7FD2-5C1D-679BF8580336}"/>
                </a:ext>
              </a:extLst>
            </p:cNvPr>
            <p:cNvSpPr/>
            <p:nvPr userDrawn="1"/>
          </p:nvSpPr>
          <p:spPr bwMode="gray">
            <a:xfrm>
              <a:off x="31736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5" name="Rechteck 774">
              <a:extLst>
                <a:ext uri="{FF2B5EF4-FFF2-40B4-BE49-F238E27FC236}">
                  <a16:creationId xmlns:a16="http://schemas.microsoft.com/office/drawing/2014/main" id="{3F1A07A8-89D5-0FD3-FD39-C87E861A1619}"/>
                </a:ext>
              </a:extLst>
            </p:cNvPr>
            <p:cNvSpPr/>
            <p:nvPr userDrawn="1"/>
          </p:nvSpPr>
          <p:spPr bwMode="gray">
            <a:xfrm>
              <a:off x="1183864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6" name="Rechteck 775">
              <a:extLst>
                <a:ext uri="{FF2B5EF4-FFF2-40B4-BE49-F238E27FC236}">
                  <a16:creationId xmlns:a16="http://schemas.microsoft.com/office/drawing/2014/main" id="{2DA033D9-ADE1-D1C0-2A9A-9862A7F71C17}"/>
                </a:ext>
              </a:extLst>
            </p:cNvPr>
            <p:cNvSpPr/>
            <p:nvPr userDrawn="1"/>
          </p:nvSpPr>
          <p:spPr bwMode="gray">
            <a:xfrm>
              <a:off x="1183864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7" name="Rechteck 776">
              <a:extLst>
                <a:ext uri="{FF2B5EF4-FFF2-40B4-BE49-F238E27FC236}">
                  <a16:creationId xmlns:a16="http://schemas.microsoft.com/office/drawing/2014/main" id="{42A01133-DC9B-D79B-0293-DBB3E17593F4}"/>
                </a:ext>
              </a:extLst>
            </p:cNvPr>
            <p:cNvSpPr/>
            <p:nvPr userDrawn="1"/>
          </p:nvSpPr>
          <p:spPr bwMode="gray">
            <a:xfrm>
              <a:off x="1183864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8" name="Rechteck 777">
              <a:extLst>
                <a:ext uri="{FF2B5EF4-FFF2-40B4-BE49-F238E27FC236}">
                  <a16:creationId xmlns:a16="http://schemas.microsoft.com/office/drawing/2014/main" id="{CA2C86D9-30FC-40C1-A918-FEB1EFB04C09}"/>
                </a:ext>
              </a:extLst>
            </p:cNvPr>
            <p:cNvSpPr/>
            <p:nvPr userDrawn="1"/>
          </p:nvSpPr>
          <p:spPr bwMode="gray">
            <a:xfrm>
              <a:off x="1183864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9" name="Rechteck 778">
              <a:extLst>
                <a:ext uri="{FF2B5EF4-FFF2-40B4-BE49-F238E27FC236}">
                  <a16:creationId xmlns:a16="http://schemas.microsoft.com/office/drawing/2014/main" id="{726C2F39-1971-09C6-B206-863442514B2E}"/>
                </a:ext>
              </a:extLst>
            </p:cNvPr>
            <p:cNvSpPr/>
            <p:nvPr userDrawn="1"/>
          </p:nvSpPr>
          <p:spPr bwMode="gray">
            <a:xfrm>
              <a:off x="1183864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0" name="Rechteck 779">
              <a:extLst>
                <a:ext uri="{FF2B5EF4-FFF2-40B4-BE49-F238E27FC236}">
                  <a16:creationId xmlns:a16="http://schemas.microsoft.com/office/drawing/2014/main" id="{1DFEE28A-2910-D880-2F48-4E5F4EBA30AD}"/>
                </a:ext>
              </a:extLst>
            </p:cNvPr>
            <p:cNvSpPr/>
            <p:nvPr userDrawn="1"/>
          </p:nvSpPr>
          <p:spPr bwMode="gray">
            <a:xfrm>
              <a:off x="1183864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1" name="Rechteck 780">
              <a:extLst>
                <a:ext uri="{FF2B5EF4-FFF2-40B4-BE49-F238E27FC236}">
                  <a16:creationId xmlns:a16="http://schemas.microsoft.com/office/drawing/2014/main" id="{F43BB0A9-F7DE-388D-1EB0-C1BD3953C1EB}"/>
                </a:ext>
              </a:extLst>
            </p:cNvPr>
            <p:cNvSpPr/>
            <p:nvPr userDrawn="1"/>
          </p:nvSpPr>
          <p:spPr bwMode="gray">
            <a:xfrm>
              <a:off x="1183864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2" name="Rechteck 781">
              <a:extLst>
                <a:ext uri="{FF2B5EF4-FFF2-40B4-BE49-F238E27FC236}">
                  <a16:creationId xmlns:a16="http://schemas.microsoft.com/office/drawing/2014/main" id="{DA175851-14D4-2B70-55D0-BEB79BC9C97D}"/>
                </a:ext>
              </a:extLst>
            </p:cNvPr>
            <p:cNvSpPr/>
            <p:nvPr userDrawn="1"/>
          </p:nvSpPr>
          <p:spPr bwMode="gray">
            <a:xfrm>
              <a:off x="1183864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3" name="Rechteck 782">
              <a:extLst>
                <a:ext uri="{FF2B5EF4-FFF2-40B4-BE49-F238E27FC236}">
                  <a16:creationId xmlns:a16="http://schemas.microsoft.com/office/drawing/2014/main" id="{2A897DCE-B662-9E4E-64B0-E07C88FBB45A}"/>
                </a:ext>
              </a:extLst>
            </p:cNvPr>
            <p:cNvSpPr/>
            <p:nvPr userDrawn="1"/>
          </p:nvSpPr>
          <p:spPr bwMode="gray">
            <a:xfrm>
              <a:off x="1183864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grpSp>
      <p:grpSp>
        <p:nvGrpSpPr>
          <p:cNvPr id="373" name="Gruppieren 372">
            <a:extLst>
              <a:ext uri="{FF2B5EF4-FFF2-40B4-BE49-F238E27FC236}">
                <a16:creationId xmlns:a16="http://schemas.microsoft.com/office/drawing/2014/main" id="{F89F7176-DEFB-365C-16D7-FE40D664897D}"/>
              </a:ext>
              <a:ext uri="{C183D7F6-B498-43B3-948B-1728B52AA6E4}">
                <adec:decorative xmlns:adec="http://schemas.microsoft.com/office/drawing/2017/decorative" val="1"/>
              </a:ext>
            </a:extLst>
          </p:cNvPr>
          <p:cNvGrpSpPr/>
          <p:nvPr userDrawn="1"/>
        </p:nvGrpSpPr>
        <p:grpSpPr>
          <a:xfrm>
            <a:off x="838831" y="2082829"/>
            <a:ext cx="2448000" cy="0"/>
            <a:chOff x="983432" y="2082829"/>
            <a:chExt cx="2448000" cy="0"/>
          </a:xfrm>
        </p:grpSpPr>
        <p:cxnSp>
          <p:nvCxnSpPr>
            <p:cNvPr id="374" name="Line">
              <a:extLst>
                <a:ext uri="{FF2B5EF4-FFF2-40B4-BE49-F238E27FC236}">
                  <a16:creationId xmlns:a16="http://schemas.microsoft.com/office/drawing/2014/main" id="{9D48E6C8-09ED-8AFB-D9F8-809D8AF951C4}"/>
                </a:ext>
                <a:ext uri="{C183D7F6-B498-43B3-948B-1728B52AA6E4}">
                  <adec:decorative xmlns:adec="http://schemas.microsoft.com/office/drawing/2017/decorative" val="1"/>
                </a:ext>
              </a:extLst>
            </p:cNvPr>
            <p:cNvCxnSpPr>
              <a:cxnSpLocks/>
            </p:cNvCxnSpPr>
            <p:nvPr userDrawn="1"/>
          </p:nvCxnSpPr>
          <p:spPr bwMode="gray">
            <a:xfrm>
              <a:off x="983432" y="2082829"/>
              <a:ext cx="2448000" cy="0"/>
            </a:xfrm>
            <a:prstGeom prst="line">
              <a:avLst/>
            </a:prstGeom>
            <a:ln w="1047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5" name="Line">
              <a:extLst>
                <a:ext uri="{FF2B5EF4-FFF2-40B4-BE49-F238E27FC236}">
                  <a16:creationId xmlns:a16="http://schemas.microsoft.com/office/drawing/2014/main" id="{75F8569B-101D-D3D6-3272-35814E3FB504}"/>
                </a:ext>
                <a:ext uri="{C183D7F6-B498-43B3-948B-1728B52AA6E4}">
                  <adec:decorative xmlns:adec="http://schemas.microsoft.com/office/drawing/2017/decorative" val="1"/>
                </a:ext>
              </a:extLst>
            </p:cNvPr>
            <p:cNvCxnSpPr>
              <a:cxnSpLocks/>
            </p:cNvCxnSpPr>
            <p:nvPr userDrawn="1"/>
          </p:nvCxnSpPr>
          <p:spPr bwMode="gray">
            <a:xfrm>
              <a:off x="1056000" y="2082829"/>
              <a:ext cx="2303696"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376" name="Shape">
            <a:extLst>
              <a:ext uri="{FF2B5EF4-FFF2-40B4-BE49-F238E27FC236}">
                <a16:creationId xmlns:a16="http://schemas.microsoft.com/office/drawing/2014/main" id="{218EE5D2-E8A9-C657-DB94-90EF6AB003B9}"/>
              </a:ext>
              <a:ext uri="{C183D7F6-B498-43B3-948B-1728B52AA6E4}">
                <adec:decorative xmlns:adec="http://schemas.microsoft.com/office/drawing/2017/decorative" val="1"/>
              </a:ext>
            </a:extLst>
          </p:cNvPr>
          <p:cNvSpPr>
            <a:spLocks/>
          </p:cNvSpPr>
          <p:nvPr userDrawn="1"/>
        </p:nvSpPr>
        <p:spPr bwMode="gray">
          <a:xfrm>
            <a:off x="4367808" y="2061400"/>
            <a:ext cx="5775177" cy="3463099"/>
          </a:xfrm>
          <a:custGeom>
            <a:avLst/>
            <a:gdLst>
              <a:gd name="connsiteX0" fmla="*/ 0 w 8604027"/>
              <a:gd name="connsiteY0" fmla="*/ 857 h 5734812"/>
              <a:gd name="connsiteX1" fmla="*/ 8604028 w 8604027"/>
              <a:gd name="connsiteY1" fmla="*/ 0 h 5734812"/>
              <a:gd name="connsiteX2" fmla="*/ 7170039 w 8604027"/>
              <a:gd name="connsiteY2" fmla="*/ 4301966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02506 w 8604029"/>
              <a:gd name="connsiteY2" fmla="*/ 3984076 h 5734812"/>
              <a:gd name="connsiteX3" fmla="*/ 0 w 8604029"/>
              <a:gd name="connsiteY3" fmla="*/ 5734812 h 5734812"/>
              <a:gd name="connsiteX4" fmla="*/ 0 w 8604029"/>
              <a:gd name="connsiteY4" fmla="*/ 857 h 5734812"/>
              <a:gd name="connsiteX0" fmla="*/ 0 w 8604027"/>
              <a:gd name="connsiteY0" fmla="*/ 857 h 5734812"/>
              <a:gd name="connsiteX1" fmla="*/ 8604028 w 8604027"/>
              <a:gd name="connsiteY1" fmla="*/ 0 h 5734812"/>
              <a:gd name="connsiteX2" fmla="*/ 7046854 w 8604027"/>
              <a:gd name="connsiteY2" fmla="*/ 4091749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50550 w 8604029"/>
              <a:gd name="connsiteY2" fmla="*/ 4107130 h 5734812"/>
              <a:gd name="connsiteX3" fmla="*/ 0 w 8604029"/>
              <a:gd name="connsiteY3" fmla="*/ 5734812 h 5734812"/>
              <a:gd name="connsiteX4" fmla="*/ 0 w 8604029"/>
              <a:gd name="connsiteY4" fmla="*/ 857 h 5734812"/>
              <a:gd name="connsiteX0" fmla="*/ 0 w 8604028"/>
              <a:gd name="connsiteY0" fmla="*/ 857 h 5734812"/>
              <a:gd name="connsiteX1" fmla="*/ 8604028 w 8604028"/>
              <a:gd name="connsiteY1" fmla="*/ 0 h 5734812"/>
              <a:gd name="connsiteX2" fmla="*/ 6576335 w 8604028"/>
              <a:gd name="connsiteY2" fmla="*/ 3411651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98802 w 8604028"/>
              <a:gd name="connsiteY2" fmla="*/ 3812078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905914 w 8604028"/>
              <a:gd name="connsiteY2" fmla="*/ 3827884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70437 w 8604028"/>
              <a:gd name="connsiteY2" fmla="*/ 3745075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84628 w 8604028"/>
              <a:gd name="connsiteY2" fmla="*/ 3827883 h 5734812"/>
              <a:gd name="connsiteX3" fmla="*/ 0 w 8604028"/>
              <a:gd name="connsiteY3" fmla="*/ 5734812 h 5734812"/>
              <a:gd name="connsiteX4" fmla="*/ 0 w 8604028"/>
              <a:gd name="connsiteY4" fmla="*/ 857 h 5734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4028" h="5734812">
                <a:moveTo>
                  <a:pt x="0" y="857"/>
                </a:moveTo>
                <a:lnTo>
                  <a:pt x="8604028" y="0"/>
                </a:lnTo>
                <a:lnTo>
                  <a:pt x="6884628" y="3827883"/>
                </a:lnTo>
                <a:lnTo>
                  <a:pt x="0" y="5734812"/>
                </a:lnTo>
                <a:lnTo>
                  <a:pt x="0" y="857"/>
                </a:lnTo>
                <a:close/>
              </a:path>
            </a:pathLst>
          </a:custGeom>
          <a:solidFill>
            <a:schemeClr val="bg1"/>
          </a:solidFill>
          <a:ln w="76200" cap="flat">
            <a:solidFill>
              <a:schemeClr val="bg1"/>
            </a:solidFill>
            <a:prstDash val="solid"/>
            <a:miter/>
          </a:ln>
        </p:spPr>
        <p:txBody>
          <a:bodyPr rtlCol="0" anchor="ctr"/>
          <a:lstStyle/>
          <a:p>
            <a:endParaRPr lang="en-GB" dirty="0"/>
          </a:p>
        </p:txBody>
      </p:sp>
      <p:sp>
        <p:nvSpPr>
          <p:cNvPr id="377" name="Shape">
            <a:extLst>
              <a:ext uri="{FF2B5EF4-FFF2-40B4-BE49-F238E27FC236}">
                <a16:creationId xmlns:a16="http://schemas.microsoft.com/office/drawing/2014/main" id="{E6A93741-C507-32B5-E66A-C567217F0E4C}"/>
              </a:ext>
              <a:ext uri="{C183D7F6-B498-43B3-948B-1728B52AA6E4}">
                <adec:decorative xmlns:adec="http://schemas.microsoft.com/office/drawing/2017/decorative" val="1"/>
              </a:ext>
            </a:extLst>
          </p:cNvPr>
          <p:cNvSpPr>
            <a:spLocks/>
          </p:cNvSpPr>
          <p:nvPr userDrawn="1"/>
        </p:nvSpPr>
        <p:spPr bwMode="gray">
          <a:xfrm>
            <a:off x="4367808" y="2061400"/>
            <a:ext cx="5775177" cy="3463099"/>
          </a:xfrm>
          <a:custGeom>
            <a:avLst/>
            <a:gdLst>
              <a:gd name="connsiteX0" fmla="*/ 0 w 8604027"/>
              <a:gd name="connsiteY0" fmla="*/ 857 h 5734812"/>
              <a:gd name="connsiteX1" fmla="*/ 8604028 w 8604027"/>
              <a:gd name="connsiteY1" fmla="*/ 0 h 5734812"/>
              <a:gd name="connsiteX2" fmla="*/ 7170039 w 8604027"/>
              <a:gd name="connsiteY2" fmla="*/ 4301966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02506 w 8604029"/>
              <a:gd name="connsiteY2" fmla="*/ 3984076 h 5734812"/>
              <a:gd name="connsiteX3" fmla="*/ 0 w 8604029"/>
              <a:gd name="connsiteY3" fmla="*/ 5734812 h 5734812"/>
              <a:gd name="connsiteX4" fmla="*/ 0 w 8604029"/>
              <a:gd name="connsiteY4" fmla="*/ 857 h 5734812"/>
              <a:gd name="connsiteX0" fmla="*/ 0 w 8604027"/>
              <a:gd name="connsiteY0" fmla="*/ 857 h 5734812"/>
              <a:gd name="connsiteX1" fmla="*/ 8604028 w 8604027"/>
              <a:gd name="connsiteY1" fmla="*/ 0 h 5734812"/>
              <a:gd name="connsiteX2" fmla="*/ 7046854 w 8604027"/>
              <a:gd name="connsiteY2" fmla="*/ 4091749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50550 w 8604029"/>
              <a:gd name="connsiteY2" fmla="*/ 4107130 h 5734812"/>
              <a:gd name="connsiteX3" fmla="*/ 0 w 8604029"/>
              <a:gd name="connsiteY3" fmla="*/ 5734812 h 5734812"/>
              <a:gd name="connsiteX4" fmla="*/ 0 w 8604029"/>
              <a:gd name="connsiteY4" fmla="*/ 857 h 5734812"/>
              <a:gd name="connsiteX0" fmla="*/ 0 w 8604028"/>
              <a:gd name="connsiteY0" fmla="*/ 857 h 5734812"/>
              <a:gd name="connsiteX1" fmla="*/ 8604028 w 8604028"/>
              <a:gd name="connsiteY1" fmla="*/ 0 h 5734812"/>
              <a:gd name="connsiteX2" fmla="*/ 6576335 w 8604028"/>
              <a:gd name="connsiteY2" fmla="*/ 3411651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98802 w 8604028"/>
              <a:gd name="connsiteY2" fmla="*/ 3812078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905914 w 8604028"/>
              <a:gd name="connsiteY2" fmla="*/ 3827884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70437 w 8604028"/>
              <a:gd name="connsiteY2" fmla="*/ 3745075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84628 w 8604028"/>
              <a:gd name="connsiteY2" fmla="*/ 3827883 h 5734812"/>
              <a:gd name="connsiteX3" fmla="*/ 0 w 8604028"/>
              <a:gd name="connsiteY3" fmla="*/ 5734812 h 5734812"/>
              <a:gd name="connsiteX4" fmla="*/ 0 w 8604028"/>
              <a:gd name="connsiteY4" fmla="*/ 857 h 5734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4028" h="5734812">
                <a:moveTo>
                  <a:pt x="0" y="857"/>
                </a:moveTo>
                <a:lnTo>
                  <a:pt x="8604028" y="0"/>
                </a:lnTo>
                <a:lnTo>
                  <a:pt x="6884628" y="3827883"/>
                </a:lnTo>
                <a:lnTo>
                  <a:pt x="0" y="5734812"/>
                </a:lnTo>
                <a:lnTo>
                  <a:pt x="0" y="857"/>
                </a:lnTo>
                <a:close/>
              </a:path>
            </a:pathLst>
          </a:custGeom>
          <a:solidFill>
            <a:schemeClr val="accent5"/>
          </a:solidFill>
          <a:ln w="9525" cap="flat">
            <a:noFill/>
            <a:prstDash val="solid"/>
            <a:miter/>
          </a:ln>
        </p:spPr>
        <p:txBody>
          <a:bodyPr rtlCol="0" anchor="ctr"/>
          <a:lstStyle/>
          <a:p>
            <a:endParaRPr lang="en-GB" dirty="0"/>
          </a:p>
        </p:txBody>
      </p:sp>
      <p:pic>
        <p:nvPicPr>
          <p:cNvPr id="378" name="Logo">
            <a:extLst>
              <a:ext uri="{FF2B5EF4-FFF2-40B4-BE49-F238E27FC236}">
                <a16:creationId xmlns:a16="http://schemas.microsoft.com/office/drawing/2014/main" id="{072EC54C-2D86-265B-0867-F9D9F8FC333B}"/>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bwMode="gray">
          <a:xfrm>
            <a:off x="10128448" y="335757"/>
            <a:ext cx="1358180" cy="576000"/>
          </a:xfrm>
          <a:prstGeom prst="rect">
            <a:avLst/>
          </a:prstGeom>
        </p:spPr>
      </p:pic>
      <p:sp>
        <p:nvSpPr>
          <p:cNvPr id="379" name="Title">
            <a:extLst>
              <a:ext uri="{FF2B5EF4-FFF2-40B4-BE49-F238E27FC236}">
                <a16:creationId xmlns:a16="http://schemas.microsoft.com/office/drawing/2014/main" id="{71A84BAA-B22F-F152-F5B4-EA6466D946CF}"/>
              </a:ext>
            </a:extLst>
          </p:cNvPr>
          <p:cNvSpPr>
            <a:spLocks noGrp="1"/>
          </p:cNvSpPr>
          <p:nvPr>
            <p:ph type="ctrTitle" hasCustomPrompt="1"/>
          </p:nvPr>
        </p:nvSpPr>
        <p:spPr bwMode="gray">
          <a:xfrm>
            <a:off x="4583809" y="2205400"/>
            <a:ext cx="4968575" cy="1367992"/>
          </a:xfrm>
          <a:prstGeom prst="rect">
            <a:avLst/>
          </a:prstGeom>
        </p:spPr>
        <p:txBody>
          <a:bodyPr vert="horz" tIns="54000" anchor="t">
            <a:noAutofit/>
          </a:bodyPr>
          <a:lstStyle>
            <a:lvl1pPr algn="l">
              <a:lnSpc>
                <a:spcPct val="90000"/>
              </a:lnSpc>
              <a:defRPr sz="3000" baseline="0">
                <a:solidFill>
                  <a:schemeClr val="tx1"/>
                </a:solidFill>
              </a:defRPr>
            </a:lvl1pPr>
          </a:lstStyle>
          <a:p>
            <a:r>
              <a:rPr lang="en-GB" dirty="0"/>
              <a:t>Insert your long title of presentation here in maximal three lines</a:t>
            </a:r>
          </a:p>
        </p:txBody>
      </p:sp>
      <p:sp>
        <p:nvSpPr>
          <p:cNvPr id="380" name="Subtitle 2">
            <a:extLst>
              <a:ext uri="{FF2B5EF4-FFF2-40B4-BE49-F238E27FC236}">
                <a16:creationId xmlns:a16="http://schemas.microsoft.com/office/drawing/2014/main" id="{E88CDA76-3AD1-A375-BFB4-C6BBAFEE32B1}"/>
              </a:ext>
            </a:extLst>
          </p:cNvPr>
          <p:cNvSpPr>
            <a:spLocks noGrp="1"/>
          </p:cNvSpPr>
          <p:nvPr>
            <p:ph type="subTitle" idx="1" hasCustomPrompt="1"/>
          </p:nvPr>
        </p:nvSpPr>
        <p:spPr bwMode="gray">
          <a:xfrm>
            <a:off x="4583809" y="3789400"/>
            <a:ext cx="4392511" cy="1080000"/>
          </a:xfrm>
          <a:prstGeom prst="rect">
            <a:avLst/>
          </a:prstGeom>
        </p:spPr>
        <p:txBody>
          <a:bodyPr/>
          <a:lstStyle>
            <a:lvl1pPr marL="0" indent="0" algn="l">
              <a:lnSpc>
                <a:spcPct val="100000"/>
              </a:lnSpc>
              <a:spcBef>
                <a:spcPts val="0"/>
              </a:spcBef>
              <a:buNone/>
              <a:defRPr sz="2000" b="0">
                <a:solidFill>
                  <a:schemeClr val="tx1"/>
                </a:solidFill>
                <a:latin typeface="+mn-lt"/>
              </a:defRPr>
            </a:lvl1pPr>
            <a:lvl2pPr marL="0" indent="0" algn="l">
              <a:lnSpc>
                <a:spcPct val="100000"/>
              </a:lnSpc>
              <a:spcBef>
                <a:spcPts val="0"/>
              </a:spcBef>
              <a:buNone/>
              <a:defRPr sz="2000" b="0">
                <a:solidFill>
                  <a:schemeClr val="tx1"/>
                </a:solidFill>
                <a:latin typeface="+mn-lt"/>
              </a:defRPr>
            </a:lvl2pPr>
            <a:lvl3pPr marL="0" indent="0" algn="l">
              <a:lnSpc>
                <a:spcPct val="100000"/>
              </a:lnSpc>
              <a:spcBef>
                <a:spcPts val="0"/>
              </a:spcBef>
              <a:buNone/>
              <a:defRPr sz="2000" b="0">
                <a:solidFill>
                  <a:schemeClr val="tx1"/>
                </a:solidFill>
                <a:latin typeface="+mn-lt"/>
              </a:defRPr>
            </a:lvl3pPr>
            <a:lvl4pPr marL="0" indent="0" algn="l">
              <a:lnSpc>
                <a:spcPct val="100000"/>
              </a:lnSpc>
              <a:spcBef>
                <a:spcPts val="0"/>
              </a:spcBef>
              <a:buNone/>
              <a:defRPr sz="2000" b="0">
                <a:solidFill>
                  <a:schemeClr val="tx1"/>
                </a:solidFill>
                <a:latin typeface="+mn-lt"/>
              </a:defRPr>
            </a:lvl4pPr>
            <a:lvl5pPr marL="0" indent="0" algn="l">
              <a:lnSpc>
                <a:spcPct val="100000"/>
              </a:lnSpc>
              <a:spcBef>
                <a:spcPts val="0"/>
              </a:spcBef>
              <a:buNone/>
              <a:defRPr sz="2000" b="0">
                <a:solidFill>
                  <a:schemeClr val="tx1"/>
                </a:solidFill>
                <a:latin typeface="+mn-lt"/>
              </a:defRPr>
            </a:lvl5pPr>
            <a:lvl6pPr marL="0" indent="0" algn="l">
              <a:lnSpc>
                <a:spcPct val="100000"/>
              </a:lnSpc>
              <a:spcBef>
                <a:spcPts val="0"/>
              </a:spcBef>
              <a:buNone/>
              <a:defRPr sz="2000" b="0">
                <a:solidFill>
                  <a:schemeClr val="tx1"/>
                </a:solidFill>
                <a:latin typeface="+mn-lt"/>
              </a:defRPr>
            </a:lvl6pPr>
            <a:lvl7pPr marL="0" indent="0" algn="l">
              <a:lnSpc>
                <a:spcPct val="100000"/>
              </a:lnSpc>
              <a:spcBef>
                <a:spcPts val="0"/>
              </a:spcBef>
              <a:buNone/>
              <a:defRPr sz="2000" b="0">
                <a:solidFill>
                  <a:schemeClr val="tx1"/>
                </a:solidFill>
                <a:latin typeface="+mn-lt"/>
              </a:defRPr>
            </a:lvl7pPr>
            <a:lvl8pPr marL="0" indent="0" algn="l">
              <a:lnSpc>
                <a:spcPct val="100000"/>
              </a:lnSpc>
              <a:spcBef>
                <a:spcPts val="0"/>
              </a:spcBef>
              <a:buNone/>
              <a:defRPr sz="2000" b="0">
                <a:solidFill>
                  <a:schemeClr val="tx1"/>
                </a:solidFill>
                <a:latin typeface="+mn-lt"/>
              </a:defRPr>
            </a:lvl8pPr>
            <a:lvl9pPr marL="0" indent="0" algn="l">
              <a:lnSpc>
                <a:spcPct val="100000"/>
              </a:lnSpc>
              <a:spcBef>
                <a:spcPts val="0"/>
              </a:spcBef>
              <a:buNone/>
              <a:defRPr sz="2000" b="0">
                <a:solidFill>
                  <a:schemeClr val="tx1"/>
                </a:solidFill>
                <a:latin typeface="+mn-lt"/>
              </a:defRPr>
            </a:lvl9pPr>
          </a:lstStyle>
          <a:p>
            <a:r>
              <a:rPr lang="en-GB" dirty="0"/>
              <a:t>Insert here your subtitle</a:t>
            </a:r>
          </a:p>
        </p:txBody>
      </p:sp>
      <p:sp>
        <p:nvSpPr>
          <p:cNvPr id="381" name="Author">
            <a:extLst>
              <a:ext uri="{FF2B5EF4-FFF2-40B4-BE49-F238E27FC236}">
                <a16:creationId xmlns:a16="http://schemas.microsoft.com/office/drawing/2014/main" id="{9FD34093-2C8E-F916-5795-383A8E4D4088}"/>
              </a:ext>
            </a:extLst>
          </p:cNvPr>
          <p:cNvSpPr>
            <a:spLocks noGrp="1"/>
          </p:cNvSpPr>
          <p:nvPr>
            <p:ph type="body" sz="quarter" idx="14" hasCustomPrompt="1"/>
          </p:nvPr>
        </p:nvSpPr>
        <p:spPr bwMode="gray">
          <a:xfrm>
            <a:off x="695400" y="2277400"/>
            <a:ext cx="2807728" cy="216000"/>
          </a:xfrm>
          <a:prstGeom prst="rect">
            <a:avLst/>
          </a:prstGeom>
          <a:solidFill>
            <a:schemeClr val="bg1"/>
          </a:solidFill>
          <a:ln w="127">
            <a:solidFill>
              <a:schemeClr val="bg1"/>
            </a:solidFill>
          </a:ln>
        </p:spPr>
        <p:txBody>
          <a:bodyPr wrap="square" lIns="216000" rIns="216000"/>
          <a:lstStyle>
            <a:lvl1pPr marL="0" indent="0">
              <a:lnSpc>
                <a:spcPct val="100000"/>
              </a:lnSpc>
              <a:spcBef>
                <a:spcPts val="0"/>
              </a:spcBef>
              <a:buFont typeface="Arial" panose="020B0604020202020204" pitchFamily="34" charset="0"/>
              <a:buNone/>
              <a:defRPr sz="1200" b="0">
                <a:latin typeface="+mj-lt"/>
              </a:defRPr>
            </a:lvl1pPr>
            <a:lvl2pPr marL="0" indent="0">
              <a:lnSpc>
                <a:spcPct val="100000"/>
              </a:lnSpc>
              <a:spcBef>
                <a:spcPts val="0"/>
              </a:spcBef>
              <a:buFont typeface="Arial" panose="020B0604020202020204" pitchFamily="34" charset="0"/>
              <a:buNone/>
              <a:defRPr sz="1200" b="0">
                <a:latin typeface="+mj-lt"/>
              </a:defRPr>
            </a:lvl2pPr>
            <a:lvl3pPr marL="0" indent="0">
              <a:lnSpc>
                <a:spcPct val="100000"/>
              </a:lnSpc>
              <a:spcBef>
                <a:spcPts val="0"/>
              </a:spcBef>
              <a:buFont typeface="Arial" panose="020B0604020202020204" pitchFamily="34" charset="0"/>
              <a:buNone/>
              <a:defRPr sz="1200" b="0">
                <a:latin typeface="+mj-lt"/>
              </a:defRPr>
            </a:lvl3pPr>
            <a:lvl4pPr marL="0" indent="0">
              <a:lnSpc>
                <a:spcPct val="100000"/>
              </a:lnSpc>
              <a:spcBef>
                <a:spcPts val="0"/>
              </a:spcBef>
              <a:buFont typeface="Arial" panose="020B0604020202020204" pitchFamily="34" charset="0"/>
              <a:buNone/>
              <a:defRPr sz="1200" b="0">
                <a:latin typeface="+mj-lt"/>
              </a:defRPr>
            </a:lvl4pPr>
            <a:lvl5pPr marL="0" indent="0">
              <a:lnSpc>
                <a:spcPct val="100000"/>
              </a:lnSpc>
              <a:spcBef>
                <a:spcPts val="0"/>
              </a:spcBef>
              <a:buFont typeface="Arial" panose="020B0604020202020204" pitchFamily="34" charset="0"/>
              <a:buNone/>
              <a:defRPr sz="1200" b="0">
                <a:latin typeface="+mj-lt"/>
              </a:defRPr>
            </a:lvl5pPr>
            <a:lvl6pPr marL="0" indent="0">
              <a:lnSpc>
                <a:spcPct val="100000"/>
              </a:lnSpc>
              <a:spcBef>
                <a:spcPts val="0"/>
              </a:spcBef>
              <a:buNone/>
              <a:defRPr sz="1200" b="0">
                <a:latin typeface="+mj-lt"/>
              </a:defRPr>
            </a:lvl6pPr>
            <a:lvl7pPr marL="0" indent="0">
              <a:lnSpc>
                <a:spcPct val="100000"/>
              </a:lnSpc>
              <a:spcBef>
                <a:spcPts val="0"/>
              </a:spcBef>
              <a:buNone/>
              <a:defRPr sz="1200" b="0">
                <a:latin typeface="+mj-lt"/>
              </a:defRPr>
            </a:lvl7pPr>
            <a:lvl8pPr marL="0" indent="0">
              <a:lnSpc>
                <a:spcPct val="100000"/>
              </a:lnSpc>
              <a:spcBef>
                <a:spcPts val="0"/>
              </a:spcBef>
              <a:buNone/>
              <a:defRPr sz="1200" b="0">
                <a:latin typeface="+mj-lt"/>
              </a:defRPr>
            </a:lvl8pPr>
            <a:lvl9pPr marL="0" indent="0">
              <a:lnSpc>
                <a:spcPct val="100000"/>
              </a:lnSpc>
              <a:spcBef>
                <a:spcPts val="0"/>
              </a:spcBef>
              <a:buNone/>
              <a:defRPr sz="1200" b="0">
                <a:latin typeface="+mj-lt"/>
              </a:defRPr>
            </a:lvl9pPr>
          </a:lstStyle>
          <a:p>
            <a:pPr lvl="0"/>
            <a:r>
              <a:rPr lang="en-GB" dirty="0"/>
              <a:t>First name Last name</a:t>
            </a:r>
          </a:p>
        </p:txBody>
      </p:sp>
      <p:sp>
        <p:nvSpPr>
          <p:cNvPr id="382" name="Department, Date">
            <a:extLst>
              <a:ext uri="{FF2B5EF4-FFF2-40B4-BE49-F238E27FC236}">
                <a16:creationId xmlns:a16="http://schemas.microsoft.com/office/drawing/2014/main" id="{1D8676A8-F248-476B-915C-C850300811B0}"/>
              </a:ext>
            </a:extLst>
          </p:cNvPr>
          <p:cNvSpPr>
            <a:spLocks noGrp="1"/>
          </p:cNvSpPr>
          <p:nvPr>
            <p:ph type="body" sz="quarter" idx="15" hasCustomPrompt="1"/>
          </p:nvPr>
        </p:nvSpPr>
        <p:spPr bwMode="gray">
          <a:xfrm>
            <a:off x="695400" y="2493400"/>
            <a:ext cx="2807728" cy="1007608"/>
          </a:xfrm>
          <a:prstGeom prst="rect">
            <a:avLst/>
          </a:prstGeom>
          <a:solidFill>
            <a:schemeClr val="bg1"/>
          </a:solidFill>
          <a:ln w="127">
            <a:solidFill>
              <a:schemeClr val="bg1"/>
            </a:solidFill>
          </a:ln>
        </p:spPr>
        <p:txBody>
          <a:bodyPr wrap="square" lIns="216000" rIns="216000"/>
          <a:lstStyle>
            <a:lvl1pPr marL="0" indent="0">
              <a:lnSpc>
                <a:spcPct val="100000"/>
              </a:lnSpc>
              <a:spcBef>
                <a:spcPts val="0"/>
              </a:spcBef>
              <a:buFont typeface="Arial" panose="020B0604020202020204" pitchFamily="34" charset="0"/>
              <a:buNone/>
              <a:defRPr sz="1200" i="1">
                <a:latin typeface="+mn-lt"/>
              </a:defRPr>
            </a:lvl1pPr>
            <a:lvl2pPr marL="0" indent="0">
              <a:lnSpc>
                <a:spcPct val="100000"/>
              </a:lnSpc>
              <a:spcBef>
                <a:spcPts val="0"/>
              </a:spcBef>
              <a:buFont typeface="Arial" panose="020B0604020202020204" pitchFamily="34" charset="0"/>
              <a:buNone/>
              <a:defRPr sz="1200" i="1">
                <a:latin typeface="+mn-lt"/>
              </a:defRPr>
            </a:lvl2pPr>
            <a:lvl3pPr marL="0" indent="0">
              <a:lnSpc>
                <a:spcPct val="100000"/>
              </a:lnSpc>
              <a:spcBef>
                <a:spcPts val="0"/>
              </a:spcBef>
              <a:buFont typeface="Arial" panose="020B0604020202020204" pitchFamily="34" charset="0"/>
              <a:buNone/>
              <a:defRPr sz="1200" i="1">
                <a:latin typeface="+mn-lt"/>
              </a:defRPr>
            </a:lvl3pPr>
            <a:lvl4pPr marL="0" indent="0">
              <a:lnSpc>
                <a:spcPct val="100000"/>
              </a:lnSpc>
              <a:spcBef>
                <a:spcPts val="0"/>
              </a:spcBef>
              <a:buFont typeface="Arial" panose="020B0604020202020204" pitchFamily="34" charset="0"/>
              <a:buNone/>
              <a:defRPr sz="1200" i="1">
                <a:latin typeface="+mn-lt"/>
              </a:defRPr>
            </a:lvl4pPr>
            <a:lvl5pPr marL="0" indent="0">
              <a:lnSpc>
                <a:spcPct val="100000"/>
              </a:lnSpc>
              <a:spcBef>
                <a:spcPts val="0"/>
              </a:spcBef>
              <a:buFont typeface="Arial" panose="020B0604020202020204" pitchFamily="34" charset="0"/>
              <a:buNone/>
              <a:defRPr sz="1200" i="1">
                <a:latin typeface="+mn-lt"/>
              </a:defRPr>
            </a:lvl5pPr>
            <a:lvl6pPr marL="0" indent="0">
              <a:lnSpc>
                <a:spcPct val="100000"/>
              </a:lnSpc>
              <a:spcBef>
                <a:spcPts val="0"/>
              </a:spcBef>
              <a:buNone/>
              <a:defRPr sz="1200" i="1">
                <a:latin typeface="+mn-lt"/>
              </a:defRPr>
            </a:lvl6pPr>
            <a:lvl7pPr marL="0" indent="0">
              <a:lnSpc>
                <a:spcPct val="100000"/>
              </a:lnSpc>
              <a:spcBef>
                <a:spcPts val="0"/>
              </a:spcBef>
              <a:buNone/>
              <a:defRPr sz="1200" i="1">
                <a:latin typeface="+mn-lt"/>
              </a:defRPr>
            </a:lvl7pPr>
            <a:lvl8pPr marL="0" indent="0">
              <a:lnSpc>
                <a:spcPct val="100000"/>
              </a:lnSpc>
              <a:spcBef>
                <a:spcPts val="0"/>
              </a:spcBef>
              <a:buNone/>
              <a:defRPr sz="1200" i="1">
                <a:latin typeface="+mn-lt"/>
              </a:defRPr>
            </a:lvl8pPr>
            <a:lvl9pPr marL="0" indent="0">
              <a:lnSpc>
                <a:spcPct val="100000"/>
              </a:lnSpc>
              <a:spcBef>
                <a:spcPts val="0"/>
              </a:spcBef>
              <a:buNone/>
              <a:defRPr sz="1200" i="1">
                <a:latin typeface="+mn-lt"/>
              </a:defRPr>
            </a:lvl9pPr>
          </a:lstStyle>
          <a:p>
            <a:pPr lvl="0"/>
            <a:r>
              <a:rPr lang="en-GB" dirty="0"/>
              <a:t>Department</a:t>
            </a:r>
            <a:br>
              <a:rPr lang="en-GB" dirty="0"/>
            </a:br>
            <a:r>
              <a:rPr lang="en-GB" dirty="0"/>
              <a:t>DD/MM/YYYY</a:t>
            </a:r>
          </a:p>
        </p:txBody>
      </p:sp>
    </p:spTree>
    <p:extLst>
      <p:ext uri="{BB962C8B-B14F-4D97-AF65-F5344CB8AC3E}">
        <p14:creationId xmlns:p14="http://schemas.microsoft.com/office/powerpoint/2010/main" val="1346420472"/>
      </p:ext>
    </p:extLst>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arge charts and table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C687A5C5-9ACE-2713-1BB3-6CB4107E5E25}"/>
              </a:ext>
            </a:extLst>
          </p:cNvPr>
          <p:cNvGraphicFramePr>
            <a:graphicFrameLocks noChangeAspect="1"/>
          </p:cNvGraphicFramePr>
          <p:nvPr userDrawn="1">
            <p:custDataLst>
              <p:tags r:id="rId1"/>
            </p:custDataLst>
            <p:extLst>
              <p:ext uri="{D42A27DB-BD31-4B8C-83A1-F6EECF244321}">
                <p14:modId xmlns:p14="http://schemas.microsoft.com/office/powerpoint/2010/main" val="4059913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4" name="Objekt 3" hidden="1">
                        <a:extLst>
                          <a:ext uri="{FF2B5EF4-FFF2-40B4-BE49-F238E27FC236}">
                            <a16:creationId xmlns:a16="http://schemas.microsoft.com/office/drawing/2014/main" id="{C687A5C5-9ACE-2713-1BB3-6CB4107E5E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a:extLst>
              <a:ext uri="{FF2B5EF4-FFF2-40B4-BE49-F238E27FC236}">
                <a16:creationId xmlns:a16="http://schemas.microsoft.com/office/drawing/2014/main" id="{F814CA5C-4F72-4D7A-9378-F25AAE1E1905}"/>
              </a:ext>
            </a:extLst>
          </p:cNvPr>
          <p:cNvSpPr>
            <a:spLocks noGrp="1"/>
          </p:cNvSpPr>
          <p:nvPr>
            <p:ph type="title" hasCustomPrompt="1"/>
          </p:nvPr>
        </p:nvSpPr>
        <p:spPr bwMode="gray"/>
        <p:txBody>
          <a:bodyPr vert="horz"/>
          <a:lstStyle>
            <a:lvl1pPr>
              <a:defRPr/>
            </a:lvl1pPr>
          </a:lstStyle>
          <a:p>
            <a:r>
              <a:rPr lang="en-GB" dirty="0"/>
              <a:t>Insert your headline in </a:t>
            </a:r>
            <a:r>
              <a:rPr lang="en-GB" dirty="0" err="1"/>
              <a:t>Lato</a:t>
            </a:r>
            <a:r>
              <a:rPr lang="en-GB" dirty="0"/>
              <a:t> Heavy 24 </a:t>
            </a:r>
            <a:r>
              <a:rPr lang="en-GB" dirty="0" err="1"/>
              <a:t>pt</a:t>
            </a:r>
            <a:r>
              <a:rPr lang="en-GB" dirty="0"/>
              <a:t> here</a:t>
            </a:r>
          </a:p>
        </p:txBody>
      </p:sp>
      <p:sp>
        <p:nvSpPr>
          <p:cNvPr id="3" name="Diagram"/>
          <p:cNvSpPr>
            <a:spLocks noGrp="1"/>
          </p:cNvSpPr>
          <p:nvPr>
            <p:ph idx="1" hasCustomPrompt="1"/>
          </p:nvPr>
        </p:nvSpPr>
        <p:spPr bwMode="gray">
          <a:xfrm>
            <a:off x="334964" y="2060575"/>
            <a:ext cx="11522074" cy="4032250"/>
          </a:xfrm>
          <a:prstGeom prst="rect">
            <a:avLst/>
          </a:prstGeom>
        </p:spPr>
        <p:txBody>
          <a:bodyPr anchor="t"/>
          <a:lstStyle>
            <a:lvl1pPr marL="0" indent="0" algn="ctr">
              <a:spcBef>
                <a:spcPts val="1000"/>
              </a:spcBef>
              <a:buNone/>
              <a:defRPr sz="1600" baseline="0"/>
            </a:lvl1pPr>
            <a:lvl2pPr marL="0" indent="0">
              <a:spcBef>
                <a:spcPts val="1000"/>
              </a:spcBef>
              <a:buNone/>
              <a:defRPr sz="2800"/>
            </a:lvl2pPr>
            <a:lvl3pPr marL="0" indent="0">
              <a:spcBef>
                <a:spcPts val="1000"/>
              </a:spcBef>
              <a:buNone/>
              <a:defRPr sz="2800"/>
            </a:lvl3pPr>
            <a:lvl4pPr>
              <a:spcBef>
                <a:spcPts val="1000"/>
              </a:spcBef>
              <a:buNone/>
              <a:defRPr sz="2800"/>
            </a:lvl4pPr>
            <a:lvl5pPr marL="0" indent="0">
              <a:spcBef>
                <a:spcPts val="1000"/>
              </a:spcBef>
              <a:buNone/>
              <a:defRPr sz="2800"/>
            </a:lvl5pPr>
          </a:lstStyle>
          <a:p>
            <a:pPr lvl="0"/>
            <a:r>
              <a:rPr lang="en-GB" dirty="0"/>
              <a:t>Use this layout for large charts and tables only. Please, do not use with text.</a:t>
            </a:r>
          </a:p>
        </p:txBody>
      </p:sp>
      <p:sp>
        <p:nvSpPr>
          <p:cNvPr id="10" name="Datumsplatzhalter 9">
            <a:extLst>
              <a:ext uri="{FF2B5EF4-FFF2-40B4-BE49-F238E27FC236}">
                <a16:creationId xmlns:a16="http://schemas.microsoft.com/office/drawing/2014/main" id="{4086B0CC-9C53-786C-5FE9-5B5520DF1D5B}"/>
              </a:ext>
            </a:extLst>
          </p:cNvPr>
          <p:cNvSpPr>
            <a:spLocks noGrp="1"/>
          </p:cNvSpPr>
          <p:nvPr>
            <p:ph type="dt" sz="half" idx="18"/>
          </p:nvPr>
        </p:nvSpPr>
        <p:spPr/>
        <p:txBody>
          <a:bodyPr/>
          <a:lstStyle/>
          <a:p>
            <a:r>
              <a:rPr lang="en-US"/>
              <a:t>7/26/2022</a:t>
            </a:r>
            <a:endParaRPr lang="en-GB" dirty="0"/>
          </a:p>
        </p:txBody>
      </p:sp>
      <p:sp>
        <p:nvSpPr>
          <p:cNvPr id="11" name="Fußzeilenplatzhalter 10">
            <a:extLst>
              <a:ext uri="{FF2B5EF4-FFF2-40B4-BE49-F238E27FC236}">
                <a16:creationId xmlns:a16="http://schemas.microsoft.com/office/drawing/2014/main" id="{0ED5C5E7-3449-0D18-C8EA-14972EB4C4CB}"/>
              </a:ext>
            </a:extLst>
          </p:cNvPr>
          <p:cNvSpPr>
            <a:spLocks noGrp="1"/>
          </p:cNvSpPr>
          <p:nvPr>
            <p:ph type="ftr" sz="quarter" idx="19"/>
          </p:nvPr>
        </p:nvSpPr>
        <p:spPr/>
        <p:txBody>
          <a:bodyPr/>
          <a:lstStyle/>
          <a:p>
            <a:r>
              <a:rPr lang="de-DE"/>
              <a:t>Der Konsument nach Corona und Consumer Voice</a:t>
            </a:r>
            <a:endParaRPr lang="de-DE" dirty="0"/>
          </a:p>
        </p:txBody>
      </p:sp>
      <p:sp>
        <p:nvSpPr>
          <p:cNvPr id="12" name="Foliennummernplatzhalter 11">
            <a:extLst>
              <a:ext uri="{FF2B5EF4-FFF2-40B4-BE49-F238E27FC236}">
                <a16:creationId xmlns:a16="http://schemas.microsoft.com/office/drawing/2014/main" id="{E3EABFD0-96CB-693E-39ED-B5B3AC507798}"/>
              </a:ext>
            </a:extLst>
          </p:cNvPr>
          <p:cNvSpPr>
            <a:spLocks noGrp="1"/>
          </p:cNvSpPr>
          <p:nvPr>
            <p:ph type="sldNum" sz="quarter" idx="20"/>
          </p:nvPr>
        </p:nvSpPr>
        <p:spPr/>
        <p:txBody>
          <a:bodyPr/>
          <a:lstStyle/>
          <a:p>
            <a:fld id="{CAEA825B-D749-4F0A-886E-8D45A39EAF2A}" type="slidenum">
              <a:rPr lang="de-DE" smtClean="0"/>
              <a:pPr/>
              <a:t>‹Nº›</a:t>
            </a:fld>
            <a:endParaRPr lang="de-DE"/>
          </a:p>
        </p:txBody>
      </p:sp>
      <p:sp>
        <p:nvSpPr>
          <p:cNvPr id="13" name="Subtitle">
            <a:extLst>
              <a:ext uri="{FF2B5EF4-FFF2-40B4-BE49-F238E27FC236}">
                <a16:creationId xmlns:a16="http://schemas.microsoft.com/office/drawing/2014/main" id="{DF401824-F14F-AAD8-4ED2-C1368BA1E203}"/>
              </a:ext>
            </a:extLst>
          </p:cNvPr>
          <p:cNvSpPr>
            <a:spLocks noGrp="1"/>
          </p:cNvSpPr>
          <p:nvPr>
            <p:ph type="subTitle" idx="13" hasCustomPrompt="1"/>
          </p:nvPr>
        </p:nvSpPr>
        <p:spPr bwMode="gray">
          <a:xfrm>
            <a:off x="335360" y="659362"/>
            <a:ext cx="8640959" cy="360040"/>
          </a:xfrm>
          <a:prstGeom prst="rect">
            <a:avLst/>
          </a:prstGeom>
        </p:spPr>
        <p:txBody>
          <a:bodyPr wrap="none" tIns="0"/>
          <a:lstStyle>
            <a:lvl1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1pPr>
            <a:lvl2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2pPr>
            <a:lvl3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3pPr>
            <a:lvl4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4pPr>
            <a:lvl5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5pPr>
            <a:lvl6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6pPr>
            <a:lvl7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7pPr>
            <a:lvl8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8pPr>
            <a:lvl9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9pPr>
          </a:lstStyle>
          <a:p>
            <a:r>
              <a:rPr lang="en-GB" dirty="0"/>
              <a:t>Insert your sub-headline in </a:t>
            </a:r>
            <a:r>
              <a:rPr lang="en-GB" dirty="0" err="1"/>
              <a:t>Lato</a:t>
            </a:r>
            <a:r>
              <a:rPr lang="en-GB" dirty="0"/>
              <a:t> light 20 </a:t>
            </a:r>
            <a:r>
              <a:rPr lang="en-GB" dirty="0" err="1"/>
              <a:t>pt</a:t>
            </a:r>
            <a:r>
              <a:rPr lang="en-GB" dirty="0"/>
              <a:t> here</a:t>
            </a:r>
          </a:p>
        </p:txBody>
      </p:sp>
      <p:sp>
        <p:nvSpPr>
          <p:cNvPr id="41" name="Text Placeholder 4">
            <a:extLst>
              <a:ext uri="{FF2B5EF4-FFF2-40B4-BE49-F238E27FC236}">
                <a16:creationId xmlns:a16="http://schemas.microsoft.com/office/drawing/2014/main" id="{8B0B3BC1-0151-5616-4879-7BBA0D1E10D0}"/>
              </a:ext>
            </a:extLst>
          </p:cNvPr>
          <p:cNvSpPr>
            <a:spLocks noGrp="1"/>
          </p:cNvSpPr>
          <p:nvPr>
            <p:ph type="body" sz="quarter" idx="17" hasCustomPrompt="1"/>
          </p:nvPr>
        </p:nvSpPr>
        <p:spPr>
          <a:xfrm>
            <a:off x="1487488" y="6525344"/>
            <a:ext cx="9217024" cy="144016"/>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solidFill>
                  <a:schemeClr val="tx1"/>
                </a:solidFill>
              </a:defRPr>
            </a:lvl1pPr>
            <a:lvl2pPr marL="0" indent="0" algn="l">
              <a:lnSpc>
                <a:spcPct val="100000"/>
              </a:lnSpc>
              <a:spcBef>
                <a:spcPts val="0"/>
              </a:spcBef>
              <a:buFont typeface="Arial" panose="020B0604020202020204" pitchFamily="34" charset="0"/>
              <a:buNone/>
              <a:defRPr sz="900">
                <a:solidFill>
                  <a:schemeClr val="tx1"/>
                </a:solidFill>
              </a:defRPr>
            </a:lvl2pPr>
            <a:lvl3pPr marL="0" indent="0" algn="l">
              <a:lnSpc>
                <a:spcPct val="100000"/>
              </a:lnSpc>
              <a:spcBef>
                <a:spcPts val="0"/>
              </a:spcBef>
              <a:buFont typeface="Arial" panose="020B0604020202020204" pitchFamily="34" charset="0"/>
              <a:buNone/>
              <a:defRPr sz="900">
                <a:solidFill>
                  <a:schemeClr val="tx1"/>
                </a:solidFill>
              </a:defRPr>
            </a:lvl3pPr>
            <a:lvl4pPr marL="0" indent="0" algn="l">
              <a:lnSpc>
                <a:spcPct val="100000"/>
              </a:lnSpc>
              <a:spcBef>
                <a:spcPts val="0"/>
              </a:spcBef>
              <a:buFont typeface="Arial" panose="020B0604020202020204" pitchFamily="34" charset="0"/>
              <a:buNone/>
              <a:defRPr sz="900">
                <a:solidFill>
                  <a:schemeClr val="tx1"/>
                </a:solidFill>
              </a:defRPr>
            </a:lvl4pPr>
            <a:lvl5pPr marL="0" indent="0" algn="l">
              <a:lnSpc>
                <a:spcPct val="100000"/>
              </a:lnSpc>
              <a:spcBef>
                <a:spcPts val="0"/>
              </a:spcBef>
              <a:buFont typeface="Arial" panose="020B0604020202020204" pitchFamily="34" charset="0"/>
              <a:buNone/>
              <a:defRPr sz="900">
                <a:solidFill>
                  <a:schemeClr val="tx1"/>
                </a:solidFill>
              </a:defRPr>
            </a:lvl5pPr>
            <a:lvl6pPr marL="0" indent="0">
              <a:spcBef>
                <a:spcPts val="0"/>
              </a:spcBef>
              <a:buNone/>
              <a:defRPr sz="900">
                <a:solidFill>
                  <a:schemeClr val="tx1"/>
                </a:solidFill>
              </a:defRPr>
            </a:lvl6pPr>
            <a:lvl7pPr marL="0" indent="0">
              <a:spcBef>
                <a:spcPts val="0"/>
              </a:spcBef>
              <a:buNone/>
              <a:defRPr sz="900">
                <a:solidFill>
                  <a:schemeClr val="tx1"/>
                </a:solidFill>
              </a:defRPr>
            </a:lvl7pPr>
            <a:lvl8pPr marL="0" indent="0">
              <a:spcBef>
                <a:spcPts val="0"/>
              </a:spcBef>
              <a:buNone/>
              <a:defRPr sz="900">
                <a:solidFill>
                  <a:schemeClr val="tx1"/>
                </a:solidFill>
              </a:defRPr>
            </a:lvl8pPr>
            <a:lvl9pPr marL="0" indent="0">
              <a:spcBef>
                <a:spcPts val="0"/>
              </a:spcBef>
              <a:buNone/>
              <a:defRPr sz="900">
                <a:solidFill>
                  <a:schemeClr val="tx1"/>
                </a:solidFill>
              </a:defRPr>
            </a:lvl9pPr>
          </a:lstStyle>
          <a:p>
            <a:pPr lvl="0"/>
            <a:r>
              <a:rPr lang="de-DE" dirty="0"/>
              <a:t>Source, </a:t>
            </a:r>
            <a:r>
              <a:rPr lang="de-DE" dirty="0" err="1"/>
              <a:t>Footnote</a:t>
            </a:r>
            <a:endParaRPr lang="en-GB" dirty="0"/>
          </a:p>
        </p:txBody>
      </p:sp>
      <p:grpSp>
        <p:nvGrpSpPr>
          <p:cNvPr id="27" name="Gruppieren 26">
            <a:extLst>
              <a:ext uri="{FF2B5EF4-FFF2-40B4-BE49-F238E27FC236}">
                <a16:creationId xmlns:a16="http://schemas.microsoft.com/office/drawing/2014/main" id="{05515188-02B4-20FC-CD36-7C1DB16A8030}"/>
              </a:ext>
              <a:ext uri="{C183D7F6-B498-43B3-948B-1728B52AA6E4}">
                <adec:decorative xmlns:adec="http://schemas.microsoft.com/office/drawing/2017/decorative" val="1"/>
              </a:ext>
            </a:extLst>
          </p:cNvPr>
          <p:cNvGrpSpPr/>
          <p:nvPr userDrawn="1"/>
        </p:nvGrpSpPr>
        <p:grpSpPr>
          <a:xfrm>
            <a:off x="-168768" y="-171392"/>
            <a:ext cx="12025408" cy="6264688"/>
            <a:chOff x="-168768" y="-171392"/>
            <a:chExt cx="12025408" cy="6264688"/>
          </a:xfrm>
        </p:grpSpPr>
        <p:cxnSp>
          <p:nvCxnSpPr>
            <p:cNvPr id="28" name="Gerader Verbinder 27">
              <a:extLst>
                <a:ext uri="{FF2B5EF4-FFF2-40B4-BE49-F238E27FC236}">
                  <a16:creationId xmlns:a16="http://schemas.microsoft.com/office/drawing/2014/main" id="{9B362ED2-FA5E-1E4D-2FF7-6ED0231FD06B}"/>
                </a:ext>
              </a:extLst>
            </p:cNvPr>
            <p:cNvCxnSpPr/>
            <p:nvPr userDrawn="1"/>
          </p:nvCxnSpPr>
          <p:spPr bwMode="gray">
            <a:xfrm>
              <a:off x="33536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995ED706-1AD8-DEA1-30A1-7C3553503544}"/>
                </a:ext>
              </a:extLst>
            </p:cNvPr>
            <p:cNvCxnSpPr/>
            <p:nvPr userDrawn="1"/>
          </p:nvCxnSpPr>
          <p:spPr bwMode="gray">
            <a:xfrm>
              <a:off x="436780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64078DA3-750B-717D-7129-19AB0363D19B}"/>
                </a:ext>
              </a:extLst>
            </p:cNvPr>
            <p:cNvCxnSpPr/>
            <p:nvPr userDrawn="1"/>
          </p:nvCxnSpPr>
          <p:spPr bwMode="gray">
            <a:xfrm>
              <a:off x="494387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E9787FBA-DCDA-CEAA-9643-D2D814269DA0}"/>
                </a:ext>
              </a:extLst>
            </p:cNvPr>
            <p:cNvCxnSpPr/>
            <p:nvPr userDrawn="1"/>
          </p:nvCxnSpPr>
          <p:spPr bwMode="gray">
            <a:xfrm>
              <a:off x="667206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D6B15902-0F6A-9B99-E66C-DFF7D4777609}"/>
                </a:ext>
              </a:extLst>
            </p:cNvPr>
            <p:cNvCxnSpPr/>
            <p:nvPr userDrawn="1"/>
          </p:nvCxnSpPr>
          <p:spPr bwMode="gray">
            <a:xfrm>
              <a:off x="609600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077CE78E-14B0-A368-2B4F-1425018390D2}"/>
                </a:ext>
              </a:extLst>
            </p:cNvPr>
            <p:cNvCxnSpPr/>
            <p:nvPr userDrawn="1"/>
          </p:nvCxnSpPr>
          <p:spPr bwMode="gray">
            <a:xfrm>
              <a:off x="724812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33C67DB7-A9D5-B1EB-3A7F-ABF1B0AA7E8D}"/>
                </a:ext>
              </a:extLst>
            </p:cNvPr>
            <p:cNvCxnSpPr/>
            <p:nvPr userDrawn="1"/>
          </p:nvCxnSpPr>
          <p:spPr bwMode="gray">
            <a:xfrm>
              <a:off x="782419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5FACB6EA-259C-276A-D9E7-A3F7C9B16DE9}"/>
                </a:ext>
              </a:extLst>
            </p:cNvPr>
            <p:cNvCxnSpPr/>
            <p:nvPr userDrawn="1"/>
          </p:nvCxnSpPr>
          <p:spPr bwMode="gray">
            <a:xfrm>
              <a:off x="840025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72F5AEED-77CC-A3DD-EA14-017734081A40}"/>
                </a:ext>
              </a:extLst>
            </p:cNvPr>
            <p:cNvCxnSpPr/>
            <p:nvPr userDrawn="1"/>
          </p:nvCxnSpPr>
          <p:spPr bwMode="gray">
            <a:xfrm>
              <a:off x="897632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9EE7449B-46B0-596D-D79F-7054AF9C2103}"/>
                </a:ext>
              </a:extLst>
            </p:cNvPr>
            <p:cNvCxnSpPr/>
            <p:nvPr userDrawn="1"/>
          </p:nvCxnSpPr>
          <p:spPr bwMode="gray">
            <a:xfrm>
              <a:off x="1128057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049AFD53-D923-577B-D254-3C8B6301B298}"/>
                </a:ext>
              </a:extLst>
            </p:cNvPr>
            <p:cNvCxnSpPr/>
            <p:nvPr userDrawn="1"/>
          </p:nvCxnSpPr>
          <p:spPr bwMode="gray">
            <a:xfrm>
              <a:off x="1185664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D82FE1A1-006F-60B7-AAB9-9777257B8AC9}"/>
                </a:ext>
              </a:extLst>
            </p:cNvPr>
            <p:cNvCxnSpPr>
              <a:cxnSpLocks/>
            </p:cNvCxnSpPr>
            <p:nvPr userDrawn="1"/>
          </p:nvCxnSpPr>
          <p:spPr bwMode="gray">
            <a:xfrm rot="5400000">
              <a:off x="-132688" y="29665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72AF780A-9F71-8672-A3EA-81A18B529C18}"/>
                </a:ext>
              </a:extLst>
            </p:cNvPr>
            <p:cNvCxnSpPr/>
            <p:nvPr userDrawn="1"/>
          </p:nvCxnSpPr>
          <p:spPr bwMode="gray">
            <a:xfrm>
              <a:off x="321568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CD2EF420-3D5E-276C-7D83-7C9543959F50}"/>
                </a:ext>
              </a:extLst>
            </p:cNvPr>
            <p:cNvCxnSpPr/>
            <p:nvPr userDrawn="1"/>
          </p:nvCxnSpPr>
          <p:spPr bwMode="gray">
            <a:xfrm>
              <a:off x="379174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8E3536E3-27E3-E5BC-5F2F-511B9ADEEBBA}"/>
                </a:ext>
              </a:extLst>
            </p:cNvPr>
            <p:cNvCxnSpPr>
              <a:cxnSpLocks/>
            </p:cNvCxnSpPr>
            <p:nvPr userDrawn="1"/>
          </p:nvCxnSpPr>
          <p:spPr bwMode="gray">
            <a:xfrm rot="5400000">
              <a:off x="-132704" y="87272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6577BFB0-62DB-D436-9B7F-A17EAAEE272A}"/>
                </a:ext>
              </a:extLst>
            </p:cNvPr>
            <p:cNvCxnSpPr>
              <a:cxnSpLocks/>
            </p:cNvCxnSpPr>
            <p:nvPr userDrawn="1"/>
          </p:nvCxnSpPr>
          <p:spPr bwMode="gray">
            <a:xfrm rot="5400000">
              <a:off x="-132712" y="202484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6884A086-7233-6230-D80C-EB0EC0E86E02}"/>
                </a:ext>
              </a:extLst>
            </p:cNvPr>
            <p:cNvCxnSpPr>
              <a:cxnSpLocks/>
            </p:cNvCxnSpPr>
            <p:nvPr userDrawn="1"/>
          </p:nvCxnSpPr>
          <p:spPr bwMode="gray">
            <a:xfrm rot="5400000">
              <a:off x="-132768" y="605729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224F62A0-7785-6071-3C9A-E54972C6E59E}"/>
                </a:ext>
              </a:extLst>
            </p:cNvPr>
            <p:cNvCxnSpPr/>
            <p:nvPr/>
          </p:nvCxnSpPr>
          <p:spPr bwMode="gray">
            <a:xfrm>
              <a:off x="1070451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43C78CE8-DF9E-6EC3-2474-F6E00757B416}"/>
                </a:ext>
              </a:extLst>
            </p:cNvPr>
            <p:cNvCxnSpPr/>
            <p:nvPr/>
          </p:nvCxnSpPr>
          <p:spPr bwMode="gray">
            <a:xfrm>
              <a:off x="1012844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1EBF7B57-9FB0-2DBB-FAF1-6A3F8BB75655}"/>
                </a:ext>
              </a:extLst>
            </p:cNvPr>
            <p:cNvCxnSpPr/>
            <p:nvPr/>
          </p:nvCxnSpPr>
          <p:spPr bwMode="gray">
            <a:xfrm>
              <a:off x="955059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D4938144-A041-6C65-8785-28A681E059A0}"/>
                </a:ext>
              </a:extLst>
            </p:cNvPr>
            <p:cNvCxnSpPr/>
            <p:nvPr/>
          </p:nvCxnSpPr>
          <p:spPr bwMode="gray">
            <a:xfrm>
              <a:off x="551973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CE2C902E-27D9-BA2C-A8A3-918863128AD5}"/>
                </a:ext>
              </a:extLst>
            </p:cNvPr>
            <p:cNvCxnSpPr/>
            <p:nvPr/>
          </p:nvCxnSpPr>
          <p:spPr bwMode="gray">
            <a:xfrm>
              <a:off x="263961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B76BDF6D-6B98-AFD5-6901-3F53BE52D60C}"/>
                </a:ext>
              </a:extLst>
            </p:cNvPr>
            <p:cNvCxnSpPr/>
            <p:nvPr/>
          </p:nvCxnSpPr>
          <p:spPr bwMode="gray">
            <a:xfrm>
              <a:off x="206355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76E06658-A9D2-A5AF-8508-24E51816AFAC}"/>
                </a:ext>
              </a:extLst>
            </p:cNvPr>
            <p:cNvCxnSpPr/>
            <p:nvPr/>
          </p:nvCxnSpPr>
          <p:spPr bwMode="gray">
            <a:xfrm>
              <a:off x="148748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9E8BAAFD-FE86-A5DF-D861-DADCEBCCA91E}"/>
                </a:ext>
              </a:extLst>
            </p:cNvPr>
            <p:cNvCxnSpPr/>
            <p:nvPr/>
          </p:nvCxnSpPr>
          <p:spPr bwMode="gray">
            <a:xfrm>
              <a:off x="91142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B01B11D0-7011-DD72-8F57-917A561C7E17}"/>
                </a:ext>
              </a:extLst>
            </p:cNvPr>
            <p:cNvCxnSpPr>
              <a:cxnSpLocks/>
            </p:cNvCxnSpPr>
            <p:nvPr/>
          </p:nvCxnSpPr>
          <p:spPr bwMode="gray">
            <a:xfrm rot="5400000">
              <a:off x="-132704" y="144878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67695C9C-A84E-E1A0-5F18-43607B2251D7}"/>
                </a:ext>
              </a:extLst>
            </p:cNvPr>
            <p:cNvCxnSpPr>
              <a:cxnSpLocks/>
            </p:cNvCxnSpPr>
            <p:nvPr/>
          </p:nvCxnSpPr>
          <p:spPr bwMode="gray">
            <a:xfrm rot="5400000">
              <a:off x="-132712" y="260091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27674D3A-3BF8-35FA-7A5E-C2632153E57B}"/>
                </a:ext>
              </a:extLst>
            </p:cNvPr>
            <p:cNvCxnSpPr>
              <a:cxnSpLocks/>
            </p:cNvCxnSpPr>
            <p:nvPr/>
          </p:nvCxnSpPr>
          <p:spPr bwMode="gray">
            <a:xfrm rot="5400000">
              <a:off x="-132712" y="317697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068E6B7A-4AA4-1BE0-0BA0-C8874DF42403}"/>
                </a:ext>
              </a:extLst>
            </p:cNvPr>
            <p:cNvCxnSpPr>
              <a:cxnSpLocks/>
            </p:cNvCxnSpPr>
            <p:nvPr/>
          </p:nvCxnSpPr>
          <p:spPr bwMode="gray">
            <a:xfrm rot="5400000">
              <a:off x="-132712" y="375304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981565FF-0C76-D3F8-B4F9-C794FA2C4FA2}"/>
                </a:ext>
              </a:extLst>
            </p:cNvPr>
            <p:cNvCxnSpPr>
              <a:cxnSpLocks/>
            </p:cNvCxnSpPr>
            <p:nvPr/>
          </p:nvCxnSpPr>
          <p:spPr bwMode="gray">
            <a:xfrm rot="5400000">
              <a:off x="-132712" y="432910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15F745B3-A89A-1A9F-4FDC-928CB3EAE660}"/>
                </a:ext>
              </a:extLst>
            </p:cNvPr>
            <p:cNvCxnSpPr>
              <a:cxnSpLocks/>
            </p:cNvCxnSpPr>
            <p:nvPr/>
          </p:nvCxnSpPr>
          <p:spPr bwMode="gray">
            <a:xfrm rot="5400000">
              <a:off x="-132712" y="490516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6AAA23E3-72CD-B760-240E-D7A75E9074B8}"/>
                </a:ext>
              </a:extLst>
            </p:cNvPr>
            <p:cNvCxnSpPr>
              <a:cxnSpLocks/>
            </p:cNvCxnSpPr>
            <p:nvPr/>
          </p:nvCxnSpPr>
          <p:spPr bwMode="gray">
            <a:xfrm rot="5400000">
              <a:off x="-132712" y="548123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767650325"/>
      </p:ext>
    </p:extLst>
  </p:cSld>
  <p:clrMapOvr>
    <a:masterClrMapping/>
  </p:clrMapOvr>
  <p:extLst>
    <p:ext uri="{DCECCB84-F9BA-43D5-87BE-67443E8EF086}">
      <p15:sldGuideLst xmlns:p15="http://schemas.microsoft.com/office/powerpoint/2012/main">
        <p15:guide id="2" pos="7469" userDrawn="1">
          <p15:clr>
            <a:srgbClr val="FBAE40"/>
          </p15:clr>
        </p15:guide>
        <p15:guide id="4" orient="horz" pos="1298" userDrawn="1">
          <p15:clr>
            <a:srgbClr val="FBAE40"/>
          </p15:clr>
        </p15:guide>
        <p15:guide id="5" orient="horz" pos="3838" userDrawn="1">
          <p15:clr>
            <a:srgbClr val="FBAE40"/>
          </p15:clr>
        </p15:guide>
        <p15:guide id="6" pos="211" userDrawn="1">
          <p15:clr>
            <a:srgbClr val="FBAE40"/>
          </p15:clr>
        </p15:guide>
        <p15:guide id="7" orient="horz" pos="935"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rt with descriptio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88F1F2-9A85-0503-CE3D-3550AC2BF41B}"/>
              </a:ext>
            </a:extLst>
          </p:cNvPr>
          <p:cNvGraphicFramePr>
            <a:graphicFrameLocks noChangeAspect="1"/>
          </p:cNvGraphicFramePr>
          <p:nvPr userDrawn="1">
            <p:custDataLst>
              <p:tags r:id="rId1"/>
            </p:custDataLst>
            <p:extLst>
              <p:ext uri="{D42A27DB-BD31-4B8C-83A1-F6EECF244321}">
                <p14:modId xmlns:p14="http://schemas.microsoft.com/office/powerpoint/2010/main" val="302710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7" name="Objekt 6" hidden="1">
                        <a:extLst>
                          <a:ext uri="{FF2B5EF4-FFF2-40B4-BE49-F238E27FC236}">
                            <a16:creationId xmlns:a16="http://schemas.microsoft.com/office/drawing/2014/main" id="{2C88F1F2-9A85-0503-CE3D-3550AC2BF4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9" name="Subtitle 2">
            <a:extLst>
              <a:ext uri="{FF2B5EF4-FFF2-40B4-BE49-F238E27FC236}">
                <a16:creationId xmlns:a16="http://schemas.microsoft.com/office/drawing/2014/main" id="{7ACEED34-E7B2-1F4E-5056-5613F4ABF705}"/>
              </a:ext>
            </a:extLst>
          </p:cNvPr>
          <p:cNvSpPr>
            <a:spLocks noGrp="1"/>
          </p:cNvSpPr>
          <p:nvPr>
            <p:ph type="subTitle" idx="13" hasCustomPrompt="1"/>
          </p:nvPr>
        </p:nvSpPr>
        <p:spPr>
          <a:xfrm>
            <a:off x="334965" y="659362"/>
            <a:ext cx="8641252" cy="360000"/>
          </a:xfrm>
          <a:prstGeom prst="rect">
            <a:avLst/>
          </a:prstGeom>
        </p:spPr>
        <p:txBody>
          <a:bodyPr wrap="none"/>
          <a:lstStyle>
            <a:lvl1pPr marL="0" indent="0" algn="l">
              <a:spcBef>
                <a:spcPts val="0"/>
              </a:spcBef>
              <a:buFont typeface="Arial" panose="020B0604020202020204" pitchFamily="34" charset="0"/>
              <a:buNone/>
              <a:defRPr sz="2000">
                <a:latin typeface="Lato Light" panose="020F0502020204030203" pitchFamily="34" charset="0"/>
                <a:ea typeface="Lato Light" panose="020F0502020204030203" pitchFamily="34" charset="0"/>
                <a:cs typeface="Lato Light" panose="020F0502020204030203" pitchFamily="34" charset="0"/>
              </a:defRPr>
            </a:lvl1pPr>
            <a:lvl2pPr marL="0" indent="0" algn="l">
              <a:spcBef>
                <a:spcPts val="0"/>
              </a:spcBef>
              <a:buFont typeface="Arial" panose="020B0604020202020204" pitchFamily="34" charset="0"/>
              <a:buNone/>
              <a:defRPr sz="2000">
                <a:latin typeface="Lato Light" panose="020F0502020204030203" pitchFamily="34" charset="0"/>
                <a:ea typeface="Lato Light" panose="020F0502020204030203" pitchFamily="34" charset="0"/>
                <a:cs typeface="Lato Light" panose="020F0502020204030203" pitchFamily="34" charset="0"/>
              </a:defRPr>
            </a:lvl2pPr>
            <a:lvl3pPr marL="0" indent="0" algn="l">
              <a:spcBef>
                <a:spcPts val="0"/>
              </a:spcBef>
              <a:buFont typeface="Arial" panose="020B0604020202020204" pitchFamily="34" charset="0"/>
              <a:buNone/>
              <a:defRPr sz="2000">
                <a:latin typeface="Lato Light" panose="020F0502020204030203" pitchFamily="34" charset="0"/>
                <a:ea typeface="Lato Light" panose="020F0502020204030203" pitchFamily="34" charset="0"/>
                <a:cs typeface="Lato Light" panose="020F0502020204030203" pitchFamily="34" charset="0"/>
              </a:defRPr>
            </a:lvl3pPr>
            <a:lvl4pPr marL="0" indent="0" algn="l">
              <a:spcBef>
                <a:spcPts val="0"/>
              </a:spcBef>
              <a:buFont typeface="Arial" panose="020B0604020202020204" pitchFamily="34" charset="0"/>
              <a:buNone/>
              <a:defRPr sz="2000">
                <a:latin typeface="Lato Light" panose="020F0502020204030203" pitchFamily="34" charset="0"/>
                <a:ea typeface="Lato Light" panose="020F0502020204030203" pitchFamily="34" charset="0"/>
                <a:cs typeface="Lato Light" panose="020F0502020204030203" pitchFamily="34" charset="0"/>
              </a:defRPr>
            </a:lvl4pPr>
            <a:lvl5pPr marL="0" indent="0" algn="l">
              <a:spcBef>
                <a:spcPts val="0"/>
              </a:spcBef>
              <a:buFont typeface="Arial" panose="020B0604020202020204" pitchFamily="34" charset="0"/>
              <a:buNone/>
              <a:defRPr sz="2000">
                <a:latin typeface="Lato Light" panose="020F0502020204030203" pitchFamily="34" charset="0"/>
                <a:ea typeface="Lato Light" panose="020F0502020204030203" pitchFamily="34" charset="0"/>
                <a:cs typeface="Lato Light" panose="020F0502020204030203" pitchFamily="34" charset="0"/>
              </a:defRPr>
            </a:lvl5pPr>
            <a:lvl6pPr marL="0" indent="0" algn="l">
              <a:spcBef>
                <a:spcPts val="0"/>
              </a:spcBef>
              <a:buFont typeface="Arial" panose="020B0604020202020204" pitchFamily="34" charset="0"/>
              <a:buNone/>
              <a:defRPr sz="2000">
                <a:latin typeface="Lato Light" panose="020F0502020204030203" pitchFamily="34" charset="0"/>
                <a:ea typeface="Lato Light" panose="020F0502020204030203" pitchFamily="34" charset="0"/>
                <a:cs typeface="Lato Light" panose="020F0502020204030203" pitchFamily="34" charset="0"/>
              </a:defRPr>
            </a:lvl6pPr>
            <a:lvl7pPr marL="0" indent="0" algn="l">
              <a:spcBef>
                <a:spcPts val="0"/>
              </a:spcBef>
              <a:buFont typeface="Arial" panose="020B0604020202020204" pitchFamily="34" charset="0"/>
              <a:buNone/>
              <a:defRPr sz="2000">
                <a:latin typeface="Lato Light" panose="020F0502020204030203" pitchFamily="34" charset="0"/>
                <a:ea typeface="Lato Light" panose="020F0502020204030203" pitchFamily="34" charset="0"/>
                <a:cs typeface="Lato Light" panose="020F0502020204030203" pitchFamily="34" charset="0"/>
              </a:defRPr>
            </a:lvl7pPr>
            <a:lvl8pPr marL="0" indent="0" algn="l">
              <a:spcBef>
                <a:spcPts val="0"/>
              </a:spcBef>
              <a:buFont typeface="Arial" panose="020B0604020202020204" pitchFamily="34" charset="0"/>
              <a:buNone/>
              <a:defRPr sz="2000">
                <a:latin typeface="Lato Light" panose="020F0502020204030203" pitchFamily="34" charset="0"/>
                <a:ea typeface="Lato Light" panose="020F0502020204030203" pitchFamily="34" charset="0"/>
                <a:cs typeface="Lato Light" panose="020F0502020204030203" pitchFamily="34" charset="0"/>
              </a:defRPr>
            </a:lvl8pPr>
            <a:lvl9pPr marL="0" indent="0" algn="l">
              <a:spcBef>
                <a:spcPts val="0"/>
              </a:spcBef>
              <a:buFont typeface="Arial" panose="020B0604020202020204" pitchFamily="34" charset="0"/>
              <a:buNone/>
              <a:defRPr sz="2000">
                <a:latin typeface="Lato Light" panose="020F0502020204030203" pitchFamily="34" charset="0"/>
                <a:ea typeface="Lato Light" panose="020F0502020204030203" pitchFamily="34" charset="0"/>
                <a:cs typeface="Lato Light" panose="020F0502020204030203" pitchFamily="34" charset="0"/>
              </a:defRPr>
            </a:lvl9pPr>
          </a:lstStyle>
          <a:p>
            <a:r>
              <a:rPr lang="en-GB" dirty="0"/>
              <a:t>Insert your sub-headline in </a:t>
            </a:r>
            <a:r>
              <a:rPr lang="en-GB" dirty="0" err="1"/>
              <a:t>Lato</a:t>
            </a:r>
            <a:r>
              <a:rPr lang="en-GB" dirty="0"/>
              <a:t> light 20 </a:t>
            </a:r>
            <a:r>
              <a:rPr lang="en-GB" dirty="0" err="1"/>
              <a:t>pt</a:t>
            </a:r>
            <a:r>
              <a:rPr lang="en-GB" dirty="0"/>
              <a:t> here</a:t>
            </a:r>
          </a:p>
        </p:txBody>
      </p:sp>
      <p:sp>
        <p:nvSpPr>
          <p:cNvPr id="50" name="Chart Placeholder 3">
            <a:extLst>
              <a:ext uri="{FF2B5EF4-FFF2-40B4-BE49-F238E27FC236}">
                <a16:creationId xmlns:a16="http://schemas.microsoft.com/office/drawing/2014/main" id="{7ACE9853-3687-7DC9-F99B-B62D51B2A649}"/>
              </a:ext>
            </a:extLst>
          </p:cNvPr>
          <p:cNvSpPr>
            <a:spLocks noGrp="1"/>
          </p:cNvSpPr>
          <p:nvPr>
            <p:ph type="chart" sz="quarter" idx="17" hasCustomPrompt="1"/>
          </p:nvPr>
        </p:nvSpPr>
        <p:spPr>
          <a:xfrm>
            <a:off x="334963" y="2060575"/>
            <a:ext cx="6913562" cy="4032250"/>
          </a:xfrm>
          <a:prstGeom prst="rect">
            <a:avLst/>
          </a:prstGeom>
        </p:spPr>
        <p:txBody>
          <a:bodyPr/>
          <a:lstStyle>
            <a:lvl1pPr marL="0" indent="0">
              <a:spcBef>
                <a:spcPts val="0"/>
              </a:spcBef>
              <a:buNone/>
              <a:defRPr sz="1200"/>
            </a:lvl1pPr>
            <a:lvl2pPr marL="0" indent="0">
              <a:spcBef>
                <a:spcPts val="0"/>
              </a:spcBef>
              <a:buNone/>
              <a:defRPr sz="1200"/>
            </a:lvl2pPr>
            <a:lvl3pPr marL="0" indent="0">
              <a:spcBef>
                <a:spcPts val="0"/>
              </a:spcBef>
              <a:buNone/>
              <a:defRPr sz="1200"/>
            </a:lvl3pPr>
            <a:lvl4pPr marL="0" indent="0">
              <a:spcBef>
                <a:spcPts val="0"/>
              </a:spcBef>
              <a:buFont typeface="Arial" panose="020B0604020202020204" pitchFamily="34" charset="0"/>
              <a:buNone/>
              <a:defRPr sz="1200"/>
            </a:lvl4pPr>
            <a:lvl5pPr marL="0" indent="0">
              <a:spcBef>
                <a:spcPts val="0"/>
              </a:spcBef>
              <a:buFont typeface="Arial" panose="020B0604020202020204" pitchFamily="34" charset="0"/>
              <a:buNone/>
              <a:defRPr sz="1200"/>
            </a:lvl5pPr>
            <a:lvl6pPr marL="0" indent="0">
              <a:spcBef>
                <a:spcPts val="0"/>
              </a:spcBef>
              <a:buNone/>
              <a:defRPr sz="1200"/>
            </a:lvl6pPr>
            <a:lvl7pPr marL="0" indent="0">
              <a:spcBef>
                <a:spcPts val="0"/>
              </a:spcBef>
              <a:buNone/>
              <a:defRPr sz="1200"/>
            </a:lvl7pPr>
            <a:lvl8pPr marL="0" indent="0">
              <a:spcBef>
                <a:spcPts val="0"/>
              </a:spcBef>
              <a:buNone/>
              <a:defRPr sz="1200"/>
            </a:lvl8pPr>
            <a:lvl9pPr marL="0" indent="0">
              <a:spcBef>
                <a:spcPts val="0"/>
              </a:spcBef>
              <a:buNone/>
              <a:defRPr sz="1200"/>
            </a:lvl9pPr>
          </a:lstStyle>
          <a:p>
            <a:r>
              <a:rPr lang="en-US" dirty="0"/>
              <a:t>Click to add chart</a:t>
            </a:r>
          </a:p>
          <a:p>
            <a:endParaRPr lang="en-US" dirty="0"/>
          </a:p>
        </p:txBody>
      </p:sp>
      <p:sp>
        <p:nvSpPr>
          <p:cNvPr id="51" name="Text Placeholder 5">
            <a:extLst>
              <a:ext uri="{FF2B5EF4-FFF2-40B4-BE49-F238E27FC236}">
                <a16:creationId xmlns:a16="http://schemas.microsoft.com/office/drawing/2014/main" id="{283F74D5-1C3C-2A5E-5EFB-58FC4E4C25E6}"/>
              </a:ext>
            </a:extLst>
          </p:cNvPr>
          <p:cNvSpPr>
            <a:spLocks noGrp="1"/>
          </p:cNvSpPr>
          <p:nvPr>
            <p:ph type="body" sz="quarter" idx="18" hasCustomPrompt="1"/>
          </p:nvPr>
        </p:nvSpPr>
        <p:spPr>
          <a:xfrm>
            <a:off x="7824788" y="2060576"/>
            <a:ext cx="4032250" cy="4032250"/>
          </a:xfrm>
          <a:prstGeom prst="rect">
            <a:avLst/>
          </a:prstGeom>
          <a:noFill/>
        </p:spPr>
        <p:txBody>
          <a:bodyPr lIns="0" tIns="0" rIns="0" bIns="0"/>
          <a:lstStyle>
            <a:lvl1pPr>
              <a:defRPr sz="1600"/>
            </a:lvl1pPr>
            <a:lvl2pPr>
              <a:defRPr sz="1600"/>
            </a:lvl2pPr>
            <a:lvl3pPr>
              <a:defRPr sz="1600"/>
            </a:lvl3pPr>
            <a:lvl4pPr>
              <a:defRPr sz="1600"/>
            </a:lvl4pPr>
            <a:lvl5pPr>
              <a:defRPr sz="1200"/>
            </a:lvl5pPr>
          </a:lstStyle>
          <a:p>
            <a:pPr lvl="0"/>
            <a:r>
              <a:rPr lang="en-US" dirty="0"/>
              <a:t>Insert your copy in </a:t>
            </a:r>
            <a:r>
              <a:rPr lang="en-US" dirty="0" err="1"/>
              <a:t>Lato</a:t>
            </a:r>
            <a:r>
              <a:rPr lang="en-US" dirty="0"/>
              <a:t> 16 </a:t>
            </a:r>
            <a:r>
              <a:rPr lang="en-US" dirty="0" err="1"/>
              <a:t>pt</a:t>
            </a:r>
            <a:r>
              <a:rPr lang="en-US" dirty="0"/>
              <a:t> or 12 </a:t>
            </a:r>
            <a:r>
              <a:rPr lang="en-US" dirty="0" err="1"/>
              <a:t>pt</a:t>
            </a:r>
            <a:r>
              <a:rPr lang="en-US" dirty="0"/>
              <a:t> here | Use the function “Increase List level” for text levels on Tab HOME</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52" name="Text Placeholder 4">
            <a:extLst>
              <a:ext uri="{FF2B5EF4-FFF2-40B4-BE49-F238E27FC236}">
                <a16:creationId xmlns:a16="http://schemas.microsoft.com/office/drawing/2014/main" id="{1365065E-FB57-E1FF-7175-404986109974}"/>
              </a:ext>
            </a:extLst>
          </p:cNvPr>
          <p:cNvSpPr>
            <a:spLocks noGrp="1"/>
          </p:cNvSpPr>
          <p:nvPr>
            <p:ph type="body" sz="quarter" idx="19" hasCustomPrompt="1"/>
          </p:nvPr>
        </p:nvSpPr>
        <p:spPr>
          <a:xfrm>
            <a:off x="1487488" y="6525344"/>
            <a:ext cx="9217024" cy="144015"/>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solidFill>
                  <a:schemeClr val="tx1"/>
                </a:solidFill>
              </a:defRPr>
            </a:lvl1pPr>
            <a:lvl2pPr marL="0" indent="0" algn="l">
              <a:lnSpc>
                <a:spcPct val="100000"/>
              </a:lnSpc>
              <a:spcBef>
                <a:spcPts val="0"/>
              </a:spcBef>
              <a:buFont typeface="Arial" panose="020B0604020202020204" pitchFamily="34" charset="0"/>
              <a:buNone/>
              <a:defRPr sz="900">
                <a:solidFill>
                  <a:schemeClr val="tx1"/>
                </a:solidFill>
              </a:defRPr>
            </a:lvl2pPr>
            <a:lvl3pPr marL="0" indent="0" algn="l">
              <a:lnSpc>
                <a:spcPct val="100000"/>
              </a:lnSpc>
              <a:spcBef>
                <a:spcPts val="0"/>
              </a:spcBef>
              <a:buFont typeface="Arial" panose="020B0604020202020204" pitchFamily="34" charset="0"/>
              <a:buNone/>
              <a:defRPr sz="900">
                <a:solidFill>
                  <a:schemeClr val="tx1"/>
                </a:solidFill>
              </a:defRPr>
            </a:lvl3pPr>
            <a:lvl4pPr marL="0" indent="0" algn="l">
              <a:lnSpc>
                <a:spcPct val="100000"/>
              </a:lnSpc>
              <a:spcBef>
                <a:spcPts val="0"/>
              </a:spcBef>
              <a:buFont typeface="Arial" panose="020B0604020202020204" pitchFamily="34" charset="0"/>
              <a:buNone/>
              <a:defRPr sz="900">
                <a:solidFill>
                  <a:schemeClr val="tx1"/>
                </a:solidFill>
              </a:defRPr>
            </a:lvl4pPr>
            <a:lvl5pPr marL="0" indent="0" algn="l">
              <a:lnSpc>
                <a:spcPct val="100000"/>
              </a:lnSpc>
              <a:spcBef>
                <a:spcPts val="0"/>
              </a:spcBef>
              <a:buFont typeface="Arial" panose="020B0604020202020204" pitchFamily="34" charset="0"/>
              <a:buNone/>
              <a:defRPr sz="900">
                <a:solidFill>
                  <a:schemeClr val="tx1"/>
                </a:solidFill>
              </a:defRPr>
            </a:lvl5pPr>
            <a:lvl6pPr marL="0" indent="0">
              <a:spcBef>
                <a:spcPts val="0"/>
              </a:spcBef>
              <a:buNone/>
              <a:defRPr sz="900">
                <a:solidFill>
                  <a:schemeClr val="tx1"/>
                </a:solidFill>
              </a:defRPr>
            </a:lvl6pPr>
            <a:lvl7pPr marL="0" indent="0">
              <a:spcBef>
                <a:spcPts val="0"/>
              </a:spcBef>
              <a:buNone/>
              <a:defRPr sz="900">
                <a:solidFill>
                  <a:schemeClr val="tx1"/>
                </a:solidFill>
              </a:defRPr>
            </a:lvl7pPr>
            <a:lvl8pPr marL="0" indent="0">
              <a:spcBef>
                <a:spcPts val="0"/>
              </a:spcBef>
              <a:buNone/>
              <a:defRPr sz="900">
                <a:solidFill>
                  <a:schemeClr val="tx1"/>
                </a:solidFill>
              </a:defRPr>
            </a:lvl8pPr>
            <a:lvl9pPr marL="0" indent="0">
              <a:spcBef>
                <a:spcPts val="0"/>
              </a:spcBef>
              <a:buNone/>
              <a:defRPr sz="900">
                <a:solidFill>
                  <a:schemeClr val="tx1"/>
                </a:solidFill>
              </a:defRPr>
            </a:lvl9pPr>
          </a:lstStyle>
          <a:p>
            <a:pPr lvl="0"/>
            <a:r>
              <a:rPr lang="de-DE" dirty="0"/>
              <a:t>Source, Footnote</a:t>
            </a:r>
            <a:endParaRPr lang="en-GB" dirty="0"/>
          </a:p>
        </p:txBody>
      </p:sp>
      <p:sp>
        <p:nvSpPr>
          <p:cNvPr id="2" name="Datumsplatzhalter 1">
            <a:extLst>
              <a:ext uri="{FF2B5EF4-FFF2-40B4-BE49-F238E27FC236}">
                <a16:creationId xmlns:a16="http://schemas.microsoft.com/office/drawing/2014/main" id="{10D148B5-D107-C4BC-A8DD-96BD91A0EB9F}"/>
              </a:ext>
            </a:extLst>
          </p:cNvPr>
          <p:cNvSpPr>
            <a:spLocks noGrp="1"/>
          </p:cNvSpPr>
          <p:nvPr>
            <p:ph type="dt" sz="half" idx="20"/>
          </p:nvPr>
        </p:nvSpPr>
        <p:spPr/>
        <p:txBody>
          <a:bodyPr/>
          <a:lstStyle/>
          <a:p>
            <a:r>
              <a:rPr lang="en-US"/>
              <a:t>7/26/2022</a:t>
            </a:r>
            <a:endParaRPr lang="en-GB" dirty="0"/>
          </a:p>
        </p:txBody>
      </p:sp>
      <p:sp>
        <p:nvSpPr>
          <p:cNvPr id="3" name="Fußzeilenplatzhalter 2">
            <a:extLst>
              <a:ext uri="{FF2B5EF4-FFF2-40B4-BE49-F238E27FC236}">
                <a16:creationId xmlns:a16="http://schemas.microsoft.com/office/drawing/2014/main" id="{A7E1A93B-2894-0DD8-4B1A-419DEA0AF2A1}"/>
              </a:ext>
            </a:extLst>
          </p:cNvPr>
          <p:cNvSpPr>
            <a:spLocks noGrp="1"/>
          </p:cNvSpPr>
          <p:nvPr>
            <p:ph type="ftr" sz="quarter" idx="21"/>
          </p:nvPr>
        </p:nvSpPr>
        <p:spPr/>
        <p:txBody>
          <a:bodyPr/>
          <a:lstStyle/>
          <a:p>
            <a:r>
              <a:rPr lang="de-DE"/>
              <a:t>Der Konsument nach Corona und Consumer Voice</a:t>
            </a:r>
            <a:endParaRPr lang="de-DE" dirty="0"/>
          </a:p>
        </p:txBody>
      </p:sp>
      <p:sp>
        <p:nvSpPr>
          <p:cNvPr id="5" name="Foliennummernplatzhalter 4">
            <a:extLst>
              <a:ext uri="{FF2B5EF4-FFF2-40B4-BE49-F238E27FC236}">
                <a16:creationId xmlns:a16="http://schemas.microsoft.com/office/drawing/2014/main" id="{C8ACD68B-704F-E0E4-EB94-073DC185DDA5}"/>
              </a:ext>
            </a:extLst>
          </p:cNvPr>
          <p:cNvSpPr>
            <a:spLocks noGrp="1"/>
          </p:cNvSpPr>
          <p:nvPr>
            <p:ph type="sldNum" sz="quarter" idx="22"/>
          </p:nvPr>
        </p:nvSpPr>
        <p:spPr/>
        <p:txBody>
          <a:bodyPr/>
          <a:lstStyle/>
          <a:p>
            <a:fld id="{CAEA825B-D749-4F0A-886E-8D45A39EAF2A}" type="slidenum">
              <a:rPr lang="de-DE" smtClean="0"/>
              <a:pPr/>
              <a:t>‹Nº›</a:t>
            </a:fld>
            <a:endParaRPr lang="de-DE" dirty="0"/>
          </a:p>
        </p:txBody>
      </p:sp>
      <p:sp>
        <p:nvSpPr>
          <p:cNvPr id="6" name="Titel 5">
            <a:extLst>
              <a:ext uri="{FF2B5EF4-FFF2-40B4-BE49-F238E27FC236}">
                <a16:creationId xmlns:a16="http://schemas.microsoft.com/office/drawing/2014/main" id="{770F0CF0-38B8-1B3C-CF84-1CDD80CDF6D9}"/>
              </a:ext>
            </a:extLst>
          </p:cNvPr>
          <p:cNvSpPr>
            <a:spLocks noGrp="1"/>
          </p:cNvSpPr>
          <p:nvPr>
            <p:ph type="title" hasCustomPrompt="1"/>
          </p:nvPr>
        </p:nvSpPr>
        <p:spPr>
          <a:xfrm>
            <a:off x="334963" y="260648"/>
            <a:ext cx="8641357" cy="369332"/>
          </a:xfrm>
        </p:spPr>
        <p:txBody>
          <a:bodyPr vert="horz"/>
          <a:lstStyle/>
          <a:p>
            <a:r>
              <a:rPr lang="en-GB" dirty="0"/>
              <a:t>Insert your headline in </a:t>
            </a:r>
            <a:r>
              <a:rPr lang="en-GB" dirty="0" err="1"/>
              <a:t>Lato</a:t>
            </a:r>
            <a:r>
              <a:rPr lang="en-GB" dirty="0"/>
              <a:t> Heavy 24 </a:t>
            </a:r>
            <a:r>
              <a:rPr lang="en-GB" dirty="0" err="1"/>
              <a:t>pt</a:t>
            </a:r>
            <a:r>
              <a:rPr lang="en-GB" dirty="0"/>
              <a:t> here</a:t>
            </a:r>
            <a:endParaRPr lang="de-DE" dirty="0"/>
          </a:p>
        </p:txBody>
      </p:sp>
      <p:grpSp>
        <p:nvGrpSpPr>
          <p:cNvPr id="28" name="Gruppieren 27">
            <a:extLst>
              <a:ext uri="{FF2B5EF4-FFF2-40B4-BE49-F238E27FC236}">
                <a16:creationId xmlns:a16="http://schemas.microsoft.com/office/drawing/2014/main" id="{A8865911-5FCF-2611-D491-FDA5BBE9B718}"/>
              </a:ext>
              <a:ext uri="{C183D7F6-B498-43B3-948B-1728B52AA6E4}">
                <adec:decorative xmlns:adec="http://schemas.microsoft.com/office/drawing/2017/decorative" val="1"/>
              </a:ext>
            </a:extLst>
          </p:cNvPr>
          <p:cNvGrpSpPr/>
          <p:nvPr userDrawn="1"/>
        </p:nvGrpSpPr>
        <p:grpSpPr>
          <a:xfrm>
            <a:off x="-168768" y="-171392"/>
            <a:ext cx="12025408" cy="6264688"/>
            <a:chOff x="-168768" y="-171392"/>
            <a:chExt cx="12025408" cy="6264688"/>
          </a:xfrm>
        </p:grpSpPr>
        <p:cxnSp>
          <p:nvCxnSpPr>
            <p:cNvPr id="29" name="Gerader Verbinder 28">
              <a:extLst>
                <a:ext uri="{FF2B5EF4-FFF2-40B4-BE49-F238E27FC236}">
                  <a16:creationId xmlns:a16="http://schemas.microsoft.com/office/drawing/2014/main" id="{542EE456-7551-40C6-6CF8-B54EFCA2667F}"/>
                </a:ext>
              </a:extLst>
            </p:cNvPr>
            <p:cNvCxnSpPr/>
            <p:nvPr userDrawn="1"/>
          </p:nvCxnSpPr>
          <p:spPr bwMode="gray">
            <a:xfrm>
              <a:off x="33536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D763CB1C-7DDA-15DF-6436-5829DD433D9D}"/>
                </a:ext>
              </a:extLst>
            </p:cNvPr>
            <p:cNvCxnSpPr/>
            <p:nvPr userDrawn="1"/>
          </p:nvCxnSpPr>
          <p:spPr bwMode="gray">
            <a:xfrm>
              <a:off x="436780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0C8E775F-6E9E-2584-2B74-446ABA503BCC}"/>
                </a:ext>
              </a:extLst>
            </p:cNvPr>
            <p:cNvCxnSpPr/>
            <p:nvPr userDrawn="1"/>
          </p:nvCxnSpPr>
          <p:spPr bwMode="gray">
            <a:xfrm>
              <a:off x="494387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147E8817-B579-925A-9BFA-6448B312F580}"/>
                </a:ext>
              </a:extLst>
            </p:cNvPr>
            <p:cNvCxnSpPr/>
            <p:nvPr userDrawn="1"/>
          </p:nvCxnSpPr>
          <p:spPr bwMode="gray">
            <a:xfrm>
              <a:off x="667206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F783BBF0-B9DF-6A7D-CF96-39A968C5DC5F}"/>
                </a:ext>
              </a:extLst>
            </p:cNvPr>
            <p:cNvCxnSpPr/>
            <p:nvPr userDrawn="1"/>
          </p:nvCxnSpPr>
          <p:spPr bwMode="gray">
            <a:xfrm>
              <a:off x="609600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939CD9C7-E69E-B03A-A6F6-25EA2DE6296F}"/>
                </a:ext>
              </a:extLst>
            </p:cNvPr>
            <p:cNvCxnSpPr/>
            <p:nvPr userDrawn="1"/>
          </p:nvCxnSpPr>
          <p:spPr bwMode="gray">
            <a:xfrm>
              <a:off x="724812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02F8DF1F-2953-BF91-BD8E-439B68DEF69F}"/>
                </a:ext>
              </a:extLst>
            </p:cNvPr>
            <p:cNvCxnSpPr/>
            <p:nvPr userDrawn="1"/>
          </p:nvCxnSpPr>
          <p:spPr bwMode="gray">
            <a:xfrm>
              <a:off x="782419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53CDA8FF-12A0-BFFA-290A-45019CE31762}"/>
                </a:ext>
              </a:extLst>
            </p:cNvPr>
            <p:cNvCxnSpPr/>
            <p:nvPr userDrawn="1"/>
          </p:nvCxnSpPr>
          <p:spPr bwMode="gray">
            <a:xfrm>
              <a:off x="840025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A3D0257F-16C2-AC6A-28F4-8559F59E1DD6}"/>
                </a:ext>
              </a:extLst>
            </p:cNvPr>
            <p:cNvCxnSpPr/>
            <p:nvPr userDrawn="1"/>
          </p:nvCxnSpPr>
          <p:spPr bwMode="gray">
            <a:xfrm>
              <a:off x="897632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ED5BBB66-4E14-6B65-99F2-25FE4BC7B02C}"/>
                </a:ext>
              </a:extLst>
            </p:cNvPr>
            <p:cNvCxnSpPr/>
            <p:nvPr userDrawn="1"/>
          </p:nvCxnSpPr>
          <p:spPr bwMode="gray">
            <a:xfrm>
              <a:off x="1128057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75784295-8D21-24D9-ABE0-78A283A2D63F}"/>
                </a:ext>
              </a:extLst>
            </p:cNvPr>
            <p:cNvCxnSpPr/>
            <p:nvPr userDrawn="1"/>
          </p:nvCxnSpPr>
          <p:spPr bwMode="gray">
            <a:xfrm>
              <a:off x="1185664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FB0D3EE5-BE02-AD40-B755-80DB2E3B0C13}"/>
                </a:ext>
              </a:extLst>
            </p:cNvPr>
            <p:cNvCxnSpPr>
              <a:cxnSpLocks/>
            </p:cNvCxnSpPr>
            <p:nvPr userDrawn="1"/>
          </p:nvCxnSpPr>
          <p:spPr bwMode="gray">
            <a:xfrm rot="5400000">
              <a:off x="-132688" y="29665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1170AB45-79C5-8DF9-2132-4A84964DFF2B}"/>
                </a:ext>
              </a:extLst>
            </p:cNvPr>
            <p:cNvCxnSpPr/>
            <p:nvPr userDrawn="1"/>
          </p:nvCxnSpPr>
          <p:spPr bwMode="gray">
            <a:xfrm>
              <a:off x="321568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048EC16D-B2BF-352F-FA41-7B9089774402}"/>
                </a:ext>
              </a:extLst>
            </p:cNvPr>
            <p:cNvCxnSpPr/>
            <p:nvPr userDrawn="1"/>
          </p:nvCxnSpPr>
          <p:spPr bwMode="gray">
            <a:xfrm>
              <a:off x="379174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55DEA178-58F5-67DE-D01D-D8A0BFF06A1B}"/>
                </a:ext>
              </a:extLst>
            </p:cNvPr>
            <p:cNvCxnSpPr>
              <a:cxnSpLocks/>
            </p:cNvCxnSpPr>
            <p:nvPr userDrawn="1"/>
          </p:nvCxnSpPr>
          <p:spPr bwMode="gray">
            <a:xfrm rot="5400000">
              <a:off x="-132704" y="87272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3FBAB641-C494-74A8-CD4A-28532BF05E26}"/>
                </a:ext>
              </a:extLst>
            </p:cNvPr>
            <p:cNvCxnSpPr>
              <a:cxnSpLocks/>
            </p:cNvCxnSpPr>
            <p:nvPr userDrawn="1"/>
          </p:nvCxnSpPr>
          <p:spPr bwMode="gray">
            <a:xfrm rot="5400000">
              <a:off x="-132712" y="202484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A57D85A3-95CB-9881-3713-538CD4D0F921}"/>
                </a:ext>
              </a:extLst>
            </p:cNvPr>
            <p:cNvCxnSpPr>
              <a:cxnSpLocks/>
            </p:cNvCxnSpPr>
            <p:nvPr userDrawn="1"/>
          </p:nvCxnSpPr>
          <p:spPr bwMode="gray">
            <a:xfrm rot="5400000">
              <a:off x="-132768" y="605729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1BF4FCEE-2FBE-8FF6-A979-3648B6F506B6}"/>
                </a:ext>
              </a:extLst>
            </p:cNvPr>
            <p:cNvCxnSpPr/>
            <p:nvPr/>
          </p:nvCxnSpPr>
          <p:spPr bwMode="gray">
            <a:xfrm>
              <a:off x="1070451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D5DBB73F-C1A2-C606-28E4-2D85D441B416}"/>
                </a:ext>
              </a:extLst>
            </p:cNvPr>
            <p:cNvCxnSpPr/>
            <p:nvPr/>
          </p:nvCxnSpPr>
          <p:spPr bwMode="gray">
            <a:xfrm>
              <a:off x="1012844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8" name="Gerader Verbinder 47">
              <a:extLst>
                <a:ext uri="{FF2B5EF4-FFF2-40B4-BE49-F238E27FC236}">
                  <a16:creationId xmlns:a16="http://schemas.microsoft.com/office/drawing/2014/main" id="{585D28A4-2BD7-72CD-106B-5593C4B7700B}"/>
                </a:ext>
              </a:extLst>
            </p:cNvPr>
            <p:cNvCxnSpPr/>
            <p:nvPr/>
          </p:nvCxnSpPr>
          <p:spPr bwMode="gray">
            <a:xfrm>
              <a:off x="955059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8A82CF1C-A365-3A8F-5956-A6E06C4484DB}"/>
                </a:ext>
              </a:extLst>
            </p:cNvPr>
            <p:cNvCxnSpPr/>
            <p:nvPr/>
          </p:nvCxnSpPr>
          <p:spPr bwMode="gray">
            <a:xfrm>
              <a:off x="551973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E237C3BC-1EB6-DAB6-AF66-E198D695EAEA}"/>
                </a:ext>
              </a:extLst>
            </p:cNvPr>
            <p:cNvCxnSpPr/>
            <p:nvPr/>
          </p:nvCxnSpPr>
          <p:spPr bwMode="gray">
            <a:xfrm>
              <a:off x="263961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89566F69-ED78-9716-F9B9-FD6C754FFBA7}"/>
                </a:ext>
              </a:extLst>
            </p:cNvPr>
            <p:cNvCxnSpPr/>
            <p:nvPr/>
          </p:nvCxnSpPr>
          <p:spPr bwMode="gray">
            <a:xfrm>
              <a:off x="206355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1E6E7131-08E8-089B-8117-26683EF0D32B}"/>
                </a:ext>
              </a:extLst>
            </p:cNvPr>
            <p:cNvCxnSpPr/>
            <p:nvPr/>
          </p:nvCxnSpPr>
          <p:spPr bwMode="gray">
            <a:xfrm>
              <a:off x="148748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76E90EA9-BB04-651A-5C91-9A1B1E94B490}"/>
                </a:ext>
              </a:extLst>
            </p:cNvPr>
            <p:cNvCxnSpPr/>
            <p:nvPr/>
          </p:nvCxnSpPr>
          <p:spPr bwMode="gray">
            <a:xfrm>
              <a:off x="91142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E6C5BF32-9996-A06F-F6BE-331712725BCC}"/>
                </a:ext>
              </a:extLst>
            </p:cNvPr>
            <p:cNvCxnSpPr>
              <a:cxnSpLocks/>
            </p:cNvCxnSpPr>
            <p:nvPr/>
          </p:nvCxnSpPr>
          <p:spPr bwMode="gray">
            <a:xfrm rot="5400000">
              <a:off x="-132704" y="144878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108C4C7A-168C-249E-BC85-D84466D40080}"/>
                </a:ext>
              </a:extLst>
            </p:cNvPr>
            <p:cNvCxnSpPr>
              <a:cxnSpLocks/>
            </p:cNvCxnSpPr>
            <p:nvPr/>
          </p:nvCxnSpPr>
          <p:spPr bwMode="gray">
            <a:xfrm rot="5400000">
              <a:off x="-132712" y="260091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DB6C429F-89D7-E4FF-8F37-351371311A63}"/>
                </a:ext>
              </a:extLst>
            </p:cNvPr>
            <p:cNvCxnSpPr>
              <a:cxnSpLocks/>
            </p:cNvCxnSpPr>
            <p:nvPr/>
          </p:nvCxnSpPr>
          <p:spPr bwMode="gray">
            <a:xfrm rot="5400000">
              <a:off x="-132712" y="317697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D0C64D4C-4FF6-7FBA-0309-EE0969D2546E}"/>
                </a:ext>
              </a:extLst>
            </p:cNvPr>
            <p:cNvCxnSpPr>
              <a:cxnSpLocks/>
            </p:cNvCxnSpPr>
            <p:nvPr/>
          </p:nvCxnSpPr>
          <p:spPr bwMode="gray">
            <a:xfrm rot="5400000">
              <a:off x="-132712" y="375304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6490399A-D218-F60A-549E-35ABDD92C565}"/>
                </a:ext>
              </a:extLst>
            </p:cNvPr>
            <p:cNvCxnSpPr>
              <a:cxnSpLocks/>
            </p:cNvCxnSpPr>
            <p:nvPr/>
          </p:nvCxnSpPr>
          <p:spPr bwMode="gray">
            <a:xfrm rot="5400000">
              <a:off x="-132712" y="432910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8BABEF9A-80FB-7CD0-5B0A-1758351605CC}"/>
                </a:ext>
              </a:extLst>
            </p:cNvPr>
            <p:cNvCxnSpPr>
              <a:cxnSpLocks/>
            </p:cNvCxnSpPr>
            <p:nvPr/>
          </p:nvCxnSpPr>
          <p:spPr bwMode="gray">
            <a:xfrm rot="5400000">
              <a:off x="-132712" y="490516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9B7C169F-20A6-5E54-65B0-5BAA932F1C40}"/>
                </a:ext>
              </a:extLst>
            </p:cNvPr>
            <p:cNvCxnSpPr>
              <a:cxnSpLocks/>
            </p:cNvCxnSpPr>
            <p:nvPr/>
          </p:nvCxnSpPr>
          <p:spPr bwMode="gray">
            <a:xfrm rot="5400000">
              <a:off x="-132712" y="548123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87593982"/>
      </p:ext>
    </p:extLst>
  </p:cSld>
  <p:clrMapOvr>
    <a:masterClrMapping/>
  </p:clrMapOvr>
  <p:extLst>
    <p:ext uri="{DCECCB84-F9BA-43D5-87BE-67443E8EF086}">
      <p15:sldGuideLst xmlns:p15="http://schemas.microsoft.com/office/powerpoint/2012/main">
        <p15:guide id="1" pos="4929" userDrawn="1">
          <p15:clr>
            <a:srgbClr val="FBAE40"/>
          </p15:clr>
        </p15:guide>
        <p15:guide id="2" pos="7469" userDrawn="1">
          <p15:clr>
            <a:srgbClr val="FBAE40"/>
          </p15:clr>
        </p15:guide>
        <p15:guide id="3" orient="horz" pos="1298" userDrawn="1">
          <p15:clr>
            <a:srgbClr val="FBAE40"/>
          </p15:clr>
        </p15:guide>
        <p15:guide id="4" orient="horz" pos="3838" userDrawn="1">
          <p15:clr>
            <a:srgbClr val="FBAE40"/>
          </p15:clr>
        </p15:guide>
        <p15:guide id="5" pos="4566" userDrawn="1">
          <p15:clr>
            <a:srgbClr val="FBAE40"/>
          </p15:clr>
        </p15:guide>
        <p15:guide id="6" pos="211" userDrawn="1">
          <p15:clr>
            <a:srgbClr val="FBAE40"/>
          </p15:clr>
        </p15:guide>
        <p15:guide id="7" orient="horz" pos="935"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Notebook">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C975EAA-F499-14C5-039D-AAE6B34A4300}"/>
              </a:ext>
            </a:extLst>
          </p:cNvPr>
          <p:cNvGraphicFramePr>
            <a:graphicFrameLocks noChangeAspect="1"/>
          </p:cNvGraphicFramePr>
          <p:nvPr userDrawn="1">
            <p:custDataLst>
              <p:tags r:id="rId1"/>
            </p:custDataLst>
            <p:extLst>
              <p:ext uri="{D42A27DB-BD31-4B8C-83A1-F6EECF244321}">
                <p14:modId xmlns:p14="http://schemas.microsoft.com/office/powerpoint/2010/main" val="3602369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3" name="Objekt 2" hidden="1">
                        <a:extLst>
                          <a:ext uri="{FF2B5EF4-FFF2-40B4-BE49-F238E27FC236}">
                            <a16:creationId xmlns:a16="http://schemas.microsoft.com/office/drawing/2014/main" id="{1C975EAA-F499-14C5-039D-AAE6B34A43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a:extLst>
              <a:ext uri="{FF2B5EF4-FFF2-40B4-BE49-F238E27FC236}">
                <a16:creationId xmlns:a16="http://schemas.microsoft.com/office/drawing/2014/main" id="{688D30AF-522D-4245-9284-58DA1A66052A}"/>
              </a:ext>
            </a:extLst>
          </p:cNvPr>
          <p:cNvSpPr>
            <a:spLocks noGrp="1"/>
          </p:cNvSpPr>
          <p:nvPr>
            <p:ph type="title" hasCustomPrompt="1"/>
          </p:nvPr>
        </p:nvSpPr>
        <p:spPr bwMode="gray"/>
        <p:txBody>
          <a:bodyPr vert="horz"/>
          <a:lstStyle>
            <a:lvl1pPr>
              <a:defRPr/>
            </a:lvl1pPr>
          </a:lstStyle>
          <a:p>
            <a:r>
              <a:rPr lang="en-GB"/>
              <a:t>Insert your headline in Lato Heavy 24 pt here</a:t>
            </a:r>
            <a:endParaRPr lang="en-GB" dirty="0"/>
          </a:p>
        </p:txBody>
      </p:sp>
      <p:sp>
        <p:nvSpPr>
          <p:cNvPr id="18" name="Shape">
            <a:extLst>
              <a:ext uri="{FF2B5EF4-FFF2-40B4-BE49-F238E27FC236}">
                <a16:creationId xmlns:a16="http://schemas.microsoft.com/office/drawing/2014/main" id="{BD5F0027-250B-42F2-867F-9FED18931BAE}"/>
              </a:ext>
              <a:ext uri="{C183D7F6-B498-43B3-948B-1728B52AA6E4}">
                <adec:decorative xmlns:adec="http://schemas.microsoft.com/office/drawing/2017/decorative" val="1"/>
              </a:ext>
            </a:extLst>
          </p:cNvPr>
          <p:cNvSpPr/>
          <p:nvPr userDrawn="1"/>
        </p:nvSpPr>
        <p:spPr bwMode="gray">
          <a:xfrm>
            <a:off x="5140717" y="1916750"/>
            <a:ext cx="5976000" cy="38882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pic>
        <p:nvPicPr>
          <p:cNvPr id="10" name="Shape">
            <a:extLst>
              <a:ext uri="{FF2B5EF4-FFF2-40B4-BE49-F238E27FC236}">
                <a16:creationId xmlns:a16="http://schemas.microsoft.com/office/drawing/2014/main" id="{5A4FDBA1-5706-4639-9AF6-B0075997EFF1}"/>
              </a:ext>
              <a:ext uri="{C183D7F6-B498-43B3-948B-1728B52AA6E4}">
                <adec:decorative xmlns:adec="http://schemas.microsoft.com/office/drawing/2017/decorative" val="1"/>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r="638"/>
          <a:stretch/>
        </p:blipFill>
        <p:spPr bwMode="gray">
          <a:xfrm>
            <a:off x="3988718" y="1844674"/>
            <a:ext cx="8203282" cy="4327900"/>
          </a:xfrm>
          <a:prstGeom prst="rect">
            <a:avLst/>
          </a:prstGeom>
        </p:spPr>
      </p:pic>
      <p:sp>
        <p:nvSpPr>
          <p:cNvPr id="5" name="Picture Placeholder 4"/>
          <p:cNvSpPr>
            <a:spLocks noGrp="1"/>
          </p:cNvSpPr>
          <p:nvPr>
            <p:ph type="pic" sz="quarter" idx="17" hasCustomPrompt="1"/>
          </p:nvPr>
        </p:nvSpPr>
        <p:spPr bwMode="gray">
          <a:xfrm>
            <a:off x="5196217" y="1955800"/>
            <a:ext cx="5842000" cy="3771900"/>
          </a:xfrm>
          <a:prstGeom prst="roundRect">
            <a:avLst>
              <a:gd name="adj" fmla="val 2189"/>
            </a:avLst>
          </a:prstGeom>
          <a:solidFill>
            <a:srgbClr val="D6D9DC"/>
          </a:solidFill>
        </p:spPr>
        <p:txBody>
          <a:bodyPr/>
          <a:lstStyle>
            <a:lvl1pPr marL="0" indent="0">
              <a:buNone/>
              <a:defRPr/>
            </a:lvl1pPr>
          </a:lstStyle>
          <a:p>
            <a:r>
              <a:rPr lang="en-GB"/>
              <a:t> </a:t>
            </a:r>
            <a:endParaRPr lang="en-GB" dirty="0"/>
          </a:p>
        </p:txBody>
      </p:sp>
      <p:sp>
        <p:nvSpPr>
          <p:cNvPr id="9" name="Datumsplatzhalter 8">
            <a:extLst>
              <a:ext uri="{FF2B5EF4-FFF2-40B4-BE49-F238E27FC236}">
                <a16:creationId xmlns:a16="http://schemas.microsoft.com/office/drawing/2014/main" id="{C839E071-7616-5600-56DC-CE85ED6560B2}"/>
              </a:ext>
            </a:extLst>
          </p:cNvPr>
          <p:cNvSpPr>
            <a:spLocks noGrp="1"/>
          </p:cNvSpPr>
          <p:nvPr>
            <p:ph type="dt" sz="half" idx="19"/>
          </p:nvPr>
        </p:nvSpPr>
        <p:spPr/>
        <p:txBody>
          <a:bodyPr/>
          <a:lstStyle/>
          <a:p>
            <a:r>
              <a:rPr lang="en-US"/>
              <a:t>7/26/2022</a:t>
            </a:r>
            <a:endParaRPr lang="en-GB" dirty="0"/>
          </a:p>
        </p:txBody>
      </p:sp>
      <p:sp>
        <p:nvSpPr>
          <p:cNvPr id="13" name="Fußzeilenplatzhalter 12">
            <a:extLst>
              <a:ext uri="{FF2B5EF4-FFF2-40B4-BE49-F238E27FC236}">
                <a16:creationId xmlns:a16="http://schemas.microsoft.com/office/drawing/2014/main" id="{93F5FB56-E8F7-C3DE-AA05-291C1C7B2E82}"/>
              </a:ext>
            </a:extLst>
          </p:cNvPr>
          <p:cNvSpPr>
            <a:spLocks noGrp="1"/>
          </p:cNvSpPr>
          <p:nvPr>
            <p:ph type="ftr" sz="quarter" idx="20"/>
          </p:nvPr>
        </p:nvSpPr>
        <p:spPr/>
        <p:txBody>
          <a:bodyPr/>
          <a:lstStyle/>
          <a:p>
            <a:r>
              <a:rPr lang="de-DE"/>
              <a:t>Der Konsument nach Corona und Consumer Voice</a:t>
            </a:r>
            <a:endParaRPr lang="de-DE" dirty="0"/>
          </a:p>
        </p:txBody>
      </p:sp>
      <p:sp>
        <p:nvSpPr>
          <p:cNvPr id="14" name="Foliennummernplatzhalter 13">
            <a:extLst>
              <a:ext uri="{FF2B5EF4-FFF2-40B4-BE49-F238E27FC236}">
                <a16:creationId xmlns:a16="http://schemas.microsoft.com/office/drawing/2014/main" id="{6422AC10-4741-A3C8-1742-455DA99159F1}"/>
              </a:ext>
            </a:extLst>
          </p:cNvPr>
          <p:cNvSpPr>
            <a:spLocks noGrp="1"/>
          </p:cNvSpPr>
          <p:nvPr>
            <p:ph type="sldNum" sz="quarter" idx="21"/>
          </p:nvPr>
        </p:nvSpPr>
        <p:spPr/>
        <p:txBody>
          <a:bodyPr/>
          <a:lstStyle/>
          <a:p>
            <a:fld id="{CAEA825B-D749-4F0A-886E-8D45A39EAF2A}" type="slidenum">
              <a:rPr lang="de-DE" smtClean="0"/>
              <a:pPr/>
              <a:t>‹Nº›</a:t>
            </a:fld>
            <a:endParaRPr lang="de-DE"/>
          </a:p>
        </p:txBody>
      </p:sp>
      <p:sp>
        <p:nvSpPr>
          <p:cNvPr id="46" name="Subtitle 2">
            <a:extLst>
              <a:ext uri="{FF2B5EF4-FFF2-40B4-BE49-F238E27FC236}">
                <a16:creationId xmlns:a16="http://schemas.microsoft.com/office/drawing/2014/main" id="{DFD43F80-6D9E-B013-EAFE-98C07E173731}"/>
              </a:ext>
            </a:extLst>
          </p:cNvPr>
          <p:cNvSpPr>
            <a:spLocks noGrp="1"/>
          </p:cNvSpPr>
          <p:nvPr>
            <p:ph type="subTitle" idx="13" hasCustomPrompt="1"/>
          </p:nvPr>
        </p:nvSpPr>
        <p:spPr>
          <a:xfrm>
            <a:off x="335360" y="659362"/>
            <a:ext cx="8640960" cy="360000"/>
          </a:xfrm>
          <a:prstGeom prst="rect">
            <a:avLst/>
          </a:prstGeom>
        </p:spPr>
        <p:txBody>
          <a:bodyPr wrap="none"/>
          <a:lstStyle>
            <a:lvl1pPr marL="0" indent="0" algn="l">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1pPr>
            <a:lvl2pPr marL="0" indent="0" algn="l">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2pPr>
            <a:lvl3pPr marL="0" indent="0" algn="l">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3pPr>
            <a:lvl4pPr marL="0" indent="0" algn="l">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4pPr>
            <a:lvl5pPr marL="0" indent="0" algn="l">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5pPr>
            <a:lvl6pPr marL="0" indent="0" algn="l">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6pPr>
            <a:lvl7pPr marL="0" indent="0" algn="l">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7pPr>
            <a:lvl8pPr marL="0" indent="0" algn="l">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8pPr>
            <a:lvl9pPr marL="0" indent="0" algn="l">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9pPr>
          </a:lstStyle>
          <a:p>
            <a:r>
              <a:rPr lang="en-GB" dirty="0"/>
              <a:t>Insert your sub-headline in </a:t>
            </a:r>
            <a:r>
              <a:rPr lang="en-GB" dirty="0" err="1"/>
              <a:t>Lato</a:t>
            </a:r>
            <a:r>
              <a:rPr lang="en-GB" dirty="0"/>
              <a:t> light 20 </a:t>
            </a:r>
            <a:r>
              <a:rPr lang="en-GB" dirty="0" err="1"/>
              <a:t>pt</a:t>
            </a:r>
            <a:r>
              <a:rPr lang="en-GB" dirty="0"/>
              <a:t> here</a:t>
            </a:r>
          </a:p>
        </p:txBody>
      </p:sp>
      <p:sp>
        <p:nvSpPr>
          <p:cNvPr id="47" name="Content Placeholder 2">
            <a:extLst>
              <a:ext uri="{FF2B5EF4-FFF2-40B4-BE49-F238E27FC236}">
                <a16:creationId xmlns:a16="http://schemas.microsoft.com/office/drawing/2014/main" id="{E100AFBF-E3D5-66C8-841D-DACF0EADC253}"/>
              </a:ext>
            </a:extLst>
          </p:cNvPr>
          <p:cNvSpPr>
            <a:spLocks noGrp="1"/>
          </p:cNvSpPr>
          <p:nvPr>
            <p:ph idx="1" hasCustomPrompt="1"/>
          </p:nvPr>
        </p:nvSpPr>
        <p:spPr>
          <a:xfrm>
            <a:off x="334963" y="2060575"/>
            <a:ext cx="3457576" cy="4032250"/>
          </a:xfrm>
          <a:prstGeom prst="rect">
            <a:avLst/>
          </a:prstGeom>
        </p:spPr>
        <p:txBody>
          <a:bodyPr anchor="t"/>
          <a:lstStyle>
            <a:lvl1pPr>
              <a:defRPr sz="1600"/>
            </a:lvl1pPr>
            <a:lvl2pPr>
              <a:defRPr sz="1600"/>
            </a:lvl2pPr>
            <a:lvl3pPr>
              <a:defRPr sz="1600"/>
            </a:lvl3pPr>
            <a:lvl4pPr>
              <a:defRPr sz="1600"/>
            </a:lvl4pPr>
            <a:lvl5pPr>
              <a:defRPr sz="1200"/>
            </a:lvl5p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48" name="Text Placeholder 4">
            <a:extLst>
              <a:ext uri="{FF2B5EF4-FFF2-40B4-BE49-F238E27FC236}">
                <a16:creationId xmlns:a16="http://schemas.microsoft.com/office/drawing/2014/main" id="{E56047C4-1C1F-9783-C499-D51123617869}"/>
              </a:ext>
            </a:extLst>
          </p:cNvPr>
          <p:cNvSpPr>
            <a:spLocks noGrp="1"/>
          </p:cNvSpPr>
          <p:nvPr>
            <p:ph type="body" sz="quarter" idx="18" hasCustomPrompt="1"/>
          </p:nvPr>
        </p:nvSpPr>
        <p:spPr>
          <a:xfrm>
            <a:off x="1487488" y="6525344"/>
            <a:ext cx="9217024" cy="144015"/>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a:lvl5pPr>
            <a:lvl6pPr marL="0" indent="0">
              <a:spcBef>
                <a:spcPts val="0"/>
              </a:spcBef>
              <a:buNone/>
              <a:defRPr sz="900"/>
            </a:lvl6pPr>
            <a:lvl7pPr marL="0" indent="0">
              <a:spcBef>
                <a:spcPts val="0"/>
              </a:spcBef>
              <a:buNone/>
              <a:defRPr sz="900"/>
            </a:lvl7pPr>
            <a:lvl8pPr marL="0" indent="0">
              <a:spcBef>
                <a:spcPts val="0"/>
              </a:spcBef>
              <a:buNone/>
              <a:defRPr sz="900"/>
            </a:lvl8pPr>
            <a:lvl9pPr marL="0" indent="0">
              <a:spcBef>
                <a:spcPts val="0"/>
              </a:spcBef>
              <a:buNone/>
              <a:defRPr sz="900"/>
            </a:lvl9pPr>
          </a:lstStyle>
          <a:p>
            <a:pPr lvl="0"/>
            <a:r>
              <a:rPr lang="de-DE" dirty="0"/>
              <a:t>Source, Footnote</a:t>
            </a:r>
            <a:endParaRPr lang="en-GB" dirty="0"/>
          </a:p>
        </p:txBody>
      </p:sp>
      <p:grpSp>
        <p:nvGrpSpPr>
          <p:cNvPr id="30" name="Gruppieren 29">
            <a:extLst>
              <a:ext uri="{FF2B5EF4-FFF2-40B4-BE49-F238E27FC236}">
                <a16:creationId xmlns:a16="http://schemas.microsoft.com/office/drawing/2014/main" id="{4149DAE3-47E5-37F3-2B47-62F1F596A777}"/>
              </a:ext>
              <a:ext uri="{C183D7F6-B498-43B3-948B-1728B52AA6E4}">
                <adec:decorative xmlns:adec="http://schemas.microsoft.com/office/drawing/2017/decorative" val="1"/>
              </a:ext>
            </a:extLst>
          </p:cNvPr>
          <p:cNvGrpSpPr/>
          <p:nvPr userDrawn="1"/>
        </p:nvGrpSpPr>
        <p:grpSpPr>
          <a:xfrm>
            <a:off x="-168768" y="-171392"/>
            <a:ext cx="12025408" cy="6264688"/>
            <a:chOff x="-168768" y="-171392"/>
            <a:chExt cx="12025408" cy="6264688"/>
          </a:xfrm>
        </p:grpSpPr>
        <p:cxnSp>
          <p:nvCxnSpPr>
            <p:cNvPr id="31" name="Gerader Verbinder 30">
              <a:extLst>
                <a:ext uri="{FF2B5EF4-FFF2-40B4-BE49-F238E27FC236}">
                  <a16:creationId xmlns:a16="http://schemas.microsoft.com/office/drawing/2014/main" id="{23EC7CE1-DB26-2214-392D-1D04CFEC87DF}"/>
                </a:ext>
              </a:extLst>
            </p:cNvPr>
            <p:cNvCxnSpPr/>
            <p:nvPr userDrawn="1"/>
          </p:nvCxnSpPr>
          <p:spPr bwMode="gray">
            <a:xfrm>
              <a:off x="33536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AEB0416A-EB32-7D57-8EA3-D8DCD773DFEB}"/>
                </a:ext>
              </a:extLst>
            </p:cNvPr>
            <p:cNvCxnSpPr/>
            <p:nvPr userDrawn="1"/>
          </p:nvCxnSpPr>
          <p:spPr bwMode="gray">
            <a:xfrm>
              <a:off x="436780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A246B80E-EE50-03E2-1108-82B454969762}"/>
                </a:ext>
              </a:extLst>
            </p:cNvPr>
            <p:cNvCxnSpPr/>
            <p:nvPr userDrawn="1"/>
          </p:nvCxnSpPr>
          <p:spPr bwMode="gray">
            <a:xfrm>
              <a:off x="494387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363363DE-A831-9358-5B2E-5E5582E4B880}"/>
                </a:ext>
              </a:extLst>
            </p:cNvPr>
            <p:cNvCxnSpPr/>
            <p:nvPr userDrawn="1"/>
          </p:nvCxnSpPr>
          <p:spPr bwMode="gray">
            <a:xfrm>
              <a:off x="667206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EDA38B7A-04F2-4D26-790B-9A2BF33ED1B0}"/>
                </a:ext>
              </a:extLst>
            </p:cNvPr>
            <p:cNvCxnSpPr/>
            <p:nvPr userDrawn="1"/>
          </p:nvCxnSpPr>
          <p:spPr bwMode="gray">
            <a:xfrm>
              <a:off x="609600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CFBF006B-3EDA-9447-4AE4-A909818E8D32}"/>
                </a:ext>
              </a:extLst>
            </p:cNvPr>
            <p:cNvCxnSpPr/>
            <p:nvPr userDrawn="1"/>
          </p:nvCxnSpPr>
          <p:spPr bwMode="gray">
            <a:xfrm>
              <a:off x="724812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A1E8EB84-AAF0-4AF4-58EE-94EC2C503404}"/>
                </a:ext>
              </a:extLst>
            </p:cNvPr>
            <p:cNvCxnSpPr/>
            <p:nvPr userDrawn="1"/>
          </p:nvCxnSpPr>
          <p:spPr bwMode="gray">
            <a:xfrm>
              <a:off x="782419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86C45C0E-2487-EA80-063A-463BA753F09E}"/>
                </a:ext>
              </a:extLst>
            </p:cNvPr>
            <p:cNvCxnSpPr/>
            <p:nvPr userDrawn="1"/>
          </p:nvCxnSpPr>
          <p:spPr bwMode="gray">
            <a:xfrm>
              <a:off x="840025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BBDF238C-7AC0-88D4-501F-B2C36F3F92A9}"/>
                </a:ext>
              </a:extLst>
            </p:cNvPr>
            <p:cNvCxnSpPr/>
            <p:nvPr userDrawn="1"/>
          </p:nvCxnSpPr>
          <p:spPr bwMode="gray">
            <a:xfrm>
              <a:off x="897632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A5791A25-B973-52A1-2F44-905DFE1CBA31}"/>
                </a:ext>
              </a:extLst>
            </p:cNvPr>
            <p:cNvCxnSpPr/>
            <p:nvPr userDrawn="1"/>
          </p:nvCxnSpPr>
          <p:spPr bwMode="gray">
            <a:xfrm>
              <a:off x="1128057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B63F9BD9-2B45-EF42-F22A-8A27D96687F6}"/>
                </a:ext>
              </a:extLst>
            </p:cNvPr>
            <p:cNvCxnSpPr/>
            <p:nvPr userDrawn="1"/>
          </p:nvCxnSpPr>
          <p:spPr bwMode="gray">
            <a:xfrm>
              <a:off x="1185664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A6FC510-64F4-4D49-238A-E4B0D8ECD566}"/>
                </a:ext>
              </a:extLst>
            </p:cNvPr>
            <p:cNvCxnSpPr>
              <a:cxnSpLocks/>
            </p:cNvCxnSpPr>
            <p:nvPr userDrawn="1"/>
          </p:nvCxnSpPr>
          <p:spPr bwMode="gray">
            <a:xfrm rot="5400000">
              <a:off x="-132688" y="29665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1ABD4503-60CC-803B-3503-A15C84C80AD9}"/>
                </a:ext>
              </a:extLst>
            </p:cNvPr>
            <p:cNvCxnSpPr/>
            <p:nvPr userDrawn="1"/>
          </p:nvCxnSpPr>
          <p:spPr bwMode="gray">
            <a:xfrm>
              <a:off x="321568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5AD77527-19EE-FF14-CE36-4116EFBC650A}"/>
                </a:ext>
              </a:extLst>
            </p:cNvPr>
            <p:cNvCxnSpPr/>
            <p:nvPr userDrawn="1"/>
          </p:nvCxnSpPr>
          <p:spPr bwMode="gray">
            <a:xfrm>
              <a:off x="379174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1588EBAB-5FF8-C6F5-36EE-34DED81D24CA}"/>
                </a:ext>
              </a:extLst>
            </p:cNvPr>
            <p:cNvCxnSpPr>
              <a:cxnSpLocks/>
            </p:cNvCxnSpPr>
            <p:nvPr userDrawn="1"/>
          </p:nvCxnSpPr>
          <p:spPr bwMode="gray">
            <a:xfrm rot="5400000">
              <a:off x="-132704" y="87272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4E3FB030-241D-50C9-DE58-70D5CC05686B}"/>
                </a:ext>
              </a:extLst>
            </p:cNvPr>
            <p:cNvCxnSpPr>
              <a:cxnSpLocks/>
            </p:cNvCxnSpPr>
            <p:nvPr userDrawn="1"/>
          </p:nvCxnSpPr>
          <p:spPr bwMode="gray">
            <a:xfrm rot="5400000">
              <a:off x="-132712" y="202484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B937FB0E-841A-BE77-0A88-A5088E92AE9D}"/>
                </a:ext>
              </a:extLst>
            </p:cNvPr>
            <p:cNvCxnSpPr>
              <a:cxnSpLocks/>
            </p:cNvCxnSpPr>
            <p:nvPr userDrawn="1"/>
          </p:nvCxnSpPr>
          <p:spPr bwMode="gray">
            <a:xfrm rot="5400000">
              <a:off x="-132768" y="605729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E20F88EE-B876-64EB-E074-5EE55C5346A7}"/>
                </a:ext>
              </a:extLst>
            </p:cNvPr>
            <p:cNvCxnSpPr/>
            <p:nvPr/>
          </p:nvCxnSpPr>
          <p:spPr bwMode="gray">
            <a:xfrm>
              <a:off x="1070451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7AF7FD2F-F9D8-6B46-F072-AD749BFF8FC2}"/>
                </a:ext>
              </a:extLst>
            </p:cNvPr>
            <p:cNvCxnSpPr/>
            <p:nvPr/>
          </p:nvCxnSpPr>
          <p:spPr bwMode="gray">
            <a:xfrm>
              <a:off x="1012844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614A4D7F-353F-F70D-79A5-504FAD86BE7C}"/>
                </a:ext>
              </a:extLst>
            </p:cNvPr>
            <p:cNvCxnSpPr/>
            <p:nvPr/>
          </p:nvCxnSpPr>
          <p:spPr bwMode="gray">
            <a:xfrm>
              <a:off x="955059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2E26EFAB-4CB1-E47F-512D-2486C9E93DEF}"/>
                </a:ext>
              </a:extLst>
            </p:cNvPr>
            <p:cNvCxnSpPr/>
            <p:nvPr/>
          </p:nvCxnSpPr>
          <p:spPr bwMode="gray">
            <a:xfrm>
              <a:off x="551973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9622AE37-F92F-AFB2-169B-4F4D86D92B78}"/>
                </a:ext>
              </a:extLst>
            </p:cNvPr>
            <p:cNvCxnSpPr/>
            <p:nvPr/>
          </p:nvCxnSpPr>
          <p:spPr bwMode="gray">
            <a:xfrm>
              <a:off x="263961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AB568B55-061D-D6CF-AE0E-86D4D317538D}"/>
                </a:ext>
              </a:extLst>
            </p:cNvPr>
            <p:cNvCxnSpPr/>
            <p:nvPr/>
          </p:nvCxnSpPr>
          <p:spPr bwMode="gray">
            <a:xfrm>
              <a:off x="206355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35C527F2-A508-6138-BBF6-5C28C8944CA1}"/>
                </a:ext>
              </a:extLst>
            </p:cNvPr>
            <p:cNvCxnSpPr/>
            <p:nvPr/>
          </p:nvCxnSpPr>
          <p:spPr bwMode="gray">
            <a:xfrm>
              <a:off x="148748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77C3EFED-B277-8C2B-932C-DEC260900EB8}"/>
                </a:ext>
              </a:extLst>
            </p:cNvPr>
            <p:cNvCxnSpPr/>
            <p:nvPr/>
          </p:nvCxnSpPr>
          <p:spPr bwMode="gray">
            <a:xfrm>
              <a:off x="91142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57364A8D-5776-AA09-14FC-514CD0DF9617}"/>
                </a:ext>
              </a:extLst>
            </p:cNvPr>
            <p:cNvCxnSpPr>
              <a:cxnSpLocks/>
            </p:cNvCxnSpPr>
            <p:nvPr/>
          </p:nvCxnSpPr>
          <p:spPr bwMode="gray">
            <a:xfrm rot="5400000">
              <a:off x="-132704" y="144878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84372EF4-8DF5-516A-F80D-70FAD56BAE97}"/>
                </a:ext>
              </a:extLst>
            </p:cNvPr>
            <p:cNvCxnSpPr>
              <a:cxnSpLocks/>
            </p:cNvCxnSpPr>
            <p:nvPr/>
          </p:nvCxnSpPr>
          <p:spPr bwMode="gray">
            <a:xfrm rot="5400000">
              <a:off x="-132712" y="260091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id="{7BBB5C24-F671-EF83-CC9E-28BA68E35FA0}"/>
                </a:ext>
              </a:extLst>
            </p:cNvPr>
            <p:cNvCxnSpPr>
              <a:cxnSpLocks/>
            </p:cNvCxnSpPr>
            <p:nvPr/>
          </p:nvCxnSpPr>
          <p:spPr bwMode="gray">
            <a:xfrm rot="5400000">
              <a:off x="-132712" y="317697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id="{1142C95A-0706-4F5E-3E8C-69281E95066A}"/>
                </a:ext>
              </a:extLst>
            </p:cNvPr>
            <p:cNvCxnSpPr>
              <a:cxnSpLocks/>
            </p:cNvCxnSpPr>
            <p:nvPr/>
          </p:nvCxnSpPr>
          <p:spPr bwMode="gray">
            <a:xfrm rot="5400000">
              <a:off x="-132712" y="375304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63D5D4BC-031A-8E13-B05B-74F8B210EEB5}"/>
                </a:ext>
              </a:extLst>
            </p:cNvPr>
            <p:cNvCxnSpPr>
              <a:cxnSpLocks/>
            </p:cNvCxnSpPr>
            <p:nvPr/>
          </p:nvCxnSpPr>
          <p:spPr bwMode="gray">
            <a:xfrm rot="5400000">
              <a:off x="-132712" y="432910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54D698B0-7E12-E64A-3EC1-08C5714DF664}"/>
                </a:ext>
              </a:extLst>
            </p:cNvPr>
            <p:cNvCxnSpPr>
              <a:cxnSpLocks/>
            </p:cNvCxnSpPr>
            <p:nvPr/>
          </p:nvCxnSpPr>
          <p:spPr bwMode="gray">
            <a:xfrm rot="5400000">
              <a:off x="-132712" y="490516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3" name="Gerader Verbinder 82">
              <a:extLst>
                <a:ext uri="{FF2B5EF4-FFF2-40B4-BE49-F238E27FC236}">
                  <a16:creationId xmlns:a16="http://schemas.microsoft.com/office/drawing/2014/main" id="{07E6679A-CFCE-52BC-CFB9-E960B8250098}"/>
                </a:ext>
              </a:extLst>
            </p:cNvPr>
            <p:cNvCxnSpPr>
              <a:cxnSpLocks/>
            </p:cNvCxnSpPr>
            <p:nvPr/>
          </p:nvCxnSpPr>
          <p:spPr bwMode="gray">
            <a:xfrm rot="5400000">
              <a:off x="-132712" y="548123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37505566"/>
      </p:ext>
    </p:extLst>
  </p:cSld>
  <p:clrMapOvr>
    <a:masterClrMapping/>
  </p:clrMapOvr>
  <p:extLst>
    <p:ext uri="{DCECCB84-F9BA-43D5-87BE-67443E8EF086}">
      <p15:sldGuideLst xmlns:p15="http://schemas.microsoft.com/office/powerpoint/2012/main">
        <p15:guide id="1" orient="horz" pos="1298" userDrawn="1">
          <p15:clr>
            <a:srgbClr val="FBAE40"/>
          </p15:clr>
        </p15:guide>
        <p15:guide id="2" orient="horz" pos="935" userDrawn="1">
          <p15:clr>
            <a:srgbClr val="FBAE40"/>
          </p15:clr>
        </p15:guide>
        <p15:guide id="3" orient="horz" pos="3838" userDrawn="1">
          <p15:clr>
            <a:srgbClr val="FBAE40"/>
          </p15:clr>
        </p15:guide>
        <p15:guide id="4" pos="211" userDrawn="1">
          <p15:clr>
            <a:srgbClr val="FBAE40"/>
          </p15:clr>
        </p15:guide>
        <p15:guide id="5" pos="2389"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ablet">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F22142F6-A193-BDEC-EDAA-B2A53A8703F9}"/>
              </a:ext>
            </a:extLst>
          </p:cNvPr>
          <p:cNvGraphicFramePr>
            <a:graphicFrameLocks noChangeAspect="1"/>
          </p:cNvGraphicFramePr>
          <p:nvPr userDrawn="1">
            <p:custDataLst>
              <p:tags r:id="rId1"/>
            </p:custDataLst>
            <p:extLst>
              <p:ext uri="{D42A27DB-BD31-4B8C-83A1-F6EECF244321}">
                <p14:modId xmlns:p14="http://schemas.microsoft.com/office/powerpoint/2010/main" val="1764236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4" name="Objekt 3" hidden="1">
                        <a:extLst>
                          <a:ext uri="{FF2B5EF4-FFF2-40B4-BE49-F238E27FC236}">
                            <a16:creationId xmlns:a16="http://schemas.microsoft.com/office/drawing/2014/main" id="{F22142F6-A193-BDEC-EDAA-B2A53A8703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a:extLst>
              <a:ext uri="{FF2B5EF4-FFF2-40B4-BE49-F238E27FC236}">
                <a16:creationId xmlns:a16="http://schemas.microsoft.com/office/drawing/2014/main" id="{F65E210A-EEA7-42E8-8FF8-1EF5E4DDE95E}"/>
              </a:ext>
            </a:extLst>
          </p:cNvPr>
          <p:cNvSpPr>
            <a:spLocks noGrp="1"/>
          </p:cNvSpPr>
          <p:nvPr>
            <p:ph type="title" hasCustomPrompt="1"/>
          </p:nvPr>
        </p:nvSpPr>
        <p:spPr bwMode="gray"/>
        <p:txBody>
          <a:bodyPr vert="horz"/>
          <a:lstStyle>
            <a:lvl1pPr>
              <a:defRPr/>
            </a:lvl1pPr>
          </a:lstStyle>
          <a:p>
            <a:r>
              <a:rPr lang="en-GB"/>
              <a:t>Insert your headline in Lato Heavy 24 pt here</a:t>
            </a:r>
            <a:endParaRPr lang="en-GB" dirty="0"/>
          </a:p>
        </p:txBody>
      </p:sp>
      <p:sp>
        <p:nvSpPr>
          <p:cNvPr id="3" name="Content Placeholder 2"/>
          <p:cNvSpPr>
            <a:spLocks noGrp="1"/>
          </p:cNvSpPr>
          <p:nvPr>
            <p:ph idx="1" hasCustomPrompt="1"/>
          </p:nvPr>
        </p:nvSpPr>
        <p:spPr bwMode="gray">
          <a:xfrm>
            <a:off x="335361" y="2060575"/>
            <a:ext cx="3457178" cy="4032250"/>
          </a:xfrm>
          <a:prstGeom prst="rect">
            <a:avLst/>
          </a:prstGeom>
        </p:spPr>
        <p:txBody>
          <a:bodyPr anchor="t"/>
          <a:lstStyle>
            <a:lvl1pPr>
              <a:defRPr sz="1600"/>
            </a:lvl1pPr>
            <a:lvl2pPr>
              <a:defRPr sz="1600"/>
            </a:lvl2pPr>
            <a:lvl3pPr>
              <a:defRPr sz="1600"/>
            </a:lvl3pPr>
            <a:lvl4pPr>
              <a:defRPr sz="1600"/>
            </a:lvl4pPr>
            <a:lvl5pPr>
              <a:defRPr sz="1200"/>
            </a:lvl5p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7" name="Rechteck: abgerundete Ecken 16">
            <a:extLst>
              <a:ext uri="{FF2B5EF4-FFF2-40B4-BE49-F238E27FC236}">
                <a16:creationId xmlns:a16="http://schemas.microsoft.com/office/drawing/2014/main" id="{9C3A763B-E2E0-485C-B3D0-6D8C1B4FC28C}"/>
              </a:ext>
              <a:ext uri="{C183D7F6-B498-43B3-948B-1728B52AA6E4}">
                <adec:decorative xmlns:adec="http://schemas.microsoft.com/office/drawing/2017/decorative" val="1"/>
              </a:ext>
            </a:extLst>
          </p:cNvPr>
          <p:cNvSpPr/>
          <p:nvPr userDrawn="1"/>
        </p:nvSpPr>
        <p:spPr bwMode="gray">
          <a:xfrm>
            <a:off x="5104164" y="2038655"/>
            <a:ext cx="6033780" cy="4008120"/>
          </a:xfrm>
          <a:prstGeom prst="roundRect">
            <a:avLst>
              <a:gd name="adj" fmla="val 512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pic>
        <p:nvPicPr>
          <p:cNvPr id="10" name="Shape">
            <a:extLst>
              <a:ext uri="{FF2B5EF4-FFF2-40B4-BE49-F238E27FC236}">
                <a16:creationId xmlns:a16="http://schemas.microsoft.com/office/drawing/2014/main" id="{A69542B0-BEFE-488C-BB9A-7FA4648D38EE}"/>
              </a:ext>
              <a:ext uri="{C183D7F6-B498-43B3-948B-1728B52AA6E4}">
                <adec:decorative xmlns:adec="http://schemas.microsoft.com/office/drawing/2017/decorative" val="1"/>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r="3767"/>
          <a:stretch/>
        </p:blipFill>
        <p:spPr bwMode="gray">
          <a:xfrm>
            <a:off x="3736164" y="1916832"/>
            <a:ext cx="8400000" cy="4575713"/>
          </a:xfrm>
          <a:prstGeom prst="rect">
            <a:avLst/>
          </a:prstGeom>
        </p:spPr>
      </p:pic>
      <p:sp>
        <p:nvSpPr>
          <p:cNvPr id="5" name="Picture Placeholder 4"/>
          <p:cNvSpPr>
            <a:spLocks noGrp="1"/>
          </p:cNvSpPr>
          <p:nvPr>
            <p:ph type="pic" sz="quarter" idx="17" hasCustomPrompt="1"/>
          </p:nvPr>
        </p:nvSpPr>
        <p:spPr bwMode="gray">
          <a:xfrm>
            <a:off x="5144815" y="2072945"/>
            <a:ext cx="5935662" cy="3914774"/>
          </a:xfrm>
          <a:prstGeom prst="roundRect">
            <a:avLst>
              <a:gd name="adj" fmla="val 5313"/>
            </a:avLst>
          </a:prstGeom>
          <a:solidFill>
            <a:srgbClr val="D6D9DC"/>
          </a:solidFill>
        </p:spPr>
        <p:txBody>
          <a:bodyPr/>
          <a:lstStyle>
            <a:lvl1pPr marL="0" indent="0">
              <a:buNone/>
              <a:defRPr/>
            </a:lvl1pPr>
          </a:lstStyle>
          <a:p>
            <a:r>
              <a:rPr lang="en-GB"/>
              <a:t> </a:t>
            </a:r>
            <a:endParaRPr lang="en-GB" dirty="0"/>
          </a:p>
        </p:txBody>
      </p:sp>
      <p:sp>
        <p:nvSpPr>
          <p:cNvPr id="9" name="Datumsplatzhalter 8">
            <a:extLst>
              <a:ext uri="{FF2B5EF4-FFF2-40B4-BE49-F238E27FC236}">
                <a16:creationId xmlns:a16="http://schemas.microsoft.com/office/drawing/2014/main" id="{2A7A68CC-8D46-55D7-B91D-886BE6F87EC3}"/>
              </a:ext>
            </a:extLst>
          </p:cNvPr>
          <p:cNvSpPr>
            <a:spLocks noGrp="1"/>
          </p:cNvSpPr>
          <p:nvPr>
            <p:ph type="dt" sz="half" idx="19"/>
          </p:nvPr>
        </p:nvSpPr>
        <p:spPr/>
        <p:txBody>
          <a:bodyPr/>
          <a:lstStyle/>
          <a:p>
            <a:r>
              <a:rPr lang="en-US"/>
              <a:t>7/26/2022</a:t>
            </a:r>
            <a:endParaRPr lang="en-GB" dirty="0"/>
          </a:p>
        </p:txBody>
      </p:sp>
      <p:sp>
        <p:nvSpPr>
          <p:cNvPr id="13" name="Fußzeilenplatzhalter 12">
            <a:extLst>
              <a:ext uri="{FF2B5EF4-FFF2-40B4-BE49-F238E27FC236}">
                <a16:creationId xmlns:a16="http://schemas.microsoft.com/office/drawing/2014/main" id="{5977E706-B439-8796-14E4-2E8DE59A894E}"/>
              </a:ext>
            </a:extLst>
          </p:cNvPr>
          <p:cNvSpPr>
            <a:spLocks noGrp="1"/>
          </p:cNvSpPr>
          <p:nvPr>
            <p:ph type="ftr" sz="quarter" idx="20"/>
          </p:nvPr>
        </p:nvSpPr>
        <p:spPr/>
        <p:txBody>
          <a:bodyPr/>
          <a:lstStyle/>
          <a:p>
            <a:r>
              <a:rPr lang="de-DE"/>
              <a:t>Der Konsument nach Corona und Consumer Voice</a:t>
            </a:r>
            <a:endParaRPr lang="de-DE" dirty="0"/>
          </a:p>
        </p:txBody>
      </p:sp>
      <p:sp>
        <p:nvSpPr>
          <p:cNvPr id="14" name="Foliennummernplatzhalter 13">
            <a:extLst>
              <a:ext uri="{FF2B5EF4-FFF2-40B4-BE49-F238E27FC236}">
                <a16:creationId xmlns:a16="http://schemas.microsoft.com/office/drawing/2014/main" id="{72C601B2-D199-F55C-ACA6-464F6F21865C}"/>
              </a:ext>
            </a:extLst>
          </p:cNvPr>
          <p:cNvSpPr>
            <a:spLocks noGrp="1"/>
          </p:cNvSpPr>
          <p:nvPr>
            <p:ph type="sldNum" sz="quarter" idx="21"/>
          </p:nvPr>
        </p:nvSpPr>
        <p:spPr/>
        <p:txBody>
          <a:bodyPr/>
          <a:lstStyle/>
          <a:p>
            <a:fld id="{CAEA825B-D749-4F0A-886E-8D45A39EAF2A}" type="slidenum">
              <a:rPr lang="de-DE" smtClean="0"/>
              <a:pPr/>
              <a:t>‹Nº›</a:t>
            </a:fld>
            <a:endParaRPr lang="de-DE"/>
          </a:p>
        </p:txBody>
      </p:sp>
      <p:sp>
        <p:nvSpPr>
          <p:cNvPr id="15" name="Subtitle">
            <a:extLst>
              <a:ext uri="{FF2B5EF4-FFF2-40B4-BE49-F238E27FC236}">
                <a16:creationId xmlns:a16="http://schemas.microsoft.com/office/drawing/2014/main" id="{60245778-35C7-4E5E-2A7A-8DC6BD36488F}"/>
              </a:ext>
            </a:extLst>
          </p:cNvPr>
          <p:cNvSpPr>
            <a:spLocks noGrp="1"/>
          </p:cNvSpPr>
          <p:nvPr>
            <p:ph type="subTitle" idx="13" hasCustomPrompt="1"/>
          </p:nvPr>
        </p:nvSpPr>
        <p:spPr bwMode="gray">
          <a:xfrm>
            <a:off x="335360" y="659362"/>
            <a:ext cx="8640959" cy="360040"/>
          </a:xfrm>
          <a:prstGeom prst="rect">
            <a:avLst/>
          </a:prstGeom>
        </p:spPr>
        <p:txBody>
          <a:bodyPr wrap="none" tIns="0"/>
          <a:lstStyle>
            <a:lvl1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1pPr>
            <a:lvl2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2pPr>
            <a:lvl3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3pPr>
            <a:lvl4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4pPr>
            <a:lvl5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5pPr>
            <a:lvl6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6pPr>
            <a:lvl7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7pPr>
            <a:lvl8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8pPr>
            <a:lvl9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9pPr>
          </a:lstStyle>
          <a:p>
            <a:r>
              <a:rPr lang="en-GB" dirty="0"/>
              <a:t>Insert your sub-headline in </a:t>
            </a:r>
            <a:r>
              <a:rPr lang="en-GB" dirty="0" err="1"/>
              <a:t>Lato</a:t>
            </a:r>
            <a:r>
              <a:rPr lang="en-GB" dirty="0"/>
              <a:t> light 20 </a:t>
            </a:r>
            <a:r>
              <a:rPr lang="en-GB" dirty="0" err="1"/>
              <a:t>pt</a:t>
            </a:r>
            <a:r>
              <a:rPr lang="en-GB" dirty="0"/>
              <a:t> here</a:t>
            </a:r>
          </a:p>
        </p:txBody>
      </p:sp>
      <p:sp>
        <p:nvSpPr>
          <p:cNvPr id="16" name="Source">
            <a:extLst>
              <a:ext uri="{FF2B5EF4-FFF2-40B4-BE49-F238E27FC236}">
                <a16:creationId xmlns:a16="http://schemas.microsoft.com/office/drawing/2014/main" id="{C2FCE1F4-A8F7-A398-F44C-4B6BEAE8B50E}"/>
              </a:ext>
            </a:extLst>
          </p:cNvPr>
          <p:cNvSpPr>
            <a:spLocks noGrp="1"/>
          </p:cNvSpPr>
          <p:nvPr>
            <p:ph type="body" sz="quarter" idx="25"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grpSp>
        <p:nvGrpSpPr>
          <p:cNvPr id="30" name="Gruppieren 29">
            <a:extLst>
              <a:ext uri="{FF2B5EF4-FFF2-40B4-BE49-F238E27FC236}">
                <a16:creationId xmlns:a16="http://schemas.microsoft.com/office/drawing/2014/main" id="{E995F00B-BC1C-FC80-C073-A640F6BD291D}"/>
              </a:ext>
              <a:ext uri="{C183D7F6-B498-43B3-948B-1728B52AA6E4}">
                <adec:decorative xmlns:adec="http://schemas.microsoft.com/office/drawing/2017/decorative" val="1"/>
              </a:ext>
            </a:extLst>
          </p:cNvPr>
          <p:cNvGrpSpPr/>
          <p:nvPr userDrawn="1"/>
        </p:nvGrpSpPr>
        <p:grpSpPr>
          <a:xfrm>
            <a:off x="-168768" y="-171392"/>
            <a:ext cx="12025408" cy="6264688"/>
            <a:chOff x="-168768" y="-171392"/>
            <a:chExt cx="12025408" cy="6264688"/>
          </a:xfrm>
        </p:grpSpPr>
        <p:cxnSp>
          <p:nvCxnSpPr>
            <p:cNvPr id="31" name="Gerader Verbinder 30">
              <a:extLst>
                <a:ext uri="{FF2B5EF4-FFF2-40B4-BE49-F238E27FC236}">
                  <a16:creationId xmlns:a16="http://schemas.microsoft.com/office/drawing/2014/main" id="{B8370242-5927-FFF0-517B-8BA0B9235ED6}"/>
                </a:ext>
              </a:extLst>
            </p:cNvPr>
            <p:cNvCxnSpPr/>
            <p:nvPr userDrawn="1"/>
          </p:nvCxnSpPr>
          <p:spPr bwMode="gray">
            <a:xfrm>
              <a:off x="33536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83FA0570-6642-6FE7-87DC-6C043CA074AC}"/>
                </a:ext>
              </a:extLst>
            </p:cNvPr>
            <p:cNvCxnSpPr/>
            <p:nvPr userDrawn="1"/>
          </p:nvCxnSpPr>
          <p:spPr bwMode="gray">
            <a:xfrm>
              <a:off x="436780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FDC6F803-C440-7899-9BB5-0F2FED10618A}"/>
                </a:ext>
              </a:extLst>
            </p:cNvPr>
            <p:cNvCxnSpPr/>
            <p:nvPr userDrawn="1"/>
          </p:nvCxnSpPr>
          <p:spPr bwMode="gray">
            <a:xfrm>
              <a:off x="494387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52360C64-2947-8697-AC3A-8A1F1AAA6C91}"/>
                </a:ext>
              </a:extLst>
            </p:cNvPr>
            <p:cNvCxnSpPr/>
            <p:nvPr userDrawn="1"/>
          </p:nvCxnSpPr>
          <p:spPr bwMode="gray">
            <a:xfrm>
              <a:off x="667206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6DE3D029-4019-76CF-D072-B51B61320D92}"/>
                </a:ext>
              </a:extLst>
            </p:cNvPr>
            <p:cNvCxnSpPr/>
            <p:nvPr userDrawn="1"/>
          </p:nvCxnSpPr>
          <p:spPr bwMode="gray">
            <a:xfrm>
              <a:off x="609600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D9EA60B6-216C-9257-7AD2-C7AF8B8BD0EC}"/>
                </a:ext>
              </a:extLst>
            </p:cNvPr>
            <p:cNvCxnSpPr/>
            <p:nvPr userDrawn="1"/>
          </p:nvCxnSpPr>
          <p:spPr bwMode="gray">
            <a:xfrm>
              <a:off x="724812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7353378B-839B-6383-A01F-63420312D717}"/>
                </a:ext>
              </a:extLst>
            </p:cNvPr>
            <p:cNvCxnSpPr/>
            <p:nvPr userDrawn="1"/>
          </p:nvCxnSpPr>
          <p:spPr bwMode="gray">
            <a:xfrm>
              <a:off x="782419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8B9F86EC-0784-8237-2B10-2514D58C9969}"/>
                </a:ext>
              </a:extLst>
            </p:cNvPr>
            <p:cNvCxnSpPr/>
            <p:nvPr userDrawn="1"/>
          </p:nvCxnSpPr>
          <p:spPr bwMode="gray">
            <a:xfrm>
              <a:off x="840025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40DD8A81-86F7-CC27-2ABB-8F5C9C4F5A91}"/>
                </a:ext>
              </a:extLst>
            </p:cNvPr>
            <p:cNvCxnSpPr/>
            <p:nvPr userDrawn="1"/>
          </p:nvCxnSpPr>
          <p:spPr bwMode="gray">
            <a:xfrm>
              <a:off x="897632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07EDBF4B-3718-C249-8A6A-08FAB550BE11}"/>
                </a:ext>
              </a:extLst>
            </p:cNvPr>
            <p:cNvCxnSpPr/>
            <p:nvPr userDrawn="1"/>
          </p:nvCxnSpPr>
          <p:spPr bwMode="gray">
            <a:xfrm>
              <a:off x="1128057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485CA3F9-2B91-4D59-87DC-FA60F0167E1E}"/>
                </a:ext>
              </a:extLst>
            </p:cNvPr>
            <p:cNvCxnSpPr/>
            <p:nvPr userDrawn="1"/>
          </p:nvCxnSpPr>
          <p:spPr bwMode="gray">
            <a:xfrm>
              <a:off x="1185664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384BB178-43DB-24B6-93D0-C835F02C2421}"/>
                </a:ext>
              </a:extLst>
            </p:cNvPr>
            <p:cNvCxnSpPr>
              <a:cxnSpLocks/>
            </p:cNvCxnSpPr>
            <p:nvPr userDrawn="1"/>
          </p:nvCxnSpPr>
          <p:spPr bwMode="gray">
            <a:xfrm rot="5400000">
              <a:off x="-132688" y="29665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D1CA2D93-8A71-31F0-BA7E-82BA87AA5689}"/>
                </a:ext>
              </a:extLst>
            </p:cNvPr>
            <p:cNvCxnSpPr/>
            <p:nvPr userDrawn="1"/>
          </p:nvCxnSpPr>
          <p:spPr bwMode="gray">
            <a:xfrm>
              <a:off x="321568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05932F52-E586-E46E-0A81-4171B877FF02}"/>
                </a:ext>
              </a:extLst>
            </p:cNvPr>
            <p:cNvCxnSpPr/>
            <p:nvPr userDrawn="1"/>
          </p:nvCxnSpPr>
          <p:spPr bwMode="gray">
            <a:xfrm>
              <a:off x="379174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F5BFB1C3-488B-0D27-9761-953BE02EB547}"/>
                </a:ext>
              </a:extLst>
            </p:cNvPr>
            <p:cNvCxnSpPr>
              <a:cxnSpLocks/>
            </p:cNvCxnSpPr>
            <p:nvPr userDrawn="1"/>
          </p:nvCxnSpPr>
          <p:spPr bwMode="gray">
            <a:xfrm rot="5400000">
              <a:off x="-132704" y="87272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BCEE7FE3-642F-EB28-A2F0-B97DF7E223C7}"/>
                </a:ext>
              </a:extLst>
            </p:cNvPr>
            <p:cNvCxnSpPr>
              <a:cxnSpLocks/>
            </p:cNvCxnSpPr>
            <p:nvPr userDrawn="1"/>
          </p:nvCxnSpPr>
          <p:spPr bwMode="gray">
            <a:xfrm rot="5400000">
              <a:off x="-132712" y="202484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F8F8A872-54E9-CE55-BD7B-232761D50B04}"/>
                </a:ext>
              </a:extLst>
            </p:cNvPr>
            <p:cNvCxnSpPr>
              <a:cxnSpLocks/>
            </p:cNvCxnSpPr>
            <p:nvPr userDrawn="1"/>
          </p:nvCxnSpPr>
          <p:spPr bwMode="gray">
            <a:xfrm rot="5400000">
              <a:off x="-132768" y="605729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F08B2E03-9C04-2F64-7E93-BDEC21D258F3}"/>
                </a:ext>
              </a:extLst>
            </p:cNvPr>
            <p:cNvCxnSpPr/>
            <p:nvPr/>
          </p:nvCxnSpPr>
          <p:spPr bwMode="gray">
            <a:xfrm>
              <a:off x="1070451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C65B4CD0-2F21-BEBB-B3A3-F3BB0FE62F2E}"/>
                </a:ext>
              </a:extLst>
            </p:cNvPr>
            <p:cNvCxnSpPr/>
            <p:nvPr/>
          </p:nvCxnSpPr>
          <p:spPr bwMode="gray">
            <a:xfrm>
              <a:off x="1012844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60440B83-2937-1F96-3363-A57E73C0E3F6}"/>
                </a:ext>
              </a:extLst>
            </p:cNvPr>
            <p:cNvCxnSpPr/>
            <p:nvPr/>
          </p:nvCxnSpPr>
          <p:spPr bwMode="gray">
            <a:xfrm>
              <a:off x="955059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31939BA2-8D24-B2E5-B51F-5F9F1D0968A1}"/>
                </a:ext>
              </a:extLst>
            </p:cNvPr>
            <p:cNvCxnSpPr/>
            <p:nvPr/>
          </p:nvCxnSpPr>
          <p:spPr bwMode="gray">
            <a:xfrm>
              <a:off x="551973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816CAB54-9C37-E76C-CCC4-CEC4FAAD906E}"/>
                </a:ext>
              </a:extLst>
            </p:cNvPr>
            <p:cNvCxnSpPr/>
            <p:nvPr/>
          </p:nvCxnSpPr>
          <p:spPr bwMode="gray">
            <a:xfrm>
              <a:off x="263961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DDA5E63A-F88C-A1F8-525A-9E5F201A38D1}"/>
                </a:ext>
              </a:extLst>
            </p:cNvPr>
            <p:cNvCxnSpPr/>
            <p:nvPr/>
          </p:nvCxnSpPr>
          <p:spPr bwMode="gray">
            <a:xfrm>
              <a:off x="206355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5E64FF2A-F367-D996-4898-FF2FB5C2018D}"/>
                </a:ext>
              </a:extLst>
            </p:cNvPr>
            <p:cNvCxnSpPr/>
            <p:nvPr/>
          </p:nvCxnSpPr>
          <p:spPr bwMode="gray">
            <a:xfrm>
              <a:off x="148748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56030E14-B833-76FB-91DA-4221CFF467F1}"/>
                </a:ext>
              </a:extLst>
            </p:cNvPr>
            <p:cNvCxnSpPr/>
            <p:nvPr/>
          </p:nvCxnSpPr>
          <p:spPr bwMode="gray">
            <a:xfrm>
              <a:off x="91142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E445D4A0-BFBF-BD8B-1A02-B8C0F8F4EF2D}"/>
                </a:ext>
              </a:extLst>
            </p:cNvPr>
            <p:cNvCxnSpPr>
              <a:cxnSpLocks/>
            </p:cNvCxnSpPr>
            <p:nvPr/>
          </p:nvCxnSpPr>
          <p:spPr bwMode="gray">
            <a:xfrm rot="5400000">
              <a:off x="-132704" y="144878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C64CE315-9B2F-B636-2758-4BC7A8744E3E}"/>
                </a:ext>
              </a:extLst>
            </p:cNvPr>
            <p:cNvCxnSpPr>
              <a:cxnSpLocks/>
            </p:cNvCxnSpPr>
            <p:nvPr/>
          </p:nvCxnSpPr>
          <p:spPr bwMode="gray">
            <a:xfrm rot="5400000">
              <a:off x="-132712" y="260091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D760A2BB-212A-903F-C3DE-767EF871438B}"/>
                </a:ext>
              </a:extLst>
            </p:cNvPr>
            <p:cNvCxnSpPr>
              <a:cxnSpLocks/>
            </p:cNvCxnSpPr>
            <p:nvPr/>
          </p:nvCxnSpPr>
          <p:spPr bwMode="gray">
            <a:xfrm rot="5400000">
              <a:off x="-132712" y="317697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2F6C7C33-9064-4A65-F17F-4FFC1097EB1D}"/>
                </a:ext>
              </a:extLst>
            </p:cNvPr>
            <p:cNvCxnSpPr>
              <a:cxnSpLocks/>
            </p:cNvCxnSpPr>
            <p:nvPr/>
          </p:nvCxnSpPr>
          <p:spPr bwMode="gray">
            <a:xfrm rot="5400000">
              <a:off x="-132712" y="375304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C9306C92-7BB4-631B-A698-103F12C025A8}"/>
                </a:ext>
              </a:extLst>
            </p:cNvPr>
            <p:cNvCxnSpPr>
              <a:cxnSpLocks/>
            </p:cNvCxnSpPr>
            <p:nvPr/>
          </p:nvCxnSpPr>
          <p:spPr bwMode="gray">
            <a:xfrm rot="5400000">
              <a:off x="-132712" y="432910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id="{20036241-7B3E-B4B2-0715-22481273338F}"/>
                </a:ext>
              </a:extLst>
            </p:cNvPr>
            <p:cNvCxnSpPr>
              <a:cxnSpLocks/>
            </p:cNvCxnSpPr>
            <p:nvPr/>
          </p:nvCxnSpPr>
          <p:spPr bwMode="gray">
            <a:xfrm rot="5400000">
              <a:off x="-132712" y="490516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id="{A6EEC2A0-A2CB-C552-3F2D-24AB9604C3C5}"/>
                </a:ext>
              </a:extLst>
            </p:cNvPr>
            <p:cNvCxnSpPr>
              <a:cxnSpLocks/>
            </p:cNvCxnSpPr>
            <p:nvPr/>
          </p:nvCxnSpPr>
          <p:spPr bwMode="gray">
            <a:xfrm rot="5400000">
              <a:off x="-132712" y="548123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97718220"/>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martphon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F2F25FA-910C-235A-909C-9FD78D6B671F}"/>
              </a:ext>
            </a:extLst>
          </p:cNvPr>
          <p:cNvGraphicFramePr>
            <a:graphicFrameLocks noChangeAspect="1"/>
          </p:cNvGraphicFramePr>
          <p:nvPr userDrawn="1">
            <p:custDataLst>
              <p:tags r:id="rId1"/>
            </p:custDataLst>
            <p:extLst>
              <p:ext uri="{D42A27DB-BD31-4B8C-83A1-F6EECF244321}">
                <p14:modId xmlns:p14="http://schemas.microsoft.com/office/powerpoint/2010/main" val="73168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4" name="Objekt 3" hidden="1">
                        <a:extLst>
                          <a:ext uri="{FF2B5EF4-FFF2-40B4-BE49-F238E27FC236}">
                            <a16:creationId xmlns:a16="http://schemas.microsoft.com/office/drawing/2014/main" id="{3F2F25FA-910C-235A-909C-9FD78D6B67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a:extLst>
              <a:ext uri="{FF2B5EF4-FFF2-40B4-BE49-F238E27FC236}">
                <a16:creationId xmlns:a16="http://schemas.microsoft.com/office/drawing/2014/main" id="{AA7BA5C5-D7C9-4AD6-8D12-B312C46B26B5}"/>
              </a:ext>
            </a:extLst>
          </p:cNvPr>
          <p:cNvSpPr>
            <a:spLocks noGrp="1"/>
          </p:cNvSpPr>
          <p:nvPr>
            <p:ph type="title" hasCustomPrompt="1"/>
          </p:nvPr>
        </p:nvSpPr>
        <p:spPr bwMode="gray"/>
        <p:txBody>
          <a:bodyPr vert="horz"/>
          <a:lstStyle>
            <a:lvl1pPr>
              <a:defRPr/>
            </a:lvl1pPr>
          </a:lstStyle>
          <a:p>
            <a:r>
              <a:rPr lang="en-GB"/>
              <a:t>Insert your headline in Lato Heavy 24 pt here</a:t>
            </a:r>
            <a:endParaRPr lang="en-GB" dirty="0"/>
          </a:p>
        </p:txBody>
      </p:sp>
      <p:sp>
        <p:nvSpPr>
          <p:cNvPr id="20" name="Rechteck: abgerundete Ecken 19">
            <a:extLst>
              <a:ext uri="{FF2B5EF4-FFF2-40B4-BE49-F238E27FC236}">
                <a16:creationId xmlns:a16="http://schemas.microsoft.com/office/drawing/2014/main" id="{93C2BED1-C288-4362-A0E0-C779978ACA6D}"/>
              </a:ext>
              <a:ext uri="{C183D7F6-B498-43B3-948B-1728B52AA6E4}">
                <adec:decorative xmlns:adec="http://schemas.microsoft.com/office/drawing/2017/decorative" val="1"/>
              </a:ext>
            </a:extLst>
          </p:cNvPr>
          <p:cNvSpPr/>
          <p:nvPr userDrawn="1"/>
        </p:nvSpPr>
        <p:spPr bwMode="gray">
          <a:xfrm>
            <a:off x="7616554" y="1487274"/>
            <a:ext cx="2164080" cy="4549140"/>
          </a:xfrm>
          <a:prstGeom prst="roundRect">
            <a:avLst>
              <a:gd name="adj" fmla="val 1314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 name="Content Placeholder 2"/>
          <p:cNvSpPr>
            <a:spLocks noGrp="1"/>
          </p:cNvSpPr>
          <p:nvPr>
            <p:ph idx="1" hasCustomPrompt="1"/>
          </p:nvPr>
        </p:nvSpPr>
        <p:spPr bwMode="gray">
          <a:xfrm>
            <a:off x="335361" y="2060575"/>
            <a:ext cx="5184575" cy="4032250"/>
          </a:xfrm>
          <a:prstGeom prst="rect">
            <a:avLst/>
          </a:prstGeom>
        </p:spPr>
        <p:txBody>
          <a:bodyPr anchor="t"/>
          <a:lstStyle>
            <a:lvl1pPr>
              <a:lnSpc>
                <a:spcPct val="100000"/>
              </a:lnSpc>
              <a:defRPr sz="1600"/>
            </a:lvl1pPr>
            <a:lvl2pPr>
              <a:lnSpc>
                <a:spcPct val="100000"/>
              </a:lnSpc>
              <a:defRPr sz="1600"/>
            </a:lvl2pPr>
            <a:lvl3pPr>
              <a:lnSpc>
                <a:spcPct val="100000"/>
              </a:lnSpc>
              <a:defRPr sz="1600"/>
            </a:lvl3pPr>
            <a:lvl4pPr>
              <a:lnSpc>
                <a:spcPct val="100000"/>
              </a:lnSpc>
              <a:defRPr sz="1600"/>
            </a:lvl4pPr>
            <a:lvl5pPr>
              <a:lnSpc>
                <a:spcPct val="100000"/>
              </a:lnSpc>
              <a:defRPr sz="1200"/>
            </a:lvl5pPr>
          </a:lstStyle>
          <a:p>
            <a:pPr lvl="0"/>
            <a:r>
              <a:rPr lang="en-GB" sz="1600" dirty="0"/>
              <a:t>Insert your copy in </a:t>
            </a:r>
            <a:r>
              <a:rPr lang="en-GB" sz="1600" dirty="0" err="1"/>
              <a:t>Lato</a:t>
            </a:r>
            <a:r>
              <a:rPr lang="en-GB" sz="1600" dirty="0"/>
              <a:t> 16 </a:t>
            </a:r>
            <a:r>
              <a:rPr lang="en-GB" sz="1600" dirty="0" err="1"/>
              <a:t>pt</a:t>
            </a:r>
            <a:r>
              <a:rPr lang="en-GB" sz="1600" dirty="0"/>
              <a:t> or 12 </a:t>
            </a:r>
            <a:r>
              <a:rPr lang="en-GB" sz="1600" dirty="0" err="1"/>
              <a:t>pt</a:t>
            </a:r>
            <a:r>
              <a:rPr lang="en-GB" sz="1600" dirty="0"/>
              <a:t> here | Use the function “Increase List level” for text levels on Tab HOM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pic>
        <p:nvPicPr>
          <p:cNvPr id="18" name="Shape">
            <a:extLst>
              <a:ext uri="{FF2B5EF4-FFF2-40B4-BE49-F238E27FC236}">
                <a16:creationId xmlns:a16="http://schemas.microsoft.com/office/drawing/2014/main" id="{7F09AB9E-D3D1-4BF0-9135-508497D8603E}"/>
              </a:ext>
              <a:ext uri="{C183D7F6-B498-43B3-948B-1728B52AA6E4}">
                <adec:decorative xmlns:adec="http://schemas.microsoft.com/office/drawing/2017/decorative" val="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7144714" y="1449492"/>
            <a:ext cx="3096000" cy="4787820"/>
          </a:xfrm>
          <a:prstGeom prst="rect">
            <a:avLst/>
          </a:prstGeom>
        </p:spPr>
      </p:pic>
      <p:sp>
        <p:nvSpPr>
          <p:cNvPr id="5" name="Picture Placeholder 4"/>
          <p:cNvSpPr>
            <a:spLocks noGrp="1"/>
          </p:cNvSpPr>
          <p:nvPr>
            <p:ph type="pic" sz="quarter" idx="17" hasCustomPrompt="1"/>
          </p:nvPr>
        </p:nvSpPr>
        <p:spPr bwMode="gray">
          <a:xfrm>
            <a:off x="7662274" y="1540614"/>
            <a:ext cx="2057400" cy="4450080"/>
          </a:xfrm>
          <a:prstGeom prst="roundRect">
            <a:avLst>
              <a:gd name="adj" fmla="val 12964"/>
            </a:avLst>
          </a:prstGeom>
          <a:solidFill>
            <a:srgbClr val="D6D9DC"/>
          </a:solidFill>
        </p:spPr>
        <p:txBody>
          <a:bodyPr/>
          <a:lstStyle>
            <a:lvl1pPr marL="0" indent="0">
              <a:buNone/>
              <a:defRPr/>
            </a:lvl1pPr>
          </a:lstStyle>
          <a:p>
            <a:r>
              <a:rPr lang="en-GB"/>
              <a:t> </a:t>
            </a:r>
            <a:endParaRPr lang="en-GB" dirty="0"/>
          </a:p>
        </p:txBody>
      </p:sp>
      <p:sp>
        <p:nvSpPr>
          <p:cNvPr id="9" name="Datumsplatzhalter 8">
            <a:extLst>
              <a:ext uri="{FF2B5EF4-FFF2-40B4-BE49-F238E27FC236}">
                <a16:creationId xmlns:a16="http://schemas.microsoft.com/office/drawing/2014/main" id="{CA6E3203-B861-EDBE-735C-EEAED71A1AB6}"/>
              </a:ext>
            </a:extLst>
          </p:cNvPr>
          <p:cNvSpPr>
            <a:spLocks noGrp="1"/>
          </p:cNvSpPr>
          <p:nvPr>
            <p:ph type="dt" sz="half" idx="19"/>
          </p:nvPr>
        </p:nvSpPr>
        <p:spPr/>
        <p:txBody>
          <a:bodyPr/>
          <a:lstStyle/>
          <a:p>
            <a:r>
              <a:rPr lang="en-US"/>
              <a:t>7/26/2022</a:t>
            </a:r>
            <a:endParaRPr lang="en-GB" dirty="0"/>
          </a:p>
        </p:txBody>
      </p:sp>
      <p:sp>
        <p:nvSpPr>
          <p:cNvPr id="10" name="Fußzeilenplatzhalter 9">
            <a:extLst>
              <a:ext uri="{FF2B5EF4-FFF2-40B4-BE49-F238E27FC236}">
                <a16:creationId xmlns:a16="http://schemas.microsoft.com/office/drawing/2014/main" id="{DEA6A808-8CD3-3567-8CB7-AADE7C638898}"/>
              </a:ext>
            </a:extLst>
          </p:cNvPr>
          <p:cNvSpPr>
            <a:spLocks noGrp="1"/>
          </p:cNvSpPr>
          <p:nvPr>
            <p:ph type="ftr" sz="quarter" idx="20"/>
          </p:nvPr>
        </p:nvSpPr>
        <p:spPr/>
        <p:txBody>
          <a:bodyPr/>
          <a:lstStyle/>
          <a:p>
            <a:r>
              <a:rPr lang="de-DE"/>
              <a:t>Der Konsument nach Corona und Consumer Voice</a:t>
            </a:r>
            <a:endParaRPr lang="de-DE" dirty="0"/>
          </a:p>
        </p:txBody>
      </p:sp>
      <p:sp>
        <p:nvSpPr>
          <p:cNvPr id="13" name="Foliennummernplatzhalter 12">
            <a:extLst>
              <a:ext uri="{FF2B5EF4-FFF2-40B4-BE49-F238E27FC236}">
                <a16:creationId xmlns:a16="http://schemas.microsoft.com/office/drawing/2014/main" id="{24AB7A57-CEE8-00D4-DC2C-A6097490F6AE}"/>
              </a:ext>
            </a:extLst>
          </p:cNvPr>
          <p:cNvSpPr>
            <a:spLocks noGrp="1"/>
          </p:cNvSpPr>
          <p:nvPr>
            <p:ph type="sldNum" sz="quarter" idx="21"/>
          </p:nvPr>
        </p:nvSpPr>
        <p:spPr/>
        <p:txBody>
          <a:bodyPr/>
          <a:lstStyle/>
          <a:p>
            <a:fld id="{CAEA825B-D749-4F0A-886E-8D45A39EAF2A}" type="slidenum">
              <a:rPr lang="de-DE" smtClean="0"/>
              <a:pPr/>
              <a:t>‹Nº›</a:t>
            </a:fld>
            <a:endParaRPr lang="de-DE"/>
          </a:p>
        </p:txBody>
      </p:sp>
      <p:sp>
        <p:nvSpPr>
          <p:cNvPr id="14" name="Subtitle">
            <a:extLst>
              <a:ext uri="{FF2B5EF4-FFF2-40B4-BE49-F238E27FC236}">
                <a16:creationId xmlns:a16="http://schemas.microsoft.com/office/drawing/2014/main" id="{2EB3D1D3-2D46-1B41-0DFB-C4EFF62C683F}"/>
              </a:ext>
            </a:extLst>
          </p:cNvPr>
          <p:cNvSpPr>
            <a:spLocks noGrp="1"/>
          </p:cNvSpPr>
          <p:nvPr>
            <p:ph type="subTitle" idx="13" hasCustomPrompt="1"/>
          </p:nvPr>
        </p:nvSpPr>
        <p:spPr bwMode="gray">
          <a:xfrm>
            <a:off x="335360" y="659362"/>
            <a:ext cx="8640959" cy="360040"/>
          </a:xfrm>
          <a:prstGeom prst="rect">
            <a:avLst/>
          </a:prstGeom>
        </p:spPr>
        <p:txBody>
          <a:bodyPr wrap="none" tIns="0"/>
          <a:lstStyle>
            <a:lvl1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1pPr>
            <a:lvl2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2pPr>
            <a:lvl3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3pPr>
            <a:lvl4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4pPr>
            <a:lvl5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5pPr>
            <a:lvl6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6pPr>
            <a:lvl7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7pPr>
            <a:lvl8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8pPr>
            <a:lvl9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9pPr>
          </a:lstStyle>
          <a:p>
            <a:r>
              <a:rPr lang="en-GB" dirty="0"/>
              <a:t>Insert your sub-headline in </a:t>
            </a:r>
            <a:r>
              <a:rPr lang="en-GB" dirty="0" err="1"/>
              <a:t>Lato</a:t>
            </a:r>
            <a:r>
              <a:rPr lang="en-GB" dirty="0"/>
              <a:t> light 20 </a:t>
            </a:r>
            <a:r>
              <a:rPr lang="en-GB" dirty="0" err="1"/>
              <a:t>pt</a:t>
            </a:r>
            <a:r>
              <a:rPr lang="en-GB" dirty="0"/>
              <a:t> here</a:t>
            </a:r>
          </a:p>
        </p:txBody>
      </p:sp>
      <p:sp>
        <p:nvSpPr>
          <p:cNvPr id="15" name="Source">
            <a:extLst>
              <a:ext uri="{FF2B5EF4-FFF2-40B4-BE49-F238E27FC236}">
                <a16:creationId xmlns:a16="http://schemas.microsoft.com/office/drawing/2014/main" id="{DC9177DA-21F1-AE44-ABAB-7A361B1B81D5}"/>
              </a:ext>
            </a:extLst>
          </p:cNvPr>
          <p:cNvSpPr>
            <a:spLocks noGrp="1"/>
          </p:cNvSpPr>
          <p:nvPr>
            <p:ph type="body" sz="quarter" idx="25"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grpSp>
        <p:nvGrpSpPr>
          <p:cNvPr id="30" name="Gruppieren 29">
            <a:extLst>
              <a:ext uri="{FF2B5EF4-FFF2-40B4-BE49-F238E27FC236}">
                <a16:creationId xmlns:a16="http://schemas.microsoft.com/office/drawing/2014/main" id="{28144CDB-AFAA-E437-AE7D-8C4CE9C4F48E}"/>
              </a:ext>
              <a:ext uri="{C183D7F6-B498-43B3-948B-1728B52AA6E4}">
                <adec:decorative xmlns:adec="http://schemas.microsoft.com/office/drawing/2017/decorative" val="1"/>
              </a:ext>
            </a:extLst>
          </p:cNvPr>
          <p:cNvGrpSpPr/>
          <p:nvPr userDrawn="1"/>
        </p:nvGrpSpPr>
        <p:grpSpPr>
          <a:xfrm>
            <a:off x="-168768" y="-171392"/>
            <a:ext cx="12025408" cy="6264688"/>
            <a:chOff x="-168768" y="-171392"/>
            <a:chExt cx="12025408" cy="6264688"/>
          </a:xfrm>
        </p:grpSpPr>
        <p:cxnSp>
          <p:nvCxnSpPr>
            <p:cNvPr id="31" name="Gerader Verbinder 30">
              <a:extLst>
                <a:ext uri="{FF2B5EF4-FFF2-40B4-BE49-F238E27FC236}">
                  <a16:creationId xmlns:a16="http://schemas.microsoft.com/office/drawing/2014/main" id="{62CE97B5-021A-DA00-505F-C839164ED70E}"/>
                </a:ext>
              </a:extLst>
            </p:cNvPr>
            <p:cNvCxnSpPr/>
            <p:nvPr userDrawn="1"/>
          </p:nvCxnSpPr>
          <p:spPr bwMode="gray">
            <a:xfrm>
              <a:off x="33536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7896CFE7-345D-7A9E-8EFA-7C74B371BBF3}"/>
                </a:ext>
              </a:extLst>
            </p:cNvPr>
            <p:cNvCxnSpPr/>
            <p:nvPr userDrawn="1"/>
          </p:nvCxnSpPr>
          <p:spPr bwMode="gray">
            <a:xfrm>
              <a:off x="436780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86D0C055-9784-6B56-C06B-73D7046D453C}"/>
                </a:ext>
              </a:extLst>
            </p:cNvPr>
            <p:cNvCxnSpPr/>
            <p:nvPr userDrawn="1"/>
          </p:nvCxnSpPr>
          <p:spPr bwMode="gray">
            <a:xfrm>
              <a:off x="494387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1C6DBEBA-7FFC-CCA7-AC96-473D3D6BC2E9}"/>
                </a:ext>
              </a:extLst>
            </p:cNvPr>
            <p:cNvCxnSpPr/>
            <p:nvPr userDrawn="1"/>
          </p:nvCxnSpPr>
          <p:spPr bwMode="gray">
            <a:xfrm>
              <a:off x="667206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39962316-461F-3B7D-ABA0-BDE246039C46}"/>
                </a:ext>
              </a:extLst>
            </p:cNvPr>
            <p:cNvCxnSpPr/>
            <p:nvPr userDrawn="1"/>
          </p:nvCxnSpPr>
          <p:spPr bwMode="gray">
            <a:xfrm>
              <a:off x="609600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FC788843-9E5D-0079-8D56-5DDD4B093076}"/>
                </a:ext>
              </a:extLst>
            </p:cNvPr>
            <p:cNvCxnSpPr/>
            <p:nvPr userDrawn="1"/>
          </p:nvCxnSpPr>
          <p:spPr bwMode="gray">
            <a:xfrm>
              <a:off x="724812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66E723A7-7558-6B13-A38A-BD68B0461CF0}"/>
                </a:ext>
              </a:extLst>
            </p:cNvPr>
            <p:cNvCxnSpPr/>
            <p:nvPr userDrawn="1"/>
          </p:nvCxnSpPr>
          <p:spPr bwMode="gray">
            <a:xfrm>
              <a:off x="782419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9D11E3F5-B503-7173-4A27-C10CCBA3B9E0}"/>
                </a:ext>
              </a:extLst>
            </p:cNvPr>
            <p:cNvCxnSpPr/>
            <p:nvPr userDrawn="1"/>
          </p:nvCxnSpPr>
          <p:spPr bwMode="gray">
            <a:xfrm>
              <a:off x="840025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34485DD2-0D40-047F-0184-050E330C04BE}"/>
                </a:ext>
              </a:extLst>
            </p:cNvPr>
            <p:cNvCxnSpPr/>
            <p:nvPr userDrawn="1"/>
          </p:nvCxnSpPr>
          <p:spPr bwMode="gray">
            <a:xfrm>
              <a:off x="897632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E754EC8E-E952-E9F0-E175-D7EF1B92EDCC}"/>
                </a:ext>
              </a:extLst>
            </p:cNvPr>
            <p:cNvCxnSpPr/>
            <p:nvPr userDrawn="1"/>
          </p:nvCxnSpPr>
          <p:spPr bwMode="gray">
            <a:xfrm>
              <a:off x="1128057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6D14EABF-2BD6-5A93-232D-B3553F31D403}"/>
                </a:ext>
              </a:extLst>
            </p:cNvPr>
            <p:cNvCxnSpPr/>
            <p:nvPr userDrawn="1"/>
          </p:nvCxnSpPr>
          <p:spPr bwMode="gray">
            <a:xfrm>
              <a:off x="1185664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8291D1AC-26CD-F0DD-FD2A-227A254C6840}"/>
                </a:ext>
              </a:extLst>
            </p:cNvPr>
            <p:cNvCxnSpPr>
              <a:cxnSpLocks/>
            </p:cNvCxnSpPr>
            <p:nvPr userDrawn="1"/>
          </p:nvCxnSpPr>
          <p:spPr bwMode="gray">
            <a:xfrm rot="5400000">
              <a:off x="-132688" y="29665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9F287A28-C061-A6AE-DD63-2B2AD8306526}"/>
                </a:ext>
              </a:extLst>
            </p:cNvPr>
            <p:cNvCxnSpPr/>
            <p:nvPr userDrawn="1"/>
          </p:nvCxnSpPr>
          <p:spPr bwMode="gray">
            <a:xfrm>
              <a:off x="321568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28794B54-FFE9-9650-7A25-FF3F91FD820C}"/>
                </a:ext>
              </a:extLst>
            </p:cNvPr>
            <p:cNvCxnSpPr/>
            <p:nvPr userDrawn="1"/>
          </p:nvCxnSpPr>
          <p:spPr bwMode="gray">
            <a:xfrm>
              <a:off x="379174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1DC777C3-3AD2-8CCF-051B-E7860EAD76E1}"/>
                </a:ext>
              </a:extLst>
            </p:cNvPr>
            <p:cNvCxnSpPr>
              <a:cxnSpLocks/>
            </p:cNvCxnSpPr>
            <p:nvPr userDrawn="1"/>
          </p:nvCxnSpPr>
          <p:spPr bwMode="gray">
            <a:xfrm rot="5400000">
              <a:off x="-132704" y="87272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EAB5B0D3-5FD2-8CC6-4117-7A1EF531F550}"/>
                </a:ext>
              </a:extLst>
            </p:cNvPr>
            <p:cNvCxnSpPr>
              <a:cxnSpLocks/>
            </p:cNvCxnSpPr>
            <p:nvPr userDrawn="1"/>
          </p:nvCxnSpPr>
          <p:spPr bwMode="gray">
            <a:xfrm rot="5400000">
              <a:off x="-132712" y="202484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4DE9D24C-ADCA-56C3-C21D-2639B4018890}"/>
                </a:ext>
              </a:extLst>
            </p:cNvPr>
            <p:cNvCxnSpPr>
              <a:cxnSpLocks/>
            </p:cNvCxnSpPr>
            <p:nvPr userDrawn="1"/>
          </p:nvCxnSpPr>
          <p:spPr bwMode="gray">
            <a:xfrm rot="5400000">
              <a:off x="-132768" y="605729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9BFCAF4E-B32D-554A-73AC-A2803F3485F6}"/>
                </a:ext>
              </a:extLst>
            </p:cNvPr>
            <p:cNvCxnSpPr/>
            <p:nvPr/>
          </p:nvCxnSpPr>
          <p:spPr bwMode="gray">
            <a:xfrm>
              <a:off x="1070451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544B1A29-2C4A-5D9A-A0C4-9C8951206515}"/>
                </a:ext>
              </a:extLst>
            </p:cNvPr>
            <p:cNvCxnSpPr/>
            <p:nvPr/>
          </p:nvCxnSpPr>
          <p:spPr bwMode="gray">
            <a:xfrm>
              <a:off x="1012844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5DF4602E-23BA-D94E-E9A3-B1D004D73FA4}"/>
                </a:ext>
              </a:extLst>
            </p:cNvPr>
            <p:cNvCxnSpPr/>
            <p:nvPr/>
          </p:nvCxnSpPr>
          <p:spPr bwMode="gray">
            <a:xfrm>
              <a:off x="955059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6E029858-3EEE-8793-BCD0-0AD20C34314C}"/>
                </a:ext>
              </a:extLst>
            </p:cNvPr>
            <p:cNvCxnSpPr/>
            <p:nvPr/>
          </p:nvCxnSpPr>
          <p:spPr bwMode="gray">
            <a:xfrm>
              <a:off x="551973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257A710C-1EDA-D5EE-3E1A-750D761265D1}"/>
                </a:ext>
              </a:extLst>
            </p:cNvPr>
            <p:cNvCxnSpPr/>
            <p:nvPr/>
          </p:nvCxnSpPr>
          <p:spPr bwMode="gray">
            <a:xfrm>
              <a:off x="263961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B9C9696F-F814-BFFA-0DA7-63DEA1BACF7B}"/>
                </a:ext>
              </a:extLst>
            </p:cNvPr>
            <p:cNvCxnSpPr/>
            <p:nvPr/>
          </p:nvCxnSpPr>
          <p:spPr bwMode="gray">
            <a:xfrm>
              <a:off x="206355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C4A4718D-E596-60CD-1BF0-F0A9C9E0FC8A}"/>
                </a:ext>
              </a:extLst>
            </p:cNvPr>
            <p:cNvCxnSpPr/>
            <p:nvPr/>
          </p:nvCxnSpPr>
          <p:spPr bwMode="gray">
            <a:xfrm>
              <a:off x="148748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220A8188-9647-35AB-B4EF-A0EBB52779D1}"/>
                </a:ext>
              </a:extLst>
            </p:cNvPr>
            <p:cNvCxnSpPr/>
            <p:nvPr/>
          </p:nvCxnSpPr>
          <p:spPr bwMode="gray">
            <a:xfrm>
              <a:off x="91142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877D06ED-2F26-F2B9-C37B-C87E9C8E55F0}"/>
                </a:ext>
              </a:extLst>
            </p:cNvPr>
            <p:cNvCxnSpPr>
              <a:cxnSpLocks/>
            </p:cNvCxnSpPr>
            <p:nvPr/>
          </p:nvCxnSpPr>
          <p:spPr bwMode="gray">
            <a:xfrm rot="5400000">
              <a:off x="-132704" y="144878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6C9B06A9-6DEB-5F3F-A0D6-A44AD5E4DF34}"/>
                </a:ext>
              </a:extLst>
            </p:cNvPr>
            <p:cNvCxnSpPr>
              <a:cxnSpLocks/>
            </p:cNvCxnSpPr>
            <p:nvPr/>
          </p:nvCxnSpPr>
          <p:spPr bwMode="gray">
            <a:xfrm rot="5400000">
              <a:off x="-132712" y="260091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7BE38DDE-C836-BBCB-D668-774480BBE069}"/>
                </a:ext>
              </a:extLst>
            </p:cNvPr>
            <p:cNvCxnSpPr>
              <a:cxnSpLocks/>
            </p:cNvCxnSpPr>
            <p:nvPr/>
          </p:nvCxnSpPr>
          <p:spPr bwMode="gray">
            <a:xfrm rot="5400000">
              <a:off x="-132712" y="317697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042C45F1-AF65-33CD-D98B-C3830B024306}"/>
                </a:ext>
              </a:extLst>
            </p:cNvPr>
            <p:cNvCxnSpPr>
              <a:cxnSpLocks/>
            </p:cNvCxnSpPr>
            <p:nvPr/>
          </p:nvCxnSpPr>
          <p:spPr bwMode="gray">
            <a:xfrm rot="5400000">
              <a:off x="-132712" y="375304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7380FE33-4387-67B5-C1BC-9F71BB2B0D98}"/>
                </a:ext>
              </a:extLst>
            </p:cNvPr>
            <p:cNvCxnSpPr>
              <a:cxnSpLocks/>
            </p:cNvCxnSpPr>
            <p:nvPr/>
          </p:nvCxnSpPr>
          <p:spPr bwMode="gray">
            <a:xfrm rot="5400000">
              <a:off x="-132712" y="432910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id="{5DA19DB1-2EA5-C470-587B-3CCFDA7B4C9F}"/>
                </a:ext>
              </a:extLst>
            </p:cNvPr>
            <p:cNvCxnSpPr>
              <a:cxnSpLocks/>
            </p:cNvCxnSpPr>
            <p:nvPr/>
          </p:nvCxnSpPr>
          <p:spPr bwMode="gray">
            <a:xfrm rot="5400000">
              <a:off x="-132712" y="490516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id="{E1F3E396-FC8D-BD81-DBAE-D68CD77C4BF0}"/>
                </a:ext>
              </a:extLst>
            </p:cNvPr>
            <p:cNvCxnSpPr>
              <a:cxnSpLocks/>
            </p:cNvCxnSpPr>
            <p:nvPr/>
          </p:nvCxnSpPr>
          <p:spPr bwMode="gray">
            <a:xfrm rot="5400000">
              <a:off x="-132712" y="548123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577737056"/>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Smartphon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8940B8A-25D7-0D70-22DD-99455781E0D9}"/>
              </a:ext>
            </a:extLst>
          </p:cNvPr>
          <p:cNvGraphicFramePr>
            <a:graphicFrameLocks noChangeAspect="1"/>
          </p:cNvGraphicFramePr>
          <p:nvPr userDrawn="1">
            <p:custDataLst>
              <p:tags r:id="rId1"/>
            </p:custDataLst>
            <p:extLst>
              <p:ext uri="{D42A27DB-BD31-4B8C-83A1-F6EECF244321}">
                <p14:modId xmlns:p14="http://schemas.microsoft.com/office/powerpoint/2010/main" val="381463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3" name="Objekt 2" hidden="1">
                        <a:extLst>
                          <a:ext uri="{FF2B5EF4-FFF2-40B4-BE49-F238E27FC236}">
                            <a16:creationId xmlns:a16="http://schemas.microsoft.com/office/drawing/2014/main" id="{A8940B8A-25D7-0D70-22DD-99455781E0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a:extLst>
              <a:ext uri="{FF2B5EF4-FFF2-40B4-BE49-F238E27FC236}">
                <a16:creationId xmlns:a16="http://schemas.microsoft.com/office/drawing/2014/main" id="{AA7BA5C5-D7C9-4AD6-8D12-B312C46B26B5}"/>
              </a:ext>
            </a:extLst>
          </p:cNvPr>
          <p:cNvSpPr>
            <a:spLocks noGrp="1"/>
          </p:cNvSpPr>
          <p:nvPr>
            <p:ph type="title" hasCustomPrompt="1"/>
          </p:nvPr>
        </p:nvSpPr>
        <p:spPr bwMode="gray"/>
        <p:txBody>
          <a:bodyPr vert="horz"/>
          <a:lstStyle>
            <a:lvl1pPr>
              <a:defRPr/>
            </a:lvl1pPr>
          </a:lstStyle>
          <a:p>
            <a:r>
              <a:rPr lang="en-GB"/>
              <a:t>Insert your headline in Lato Heavy 24 pt here</a:t>
            </a:r>
            <a:endParaRPr lang="en-GB" dirty="0"/>
          </a:p>
        </p:txBody>
      </p:sp>
      <p:sp>
        <p:nvSpPr>
          <p:cNvPr id="20" name="Rechteck: abgerundete Ecken 19">
            <a:extLst>
              <a:ext uri="{FF2B5EF4-FFF2-40B4-BE49-F238E27FC236}">
                <a16:creationId xmlns:a16="http://schemas.microsoft.com/office/drawing/2014/main" id="{93C2BED1-C288-4362-A0E0-C779978ACA6D}"/>
              </a:ext>
              <a:ext uri="{C183D7F6-B498-43B3-948B-1728B52AA6E4}">
                <adec:decorative xmlns:adec="http://schemas.microsoft.com/office/drawing/2017/decorative" val="1"/>
              </a:ext>
            </a:extLst>
          </p:cNvPr>
          <p:cNvSpPr/>
          <p:nvPr userDrawn="1"/>
        </p:nvSpPr>
        <p:spPr bwMode="gray">
          <a:xfrm>
            <a:off x="2823424" y="1487274"/>
            <a:ext cx="2164080" cy="4549140"/>
          </a:xfrm>
          <a:prstGeom prst="roundRect">
            <a:avLst>
              <a:gd name="adj" fmla="val 1314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pic>
        <p:nvPicPr>
          <p:cNvPr id="18" name="Shape">
            <a:extLst>
              <a:ext uri="{FF2B5EF4-FFF2-40B4-BE49-F238E27FC236}">
                <a16:creationId xmlns:a16="http://schemas.microsoft.com/office/drawing/2014/main" id="{7F09AB9E-D3D1-4BF0-9135-508497D8603E}"/>
              </a:ext>
              <a:ext uri="{C183D7F6-B498-43B3-948B-1728B52AA6E4}">
                <adec:decorative xmlns:adec="http://schemas.microsoft.com/office/drawing/2017/decorative" val="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2351584" y="1449492"/>
            <a:ext cx="3096000" cy="4787820"/>
          </a:xfrm>
          <a:prstGeom prst="rect">
            <a:avLst/>
          </a:prstGeom>
        </p:spPr>
      </p:pic>
      <p:sp>
        <p:nvSpPr>
          <p:cNvPr id="5" name="Picture Placeholder 4"/>
          <p:cNvSpPr>
            <a:spLocks noGrp="1"/>
          </p:cNvSpPr>
          <p:nvPr>
            <p:ph type="pic" sz="quarter" idx="17" hasCustomPrompt="1"/>
          </p:nvPr>
        </p:nvSpPr>
        <p:spPr bwMode="gray">
          <a:xfrm>
            <a:off x="2869144" y="1540614"/>
            <a:ext cx="2057400" cy="4450080"/>
          </a:xfrm>
          <a:prstGeom prst="roundRect">
            <a:avLst>
              <a:gd name="adj" fmla="val 12964"/>
            </a:avLst>
          </a:prstGeom>
          <a:solidFill>
            <a:srgbClr val="D6D9DC"/>
          </a:solidFill>
        </p:spPr>
        <p:txBody>
          <a:bodyPr/>
          <a:lstStyle>
            <a:lvl1pPr marL="0" indent="0">
              <a:buNone/>
              <a:defRPr/>
            </a:lvl1pPr>
          </a:lstStyle>
          <a:p>
            <a:r>
              <a:rPr lang="en-GB"/>
              <a:t> </a:t>
            </a:r>
            <a:endParaRPr lang="en-GB" dirty="0"/>
          </a:p>
        </p:txBody>
      </p:sp>
      <p:sp>
        <p:nvSpPr>
          <p:cNvPr id="13" name="Rechteck: abgerundete Ecken 19">
            <a:extLst>
              <a:ext uri="{FF2B5EF4-FFF2-40B4-BE49-F238E27FC236}">
                <a16:creationId xmlns:a16="http://schemas.microsoft.com/office/drawing/2014/main" id="{E9916D98-3C6E-F067-BDD5-1A4A849EF18D}"/>
              </a:ext>
              <a:ext uri="{C183D7F6-B498-43B3-948B-1728B52AA6E4}">
                <adec:decorative xmlns:adec="http://schemas.microsoft.com/office/drawing/2017/decorative" val="1"/>
              </a:ext>
            </a:extLst>
          </p:cNvPr>
          <p:cNvSpPr/>
          <p:nvPr userDrawn="1"/>
        </p:nvSpPr>
        <p:spPr bwMode="gray">
          <a:xfrm>
            <a:off x="6639504" y="1487274"/>
            <a:ext cx="2164080" cy="4549140"/>
          </a:xfrm>
          <a:prstGeom prst="roundRect">
            <a:avLst>
              <a:gd name="adj" fmla="val 1314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pic>
        <p:nvPicPr>
          <p:cNvPr id="14" name="Shape">
            <a:extLst>
              <a:ext uri="{FF2B5EF4-FFF2-40B4-BE49-F238E27FC236}">
                <a16:creationId xmlns:a16="http://schemas.microsoft.com/office/drawing/2014/main" id="{7A9D731A-95B3-E07F-A903-A04AB7A41964}"/>
              </a:ext>
              <a:ext uri="{C183D7F6-B498-43B3-948B-1728B52AA6E4}">
                <adec:decorative xmlns:adec="http://schemas.microsoft.com/office/drawing/2017/decorative" val="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6167664" y="1449492"/>
            <a:ext cx="3096000" cy="4787820"/>
          </a:xfrm>
          <a:prstGeom prst="rect">
            <a:avLst/>
          </a:prstGeom>
        </p:spPr>
      </p:pic>
      <p:sp>
        <p:nvSpPr>
          <p:cNvPr id="15" name="Picture Placeholder 4">
            <a:extLst>
              <a:ext uri="{FF2B5EF4-FFF2-40B4-BE49-F238E27FC236}">
                <a16:creationId xmlns:a16="http://schemas.microsoft.com/office/drawing/2014/main" id="{1F57A2C4-BAF7-31E5-99FC-C96242B33202}"/>
              </a:ext>
            </a:extLst>
          </p:cNvPr>
          <p:cNvSpPr>
            <a:spLocks noGrp="1"/>
          </p:cNvSpPr>
          <p:nvPr>
            <p:ph type="pic" sz="quarter" idx="21" hasCustomPrompt="1"/>
          </p:nvPr>
        </p:nvSpPr>
        <p:spPr bwMode="gray">
          <a:xfrm>
            <a:off x="6685224" y="1540614"/>
            <a:ext cx="2057400" cy="4450080"/>
          </a:xfrm>
          <a:prstGeom prst="roundRect">
            <a:avLst>
              <a:gd name="adj" fmla="val 12964"/>
            </a:avLst>
          </a:prstGeom>
          <a:solidFill>
            <a:srgbClr val="D6D9DC"/>
          </a:solidFill>
        </p:spPr>
        <p:txBody>
          <a:bodyPr/>
          <a:lstStyle>
            <a:lvl1pPr marL="0" indent="0">
              <a:buNone/>
              <a:defRPr/>
            </a:lvl1pPr>
          </a:lstStyle>
          <a:p>
            <a:r>
              <a:rPr lang="en-GB"/>
              <a:t> </a:t>
            </a:r>
            <a:endParaRPr lang="en-GB" dirty="0"/>
          </a:p>
        </p:txBody>
      </p:sp>
      <p:sp>
        <p:nvSpPr>
          <p:cNvPr id="6" name="Datumsplatzhalter 5">
            <a:extLst>
              <a:ext uri="{FF2B5EF4-FFF2-40B4-BE49-F238E27FC236}">
                <a16:creationId xmlns:a16="http://schemas.microsoft.com/office/drawing/2014/main" id="{920C548C-EDAE-479B-E7A6-CE9484CA425F}"/>
              </a:ext>
            </a:extLst>
          </p:cNvPr>
          <p:cNvSpPr>
            <a:spLocks noGrp="1"/>
          </p:cNvSpPr>
          <p:nvPr>
            <p:ph type="dt" sz="half" idx="22"/>
          </p:nvPr>
        </p:nvSpPr>
        <p:spPr/>
        <p:txBody>
          <a:bodyPr/>
          <a:lstStyle/>
          <a:p>
            <a:r>
              <a:rPr lang="en-US"/>
              <a:t>7/26/2022</a:t>
            </a:r>
            <a:endParaRPr lang="en-GB" dirty="0"/>
          </a:p>
        </p:txBody>
      </p:sp>
      <p:sp>
        <p:nvSpPr>
          <p:cNvPr id="9" name="Fußzeilenplatzhalter 8">
            <a:extLst>
              <a:ext uri="{FF2B5EF4-FFF2-40B4-BE49-F238E27FC236}">
                <a16:creationId xmlns:a16="http://schemas.microsoft.com/office/drawing/2014/main" id="{31E8F747-8B4A-906D-3BB1-CB3DE31FBBDD}"/>
              </a:ext>
            </a:extLst>
          </p:cNvPr>
          <p:cNvSpPr>
            <a:spLocks noGrp="1"/>
          </p:cNvSpPr>
          <p:nvPr>
            <p:ph type="ftr" sz="quarter" idx="23"/>
          </p:nvPr>
        </p:nvSpPr>
        <p:spPr/>
        <p:txBody>
          <a:bodyPr/>
          <a:lstStyle/>
          <a:p>
            <a:r>
              <a:rPr lang="de-DE"/>
              <a:t>Der Konsument nach Corona und Consumer Voice</a:t>
            </a:r>
            <a:endParaRPr lang="de-DE" dirty="0"/>
          </a:p>
        </p:txBody>
      </p:sp>
      <p:sp>
        <p:nvSpPr>
          <p:cNvPr id="10" name="Foliennummernplatzhalter 9">
            <a:extLst>
              <a:ext uri="{FF2B5EF4-FFF2-40B4-BE49-F238E27FC236}">
                <a16:creationId xmlns:a16="http://schemas.microsoft.com/office/drawing/2014/main" id="{31B84CE6-773F-6556-E744-51668749B963}"/>
              </a:ext>
            </a:extLst>
          </p:cNvPr>
          <p:cNvSpPr>
            <a:spLocks noGrp="1"/>
          </p:cNvSpPr>
          <p:nvPr>
            <p:ph type="sldNum" sz="quarter" idx="24"/>
          </p:nvPr>
        </p:nvSpPr>
        <p:spPr/>
        <p:txBody>
          <a:bodyPr/>
          <a:lstStyle/>
          <a:p>
            <a:fld id="{CAEA825B-D749-4F0A-886E-8D45A39EAF2A}" type="slidenum">
              <a:rPr lang="de-DE" smtClean="0"/>
              <a:pPr/>
              <a:t>‹Nº›</a:t>
            </a:fld>
            <a:endParaRPr lang="de-DE"/>
          </a:p>
        </p:txBody>
      </p:sp>
      <p:sp>
        <p:nvSpPr>
          <p:cNvPr id="16" name="Subtitle">
            <a:extLst>
              <a:ext uri="{FF2B5EF4-FFF2-40B4-BE49-F238E27FC236}">
                <a16:creationId xmlns:a16="http://schemas.microsoft.com/office/drawing/2014/main" id="{2F0B8978-9525-C8F8-6EE6-615AC2DFA9CD}"/>
              </a:ext>
            </a:extLst>
          </p:cNvPr>
          <p:cNvSpPr>
            <a:spLocks noGrp="1"/>
          </p:cNvSpPr>
          <p:nvPr>
            <p:ph type="subTitle" idx="13" hasCustomPrompt="1"/>
          </p:nvPr>
        </p:nvSpPr>
        <p:spPr bwMode="gray">
          <a:xfrm>
            <a:off x="335360" y="659362"/>
            <a:ext cx="8640959" cy="360040"/>
          </a:xfrm>
          <a:prstGeom prst="rect">
            <a:avLst/>
          </a:prstGeom>
        </p:spPr>
        <p:txBody>
          <a:bodyPr wrap="none" tIns="0"/>
          <a:lstStyle>
            <a:lvl1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1pPr>
            <a:lvl2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2pPr>
            <a:lvl3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3pPr>
            <a:lvl4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4pPr>
            <a:lvl5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5pPr>
            <a:lvl6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6pPr>
            <a:lvl7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7pPr>
            <a:lvl8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8pPr>
            <a:lvl9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9pPr>
          </a:lstStyle>
          <a:p>
            <a:r>
              <a:rPr lang="en-GB" dirty="0"/>
              <a:t>Insert your sub-headline in </a:t>
            </a:r>
            <a:r>
              <a:rPr lang="en-GB" dirty="0" err="1"/>
              <a:t>Lato</a:t>
            </a:r>
            <a:r>
              <a:rPr lang="en-GB" dirty="0"/>
              <a:t> light 20 </a:t>
            </a:r>
            <a:r>
              <a:rPr lang="en-GB" dirty="0" err="1"/>
              <a:t>pt</a:t>
            </a:r>
            <a:r>
              <a:rPr lang="en-GB" dirty="0"/>
              <a:t> here</a:t>
            </a:r>
          </a:p>
        </p:txBody>
      </p:sp>
      <p:sp>
        <p:nvSpPr>
          <p:cNvPr id="19" name="Source">
            <a:extLst>
              <a:ext uri="{FF2B5EF4-FFF2-40B4-BE49-F238E27FC236}">
                <a16:creationId xmlns:a16="http://schemas.microsoft.com/office/drawing/2014/main" id="{574A5C71-6879-FF69-09BF-DE6F01DA7B13}"/>
              </a:ext>
            </a:extLst>
          </p:cNvPr>
          <p:cNvSpPr>
            <a:spLocks noGrp="1"/>
          </p:cNvSpPr>
          <p:nvPr>
            <p:ph type="body" sz="quarter" idx="25"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grpSp>
        <p:nvGrpSpPr>
          <p:cNvPr id="32" name="Gruppieren 31">
            <a:extLst>
              <a:ext uri="{FF2B5EF4-FFF2-40B4-BE49-F238E27FC236}">
                <a16:creationId xmlns:a16="http://schemas.microsoft.com/office/drawing/2014/main" id="{E27C35BA-E6B5-6330-758E-DE734F71A6C7}"/>
              </a:ext>
              <a:ext uri="{C183D7F6-B498-43B3-948B-1728B52AA6E4}">
                <adec:decorative xmlns:adec="http://schemas.microsoft.com/office/drawing/2017/decorative" val="1"/>
              </a:ext>
            </a:extLst>
          </p:cNvPr>
          <p:cNvGrpSpPr/>
          <p:nvPr userDrawn="1"/>
        </p:nvGrpSpPr>
        <p:grpSpPr>
          <a:xfrm>
            <a:off x="-168768" y="-171392"/>
            <a:ext cx="12025408" cy="6264688"/>
            <a:chOff x="-168768" y="-171392"/>
            <a:chExt cx="12025408" cy="6264688"/>
          </a:xfrm>
        </p:grpSpPr>
        <p:cxnSp>
          <p:nvCxnSpPr>
            <p:cNvPr id="33" name="Gerader Verbinder 32">
              <a:extLst>
                <a:ext uri="{FF2B5EF4-FFF2-40B4-BE49-F238E27FC236}">
                  <a16:creationId xmlns:a16="http://schemas.microsoft.com/office/drawing/2014/main" id="{2B06448B-B6EE-BEC4-3826-F9B7D06FCD0B}"/>
                </a:ext>
              </a:extLst>
            </p:cNvPr>
            <p:cNvCxnSpPr/>
            <p:nvPr userDrawn="1"/>
          </p:nvCxnSpPr>
          <p:spPr bwMode="gray">
            <a:xfrm>
              <a:off x="33536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71DFE41D-D1FB-F7A2-F326-7723B05AFFFC}"/>
                </a:ext>
              </a:extLst>
            </p:cNvPr>
            <p:cNvCxnSpPr/>
            <p:nvPr userDrawn="1"/>
          </p:nvCxnSpPr>
          <p:spPr bwMode="gray">
            <a:xfrm>
              <a:off x="436780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BADC093D-2186-5134-9DD9-198132F0C7DD}"/>
                </a:ext>
              </a:extLst>
            </p:cNvPr>
            <p:cNvCxnSpPr/>
            <p:nvPr userDrawn="1"/>
          </p:nvCxnSpPr>
          <p:spPr bwMode="gray">
            <a:xfrm>
              <a:off x="494387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81F055BE-2FE7-0EC2-25CC-468ED3543F7E}"/>
                </a:ext>
              </a:extLst>
            </p:cNvPr>
            <p:cNvCxnSpPr/>
            <p:nvPr userDrawn="1"/>
          </p:nvCxnSpPr>
          <p:spPr bwMode="gray">
            <a:xfrm>
              <a:off x="667206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C19CB197-4723-56C0-BC01-7B80B7A0F142}"/>
                </a:ext>
              </a:extLst>
            </p:cNvPr>
            <p:cNvCxnSpPr/>
            <p:nvPr userDrawn="1"/>
          </p:nvCxnSpPr>
          <p:spPr bwMode="gray">
            <a:xfrm>
              <a:off x="609600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7A04D335-567C-28C0-A42C-6D1E9AEB79C7}"/>
                </a:ext>
              </a:extLst>
            </p:cNvPr>
            <p:cNvCxnSpPr/>
            <p:nvPr userDrawn="1"/>
          </p:nvCxnSpPr>
          <p:spPr bwMode="gray">
            <a:xfrm>
              <a:off x="724812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0720A087-7F11-ECBF-F537-B6AEECB64BA8}"/>
                </a:ext>
              </a:extLst>
            </p:cNvPr>
            <p:cNvCxnSpPr/>
            <p:nvPr userDrawn="1"/>
          </p:nvCxnSpPr>
          <p:spPr bwMode="gray">
            <a:xfrm>
              <a:off x="782419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53EE7A5D-418D-2C47-2CB5-0F7A3BDAE752}"/>
                </a:ext>
              </a:extLst>
            </p:cNvPr>
            <p:cNvCxnSpPr/>
            <p:nvPr userDrawn="1"/>
          </p:nvCxnSpPr>
          <p:spPr bwMode="gray">
            <a:xfrm>
              <a:off x="840025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5EED6CE8-EAED-7DDC-A7DD-4D4791D33F19}"/>
                </a:ext>
              </a:extLst>
            </p:cNvPr>
            <p:cNvCxnSpPr/>
            <p:nvPr userDrawn="1"/>
          </p:nvCxnSpPr>
          <p:spPr bwMode="gray">
            <a:xfrm>
              <a:off x="897632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3CB72407-BA86-438B-0CF7-1DBFF28D8FD1}"/>
                </a:ext>
              </a:extLst>
            </p:cNvPr>
            <p:cNvCxnSpPr/>
            <p:nvPr userDrawn="1"/>
          </p:nvCxnSpPr>
          <p:spPr bwMode="gray">
            <a:xfrm>
              <a:off x="1128057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616F94A6-FD73-0C14-DFD1-24CC9E3E9FC5}"/>
                </a:ext>
              </a:extLst>
            </p:cNvPr>
            <p:cNvCxnSpPr/>
            <p:nvPr userDrawn="1"/>
          </p:nvCxnSpPr>
          <p:spPr bwMode="gray">
            <a:xfrm>
              <a:off x="1185664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085B4DA4-800F-130F-FF34-0A71243ACBF9}"/>
                </a:ext>
              </a:extLst>
            </p:cNvPr>
            <p:cNvCxnSpPr>
              <a:cxnSpLocks/>
            </p:cNvCxnSpPr>
            <p:nvPr userDrawn="1"/>
          </p:nvCxnSpPr>
          <p:spPr bwMode="gray">
            <a:xfrm rot="5400000">
              <a:off x="-132688" y="29665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3F6E7AC1-F2EA-2497-20DE-2196E142F2AF}"/>
                </a:ext>
              </a:extLst>
            </p:cNvPr>
            <p:cNvCxnSpPr/>
            <p:nvPr userDrawn="1"/>
          </p:nvCxnSpPr>
          <p:spPr bwMode="gray">
            <a:xfrm>
              <a:off x="321568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3306D381-4B44-44AD-7109-03745A2006D9}"/>
                </a:ext>
              </a:extLst>
            </p:cNvPr>
            <p:cNvCxnSpPr/>
            <p:nvPr userDrawn="1"/>
          </p:nvCxnSpPr>
          <p:spPr bwMode="gray">
            <a:xfrm>
              <a:off x="379174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DC8FD78B-2FA5-AA6A-9EDC-C4B87F81779D}"/>
                </a:ext>
              </a:extLst>
            </p:cNvPr>
            <p:cNvCxnSpPr>
              <a:cxnSpLocks/>
            </p:cNvCxnSpPr>
            <p:nvPr userDrawn="1"/>
          </p:nvCxnSpPr>
          <p:spPr bwMode="gray">
            <a:xfrm rot="5400000">
              <a:off x="-132704" y="87272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20D89F46-4DB7-052D-BEA1-172FA177D7AE}"/>
                </a:ext>
              </a:extLst>
            </p:cNvPr>
            <p:cNvCxnSpPr>
              <a:cxnSpLocks/>
            </p:cNvCxnSpPr>
            <p:nvPr userDrawn="1"/>
          </p:nvCxnSpPr>
          <p:spPr bwMode="gray">
            <a:xfrm rot="5400000">
              <a:off x="-132712" y="202484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96318475-B6F8-1F4C-B97D-6BC5125ACCBB}"/>
                </a:ext>
              </a:extLst>
            </p:cNvPr>
            <p:cNvCxnSpPr>
              <a:cxnSpLocks/>
            </p:cNvCxnSpPr>
            <p:nvPr userDrawn="1"/>
          </p:nvCxnSpPr>
          <p:spPr bwMode="gray">
            <a:xfrm rot="5400000">
              <a:off x="-132768" y="605729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187AAD40-1FC2-F97D-2E02-60A45CBABFEB}"/>
                </a:ext>
              </a:extLst>
            </p:cNvPr>
            <p:cNvCxnSpPr/>
            <p:nvPr/>
          </p:nvCxnSpPr>
          <p:spPr bwMode="gray">
            <a:xfrm>
              <a:off x="1070451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4CEF5F49-579C-AF17-0418-DD5DF3D1F287}"/>
                </a:ext>
              </a:extLst>
            </p:cNvPr>
            <p:cNvCxnSpPr/>
            <p:nvPr/>
          </p:nvCxnSpPr>
          <p:spPr bwMode="gray">
            <a:xfrm>
              <a:off x="1012844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2D4895F2-35B8-B271-8219-CF96B68F35D9}"/>
                </a:ext>
              </a:extLst>
            </p:cNvPr>
            <p:cNvCxnSpPr/>
            <p:nvPr/>
          </p:nvCxnSpPr>
          <p:spPr bwMode="gray">
            <a:xfrm>
              <a:off x="955059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853444F5-3353-D2C1-D89B-6A88DF07B716}"/>
                </a:ext>
              </a:extLst>
            </p:cNvPr>
            <p:cNvCxnSpPr/>
            <p:nvPr/>
          </p:nvCxnSpPr>
          <p:spPr bwMode="gray">
            <a:xfrm>
              <a:off x="551973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803946A7-7F1F-D292-69B9-FEBCABC7FA69}"/>
                </a:ext>
              </a:extLst>
            </p:cNvPr>
            <p:cNvCxnSpPr/>
            <p:nvPr/>
          </p:nvCxnSpPr>
          <p:spPr bwMode="gray">
            <a:xfrm>
              <a:off x="263961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E747E0D5-349C-0002-9BDF-4B9264C2433D}"/>
                </a:ext>
              </a:extLst>
            </p:cNvPr>
            <p:cNvCxnSpPr/>
            <p:nvPr/>
          </p:nvCxnSpPr>
          <p:spPr bwMode="gray">
            <a:xfrm>
              <a:off x="206355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07C47570-F162-E592-5DA5-BBAFC2644942}"/>
                </a:ext>
              </a:extLst>
            </p:cNvPr>
            <p:cNvCxnSpPr/>
            <p:nvPr/>
          </p:nvCxnSpPr>
          <p:spPr bwMode="gray">
            <a:xfrm>
              <a:off x="148748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917D9530-859B-D13B-E8CC-669A61F1C050}"/>
                </a:ext>
              </a:extLst>
            </p:cNvPr>
            <p:cNvCxnSpPr/>
            <p:nvPr/>
          </p:nvCxnSpPr>
          <p:spPr bwMode="gray">
            <a:xfrm>
              <a:off x="91142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B85E43DC-3BEE-D5F8-D2E3-8574F365B16D}"/>
                </a:ext>
              </a:extLst>
            </p:cNvPr>
            <p:cNvCxnSpPr>
              <a:cxnSpLocks/>
            </p:cNvCxnSpPr>
            <p:nvPr/>
          </p:nvCxnSpPr>
          <p:spPr bwMode="gray">
            <a:xfrm rot="5400000">
              <a:off x="-132704" y="144878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86F71AD4-29A5-A60F-BABA-9D9CF72D1536}"/>
                </a:ext>
              </a:extLst>
            </p:cNvPr>
            <p:cNvCxnSpPr>
              <a:cxnSpLocks/>
            </p:cNvCxnSpPr>
            <p:nvPr/>
          </p:nvCxnSpPr>
          <p:spPr bwMode="gray">
            <a:xfrm rot="5400000">
              <a:off x="-132712" y="260091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14399CDA-59E2-5935-01D2-B88EA2762823}"/>
                </a:ext>
              </a:extLst>
            </p:cNvPr>
            <p:cNvCxnSpPr>
              <a:cxnSpLocks/>
            </p:cNvCxnSpPr>
            <p:nvPr/>
          </p:nvCxnSpPr>
          <p:spPr bwMode="gray">
            <a:xfrm rot="5400000">
              <a:off x="-132712" y="317697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id="{0DE44655-8FA6-E323-5DA5-BFD66BC1FF35}"/>
                </a:ext>
              </a:extLst>
            </p:cNvPr>
            <p:cNvCxnSpPr>
              <a:cxnSpLocks/>
            </p:cNvCxnSpPr>
            <p:nvPr/>
          </p:nvCxnSpPr>
          <p:spPr bwMode="gray">
            <a:xfrm rot="5400000">
              <a:off x="-132712" y="375304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id="{062B8A7E-8CA3-558A-4837-F921E2619D96}"/>
                </a:ext>
              </a:extLst>
            </p:cNvPr>
            <p:cNvCxnSpPr>
              <a:cxnSpLocks/>
            </p:cNvCxnSpPr>
            <p:nvPr/>
          </p:nvCxnSpPr>
          <p:spPr bwMode="gray">
            <a:xfrm rot="5400000">
              <a:off x="-132712" y="432910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77708F18-09B5-4CDB-6A03-739EC02B9FA0}"/>
                </a:ext>
              </a:extLst>
            </p:cNvPr>
            <p:cNvCxnSpPr>
              <a:cxnSpLocks/>
            </p:cNvCxnSpPr>
            <p:nvPr/>
          </p:nvCxnSpPr>
          <p:spPr bwMode="gray">
            <a:xfrm rot="5400000">
              <a:off x="-132712" y="490516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D9EE6094-ABF2-77D1-1EB5-EA9E52D8AFC2}"/>
                </a:ext>
              </a:extLst>
            </p:cNvPr>
            <p:cNvCxnSpPr>
              <a:cxnSpLocks/>
            </p:cNvCxnSpPr>
            <p:nvPr/>
          </p:nvCxnSpPr>
          <p:spPr bwMode="gray">
            <a:xfrm rot="5400000">
              <a:off x="-132712" y="548123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10408598"/>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Smartphon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703FECC-2786-4FE9-4617-A48B06706798}"/>
              </a:ext>
            </a:extLst>
          </p:cNvPr>
          <p:cNvGraphicFramePr>
            <a:graphicFrameLocks noChangeAspect="1"/>
          </p:cNvGraphicFramePr>
          <p:nvPr userDrawn="1">
            <p:custDataLst>
              <p:tags r:id="rId1"/>
            </p:custDataLst>
            <p:extLst>
              <p:ext uri="{D42A27DB-BD31-4B8C-83A1-F6EECF244321}">
                <p14:modId xmlns:p14="http://schemas.microsoft.com/office/powerpoint/2010/main" val="3935152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3" name="Objekt 2" hidden="1">
                        <a:extLst>
                          <a:ext uri="{FF2B5EF4-FFF2-40B4-BE49-F238E27FC236}">
                            <a16:creationId xmlns:a16="http://schemas.microsoft.com/office/drawing/2014/main" id="{5703FECC-2786-4FE9-4617-A48B067067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a:extLst>
              <a:ext uri="{FF2B5EF4-FFF2-40B4-BE49-F238E27FC236}">
                <a16:creationId xmlns:a16="http://schemas.microsoft.com/office/drawing/2014/main" id="{AA7BA5C5-D7C9-4AD6-8D12-B312C46B26B5}"/>
              </a:ext>
            </a:extLst>
          </p:cNvPr>
          <p:cNvSpPr>
            <a:spLocks noGrp="1"/>
          </p:cNvSpPr>
          <p:nvPr>
            <p:ph type="title" hasCustomPrompt="1"/>
          </p:nvPr>
        </p:nvSpPr>
        <p:spPr bwMode="gray"/>
        <p:txBody>
          <a:bodyPr vert="horz"/>
          <a:lstStyle>
            <a:lvl1pPr>
              <a:defRPr/>
            </a:lvl1pPr>
          </a:lstStyle>
          <a:p>
            <a:r>
              <a:rPr lang="en-GB"/>
              <a:t>Insert your headline in Lato Heavy 24 pt here</a:t>
            </a:r>
            <a:endParaRPr lang="en-GB" dirty="0"/>
          </a:p>
        </p:txBody>
      </p:sp>
      <p:sp>
        <p:nvSpPr>
          <p:cNvPr id="20" name="Rechteck: abgerundete Ecken 19">
            <a:extLst>
              <a:ext uri="{FF2B5EF4-FFF2-40B4-BE49-F238E27FC236}">
                <a16:creationId xmlns:a16="http://schemas.microsoft.com/office/drawing/2014/main" id="{93C2BED1-C288-4362-A0E0-C779978ACA6D}"/>
              </a:ext>
              <a:ext uri="{C183D7F6-B498-43B3-948B-1728B52AA6E4}">
                <adec:decorative xmlns:adec="http://schemas.microsoft.com/office/drawing/2017/decorative" val="1"/>
              </a:ext>
            </a:extLst>
          </p:cNvPr>
          <p:cNvSpPr/>
          <p:nvPr userDrawn="1"/>
        </p:nvSpPr>
        <p:spPr bwMode="gray">
          <a:xfrm>
            <a:off x="7898236" y="1487274"/>
            <a:ext cx="2164080" cy="4549140"/>
          </a:xfrm>
          <a:prstGeom prst="roundRect">
            <a:avLst>
              <a:gd name="adj" fmla="val 1314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pic>
        <p:nvPicPr>
          <p:cNvPr id="18" name="Shape">
            <a:extLst>
              <a:ext uri="{FF2B5EF4-FFF2-40B4-BE49-F238E27FC236}">
                <a16:creationId xmlns:a16="http://schemas.microsoft.com/office/drawing/2014/main" id="{7F09AB9E-D3D1-4BF0-9135-508497D8603E}"/>
              </a:ext>
              <a:ext uri="{C183D7F6-B498-43B3-948B-1728B52AA6E4}">
                <adec:decorative xmlns:adec="http://schemas.microsoft.com/office/drawing/2017/decorative" val="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7426396" y="1449492"/>
            <a:ext cx="3096000" cy="4787820"/>
          </a:xfrm>
          <a:prstGeom prst="rect">
            <a:avLst/>
          </a:prstGeom>
        </p:spPr>
      </p:pic>
      <p:sp>
        <p:nvSpPr>
          <p:cNvPr id="5" name="Picture Placeholder 4"/>
          <p:cNvSpPr>
            <a:spLocks noGrp="1"/>
          </p:cNvSpPr>
          <p:nvPr>
            <p:ph type="pic" sz="quarter" idx="17" hasCustomPrompt="1"/>
          </p:nvPr>
        </p:nvSpPr>
        <p:spPr bwMode="gray">
          <a:xfrm>
            <a:off x="7943956" y="1540614"/>
            <a:ext cx="2057400" cy="4450080"/>
          </a:xfrm>
          <a:prstGeom prst="roundRect">
            <a:avLst>
              <a:gd name="adj" fmla="val 12964"/>
            </a:avLst>
          </a:prstGeom>
          <a:solidFill>
            <a:srgbClr val="D6D9DC"/>
          </a:solidFill>
        </p:spPr>
        <p:txBody>
          <a:bodyPr/>
          <a:lstStyle>
            <a:lvl1pPr marL="0" indent="0">
              <a:buNone/>
              <a:defRPr/>
            </a:lvl1pPr>
          </a:lstStyle>
          <a:p>
            <a:r>
              <a:rPr lang="en-GB"/>
              <a:t> </a:t>
            </a:r>
            <a:endParaRPr lang="en-GB" dirty="0"/>
          </a:p>
        </p:txBody>
      </p:sp>
      <p:sp>
        <p:nvSpPr>
          <p:cNvPr id="13" name="Rechteck: abgerundete Ecken 19">
            <a:extLst>
              <a:ext uri="{FF2B5EF4-FFF2-40B4-BE49-F238E27FC236}">
                <a16:creationId xmlns:a16="http://schemas.microsoft.com/office/drawing/2014/main" id="{83B6B1DD-3BB2-05F1-F33D-74DC95727ABC}"/>
              </a:ext>
              <a:ext uri="{C183D7F6-B498-43B3-948B-1728B52AA6E4}">
                <adec:decorative xmlns:adec="http://schemas.microsoft.com/office/drawing/2017/decorative" val="1"/>
              </a:ext>
            </a:extLst>
          </p:cNvPr>
          <p:cNvSpPr/>
          <p:nvPr userDrawn="1"/>
        </p:nvSpPr>
        <p:spPr bwMode="gray">
          <a:xfrm>
            <a:off x="1564616" y="1487274"/>
            <a:ext cx="2164080" cy="4549140"/>
          </a:xfrm>
          <a:prstGeom prst="roundRect">
            <a:avLst>
              <a:gd name="adj" fmla="val 1314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pic>
        <p:nvPicPr>
          <p:cNvPr id="14" name="Shape">
            <a:extLst>
              <a:ext uri="{FF2B5EF4-FFF2-40B4-BE49-F238E27FC236}">
                <a16:creationId xmlns:a16="http://schemas.microsoft.com/office/drawing/2014/main" id="{880E8645-6288-AE19-6DBF-172F4C2CDEF1}"/>
              </a:ext>
              <a:ext uri="{C183D7F6-B498-43B3-948B-1728B52AA6E4}">
                <adec:decorative xmlns:adec="http://schemas.microsoft.com/office/drawing/2017/decorative" val="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1092776" y="1449492"/>
            <a:ext cx="3096000" cy="4787820"/>
          </a:xfrm>
          <a:prstGeom prst="rect">
            <a:avLst/>
          </a:prstGeom>
        </p:spPr>
      </p:pic>
      <p:sp>
        <p:nvSpPr>
          <p:cNvPr id="15" name="Picture Placeholder 4">
            <a:extLst>
              <a:ext uri="{FF2B5EF4-FFF2-40B4-BE49-F238E27FC236}">
                <a16:creationId xmlns:a16="http://schemas.microsoft.com/office/drawing/2014/main" id="{07FD78D1-0288-20BD-C346-3808CDF3B9C0}"/>
              </a:ext>
            </a:extLst>
          </p:cNvPr>
          <p:cNvSpPr>
            <a:spLocks noGrp="1"/>
          </p:cNvSpPr>
          <p:nvPr>
            <p:ph type="pic" sz="quarter" idx="21" hasCustomPrompt="1"/>
          </p:nvPr>
        </p:nvSpPr>
        <p:spPr bwMode="gray">
          <a:xfrm>
            <a:off x="1610336" y="1540614"/>
            <a:ext cx="2057400" cy="4450080"/>
          </a:xfrm>
          <a:prstGeom prst="roundRect">
            <a:avLst>
              <a:gd name="adj" fmla="val 12964"/>
            </a:avLst>
          </a:prstGeom>
          <a:solidFill>
            <a:srgbClr val="D6D9DC"/>
          </a:solidFill>
        </p:spPr>
        <p:txBody>
          <a:bodyPr/>
          <a:lstStyle>
            <a:lvl1pPr marL="0" indent="0">
              <a:buNone/>
              <a:defRPr/>
            </a:lvl1pPr>
          </a:lstStyle>
          <a:p>
            <a:r>
              <a:rPr lang="en-GB"/>
              <a:t> </a:t>
            </a:r>
            <a:endParaRPr lang="en-GB" dirty="0"/>
          </a:p>
        </p:txBody>
      </p:sp>
      <p:sp>
        <p:nvSpPr>
          <p:cNvPr id="16" name="Rechteck: abgerundete Ecken 19">
            <a:extLst>
              <a:ext uri="{FF2B5EF4-FFF2-40B4-BE49-F238E27FC236}">
                <a16:creationId xmlns:a16="http://schemas.microsoft.com/office/drawing/2014/main" id="{DB994C57-CEE0-8540-5583-CD8BBFB8527E}"/>
              </a:ext>
              <a:ext uri="{C183D7F6-B498-43B3-948B-1728B52AA6E4}">
                <adec:decorative xmlns:adec="http://schemas.microsoft.com/office/drawing/2017/decorative" val="1"/>
              </a:ext>
            </a:extLst>
          </p:cNvPr>
          <p:cNvSpPr/>
          <p:nvPr userDrawn="1"/>
        </p:nvSpPr>
        <p:spPr bwMode="gray">
          <a:xfrm>
            <a:off x="4767296" y="1487274"/>
            <a:ext cx="2164080" cy="4549140"/>
          </a:xfrm>
          <a:prstGeom prst="roundRect">
            <a:avLst>
              <a:gd name="adj" fmla="val 1314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pic>
        <p:nvPicPr>
          <p:cNvPr id="17" name="Shape">
            <a:extLst>
              <a:ext uri="{FF2B5EF4-FFF2-40B4-BE49-F238E27FC236}">
                <a16:creationId xmlns:a16="http://schemas.microsoft.com/office/drawing/2014/main" id="{29B3C5F7-8DA9-D126-B8E6-0E97A57FDE50}"/>
              </a:ext>
              <a:ext uri="{C183D7F6-B498-43B3-948B-1728B52AA6E4}">
                <adec:decorative xmlns:adec="http://schemas.microsoft.com/office/drawing/2017/decorative" val="1"/>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4295456" y="1449492"/>
            <a:ext cx="3096000" cy="4787820"/>
          </a:xfrm>
          <a:prstGeom prst="rect">
            <a:avLst/>
          </a:prstGeom>
        </p:spPr>
      </p:pic>
      <p:sp>
        <p:nvSpPr>
          <p:cNvPr id="19" name="Picture Placeholder 4">
            <a:extLst>
              <a:ext uri="{FF2B5EF4-FFF2-40B4-BE49-F238E27FC236}">
                <a16:creationId xmlns:a16="http://schemas.microsoft.com/office/drawing/2014/main" id="{EB2D0007-2615-90B5-A926-694D8882C5F1}"/>
              </a:ext>
            </a:extLst>
          </p:cNvPr>
          <p:cNvSpPr>
            <a:spLocks noGrp="1"/>
          </p:cNvSpPr>
          <p:nvPr>
            <p:ph type="pic" sz="quarter" idx="22" hasCustomPrompt="1"/>
          </p:nvPr>
        </p:nvSpPr>
        <p:spPr bwMode="gray">
          <a:xfrm>
            <a:off x="4813016" y="1540614"/>
            <a:ext cx="2057400" cy="4450080"/>
          </a:xfrm>
          <a:prstGeom prst="roundRect">
            <a:avLst>
              <a:gd name="adj" fmla="val 12964"/>
            </a:avLst>
          </a:prstGeom>
          <a:solidFill>
            <a:srgbClr val="D6D9DC"/>
          </a:solidFill>
        </p:spPr>
        <p:txBody>
          <a:bodyPr/>
          <a:lstStyle>
            <a:lvl1pPr marL="0" indent="0">
              <a:buNone/>
              <a:defRPr/>
            </a:lvl1pPr>
          </a:lstStyle>
          <a:p>
            <a:r>
              <a:rPr lang="en-GB"/>
              <a:t> </a:t>
            </a:r>
            <a:endParaRPr lang="en-GB" dirty="0"/>
          </a:p>
        </p:txBody>
      </p:sp>
      <p:sp>
        <p:nvSpPr>
          <p:cNvPr id="6" name="Datumsplatzhalter 5">
            <a:extLst>
              <a:ext uri="{FF2B5EF4-FFF2-40B4-BE49-F238E27FC236}">
                <a16:creationId xmlns:a16="http://schemas.microsoft.com/office/drawing/2014/main" id="{B9FDAB83-C7AE-43A3-3F89-9028A1A063E3}"/>
              </a:ext>
            </a:extLst>
          </p:cNvPr>
          <p:cNvSpPr>
            <a:spLocks noGrp="1"/>
          </p:cNvSpPr>
          <p:nvPr>
            <p:ph type="dt" sz="half" idx="23"/>
          </p:nvPr>
        </p:nvSpPr>
        <p:spPr/>
        <p:txBody>
          <a:bodyPr/>
          <a:lstStyle/>
          <a:p>
            <a:r>
              <a:rPr lang="en-US"/>
              <a:t>7/26/2022</a:t>
            </a:r>
            <a:endParaRPr lang="en-GB" dirty="0"/>
          </a:p>
        </p:txBody>
      </p:sp>
      <p:sp>
        <p:nvSpPr>
          <p:cNvPr id="9" name="Fußzeilenplatzhalter 8">
            <a:extLst>
              <a:ext uri="{FF2B5EF4-FFF2-40B4-BE49-F238E27FC236}">
                <a16:creationId xmlns:a16="http://schemas.microsoft.com/office/drawing/2014/main" id="{974231BE-AF9E-B77A-C538-EAF45C87E22B}"/>
              </a:ext>
            </a:extLst>
          </p:cNvPr>
          <p:cNvSpPr>
            <a:spLocks noGrp="1"/>
          </p:cNvSpPr>
          <p:nvPr>
            <p:ph type="ftr" sz="quarter" idx="24"/>
          </p:nvPr>
        </p:nvSpPr>
        <p:spPr/>
        <p:txBody>
          <a:bodyPr/>
          <a:lstStyle/>
          <a:p>
            <a:r>
              <a:rPr lang="de-DE"/>
              <a:t>Der Konsument nach Corona und Consumer Voice</a:t>
            </a:r>
            <a:endParaRPr lang="de-DE" dirty="0"/>
          </a:p>
        </p:txBody>
      </p:sp>
      <p:sp>
        <p:nvSpPr>
          <p:cNvPr id="10" name="Foliennummernplatzhalter 9">
            <a:extLst>
              <a:ext uri="{FF2B5EF4-FFF2-40B4-BE49-F238E27FC236}">
                <a16:creationId xmlns:a16="http://schemas.microsoft.com/office/drawing/2014/main" id="{2FBFAB22-D1B2-3E55-7A21-5521A2468A0A}"/>
              </a:ext>
            </a:extLst>
          </p:cNvPr>
          <p:cNvSpPr>
            <a:spLocks noGrp="1"/>
          </p:cNvSpPr>
          <p:nvPr>
            <p:ph type="sldNum" sz="quarter" idx="25"/>
          </p:nvPr>
        </p:nvSpPr>
        <p:spPr/>
        <p:txBody>
          <a:bodyPr/>
          <a:lstStyle/>
          <a:p>
            <a:fld id="{CAEA825B-D749-4F0A-886E-8D45A39EAF2A}" type="slidenum">
              <a:rPr lang="de-DE" smtClean="0"/>
              <a:pPr/>
              <a:t>‹Nº›</a:t>
            </a:fld>
            <a:endParaRPr lang="de-DE"/>
          </a:p>
        </p:txBody>
      </p:sp>
      <p:sp>
        <p:nvSpPr>
          <p:cNvPr id="21" name="Subtitle">
            <a:extLst>
              <a:ext uri="{FF2B5EF4-FFF2-40B4-BE49-F238E27FC236}">
                <a16:creationId xmlns:a16="http://schemas.microsoft.com/office/drawing/2014/main" id="{302B82D0-A2D0-AA40-C5AE-143C87D7F396}"/>
              </a:ext>
            </a:extLst>
          </p:cNvPr>
          <p:cNvSpPr>
            <a:spLocks noGrp="1"/>
          </p:cNvSpPr>
          <p:nvPr>
            <p:ph type="subTitle" idx="13" hasCustomPrompt="1"/>
          </p:nvPr>
        </p:nvSpPr>
        <p:spPr bwMode="gray">
          <a:xfrm>
            <a:off x="335360" y="659362"/>
            <a:ext cx="8640959" cy="360040"/>
          </a:xfrm>
          <a:prstGeom prst="rect">
            <a:avLst/>
          </a:prstGeom>
        </p:spPr>
        <p:txBody>
          <a:bodyPr wrap="none" tIns="0"/>
          <a:lstStyle>
            <a:lvl1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1pPr>
            <a:lvl2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2pPr>
            <a:lvl3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3pPr>
            <a:lvl4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4pPr>
            <a:lvl5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5pPr>
            <a:lvl6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6pPr>
            <a:lvl7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7pPr>
            <a:lvl8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8pPr>
            <a:lvl9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9pPr>
          </a:lstStyle>
          <a:p>
            <a:r>
              <a:rPr lang="en-GB" dirty="0"/>
              <a:t>Insert your sub-headline in </a:t>
            </a:r>
            <a:r>
              <a:rPr lang="en-GB" dirty="0" err="1"/>
              <a:t>Lato</a:t>
            </a:r>
            <a:r>
              <a:rPr lang="en-GB" dirty="0"/>
              <a:t> light 20 </a:t>
            </a:r>
            <a:r>
              <a:rPr lang="en-GB" dirty="0" err="1"/>
              <a:t>pt</a:t>
            </a:r>
            <a:r>
              <a:rPr lang="en-GB" dirty="0"/>
              <a:t> here</a:t>
            </a:r>
          </a:p>
        </p:txBody>
      </p:sp>
      <p:sp>
        <p:nvSpPr>
          <p:cNvPr id="23" name="Source">
            <a:extLst>
              <a:ext uri="{FF2B5EF4-FFF2-40B4-BE49-F238E27FC236}">
                <a16:creationId xmlns:a16="http://schemas.microsoft.com/office/drawing/2014/main" id="{B150FC98-3E02-448F-D9A3-2CF7FFEE54AA}"/>
              </a:ext>
            </a:extLst>
          </p:cNvPr>
          <p:cNvSpPr>
            <a:spLocks noGrp="1"/>
          </p:cNvSpPr>
          <p:nvPr>
            <p:ph type="body" sz="quarter" idx="26"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grpSp>
        <p:nvGrpSpPr>
          <p:cNvPr id="35" name="Gruppieren 34">
            <a:extLst>
              <a:ext uri="{FF2B5EF4-FFF2-40B4-BE49-F238E27FC236}">
                <a16:creationId xmlns:a16="http://schemas.microsoft.com/office/drawing/2014/main" id="{33DBA3B2-027A-8B4F-E7D8-F6E552F81BBB}"/>
              </a:ext>
              <a:ext uri="{C183D7F6-B498-43B3-948B-1728B52AA6E4}">
                <adec:decorative xmlns:adec="http://schemas.microsoft.com/office/drawing/2017/decorative" val="1"/>
              </a:ext>
            </a:extLst>
          </p:cNvPr>
          <p:cNvGrpSpPr/>
          <p:nvPr userDrawn="1"/>
        </p:nvGrpSpPr>
        <p:grpSpPr>
          <a:xfrm>
            <a:off x="-168768" y="-171392"/>
            <a:ext cx="12025408" cy="6264688"/>
            <a:chOff x="-168768" y="-171392"/>
            <a:chExt cx="12025408" cy="6264688"/>
          </a:xfrm>
        </p:grpSpPr>
        <p:cxnSp>
          <p:nvCxnSpPr>
            <p:cNvPr id="36" name="Gerader Verbinder 35">
              <a:extLst>
                <a:ext uri="{FF2B5EF4-FFF2-40B4-BE49-F238E27FC236}">
                  <a16:creationId xmlns:a16="http://schemas.microsoft.com/office/drawing/2014/main" id="{9B165887-BE7E-8C75-878A-315646055378}"/>
                </a:ext>
              </a:extLst>
            </p:cNvPr>
            <p:cNvCxnSpPr/>
            <p:nvPr userDrawn="1"/>
          </p:nvCxnSpPr>
          <p:spPr bwMode="gray">
            <a:xfrm>
              <a:off x="33536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7" name="Gerader Verbinder 36">
              <a:extLst>
                <a:ext uri="{FF2B5EF4-FFF2-40B4-BE49-F238E27FC236}">
                  <a16:creationId xmlns:a16="http://schemas.microsoft.com/office/drawing/2014/main" id="{A6AE8FFB-F541-DF2F-0D37-1D4AF2FDA5B7}"/>
                </a:ext>
              </a:extLst>
            </p:cNvPr>
            <p:cNvCxnSpPr/>
            <p:nvPr userDrawn="1"/>
          </p:nvCxnSpPr>
          <p:spPr bwMode="gray">
            <a:xfrm>
              <a:off x="436780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8" name="Gerader Verbinder 37">
              <a:extLst>
                <a:ext uri="{FF2B5EF4-FFF2-40B4-BE49-F238E27FC236}">
                  <a16:creationId xmlns:a16="http://schemas.microsoft.com/office/drawing/2014/main" id="{6710A66C-B07A-534C-C734-9EE5D4FC95E4}"/>
                </a:ext>
              </a:extLst>
            </p:cNvPr>
            <p:cNvCxnSpPr/>
            <p:nvPr userDrawn="1"/>
          </p:nvCxnSpPr>
          <p:spPr bwMode="gray">
            <a:xfrm>
              <a:off x="494387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6E89EABA-5218-10F5-2822-5931E57D6FC3}"/>
                </a:ext>
              </a:extLst>
            </p:cNvPr>
            <p:cNvCxnSpPr/>
            <p:nvPr userDrawn="1"/>
          </p:nvCxnSpPr>
          <p:spPr bwMode="gray">
            <a:xfrm>
              <a:off x="667206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0" name="Gerader Verbinder 39">
              <a:extLst>
                <a:ext uri="{FF2B5EF4-FFF2-40B4-BE49-F238E27FC236}">
                  <a16:creationId xmlns:a16="http://schemas.microsoft.com/office/drawing/2014/main" id="{CD335AB5-F5CE-B4DB-C17D-8D66EDB04F45}"/>
                </a:ext>
              </a:extLst>
            </p:cNvPr>
            <p:cNvCxnSpPr/>
            <p:nvPr userDrawn="1"/>
          </p:nvCxnSpPr>
          <p:spPr bwMode="gray">
            <a:xfrm>
              <a:off x="609600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1" name="Gerader Verbinder 40">
              <a:extLst>
                <a:ext uri="{FF2B5EF4-FFF2-40B4-BE49-F238E27FC236}">
                  <a16:creationId xmlns:a16="http://schemas.microsoft.com/office/drawing/2014/main" id="{C67352D5-26F2-B6BD-CC75-EF1A7EAF775A}"/>
                </a:ext>
              </a:extLst>
            </p:cNvPr>
            <p:cNvCxnSpPr/>
            <p:nvPr userDrawn="1"/>
          </p:nvCxnSpPr>
          <p:spPr bwMode="gray">
            <a:xfrm>
              <a:off x="724812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CC82F200-B789-3A78-7BD3-A5D086309B29}"/>
                </a:ext>
              </a:extLst>
            </p:cNvPr>
            <p:cNvCxnSpPr/>
            <p:nvPr userDrawn="1"/>
          </p:nvCxnSpPr>
          <p:spPr bwMode="gray">
            <a:xfrm>
              <a:off x="782419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5010EB30-4FF4-147F-2F88-7BC2EEFDE0B6}"/>
                </a:ext>
              </a:extLst>
            </p:cNvPr>
            <p:cNvCxnSpPr/>
            <p:nvPr userDrawn="1"/>
          </p:nvCxnSpPr>
          <p:spPr bwMode="gray">
            <a:xfrm>
              <a:off x="840025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DDA7930D-25F6-7D9A-5982-DBE7BA65058B}"/>
                </a:ext>
              </a:extLst>
            </p:cNvPr>
            <p:cNvCxnSpPr/>
            <p:nvPr userDrawn="1"/>
          </p:nvCxnSpPr>
          <p:spPr bwMode="gray">
            <a:xfrm>
              <a:off x="897632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45398A82-177E-33EE-5A85-44C7C8CF375F}"/>
                </a:ext>
              </a:extLst>
            </p:cNvPr>
            <p:cNvCxnSpPr/>
            <p:nvPr userDrawn="1"/>
          </p:nvCxnSpPr>
          <p:spPr bwMode="gray">
            <a:xfrm>
              <a:off x="1128057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36208CFE-8380-DE9E-189A-733C48CC5C24}"/>
                </a:ext>
              </a:extLst>
            </p:cNvPr>
            <p:cNvCxnSpPr/>
            <p:nvPr userDrawn="1"/>
          </p:nvCxnSpPr>
          <p:spPr bwMode="gray">
            <a:xfrm>
              <a:off x="1185664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7F6774CE-04E9-52DA-2E86-5482EFA8E0E9}"/>
                </a:ext>
              </a:extLst>
            </p:cNvPr>
            <p:cNvCxnSpPr>
              <a:cxnSpLocks/>
            </p:cNvCxnSpPr>
            <p:nvPr userDrawn="1"/>
          </p:nvCxnSpPr>
          <p:spPr bwMode="gray">
            <a:xfrm rot="5400000">
              <a:off x="-132688" y="29665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8" name="Gerader Verbinder 47">
              <a:extLst>
                <a:ext uri="{FF2B5EF4-FFF2-40B4-BE49-F238E27FC236}">
                  <a16:creationId xmlns:a16="http://schemas.microsoft.com/office/drawing/2014/main" id="{C0411B10-4457-ADC7-8D02-D8C8ABEC38BB}"/>
                </a:ext>
              </a:extLst>
            </p:cNvPr>
            <p:cNvCxnSpPr/>
            <p:nvPr userDrawn="1"/>
          </p:nvCxnSpPr>
          <p:spPr bwMode="gray">
            <a:xfrm>
              <a:off x="321568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9" name="Gerader Verbinder 48">
              <a:extLst>
                <a:ext uri="{FF2B5EF4-FFF2-40B4-BE49-F238E27FC236}">
                  <a16:creationId xmlns:a16="http://schemas.microsoft.com/office/drawing/2014/main" id="{6993C2B8-C5D3-FC0A-3675-A9B054353839}"/>
                </a:ext>
              </a:extLst>
            </p:cNvPr>
            <p:cNvCxnSpPr/>
            <p:nvPr userDrawn="1"/>
          </p:nvCxnSpPr>
          <p:spPr bwMode="gray">
            <a:xfrm>
              <a:off x="379174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E7F05387-D30D-B793-8063-E2D883A0BAB7}"/>
                </a:ext>
              </a:extLst>
            </p:cNvPr>
            <p:cNvCxnSpPr>
              <a:cxnSpLocks/>
            </p:cNvCxnSpPr>
            <p:nvPr userDrawn="1"/>
          </p:nvCxnSpPr>
          <p:spPr bwMode="gray">
            <a:xfrm rot="5400000">
              <a:off x="-132704" y="87272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91B29ED1-0D06-11E7-06EC-AFCAF0B68331}"/>
                </a:ext>
              </a:extLst>
            </p:cNvPr>
            <p:cNvCxnSpPr>
              <a:cxnSpLocks/>
            </p:cNvCxnSpPr>
            <p:nvPr userDrawn="1"/>
          </p:nvCxnSpPr>
          <p:spPr bwMode="gray">
            <a:xfrm rot="5400000">
              <a:off x="-132712" y="202484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2014E8F2-B9F3-D1C9-1A1B-96941A9F60A5}"/>
                </a:ext>
              </a:extLst>
            </p:cNvPr>
            <p:cNvCxnSpPr>
              <a:cxnSpLocks/>
            </p:cNvCxnSpPr>
            <p:nvPr userDrawn="1"/>
          </p:nvCxnSpPr>
          <p:spPr bwMode="gray">
            <a:xfrm rot="5400000">
              <a:off x="-132768" y="605729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D0E30AD7-D23E-4CAC-D666-0F794E2C8226}"/>
                </a:ext>
              </a:extLst>
            </p:cNvPr>
            <p:cNvCxnSpPr/>
            <p:nvPr/>
          </p:nvCxnSpPr>
          <p:spPr bwMode="gray">
            <a:xfrm>
              <a:off x="1070451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79C8B59E-6CB0-00C3-78D7-CBEF242DF58C}"/>
                </a:ext>
              </a:extLst>
            </p:cNvPr>
            <p:cNvCxnSpPr/>
            <p:nvPr/>
          </p:nvCxnSpPr>
          <p:spPr bwMode="gray">
            <a:xfrm>
              <a:off x="1012844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7316112F-5076-A000-6184-B3EB5F57ACB3}"/>
                </a:ext>
              </a:extLst>
            </p:cNvPr>
            <p:cNvCxnSpPr/>
            <p:nvPr/>
          </p:nvCxnSpPr>
          <p:spPr bwMode="gray">
            <a:xfrm>
              <a:off x="955059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45AEFB9E-E8E5-CF30-95EC-B2B1B55DC25D}"/>
                </a:ext>
              </a:extLst>
            </p:cNvPr>
            <p:cNvCxnSpPr/>
            <p:nvPr/>
          </p:nvCxnSpPr>
          <p:spPr bwMode="gray">
            <a:xfrm>
              <a:off x="551973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3079D5FC-C593-0D06-4653-572E026023AA}"/>
                </a:ext>
              </a:extLst>
            </p:cNvPr>
            <p:cNvCxnSpPr/>
            <p:nvPr/>
          </p:nvCxnSpPr>
          <p:spPr bwMode="gray">
            <a:xfrm>
              <a:off x="263961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960E3542-F1C4-6C46-F92C-68D5E0B5AC3F}"/>
                </a:ext>
              </a:extLst>
            </p:cNvPr>
            <p:cNvCxnSpPr/>
            <p:nvPr/>
          </p:nvCxnSpPr>
          <p:spPr bwMode="gray">
            <a:xfrm>
              <a:off x="206355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52048EB5-1445-DF44-F607-1C10FC29E4A6}"/>
                </a:ext>
              </a:extLst>
            </p:cNvPr>
            <p:cNvCxnSpPr/>
            <p:nvPr/>
          </p:nvCxnSpPr>
          <p:spPr bwMode="gray">
            <a:xfrm>
              <a:off x="148748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FC804D84-3B5C-8D80-97BA-50035E6045D9}"/>
                </a:ext>
              </a:extLst>
            </p:cNvPr>
            <p:cNvCxnSpPr/>
            <p:nvPr/>
          </p:nvCxnSpPr>
          <p:spPr bwMode="gray">
            <a:xfrm>
              <a:off x="91142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id="{A5292F03-60A5-3633-18E6-D6F4758B5277}"/>
                </a:ext>
              </a:extLst>
            </p:cNvPr>
            <p:cNvCxnSpPr>
              <a:cxnSpLocks/>
            </p:cNvCxnSpPr>
            <p:nvPr/>
          </p:nvCxnSpPr>
          <p:spPr bwMode="gray">
            <a:xfrm rot="5400000">
              <a:off x="-132704" y="144878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id="{4D3E44EC-DC88-6CC0-1C2D-4A0FA2BBB1F5}"/>
                </a:ext>
              </a:extLst>
            </p:cNvPr>
            <p:cNvCxnSpPr>
              <a:cxnSpLocks/>
            </p:cNvCxnSpPr>
            <p:nvPr/>
          </p:nvCxnSpPr>
          <p:spPr bwMode="gray">
            <a:xfrm rot="5400000">
              <a:off x="-132712" y="260091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3D2DA83C-DE4C-0A7C-C40F-FBFFA0AA32FD}"/>
                </a:ext>
              </a:extLst>
            </p:cNvPr>
            <p:cNvCxnSpPr>
              <a:cxnSpLocks/>
            </p:cNvCxnSpPr>
            <p:nvPr/>
          </p:nvCxnSpPr>
          <p:spPr bwMode="gray">
            <a:xfrm rot="5400000">
              <a:off x="-132712" y="317697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BF5B9F43-FD5F-C45D-D7A0-082D4359639F}"/>
                </a:ext>
              </a:extLst>
            </p:cNvPr>
            <p:cNvCxnSpPr>
              <a:cxnSpLocks/>
            </p:cNvCxnSpPr>
            <p:nvPr/>
          </p:nvCxnSpPr>
          <p:spPr bwMode="gray">
            <a:xfrm rot="5400000">
              <a:off x="-132712" y="375304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3" name="Gerader Verbinder 82">
              <a:extLst>
                <a:ext uri="{FF2B5EF4-FFF2-40B4-BE49-F238E27FC236}">
                  <a16:creationId xmlns:a16="http://schemas.microsoft.com/office/drawing/2014/main" id="{72C7C762-A8BE-C75C-0EB0-14D484F0CEAD}"/>
                </a:ext>
              </a:extLst>
            </p:cNvPr>
            <p:cNvCxnSpPr>
              <a:cxnSpLocks/>
            </p:cNvCxnSpPr>
            <p:nvPr/>
          </p:nvCxnSpPr>
          <p:spPr bwMode="gray">
            <a:xfrm rot="5400000">
              <a:off x="-132712" y="432910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C076A826-1D51-7F3A-CAC5-06373077E0C8}"/>
                </a:ext>
              </a:extLst>
            </p:cNvPr>
            <p:cNvCxnSpPr>
              <a:cxnSpLocks/>
            </p:cNvCxnSpPr>
            <p:nvPr/>
          </p:nvCxnSpPr>
          <p:spPr bwMode="gray">
            <a:xfrm rot="5400000">
              <a:off x="-132712" y="490516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5" name="Gerader Verbinder 84">
              <a:extLst>
                <a:ext uri="{FF2B5EF4-FFF2-40B4-BE49-F238E27FC236}">
                  <a16:creationId xmlns:a16="http://schemas.microsoft.com/office/drawing/2014/main" id="{4B90B68C-A8EA-D44D-5109-BA4C5F3536A4}"/>
                </a:ext>
              </a:extLst>
            </p:cNvPr>
            <p:cNvCxnSpPr>
              <a:cxnSpLocks/>
            </p:cNvCxnSpPr>
            <p:nvPr/>
          </p:nvCxnSpPr>
          <p:spPr bwMode="gray">
            <a:xfrm rot="5400000">
              <a:off x="-132712" y="548123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59882098"/>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One contac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453509A-BA01-3F1F-76DD-A97EA0C15EDC}"/>
              </a:ext>
            </a:extLst>
          </p:cNvPr>
          <p:cNvGraphicFramePr>
            <a:graphicFrameLocks noChangeAspect="1"/>
          </p:cNvGraphicFramePr>
          <p:nvPr userDrawn="1">
            <p:custDataLst>
              <p:tags r:id="rId1"/>
            </p:custDataLst>
            <p:extLst>
              <p:ext uri="{D42A27DB-BD31-4B8C-83A1-F6EECF244321}">
                <p14:modId xmlns:p14="http://schemas.microsoft.com/office/powerpoint/2010/main" val="1955011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3" name="Objekt 2" hidden="1">
                        <a:extLst>
                          <a:ext uri="{FF2B5EF4-FFF2-40B4-BE49-F238E27FC236}">
                            <a16:creationId xmlns:a16="http://schemas.microsoft.com/office/drawing/2014/main" id="{2453509A-BA01-3F1F-76DD-A97EA0C15E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a:extLst>
              <a:ext uri="{FF2B5EF4-FFF2-40B4-BE49-F238E27FC236}">
                <a16:creationId xmlns:a16="http://schemas.microsoft.com/office/drawing/2014/main" id="{ED4DEA22-86AB-4055-9D31-EB6A5698AB36}"/>
              </a:ext>
            </a:extLst>
          </p:cNvPr>
          <p:cNvSpPr>
            <a:spLocks noGrp="1"/>
          </p:cNvSpPr>
          <p:nvPr>
            <p:ph type="title" hasCustomPrompt="1"/>
          </p:nvPr>
        </p:nvSpPr>
        <p:spPr bwMode="gray"/>
        <p:txBody>
          <a:bodyPr vert="horz"/>
          <a:lstStyle>
            <a:lvl1pPr>
              <a:defRPr/>
            </a:lvl1pPr>
          </a:lstStyle>
          <a:p>
            <a:r>
              <a:rPr lang="en-GB"/>
              <a:t>Insert your headline in Lato Heavy 24 pt here</a:t>
            </a:r>
            <a:endParaRPr lang="en-GB" dirty="0"/>
          </a:p>
        </p:txBody>
      </p:sp>
      <p:sp>
        <p:nvSpPr>
          <p:cNvPr id="6" name="Shape">
            <a:extLst>
              <a:ext uri="{FF2B5EF4-FFF2-40B4-BE49-F238E27FC236}">
                <a16:creationId xmlns:a16="http://schemas.microsoft.com/office/drawing/2014/main" id="{9DA19E0A-630E-4703-A2E3-311F8429CEAF}"/>
              </a:ext>
              <a:ext uri="{C183D7F6-B498-43B3-948B-1728B52AA6E4}">
                <adec:decorative xmlns:adec="http://schemas.microsoft.com/office/drawing/2017/decorative" val="1"/>
              </a:ext>
            </a:extLst>
          </p:cNvPr>
          <p:cNvSpPr/>
          <p:nvPr userDrawn="1"/>
        </p:nvSpPr>
        <p:spPr bwMode="gray">
          <a:xfrm>
            <a:off x="335360" y="1485537"/>
            <a:ext cx="5184775" cy="20154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34" name="Picture Placeholder 3">
            <a:extLst>
              <a:ext uri="{FF2B5EF4-FFF2-40B4-BE49-F238E27FC236}">
                <a16:creationId xmlns:a16="http://schemas.microsoft.com/office/drawing/2014/main" id="{BD8E93B3-990F-934D-BD7B-A37DC1324EE3}"/>
              </a:ext>
            </a:extLst>
          </p:cNvPr>
          <p:cNvSpPr>
            <a:spLocks noGrp="1"/>
          </p:cNvSpPr>
          <p:nvPr>
            <p:ph type="pic" sz="quarter" idx="17" hasCustomPrompt="1"/>
          </p:nvPr>
        </p:nvSpPr>
        <p:spPr bwMode="gray">
          <a:xfrm>
            <a:off x="551335" y="1701537"/>
            <a:ext cx="1368000" cy="1584000"/>
          </a:xfrm>
          <a:prstGeom prst="rect">
            <a:avLst/>
          </a:prstGeom>
          <a:blipFill>
            <a:blip r:embed="rId5"/>
            <a:stretch>
              <a:fillRect/>
            </a:stretch>
          </a:blipFill>
        </p:spPr>
        <p:txBody>
          <a:bodyPr/>
          <a:lstStyle>
            <a:lvl1pPr marL="0" indent="0">
              <a:buNone/>
              <a:defRPr sz="1400"/>
            </a:lvl1pPr>
          </a:lstStyle>
          <a:p>
            <a:r>
              <a:rPr lang="en-GB"/>
              <a:t> </a:t>
            </a:r>
            <a:endParaRPr lang="en-GB" dirty="0"/>
          </a:p>
        </p:txBody>
      </p:sp>
      <p:sp>
        <p:nvSpPr>
          <p:cNvPr id="36" name="Text Placeholder 5">
            <a:extLst>
              <a:ext uri="{FF2B5EF4-FFF2-40B4-BE49-F238E27FC236}">
                <a16:creationId xmlns:a16="http://schemas.microsoft.com/office/drawing/2014/main" id="{BB3E6D75-1EC4-1B44-B491-E581CC62B05B}"/>
              </a:ext>
            </a:extLst>
          </p:cNvPr>
          <p:cNvSpPr>
            <a:spLocks noGrp="1"/>
          </p:cNvSpPr>
          <p:nvPr>
            <p:ph type="body" sz="quarter" idx="19" hasCustomPrompt="1"/>
          </p:nvPr>
        </p:nvSpPr>
        <p:spPr bwMode="gray">
          <a:xfrm>
            <a:off x="2207632" y="1701537"/>
            <a:ext cx="3023998" cy="216000"/>
          </a:xfrm>
          <a:prstGeom prst="rect">
            <a:avLst/>
          </a:prstGeom>
        </p:spPr>
        <p:txBody>
          <a:bodyPr lIns="0" tIns="0" rIns="0" bIns="0" anchor="t" anchorCtr="0"/>
          <a:lstStyle>
            <a:lvl1pPr marL="0" indent="0" algn="l">
              <a:lnSpc>
                <a:spcPct val="100000"/>
              </a:lnSpc>
              <a:spcBef>
                <a:spcPts val="0"/>
              </a:spcBef>
              <a:buFont typeface="Arial" panose="020B0604020202020204" pitchFamily="34" charset="0"/>
              <a:buNone/>
              <a:defRPr sz="900" b="0" cap="all" baseline="0">
                <a:solidFill>
                  <a:schemeClr val="bg1"/>
                </a:solidFill>
                <a:latin typeface="+mn-lt"/>
              </a:defRPr>
            </a:lvl1pPr>
            <a:lvl2pPr marL="0" indent="0">
              <a:lnSpc>
                <a:spcPct val="100000"/>
              </a:lnSpc>
              <a:spcBef>
                <a:spcPts val="0"/>
              </a:spcBef>
              <a:buFont typeface="Arial" panose="020B0604020202020204" pitchFamily="34" charset="0"/>
              <a:buNone/>
              <a:defRPr sz="900" b="0" cap="all" baseline="0">
                <a:solidFill>
                  <a:schemeClr val="bg1"/>
                </a:solidFill>
                <a:latin typeface="+mn-lt"/>
              </a:defRPr>
            </a:lvl2pPr>
            <a:lvl3pPr marL="0" indent="0">
              <a:lnSpc>
                <a:spcPct val="100000"/>
              </a:lnSpc>
              <a:spcBef>
                <a:spcPts val="0"/>
              </a:spcBef>
              <a:buFont typeface="Arial" panose="020B0604020202020204" pitchFamily="34" charset="0"/>
              <a:buNone/>
              <a:defRPr sz="900" b="0" cap="all" baseline="0">
                <a:solidFill>
                  <a:schemeClr val="bg1"/>
                </a:solidFill>
                <a:latin typeface="+mn-lt"/>
              </a:defRPr>
            </a:lvl3pPr>
            <a:lvl4pPr marL="0" indent="0">
              <a:lnSpc>
                <a:spcPct val="100000"/>
              </a:lnSpc>
              <a:spcBef>
                <a:spcPts val="0"/>
              </a:spcBef>
              <a:buFont typeface="Arial" panose="020B0604020202020204" pitchFamily="34" charset="0"/>
              <a:buNone/>
              <a:defRPr sz="900" b="0" cap="all" baseline="0">
                <a:solidFill>
                  <a:schemeClr val="bg1"/>
                </a:solidFill>
                <a:latin typeface="+mn-lt"/>
              </a:defRPr>
            </a:lvl4pPr>
            <a:lvl5pPr marL="0" indent="0">
              <a:lnSpc>
                <a:spcPct val="100000"/>
              </a:lnSpc>
              <a:spcBef>
                <a:spcPts val="0"/>
              </a:spcBef>
              <a:buFont typeface="Arial" panose="020B0604020202020204" pitchFamily="34" charset="0"/>
              <a:buNone/>
              <a:defRPr sz="900" b="0" cap="all" baseline="0">
                <a:solidFill>
                  <a:schemeClr val="bg1"/>
                </a:solidFill>
                <a:latin typeface="+mn-lt"/>
              </a:defRPr>
            </a:lvl5pPr>
            <a:lvl6pPr marL="0" indent="0">
              <a:spcBef>
                <a:spcPts val="0"/>
              </a:spcBef>
              <a:buNone/>
              <a:defRPr sz="900" b="0" cap="all" baseline="0">
                <a:solidFill>
                  <a:schemeClr val="bg1"/>
                </a:solidFill>
                <a:latin typeface="+mn-lt"/>
              </a:defRPr>
            </a:lvl6pPr>
            <a:lvl7pPr marL="0" indent="0">
              <a:spcBef>
                <a:spcPts val="0"/>
              </a:spcBef>
              <a:buNone/>
              <a:defRPr sz="900" b="0" cap="all" baseline="0">
                <a:solidFill>
                  <a:schemeClr val="bg1"/>
                </a:solidFill>
                <a:latin typeface="+mn-lt"/>
              </a:defRPr>
            </a:lvl7pPr>
            <a:lvl8pPr marL="0" indent="0">
              <a:spcBef>
                <a:spcPts val="0"/>
              </a:spcBef>
              <a:buNone/>
              <a:defRPr sz="900" b="0" cap="all" baseline="0">
                <a:solidFill>
                  <a:schemeClr val="bg1"/>
                </a:solidFill>
                <a:latin typeface="+mn-lt"/>
              </a:defRPr>
            </a:lvl8pPr>
            <a:lvl9pPr marL="0" indent="0">
              <a:spcBef>
                <a:spcPts val="0"/>
              </a:spcBef>
              <a:buNone/>
              <a:defRPr sz="900" b="0" cap="all" baseline="0">
                <a:solidFill>
                  <a:schemeClr val="bg1"/>
                </a:solidFill>
                <a:latin typeface="+mn-lt"/>
              </a:defRPr>
            </a:lvl9pPr>
          </a:lstStyle>
          <a:p>
            <a:pPr lvl="0"/>
            <a:r>
              <a:rPr lang="en-GB"/>
              <a:t>Country</a:t>
            </a:r>
            <a:endParaRPr lang="en-GB" dirty="0"/>
          </a:p>
        </p:txBody>
      </p:sp>
      <p:sp>
        <p:nvSpPr>
          <p:cNvPr id="37" name="Text Placeholder 5">
            <a:extLst>
              <a:ext uri="{FF2B5EF4-FFF2-40B4-BE49-F238E27FC236}">
                <a16:creationId xmlns:a16="http://schemas.microsoft.com/office/drawing/2014/main" id="{9C0EC6CE-70D2-D940-9547-3F776BCF5700}"/>
              </a:ext>
            </a:extLst>
          </p:cNvPr>
          <p:cNvSpPr>
            <a:spLocks noGrp="1"/>
          </p:cNvSpPr>
          <p:nvPr>
            <p:ph type="body" sz="quarter" idx="20" hasCustomPrompt="1"/>
          </p:nvPr>
        </p:nvSpPr>
        <p:spPr bwMode="gray">
          <a:xfrm>
            <a:off x="2207631" y="2060848"/>
            <a:ext cx="3023998"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baseline="0">
                <a:solidFill>
                  <a:schemeClr val="bg1"/>
                </a:solidFill>
                <a:latin typeface="+mj-lt"/>
              </a:defRPr>
            </a:lvl1pPr>
            <a:lvl2pPr marL="0" indent="0">
              <a:lnSpc>
                <a:spcPct val="100000"/>
              </a:lnSpc>
              <a:spcBef>
                <a:spcPts val="0"/>
              </a:spcBef>
              <a:buFont typeface="Arial" panose="020B0604020202020204" pitchFamily="34" charset="0"/>
              <a:buNone/>
              <a:defRPr sz="1100" b="0">
                <a:solidFill>
                  <a:schemeClr val="bg1"/>
                </a:solidFill>
                <a:latin typeface="+mj-lt"/>
              </a:defRPr>
            </a:lvl2pPr>
            <a:lvl3pPr marL="0" indent="0">
              <a:lnSpc>
                <a:spcPct val="100000"/>
              </a:lnSpc>
              <a:spcBef>
                <a:spcPts val="0"/>
              </a:spcBef>
              <a:buFont typeface="Arial" panose="020B0604020202020204" pitchFamily="34" charset="0"/>
              <a:buNone/>
              <a:defRPr sz="1100" b="0">
                <a:solidFill>
                  <a:schemeClr val="bg1"/>
                </a:solidFill>
                <a:latin typeface="+mj-lt"/>
              </a:defRPr>
            </a:lvl3pPr>
            <a:lvl4pPr marL="0" indent="0">
              <a:lnSpc>
                <a:spcPct val="100000"/>
              </a:lnSpc>
              <a:spcBef>
                <a:spcPts val="0"/>
              </a:spcBef>
              <a:buFont typeface="Arial" panose="020B0604020202020204" pitchFamily="34" charset="0"/>
              <a:buNone/>
              <a:defRPr sz="1100" b="0">
                <a:solidFill>
                  <a:schemeClr val="bg1"/>
                </a:solidFill>
                <a:latin typeface="+mj-lt"/>
              </a:defRPr>
            </a:lvl4pPr>
            <a:lvl5pPr marL="0" indent="0">
              <a:lnSpc>
                <a:spcPct val="100000"/>
              </a:lnSpc>
              <a:spcBef>
                <a:spcPts val="0"/>
              </a:spcBef>
              <a:buFont typeface="Arial" panose="020B0604020202020204" pitchFamily="34" charset="0"/>
              <a:buNone/>
              <a:defRPr sz="1100" b="0">
                <a:solidFill>
                  <a:schemeClr val="bg1"/>
                </a:solidFill>
                <a:latin typeface="+mj-lt"/>
              </a:defRPr>
            </a:lvl5pPr>
            <a:lvl6pPr marL="0" indent="0">
              <a:spcBef>
                <a:spcPts val="0"/>
              </a:spcBef>
              <a:buNone/>
              <a:defRPr sz="1100" b="0">
                <a:solidFill>
                  <a:schemeClr val="bg1"/>
                </a:solidFill>
                <a:latin typeface="+mj-lt"/>
              </a:defRPr>
            </a:lvl6pPr>
            <a:lvl7pPr marL="0" indent="0">
              <a:spcBef>
                <a:spcPts val="0"/>
              </a:spcBef>
              <a:buNone/>
              <a:defRPr sz="1100" b="0">
                <a:solidFill>
                  <a:schemeClr val="bg1"/>
                </a:solidFill>
                <a:latin typeface="+mj-lt"/>
              </a:defRPr>
            </a:lvl7pPr>
            <a:lvl8pPr marL="0" indent="0">
              <a:spcBef>
                <a:spcPts val="0"/>
              </a:spcBef>
              <a:buNone/>
              <a:defRPr sz="1100" b="0">
                <a:solidFill>
                  <a:schemeClr val="bg1"/>
                </a:solidFill>
                <a:latin typeface="+mj-lt"/>
              </a:defRPr>
            </a:lvl8pPr>
            <a:lvl9pPr marL="0" indent="0">
              <a:spcBef>
                <a:spcPts val="0"/>
              </a:spcBef>
              <a:buNone/>
              <a:defRPr sz="1100" b="0">
                <a:solidFill>
                  <a:schemeClr val="bg1"/>
                </a:solidFill>
                <a:latin typeface="+mj-lt"/>
              </a:defRPr>
            </a:lvl9pPr>
          </a:lstStyle>
          <a:p>
            <a:pPr lvl="0"/>
            <a:r>
              <a:rPr lang="en-GB" dirty="0"/>
              <a:t>Name Surname</a:t>
            </a:r>
          </a:p>
        </p:txBody>
      </p:sp>
      <p:sp>
        <p:nvSpPr>
          <p:cNvPr id="38" name="Text Placeholder 5">
            <a:extLst>
              <a:ext uri="{FF2B5EF4-FFF2-40B4-BE49-F238E27FC236}">
                <a16:creationId xmlns:a16="http://schemas.microsoft.com/office/drawing/2014/main" id="{D3260424-7049-BF4D-AA75-2D68FBC04DDB}"/>
              </a:ext>
            </a:extLst>
          </p:cNvPr>
          <p:cNvSpPr>
            <a:spLocks noGrp="1"/>
          </p:cNvSpPr>
          <p:nvPr>
            <p:ph type="body" sz="quarter" idx="21" hasCustomPrompt="1"/>
          </p:nvPr>
        </p:nvSpPr>
        <p:spPr bwMode="gray">
          <a:xfrm>
            <a:off x="2207631" y="2277537"/>
            <a:ext cx="3023998" cy="216000"/>
          </a:xfrm>
          <a:prstGeom prst="rect">
            <a:avLst/>
          </a:prstGeom>
        </p:spPr>
        <p:txBody>
          <a:bodyPr lIns="0" tIns="36000" rIns="0" bIns="0" anchor="t"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a:t>Job Position</a:t>
            </a:r>
            <a:endParaRPr lang="en-GB" dirty="0"/>
          </a:p>
        </p:txBody>
      </p:sp>
      <p:sp>
        <p:nvSpPr>
          <p:cNvPr id="39" name="Text Placeholder 5">
            <a:extLst>
              <a:ext uri="{FF2B5EF4-FFF2-40B4-BE49-F238E27FC236}">
                <a16:creationId xmlns:a16="http://schemas.microsoft.com/office/drawing/2014/main" id="{F3664B3A-842D-8146-B7A8-6EE203E60501}"/>
              </a:ext>
            </a:extLst>
          </p:cNvPr>
          <p:cNvSpPr>
            <a:spLocks noGrp="1"/>
          </p:cNvSpPr>
          <p:nvPr>
            <p:ph type="body" sz="quarter" idx="22" hasCustomPrompt="1"/>
          </p:nvPr>
        </p:nvSpPr>
        <p:spPr bwMode="gray">
          <a:xfrm>
            <a:off x="2207631" y="2853537"/>
            <a:ext cx="3024000"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a:t>Phone number</a:t>
            </a:r>
            <a:endParaRPr lang="en-GB" dirty="0"/>
          </a:p>
        </p:txBody>
      </p:sp>
      <p:sp>
        <p:nvSpPr>
          <p:cNvPr id="40" name="Text Placeholder 5">
            <a:extLst>
              <a:ext uri="{FF2B5EF4-FFF2-40B4-BE49-F238E27FC236}">
                <a16:creationId xmlns:a16="http://schemas.microsoft.com/office/drawing/2014/main" id="{B42C9151-00E7-8F44-BDA2-330D9B9791AE}"/>
              </a:ext>
            </a:extLst>
          </p:cNvPr>
          <p:cNvSpPr>
            <a:spLocks noGrp="1"/>
          </p:cNvSpPr>
          <p:nvPr>
            <p:ph type="body" sz="quarter" idx="23" hasCustomPrompt="1"/>
          </p:nvPr>
        </p:nvSpPr>
        <p:spPr bwMode="gray">
          <a:xfrm>
            <a:off x="2207631" y="3069537"/>
            <a:ext cx="3024000"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i="1" baseline="0">
                <a:solidFill>
                  <a:schemeClr val="bg1"/>
                </a:solidFill>
                <a:latin typeface="+mn-lt"/>
              </a:defRPr>
            </a:lvl1pPr>
            <a:lvl2pPr marL="0" indent="0">
              <a:lnSpc>
                <a:spcPct val="100000"/>
              </a:lnSpc>
              <a:spcBef>
                <a:spcPts val="0"/>
              </a:spcBef>
              <a:buFont typeface="Arial" panose="020B0604020202020204" pitchFamily="34" charset="0"/>
              <a:buNone/>
              <a:defRPr sz="1100" i="1">
                <a:solidFill>
                  <a:schemeClr val="bg1"/>
                </a:solidFill>
                <a:latin typeface="+mn-lt"/>
              </a:defRPr>
            </a:lvl2pPr>
            <a:lvl3pPr marL="0" indent="0">
              <a:lnSpc>
                <a:spcPct val="100000"/>
              </a:lnSpc>
              <a:spcBef>
                <a:spcPts val="0"/>
              </a:spcBef>
              <a:buFont typeface="Arial" panose="020B0604020202020204" pitchFamily="34" charset="0"/>
              <a:buNone/>
              <a:defRPr sz="1100" i="1">
                <a:solidFill>
                  <a:schemeClr val="bg1"/>
                </a:solidFill>
                <a:latin typeface="+mn-lt"/>
              </a:defRPr>
            </a:lvl3pPr>
            <a:lvl4pPr marL="0" indent="0">
              <a:lnSpc>
                <a:spcPct val="100000"/>
              </a:lnSpc>
              <a:spcBef>
                <a:spcPts val="0"/>
              </a:spcBef>
              <a:buFont typeface="Arial" panose="020B0604020202020204" pitchFamily="34" charset="0"/>
              <a:buNone/>
              <a:defRPr sz="110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i="1">
                <a:solidFill>
                  <a:schemeClr val="bg1"/>
                </a:solidFill>
                <a:latin typeface="+mn-lt"/>
              </a:defRPr>
            </a:lvl6pPr>
            <a:lvl7pPr marL="0" indent="0">
              <a:spcBef>
                <a:spcPts val="0"/>
              </a:spcBef>
              <a:buNone/>
              <a:defRPr sz="1100" i="1">
                <a:solidFill>
                  <a:schemeClr val="bg1"/>
                </a:solidFill>
                <a:latin typeface="+mn-lt"/>
              </a:defRPr>
            </a:lvl7pPr>
            <a:lvl8pPr marL="0" indent="0">
              <a:spcBef>
                <a:spcPts val="0"/>
              </a:spcBef>
              <a:buNone/>
              <a:defRPr sz="1100" i="1">
                <a:solidFill>
                  <a:schemeClr val="bg1"/>
                </a:solidFill>
                <a:latin typeface="+mn-lt"/>
              </a:defRPr>
            </a:lvl8pPr>
            <a:lvl9pPr marL="0" indent="0">
              <a:spcBef>
                <a:spcPts val="0"/>
              </a:spcBef>
              <a:buNone/>
              <a:defRPr sz="1100" i="1">
                <a:solidFill>
                  <a:schemeClr val="bg1"/>
                </a:solidFill>
                <a:latin typeface="+mn-lt"/>
              </a:defRPr>
            </a:lvl9pPr>
          </a:lstStyle>
          <a:p>
            <a:pPr lvl="0"/>
            <a:r>
              <a:rPr lang="en-GB"/>
              <a:t>Email address</a:t>
            </a:r>
            <a:endParaRPr lang="en-GB" dirty="0"/>
          </a:p>
        </p:txBody>
      </p:sp>
      <p:sp>
        <p:nvSpPr>
          <p:cNvPr id="35" name="Text Placeholder 34"/>
          <p:cNvSpPr>
            <a:spLocks noGrp="1"/>
          </p:cNvSpPr>
          <p:nvPr>
            <p:ph type="body" sz="quarter" idx="24" hasCustomPrompt="1"/>
          </p:nvPr>
        </p:nvSpPr>
        <p:spPr bwMode="gray">
          <a:xfrm>
            <a:off x="6096000" y="1484313"/>
            <a:ext cx="5184576" cy="4608512"/>
          </a:xfrm>
          <a:prstGeom prst="rect">
            <a:avLst/>
          </a:prstGeom>
        </p:spPr>
        <p:txBody>
          <a:bodyPr/>
          <a:lstStyle>
            <a:lvl1pPr>
              <a:defRPr sz="1600" baseline="0"/>
            </a:lvl1pPr>
            <a:lvl2pPr>
              <a:defRPr sz="1600"/>
            </a:lvl2pPr>
            <a:lvl3pPr>
              <a:defRPr sz="1600"/>
            </a:lvl3pPr>
            <a:lvl4pPr>
              <a:defRPr sz="1600"/>
            </a:lvl4pPr>
            <a:lvl5pPr>
              <a:defRPr sz="1200"/>
            </a:lvl5pPr>
          </a:lstStyle>
          <a:p>
            <a:pPr lvl="0"/>
            <a:r>
              <a:rPr lang="en-GB" dirty="0"/>
              <a:t>Additional information (if need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Datumsplatzhalter 7">
            <a:extLst>
              <a:ext uri="{FF2B5EF4-FFF2-40B4-BE49-F238E27FC236}">
                <a16:creationId xmlns:a16="http://schemas.microsoft.com/office/drawing/2014/main" id="{E003BD7A-F01A-06D5-1347-142D6718027A}"/>
              </a:ext>
            </a:extLst>
          </p:cNvPr>
          <p:cNvSpPr>
            <a:spLocks noGrp="1"/>
          </p:cNvSpPr>
          <p:nvPr>
            <p:ph type="dt" sz="half" idx="25"/>
          </p:nvPr>
        </p:nvSpPr>
        <p:spPr/>
        <p:txBody>
          <a:bodyPr/>
          <a:lstStyle/>
          <a:p>
            <a:r>
              <a:rPr lang="en-US"/>
              <a:t>7/26/2022</a:t>
            </a:r>
            <a:endParaRPr lang="en-GB" dirty="0"/>
          </a:p>
        </p:txBody>
      </p:sp>
      <p:sp>
        <p:nvSpPr>
          <p:cNvPr id="9" name="Fußzeilenplatzhalter 8">
            <a:extLst>
              <a:ext uri="{FF2B5EF4-FFF2-40B4-BE49-F238E27FC236}">
                <a16:creationId xmlns:a16="http://schemas.microsoft.com/office/drawing/2014/main" id="{BD21CEA3-6DCB-39EF-785E-B6D8351B516B}"/>
              </a:ext>
            </a:extLst>
          </p:cNvPr>
          <p:cNvSpPr>
            <a:spLocks noGrp="1"/>
          </p:cNvSpPr>
          <p:nvPr>
            <p:ph type="ftr" sz="quarter" idx="26"/>
          </p:nvPr>
        </p:nvSpPr>
        <p:spPr/>
        <p:txBody>
          <a:bodyPr/>
          <a:lstStyle/>
          <a:p>
            <a:r>
              <a:rPr lang="de-DE"/>
              <a:t>Der Konsument nach Corona und Consumer Voice</a:t>
            </a:r>
            <a:endParaRPr lang="de-DE" dirty="0"/>
          </a:p>
        </p:txBody>
      </p:sp>
      <p:sp>
        <p:nvSpPr>
          <p:cNvPr id="10" name="Foliennummernplatzhalter 9">
            <a:extLst>
              <a:ext uri="{FF2B5EF4-FFF2-40B4-BE49-F238E27FC236}">
                <a16:creationId xmlns:a16="http://schemas.microsoft.com/office/drawing/2014/main" id="{C8F70AC2-5CCA-5E12-AE3F-E9AB5AAE0ABC}"/>
              </a:ext>
            </a:extLst>
          </p:cNvPr>
          <p:cNvSpPr>
            <a:spLocks noGrp="1"/>
          </p:cNvSpPr>
          <p:nvPr>
            <p:ph type="sldNum" sz="quarter" idx="27"/>
          </p:nvPr>
        </p:nvSpPr>
        <p:spPr/>
        <p:txBody>
          <a:bodyPr/>
          <a:lstStyle/>
          <a:p>
            <a:fld id="{CAEA825B-D749-4F0A-886E-8D45A39EAF2A}" type="slidenum">
              <a:rPr lang="de-DE" smtClean="0"/>
              <a:pPr/>
              <a:t>‹Nº›</a:t>
            </a:fld>
            <a:endParaRPr lang="de-DE"/>
          </a:p>
        </p:txBody>
      </p:sp>
      <p:sp>
        <p:nvSpPr>
          <p:cNvPr id="15" name="Subtitle">
            <a:extLst>
              <a:ext uri="{FF2B5EF4-FFF2-40B4-BE49-F238E27FC236}">
                <a16:creationId xmlns:a16="http://schemas.microsoft.com/office/drawing/2014/main" id="{0BFDA517-75E5-B2F6-DAB1-0789ABE60D16}"/>
              </a:ext>
            </a:extLst>
          </p:cNvPr>
          <p:cNvSpPr>
            <a:spLocks noGrp="1"/>
          </p:cNvSpPr>
          <p:nvPr>
            <p:ph type="subTitle" idx="13" hasCustomPrompt="1"/>
          </p:nvPr>
        </p:nvSpPr>
        <p:spPr bwMode="gray">
          <a:xfrm>
            <a:off x="335360" y="659362"/>
            <a:ext cx="8640959" cy="360040"/>
          </a:xfrm>
          <a:prstGeom prst="rect">
            <a:avLst/>
          </a:prstGeom>
        </p:spPr>
        <p:txBody>
          <a:bodyPr wrap="none" tIns="0"/>
          <a:lstStyle>
            <a:lvl1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1pPr>
            <a:lvl2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2pPr>
            <a:lvl3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3pPr>
            <a:lvl4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4pPr>
            <a:lvl5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5pPr>
            <a:lvl6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6pPr>
            <a:lvl7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7pPr>
            <a:lvl8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8pPr>
            <a:lvl9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9pPr>
          </a:lstStyle>
          <a:p>
            <a:r>
              <a:rPr lang="en-GB" dirty="0"/>
              <a:t>Insert your sub-headline in </a:t>
            </a:r>
            <a:r>
              <a:rPr lang="en-GB" dirty="0" err="1"/>
              <a:t>Lato</a:t>
            </a:r>
            <a:r>
              <a:rPr lang="en-GB" dirty="0"/>
              <a:t> light 20 </a:t>
            </a:r>
            <a:r>
              <a:rPr lang="en-GB" dirty="0" err="1"/>
              <a:t>pt</a:t>
            </a:r>
            <a:r>
              <a:rPr lang="en-GB" dirty="0"/>
              <a:t> here</a:t>
            </a:r>
          </a:p>
        </p:txBody>
      </p:sp>
      <p:grpSp>
        <p:nvGrpSpPr>
          <p:cNvPr id="33" name="Gruppieren 32">
            <a:extLst>
              <a:ext uri="{FF2B5EF4-FFF2-40B4-BE49-F238E27FC236}">
                <a16:creationId xmlns:a16="http://schemas.microsoft.com/office/drawing/2014/main" id="{D471A336-E78E-212B-11DB-66B6C6969125}"/>
              </a:ext>
              <a:ext uri="{C183D7F6-B498-43B3-948B-1728B52AA6E4}">
                <adec:decorative xmlns:adec="http://schemas.microsoft.com/office/drawing/2017/decorative" val="1"/>
              </a:ext>
            </a:extLst>
          </p:cNvPr>
          <p:cNvGrpSpPr/>
          <p:nvPr userDrawn="1"/>
        </p:nvGrpSpPr>
        <p:grpSpPr>
          <a:xfrm>
            <a:off x="-168768" y="-171392"/>
            <a:ext cx="12025408" cy="6264688"/>
            <a:chOff x="-168768" y="-171392"/>
            <a:chExt cx="12025408" cy="6264688"/>
          </a:xfrm>
        </p:grpSpPr>
        <p:cxnSp>
          <p:nvCxnSpPr>
            <p:cNvPr id="41" name="Gerader Verbinder 40">
              <a:extLst>
                <a:ext uri="{FF2B5EF4-FFF2-40B4-BE49-F238E27FC236}">
                  <a16:creationId xmlns:a16="http://schemas.microsoft.com/office/drawing/2014/main" id="{614AA37C-058C-D8C1-FAC4-3578BB6E6146}"/>
                </a:ext>
              </a:extLst>
            </p:cNvPr>
            <p:cNvCxnSpPr/>
            <p:nvPr userDrawn="1"/>
          </p:nvCxnSpPr>
          <p:spPr bwMode="gray">
            <a:xfrm>
              <a:off x="33536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7C777EDE-9DAA-6FBD-8EE5-03529F09B9EA}"/>
                </a:ext>
              </a:extLst>
            </p:cNvPr>
            <p:cNvCxnSpPr/>
            <p:nvPr userDrawn="1"/>
          </p:nvCxnSpPr>
          <p:spPr bwMode="gray">
            <a:xfrm>
              <a:off x="436780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BBB69102-39E3-F6F2-7E1A-17ED9D1931F7}"/>
                </a:ext>
              </a:extLst>
            </p:cNvPr>
            <p:cNvCxnSpPr/>
            <p:nvPr userDrawn="1"/>
          </p:nvCxnSpPr>
          <p:spPr bwMode="gray">
            <a:xfrm>
              <a:off x="494387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97222382-B0AE-7B98-FE0E-AB5EED352E8C}"/>
                </a:ext>
              </a:extLst>
            </p:cNvPr>
            <p:cNvCxnSpPr/>
            <p:nvPr userDrawn="1"/>
          </p:nvCxnSpPr>
          <p:spPr bwMode="gray">
            <a:xfrm>
              <a:off x="667206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3A791548-9C94-179E-E0DB-98BA87A66926}"/>
                </a:ext>
              </a:extLst>
            </p:cNvPr>
            <p:cNvCxnSpPr/>
            <p:nvPr userDrawn="1"/>
          </p:nvCxnSpPr>
          <p:spPr bwMode="gray">
            <a:xfrm>
              <a:off x="609600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6B2097C2-6B96-FA99-2DBE-97C8525F8CDA}"/>
                </a:ext>
              </a:extLst>
            </p:cNvPr>
            <p:cNvCxnSpPr/>
            <p:nvPr userDrawn="1"/>
          </p:nvCxnSpPr>
          <p:spPr bwMode="gray">
            <a:xfrm>
              <a:off x="724812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F83C5958-6DE3-C846-17E5-591C616466CA}"/>
                </a:ext>
              </a:extLst>
            </p:cNvPr>
            <p:cNvCxnSpPr/>
            <p:nvPr userDrawn="1"/>
          </p:nvCxnSpPr>
          <p:spPr bwMode="gray">
            <a:xfrm>
              <a:off x="782419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8" name="Gerader Verbinder 47">
              <a:extLst>
                <a:ext uri="{FF2B5EF4-FFF2-40B4-BE49-F238E27FC236}">
                  <a16:creationId xmlns:a16="http://schemas.microsoft.com/office/drawing/2014/main" id="{4B5F3795-A7E6-A396-B330-9CF9231F68C1}"/>
                </a:ext>
              </a:extLst>
            </p:cNvPr>
            <p:cNvCxnSpPr/>
            <p:nvPr userDrawn="1"/>
          </p:nvCxnSpPr>
          <p:spPr bwMode="gray">
            <a:xfrm>
              <a:off x="840025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9" name="Gerader Verbinder 48">
              <a:extLst>
                <a:ext uri="{FF2B5EF4-FFF2-40B4-BE49-F238E27FC236}">
                  <a16:creationId xmlns:a16="http://schemas.microsoft.com/office/drawing/2014/main" id="{FA3167DB-FCA9-1157-EA8C-9AABB52FD83C}"/>
                </a:ext>
              </a:extLst>
            </p:cNvPr>
            <p:cNvCxnSpPr/>
            <p:nvPr userDrawn="1"/>
          </p:nvCxnSpPr>
          <p:spPr bwMode="gray">
            <a:xfrm>
              <a:off x="897632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8AE3CBFF-A992-82F6-5756-2978F2E0E0E5}"/>
                </a:ext>
              </a:extLst>
            </p:cNvPr>
            <p:cNvCxnSpPr/>
            <p:nvPr userDrawn="1"/>
          </p:nvCxnSpPr>
          <p:spPr bwMode="gray">
            <a:xfrm>
              <a:off x="1128057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4130D2C9-C787-6CB7-6601-3C5B43012295}"/>
                </a:ext>
              </a:extLst>
            </p:cNvPr>
            <p:cNvCxnSpPr/>
            <p:nvPr userDrawn="1"/>
          </p:nvCxnSpPr>
          <p:spPr bwMode="gray">
            <a:xfrm>
              <a:off x="1185664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B91FD76D-2DA8-0BEE-2C31-6701388B4322}"/>
                </a:ext>
              </a:extLst>
            </p:cNvPr>
            <p:cNvCxnSpPr>
              <a:cxnSpLocks/>
            </p:cNvCxnSpPr>
            <p:nvPr userDrawn="1"/>
          </p:nvCxnSpPr>
          <p:spPr bwMode="gray">
            <a:xfrm rot="5400000">
              <a:off x="-132688" y="29665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81CB9413-3AD6-BADD-FFCE-AFA50B56A366}"/>
                </a:ext>
              </a:extLst>
            </p:cNvPr>
            <p:cNvCxnSpPr/>
            <p:nvPr userDrawn="1"/>
          </p:nvCxnSpPr>
          <p:spPr bwMode="gray">
            <a:xfrm>
              <a:off x="321568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A6D1D4E1-D217-12DB-15FD-AEC5277E80E1}"/>
                </a:ext>
              </a:extLst>
            </p:cNvPr>
            <p:cNvCxnSpPr/>
            <p:nvPr userDrawn="1"/>
          </p:nvCxnSpPr>
          <p:spPr bwMode="gray">
            <a:xfrm>
              <a:off x="379174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65F5C977-A5F0-AD9D-7C45-012F66A7C090}"/>
                </a:ext>
              </a:extLst>
            </p:cNvPr>
            <p:cNvCxnSpPr>
              <a:cxnSpLocks/>
            </p:cNvCxnSpPr>
            <p:nvPr userDrawn="1"/>
          </p:nvCxnSpPr>
          <p:spPr bwMode="gray">
            <a:xfrm rot="5400000">
              <a:off x="-132704" y="87272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F6FAF055-CE3A-AECE-96E1-1074327C5F50}"/>
                </a:ext>
              </a:extLst>
            </p:cNvPr>
            <p:cNvCxnSpPr>
              <a:cxnSpLocks/>
            </p:cNvCxnSpPr>
            <p:nvPr userDrawn="1"/>
          </p:nvCxnSpPr>
          <p:spPr bwMode="gray">
            <a:xfrm rot="5400000">
              <a:off x="-132712" y="202484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6DB07415-13D3-620C-DCE1-E5B0BB7D4990}"/>
                </a:ext>
              </a:extLst>
            </p:cNvPr>
            <p:cNvCxnSpPr>
              <a:cxnSpLocks/>
            </p:cNvCxnSpPr>
            <p:nvPr userDrawn="1"/>
          </p:nvCxnSpPr>
          <p:spPr bwMode="gray">
            <a:xfrm rot="5400000">
              <a:off x="-132768" y="605729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17AB6F6D-E354-1308-F69A-F9E6B6593863}"/>
                </a:ext>
              </a:extLst>
            </p:cNvPr>
            <p:cNvCxnSpPr/>
            <p:nvPr/>
          </p:nvCxnSpPr>
          <p:spPr bwMode="gray">
            <a:xfrm>
              <a:off x="1070451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249D62AA-0A19-BFD3-D192-A521BB017667}"/>
                </a:ext>
              </a:extLst>
            </p:cNvPr>
            <p:cNvCxnSpPr/>
            <p:nvPr/>
          </p:nvCxnSpPr>
          <p:spPr bwMode="gray">
            <a:xfrm>
              <a:off x="1012844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29A66BF4-1DC1-7B93-4F5A-2665C980CD34}"/>
                </a:ext>
              </a:extLst>
            </p:cNvPr>
            <p:cNvCxnSpPr/>
            <p:nvPr/>
          </p:nvCxnSpPr>
          <p:spPr bwMode="gray">
            <a:xfrm>
              <a:off x="955059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id="{6AE0F9F6-69B5-7CA0-3769-59366F124202}"/>
                </a:ext>
              </a:extLst>
            </p:cNvPr>
            <p:cNvCxnSpPr/>
            <p:nvPr/>
          </p:nvCxnSpPr>
          <p:spPr bwMode="gray">
            <a:xfrm>
              <a:off x="551973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id="{29C52264-647E-491D-E96E-512712512056}"/>
                </a:ext>
              </a:extLst>
            </p:cNvPr>
            <p:cNvCxnSpPr/>
            <p:nvPr/>
          </p:nvCxnSpPr>
          <p:spPr bwMode="gray">
            <a:xfrm>
              <a:off x="263961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6619F630-0836-D6D3-0058-564120FFA883}"/>
                </a:ext>
              </a:extLst>
            </p:cNvPr>
            <p:cNvCxnSpPr/>
            <p:nvPr/>
          </p:nvCxnSpPr>
          <p:spPr bwMode="gray">
            <a:xfrm>
              <a:off x="206355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B2BD9DCE-906B-E91C-0DC8-85B7BBF5F31D}"/>
                </a:ext>
              </a:extLst>
            </p:cNvPr>
            <p:cNvCxnSpPr/>
            <p:nvPr/>
          </p:nvCxnSpPr>
          <p:spPr bwMode="gray">
            <a:xfrm>
              <a:off x="148748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3" name="Gerader Verbinder 82">
              <a:extLst>
                <a:ext uri="{FF2B5EF4-FFF2-40B4-BE49-F238E27FC236}">
                  <a16:creationId xmlns:a16="http://schemas.microsoft.com/office/drawing/2014/main" id="{C5F906B0-4EB3-05AA-16C1-D9306595B522}"/>
                </a:ext>
              </a:extLst>
            </p:cNvPr>
            <p:cNvCxnSpPr/>
            <p:nvPr/>
          </p:nvCxnSpPr>
          <p:spPr bwMode="gray">
            <a:xfrm>
              <a:off x="91142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3A372DE1-7026-DFCE-06AC-C6EB3B562CF0}"/>
                </a:ext>
              </a:extLst>
            </p:cNvPr>
            <p:cNvCxnSpPr>
              <a:cxnSpLocks/>
            </p:cNvCxnSpPr>
            <p:nvPr/>
          </p:nvCxnSpPr>
          <p:spPr bwMode="gray">
            <a:xfrm rot="5400000">
              <a:off x="-132704" y="144878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5" name="Gerader Verbinder 84">
              <a:extLst>
                <a:ext uri="{FF2B5EF4-FFF2-40B4-BE49-F238E27FC236}">
                  <a16:creationId xmlns:a16="http://schemas.microsoft.com/office/drawing/2014/main" id="{EA07537A-B615-F10B-7B03-61B5D4DD7DEB}"/>
                </a:ext>
              </a:extLst>
            </p:cNvPr>
            <p:cNvCxnSpPr>
              <a:cxnSpLocks/>
            </p:cNvCxnSpPr>
            <p:nvPr/>
          </p:nvCxnSpPr>
          <p:spPr bwMode="gray">
            <a:xfrm rot="5400000">
              <a:off x="-132712" y="260091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6" name="Gerader Verbinder 85">
              <a:extLst>
                <a:ext uri="{FF2B5EF4-FFF2-40B4-BE49-F238E27FC236}">
                  <a16:creationId xmlns:a16="http://schemas.microsoft.com/office/drawing/2014/main" id="{2EEEE6A8-C2E3-6E60-C7DE-66758AA1CBAF}"/>
                </a:ext>
              </a:extLst>
            </p:cNvPr>
            <p:cNvCxnSpPr>
              <a:cxnSpLocks/>
            </p:cNvCxnSpPr>
            <p:nvPr/>
          </p:nvCxnSpPr>
          <p:spPr bwMode="gray">
            <a:xfrm rot="5400000">
              <a:off x="-132712" y="317697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3C592C6B-FF47-4240-CF42-615E6E95A10B}"/>
                </a:ext>
              </a:extLst>
            </p:cNvPr>
            <p:cNvCxnSpPr>
              <a:cxnSpLocks/>
            </p:cNvCxnSpPr>
            <p:nvPr/>
          </p:nvCxnSpPr>
          <p:spPr bwMode="gray">
            <a:xfrm rot="5400000">
              <a:off x="-132712" y="375304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8" name="Gerader Verbinder 87">
              <a:extLst>
                <a:ext uri="{FF2B5EF4-FFF2-40B4-BE49-F238E27FC236}">
                  <a16:creationId xmlns:a16="http://schemas.microsoft.com/office/drawing/2014/main" id="{32C23859-3170-3C61-1D60-D6865E266654}"/>
                </a:ext>
              </a:extLst>
            </p:cNvPr>
            <p:cNvCxnSpPr>
              <a:cxnSpLocks/>
            </p:cNvCxnSpPr>
            <p:nvPr/>
          </p:nvCxnSpPr>
          <p:spPr bwMode="gray">
            <a:xfrm rot="5400000">
              <a:off x="-132712" y="432910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9" name="Gerader Verbinder 88">
              <a:extLst>
                <a:ext uri="{FF2B5EF4-FFF2-40B4-BE49-F238E27FC236}">
                  <a16:creationId xmlns:a16="http://schemas.microsoft.com/office/drawing/2014/main" id="{8DFAC45E-46A2-2596-F3FC-F801F4E9C3BA}"/>
                </a:ext>
              </a:extLst>
            </p:cNvPr>
            <p:cNvCxnSpPr>
              <a:cxnSpLocks/>
            </p:cNvCxnSpPr>
            <p:nvPr/>
          </p:nvCxnSpPr>
          <p:spPr bwMode="gray">
            <a:xfrm rot="5400000">
              <a:off x="-132712" y="490516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90" name="Gerader Verbinder 89">
              <a:extLst>
                <a:ext uri="{FF2B5EF4-FFF2-40B4-BE49-F238E27FC236}">
                  <a16:creationId xmlns:a16="http://schemas.microsoft.com/office/drawing/2014/main" id="{83BE0038-749F-F5EF-C7EA-87AB3FF1C85C}"/>
                </a:ext>
              </a:extLst>
            </p:cNvPr>
            <p:cNvCxnSpPr>
              <a:cxnSpLocks/>
            </p:cNvCxnSpPr>
            <p:nvPr/>
          </p:nvCxnSpPr>
          <p:spPr bwMode="gray">
            <a:xfrm rot="5400000">
              <a:off x="-132712" y="548123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56844309"/>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ntact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8F05397D-3687-D9A7-1C30-D93F5F96640A}"/>
              </a:ext>
            </a:extLst>
          </p:cNvPr>
          <p:cNvGraphicFramePr>
            <a:graphicFrameLocks noChangeAspect="1"/>
          </p:cNvGraphicFramePr>
          <p:nvPr userDrawn="1">
            <p:custDataLst>
              <p:tags r:id="rId1"/>
            </p:custDataLst>
            <p:extLst>
              <p:ext uri="{D42A27DB-BD31-4B8C-83A1-F6EECF244321}">
                <p14:modId xmlns:p14="http://schemas.microsoft.com/office/powerpoint/2010/main" val="836209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3" name="Objekt 2" hidden="1">
                        <a:extLst>
                          <a:ext uri="{FF2B5EF4-FFF2-40B4-BE49-F238E27FC236}">
                            <a16:creationId xmlns:a16="http://schemas.microsoft.com/office/drawing/2014/main" id="{8F05397D-3687-D9A7-1C30-D93F5F9664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9" name="Shape">
            <a:extLst>
              <a:ext uri="{FF2B5EF4-FFF2-40B4-BE49-F238E27FC236}">
                <a16:creationId xmlns:a16="http://schemas.microsoft.com/office/drawing/2014/main" id="{A308B59F-C74A-41A0-8B1E-7A5EFCC4D0EB}"/>
              </a:ext>
              <a:ext uri="{C183D7F6-B498-43B3-948B-1728B52AA6E4}">
                <adec:decorative xmlns:adec="http://schemas.microsoft.com/office/drawing/2017/decorative" val="1"/>
              </a:ext>
            </a:extLst>
          </p:cNvPr>
          <p:cNvSpPr/>
          <p:nvPr userDrawn="1"/>
        </p:nvSpPr>
        <p:spPr bwMode="gray">
          <a:xfrm>
            <a:off x="335360" y="1485537"/>
            <a:ext cx="5184824" cy="20154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110" name="Shape">
            <a:extLst>
              <a:ext uri="{FF2B5EF4-FFF2-40B4-BE49-F238E27FC236}">
                <a16:creationId xmlns:a16="http://schemas.microsoft.com/office/drawing/2014/main" id="{4BF4C20B-694A-46F7-9866-549844DD6928}"/>
              </a:ext>
              <a:ext uri="{C183D7F6-B498-43B3-948B-1728B52AA6E4}">
                <adec:decorative xmlns:adec="http://schemas.microsoft.com/office/drawing/2017/decorative" val="1"/>
              </a:ext>
            </a:extLst>
          </p:cNvPr>
          <p:cNvSpPr/>
          <p:nvPr userDrawn="1"/>
        </p:nvSpPr>
        <p:spPr bwMode="gray">
          <a:xfrm>
            <a:off x="6096868" y="1485537"/>
            <a:ext cx="5183708" cy="20154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 name="Title">
            <a:extLst>
              <a:ext uri="{FF2B5EF4-FFF2-40B4-BE49-F238E27FC236}">
                <a16:creationId xmlns:a16="http://schemas.microsoft.com/office/drawing/2014/main" id="{7C9F81EF-6E6B-4C6B-8728-D3ABC0E42065}"/>
              </a:ext>
            </a:extLst>
          </p:cNvPr>
          <p:cNvSpPr>
            <a:spLocks noGrp="1"/>
          </p:cNvSpPr>
          <p:nvPr>
            <p:ph type="title" hasCustomPrompt="1"/>
          </p:nvPr>
        </p:nvSpPr>
        <p:spPr bwMode="gray"/>
        <p:txBody>
          <a:bodyPr vert="horz"/>
          <a:lstStyle>
            <a:lvl1pPr>
              <a:defRPr/>
            </a:lvl1pPr>
          </a:lstStyle>
          <a:p>
            <a:r>
              <a:rPr lang="en-GB"/>
              <a:t>Insert your headline in Lato Heavy 24 pt here</a:t>
            </a:r>
            <a:endParaRPr lang="en-GB" dirty="0"/>
          </a:p>
        </p:txBody>
      </p:sp>
      <p:sp>
        <p:nvSpPr>
          <p:cNvPr id="88" name="Picture Placeholder 3">
            <a:extLst>
              <a:ext uri="{FF2B5EF4-FFF2-40B4-BE49-F238E27FC236}">
                <a16:creationId xmlns:a16="http://schemas.microsoft.com/office/drawing/2014/main" id="{FE641735-A1C5-43D0-BD73-1778301964C1}"/>
              </a:ext>
            </a:extLst>
          </p:cNvPr>
          <p:cNvSpPr>
            <a:spLocks noGrp="1"/>
          </p:cNvSpPr>
          <p:nvPr>
            <p:ph type="pic" sz="quarter" idx="17" hasCustomPrompt="1"/>
          </p:nvPr>
        </p:nvSpPr>
        <p:spPr bwMode="gray">
          <a:xfrm>
            <a:off x="551672" y="1701537"/>
            <a:ext cx="1368000" cy="1584000"/>
          </a:xfrm>
          <a:prstGeom prst="rect">
            <a:avLst/>
          </a:prstGeom>
          <a:solidFill>
            <a:srgbClr val="D6D9DC"/>
          </a:solidFill>
        </p:spPr>
        <p:txBody>
          <a:bodyPr/>
          <a:lstStyle>
            <a:lvl1pPr marL="0" indent="0">
              <a:buNone/>
              <a:defRPr sz="1400"/>
            </a:lvl1pPr>
          </a:lstStyle>
          <a:p>
            <a:r>
              <a:rPr lang="en-GB"/>
              <a:t> </a:t>
            </a:r>
            <a:endParaRPr lang="en-GB" dirty="0"/>
          </a:p>
        </p:txBody>
      </p:sp>
      <p:sp>
        <p:nvSpPr>
          <p:cNvPr id="89" name="Text Placeholder 5">
            <a:extLst>
              <a:ext uri="{FF2B5EF4-FFF2-40B4-BE49-F238E27FC236}">
                <a16:creationId xmlns:a16="http://schemas.microsoft.com/office/drawing/2014/main" id="{35F3426A-8179-413F-A089-EDC85F7AE529}"/>
              </a:ext>
            </a:extLst>
          </p:cNvPr>
          <p:cNvSpPr>
            <a:spLocks noGrp="1"/>
          </p:cNvSpPr>
          <p:nvPr>
            <p:ph type="body" sz="quarter" idx="19" hasCustomPrompt="1"/>
          </p:nvPr>
        </p:nvSpPr>
        <p:spPr bwMode="gray">
          <a:xfrm>
            <a:off x="2207904" y="1701537"/>
            <a:ext cx="3024000" cy="216000"/>
          </a:xfrm>
          <a:prstGeom prst="rect">
            <a:avLst/>
          </a:prstGeom>
        </p:spPr>
        <p:txBody>
          <a:bodyPr lIns="0" tIns="0" rIns="0" bIns="0" anchor="t" anchorCtr="0"/>
          <a:lstStyle>
            <a:lvl1pPr marL="0" indent="0" algn="l">
              <a:lnSpc>
                <a:spcPct val="100000"/>
              </a:lnSpc>
              <a:spcBef>
                <a:spcPts val="0"/>
              </a:spcBef>
              <a:buFont typeface="Arial" panose="020B0604020202020204" pitchFamily="34" charset="0"/>
              <a:buNone/>
              <a:defRPr sz="900" cap="all" baseline="0">
                <a:solidFill>
                  <a:schemeClr val="bg1"/>
                </a:solidFill>
                <a:latin typeface="+mn-lt"/>
              </a:defRPr>
            </a:lvl1pPr>
            <a:lvl2pPr marL="0" indent="0">
              <a:lnSpc>
                <a:spcPct val="100000"/>
              </a:lnSpc>
              <a:spcBef>
                <a:spcPts val="0"/>
              </a:spcBef>
              <a:buFont typeface="Arial" panose="020B0604020202020204" pitchFamily="34" charset="0"/>
              <a:buNone/>
              <a:defRPr sz="900" cap="all" baseline="0">
                <a:solidFill>
                  <a:schemeClr val="bg1"/>
                </a:solidFill>
                <a:latin typeface="+mn-lt"/>
              </a:defRPr>
            </a:lvl2pPr>
            <a:lvl3pPr marL="0" indent="0">
              <a:lnSpc>
                <a:spcPct val="100000"/>
              </a:lnSpc>
              <a:spcBef>
                <a:spcPts val="0"/>
              </a:spcBef>
              <a:buFont typeface="Arial" panose="020B0604020202020204" pitchFamily="34" charset="0"/>
              <a:buNone/>
              <a:defRPr sz="900" cap="all" baseline="0">
                <a:solidFill>
                  <a:schemeClr val="bg1"/>
                </a:solidFill>
                <a:latin typeface="+mn-lt"/>
              </a:defRPr>
            </a:lvl3pPr>
            <a:lvl4pPr marL="0" indent="0">
              <a:lnSpc>
                <a:spcPct val="100000"/>
              </a:lnSpc>
              <a:spcBef>
                <a:spcPts val="0"/>
              </a:spcBef>
              <a:buFont typeface="Arial" panose="020B0604020202020204" pitchFamily="34" charset="0"/>
              <a:buNone/>
              <a:defRPr sz="900" cap="all" baseline="0">
                <a:solidFill>
                  <a:schemeClr val="bg1"/>
                </a:solidFill>
                <a:latin typeface="+mn-lt"/>
              </a:defRPr>
            </a:lvl4pPr>
            <a:lvl5pPr marL="0" indent="0">
              <a:lnSpc>
                <a:spcPct val="100000"/>
              </a:lnSpc>
              <a:spcBef>
                <a:spcPts val="0"/>
              </a:spcBef>
              <a:buFont typeface="Arial" panose="020B0604020202020204" pitchFamily="34" charset="0"/>
              <a:buNone/>
              <a:defRPr sz="900" cap="all" baseline="0">
                <a:solidFill>
                  <a:schemeClr val="bg1"/>
                </a:solidFill>
                <a:latin typeface="+mn-lt"/>
              </a:defRPr>
            </a:lvl5pPr>
            <a:lvl6pPr marL="0" indent="0">
              <a:spcBef>
                <a:spcPts val="0"/>
              </a:spcBef>
              <a:buNone/>
              <a:defRPr sz="900" cap="all" baseline="0">
                <a:solidFill>
                  <a:schemeClr val="bg1"/>
                </a:solidFill>
                <a:latin typeface="+mn-lt"/>
              </a:defRPr>
            </a:lvl6pPr>
            <a:lvl7pPr marL="0" indent="0">
              <a:spcBef>
                <a:spcPts val="0"/>
              </a:spcBef>
              <a:buNone/>
              <a:defRPr sz="900" cap="all" baseline="0">
                <a:solidFill>
                  <a:schemeClr val="bg1"/>
                </a:solidFill>
                <a:latin typeface="+mn-lt"/>
              </a:defRPr>
            </a:lvl7pPr>
            <a:lvl8pPr marL="0" indent="0">
              <a:spcBef>
                <a:spcPts val="0"/>
              </a:spcBef>
              <a:buNone/>
              <a:defRPr sz="900" cap="all" baseline="0">
                <a:solidFill>
                  <a:schemeClr val="bg1"/>
                </a:solidFill>
                <a:latin typeface="+mn-lt"/>
              </a:defRPr>
            </a:lvl8pPr>
            <a:lvl9pPr marL="0" indent="0">
              <a:spcBef>
                <a:spcPts val="0"/>
              </a:spcBef>
              <a:buNone/>
              <a:defRPr sz="900" cap="all" baseline="0">
                <a:solidFill>
                  <a:schemeClr val="bg1"/>
                </a:solidFill>
                <a:latin typeface="+mn-lt"/>
              </a:defRPr>
            </a:lvl9pPr>
          </a:lstStyle>
          <a:p>
            <a:pPr lvl="0"/>
            <a:r>
              <a:rPr lang="en-GB"/>
              <a:t>Country</a:t>
            </a:r>
            <a:endParaRPr lang="en-GB" dirty="0"/>
          </a:p>
        </p:txBody>
      </p:sp>
      <p:sp>
        <p:nvSpPr>
          <p:cNvPr id="90" name="Text Placeholder 5">
            <a:extLst>
              <a:ext uri="{FF2B5EF4-FFF2-40B4-BE49-F238E27FC236}">
                <a16:creationId xmlns:a16="http://schemas.microsoft.com/office/drawing/2014/main" id="{77DE9175-08EB-4DE9-AF2A-082DE24F91BC}"/>
              </a:ext>
            </a:extLst>
          </p:cNvPr>
          <p:cNvSpPr>
            <a:spLocks noGrp="1"/>
          </p:cNvSpPr>
          <p:nvPr>
            <p:ph type="body" sz="quarter" idx="20" hasCustomPrompt="1"/>
          </p:nvPr>
        </p:nvSpPr>
        <p:spPr bwMode="gray">
          <a:xfrm>
            <a:off x="2207904" y="2060848"/>
            <a:ext cx="3024000"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baseline="0">
                <a:solidFill>
                  <a:schemeClr val="bg1"/>
                </a:solidFill>
                <a:latin typeface="+mj-lt"/>
              </a:defRPr>
            </a:lvl1pPr>
            <a:lvl2pPr marL="0" indent="0">
              <a:lnSpc>
                <a:spcPct val="100000"/>
              </a:lnSpc>
              <a:spcBef>
                <a:spcPts val="0"/>
              </a:spcBef>
              <a:buFont typeface="Arial" panose="020B0604020202020204" pitchFamily="34" charset="0"/>
              <a:buNone/>
              <a:defRPr sz="1100" b="0">
                <a:solidFill>
                  <a:schemeClr val="bg1"/>
                </a:solidFill>
                <a:latin typeface="+mj-lt"/>
              </a:defRPr>
            </a:lvl2pPr>
            <a:lvl3pPr marL="0" indent="0">
              <a:lnSpc>
                <a:spcPct val="100000"/>
              </a:lnSpc>
              <a:spcBef>
                <a:spcPts val="0"/>
              </a:spcBef>
              <a:buFont typeface="Arial" panose="020B0604020202020204" pitchFamily="34" charset="0"/>
              <a:buNone/>
              <a:defRPr sz="1100" b="0">
                <a:solidFill>
                  <a:schemeClr val="bg1"/>
                </a:solidFill>
                <a:latin typeface="+mj-lt"/>
              </a:defRPr>
            </a:lvl3pPr>
            <a:lvl4pPr marL="0" indent="0">
              <a:lnSpc>
                <a:spcPct val="100000"/>
              </a:lnSpc>
              <a:spcBef>
                <a:spcPts val="0"/>
              </a:spcBef>
              <a:buFont typeface="Arial" panose="020B0604020202020204" pitchFamily="34" charset="0"/>
              <a:buNone/>
              <a:defRPr sz="1100" b="0">
                <a:solidFill>
                  <a:schemeClr val="bg1"/>
                </a:solidFill>
                <a:latin typeface="+mj-lt"/>
              </a:defRPr>
            </a:lvl4pPr>
            <a:lvl5pPr marL="0" indent="0">
              <a:lnSpc>
                <a:spcPct val="100000"/>
              </a:lnSpc>
              <a:spcBef>
                <a:spcPts val="0"/>
              </a:spcBef>
              <a:buFont typeface="Arial" panose="020B0604020202020204" pitchFamily="34" charset="0"/>
              <a:buNone/>
              <a:defRPr sz="1100" b="0">
                <a:solidFill>
                  <a:schemeClr val="bg1"/>
                </a:solidFill>
                <a:latin typeface="+mj-lt"/>
              </a:defRPr>
            </a:lvl5pPr>
            <a:lvl6pPr marL="0" indent="0">
              <a:spcBef>
                <a:spcPts val="0"/>
              </a:spcBef>
              <a:buNone/>
              <a:defRPr sz="1100" b="0">
                <a:solidFill>
                  <a:schemeClr val="bg1"/>
                </a:solidFill>
                <a:latin typeface="+mj-lt"/>
              </a:defRPr>
            </a:lvl6pPr>
            <a:lvl7pPr marL="0" indent="0">
              <a:spcBef>
                <a:spcPts val="0"/>
              </a:spcBef>
              <a:buNone/>
              <a:defRPr sz="1100" b="0">
                <a:solidFill>
                  <a:schemeClr val="bg1"/>
                </a:solidFill>
                <a:latin typeface="+mj-lt"/>
              </a:defRPr>
            </a:lvl7pPr>
            <a:lvl8pPr marL="0" indent="0">
              <a:spcBef>
                <a:spcPts val="0"/>
              </a:spcBef>
              <a:buNone/>
              <a:defRPr sz="1100" b="0">
                <a:solidFill>
                  <a:schemeClr val="bg1"/>
                </a:solidFill>
                <a:latin typeface="+mj-lt"/>
              </a:defRPr>
            </a:lvl8pPr>
            <a:lvl9pPr marL="0" indent="0">
              <a:spcBef>
                <a:spcPts val="0"/>
              </a:spcBef>
              <a:buNone/>
              <a:defRPr sz="1100" b="0">
                <a:solidFill>
                  <a:schemeClr val="bg1"/>
                </a:solidFill>
                <a:latin typeface="+mj-lt"/>
              </a:defRPr>
            </a:lvl9pPr>
          </a:lstStyle>
          <a:p>
            <a:pPr lvl="0"/>
            <a:r>
              <a:rPr lang="en-GB" dirty="0"/>
              <a:t>Name Surname</a:t>
            </a:r>
          </a:p>
        </p:txBody>
      </p:sp>
      <p:sp>
        <p:nvSpPr>
          <p:cNvPr id="91" name="Text Placeholder 5">
            <a:extLst>
              <a:ext uri="{FF2B5EF4-FFF2-40B4-BE49-F238E27FC236}">
                <a16:creationId xmlns:a16="http://schemas.microsoft.com/office/drawing/2014/main" id="{D5EF4277-ADF9-4E2E-B2BE-1A7E9852139F}"/>
              </a:ext>
            </a:extLst>
          </p:cNvPr>
          <p:cNvSpPr>
            <a:spLocks noGrp="1"/>
          </p:cNvSpPr>
          <p:nvPr>
            <p:ph type="body" sz="quarter" idx="21" hasCustomPrompt="1"/>
          </p:nvPr>
        </p:nvSpPr>
        <p:spPr bwMode="gray">
          <a:xfrm>
            <a:off x="2207904" y="2277537"/>
            <a:ext cx="3024000" cy="216000"/>
          </a:xfrm>
          <a:prstGeom prst="rect">
            <a:avLst/>
          </a:prstGeom>
        </p:spPr>
        <p:txBody>
          <a:bodyPr lIns="0" tIns="36000" rIns="0" bIns="0" anchor="t" anchorCtr="0"/>
          <a:lstStyle>
            <a:lvl1pPr marL="0" indent="0" algn="l">
              <a:lnSpc>
                <a:spcPct val="100000"/>
              </a:lnSpc>
              <a:spcBef>
                <a:spcPts val="0"/>
              </a:spcBef>
              <a:buFont typeface="Arial" panose="020B0604020202020204" pitchFamily="34" charset="0"/>
              <a:buNone/>
              <a:defRPr sz="1100" i="1" baseline="0">
                <a:solidFill>
                  <a:schemeClr val="bg1"/>
                </a:solidFill>
                <a:latin typeface="+mn-lt"/>
              </a:defRPr>
            </a:lvl1pPr>
            <a:lvl2pPr marL="0" indent="0">
              <a:lnSpc>
                <a:spcPct val="100000"/>
              </a:lnSpc>
              <a:spcBef>
                <a:spcPts val="0"/>
              </a:spcBef>
              <a:buFont typeface="Arial" panose="020B0604020202020204" pitchFamily="34" charset="0"/>
              <a:buNone/>
              <a:defRPr sz="1100" i="1">
                <a:solidFill>
                  <a:schemeClr val="bg1"/>
                </a:solidFill>
                <a:latin typeface="+mn-lt"/>
              </a:defRPr>
            </a:lvl2pPr>
            <a:lvl3pPr marL="0" indent="0">
              <a:lnSpc>
                <a:spcPct val="100000"/>
              </a:lnSpc>
              <a:spcBef>
                <a:spcPts val="0"/>
              </a:spcBef>
              <a:buFont typeface="Arial" panose="020B0604020202020204" pitchFamily="34" charset="0"/>
              <a:buNone/>
              <a:defRPr sz="1100" i="1">
                <a:solidFill>
                  <a:schemeClr val="bg1"/>
                </a:solidFill>
                <a:latin typeface="+mn-lt"/>
              </a:defRPr>
            </a:lvl3pPr>
            <a:lvl4pPr marL="0" indent="0">
              <a:lnSpc>
                <a:spcPct val="100000"/>
              </a:lnSpc>
              <a:spcBef>
                <a:spcPts val="0"/>
              </a:spcBef>
              <a:buFont typeface="Arial" panose="020B0604020202020204" pitchFamily="34" charset="0"/>
              <a:buNone/>
              <a:defRPr sz="1100" i="1">
                <a:solidFill>
                  <a:schemeClr val="bg1"/>
                </a:solidFill>
                <a:latin typeface="+mn-lt"/>
              </a:defRPr>
            </a:lvl4pPr>
            <a:lvl5pPr marL="0" indent="0">
              <a:lnSpc>
                <a:spcPct val="100000"/>
              </a:lnSpc>
              <a:spcBef>
                <a:spcPts val="0"/>
              </a:spcBef>
              <a:buFont typeface="Arial" panose="020B0604020202020204" pitchFamily="34" charset="0"/>
              <a:buNone/>
              <a:defRPr sz="1100" i="1">
                <a:solidFill>
                  <a:schemeClr val="bg1"/>
                </a:solidFill>
                <a:latin typeface="+mn-lt"/>
              </a:defRPr>
            </a:lvl5pPr>
            <a:lvl6pPr marL="0" indent="0">
              <a:spcBef>
                <a:spcPts val="0"/>
              </a:spcBef>
              <a:buNone/>
              <a:defRPr sz="1100" i="1">
                <a:solidFill>
                  <a:schemeClr val="bg1"/>
                </a:solidFill>
                <a:latin typeface="+mn-lt"/>
              </a:defRPr>
            </a:lvl6pPr>
            <a:lvl7pPr marL="0" indent="0">
              <a:spcBef>
                <a:spcPts val="0"/>
              </a:spcBef>
              <a:buNone/>
              <a:defRPr sz="1100" i="1">
                <a:solidFill>
                  <a:schemeClr val="bg1"/>
                </a:solidFill>
                <a:latin typeface="+mn-lt"/>
              </a:defRPr>
            </a:lvl7pPr>
            <a:lvl8pPr marL="0" indent="0">
              <a:spcBef>
                <a:spcPts val="0"/>
              </a:spcBef>
              <a:buNone/>
              <a:defRPr sz="1100" i="1">
                <a:solidFill>
                  <a:schemeClr val="bg1"/>
                </a:solidFill>
                <a:latin typeface="+mn-lt"/>
              </a:defRPr>
            </a:lvl8pPr>
            <a:lvl9pPr marL="0" indent="0">
              <a:spcBef>
                <a:spcPts val="0"/>
              </a:spcBef>
              <a:buNone/>
              <a:defRPr sz="1100" i="1">
                <a:solidFill>
                  <a:schemeClr val="bg1"/>
                </a:solidFill>
                <a:latin typeface="+mn-lt"/>
              </a:defRPr>
            </a:lvl9pPr>
          </a:lstStyle>
          <a:p>
            <a:pPr lvl="0"/>
            <a:r>
              <a:rPr lang="en-GB"/>
              <a:t>Job Position</a:t>
            </a:r>
            <a:endParaRPr lang="en-GB" dirty="0"/>
          </a:p>
        </p:txBody>
      </p:sp>
      <p:sp>
        <p:nvSpPr>
          <p:cNvPr id="92" name="Text Placeholder 5">
            <a:extLst>
              <a:ext uri="{FF2B5EF4-FFF2-40B4-BE49-F238E27FC236}">
                <a16:creationId xmlns:a16="http://schemas.microsoft.com/office/drawing/2014/main" id="{7BDBE224-C61A-4B63-ACB4-6021E55B9D35}"/>
              </a:ext>
            </a:extLst>
          </p:cNvPr>
          <p:cNvSpPr>
            <a:spLocks noGrp="1"/>
          </p:cNvSpPr>
          <p:nvPr>
            <p:ph type="body" sz="quarter" idx="22" hasCustomPrompt="1"/>
          </p:nvPr>
        </p:nvSpPr>
        <p:spPr bwMode="gray">
          <a:xfrm>
            <a:off x="2207903" y="2853537"/>
            <a:ext cx="3024001"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a:t>Phone number</a:t>
            </a:r>
            <a:endParaRPr lang="en-GB" dirty="0"/>
          </a:p>
        </p:txBody>
      </p:sp>
      <p:sp>
        <p:nvSpPr>
          <p:cNvPr id="93" name="Text Placeholder 5">
            <a:extLst>
              <a:ext uri="{FF2B5EF4-FFF2-40B4-BE49-F238E27FC236}">
                <a16:creationId xmlns:a16="http://schemas.microsoft.com/office/drawing/2014/main" id="{12C39AE6-6E95-408F-AB43-27C17926E0F3}"/>
              </a:ext>
            </a:extLst>
          </p:cNvPr>
          <p:cNvSpPr>
            <a:spLocks noGrp="1"/>
          </p:cNvSpPr>
          <p:nvPr>
            <p:ph type="body" sz="quarter" idx="23" hasCustomPrompt="1"/>
          </p:nvPr>
        </p:nvSpPr>
        <p:spPr bwMode="gray">
          <a:xfrm>
            <a:off x="2207903" y="3069537"/>
            <a:ext cx="3024001"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a:t>Email address</a:t>
            </a:r>
            <a:endParaRPr lang="en-GB" dirty="0"/>
          </a:p>
        </p:txBody>
      </p:sp>
      <p:sp>
        <p:nvSpPr>
          <p:cNvPr id="107" name="Text Placeholder 34">
            <a:extLst>
              <a:ext uri="{FF2B5EF4-FFF2-40B4-BE49-F238E27FC236}">
                <a16:creationId xmlns:a16="http://schemas.microsoft.com/office/drawing/2014/main" id="{7A67B2C7-A9D1-420E-A686-D67FE2D6C26E}"/>
              </a:ext>
            </a:extLst>
          </p:cNvPr>
          <p:cNvSpPr>
            <a:spLocks noGrp="1"/>
          </p:cNvSpPr>
          <p:nvPr>
            <p:ph type="body" sz="quarter" idx="24" hasCustomPrompt="1"/>
          </p:nvPr>
        </p:nvSpPr>
        <p:spPr bwMode="gray">
          <a:xfrm>
            <a:off x="2063553" y="4077073"/>
            <a:ext cx="3456384" cy="2015752"/>
          </a:xfrm>
          <a:prstGeom prst="rect">
            <a:avLst/>
          </a:prstGeom>
        </p:spPr>
        <p:txBody>
          <a:bodyPr/>
          <a:lstStyle>
            <a:lvl1pPr>
              <a:defRPr sz="1600" baseline="0"/>
            </a:lvl1pPr>
            <a:lvl2pPr>
              <a:defRPr sz="1600"/>
            </a:lvl2pPr>
            <a:lvl3pPr>
              <a:defRPr sz="1600"/>
            </a:lvl3pPr>
            <a:lvl4pPr>
              <a:defRPr sz="1600"/>
            </a:lvl4pPr>
            <a:lvl5pPr>
              <a:defRPr sz="1200"/>
            </a:lvl5pPr>
          </a:lstStyle>
          <a:p>
            <a:pPr lvl="0"/>
            <a:r>
              <a:rPr lang="en-GB" dirty="0"/>
              <a:t>Additional information (if need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1" name="Picture Placeholder 3">
            <a:extLst>
              <a:ext uri="{FF2B5EF4-FFF2-40B4-BE49-F238E27FC236}">
                <a16:creationId xmlns:a16="http://schemas.microsoft.com/office/drawing/2014/main" id="{2F3F9AB8-A6A9-4914-B176-D5301D8AD889}"/>
              </a:ext>
            </a:extLst>
          </p:cNvPr>
          <p:cNvSpPr>
            <a:spLocks noGrp="1"/>
          </p:cNvSpPr>
          <p:nvPr>
            <p:ph type="pic" sz="quarter" idx="36" hasCustomPrompt="1"/>
          </p:nvPr>
        </p:nvSpPr>
        <p:spPr bwMode="gray">
          <a:xfrm>
            <a:off x="6313338" y="1701537"/>
            <a:ext cx="1368000" cy="1584000"/>
          </a:xfrm>
          <a:prstGeom prst="rect">
            <a:avLst/>
          </a:prstGeom>
          <a:solidFill>
            <a:srgbClr val="D6D9DC"/>
          </a:solidFill>
        </p:spPr>
        <p:txBody>
          <a:bodyPr/>
          <a:lstStyle>
            <a:lvl1pPr marL="0" indent="0">
              <a:buNone/>
              <a:defRPr sz="1400"/>
            </a:lvl1pPr>
          </a:lstStyle>
          <a:p>
            <a:r>
              <a:rPr lang="en-GB"/>
              <a:t> </a:t>
            </a:r>
            <a:endParaRPr lang="en-GB" dirty="0"/>
          </a:p>
        </p:txBody>
      </p:sp>
      <p:sp>
        <p:nvSpPr>
          <p:cNvPr id="102" name="Text Placeholder 5">
            <a:extLst>
              <a:ext uri="{FF2B5EF4-FFF2-40B4-BE49-F238E27FC236}">
                <a16:creationId xmlns:a16="http://schemas.microsoft.com/office/drawing/2014/main" id="{60D53D97-2F4B-4FF3-BB08-6DE88C7D08D0}"/>
              </a:ext>
            </a:extLst>
          </p:cNvPr>
          <p:cNvSpPr>
            <a:spLocks noGrp="1"/>
          </p:cNvSpPr>
          <p:nvPr>
            <p:ph type="body" sz="quarter" idx="37" hasCustomPrompt="1"/>
          </p:nvPr>
        </p:nvSpPr>
        <p:spPr bwMode="gray">
          <a:xfrm>
            <a:off x="7969522" y="1701537"/>
            <a:ext cx="3024000" cy="216000"/>
          </a:xfrm>
          <a:prstGeom prst="rect">
            <a:avLst/>
          </a:prstGeom>
        </p:spPr>
        <p:txBody>
          <a:bodyPr lIns="0" tIns="0" rIns="0" bIns="0" anchor="t" anchorCtr="0"/>
          <a:lstStyle>
            <a:lvl1pPr marL="0" indent="0" algn="l">
              <a:lnSpc>
                <a:spcPct val="100000"/>
              </a:lnSpc>
              <a:spcBef>
                <a:spcPts val="0"/>
              </a:spcBef>
              <a:buFont typeface="Arial" panose="020B0604020202020204" pitchFamily="34" charset="0"/>
              <a:buNone/>
              <a:defRPr sz="900" b="0" cap="all" baseline="0">
                <a:solidFill>
                  <a:schemeClr val="bg1"/>
                </a:solidFill>
                <a:latin typeface="+mn-lt"/>
              </a:defRPr>
            </a:lvl1pPr>
            <a:lvl2pPr marL="0" indent="0">
              <a:lnSpc>
                <a:spcPct val="100000"/>
              </a:lnSpc>
              <a:spcBef>
                <a:spcPts val="0"/>
              </a:spcBef>
              <a:buFont typeface="Arial" panose="020B0604020202020204" pitchFamily="34" charset="0"/>
              <a:buNone/>
              <a:defRPr sz="900" b="0" cap="all" baseline="0">
                <a:solidFill>
                  <a:schemeClr val="bg1"/>
                </a:solidFill>
                <a:latin typeface="+mn-lt"/>
              </a:defRPr>
            </a:lvl2pPr>
            <a:lvl3pPr marL="0" indent="0">
              <a:lnSpc>
                <a:spcPct val="100000"/>
              </a:lnSpc>
              <a:spcBef>
                <a:spcPts val="0"/>
              </a:spcBef>
              <a:buFont typeface="Arial" panose="020B0604020202020204" pitchFamily="34" charset="0"/>
              <a:buNone/>
              <a:defRPr sz="900" b="0" cap="all" baseline="0">
                <a:solidFill>
                  <a:schemeClr val="bg1"/>
                </a:solidFill>
                <a:latin typeface="+mn-lt"/>
              </a:defRPr>
            </a:lvl3pPr>
            <a:lvl4pPr marL="0" indent="0">
              <a:lnSpc>
                <a:spcPct val="100000"/>
              </a:lnSpc>
              <a:spcBef>
                <a:spcPts val="0"/>
              </a:spcBef>
              <a:buFont typeface="Arial" panose="020B0604020202020204" pitchFamily="34" charset="0"/>
              <a:buNone/>
              <a:defRPr sz="900" b="0" cap="all" baseline="0">
                <a:solidFill>
                  <a:schemeClr val="bg1"/>
                </a:solidFill>
                <a:latin typeface="+mn-lt"/>
              </a:defRPr>
            </a:lvl4pPr>
            <a:lvl5pPr marL="0" indent="0">
              <a:lnSpc>
                <a:spcPct val="100000"/>
              </a:lnSpc>
              <a:spcBef>
                <a:spcPts val="0"/>
              </a:spcBef>
              <a:buFont typeface="Arial" panose="020B0604020202020204" pitchFamily="34" charset="0"/>
              <a:buNone/>
              <a:defRPr sz="900" b="0" cap="all" baseline="0">
                <a:solidFill>
                  <a:schemeClr val="bg1"/>
                </a:solidFill>
                <a:latin typeface="+mn-lt"/>
              </a:defRPr>
            </a:lvl5pPr>
            <a:lvl6pPr marL="0" indent="0">
              <a:spcBef>
                <a:spcPts val="0"/>
              </a:spcBef>
              <a:buNone/>
              <a:defRPr sz="900" b="0" cap="all" baseline="0">
                <a:solidFill>
                  <a:schemeClr val="bg1"/>
                </a:solidFill>
                <a:latin typeface="+mn-lt"/>
              </a:defRPr>
            </a:lvl6pPr>
            <a:lvl7pPr marL="0" indent="0">
              <a:spcBef>
                <a:spcPts val="0"/>
              </a:spcBef>
              <a:buNone/>
              <a:defRPr sz="900" b="0" cap="all" baseline="0">
                <a:solidFill>
                  <a:schemeClr val="bg1"/>
                </a:solidFill>
                <a:latin typeface="+mn-lt"/>
              </a:defRPr>
            </a:lvl7pPr>
            <a:lvl8pPr marL="0" indent="0">
              <a:spcBef>
                <a:spcPts val="0"/>
              </a:spcBef>
              <a:buNone/>
              <a:defRPr sz="900" b="0" cap="all" baseline="0">
                <a:solidFill>
                  <a:schemeClr val="bg1"/>
                </a:solidFill>
                <a:latin typeface="+mn-lt"/>
              </a:defRPr>
            </a:lvl8pPr>
            <a:lvl9pPr marL="0" indent="0">
              <a:spcBef>
                <a:spcPts val="0"/>
              </a:spcBef>
              <a:buNone/>
              <a:defRPr sz="900" b="0" cap="all" baseline="0">
                <a:solidFill>
                  <a:schemeClr val="bg1"/>
                </a:solidFill>
                <a:latin typeface="+mn-lt"/>
              </a:defRPr>
            </a:lvl9pPr>
          </a:lstStyle>
          <a:p>
            <a:pPr lvl="0"/>
            <a:r>
              <a:rPr lang="en-GB"/>
              <a:t>Country</a:t>
            </a:r>
            <a:endParaRPr lang="en-GB" dirty="0"/>
          </a:p>
        </p:txBody>
      </p:sp>
      <p:sp>
        <p:nvSpPr>
          <p:cNvPr id="103" name="Text Placeholder 5">
            <a:extLst>
              <a:ext uri="{FF2B5EF4-FFF2-40B4-BE49-F238E27FC236}">
                <a16:creationId xmlns:a16="http://schemas.microsoft.com/office/drawing/2014/main" id="{912FAF1E-DB1C-42D7-9953-A4E2639C864F}"/>
              </a:ext>
            </a:extLst>
          </p:cNvPr>
          <p:cNvSpPr>
            <a:spLocks noGrp="1"/>
          </p:cNvSpPr>
          <p:nvPr>
            <p:ph type="body" sz="quarter" idx="38" hasCustomPrompt="1"/>
          </p:nvPr>
        </p:nvSpPr>
        <p:spPr bwMode="gray">
          <a:xfrm>
            <a:off x="7968208" y="2060848"/>
            <a:ext cx="3024000"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baseline="0">
                <a:solidFill>
                  <a:schemeClr val="bg1"/>
                </a:solidFill>
                <a:latin typeface="+mj-lt"/>
              </a:defRPr>
            </a:lvl1pPr>
            <a:lvl2pPr marL="0" indent="0">
              <a:lnSpc>
                <a:spcPct val="100000"/>
              </a:lnSpc>
              <a:spcBef>
                <a:spcPts val="0"/>
              </a:spcBef>
              <a:buFont typeface="Arial" panose="020B0604020202020204" pitchFamily="34" charset="0"/>
              <a:buNone/>
              <a:defRPr sz="1100" b="0">
                <a:solidFill>
                  <a:schemeClr val="bg1"/>
                </a:solidFill>
                <a:latin typeface="+mj-lt"/>
              </a:defRPr>
            </a:lvl2pPr>
            <a:lvl3pPr marL="0" indent="0">
              <a:lnSpc>
                <a:spcPct val="100000"/>
              </a:lnSpc>
              <a:spcBef>
                <a:spcPts val="0"/>
              </a:spcBef>
              <a:buFont typeface="Arial" panose="020B0604020202020204" pitchFamily="34" charset="0"/>
              <a:buNone/>
              <a:defRPr sz="1100" b="0">
                <a:solidFill>
                  <a:schemeClr val="bg1"/>
                </a:solidFill>
                <a:latin typeface="+mj-lt"/>
              </a:defRPr>
            </a:lvl3pPr>
            <a:lvl4pPr marL="0" indent="0">
              <a:lnSpc>
                <a:spcPct val="100000"/>
              </a:lnSpc>
              <a:spcBef>
                <a:spcPts val="0"/>
              </a:spcBef>
              <a:buFont typeface="Arial" panose="020B0604020202020204" pitchFamily="34" charset="0"/>
              <a:buNone/>
              <a:defRPr sz="1100" b="0">
                <a:solidFill>
                  <a:schemeClr val="bg1"/>
                </a:solidFill>
                <a:latin typeface="+mj-lt"/>
              </a:defRPr>
            </a:lvl4pPr>
            <a:lvl5pPr marL="0" indent="0">
              <a:lnSpc>
                <a:spcPct val="100000"/>
              </a:lnSpc>
              <a:spcBef>
                <a:spcPts val="0"/>
              </a:spcBef>
              <a:buFont typeface="Arial" panose="020B0604020202020204" pitchFamily="34" charset="0"/>
              <a:buNone/>
              <a:defRPr sz="1100" b="0">
                <a:solidFill>
                  <a:schemeClr val="bg1"/>
                </a:solidFill>
                <a:latin typeface="+mj-lt"/>
              </a:defRPr>
            </a:lvl5pPr>
            <a:lvl6pPr marL="0" indent="0">
              <a:spcBef>
                <a:spcPts val="0"/>
              </a:spcBef>
              <a:buNone/>
              <a:defRPr sz="1100" b="0">
                <a:solidFill>
                  <a:schemeClr val="bg1"/>
                </a:solidFill>
                <a:latin typeface="+mj-lt"/>
              </a:defRPr>
            </a:lvl6pPr>
            <a:lvl7pPr marL="0" indent="0">
              <a:spcBef>
                <a:spcPts val="0"/>
              </a:spcBef>
              <a:buNone/>
              <a:defRPr sz="1100" b="0">
                <a:solidFill>
                  <a:schemeClr val="bg1"/>
                </a:solidFill>
                <a:latin typeface="+mj-lt"/>
              </a:defRPr>
            </a:lvl7pPr>
            <a:lvl8pPr marL="0" indent="0">
              <a:spcBef>
                <a:spcPts val="0"/>
              </a:spcBef>
              <a:buNone/>
              <a:defRPr sz="1100" b="0">
                <a:solidFill>
                  <a:schemeClr val="bg1"/>
                </a:solidFill>
                <a:latin typeface="+mj-lt"/>
              </a:defRPr>
            </a:lvl8pPr>
            <a:lvl9pPr marL="0" indent="0">
              <a:spcBef>
                <a:spcPts val="0"/>
              </a:spcBef>
              <a:buNone/>
              <a:defRPr sz="1100" b="0">
                <a:solidFill>
                  <a:schemeClr val="bg1"/>
                </a:solidFill>
                <a:latin typeface="+mj-lt"/>
              </a:defRPr>
            </a:lvl9pPr>
          </a:lstStyle>
          <a:p>
            <a:pPr lvl="0"/>
            <a:r>
              <a:rPr lang="en-GB" dirty="0"/>
              <a:t>Name Surname</a:t>
            </a:r>
          </a:p>
        </p:txBody>
      </p:sp>
      <p:sp>
        <p:nvSpPr>
          <p:cNvPr id="104" name="Text Placeholder 5">
            <a:extLst>
              <a:ext uri="{FF2B5EF4-FFF2-40B4-BE49-F238E27FC236}">
                <a16:creationId xmlns:a16="http://schemas.microsoft.com/office/drawing/2014/main" id="{4BEAEA15-5204-41C5-AEFB-5901E9232BC6}"/>
              </a:ext>
            </a:extLst>
          </p:cNvPr>
          <p:cNvSpPr>
            <a:spLocks noGrp="1"/>
          </p:cNvSpPr>
          <p:nvPr>
            <p:ph type="body" sz="quarter" idx="39" hasCustomPrompt="1"/>
          </p:nvPr>
        </p:nvSpPr>
        <p:spPr bwMode="gray">
          <a:xfrm>
            <a:off x="7969522" y="2277537"/>
            <a:ext cx="3024000" cy="216000"/>
          </a:xfrm>
          <a:prstGeom prst="rect">
            <a:avLst/>
          </a:prstGeom>
        </p:spPr>
        <p:txBody>
          <a:bodyPr lIns="0" tIns="36000" rIns="0" bIns="0" anchor="t"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dirty="0"/>
              <a:t>Job Position</a:t>
            </a:r>
          </a:p>
        </p:txBody>
      </p:sp>
      <p:sp>
        <p:nvSpPr>
          <p:cNvPr id="105" name="Text Placeholder 5">
            <a:extLst>
              <a:ext uri="{FF2B5EF4-FFF2-40B4-BE49-F238E27FC236}">
                <a16:creationId xmlns:a16="http://schemas.microsoft.com/office/drawing/2014/main" id="{268C1B9F-921F-461C-A9B2-8860F57E26DD}"/>
              </a:ext>
            </a:extLst>
          </p:cNvPr>
          <p:cNvSpPr>
            <a:spLocks noGrp="1"/>
          </p:cNvSpPr>
          <p:nvPr>
            <p:ph type="body" sz="quarter" idx="40" hasCustomPrompt="1"/>
          </p:nvPr>
        </p:nvSpPr>
        <p:spPr bwMode="gray">
          <a:xfrm>
            <a:off x="7969522" y="2853537"/>
            <a:ext cx="3024000"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a:t>Phone number</a:t>
            </a:r>
            <a:endParaRPr lang="en-GB" dirty="0"/>
          </a:p>
        </p:txBody>
      </p:sp>
      <p:sp>
        <p:nvSpPr>
          <p:cNvPr id="106" name="Text Placeholder 5">
            <a:extLst>
              <a:ext uri="{FF2B5EF4-FFF2-40B4-BE49-F238E27FC236}">
                <a16:creationId xmlns:a16="http://schemas.microsoft.com/office/drawing/2014/main" id="{DF6DB13D-A16B-44FD-BBA4-181841B2C8EB}"/>
              </a:ext>
            </a:extLst>
          </p:cNvPr>
          <p:cNvSpPr>
            <a:spLocks noGrp="1"/>
          </p:cNvSpPr>
          <p:nvPr>
            <p:ph type="body" sz="quarter" idx="41" hasCustomPrompt="1"/>
          </p:nvPr>
        </p:nvSpPr>
        <p:spPr bwMode="gray">
          <a:xfrm>
            <a:off x="7969522" y="3069537"/>
            <a:ext cx="3024000"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a:t>Email address</a:t>
            </a:r>
            <a:endParaRPr lang="en-GB" dirty="0"/>
          </a:p>
        </p:txBody>
      </p:sp>
      <p:sp>
        <p:nvSpPr>
          <p:cNvPr id="108" name="Text Placeholder 34">
            <a:extLst>
              <a:ext uri="{FF2B5EF4-FFF2-40B4-BE49-F238E27FC236}">
                <a16:creationId xmlns:a16="http://schemas.microsoft.com/office/drawing/2014/main" id="{0739D20A-6CD2-4EFD-BFD8-AC0971649971}"/>
              </a:ext>
            </a:extLst>
          </p:cNvPr>
          <p:cNvSpPr>
            <a:spLocks noGrp="1"/>
          </p:cNvSpPr>
          <p:nvPr>
            <p:ph type="body" sz="quarter" idx="42" hasCustomPrompt="1"/>
          </p:nvPr>
        </p:nvSpPr>
        <p:spPr bwMode="gray">
          <a:xfrm>
            <a:off x="7823696" y="4077073"/>
            <a:ext cx="3456880" cy="2015752"/>
          </a:xfrm>
          <a:prstGeom prst="rect">
            <a:avLst/>
          </a:prstGeom>
        </p:spPr>
        <p:txBody>
          <a:bodyPr/>
          <a:lstStyle>
            <a:lvl1pPr>
              <a:defRPr sz="1600" baseline="0"/>
            </a:lvl1pPr>
            <a:lvl2pPr>
              <a:defRPr sz="1600"/>
            </a:lvl2pPr>
            <a:lvl3pPr>
              <a:defRPr sz="1600"/>
            </a:lvl3pPr>
            <a:lvl4pPr>
              <a:defRPr sz="1600"/>
            </a:lvl4pPr>
            <a:lvl5pPr>
              <a:defRPr sz="1200"/>
            </a:lvl5pPr>
          </a:lstStyle>
          <a:p>
            <a:pPr lvl="0"/>
            <a:r>
              <a:rPr lang="en-GB" dirty="0"/>
              <a:t>Additional information (if needed)</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Datumsplatzhalter 6">
            <a:extLst>
              <a:ext uri="{FF2B5EF4-FFF2-40B4-BE49-F238E27FC236}">
                <a16:creationId xmlns:a16="http://schemas.microsoft.com/office/drawing/2014/main" id="{02713F7A-5C35-B887-9F08-85A23FD350E8}"/>
              </a:ext>
            </a:extLst>
          </p:cNvPr>
          <p:cNvSpPr>
            <a:spLocks noGrp="1"/>
          </p:cNvSpPr>
          <p:nvPr>
            <p:ph type="dt" sz="half" idx="43"/>
          </p:nvPr>
        </p:nvSpPr>
        <p:spPr/>
        <p:txBody>
          <a:bodyPr/>
          <a:lstStyle/>
          <a:p>
            <a:r>
              <a:rPr lang="en-US"/>
              <a:t>7/26/2022</a:t>
            </a:r>
            <a:endParaRPr lang="en-GB" dirty="0"/>
          </a:p>
        </p:txBody>
      </p:sp>
      <p:sp>
        <p:nvSpPr>
          <p:cNvPr id="8" name="Fußzeilenplatzhalter 7">
            <a:extLst>
              <a:ext uri="{FF2B5EF4-FFF2-40B4-BE49-F238E27FC236}">
                <a16:creationId xmlns:a16="http://schemas.microsoft.com/office/drawing/2014/main" id="{657E96E2-5EA8-24B2-EA54-495B181B0451}"/>
              </a:ext>
            </a:extLst>
          </p:cNvPr>
          <p:cNvSpPr>
            <a:spLocks noGrp="1"/>
          </p:cNvSpPr>
          <p:nvPr>
            <p:ph type="ftr" sz="quarter" idx="44"/>
          </p:nvPr>
        </p:nvSpPr>
        <p:spPr/>
        <p:txBody>
          <a:bodyPr/>
          <a:lstStyle/>
          <a:p>
            <a:r>
              <a:rPr lang="de-DE"/>
              <a:t>Der Konsument nach Corona und Consumer Voice</a:t>
            </a:r>
            <a:endParaRPr lang="de-DE" dirty="0"/>
          </a:p>
        </p:txBody>
      </p:sp>
      <p:sp>
        <p:nvSpPr>
          <p:cNvPr id="9" name="Foliennummernplatzhalter 8">
            <a:extLst>
              <a:ext uri="{FF2B5EF4-FFF2-40B4-BE49-F238E27FC236}">
                <a16:creationId xmlns:a16="http://schemas.microsoft.com/office/drawing/2014/main" id="{46CF8160-F9AF-86D0-3053-8F8EAED79D7C}"/>
              </a:ext>
            </a:extLst>
          </p:cNvPr>
          <p:cNvSpPr>
            <a:spLocks noGrp="1"/>
          </p:cNvSpPr>
          <p:nvPr>
            <p:ph type="sldNum" sz="quarter" idx="45"/>
          </p:nvPr>
        </p:nvSpPr>
        <p:spPr/>
        <p:txBody>
          <a:bodyPr/>
          <a:lstStyle/>
          <a:p>
            <a:fld id="{CAEA825B-D749-4F0A-886E-8D45A39EAF2A}" type="slidenum">
              <a:rPr lang="de-DE" smtClean="0"/>
              <a:pPr/>
              <a:t>‹Nº›</a:t>
            </a:fld>
            <a:endParaRPr lang="de-DE"/>
          </a:p>
        </p:txBody>
      </p:sp>
      <p:sp>
        <p:nvSpPr>
          <p:cNvPr id="23" name="Subtitle">
            <a:extLst>
              <a:ext uri="{FF2B5EF4-FFF2-40B4-BE49-F238E27FC236}">
                <a16:creationId xmlns:a16="http://schemas.microsoft.com/office/drawing/2014/main" id="{3D4E36E5-F733-2802-B6B7-B993A9A4C347}"/>
              </a:ext>
            </a:extLst>
          </p:cNvPr>
          <p:cNvSpPr>
            <a:spLocks noGrp="1"/>
          </p:cNvSpPr>
          <p:nvPr>
            <p:ph type="subTitle" idx="13" hasCustomPrompt="1"/>
          </p:nvPr>
        </p:nvSpPr>
        <p:spPr bwMode="gray">
          <a:xfrm>
            <a:off x="335360" y="659362"/>
            <a:ext cx="8640959" cy="360040"/>
          </a:xfrm>
          <a:prstGeom prst="rect">
            <a:avLst/>
          </a:prstGeom>
        </p:spPr>
        <p:txBody>
          <a:bodyPr wrap="none" tIns="0"/>
          <a:lstStyle>
            <a:lvl1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1pPr>
            <a:lvl2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2pPr>
            <a:lvl3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3pPr>
            <a:lvl4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4pPr>
            <a:lvl5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5pPr>
            <a:lvl6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6pPr>
            <a:lvl7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7pPr>
            <a:lvl8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8pPr>
            <a:lvl9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9pPr>
          </a:lstStyle>
          <a:p>
            <a:r>
              <a:rPr lang="en-GB" dirty="0"/>
              <a:t>Insert your sub-headline in </a:t>
            </a:r>
            <a:r>
              <a:rPr lang="en-GB" dirty="0" err="1"/>
              <a:t>Lato</a:t>
            </a:r>
            <a:r>
              <a:rPr lang="en-GB" dirty="0"/>
              <a:t> light 20 </a:t>
            </a:r>
            <a:r>
              <a:rPr lang="en-GB" dirty="0" err="1"/>
              <a:t>pt</a:t>
            </a:r>
            <a:r>
              <a:rPr lang="en-GB" dirty="0"/>
              <a:t> here</a:t>
            </a:r>
          </a:p>
        </p:txBody>
      </p:sp>
      <p:grpSp>
        <p:nvGrpSpPr>
          <p:cNvPr id="41" name="Gruppieren 40">
            <a:extLst>
              <a:ext uri="{FF2B5EF4-FFF2-40B4-BE49-F238E27FC236}">
                <a16:creationId xmlns:a16="http://schemas.microsoft.com/office/drawing/2014/main" id="{7BA08125-7EE7-2C3E-8DF3-AD871BACC4D1}"/>
              </a:ext>
              <a:ext uri="{C183D7F6-B498-43B3-948B-1728B52AA6E4}">
                <adec:decorative xmlns:adec="http://schemas.microsoft.com/office/drawing/2017/decorative" val="1"/>
              </a:ext>
            </a:extLst>
          </p:cNvPr>
          <p:cNvGrpSpPr/>
          <p:nvPr userDrawn="1"/>
        </p:nvGrpSpPr>
        <p:grpSpPr>
          <a:xfrm>
            <a:off x="-168768" y="-171392"/>
            <a:ext cx="12025408" cy="6264688"/>
            <a:chOff x="-168768" y="-171392"/>
            <a:chExt cx="12025408" cy="6264688"/>
          </a:xfrm>
        </p:grpSpPr>
        <p:cxnSp>
          <p:nvCxnSpPr>
            <p:cNvPr id="42" name="Gerader Verbinder 41">
              <a:extLst>
                <a:ext uri="{FF2B5EF4-FFF2-40B4-BE49-F238E27FC236}">
                  <a16:creationId xmlns:a16="http://schemas.microsoft.com/office/drawing/2014/main" id="{A63EB47B-48F1-4F0D-CA39-C5C4657A3AAE}"/>
                </a:ext>
              </a:extLst>
            </p:cNvPr>
            <p:cNvCxnSpPr/>
            <p:nvPr userDrawn="1"/>
          </p:nvCxnSpPr>
          <p:spPr bwMode="gray">
            <a:xfrm>
              <a:off x="33536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3" name="Gerader Verbinder 42">
              <a:extLst>
                <a:ext uri="{FF2B5EF4-FFF2-40B4-BE49-F238E27FC236}">
                  <a16:creationId xmlns:a16="http://schemas.microsoft.com/office/drawing/2014/main" id="{BAF29743-DC5B-F663-198D-EE185689E8FE}"/>
                </a:ext>
              </a:extLst>
            </p:cNvPr>
            <p:cNvCxnSpPr/>
            <p:nvPr userDrawn="1"/>
          </p:nvCxnSpPr>
          <p:spPr bwMode="gray">
            <a:xfrm>
              <a:off x="436780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4" name="Gerader Verbinder 43">
              <a:extLst>
                <a:ext uri="{FF2B5EF4-FFF2-40B4-BE49-F238E27FC236}">
                  <a16:creationId xmlns:a16="http://schemas.microsoft.com/office/drawing/2014/main" id="{B7F96642-175F-F984-FF1C-836167D1AF85}"/>
                </a:ext>
              </a:extLst>
            </p:cNvPr>
            <p:cNvCxnSpPr/>
            <p:nvPr userDrawn="1"/>
          </p:nvCxnSpPr>
          <p:spPr bwMode="gray">
            <a:xfrm>
              <a:off x="494387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3BE06527-59D7-682D-5217-C3F4D93E8144}"/>
                </a:ext>
              </a:extLst>
            </p:cNvPr>
            <p:cNvCxnSpPr/>
            <p:nvPr userDrawn="1"/>
          </p:nvCxnSpPr>
          <p:spPr bwMode="gray">
            <a:xfrm>
              <a:off x="667206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6" name="Gerader Verbinder 45">
              <a:extLst>
                <a:ext uri="{FF2B5EF4-FFF2-40B4-BE49-F238E27FC236}">
                  <a16:creationId xmlns:a16="http://schemas.microsoft.com/office/drawing/2014/main" id="{CF2B8E3A-F94B-DA1C-1E11-CBF254A36770}"/>
                </a:ext>
              </a:extLst>
            </p:cNvPr>
            <p:cNvCxnSpPr/>
            <p:nvPr userDrawn="1"/>
          </p:nvCxnSpPr>
          <p:spPr bwMode="gray">
            <a:xfrm>
              <a:off x="609600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7" name="Gerader Verbinder 46">
              <a:extLst>
                <a:ext uri="{FF2B5EF4-FFF2-40B4-BE49-F238E27FC236}">
                  <a16:creationId xmlns:a16="http://schemas.microsoft.com/office/drawing/2014/main" id="{ED487374-447E-EA87-96D4-72788F9EADA3}"/>
                </a:ext>
              </a:extLst>
            </p:cNvPr>
            <p:cNvCxnSpPr/>
            <p:nvPr userDrawn="1"/>
          </p:nvCxnSpPr>
          <p:spPr bwMode="gray">
            <a:xfrm>
              <a:off x="724812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8" name="Gerader Verbinder 47">
              <a:extLst>
                <a:ext uri="{FF2B5EF4-FFF2-40B4-BE49-F238E27FC236}">
                  <a16:creationId xmlns:a16="http://schemas.microsoft.com/office/drawing/2014/main" id="{047C5ED3-2F44-0429-26F6-A1BC58A4F6FA}"/>
                </a:ext>
              </a:extLst>
            </p:cNvPr>
            <p:cNvCxnSpPr/>
            <p:nvPr userDrawn="1"/>
          </p:nvCxnSpPr>
          <p:spPr bwMode="gray">
            <a:xfrm>
              <a:off x="782419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49" name="Gerader Verbinder 48">
              <a:extLst>
                <a:ext uri="{FF2B5EF4-FFF2-40B4-BE49-F238E27FC236}">
                  <a16:creationId xmlns:a16="http://schemas.microsoft.com/office/drawing/2014/main" id="{576018A4-244C-064D-D399-540C7D55C3CB}"/>
                </a:ext>
              </a:extLst>
            </p:cNvPr>
            <p:cNvCxnSpPr/>
            <p:nvPr userDrawn="1"/>
          </p:nvCxnSpPr>
          <p:spPr bwMode="gray">
            <a:xfrm>
              <a:off x="840025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8D7D2905-272D-4856-E1A7-78CEEF93A2EE}"/>
                </a:ext>
              </a:extLst>
            </p:cNvPr>
            <p:cNvCxnSpPr/>
            <p:nvPr userDrawn="1"/>
          </p:nvCxnSpPr>
          <p:spPr bwMode="gray">
            <a:xfrm>
              <a:off x="897632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D18A054D-07F2-D93E-B14F-F85D9F104C6F}"/>
                </a:ext>
              </a:extLst>
            </p:cNvPr>
            <p:cNvCxnSpPr/>
            <p:nvPr userDrawn="1"/>
          </p:nvCxnSpPr>
          <p:spPr bwMode="gray">
            <a:xfrm>
              <a:off x="1128057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944E1B69-9971-B70D-3FE9-CF02DA52AB3E}"/>
                </a:ext>
              </a:extLst>
            </p:cNvPr>
            <p:cNvCxnSpPr/>
            <p:nvPr userDrawn="1"/>
          </p:nvCxnSpPr>
          <p:spPr bwMode="gray">
            <a:xfrm>
              <a:off x="1185664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71E43C26-43B9-6C35-39AC-2E845039CC4D}"/>
                </a:ext>
              </a:extLst>
            </p:cNvPr>
            <p:cNvCxnSpPr>
              <a:cxnSpLocks/>
            </p:cNvCxnSpPr>
            <p:nvPr userDrawn="1"/>
          </p:nvCxnSpPr>
          <p:spPr bwMode="gray">
            <a:xfrm rot="5400000">
              <a:off x="-132688" y="29665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421E4475-FFD3-2512-8444-9C898AFE40C3}"/>
                </a:ext>
              </a:extLst>
            </p:cNvPr>
            <p:cNvCxnSpPr/>
            <p:nvPr userDrawn="1"/>
          </p:nvCxnSpPr>
          <p:spPr bwMode="gray">
            <a:xfrm>
              <a:off x="321568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E1037DF9-8870-38FA-5D07-784353C93133}"/>
                </a:ext>
              </a:extLst>
            </p:cNvPr>
            <p:cNvCxnSpPr/>
            <p:nvPr userDrawn="1"/>
          </p:nvCxnSpPr>
          <p:spPr bwMode="gray">
            <a:xfrm>
              <a:off x="379174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4BA03DE7-52EF-3925-FB09-75AABA13C108}"/>
                </a:ext>
              </a:extLst>
            </p:cNvPr>
            <p:cNvCxnSpPr>
              <a:cxnSpLocks/>
            </p:cNvCxnSpPr>
            <p:nvPr userDrawn="1"/>
          </p:nvCxnSpPr>
          <p:spPr bwMode="gray">
            <a:xfrm rot="5400000">
              <a:off x="-132704" y="87272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015FF6DE-77DF-E7A4-6392-886F005BA770}"/>
                </a:ext>
              </a:extLst>
            </p:cNvPr>
            <p:cNvCxnSpPr>
              <a:cxnSpLocks/>
            </p:cNvCxnSpPr>
            <p:nvPr userDrawn="1"/>
          </p:nvCxnSpPr>
          <p:spPr bwMode="gray">
            <a:xfrm rot="5400000">
              <a:off x="-132712" y="202484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6" name="Gerader Verbinder 75">
              <a:extLst>
                <a:ext uri="{FF2B5EF4-FFF2-40B4-BE49-F238E27FC236}">
                  <a16:creationId xmlns:a16="http://schemas.microsoft.com/office/drawing/2014/main" id="{19714360-1C88-C497-CB2B-1AC73C16FB6F}"/>
                </a:ext>
              </a:extLst>
            </p:cNvPr>
            <p:cNvCxnSpPr>
              <a:cxnSpLocks/>
            </p:cNvCxnSpPr>
            <p:nvPr userDrawn="1"/>
          </p:nvCxnSpPr>
          <p:spPr bwMode="gray">
            <a:xfrm rot="5400000">
              <a:off x="-132768" y="605729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ABC11D07-DA96-CF44-E243-01D51D0803D3}"/>
                </a:ext>
              </a:extLst>
            </p:cNvPr>
            <p:cNvCxnSpPr/>
            <p:nvPr/>
          </p:nvCxnSpPr>
          <p:spPr bwMode="gray">
            <a:xfrm>
              <a:off x="1070451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D0EDB25F-FC82-D8FF-F38B-3DC0A5C35908}"/>
                </a:ext>
              </a:extLst>
            </p:cNvPr>
            <p:cNvCxnSpPr/>
            <p:nvPr/>
          </p:nvCxnSpPr>
          <p:spPr bwMode="gray">
            <a:xfrm>
              <a:off x="1012844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id="{20814C5E-3771-ADF3-6472-F72D9415AB10}"/>
                </a:ext>
              </a:extLst>
            </p:cNvPr>
            <p:cNvCxnSpPr/>
            <p:nvPr/>
          </p:nvCxnSpPr>
          <p:spPr bwMode="gray">
            <a:xfrm>
              <a:off x="955059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id="{5965A344-B930-F141-E35D-CF38ABC09AF6}"/>
                </a:ext>
              </a:extLst>
            </p:cNvPr>
            <p:cNvCxnSpPr/>
            <p:nvPr/>
          </p:nvCxnSpPr>
          <p:spPr bwMode="gray">
            <a:xfrm>
              <a:off x="551973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564B4EDB-4AE0-712F-1385-1BC8DCA7D11E}"/>
                </a:ext>
              </a:extLst>
            </p:cNvPr>
            <p:cNvCxnSpPr/>
            <p:nvPr/>
          </p:nvCxnSpPr>
          <p:spPr bwMode="gray">
            <a:xfrm>
              <a:off x="263961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DDB8D53C-DF1A-A9F5-08B0-6A4E543D2C1F}"/>
                </a:ext>
              </a:extLst>
            </p:cNvPr>
            <p:cNvCxnSpPr/>
            <p:nvPr/>
          </p:nvCxnSpPr>
          <p:spPr bwMode="gray">
            <a:xfrm>
              <a:off x="206355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3" name="Gerader Verbinder 82">
              <a:extLst>
                <a:ext uri="{FF2B5EF4-FFF2-40B4-BE49-F238E27FC236}">
                  <a16:creationId xmlns:a16="http://schemas.microsoft.com/office/drawing/2014/main" id="{37270D82-F775-CAD8-DF14-FA3009CD7F3B}"/>
                </a:ext>
              </a:extLst>
            </p:cNvPr>
            <p:cNvCxnSpPr/>
            <p:nvPr/>
          </p:nvCxnSpPr>
          <p:spPr bwMode="gray">
            <a:xfrm>
              <a:off x="148748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F502EC40-7322-8A63-B513-55B9F07640C6}"/>
                </a:ext>
              </a:extLst>
            </p:cNvPr>
            <p:cNvCxnSpPr/>
            <p:nvPr/>
          </p:nvCxnSpPr>
          <p:spPr bwMode="gray">
            <a:xfrm>
              <a:off x="91142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5" name="Gerader Verbinder 84">
              <a:extLst>
                <a:ext uri="{FF2B5EF4-FFF2-40B4-BE49-F238E27FC236}">
                  <a16:creationId xmlns:a16="http://schemas.microsoft.com/office/drawing/2014/main" id="{9C4992A9-051E-70B2-94A4-652D3D379EF2}"/>
                </a:ext>
              </a:extLst>
            </p:cNvPr>
            <p:cNvCxnSpPr>
              <a:cxnSpLocks/>
            </p:cNvCxnSpPr>
            <p:nvPr/>
          </p:nvCxnSpPr>
          <p:spPr bwMode="gray">
            <a:xfrm rot="5400000">
              <a:off x="-132704" y="144878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6" name="Gerader Verbinder 85">
              <a:extLst>
                <a:ext uri="{FF2B5EF4-FFF2-40B4-BE49-F238E27FC236}">
                  <a16:creationId xmlns:a16="http://schemas.microsoft.com/office/drawing/2014/main" id="{86B5A0F3-3CAA-ADAC-0FF7-5EBAC246CEC0}"/>
                </a:ext>
              </a:extLst>
            </p:cNvPr>
            <p:cNvCxnSpPr>
              <a:cxnSpLocks/>
            </p:cNvCxnSpPr>
            <p:nvPr/>
          </p:nvCxnSpPr>
          <p:spPr bwMode="gray">
            <a:xfrm rot="5400000">
              <a:off x="-132712" y="260091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4893B2CD-1737-51CD-3E35-B36404D6668E}"/>
                </a:ext>
              </a:extLst>
            </p:cNvPr>
            <p:cNvCxnSpPr>
              <a:cxnSpLocks/>
            </p:cNvCxnSpPr>
            <p:nvPr/>
          </p:nvCxnSpPr>
          <p:spPr bwMode="gray">
            <a:xfrm rot="5400000">
              <a:off x="-132712" y="317697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94" name="Gerader Verbinder 93">
              <a:extLst>
                <a:ext uri="{FF2B5EF4-FFF2-40B4-BE49-F238E27FC236}">
                  <a16:creationId xmlns:a16="http://schemas.microsoft.com/office/drawing/2014/main" id="{D89CAAAF-A199-CDF6-761C-D504587EB31B}"/>
                </a:ext>
              </a:extLst>
            </p:cNvPr>
            <p:cNvCxnSpPr>
              <a:cxnSpLocks/>
            </p:cNvCxnSpPr>
            <p:nvPr/>
          </p:nvCxnSpPr>
          <p:spPr bwMode="gray">
            <a:xfrm rot="5400000">
              <a:off x="-132712" y="375304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95" name="Gerader Verbinder 94">
              <a:extLst>
                <a:ext uri="{FF2B5EF4-FFF2-40B4-BE49-F238E27FC236}">
                  <a16:creationId xmlns:a16="http://schemas.microsoft.com/office/drawing/2014/main" id="{D1CDE91A-803E-A38E-F98C-3F190B8BC150}"/>
                </a:ext>
              </a:extLst>
            </p:cNvPr>
            <p:cNvCxnSpPr>
              <a:cxnSpLocks/>
            </p:cNvCxnSpPr>
            <p:nvPr/>
          </p:nvCxnSpPr>
          <p:spPr bwMode="gray">
            <a:xfrm rot="5400000">
              <a:off x="-132712" y="432910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96" name="Gerader Verbinder 95">
              <a:extLst>
                <a:ext uri="{FF2B5EF4-FFF2-40B4-BE49-F238E27FC236}">
                  <a16:creationId xmlns:a16="http://schemas.microsoft.com/office/drawing/2014/main" id="{D5FC61C6-EFE3-5D02-5E56-ACE89948925B}"/>
                </a:ext>
              </a:extLst>
            </p:cNvPr>
            <p:cNvCxnSpPr>
              <a:cxnSpLocks/>
            </p:cNvCxnSpPr>
            <p:nvPr/>
          </p:nvCxnSpPr>
          <p:spPr bwMode="gray">
            <a:xfrm rot="5400000">
              <a:off x="-132712" y="490516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97" name="Gerader Verbinder 96">
              <a:extLst>
                <a:ext uri="{FF2B5EF4-FFF2-40B4-BE49-F238E27FC236}">
                  <a16:creationId xmlns:a16="http://schemas.microsoft.com/office/drawing/2014/main" id="{8F538CFD-67EB-985E-734C-5D34BBCE8FBE}"/>
                </a:ext>
              </a:extLst>
            </p:cNvPr>
            <p:cNvCxnSpPr>
              <a:cxnSpLocks/>
            </p:cNvCxnSpPr>
            <p:nvPr/>
          </p:nvCxnSpPr>
          <p:spPr bwMode="gray">
            <a:xfrm rot="5400000">
              <a:off x="-132712" y="548123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07071110"/>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ree contact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334A277-72C3-E467-A2EF-5303E1A51910}"/>
              </a:ext>
            </a:extLst>
          </p:cNvPr>
          <p:cNvGraphicFramePr>
            <a:graphicFrameLocks noChangeAspect="1"/>
          </p:cNvGraphicFramePr>
          <p:nvPr userDrawn="1">
            <p:custDataLst>
              <p:tags r:id="rId1"/>
            </p:custDataLst>
            <p:extLst>
              <p:ext uri="{D42A27DB-BD31-4B8C-83A1-F6EECF244321}">
                <p14:modId xmlns:p14="http://schemas.microsoft.com/office/powerpoint/2010/main" val="1032119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3" name="Objekt 2" hidden="1">
                        <a:extLst>
                          <a:ext uri="{FF2B5EF4-FFF2-40B4-BE49-F238E27FC236}">
                            <a16:creationId xmlns:a16="http://schemas.microsoft.com/office/drawing/2014/main" id="{0334A277-72C3-E467-A2EF-5303E1A5191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a:extLst>
              <a:ext uri="{FF2B5EF4-FFF2-40B4-BE49-F238E27FC236}">
                <a16:creationId xmlns:a16="http://schemas.microsoft.com/office/drawing/2014/main" id="{03F187D5-78CE-4CB4-97FD-A8472D948E4B}"/>
              </a:ext>
            </a:extLst>
          </p:cNvPr>
          <p:cNvSpPr>
            <a:spLocks noGrp="1"/>
          </p:cNvSpPr>
          <p:nvPr>
            <p:ph type="title" hasCustomPrompt="1"/>
          </p:nvPr>
        </p:nvSpPr>
        <p:spPr bwMode="gray"/>
        <p:txBody>
          <a:bodyPr vert="horz"/>
          <a:lstStyle>
            <a:lvl1pPr>
              <a:defRPr/>
            </a:lvl1pPr>
          </a:lstStyle>
          <a:p>
            <a:r>
              <a:rPr lang="en-GB"/>
              <a:t>Insert your headline in Lato Heavy 24 pt here</a:t>
            </a:r>
            <a:endParaRPr lang="en-GB" dirty="0"/>
          </a:p>
        </p:txBody>
      </p:sp>
      <p:sp>
        <p:nvSpPr>
          <p:cNvPr id="48" name="Shape">
            <a:extLst>
              <a:ext uri="{FF2B5EF4-FFF2-40B4-BE49-F238E27FC236}">
                <a16:creationId xmlns:a16="http://schemas.microsoft.com/office/drawing/2014/main" id="{62E7F382-C6C4-485A-83D1-B2DF463F3B70}"/>
              </a:ext>
              <a:ext uri="{C183D7F6-B498-43B3-948B-1728B52AA6E4}">
                <adec:decorative xmlns:adec="http://schemas.microsoft.com/office/drawing/2017/decorative" val="1"/>
              </a:ext>
            </a:extLst>
          </p:cNvPr>
          <p:cNvSpPr/>
          <p:nvPr userDrawn="1"/>
        </p:nvSpPr>
        <p:spPr bwMode="gray">
          <a:xfrm>
            <a:off x="335360" y="1485364"/>
            <a:ext cx="5184824" cy="20151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4" name="Picture Placeholder 3">
            <a:extLst>
              <a:ext uri="{FF2B5EF4-FFF2-40B4-BE49-F238E27FC236}">
                <a16:creationId xmlns:a16="http://schemas.microsoft.com/office/drawing/2014/main" id="{96D1107F-3E3A-3C4B-8256-95C871BFFA2C}"/>
              </a:ext>
            </a:extLst>
          </p:cNvPr>
          <p:cNvSpPr>
            <a:spLocks noGrp="1"/>
          </p:cNvSpPr>
          <p:nvPr>
            <p:ph type="pic" sz="quarter" idx="17" hasCustomPrompt="1"/>
          </p:nvPr>
        </p:nvSpPr>
        <p:spPr bwMode="gray">
          <a:xfrm>
            <a:off x="551672" y="1701363"/>
            <a:ext cx="1368000" cy="1584000"/>
          </a:xfrm>
          <a:prstGeom prst="rect">
            <a:avLst/>
          </a:prstGeom>
          <a:solidFill>
            <a:srgbClr val="D6D9DC"/>
          </a:solidFill>
        </p:spPr>
        <p:txBody>
          <a:bodyPr/>
          <a:lstStyle>
            <a:lvl1pPr marL="0" indent="0">
              <a:buNone/>
              <a:defRPr sz="1400"/>
            </a:lvl1pPr>
          </a:lstStyle>
          <a:p>
            <a:r>
              <a:rPr lang="en-GB"/>
              <a:t> </a:t>
            </a:r>
            <a:endParaRPr lang="en-GB" dirty="0"/>
          </a:p>
        </p:txBody>
      </p:sp>
      <p:sp>
        <p:nvSpPr>
          <p:cNvPr id="95" name="Text Placeholder 5">
            <a:extLst>
              <a:ext uri="{FF2B5EF4-FFF2-40B4-BE49-F238E27FC236}">
                <a16:creationId xmlns:a16="http://schemas.microsoft.com/office/drawing/2014/main" id="{9E6D6A14-7FC7-2E46-8CC2-5CA4E5211990}"/>
              </a:ext>
            </a:extLst>
          </p:cNvPr>
          <p:cNvSpPr>
            <a:spLocks noGrp="1"/>
          </p:cNvSpPr>
          <p:nvPr>
            <p:ph type="body" sz="quarter" idx="19" hasCustomPrompt="1"/>
          </p:nvPr>
        </p:nvSpPr>
        <p:spPr bwMode="gray">
          <a:xfrm>
            <a:off x="2207904" y="1701363"/>
            <a:ext cx="3024000" cy="216000"/>
          </a:xfrm>
          <a:prstGeom prst="rect">
            <a:avLst/>
          </a:prstGeom>
        </p:spPr>
        <p:txBody>
          <a:bodyPr lIns="0" tIns="0" rIns="0" bIns="0" anchor="t" anchorCtr="0"/>
          <a:lstStyle>
            <a:lvl1pPr marL="0" indent="0" algn="l">
              <a:lnSpc>
                <a:spcPct val="100000"/>
              </a:lnSpc>
              <a:spcBef>
                <a:spcPts val="0"/>
              </a:spcBef>
              <a:buFont typeface="Arial" panose="020B0604020202020204" pitchFamily="34" charset="0"/>
              <a:buNone/>
              <a:defRPr sz="900" b="0" cap="all" baseline="0">
                <a:solidFill>
                  <a:schemeClr val="bg1"/>
                </a:solidFill>
                <a:latin typeface="+mn-lt"/>
              </a:defRPr>
            </a:lvl1pPr>
            <a:lvl2pPr marL="0" indent="0">
              <a:lnSpc>
                <a:spcPct val="100000"/>
              </a:lnSpc>
              <a:spcBef>
                <a:spcPts val="0"/>
              </a:spcBef>
              <a:buFont typeface="Arial" panose="020B0604020202020204" pitchFamily="34" charset="0"/>
              <a:buNone/>
              <a:defRPr sz="900" b="0" cap="all" baseline="0">
                <a:solidFill>
                  <a:schemeClr val="bg1"/>
                </a:solidFill>
                <a:latin typeface="+mn-lt"/>
              </a:defRPr>
            </a:lvl2pPr>
            <a:lvl3pPr marL="0" indent="0">
              <a:lnSpc>
                <a:spcPct val="100000"/>
              </a:lnSpc>
              <a:spcBef>
                <a:spcPts val="0"/>
              </a:spcBef>
              <a:buFont typeface="Arial" panose="020B0604020202020204" pitchFamily="34" charset="0"/>
              <a:buNone/>
              <a:defRPr sz="900" b="0" cap="all" baseline="0">
                <a:solidFill>
                  <a:schemeClr val="bg1"/>
                </a:solidFill>
                <a:latin typeface="+mn-lt"/>
              </a:defRPr>
            </a:lvl3pPr>
            <a:lvl4pPr marL="0" indent="0">
              <a:lnSpc>
                <a:spcPct val="100000"/>
              </a:lnSpc>
              <a:spcBef>
                <a:spcPts val="0"/>
              </a:spcBef>
              <a:buFont typeface="Arial" panose="020B0604020202020204" pitchFamily="34" charset="0"/>
              <a:buNone/>
              <a:defRPr sz="900" b="0" cap="all" baseline="0">
                <a:solidFill>
                  <a:schemeClr val="bg1"/>
                </a:solidFill>
                <a:latin typeface="+mn-lt"/>
              </a:defRPr>
            </a:lvl4pPr>
            <a:lvl5pPr marL="0" indent="0">
              <a:lnSpc>
                <a:spcPct val="100000"/>
              </a:lnSpc>
              <a:spcBef>
                <a:spcPts val="0"/>
              </a:spcBef>
              <a:buFont typeface="Arial" panose="020B0604020202020204" pitchFamily="34" charset="0"/>
              <a:buNone/>
              <a:defRPr sz="900" b="0" cap="all" baseline="0">
                <a:solidFill>
                  <a:schemeClr val="bg1"/>
                </a:solidFill>
                <a:latin typeface="+mn-lt"/>
              </a:defRPr>
            </a:lvl5pPr>
            <a:lvl6pPr marL="0" indent="0">
              <a:spcBef>
                <a:spcPts val="0"/>
              </a:spcBef>
              <a:buNone/>
              <a:defRPr sz="900" b="0" cap="all" baseline="0">
                <a:solidFill>
                  <a:schemeClr val="bg1"/>
                </a:solidFill>
                <a:latin typeface="+mn-lt"/>
              </a:defRPr>
            </a:lvl6pPr>
            <a:lvl7pPr marL="0" indent="0">
              <a:spcBef>
                <a:spcPts val="0"/>
              </a:spcBef>
              <a:buNone/>
              <a:defRPr sz="900" b="0" cap="all" baseline="0">
                <a:solidFill>
                  <a:schemeClr val="bg1"/>
                </a:solidFill>
                <a:latin typeface="+mn-lt"/>
              </a:defRPr>
            </a:lvl7pPr>
            <a:lvl8pPr marL="0" indent="0">
              <a:spcBef>
                <a:spcPts val="0"/>
              </a:spcBef>
              <a:buNone/>
              <a:defRPr sz="900" b="0" cap="all" baseline="0">
                <a:solidFill>
                  <a:schemeClr val="bg1"/>
                </a:solidFill>
                <a:latin typeface="+mn-lt"/>
              </a:defRPr>
            </a:lvl8pPr>
            <a:lvl9pPr marL="0" indent="0">
              <a:spcBef>
                <a:spcPts val="0"/>
              </a:spcBef>
              <a:buNone/>
              <a:defRPr sz="900" b="0" cap="all" baseline="0">
                <a:solidFill>
                  <a:schemeClr val="bg1"/>
                </a:solidFill>
                <a:latin typeface="+mn-lt"/>
              </a:defRPr>
            </a:lvl9pPr>
          </a:lstStyle>
          <a:p>
            <a:pPr lvl="0"/>
            <a:r>
              <a:rPr lang="en-GB"/>
              <a:t>Country</a:t>
            </a:r>
            <a:endParaRPr lang="en-GB" dirty="0"/>
          </a:p>
        </p:txBody>
      </p:sp>
      <p:sp>
        <p:nvSpPr>
          <p:cNvPr id="96" name="Text Placeholder 5">
            <a:extLst>
              <a:ext uri="{FF2B5EF4-FFF2-40B4-BE49-F238E27FC236}">
                <a16:creationId xmlns:a16="http://schemas.microsoft.com/office/drawing/2014/main" id="{F98B3B28-1889-DA4F-A2D1-BD173114DC3B}"/>
              </a:ext>
            </a:extLst>
          </p:cNvPr>
          <p:cNvSpPr>
            <a:spLocks noGrp="1"/>
          </p:cNvSpPr>
          <p:nvPr>
            <p:ph type="body" sz="quarter" idx="20" hasCustomPrompt="1"/>
          </p:nvPr>
        </p:nvSpPr>
        <p:spPr bwMode="gray">
          <a:xfrm>
            <a:off x="2207904" y="2061363"/>
            <a:ext cx="3024000"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baseline="0">
                <a:solidFill>
                  <a:schemeClr val="bg1"/>
                </a:solidFill>
                <a:latin typeface="+mj-lt"/>
              </a:defRPr>
            </a:lvl1pPr>
            <a:lvl2pPr marL="0" indent="0">
              <a:lnSpc>
                <a:spcPct val="100000"/>
              </a:lnSpc>
              <a:spcBef>
                <a:spcPts val="0"/>
              </a:spcBef>
              <a:buFont typeface="Arial" panose="020B0604020202020204" pitchFamily="34" charset="0"/>
              <a:buNone/>
              <a:defRPr sz="1100" b="0">
                <a:solidFill>
                  <a:schemeClr val="bg1"/>
                </a:solidFill>
                <a:latin typeface="+mj-lt"/>
              </a:defRPr>
            </a:lvl2pPr>
            <a:lvl3pPr marL="0" indent="0">
              <a:lnSpc>
                <a:spcPct val="100000"/>
              </a:lnSpc>
              <a:spcBef>
                <a:spcPts val="0"/>
              </a:spcBef>
              <a:buFont typeface="Arial" panose="020B0604020202020204" pitchFamily="34" charset="0"/>
              <a:buNone/>
              <a:defRPr sz="1100" b="0">
                <a:solidFill>
                  <a:schemeClr val="bg1"/>
                </a:solidFill>
                <a:latin typeface="+mj-lt"/>
              </a:defRPr>
            </a:lvl3pPr>
            <a:lvl4pPr marL="0" indent="0">
              <a:lnSpc>
                <a:spcPct val="100000"/>
              </a:lnSpc>
              <a:spcBef>
                <a:spcPts val="0"/>
              </a:spcBef>
              <a:buFont typeface="Arial" panose="020B0604020202020204" pitchFamily="34" charset="0"/>
              <a:buNone/>
              <a:defRPr sz="1100" b="0">
                <a:solidFill>
                  <a:schemeClr val="bg1"/>
                </a:solidFill>
                <a:latin typeface="+mj-lt"/>
              </a:defRPr>
            </a:lvl4pPr>
            <a:lvl5pPr marL="0" indent="0">
              <a:lnSpc>
                <a:spcPct val="100000"/>
              </a:lnSpc>
              <a:spcBef>
                <a:spcPts val="0"/>
              </a:spcBef>
              <a:buFont typeface="Arial" panose="020B0604020202020204" pitchFamily="34" charset="0"/>
              <a:buNone/>
              <a:defRPr sz="1100" b="0">
                <a:solidFill>
                  <a:schemeClr val="bg1"/>
                </a:solidFill>
                <a:latin typeface="+mj-lt"/>
              </a:defRPr>
            </a:lvl5pPr>
            <a:lvl6pPr marL="0" indent="0">
              <a:spcBef>
                <a:spcPts val="0"/>
              </a:spcBef>
              <a:buNone/>
              <a:defRPr sz="1100" b="0">
                <a:solidFill>
                  <a:schemeClr val="bg1"/>
                </a:solidFill>
                <a:latin typeface="+mj-lt"/>
              </a:defRPr>
            </a:lvl6pPr>
            <a:lvl7pPr marL="0" indent="0">
              <a:spcBef>
                <a:spcPts val="0"/>
              </a:spcBef>
              <a:buNone/>
              <a:defRPr sz="1100" b="0">
                <a:solidFill>
                  <a:schemeClr val="bg1"/>
                </a:solidFill>
                <a:latin typeface="+mj-lt"/>
              </a:defRPr>
            </a:lvl7pPr>
            <a:lvl8pPr marL="0" indent="0">
              <a:spcBef>
                <a:spcPts val="0"/>
              </a:spcBef>
              <a:buNone/>
              <a:defRPr sz="1100" b="0">
                <a:solidFill>
                  <a:schemeClr val="bg1"/>
                </a:solidFill>
                <a:latin typeface="+mj-lt"/>
              </a:defRPr>
            </a:lvl8pPr>
            <a:lvl9pPr marL="0" indent="0">
              <a:spcBef>
                <a:spcPts val="0"/>
              </a:spcBef>
              <a:buNone/>
              <a:defRPr sz="1100" b="0">
                <a:solidFill>
                  <a:schemeClr val="bg1"/>
                </a:solidFill>
                <a:latin typeface="+mj-lt"/>
              </a:defRPr>
            </a:lvl9pPr>
          </a:lstStyle>
          <a:p>
            <a:pPr lvl="0"/>
            <a:r>
              <a:rPr lang="en-GB"/>
              <a:t>Name Surname</a:t>
            </a:r>
            <a:endParaRPr lang="en-GB" dirty="0"/>
          </a:p>
        </p:txBody>
      </p:sp>
      <p:sp>
        <p:nvSpPr>
          <p:cNvPr id="97" name="Text Placeholder 5">
            <a:extLst>
              <a:ext uri="{FF2B5EF4-FFF2-40B4-BE49-F238E27FC236}">
                <a16:creationId xmlns:a16="http://schemas.microsoft.com/office/drawing/2014/main" id="{8AAA19EE-9DB4-474A-A321-C8153907CCE5}"/>
              </a:ext>
            </a:extLst>
          </p:cNvPr>
          <p:cNvSpPr>
            <a:spLocks noGrp="1"/>
          </p:cNvSpPr>
          <p:nvPr>
            <p:ph type="body" sz="quarter" idx="21" hasCustomPrompt="1"/>
          </p:nvPr>
        </p:nvSpPr>
        <p:spPr bwMode="gray">
          <a:xfrm>
            <a:off x="2207904" y="2277363"/>
            <a:ext cx="3024000" cy="216000"/>
          </a:xfrm>
          <a:prstGeom prst="rect">
            <a:avLst/>
          </a:prstGeom>
        </p:spPr>
        <p:txBody>
          <a:bodyPr lIns="0" tIns="36000" rIns="0" bIns="0" anchor="t"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a:t>Job Position</a:t>
            </a:r>
            <a:endParaRPr lang="en-GB" dirty="0"/>
          </a:p>
        </p:txBody>
      </p:sp>
      <p:sp>
        <p:nvSpPr>
          <p:cNvPr id="98" name="Text Placeholder 5">
            <a:extLst>
              <a:ext uri="{FF2B5EF4-FFF2-40B4-BE49-F238E27FC236}">
                <a16:creationId xmlns:a16="http://schemas.microsoft.com/office/drawing/2014/main" id="{B143D523-493C-BC4E-B1AA-5DB95154E377}"/>
              </a:ext>
            </a:extLst>
          </p:cNvPr>
          <p:cNvSpPr>
            <a:spLocks noGrp="1"/>
          </p:cNvSpPr>
          <p:nvPr>
            <p:ph type="body" sz="quarter" idx="22" hasCustomPrompt="1"/>
          </p:nvPr>
        </p:nvSpPr>
        <p:spPr bwMode="gray">
          <a:xfrm>
            <a:off x="2207904" y="2853363"/>
            <a:ext cx="3024000"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a:t>Phone number</a:t>
            </a:r>
            <a:endParaRPr lang="en-GB" dirty="0"/>
          </a:p>
        </p:txBody>
      </p:sp>
      <p:sp>
        <p:nvSpPr>
          <p:cNvPr id="99" name="Text Placeholder 5">
            <a:extLst>
              <a:ext uri="{FF2B5EF4-FFF2-40B4-BE49-F238E27FC236}">
                <a16:creationId xmlns:a16="http://schemas.microsoft.com/office/drawing/2014/main" id="{9D91B60C-53AD-284C-95D2-EDFB9B2E1C5D}"/>
              </a:ext>
            </a:extLst>
          </p:cNvPr>
          <p:cNvSpPr>
            <a:spLocks noGrp="1"/>
          </p:cNvSpPr>
          <p:nvPr>
            <p:ph type="body" sz="quarter" idx="23" hasCustomPrompt="1"/>
          </p:nvPr>
        </p:nvSpPr>
        <p:spPr bwMode="gray">
          <a:xfrm>
            <a:off x="2207904" y="3069363"/>
            <a:ext cx="3024000"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a:t>Email address</a:t>
            </a:r>
            <a:endParaRPr lang="en-GB" dirty="0"/>
          </a:p>
        </p:txBody>
      </p:sp>
      <p:sp>
        <p:nvSpPr>
          <p:cNvPr id="49" name="Shape">
            <a:extLst>
              <a:ext uri="{FF2B5EF4-FFF2-40B4-BE49-F238E27FC236}">
                <a16:creationId xmlns:a16="http://schemas.microsoft.com/office/drawing/2014/main" id="{FA2307D6-B00C-4CF8-B22E-11BF9AF7DEF2}"/>
              </a:ext>
              <a:ext uri="{C183D7F6-B498-43B3-948B-1728B52AA6E4}">
                <adec:decorative xmlns:adec="http://schemas.microsoft.com/office/drawing/2017/decorative" val="1"/>
              </a:ext>
            </a:extLst>
          </p:cNvPr>
          <p:cNvSpPr/>
          <p:nvPr userDrawn="1"/>
        </p:nvSpPr>
        <p:spPr bwMode="gray">
          <a:xfrm>
            <a:off x="6095801" y="1485877"/>
            <a:ext cx="5184775" cy="20151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119" name="Picture Placeholder 3">
            <a:extLst>
              <a:ext uri="{FF2B5EF4-FFF2-40B4-BE49-F238E27FC236}">
                <a16:creationId xmlns:a16="http://schemas.microsoft.com/office/drawing/2014/main" id="{B5007B33-0681-7C4B-8C02-A2115D4F5A85}"/>
              </a:ext>
            </a:extLst>
          </p:cNvPr>
          <p:cNvSpPr>
            <a:spLocks noGrp="1"/>
          </p:cNvSpPr>
          <p:nvPr>
            <p:ph type="pic" sz="quarter" idx="36" hasCustomPrompt="1"/>
          </p:nvPr>
        </p:nvSpPr>
        <p:spPr bwMode="gray">
          <a:xfrm>
            <a:off x="6312272" y="1701363"/>
            <a:ext cx="1368000" cy="1584000"/>
          </a:xfrm>
          <a:prstGeom prst="rect">
            <a:avLst/>
          </a:prstGeom>
          <a:solidFill>
            <a:srgbClr val="D6D9DC"/>
          </a:solidFill>
        </p:spPr>
        <p:txBody>
          <a:bodyPr/>
          <a:lstStyle>
            <a:lvl1pPr marL="0" indent="0">
              <a:buNone/>
              <a:defRPr sz="1400"/>
            </a:lvl1pPr>
          </a:lstStyle>
          <a:p>
            <a:r>
              <a:rPr lang="en-GB"/>
              <a:t> </a:t>
            </a:r>
            <a:endParaRPr lang="en-GB" dirty="0"/>
          </a:p>
        </p:txBody>
      </p:sp>
      <p:sp>
        <p:nvSpPr>
          <p:cNvPr id="120" name="Text Placeholder 5">
            <a:extLst>
              <a:ext uri="{FF2B5EF4-FFF2-40B4-BE49-F238E27FC236}">
                <a16:creationId xmlns:a16="http://schemas.microsoft.com/office/drawing/2014/main" id="{7947A278-4541-C145-8A1A-805C82E2BEB2}"/>
              </a:ext>
            </a:extLst>
          </p:cNvPr>
          <p:cNvSpPr>
            <a:spLocks noGrp="1"/>
          </p:cNvSpPr>
          <p:nvPr>
            <p:ph type="body" sz="quarter" idx="37" hasCustomPrompt="1"/>
          </p:nvPr>
        </p:nvSpPr>
        <p:spPr bwMode="gray">
          <a:xfrm>
            <a:off x="7968792" y="1701363"/>
            <a:ext cx="3024000" cy="216000"/>
          </a:xfrm>
          <a:prstGeom prst="rect">
            <a:avLst/>
          </a:prstGeom>
        </p:spPr>
        <p:txBody>
          <a:bodyPr lIns="0" tIns="0" rIns="0" bIns="0" anchor="t" anchorCtr="0"/>
          <a:lstStyle>
            <a:lvl1pPr marL="0" indent="0" algn="l">
              <a:lnSpc>
                <a:spcPct val="100000"/>
              </a:lnSpc>
              <a:spcBef>
                <a:spcPts val="0"/>
              </a:spcBef>
              <a:buFont typeface="Arial" panose="020B0604020202020204" pitchFamily="34" charset="0"/>
              <a:buNone/>
              <a:defRPr sz="900" b="0" cap="all" baseline="0">
                <a:solidFill>
                  <a:schemeClr val="bg1"/>
                </a:solidFill>
                <a:latin typeface="+mn-lt"/>
              </a:defRPr>
            </a:lvl1pPr>
            <a:lvl2pPr marL="0" indent="0">
              <a:lnSpc>
                <a:spcPct val="100000"/>
              </a:lnSpc>
              <a:spcBef>
                <a:spcPts val="0"/>
              </a:spcBef>
              <a:buFont typeface="Arial" panose="020B0604020202020204" pitchFamily="34" charset="0"/>
              <a:buNone/>
              <a:defRPr sz="900" b="0" cap="all" baseline="0">
                <a:solidFill>
                  <a:schemeClr val="bg1"/>
                </a:solidFill>
                <a:latin typeface="+mn-lt"/>
              </a:defRPr>
            </a:lvl2pPr>
            <a:lvl3pPr marL="0" indent="0">
              <a:lnSpc>
                <a:spcPct val="100000"/>
              </a:lnSpc>
              <a:spcBef>
                <a:spcPts val="0"/>
              </a:spcBef>
              <a:buFont typeface="Arial" panose="020B0604020202020204" pitchFamily="34" charset="0"/>
              <a:buNone/>
              <a:defRPr sz="900" b="0" cap="all" baseline="0">
                <a:solidFill>
                  <a:schemeClr val="bg1"/>
                </a:solidFill>
                <a:latin typeface="+mn-lt"/>
              </a:defRPr>
            </a:lvl3pPr>
            <a:lvl4pPr marL="0" indent="0">
              <a:lnSpc>
                <a:spcPct val="100000"/>
              </a:lnSpc>
              <a:spcBef>
                <a:spcPts val="0"/>
              </a:spcBef>
              <a:buFont typeface="Arial" panose="020B0604020202020204" pitchFamily="34" charset="0"/>
              <a:buNone/>
              <a:defRPr sz="900" b="0" cap="all" baseline="0">
                <a:solidFill>
                  <a:schemeClr val="bg1"/>
                </a:solidFill>
                <a:latin typeface="+mn-lt"/>
              </a:defRPr>
            </a:lvl4pPr>
            <a:lvl5pPr marL="0" indent="0">
              <a:lnSpc>
                <a:spcPct val="100000"/>
              </a:lnSpc>
              <a:spcBef>
                <a:spcPts val="0"/>
              </a:spcBef>
              <a:buFont typeface="Arial" panose="020B0604020202020204" pitchFamily="34" charset="0"/>
              <a:buNone/>
              <a:defRPr sz="900" b="0" cap="all" baseline="0">
                <a:solidFill>
                  <a:schemeClr val="bg1"/>
                </a:solidFill>
                <a:latin typeface="+mn-lt"/>
              </a:defRPr>
            </a:lvl5pPr>
            <a:lvl6pPr marL="0" indent="0">
              <a:spcBef>
                <a:spcPts val="0"/>
              </a:spcBef>
              <a:buNone/>
              <a:defRPr sz="900" b="0" cap="all" baseline="0">
                <a:solidFill>
                  <a:schemeClr val="bg1"/>
                </a:solidFill>
                <a:latin typeface="+mn-lt"/>
              </a:defRPr>
            </a:lvl6pPr>
            <a:lvl7pPr marL="0" indent="0">
              <a:spcBef>
                <a:spcPts val="0"/>
              </a:spcBef>
              <a:buNone/>
              <a:defRPr sz="900" b="0" cap="all" baseline="0">
                <a:solidFill>
                  <a:schemeClr val="bg1"/>
                </a:solidFill>
                <a:latin typeface="+mn-lt"/>
              </a:defRPr>
            </a:lvl7pPr>
            <a:lvl8pPr marL="0" indent="0">
              <a:spcBef>
                <a:spcPts val="0"/>
              </a:spcBef>
              <a:buNone/>
              <a:defRPr sz="900" b="0" cap="all" baseline="0">
                <a:solidFill>
                  <a:schemeClr val="bg1"/>
                </a:solidFill>
                <a:latin typeface="+mn-lt"/>
              </a:defRPr>
            </a:lvl8pPr>
            <a:lvl9pPr marL="0" indent="0">
              <a:spcBef>
                <a:spcPts val="0"/>
              </a:spcBef>
              <a:buNone/>
              <a:defRPr sz="900" b="0" cap="all" baseline="0">
                <a:solidFill>
                  <a:schemeClr val="bg1"/>
                </a:solidFill>
                <a:latin typeface="+mn-lt"/>
              </a:defRPr>
            </a:lvl9pPr>
          </a:lstStyle>
          <a:p>
            <a:pPr lvl="0"/>
            <a:r>
              <a:rPr lang="en-GB"/>
              <a:t>Country</a:t>
            </a:r>
            <a:endParaRPr lang="en-GB" dirty="0"/>
          </a:p>
        </p:txBody>
      </p:sp>
      <p:sp>
        <p:nvSpPr>
          <p:cNvPr id="121" name="Text Placeholder 5">
            <a:extLst>
              <a:ext uri="{FF2B5EF4-FFF2-40B4-BE49-F238E27FC236}">
                <a16:creationId xmlns:a16="http://schemas.microsoft.com/office/drawing/2014/main" id="{AB572493-73FB-0646-BCF6-467CE0D18D0B}"/>
              </a:ext>
            </a:extLst>
          </p:cNvPr>
          <p:cNvSpPr>
            <a:spLocks noGrp="1"/>
          </p:cNvSpPr>
          <p:nvPr>
            <p:ph type="body" sz="quarter" idx="38" hasCustomPrompt="1"/>
          </p:nvPr>
        </p:nvSpPr>
        <p:spPr bwMode="gray">
          <a:xfrm>
            <a:off x="7968208" y="2060848"/>
            <a:ext cx="3024000"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baseline="0">
                <a:solidFill>
                  <a:schemeClr val="bg1"/>
                </a:solidFill>
                <a:latin typeface="+mj-lt"/>
              </a:defRPr>
            </a:lvl1pPr>
            <a:lvl2pPr marL="0" indent="0">
              <a:lnSpc>
                <a:spcPct val="100000"/>
              </a:lnSpc>
              <a:spcBef>
                <a:spcPts val="0"/>
              </a:spcBef>
              <a:buFont typeface="Arial" panose="020B0604020202020204" pitchFamily="34" charset="0"/>
              <a:buNone/>
              <a:defRPr sz="1100" b="0">
                <a:solidFill>
                  <a:schemeClr val="bg1"/>
                </a:solidFill>
                <a:latin typeface="+mj-lt"/>
              </a:defRPr>
            </a:lvl2pPr>
            <a:lvl3pPr marL="0" indent="0">
              <a:lnSpc>
                <a:spcPct val="100000"/>
              </a:lnSpc>
              <a:spcBef>
                <a:spcPts val="0"/>
              </a:spcBef>
              <a:buFont typeface="Arial" panose="020B0604020202020204" pitchFamily="34" charset="0"/>
              <a:buNone/>
              <a:defRPr sz="1100" b="0">
                <a:solidFill>
                  <a:schemeClr val="bg1"/>
                </a:solidFill>
                <a:latin typeface="+mj-lt"/>
              </a:defRPr>
            </a:lvl3pPr>
            <a:lvl4pPr marL="0" indent="0">
              <a:lnSpc>
                <a:spcPct val="100000"/>
              </a:lnSpc>
              <a:spcBef>
                <a:spcPts val="0"/>
              </a:spcBef>
              <a:buFont typeface="Arial" panose="020B0604020202020204" pitchFamily="34" charset="0"/>
              <a:buNone/>
              <a:defRPr sz="1100" b="0">
                <a:solidFill>
                  <a:schemeClr val="bg1"/>
                </a:solidFill>
                <a:latin typeface="+mj-lt"/>
              </a:defRPr>
            </a:lvl4pPr>
            <a:lvl5pPr marL="0" indent="0">
              <a:lnSpc>
                <a:spcPct val="100000"/>
              </a:lnSpc>
              <a:spcBef>
                <a:spcPts val="0"/>
              </a:spcBef>
              <a:buFont typeface="Arial" panose="020B0604020202020204" pitchFamily="34" charset="0"/>
              <a:buNone/>
              <a:defRPr sz="1100" b="0">
                <a:solidFill>
                  <a:schemeClr val="bg1"/>
                </a:solidFill>
                <a:latin typeface="+mj-lt"/>
              </a:defRPr>
            </a:lvl5pPr>
            <a:lvl6pPr marL="0" indent="0">
              <a:spcBef>
                <a:spcPts val="0"/>
              </a:spcBef>
              <a:buNone/>
              <a:defRPr sz="1100" b="0">
                <a:solidFill>
                  <a:schemeClr val="bg1"/>
                </a:solidFill>
                <a:latin typeface="+mj-lt"/>
              </a:defRPr>
            </a:lvl6pPr>
            <a:lvl7pPr marL="0" indent="0">
              <a:spcBef>
                <a:spcPts val="0"/>
              </a:spcBef>
              <a:buNone/>
              <a:defRPr sz="1100" b="0">
                <a:solidFill>
                  <a:schemeClr val="bg1"/>
                </a:solidFill>
                <a:latin typeface="+mj-lt"/>
              </a:defRPr>
            </a:lvl7pPr>
            <a:lvl8pPr marL="0" indent="0">
              <a:spcBef>
                <a:spcPts val="0"/>
              </a:spcBef>
              <a:buNone/>
              <a:defRPr sz="1100" b="0">
                <a:solidFill>
                  <a:schemeClr val="bg1"/>
                </a:solidFill>
                <a:latin typeface="+mj-lt"/>
              </a:defRPr>
            </a:lvl8pPr>
            <a:lvl9pPr marL="0" indent="0">
              <a:spcBef>
                <a:spcPts val="0"/>
              </a:spcBef>
              <a:buNone/>
              <a:defRPr sz="1100" b="0">
                <a:solidFill>
                  <a:schemeClr val="bg1"/>
                </a:solidFill>
                <a:latin typeface="+mj-lt"/>
              </a:defRPr>
            </a:lvl9pPr>
          </a:lstStyle>
          <a:p>
            <a:pPr lvl="0"/>
            <a:r>
              <a:rPr lang="en-GB" dirty="0"/>
              <a:t>Name Surname</a:t>
            </a:r>
          </a:p>
        </p:txBody>
      </p:sp>
      <p:sp>
        <p:nvSpPr>
          <p:cNvPr id="122" name="Text Placeholder 5">
            <a:extLst>
              <a:ext uri="{FF2B5EF4-FFF2-40B4-BE49-F238E27FC236}">
                <a16:creationId xmlns:a16="http://schemas.microsoft.com/office/drawing/2014/main" id="{160A0CE4-A4A1-664B-B2A5-3BEEF22E242A}"/>
              </a:ext>
            </a:extLst>
          </p:cNvPr>
          <p:cNvSpPr>
            <a:spLocks noGrp="1"/>
          </p:cNvSpPr>
          <p:nvPr>
            <p:ph type="body" sz="quarter" idx="39" hasCustomPrompt="1"/>
          </p:nvPr>
        </p:nvSpPr>
        <p:spPr bwMode="gray">
          <a:xfrm>
            <a:off x="7968792" y="2277363"/>
            <a:ext cx="3024000" cy="216000"/>
          </a:xfrm>
          <a:prstGeom prst="rect">
            <a:avLst/>
          </a:prstGeom>
        </p:spPr>
        <p:txBody>
          <a:bodyPr lIns="0" tIns="36000" rIns="0" bIns="0" anchor="t"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a:t>Job Position</a:t>
            </a:r>
            <a:endParaRPr lang="en-GB" dirty="0"/>
          </a:p>
        </p:txBody>
      </p:sp>
      <p:sp>
        <p:nvSpPr>
          <p:cNvPr id="123" name="Text Placeholder 5">
            <a:extLst>
              <a:ext uri="{FF2B5EF4-FFF2-40B4-BE49-F238E27FC236}">
                <a16:creationId xmlns:a16="http://schemas.microsoft.com/office/drawing/2014/main" id="{595B26DC-2F0F-0741-AD06-D75BE5AE7950}"/>
              </a:ext>
            </a:extLst>
          </p:cNvPr>
          <p:cNvSpPr>
            <a:spLocks noGrp="1"/>
          </p:cNvSpPr>
          <p:nvPr>
            <p:ph type="body" sz="quarter" idx="40" hasCustomPrompt="1"/>
          </p:nvPr>
        </p:nvSpPr>
        <p:spPr bwMode="gray">
          <a:xfrm>
            <a:off x="7968792" y="2853363"/>
            <a:ext cx="3024000"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a:t>Phone number</a:t>
            </a:r>
            <a:endParaRPr lang="en-GB" dirty="0"/>
          </a:p>
        </p:txBody>
      </p:sp>
      <p:sp>
        <p:nvSpPr>
          <p:cNvPr id="124" name="Text Placeholder 5">
            <a:extLst>
              <a:ext uri="{FF2B5EF4-FFF2-40B4-BE49-F238E27FC236}">
                <a16:creationId xmlns:a16="http://schemas.microsoft.com/office/drawing/2014/main" id="{727EE54C-753A-284A-8B4F-9C5FDDC2D63C}"/>
              </a:ext>
            </a:extLst>
          </p:cNvPr>
          <p:cNvSpPr>
            <a:spLocks noGrp="1"/>
          </p:cNvSpPr>
          <p:nvPr>
            <p:ph type="body" sz="quarter" idx="41" hasCustomPrompt="1"/>
          </p:nvPr>
        </p:nvSpPr>
        <p:spPr bwMode="gray">
          <a:xfrm>
            <a:off x="7968792" y="3069363"/>
            <a:ext cx="3024000"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a:t>Email address</a:t>
            </a:r>
            <a:endParaRPr lang="en-GB" dirty="0"/>
          </a:p>
        </p:txBody>
      </p:sp>
      <p:sp>
        <p:nvSpPr>
          <p:cNvPr id="51" name="Shape">
            <a:extLst>
              <a:ext uri="{FF2B5EF4-FFF2-40B4-BE49-F238E27FC236}">
                <a16:creationId xmlns:a16="http://schemas.microsoft.com/office/drawing/2014/main" id="{09F29F29-FEC9-4927-AB9A-F17180449EA4}"/>
              </a:ext>
              <a:ext uri="{C183D7F6-B498-43B3-948B-1728B52AA6E4}">
                <adec:decorative xmlns:adec="http://schemas.microsoft.com/office/drawing/2017/decorative" val="1"/>
              </a:ext>
            </a:extLst>
          </p:cNvPr>
          <p:cNvSpPr/>
          <p:nvPr userDrawn="1"/>
        </p:nvSpPr>
        <p:spPr bwMode="gray">
          <a:xfrm>
            <a:off x="335360" y="4077825"/>
            <a:ext cx="5184824" cy="20154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106" name="Picture Placeholder 3">
            <a:extLst>
              <a:ext uri="{FF2B5EF4-FFF2-40B4-BE49-F238E27FC236}">
                <a16:creationId xmlns:a16="http://schemas.microsoft.com/office/drawing/2014/main" id="{B6FE670F-20AA-EF43-93FE-D8EBD89F9D86}"/>
              </a:ext>
            </a:extLst>
          </p:cNvPr>
          <p:cNvSpPr>
            <a:spLocks noGrp="1"/>
          </p:cNvSpPr>
          <p:nvPr>
            <p:ph type="pic" sz="quarter" idx="30" hasCustomPrompt="1"/>
          </p:nvPr>
        </p:nvSpPr>
        <p:spPr bwMode="gray">
          <a:xfrm>
            <a:off x="551672" y="4293387"/>
            <a:ext cx="1368000" cy="1584000"/>
          </a:xfrm>
          <a:prstGeom prst="rect">
            <a:avLst/>
          </a:prstGeom>
          <a:solidFill>
            <a:srgbClr val="D6D9DC"/>
          </a:solidFill>
        </p:spPr>
        <p:txBody>
          <a:bodyPr/>
          <a:lstStyle>
            <a:lvl1pPr marL="0" indent="0">
              <a:buNone/>
              <a:defRPr sz="1400"/>
            </a:lvl1pPr>
          </a:lstStyle>
          <a:p>
            <a:r>
              <a:rPr lang="en-GB"/>
              <a:t> </a:t>
            </a:r>
            <a:endParaRPr lang="en-GB" dirty="0"/>
          </a:p>
        </p:txBody>
      </p:sp>
      <p:sp>
        <p:nvSpPr>
          <p:cNvPr id="107" name="Text Placeholder 5">
            <a:extLst>
              <a:ext uri="{FF2B5EF4-FFF2-40B4-BE49-F238E27FC236}">
                <a16:creationId xmlns:a16="http://schemas.microsoft.com/office/drawing/2014/main" id="{62E04480-8830-0F40-AE67-E9D2BB0BFD43}"/>
              </a:ext>
            </a:extLst>
          </p:cNvPr>
          <p:cNvSpPr>
            <a:spLocks noGrp="1"/>
          </p:cNvSpPr>
          <p:nvPr>
            <p:ph type="body" sz="quarter" idx="31" hasCustomPrompt="1"/>
          </p:nvPr>
        </p:nvSpPr>
        <p:spPr bwMode="gray">
          <a:xfrm>
            <a:off x="2207904" y="4293387"/>
            <a:ext cx="3024000" cy="216000"/>
          </a:xfrm>
          <a:prstGeom prst="rect">
            <a:avLst/>
          </a:prstGeom>
        </p:spPr>
        <p:txBody>
          <a:bodyPr lIns="0" tIns="0" rIns="0" bIns="0" anchor="t" anchorCtr="0"/>
          <a:lstStyle>
            <a:lvl1pPr marL="0" indent="0" algn="l">
              <a:lnSpc>
                <a:spcPct val="100000"/>
              </a:lnSpc>
              <a:spcBef>
                <a:spcPts val="0"/>
              </a:spcBef>
              <a:buFont typeface="Arial" panose="020B0604020202020204" pitchFamily="34" charset="0"/>
              <a:buNone/>
              <a:defRPr sz="900" b="0" cap="all" baseline="0">
                <a:solidFill>
                  <a:schemeClr val="bg1"/>
                </a:solidFill>
                <a:latin typeface="+mn-lt"/>
              </a:defRPr>
            </a:lvl1pPr>
            <a:lvl2pPr marL="0" indent="0">
              <a:lnSpc>
                <a:spcPct val="100000"/>
              </a:lnSpc>
              <a:spcBef>
                <a:spcPts val="0"/>
              </a:spcBef>
              <a:buFont typeface="Arial" panose="020B0604020202020204" pitchFamily="34" charset="0"/>
              <a:buNone/>
              <a:defRPr sz="900" b="0" cap="all" baseline="0">
                <a:solidFill>
                  <a:schemeClr val="bg1"/>
                </a:solidFill>
                <a:latin typeface="+mn-lt"/>
              </a:defRPr>
            </a:lvl2pPr>
            <a:lvl3pPr marL="0" indent="0">
              <a:lnSpc>
                <a:spcPct val="100000"/>
              </a:lnSpc>
              <a:spcBef>
                <a:spcPts val="0"/>
              </a:spcBef>
              <a:buFont typeface="Arial" panose="020B0604020202020204" pitchFamily="34" charset="0"/>
              <a:buNone/>
              <a:defRPr sz="900" b="0" cap="all" baseline="0">
                <a:solidFill>
                  <a:schemeClr val="bg1"/>
                </a:solidFill>
                <a:latin typeface="+mn-lt"/>
              </a:defRPr>
            </a:lvl3pPr>
            <a:lvl4pPr marL="0" indent="0">
              <a:lnSpc>
                <a:spcPct val="100000"/>
              </a:lnSpc>
              <a:spcBef>
                <a:spcPts val="0"/>
              </a:spcBef>
              <a:buFont typeface="Arial" panose="020B0604020202020204" pitchFamily="34" charset="0"/>
              <a:buNone/>
              <a:defRPr sz="900" b="0" cap="all" baseline="0">
                <a:solidFill>
                  <a:schemeClr val="bg1"/>
                </a:solidFill>
                <a:latin typeface="+mn-lt"/>
              </a:defRPr>
            </a:lvl4pPr>
            <a:lvl5pPr marL="0" indent="0">
              <a:lnSpc>
                <a:spcPct val="100000"/>
              </a:lnSpc>
              <a:spcBef>
                <a:spcPts val="0"/>
              </a:spcBef>
              <a:buFont typeface="Arial" panose="020B0604020202020204" pitchFamily="34" charset="0"/>
              <a:buNone/>
              <a:defRPr sz="900" b="0" cap="all" baseline="0">
                <a:solidFill>
                  <a:schemeClr val="bg1"/>
                </a:solidFill>
                <a:latin typeface="+mn-lt"/>
              </a:defRPr>
            </a:lvl5pPr>
            <a:lvl6pPr marL="0" indent="0">
              <a:spcBef>
                <a:spcPts val="0"/>
              </a:spcBef>
              <a:buNone/>
              <a:defRPr sz="900" b="0" cap="all" baseline="0">
                <a:solidFill>
                  <a:schemeClr val="bg1"/>
                </a:solidFill>
                <a:latin typeface="+mn-lt"/>
              </a:defRPr>
            </a:lvl6pPr>
            <a:lvl7pPr marL="0" indent="0">
              <a:spcBef>
                <a:spcPts val="0"/>
              </a:spcBef>
              <a:buNone/>
              <a:defRPr sz="900" b="0" cap="all" baseline="0">
                <a:solidFill>
                  <a:schemeClr val="bg1"/>
                </a:solidFill>
                <a:latin typeface="+mn-lt"/>
              </a:defRPr>
            </a:lvl7pPr>
            <a:lvl8pPr marL="0" indent="0">
              <a:spcBef>
                <a:spcPts val="0"/>
              </a:spcBef>
              <a:buNone/>
              <a:defRPr sz="900" b="0" cap="all" baseline="0">
                <a:solidFill>
                  <a:schemeClr val="bg1"/>
                </a:solidFill>
                <a:latin typeface="+mn-lt"/>
              </a:defRPr>
            </a:lvl8pPr>
            <a:lvl9pPr marL="0" indent="0">
              <a:spcBef>
                <a:spcPts val="0"/>
              </a:spcBef>
              <a:buNone/>
              <a:defRPr sz="900" b="0" cap="all" baseline="0">
                <a:solidFill>
                  <a:schemeClr val="bg1"/>
                </a:solidFill>
                <a:latin typeface="+mn-lt"/>
              </a:defRPr>
            </a:lvl9pPr>
          </a:lstStyle>
          <a:p>
            <a:pPr lvl="0"/>
            <a:r>
              <a:rPr lang="en-GB"/>
              <a:t>Country</a:t>
            </a:r>
            <a:endParaRPr lang="en-GB" dirty="0"/>
          </a:p>
        </p:txBody>
      </p:sp>
      <p:sp>
        <p:nvSpPr>
          <p:cNvPr id="108" name="Text Placeholder 5">
            <a:extLst>
              <a:ext uri="{FF2B5EF4-FFF2-40B4-BE49-F238E27FC236}">
                <a16:creationId xmlns:a16="http://schemas.microsoft.com/office/drawing/2014/main" id="{8E37D29D-067C-6F40-8722-813FC5CCB6DD}"/>
              </a:ext>
            </a:extLst>
          </p:cNvPr>
          <p:cNvSpPr>
            <a:spLocks noGrp="1"/>
          </p:cNvSpPr>
          <p:nvPr>
            <p:ph type="body" sz="quarter" idx="32" hasCustomPrompt="1"/>
          </p:nvPr>
        </p:nvSpPr>
        <p:spPr bwMode="gray">
          <a:xfrm>
            <a:off x="2207904" y="4653387"/>
            <a:ext cx="3024000"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baseline="0">
                <a:solidFill>
                  <a:schemeClr val="bg1"/>
                </a:solidFill>
                <a:latin typeface="+mj-lt"/>
              </a:defRPr>
            </a:lvl1pPr>
            <a:lvl2pPr marL="0" indent="0">
              <a:lnSpc>
                <a:spcPct val="100000"/>
              </a:lnSpc>
              <a:spcBef>
                <a:spcPts val="0"/>
              </a:spcBef>
              <a:buFont typeface="Arial" panose="020B0604020202020204" pitchFamily="34" charset="0"/>
              <a:buNone/>
              <a:defRPr sz="1100" b="0">
                <a:solidFill>
                  <a:schemeClr val="bg1"/>
                </a:solidFill>
                <a:latin typeface="+mj-lt"/>
              </a:defRPr>
            </a:lvl2pPr>
            <a:lvl3pPr marL="0" indent="0">
              <a:lnSpc>
                <a:spcPct val="100000"/>
              </a:lnSpc>
              <a:spcBef>
                <a:spcPts val="0"/>
              </a:spcBef>
              <a:buFont typeface="Arial" panose="020B0604020202020204" pitchFamily="34" charset="0"/>
              <a:buNone/>
              <a:defRPr sz="1100" b="0">
                <a:solidFill>
                  <a:schemeClr val="bg1"/>
                </a:solidFill>
                <a:latin typeface="+mj-lt"/>
              </a:defRPr>
            </a:lvl3pPr>
            <a:lvl4pPr marL="0" indent="0">
              <a:lnSpc>
                <a:spcPct val="100000"/>
              </a:lnSpc>
              <a:spcBef>
                <a:spcPts val="0"/>
              </a:spcBef>
              <a:buFont typeface="Arial" panose="020B0604020202020204" pitchFamily="34" charset="0"/>
              <a:buNone/>
              <a:defRPr sz="1100" b="0">
                <a:solidFill>
                  <a:schemeClr val="bg1"/>
                </a:solidFill>
                <a:latin typeface="+mj-lt"/>
              </a:defRPr>
            </a:lvl4pPr>
            <a:lvl5pPr marL="0" indent="0">
              <a:lnSpc>
                <a:spcPct val="100000"/>
              </a:lnSpc>
              <a:spcBef>
                <a:spcPts val="0"/>
              </a:spcBef>
              <a:buFont typeface="Arial" panose="020B0604020202020204" pitchFamily="34" charset="0"/>
              <a:buNone/>
              <a:defRPr sz="1100" b="0">
                <a:solidFill>
                  <a:schemeClr val="bg1"/>
                </a:solidFill>
                <a:latin typeface="+mj-lt"/>
              </a:defRPr>
            </a:lvl5pPr>
            <a:lvl6pPr marL="0" indent="0">
              <a:spcBef>
                <a:spcPts val="0"/>
              </a:spcBef>
              <a:buNone/>
              <a:defRPr sz="1100" b="0">
                <a:solidFill>
                  <a:schemeClr val="bg1"/>
                </a:solidFill>
                <a:latin typeface="+mj-lt"/>
              </a:defRPr>
            </a:lvl6pPr>
            <a:lvl7pPr marL="0" indent="0">
              <a:spcBef>
                <a:spcPts val="0"/>
              </a:spcBef>
              <a:buNone/>
              <a:defRPr sz="1100" b="0">
                <a:solidFill>
                  <a:schemeClr val="bg1"/>
                </a:solidFill>
                <a:latin typeface="+mj-lt"/>
              </a:defRPr>
            </a:lvl7pPr>
            <a:lvl8pPr marL="0" indent="0">
              <a:spcBef>
                <a:spcPts val="0"/>
              </a:spcBef>
              <a:buNone/>
              <a:defRPr sz="1100" b="0">
                <a:solidFill>
                  <a:schemeClr val="bg1"/>
                </a:solidFill>
                <a:latin typeface="+mj-lt"/>
              </a:defRPr>
            </a:lvl8pPr>
            <a:lvl9pPr marL="0" indent="0">
              <a:spcBef>
                <a:spcPts val="0"/>
              </a:spcBef>
              <a:buNone/>
              <a:defRPr sz="1100" b="0">
                <a:solidFill>
                  <a:schemeClr val="bg1"/>
                </a:solidFill>
                <a:latin typeface="+mj-lt"/>
              </a:defRPr>
            </a:lvl9pPr>
          </a:lstStyle>
          <a:p>
            <a:pPr lvl="0"/>
            <a:r>
              <a:rPr lang="en-GB"/>
              <a:t>Name Surname</a:t>
            </a:r>
            <a:endParaRPr lang="en-GB" dirty="0"/>
          </a:p>
        </p:txBody>
      </p:sp>
      <p:sp>
        <p:nvSpPr>
          <p:cNvPr id="109" name="Text Placeholder 5">
            <a:extLst>
              <a:ext uri="{FF2B5EF4-FFF2-40B4-BE49-F238E27FC236}">
                <a16:creationId xmlns:a16="http://schemas.microsoft.com/office/drawing/2014/main" id="{9F2507A6-1822-8441-AF42-6F32CAD53095}"/>
              </a:ext>
            </a:extLst>
          </p:cNvPr>
          <p:cNvSpPr>
            <a:spLocks noGrp="1"/>
          </p:cNvSpPr>
          <p:nvPr>
            <p:ph type="body" sz="quarter" idx="33" hasCustomPrompt="1"/>
          </p:nvPr>
        </p:nvSpPr>
        <p:spPr bwMode="gray">
          <a:xfrm>
            <a:off x="2207904" y="4869387"/>
            <a:ext cx="3024000" cy="216000"/>
          </a:xfrm>
          <a:prstGeom prst="rect">
            <a:avLst/>
          </a:prstGeom>
        </p:spPr>
        <p:txBody>
          <a:bodyPr lIns="0" tIns="36000" rIns="0" bIns="0" anchor="t"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a:t>Job Position</a:t>
            </a:r>
            <a:endParaRPr lang="en-GB" dirty="0"/>
          </a:p>
        </p:txBody>
      </p:sp>
      <p:sp>
        <p:nvSpPr>
          <p:cNvPr id="110" name="Text Placeholder 5">
            <a:extLst>
              <a:ext uri="{FF2B5EF4-FFF2-40B4-BE49-F238E27FC236}">
                <a16:creationId xmlns:a16="http://schemas.microsoft.com/office/drawing/2014/main" id="{B1FAFD4D-A617-1D4B-A22B-92EA6E00239C}"/>
              </a:ext>
            </a:extLst>
          </p:cNvPr>
          <p:cNvSpPr>
            <a:spLocks noGrp="1"/>
          </p:cNvSpPr>
          <p:nvPr>
            <p:ph type="body" sz="quarter" idx="34" hasCustomPrompt="1"/>
          </p:nvPr>
        </p:nvSpPr>
        <p:spPr bwMode="gray">
          <a:xfrm>
            <a:off x="2207904" y="5445387"/>
            <a:ext cx="3024000"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a:t>Phone number</a:t>
            </a:r>
            <a:endParaRPr lang="en-GB" dirty="0"/>
          </a:p>
        </p:txBody>
      </p:sp>
      <p:sp>
        <p:nvSpPr>
          <p:cNvPr id="111" name="Text Placeholder 5">
            <a:extLst>
              <a:ext uri="{FF2B5EF4-FFF2-40B4-BE49-F238E27FC236}">
                <a16:creationId xmlns:a16="http://schemas.microsoft.com/office/drawing/2014/main" id="{1758521F-192E-8E46-9355-9EA0AC42A502}"/>
              </a:ext>
            </a:extLst>
          </p:cNvPr>
          <p:cNvSpPr>
            <a:spLocks noGrp="1"/>
          </p:cNvSpPr>
          <p:nvPr>
            <p:ph type="body" sz="quarter" idx="35" hasCustomPrompt="1"/>
          </p:nvPr>
        </p:nvSpPr>
        <p:spPr bwMode="gray">
          <a:xfrm>
            <a:off x="2207904" y="5661387"/>
            <a:ext cx="3024000"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a:t>Email address</a:t>
            </a:r>
            <a:endParaRPr lang="en-GB" dirty="0"/>
          </a:p>
        </p:txBody>
      </p:sp>
      <p:sp>
        <p:nvSpPr>
          <p:cNvPr id="7" name="Datumsplatzhalter 6">
            <a:extLst>
              <a:ext uri="{FF2B5EF4-FFF2-40B4-BE49-F238E27FC236}">
                <a16:creationId xmlns:a16="http://schemas.microsoft.com/office/drawing/2014/main" id="{D1594FE4-B02E-64B2-681E-D972615FF489}"/>
              </a:ext>
            </a:extLst>
          </p:cNvPr>
          <p:cNvSpPr>
            <a:spLocks noGrp="1"/>
          </p:cNvSpPr>
          <p:nvPr>
            <p:ph type="dt" sz="half" idx="42"/>
          </p:nvPr>
        </p:nvSpPr>
        <p:spPr/>
        <p:txBody>
          <a:bodyPr/>
          <a:lstStyle/>
          <a:p>
            <a:r>
              <a:rPr lang="en-US"/>
              <a:t>7/26/2022</a:t>
            </a:r>
            <a:endParaRPr lang="en-GB" dirty="0"/>
          </a:p>
        </p:txBody>
      </p:sp>
      <p:sp>
        <p:nvSpPr>
          <p:cNvPr id="8" name="Fußzeilenplatzhalter 7">
            <a:extLst>
              <a:ext uri="{FF2B5EF4-FFF2-40B4-BE49-F238E27FC236}">
                <a16:creationId xmlns:a16="http://schemas.microsoft.com/office/drawing/2014/main" id="{1844A26C-A24B-87AD-F82E-4B3DE3C249B1}"/>
              </a:ext>
            </a:extLst>
          </p:cNvPr>
          <p:cNvSpPr>
            <a:spLocks noGrp="1"/>
          </p:cNvSpPr>
          <p:nvPr>
            <p:ph type="ftr" sz="quarter" idx="43"/>
          </p:nvPr>
        </p:nvSpPr>
        <p:spPr/>
        <p:txBody>
          <a:bodyPr/>
          <a:lstStyle/>
          <a:p>
            <a:r>
              <a:rPr lang="de-DE"/>
              <a:t>Der Konsument nach Corona und Consumer Voice</a:t>
            </a:r>
            <a:endParaRPr lang="de-DE" dirty="0"/>
          </a:p>
        </p:txBody>
      </p:sp>
      <p:sp>
        <p:nvSpPr>
          <p:cNvPr id="9" name="Foliennummernplatzhalter 8">
            <a:extLst>
              <a:ext uri="{FF2B5EF4-FFF2-40B4-BE49-F238E27FC236}">
                <a16:creationId xmlns:a16="http://schemas.microsoft.com/office/drawing/2014/main" id="{EFF3E89F-08CC-AAD7-2AE7-D0A1B159960E}"/>
              </a:ext>
            </a:extLst>
          </p:cNvPr>
          <p:cNvSpPr>
            <a:spLocks noGrp="1"/>
          </p:cNvSpPr>
          <p:nvPr>
            <p:ph type="sldNum" sz="quarter" idx="44"/>
          </p:nvPr>
        </p:nvSpPr>
        <p:spPr/>
        <p:txBody>
          <a:bodyPr/>
          <a:lstStyle/>
          <a:p>
            <a:fld id="{CAEA825B-D749-4F0A-886E-8D45A39EAF2A}" type="slidenum">
              <a:rPr lang="de-DE" smtClean="0"/>
              <a:pPr/>
              <a:t>‹Nº›</a:t>
            </a:fld>
            <a:endParaRPr lang="de-DE"/>
          </a:p>
        </p:txBody>
      </p:sp>
      <p:sp>
        <p:nvSpPr>
          <p:cNvPr id="28" name="Subtitle">
            <a:extLst>
              <a:ext uri="{FF2B5EF4-FFF2-40B4-BE49-F238E27FC236}">
                <a16:creationId xmlns:a16="http://schemas.microsoft.com/office/drawing/2014/main" id="{54B7EA01-9203-F16C-2FBD-98890D19113E}"/>
              </a:ext>
            </a:extLst>
          </p:cNvPr>
          <p:cNvSpPr>
            <a:spLocks noGrp="1"/>
          </p:cNvSpPr>
          <p:nvPr>
            <p:ph type="subTitle" idx="13" hasCustomPrompt="1"/>
          </p:nvPr>
        </p:nvSpPr>
        <p:spPr bwMode="gray">
          <a:xfrm>
            <a:off x="335360" y="659362"/>
            <a:ext cx="8640959" cy="360040"/>
          </a:xfrm>
          <a:prstGeom prst="rect">
            <a:avLst/>
          </a:prstGeom>
        </p:spPr>
        <p:txBody>
          <a:bodyPr wrap="none" tIns="0"/>
          <a:lstStyle>
            <a:lvl1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1pPr>
            <a:lvl2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2pPr>
            <a:lvl3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3pPr>
            <a:lvl4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4pPr>
            <a:lvl5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5pPr>
            <a:lvl6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6pPr>
            <a:lvl7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7pPr>
            <a:lvl8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8pPr>
            <a:lvl9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9pPr>
          </a:lstStyle>
          <a:p>
            <a:r>
              <a:rPr lang="en-GB" dirty="0"/>
              <a:t>Insert your sub-headline in </a:t>
            </a:r>
            <a:r>
              <a:rPr lang="en-GB" dirty="0" err="1"/>
              <a:t>Lato</a:t>
            </a:r>
            <a:r>
              <a:rPr lang="en-GB" dirty="0"/>
              <a:t> light 20 </a:t>
            </a:r>
            <a:r>
              <a:rPr lang="en-GB" dirty="0" err="1"/>
              <a:t>pt</a:t>
            </a:r>
            <a:r>
              <a:rPr lang="en-GB" dirty="0"/>
              <a:t> here</a:t>
            </a:r>
          </a:p>
        </p:txBody>
      </p:sp>
      <p:grpSp>
        <p:nvGrpSpPr>
          <p:cNvPr id="46" name="Gruppieren 45">
            <a:extLst>
              <a:ext uri="{FF2B5EF4-FFF2-40B4-BE49-F238E27FC236}">
                <a16:creationId xmlns:a16="http://schemas.microsoft.com/office/drawing/2014/main" id="{6A2D3814-36F5-4808-CD70-C6C83E081CC8}"/>
              </a:ext>
              <a:ext uri="{C183D7F6-B498-43B3-948B-1728B52AA6E4}">
                <adec:decorative xmlns:adec="http://schemas.microsoft.com/office/drawing/2017/decorative" val="1"/>
              </a:ext>
            </a:extLst>
          </p:cNvPr>
          <p:cNvGrpSpPr/>
          <p:nvPr userDrawn="1"/>
        </p:nvGrpSpPr>
        <p:grpSpPr>
          <a:xfrm>
            <a:off x="-168768" y="-171392"/>
            <a:ext cx="12025408" cy="6264688"/>
            <a:chOff x="-168768" y="-171392"/>
            <a:chExt cx="12025408" cy="6264688"/>
          </a:xfrm>
        </p:grpSpPr>
        <p:cxnSp>
          <p:nvCxnSpPr>
            <p:cNvPr id="47" name="Gerader Verbinder 46">
              <a:extLst>
                <a:ext uri="{FF2B5EF4-FFF2-40B4-BE49-F238E27FC236}">
                  <a16:creationId xmlns:a16="http://schemas.microsoft.com/office/drawing/2014/main" id="{D4383731-CC5D-4F80-C1A0-449556EBB124}"/>
                </a:ext>
              </a:extLst>
            </p:cNvPr>
            <p:cNvCxnSpPr/>
            <p:nvPr userDrawn="1"/>
          </p:nvCxnSpPr>
          <p:spPr bwMode="gray">
            <a:xfrm>
              <a:off x="33536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4B98AAA9-1F6E-E4F3-F469-203C3E364F5E}"/>
                </a:ext>
              </a:extLst>
            </p:cNvPr>
            <p:cNvCxnSpPr/>
            <p:nvPr userDrawn="1"/>
          </p:nvCxnSpPr>
          <p:spPr bwMode="gray">
            <a:xfrm>
              <a:off x="436780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2" name="Gerader Verbinder 51">
              <a:extLst>
                <a:ext uri="{FF2B5EF4-FFF2-40B4-BE49-F238E27FC236}">
                  <a16:creationId xmlns:a16="http://schemas.microsoft.com/office/drawing/2014/main" id="{AC8CF1BC-D234-6235-392A-63F614A23764}"/>
                </a:ext>
              </a:extLst>
            </p:cNvPr>
            <p:cNvCxnSpPr/>
            <p:nvPr userDrawn="1"/>
          </p:nvCxnSpPr>
          <p:spPr bwMode="gray">
            <a:xfrm>
              <a:off x="494387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3" name="Gerader Verbinder 52">
              <a:extLst>
                <a:ext uri="{FF2B5EF4-FFF2-40B4-BE49-F238E27FC236}">
                  <a16:creationId xmlns:a16="http://schemas.microsoft.com/office/drawing/2014/main" id="{E3C7C86B-73BB-89EB-EEFE-AD1DD8C8083D}"/>
                </a:ext>
              </a:extLst>
            </p:cNvPr>
            <p:cNvCxnSpPr/>
            <p:nvPr userDrawn="1"/>
          </p:nvCxnSpPr>
          <p:spPr bwMode="gray">
            <a:xfrm>
              <a:off x="667206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E7BBE137-7F98-2CCF-07EE-9F73C737917F}"/>
                </a:ext>
              </a:extLst>
            </p:cNvPr>
            <p:cNvCxnSpPr/>
            <p:nvPr userDrawn="1"/>
          </p:nvCxnSpPr>
          <p:spPr bwMode="gray">
            <a:xfrm>
              <a:off x="609600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DEF9905F-64D0-EB83-8588-64D99D757A79}"/>
                </a:ext>
              </a:extLst>
            </p:cNvPr>
            <p:cNvCxnSpPr/>
            <p:nvPr userDrawn="1"/>
          </p:nvCxnSpPr>
          <p:spPr bwMode="gray">
            <a:xfrm>
              <a:off x="724812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8F525A38-A20A-442D-3183-36DBB938D9DE}"/>
                </a:ext>
              </a:extLst>
            </p:cNvPr>
            <p:cNvCxnSpPr/>
            <p:nvPr userDrawn="1"/>
          </p:nvCxnSpPr>
          <p:spPr bwMode="gray">
            <a:xfrm>
              <a:off x="782419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964D1572-3238-DB5F-3C30-2AFDBE6321BF}"/>
                </a:ext>
              </a:extLst>
            </p:cNvPr>
            <p:cNvCxnSpPr/>
            <p:nvPr userDrawn="1"/>
          </p:nvCxnSpPr>
          <p:spPr bwMode="gray">
            <a:xfrm>
              <a:off x="840025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7E6C5602-0949-EC54-1A04-704313A7C851}"/>
                </a:ext>
              </a:extLst>
            </p:cNvPr>
            <p:cNvCxnSpPr/>
            <p:nvPr userDrawn="1"/>
          </p:nvCxnSpPr>
          <p:spPr bwMode="gray">
            <a:xfrm>
              <a:off x="897632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7" name="Gerader Verbinder 76">
              <a:extLst>
                <a:ext uri="{FF2B5EF4-FFF2-40B4-BE49-F238E27FC236}">
                  <a16:creationId xmlns:a16="http://schemas.microsoft.com/office/drawing/2014/main" id="{249F37EF-3412-AA4C-445E-44DB5D33CFDF}"/>
                </a:ext>
              </a:extLst>
            </p:cNvPr>
            <p:cNvCxnSpPr/>
            <p:nvPr userDrawn="1"/>
          </p:nvCxnSpPr>
          <p:spPr bwMode="gray">
            <a:xfrm>
              <a:off x="1128057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8" name="Gerader Verbinder 77">
              <a:extLst>
                <a:ext uri="{FF2B5EF4-FFF2-40B4-BE49-F238E27FC236}">
                  <a16:creationId xmlns:a16="http://schemas.microsoft.com/office/drawing/2014/main" id="{827D47E8-7317-E294-9BE6-0152A8BF43FB}"/>
                </a:ext>
              </a:extLst>
            </p:cNvPr>
            <p:cNvCxnSpPr/>
            <p:nvPr userDrawn="1"/>
          </p:nvCxnSpPr>
          <p:spPr bwMode="gray">
            <a:xfrm>
              <a:off x="1185664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9" name="Gerader Verbinder 78">
              <a:extLst>
                <a:ext uri="{FF2B5EF4-FFF2-40B4-BE49-F238E27FC236}">
                  <a16:creationId xmlns:a16="http://schemas.microsoft.com/office/drawing/2014/main" id="{480B83E7-EAF8-C5EE-98A0-0EF8174EDC66}"/>
                </a:ext>
              </a:extLst>
            </p:cNvPr>
            <p:cNvCxnSpPr>
              <a:cxnSpLocks/>
            </p:cNvCxnSpPr>
            <p:nvPr userDrawn="1"/>
          </p:nvCxnSpPr>
          <p:spPr bwMode="gray">
            <a:xfrm rot="5400000">
              <a:off x="-132688" y="29665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0" name="Gerader Verbinder 79">
              <a:extLst>
                <a:ext uri="{FF2B5EF4-FFF2-40B4-BE49-F238E27FC236}">
                  <a16:creationId xmlns:a16="http://schemas.microsoft.com/office/drawing/2014/main" id="{43D3872F-8E2C-D52C-82E2-35F3DF8CFA30}"/>
                </a:ext>
              </a:extLst>
            </p:cNvPr>
            <p:cNvCxnSpPr/>
            <p:nvPr userDrawn="1"/>
          </p:nvCxnSpPr>
          <p:spPr bwMode="gray">
            <a:xfrm>
              <a:off x="321568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1" name="Gerader Verbinder 80">
              <a:extLst>
                <a:ext uri="{FF2B5EF4-FFF2-40B4-BE49-F238E27FC236}">
                  <a16:creationId xmlns:a16="http://schemas.microsoft.com/office/drawing/2014/main" id="{10266E6B-0065-C5E5-124B-78757557C8CB}"/>
                </a:ext>
              </a:extLst>
            </p:cNvPr>
            <p:cNvCxnSpPr/>
            <p:nvPr userDrawn="1"/>
          </p:nvCxnSpPr>
          <p:spPr bwMode="gray">
            <a:xfrm>
              <a:off x="379174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2" name="Gerader Verbinder 81">
              <a:extLst>
                <a:ext uri="{FF2B5EF4-FFF2-40B4-BE49-F238E27FC236}">
                  <a16:creationId xmlns:a16="http://schemas.microsoft.com/office/drawing/2014/main" id="{7377018F-65C1-5B64-C9AB-2C6C12F1622F}"/>
                </a:ext>
              </a:extLst>
            </p:cNvPr>
            <p:cNvCxnSpPr>
              <a:cxnSpLocks/>
            </p:cNvCxnSpPr>
            <p:nvPr userDrawn="1"/>
          </p:nvCxnSpPr>
          <p:spPr bwMode="gray">
            <a:xfrm rot="5400000">
              <a:off x="-132704" y="87272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3" name="Gerader Verbinder 82">
              <a:extLst>
                <a:ext uri="{FF2B5EF4-FFF2-40B4-BE49-F238E27FC236}">
                  <a16:creationId xmlns:a16="http://schemas.microsoft.com/office/drawing/2014/main" id="{43A97E38-C238-EFE4-A9CA-2AC955B7628A}"/>
                </a:ext>
              </a:extLst>
            </p:cNvPr>
            <p:cNvCxnSpPr>
              <a:cxnSpLocks/>
            </p:cNvCxnSpPr>
            <p:nvPr userDrawn="1"/>
          </p:nvCxnSpPr>
          <p:spPr bwMode="gray">
            <a:xfrm rot="5400000">
              <a:off x="-132712" y="202484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4" name="Gerader Verbinder 83">
              <a:extLst>
                <a:ext uri="{FF2B5EF4-FFF2-40B4-BE49-F238E27FC236}">
                  <a16:creationId xmlns:a16="http://schemas.microsoft.com/office/drawing/2014/main" id="{5777158B-9E4D-0BA7-6217-F1CECD96BEFC}"/>
                </a:ext>
              </a:extLst>
            </p:cNvPr>
            <p:cNvCxnSpPr>
              <a:cxnSpLocks/>
            </p:cNvCxnSpPr>
            <p:nvPr userDrawn="1"/>
          </p:nvCxnSpPr>
          <p:spPr bwMode="gray">
            <a:xfrm rot="5400000">
              <a:off x="-132768" y="605729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5" name="Gerader Verbinder 84">
              <a:extLst>
                <a:ext uri="{FF2B5EF4-FFF2-40B4-BE49-F238E27FC236}">
                  <a16:creationId xmlns:a16="http://schemas.microsoft.com/office/drawing/2014/main" id="{761E4D7C-1D8F-583A-E179-DDB798093A6C}"/>
                </a:ext>
              </a:extLst>
            </p:cNvPr>
            <p:cNvCxnSpPr/>
            <p:nvPr/>
          </p:nvCxnSpPr>
          <p:spPr bwMode="gray">
            <a:xfrm>
              <a:off x="1070451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6" name="Gerader Verbinder 85">
              <a:extLst>
                <a:ext uri="{FF2B5EF4-FFF2-40B4-BE49-F238E27FC236}">
                  <a16:creationId xmlns:a16="http://schemas.microsoft.com/office/drawing/2014/main" id="{F9984295-0CFE-DF10-8B94-25F08392AE49}"/>
                </a:ext>
              </a:extLst>
            </p:cNvPr>
            <p:cNvCxnSpPr/>
            <p:nvPr/>
          </p:nvCxnSpPr>
          <p:spPr bwMode="gray">
            <a:xfrm>
              <a:off x="1012844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D584AA2D-CC7D-1C7A-3B2C-1E5740DE1709}"/>
                </a:ext>
              </a:extLst>
            </p:cNvPr>
            <p:cNvCxnSpPr/>
            <p:nvPr/>
          </p:nvCxnSpPr>
          <p:spPr bwMode="gray">
            <a:xfrm>
              <a:off x="955059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8" name="Gerader Verbinder 87">
              <a:extLst>
                <a:ext uri="{FF2B5EF4-FFF2-40B4-BE49-F238E27FC236}">
                  <a16:creationId xmlns:a16="http://schemas.microsoft.com/office/drawing/2014/main" id="{3DC2A407-D182-3E68-9208-56797207AE0D}"/>
                </a:ext>
              </a:extLst>
            </p:cNvPr>
            <p:cNvCxnSpPr/>
            <p:nvPr/>
          </p:nvCxnSpPr>
          <p:spPr bwMode="gray">
            <a:xfrm>
              <a:off x="551973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9" name="Gerader Verbinder 88">
              <a:extLst>
                <a:ext uri="{FF2B5EF4-FFF2-40B4-BE49-F238E27FC236}">
                  <a16:creationId xmlns:a16="http://schemas.microsoft.com/office/drawing/2014/main" id="{FD0767B5-635C-8863-F492-F16366F592ED}"/>
                </a:ext>
              </a:extLst>
            </p:cNvPr>
            <p:cNvCxnSpPr/>
            <p:nvPr/>
          </p:nvCxnSpPr>
          <p:spPr bwMode="gray">
            <a:xfrm>
              <a:off x="263961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90" name="Gerader Verbinder 89">
              <a:extLst>
                <a:ext uri="{FF2B5EF4-FFF2-40B4-BE49-F238E27FC236}">
                  <a16:creationId xmlns:a16="http://schemas.microsoft.com/office/drawing/2014/main" id="{6B76C9B6-79BE-BE9E-7E95-6A8648B6E60F}"/>
                </a:ext>
              </a:extLst>
            </p:cNvPr>
            <p:cNvCxnSpPr/>
            <p:nvPr/>
          </p:nvCxnSpPr>
          <p:spPr bwMode="gray">
            <a:xfrm>
              <a:off x="206355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91" name="Gerader Verbinder 90">
              <a:extLst>
                <a:ext uri="{FF2B5EF4-FFF2-40B4-BE49-F238E27FC236}">
                  <a16:creationId xmlns:a16="http://schemas.microsoft.com/office/drawing/2014/main" id="{FA1BF189-3B96-37DB-75A9-158BAC1AE777}"/>
                </a:ext>
              </a:extLst>
            </p:cNvPr>
            <p:cNvCxnSpPr/>
            <p:nvPr/>
          </p:nvCxnSpPr>
          <p:spPr bwMode="gray">
            <a:xfrm>
              <a:off x="148748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92" name="Gerader Verbinder 91">
              <a:extLst>
                <a:ext uri="{FF2B5EF4-FFF2-40B4-BE49-F238E27FC236}">
                  <a16:creationId xmlns:a16="http://schemas.microsoft.com/office/drawing/2014/main" id="{1632A2A1-093B-0F7A-3A17-953D159072D3}"/>
                </a:ext>
              </a:extLst>
            </p:cNvPr>
            <p:cNvCxnSpPr/>
            <p:nvPr/>
          </p:nvCxnSpPr>
          <p:spPr bwMode="gray">
            <a:xfrm>
              <a:off x="91142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93" name="Gerader Verbinder 92">
              <a:extLst>
                <a:ext uri="{FF2B5EF4-FFF2-40B4-BE49-F238E27FC236}">
                  <a16:creationId xmlns:a16="http://schemas.microsoft.com/office/drawing/2014/main" id="{F2258F64-19BD-B572-7DEB-043AA28549FC}"/>
                </a:ext>
              </a:extLst>
            </p:cNvPr>
            <p:cNvCxnSpPr>
              <a:cxnSpLocks/>
            </p:cNvCxnSpPr>
            <p:nvPr/>
          </p:nvCxnSpPr>
          <p:spPr bwMode="gray">
            <a:xfrm rot="5400000">
              <a:off x="-132704" y="144878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a16="http://schemas.microsoft.com/office/drawing/2014/main" id="{6E592B7C-28E4-0D26-55D8-6C7AC358E0FC}"/>
                </a:ext>
              </a:extLst>
            </p:cNvPr>
            <p:cNvCxnSpPr>
              <a:cxnSpLocks/>
            </p:cNvCxnSpPr>
            <p:nvPr/>
          </p:nvCxnSpPr>
          <p:spPr bwMode="gray">
            <a:xfrm rot="5400000">
              <a:off x="-132712" y="260091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A344E091-8F94-A518-9BB4-814BC420DA3A}"/>
                </a:ext>
              </a:extLst>
            </p:cNvPr>
            <p:cNvCxnSpPr>
              <a:cxnSpLocks/>
            </p:cNvCxnSpPr>
            <p:nvPr/>
          </p:nvCxnSpPr>
          <p:spPr bwMode="gray">
            <a:xfrm rot="5400000">
              <a:off x="-132712" y="317697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id="{A0130ECA-B1DE-3FB4-A461-3C8A5ACEA46A}"/>
                </a:ext>
              </a:extLst>
            </p:cNvPr>
            <p:cNvCxnSpPr>
              <a:cxnSpLocks/>
            </p:cNvCxnSpPr>
            <p:nvPr/>
          </p:nvCxnSpPr>
          <p:spPr bwMode="gray">
            <a:xfrm rot="5400000">
              <a:off x="-132712" y="375304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C3787ECA-951D-9E65-19A6-AC81527DBD4E}"/>
                </a:ext>
              </a:extLst>
            </p:cNvPr>
            <p:cNvCxnSpPr>
              <a:cxnSpLocks/>
            </p:cNvCxnSpPr>
            <p:nvPr/>
          </p:nvCxnSpPr>
          <p:spPr bwMode="gray">
            <a:xfrm rot="5400000">
              <a:off x="-132712" y="432910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id="{D3B43370-BA36-663A-4F98-EF20D21CFC71}"/>
                </a:ext>
              </a:extLst>
            </p:cNvPr>
            <p:cNvCxnSpPr>
              <a:cxnSpLocks/>
            </p:cNvCxnSpPr>
            <p:nvPr/>
          </p:nvCxnSpPr>
          <p:spPr bwMode="gray">
            <a:xfrm rot="5400000">
              <a:off x="-132712" y="490516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105" name="Gerader Verbinder 104">
              <a:extLst>
                <a:ext uri="{FF2B5EF4-FFF2-40B4-BE49-F238E27FC236}">
                  <a16:creationId xmlns:a16="http://schemas.microsoft.com/office/drawing/2014/main" id="{D69795CB-C84C-30E6-72A1-856272DA849F}"/>
                </a:ext>
              </a:extLst>
            </p:cNvPr>
            <p:cNvCxnSpPr>
              <a:cxnSpLocks/>
            </p:cNvCxnSpPr>
            <p:nvPr/>
          </p:nvCxnSpPr>
          <p:spPr bwMode="gray">
            <a:xfrm rot="5400000">
              <a:off x="-132712" y="548123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320016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2 | Purple">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81C8346B-21BC-D3F4-E970-6C080C3FEAE2}"/>
              </a:ext>
            </a:extLst>
          </p:cNvPr>
          <p:cNvGraphicFramePr>
            <a:graphicFrameLocks noChangeAspect="1"/>
          </p:cNvGraphicFramePr>
          <p:nvPr userDrawn="1">
            <p:custDataLst>
              <p:tags r:id="rId1"/>
            </p:custDataLst>
            <p:extLst>
              <p:ext uri="{D42A27DB-BD31-4B8C-83A1-F6EECF244321}">
                <p14:modId xmlns:p14="http://schemas.microsoft.com/office/powerpoint/2010/main" val="2054504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3" name="Objekt 2" hidden="1">
                        <a:extLst>
                          <a:ext uri="{FF2B5EF4-FFF2-40B4-BE49-F238E27FC236}">
                            <a16:creationId xmlns:a16="http://schemas.microsoft.com/office/drawing/2014/main" id="{81C8346B-21BC-D3F4-E970-6C080C3FEA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93" name="Gruppieren 592">
            <a:extLst>
              <a:ext uri="{FF2B5EF4-FFF2-40B4-BE49-F238E27FC236}">
                <a16:creationId xmlns:a16="http://schemas.microsoft.com/office/drawing/2014/main" id="{F51E1B9F-E5D4-EF36-3C3A-E9AE799D0065}"/>
              </a:ext>
            </a:extLst>
          </p:cNvPr>
          <p:cNvGrpSpPr/>
          <p:nvPr userDrawn="1"/>
        </p:nvGrpSpPr>
        <p:grpSpPr>
          <a:xfrm>
            <a:off x="317360" y="1484784"/>
            <a:ext cx="11539280" cy="4626512"/>
            <a:chOff x="317360" y="1484784"/>
            <a:chExt cx="11539280" cy="4626512"/>
          </a:xfrm>
        </p:grpSpPr>
        <p:sp>
          <p:nvSpPr>
            <p:cNvPr id="594" name="Rechteck 593">
              <a:extLst>
                <a:ext uri="{FF2B5EF4-FFF2-40B4-BE49-F238E27FC236}">
                  <a16:creationId xmlns:a16="http://schemas.microsoft.com/office/drawing/2014/main" id="{DC745262-957B-BEE9-9521-421A1CF51222}"/>
                </a:ext>
              </a:extLst>
            </p:cNvPr>
            <p:cNvSpPr/>
            <p:nvPr userDrawn="1"/>
          </p:nvSpPr>
          <p:spPr bwMode="gray">
            <a:xfrm>
              <a:off x="1126257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5" name="Rechteck 594">
              <a:extLst>
                <a:ext uri="{FF2B5EF4-FFF2-40B4-BE49-F238E27FC236}">
                  <a16:creationId xmlns:a16="http://schemas.microsoft.com/office/drawing/2014/main" id="{467BFAEF-8C58-D254-D6AD-10BF2F442752}"/>
                </a:ext>
              </a:extLst>
            </p:cNvPr>
            <p:cNvSpPr/>
            <p:nvPr userDrawn="1"/>
          </p:nvSpPr>
          <p:spPr bwMode="gray">
            <a:xfrm>
              <a:off x="1068651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6" name="Rechteck 595">
              <a:extLst>
                <a:ext uri="{FF2B5EF4-FFF2-40B4-BE49-F238E27FC236}">
                  <a16:creationId xmlns:a16="http://schemas.microsoft.com/office/drawing/2014/main" id="{5068B811-0105-D363-C051-ED410B72E881}"/>
                </a:ext>
              </a:extLst>
            </p:cNvPr>
            <p:cNvSpPr/>
            <p:nvPr userDrawn="1"/>
          </p:nvSpPr>
          <p:spPr bwMode="gray">
            <a:xfrm>
              <a:off x="1011044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7" name="Rechteck 596">
              <a:extLst>
                <a:ext uri="{FF2B5EF4-FFF2-40B4-BE49-F238E27FC236}">
                  <a16:creationId xmlns:a16="http://schemas.microsoft.com/office/drawing/2014/main" id="{37568CC7-80EF-3A23-4811-970F5041DC63}"/>
                </a:ext>
              </a:extLst>
            </p:cNvPr>
            <p:cNvSpPr/>
            <p:nvPr userDrawn="1"/>
          </p:nvSpPr>
          <p:spPr bwMode="gray">
            <a:xfrm>
              <a:off x="953438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8" name="Rechteck 597">
              <a:extLst>
                <a:ext uri="{FF2B5EF4-FFF2-40B4-BE49-F238E27FC236}">
                  <a16:creationId xmlns:a16="http://schemas.microsoft.com/office/drawing/2014/main" id="{9E53F1FC-2986-D01A-3C6C-AAC5B01083A0}"/>
                </a:ext>
              </a:extLst>
            </p:cNvPr>
            <p:cNvSpPr/>
            <p:nvPr userDrawn="1"/>
          </p:nvSpPr>
          <p:spPr bwMode="gray">
            <a:xfrm>
              <a:off x="895832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9" name="Rechteck 598">
              <a:extLst>
                <a:ext uri="{FF2B5EF4-FFF2-40B4-BE49-F238E27FC236}">
                  <a16:creationId xmlns:a16="http://schemas.microsoft.com/office/drawing/2014/main" id="{AF75EC6D-B605-02E9-67FF-D31C37790F61}"/>
                </a:ext>
              </a:extLst>
            </p:cNvPr>
            <p:cNvSpPr/>
            <p:nvPr userDrawn="1"/>
          </p:nvSpPr>
          <p:spPr bwMode="gray">
            <a:xfrm>
              <a:off x="838225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0" name="Rechteck 599">
              <a:extLst>
                <a:ext uri="{FF2B5EF4-FFF2-40B4-BE49-F238E27FC236}">
                  <a16:creationId xmlns:a16="http://schemas.microsoft.com/office/drawing/2014/main" id="{2EFACD55-D5DE-8718-4797-8C61D91E61CA}"/>
                </a:ext>
              </a:extLst>
            </p:cNvPr>
            <p:cNvSpPr/>
            <p:nvPr userDrawn="1"/>
          </p:nvSpPr>
          <p:spPr bwMode="gray">
            <a:xfrm>
              <a:off x="780619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1" name="Rechteck 600">
              <a:extLst>
                <a:ext uri="{FF2B5EF4-FFF2-40B4-BE49-F238E27FC236}">
                  <a16:creationId xmlns:a16="http://schemas.microsoft.com/office/drawing/2014/main" id="{EB0CA3D8-D91E-AFC4-C1D5-143F322B3A18}"/>
                </a:ext>
              </a:extLst>
            </p:cNvPr>
            <p:cNvSpPr/>
            <p:nvPr userDrawn="1"/>
          </p:nvSpPr>
          <p:spPr bwMode="gray">
            <a:xfrm>
              <a:off x="723012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2" name="Rechteck 601">
              <a:extLst>
                <a:ext uri="{FF2B5EF4-FFF2-40B4-BE49-F238E27FC236}">
                  <a16:creationId xmlns:a16="http://schemas.microsoft.com/office/drawing/2014/main" id="{66F80DE6-9CA6-6D86-94B1-3B535F32681A}"/>
                </a:ext>
              </a:extLst>
            </p:cNvPr>
            <p:cNvSpPr/>
            <p:nvPr userDrawn="1"/>
          </p:nvSpPr>
          <p:spPr bwMode="gray">
            <a:xfrm>
              <a:off x="665406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3" name="Rechteck 602">
              <a:extLst>
                <a:ext uri="{FF2B5EF4-FFF2-40B4-BE49-F238E27FC236}">
                  <a16:creationId xmlns:a16="http://schemas.microsoft.com/office/drawing/2014/main" id="{A555B822-EDA8-123E-329E-357423D5B39C}"/>
                </a:ext>
              </a:extLst>
            </p:cNvPr>
            <p:cNvSpPr/>
            <p:nvPr userDrawn="1"/>
          </p:nvSpPr>
          <p:spPr bwMode="gray">
            <a:xfrm>
              <a:off x="607800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4" name="Rechteck 603">
              <a:extLst>
                <a:ext uri="{FF2B5EF4-FFF2-40B4-BE49-F238E27FC236}">
                  <a16:creationId xmlns:a16="http://schemas.microsoft.com/office/drawing/2014/main" id="{BDC2727B-6044-DBE2-D702-13DF48DE1937}"/>
                </a:ext>
              </a:extLst>
            </p:cNvPr>
            <p:cNvSpPr/>
            <p:nvPr userDrawn="1"/>
          </p:nvSpPr>
          <p:spPr bwMode="gray">
            <a:xfrm>
              <a:off x="550193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5" name="Rechteck 604">
              <a:extLst>
                <a:ext uri="{FF2B5EF4-FFF2-40B4-BE49-F238E27FC236}">
                  <a16:creationId xmlns:a16="http://schemas.microsoft.com/office/drawing/2014/main" id="{3EE7DE62-8CA1-5005-288C-12B69AEAB2F7}"/>
                </a:ext>
              </a:extLst>
            </p:cNvPr>
            <p:cNvSpPr/>
            <p:nvPr userDrawn="1"/>
          </p:nvSpPr>
          <p:spPr bwMode="gray">
            <a:xfrm>
              <a:off x="492587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6" name="Rechteck 605">
              <a:extLst>
                <a:ext uri="{FF2B5EF4-FFF2-40B4-BE49-F238E27FC236}">
                  <a16:creationId xmlns:a16="http://schemas.microsoft.com/office/drawing/2014/main" id="{952188F3-8165-44BF-302A-4C183DE5C659}"/>
                </a:ext>
              </a:extLst>
            </p:cNvPr>
            <p:cNvSpPr/>
            <p:nvPr userDrawn="1"/>
          </p:nvSpPr>
          <p:spPr bwMode="gray">
            <a:xfrm>
              <a:off x="434980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7" name="Rechteck 606">
              <a:extLst>
                <a:ext uri="{FF2B5EF4-FFF2-40B4-BE49-F238E27FC236}">
                  <a16:creationId xmlns:a16="http://schemas.microsoft.com/office/drawing/2014/main" id="{E74B6223-FAE2-F8FF-2C60-884372536F3F}"/>
                </a:ext>
              </a:extLst>
            </p:cNvPr>
            <p:cNvSpPr/>
            <p:nvPr userDrawn="1"/>
          </p:nvSpPr>
          <p:spPr bwMode="gray">
            <a:xfrm>
              <a:off x="377374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8" name="Rechteck 607">
              <a:extLst>
                <a:ext uri="{FF2B5EF4-FFF2-40B4-BE49-F238E27FC236}">
                  <a16:creationId xmlns:a16="http://schemas.microsoft.com/office/drawing/2014/main" id="{6E8410CC-F475-605B-40A8-C2BF7CEC08D2}"/>
                </a:ext>
              </a:extLst>
            </p:cNvPr>
            <p:cNvSpPr/>
            <p:nvPr userDrawn="1"/>
          </p:nvSpPr>
          <p:spPr bwMode="gray">
            <a:xfrm>
              <a:off x="319768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9" name="Rechteck 608">
              <a:extLst>
                <a:ext uri="{FF2B5EF4-FFF2-40B4-BE49-F238E27FC236}">
                  <a16:creationId xmlns:a16="http://schemas.microsoft.com/office/drawing/2014/main" id="{EAA202BF-5462-6D24-BC75-FE95BD32D39C}"/>
                </a:ext>
              </a:extLst>
            </p:cNvPr>
            <p:cNvSpPr/>
            <p:nvPr userDrawn="1"/>
          </p:nvSpPr>
          <p:spPr bwMode="gray">
            <a:xfrm>
              <a:off x="262161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0" name="Rechteck 609">
              <a:extLst>
                <a:ext uri="{FF2B5EF4-FFF2-40B4-BE49-F238E27FC236}">
                  <a16:creationId xmlns:a16="http://schemas.microsoft.com/office/drawing/2014/main" id="{4AAD3704-BBD7-B246-0098-876A98FF2C4F}"/>
                </a:ext>
              </a:extLst>
            </p:cNvPr>
            <p:cNvSpPr/>
            <p:nvPr userDrawn="1"/>
          </p:nvSpPr>
          <p:spPr bwMode="gray">
            <a:xfrm>
              <a:off x="204555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1" name="Rechteck 610">
              <a:extLst>
                <a:ext uri="{FF2B5EF4-FFF2-40B4-BE49-F238E27FC236}">
                  <a16:creationId xmlns:a16="http://schemas.microsoft.com/office/drawing/2014/main" id="{071EA9E2-A9E2-28CA-8398-FB37BE1A59CC}"/>
                </a:ext>
              </a:extLst>
            </p:cNvPr>
            <p:cNvSpPr/>
            <p:nvPr userDrawn="1"/>
          </p:nvSpPr>
          <p:spPr bwMode="gray">
            <a:xfrm>
              <a:off x="146948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2" name="Rechteck 611">
              <a:extLst>
                <a:ext uri="{FF2B5EF4-FFF2-40B4-BE49-F238E27FC236}">
                  <a16:creationId xmlns:a16="http://schemas.microsoft.com/office/drawing/2014/main" id="{639DEF17-42C3-2C0E-8EB5-0586C960705A}"/>
                </a:ext>
              </a:extLst>
            </p:cNvPr>
            <p:cNvSpPr/>
            <p:nvPr userDrawn="1"/>
          </p:nvSpPr>
          <p:spPr bwMode="gray">
            <a:xfrm>
              <a:off x="89342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3" name="Rechteck 612">
              <a:extLst>
                <a:ext uri="{FF2B5EF4-FFF2-40B4-BE49-F238E27FC236}">
                  <a16:creationId xmlns:a16="http://schemas.microsoft.com/office/drawing/2014/main" id="{A2F19B42-ABA0-154E-5208-83530C974F5B}"/>
                </a:ext>
              </a:extLst>
            </p:cNvPr>
            <p:cNvSpPr/>
            <p:nvPr userDrawn="1"/>
          </p:nvSpPr>
          <p:spPr bwMode="gray">
            <a:xfrm>
              <a:off x="31736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4" name="Rechteck 613">
              <a:extLst>
                <a:ext uri="{FF2B5EF4-FFF2-40B4-BE49-F238E27FC236}">
                  <a16:creationId xmlns:a16="http://schemas.microsoft.com/office/drawing/2014/main" id="{832292C8-6D86-6B6A-77F8-37B9D110A247}"/>
                </a:ext>
              </a:extLst>
            </p:cNvPr>
            <p:cNvSpPr/>
            <p:nvPr userDrawn="1"/>
          </p:nvSpPr>
          <p:spPr bwMode="gray">
            <a:xfrm>
              <a:off x="1126257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5" name="Rechteck 614">
              <a:extLst>
                <a:ext uri="{FF2B5EF4-FFF2-40B4-BE49-F238E27FC236}">
                  <a16:creationId xmlns:a16="http://schemas.microsoft.com/office/drawing/2014/main" id="{F103817E-04F4-2420-E84F-322BBC90AF97}"/>
                </a:ext>
              </a:extLst>
            </p:cNvPr>
            <p:cNvSpPr/>
            <p:nvPr userDrawn="1"/>
          </p:nvSpPr>
          <p:spPr bwMode="gray">
            <a:xfrm>
              <a:off x="1068651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6" name="Rechteck 615">
              <a:extLst>
                <a:ext uri="{FF2B5EF4-FFF2-40B4-BE49-F238E27FC236}">
                  <a16:creationId xmlns:a16="http://schemas.microsoft.com/office/drawing/2014/main" id="{DC41ED89-88A5-5A31-CCCB-5DE73D2D3EA6}"/>
                </a:ext>
              </a:extLst>
            </p:cNvPr>
            <p:cNvSpPr/>
            <p:nvPr userDrawn="1"/>
          </p:nvSpPr>
          <p:spPr bwMode="gray">
            <a:xfrm>
              <a:off x="1011044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7" name="Rechteck 616">
              <a:extLst>
                <a:ext uri="{FF2B5EF4-FFF2-40B4-BE49-F238E27FC236}">
                  <a16:creationId xmlns:a16="http://schemas.microsoft.com/office/drawing/2014/main" id="{8348F670-88C2-8156-5550-BEED05A7BFAD}"/>
                </a:ext>
              </a:extLst>
            </p:cNvPr>
            <p:cNvSpPr/>
            <p:nvPr userDrawn="1"/>
          </p:nvSpPr>
          <p:spPr bwMode="gray">
            <a:xfrm>
              <a:off x="953438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8" name="Rechteck 617">
              <a:extLst>
                <a:ext uri="{FF2B5EF4-FFF2-40B4-BE49-F238E27FC236}">
                  <a16:creationId xmlns:a16="http://schemas.microsoft.com/office/drawing/2014/main" id="{60FB63BC-FDE1-7B3E-AA09-9D5A7FC5A46D}"/>
                </a:ext>
              </a:extLst>
            </p:cNvPr>
            <p:cNvSpPr/>
            <p:nvPr userDrawn="1"/>
          </p:nvSpPr>
          <p:spPr bwMode="gray">
            <a:xfrm>
              <a:off x="895832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9" name="Rechteck 618">
              <a:extLst>
                <a:ext uri="{FF2B5EF4-FFF2-40B4-BE49-F238E27FC236}">
                  <a16:creationId xmlns:a16="http://schemas.microsoft.com/office/drawing/2014/main" id="{362EFEC9-3F56-5B83-6364-08157A6440D8}"/>
                </a:ext>
              </a:extLst>
            </p:cNvPr>
            <p:cNvSpPr/>
            <p:nvPr userDrawn="1"/>
          </p:nvSpPr>
          <p:spPr bwMode="gray">
            <a:xfrm>
              <a:off x="838225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0" name="Rechteck 619">
              <a:extLst>
                <a:ext uri="{FF2B5EF4-FFF2-40B4-BE49-F238E27FC236}">
                  <a16:creationId xmlns:a16="http://schemas.microsoft.com/office/drawing/2014/main" id="{4C334EEC-75C1-C4D2-DD45-4C6997775A06}"/>
                </a:ext>
              </a:extLst>
            </p:cNvPr>
            <p:cNvSpPr/>
            <p:nvPr userDrawn="1"/>
          </p:nvSpPr>
          <p:spPr bwMode="gray">
            <a:xfrm>
              <a:off x="780619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1" name="Rechteck 620">
              <a:extLst>
                <a:ext uri="{FF2B5EF4-FFF2-40B4-BE49-F238E27FC236}">
                  <a16:creationId xmlns:a16="http://schemas.microsoft.com/office/drawing/2014/main" id="{9C8E42BA-02CD-D1AF-9A07-6E6E1336D00A}"/>
                </a:ext>
              </a:extLst>
            </p:cNvPr>
            <p:cNvSpPr/>
            <p:nvPr userDrawn="1"/>
          </p:nvSpPr>
          <p:spPr bwMode="gray">
            <a:xfrm>
              <a:off x="723012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2" name="Rechteck 621">
              <a:extLst>
                <a:ext uri="{FF2B5EF4-FFF2-40B4-BE49-F238E27FC236}">
                  <a16:creationId xmlns:a16="http://schemas.microsoft.com/office/drawing/2014/main" id="{11013DF6-2986-2901-B9FA-55CACC6B9CC1}"/>
                </a:ext>
              </a:extLst>
            </p:cNvPr>
            <p:cNvSpPr/>
            <p:nvPr userDrawn="1"/>
          </p:nvSpPr>
          <p:spPr bwMode="gray">
            <a:xfrm>
              <a:off x="665406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3" name="Rechteck 622">
              <a:extLst>
                <a:ext uri="{FF2B5EF4-FFF2-40B4-BE49-F238E27FC236}">
                  <a16:creationId xmlns:a16="http://schemas.microsoft.com/office/drawing/2014/main" id="{D5C4D759-A5EF-D67E-9E12-4AFC5287EE08}"/>
                </a:ext>
              </a:extLst>
            </p:cNvPr>
            <p:cNvSpPr/>
            <p:nvPr userDrawn="1"/>
          </p:nvSpPr>
          <p:spPr bwMode="gray">
            <a:xfrm>
              <a:off x="607800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4" name="Rechteck 623">
              <a:extLst>
                <a:ext uri="{FF2B5EF4-FFF2-40B4-BE49-F238E27FC236}">
                  <a16:creationId xmlns:a16="http://schemas.microsoft.com/office/drawing/2014/main" id="{6C666CF4-9B9F-FDCC-0F6F-6644400E2115}"/>
                </a:ext>
              </a:extLst>
            </p:cNvPr>
            <p:cNvSpPr/>
            <p:nvPr userDrawn="1"/>
          </p:nvSpPr>
          <p:spPr bwMode="gray">
            <a:xfrm>
              <a:off x="550193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5" name="Rechteck 624">
              <a:extLst>
                <a:ext uri="{FF2B5EF4-FFF2-40B4-BE49-F238E27FC236}">
                  <a16:creationId xmlns:a16="http://schemas.microsoft.com/office/drawing/2014/main" id="{05367BFA-17DF-EA89-DEB2-C2F072FF8541}"/>
                </a:ext>
              </a:extLst>
            </p:cNvPr>
            <p:cNvSpPr/>
            <p:nvPr userDrawn="1"/>
          </p:nvSpPr>
          <p:spPr bwMode="gray">
            <a:xfrm>
              <a:off x="492587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6" name="Rechteck 625">
              <a:extLst>
                <a:ext uri="{FF2B5EF4-FFF2-40B4-BE49-F238E27FC236}">
                  <a16:creationId xmlns:a16="http://schemas.microsoft.com/office/drawing/2014/main" id="{013E30C4-C612-2110-31A4-3B2085DD3460}"/>
                </a:ext>
              </a:extLst>
            </p:cNvPr>
            <p:cNvSpPr/>
            <p:nvPr userDrawn="1"/>
          </p:nvSpPr>
          <p:spPr bwMode="gray">
            <a:xfrm>
              <a:off x="434980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7" name="Rechteck 626">
              <a:extLst>
                <a:ext uri="{FF2B5EF4-FFF2-40B4-BE49-F238E27FC236}">
                  <a16:creationId xmlns:a16="http://schemas.microsoft.com/office/drawing/2014/main" id="{B70FF0FF-8272-34E5-9FCE-B3E8AA29083D}"/>
                </a:ext>
              </a:extLst>
            </p:cNvPr>
            <p:cNvSpPr/>
            <p:nvPr userDrawn="1"/>
          </p:nvSpPr>
          <p:spPr bwMode="gray">
            <a:xfrm>
              <a:off x="377374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8" name="Rechteck 627">
              <a:extLst>
                <a:ext uri="{FF2B5EF4-FFF2-40B4-BE49-F238E27FC236}">
                  <a16:creationId xmlns:a16="http://schemas.microsoft.com/office/drawing/2014/main" id="{E065EBB7-8CF4-A054-AB37-1A495EF52846}"/>
                </a:ext>
              </a:extLst>
            </p:cNvPr>
            <p:cNvSpPr/>
            <p:nvPr userDrawn="1"/>
          </p:nvSpPr>
          <p:spPr bwMode="gray">
            <a:xfrm>
              <a:off x="319768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9" name="Rechteck 628">
              <a:extLst>
                <a:ext uri="{FF2B5EF4-FFF2-40B4-BE49-F238E27FC236}">
                  <a16:creationId xmlns:a16="http://schemas.microsoft.com/office/drawing/2014/main" id="{13262597-D78D-0469-D08E-2ECA4D26251A}"/>
                </a:ext>
              </a:extLst>
            </p:cNvPr>
            <p:cNvSpPr/>
            <p:nvPr userDrawn="1"/>
          </p:nvSpPr>
          <p:spPr bwMode="gray">
            <a:xfrm>
              <a:off x="262161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0" name="Rechteck 629">
              <a:extLst>
                <a:ext uri="{FF2B5EF4-FFF2-40B4-BE49-F238E27FC236}">
                  <a16:creationId xmlns:a16="http://schemas.microsoft.com/office/drawing/2014/main" id="{C3C86276-78A5-1AB2-CDEF-9212AEDBC474}"/>
                </a:ext>
              </a:extLst>
            </p:cNvPr>
            <p:cNvSpPr/>
            <p:nvPr userDrawn="1"/>
          </p:nvSpPr>
          <p:spPr bwMode="gray">
            <a:xfrm>
              <a:off x="204555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1" name="Rechteck 630">
              <a:extLst>
                <a:ext uri="{FF2B5EF4-FFF2-40B4-BE49-F238E27FC236}">
                  <a16:creationId xmlns:a16="http://schemas.microsoft.com/office/drawing/2014/main" id="{6C381BA4-EC9F-A243-D1F1-1E0FD1DAE8DB}"/>
                </a:ext>
              </a:extLst>
            </p:cNvPr>
            <p:cNvSpPr/>
            <p:nvPr userDrawn="1"/>
          </p:nvSpPr>
          <p:spPr bwMode="gray">
            <a:xfrm>
              <a:off x="146948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2" name="Rechteck 631">
              <a:extLst>
                <a:ext uri="{FF2B5EF4-FFF2-40B4-BE49-F238E27FC236}">
                  <a16:creationId xmlns:a16="http://schemas.microsoft.com/office/drawing/2014/main" id="{61ED0E3B-BCFA-50A4-714E-824AB100F1B0}"/>
                </a:ext>
              </a:extLst>
            </p:cNvPr>
            <p:cNvSpPr/>
            <p:nvPr userDrawn="1"/>
          </p:nvSpPr>
          <p:spPr bwMode="gray">
            <a:xfrm>
              <a:off x="89342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3" name="Rechteck 632">
              <a:extLst>
                <a:ext uri="{FF2B5EF4-FFF2-40B4-BE49-F238E27FC236}">
                  <a16:creationId xmlns:a16="http://schemas.microsoft.com/office/drawing/2014/main" id="{CACC71DA-49A6-D8EE-547F-90C39CAC9E76}"/>
                </a:ext>
              </a:extLst>
            </p:cNvPr>
            <p:cNvSpPr/>
            <p:nvPr userDrawn="1"/>
          </p:nvSpPr>
          <p:spPr bwMode="gray">
            <a:xfrm>
              <a:off x="31736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4" name="Rechteck 633">
              <a:extLst>
                <a:ext uri="{FF2B5EF4-FFF2-40B4-BE49-F238E27FC236}">
                  <a16:creationId xmlns:a16="http://schemas.microsoft.com/office/drawing/2014/main" id="{ECC442E3-AE56-3E60-0575-ABF826A88A86}"/>
                </a:ext>
              </a:extLst>
            </p:cNvPr>
            <p:cNvSpPr/>
            <p:nvPr userDrawn="1"/>
          </p:nvSpPr>
          <p:spPr bwMode="gray">
            <a:xfrm>
              <a:off x="1126257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5" name="Rechteck 634">
              <a:extLst>
                <a:ext uri="{FF2B5EF4-FFF2-40B4-BE49-F238E27FC236}">
                  <a16:creationId xmlns:a16="http://schemas.microsoft.com/office/drawing/2014/main" id="{FDD188B7-9D08-D4DF-C547-012BE09F3058}"/>
                </a:ext>
              </a:extLst>
            </p:cNvPr>
            <p:cNvSpPr/>
            <p:nvPr userDrawn="1"/>
          </p:nvSpPr>
          <p:spPr bwMode="gray">
            <a:xfrm>
              <a:off x="1068651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6" name="Rechteck 635">
              <a:extLst>
                <a:ext uri="{FF2B5EF4-FFF2-40B4-BE49-F238E27FC236}">
                  <a16:creationId xmlns:a16="http://schemas.microsoft.com/office/drawing/2014/main" id="{90022607-F3D3-0319-06B7-C2581C32A8D7}"/>
                </a:ext>
              </a:extLst>
            </p:cNvPr>
            <p:cNvSpPr/>
            <p:nvPr userDrawn="1"/>
          </p:nvSpPr>
          <p:spPr bwMode="gray">
            <a:xfrm>
              <a:off x="1011044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7" name="Rechteck 636">
              <a:extLst>
                <a:ext uri="{FF2B5EF4-FFF2-40B4-BE49-F238E27FC236}">
                  <a16:creationId xmlns:a16="http://schemas.microsoft.com/office/drawing/2014/main" id="{09D48080-2978-F542-CC5C-A01122DD0014}"/>
                </a:ext>
              </a:extLst>
            </p:cNvPr>
            <p:cNvSpPr/>
            <p:nvPr userDrawn="1"/>
          </p:nvSpPr>
          <p:spPr bwMode="gray">
            <a:xfrm>
              <a:off x="953438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8" name="Rechteck 637">
              <a:extLst>
                <a:ext uri="{FF2B5EF4-FFF2-40B4-BE49-F238E27FC236}">
                  <a16:creationId xmlns:a16="http://schemas.microsoft.com/office/drawing/2014/main" id="{875F67A6-71DF-E217-0100-93429E3ABACA}"/>
                </a:ext>
              </a:extLst>
            </p:cNvPr>
            <p:cNvSpPr/>
            <p:nvPr userDrawn="1"/>
          </p:nvSpPr>
          <p:spPr bwMode="gray">
            <a:xfrm>
              <a:off x="895832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9" name="Rechteck 638">
              <a:extLst>
                <a:ext uri="{FF2B5EF4-FFF2-40B4-BE49-F238E27FC236}">
                  <a16:creationId xmlns:a16="http://schemas.microsoft.com/office/drawing/2014/main" id="{0BFCAA57-722F-7D38-E787-928EFA0FE79B}"/>
                </a:ext>
              </a:extLst>
            </p:cNvPr>
            <p:cNvSpPr/>
            <p:nvPr userDrawn="1"/>
          </p:nvSpPr>
          <p:spPr bwMode="gray">
            <a:xfrm>
              <a:off x="838225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0" name="Rechteck 639">
              <a:extLst>
                <a:ext uri="{FF2B5EF4-FFF2-40B4-BE49-F238E27FC236}">
                  <a16:creationId xmlns:a16="http://schemas.microsoft.com/office/drawing/2014/main" id="{B475C7A3-821F-91F9-2435-36544A7BC5CD}"/>
                </a:ext>
              </a:extLst>
            </p:cNvPr>
            <p:cNvSpPr/>
            <p:nvPr userDrawn="1"/>
          </p:nvSpPr>
          <p:spPr bwMode="gray">
            <a:xfrm>
              <a:off x="780619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1" name="Rechteck 640">
              <a:extLst>
                <a:ext uri="{FF2B5EF4-FFF2-40B4-BE49-F238E27FC236}">
                  <a16:creationId xmlns:a16="http://schemas.microsoft.com/office/drawing/2014/main" id="{57D11469-D1E1-E882-EA2C-48391D68B82C}"/>
                </a:ext>
              </a:extLst>
            </p:cNvPr>
            <p:cNvSpPr/>
            <p:nvPr userDrawn="1"/>
          </p:nvSpPr>
          <p:spPr bwMode="gray">
            <a:xfrm>
              <a:off x="723012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2" name="Rechteck 641">
              <a:extLst>
                <a:ext uri="{FF2B5EF4-FFF2-40B4-BE49-F238E27FC236}">
                  <a16:creationId xmlns:a16="http://schemas.microsoft.com/office/drawing/2014/main" id="{B5BE5DC1-492D-89A1-813C-CD4D185CFB40}"/>
                </a:ext>
              </a:extLst>
            </p:cNvPr>
            <p:cNvSpPr/>
            <p:nvPr userDrawn="1"/>
          </p:nvSpPr>
          <p:spPr bwMode="gray">
            <a:xfrm>
              <a:off x="665406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3" name="Rechteck 642">
              <a:extLst>
                <a:ext uri="{FF2B5EF4-FFF2-40B4-BE49-F238E27FC236}">
                  <a16:creationId xmlns:a16="http://schemas.microsoft.com/office/drawing/2014/main" id="{7EC8B72A-E0FE-E019-174E-CB26FD835C82}"/>
                </a:ext>
              </a:extLst>
            </p:cNvPr>
            <p:cNvSpPr/>
            <p:nvPr userDrawn="1"/>
          </p:nvSpPr>
          <p:spPr bwMode="gray">
            <a:xfrm>
              <a:off x="607800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4" name="Rechteck 643">
              <a:extLst>
                <a:ext uri="{FF2B5EF4-FFF2-40B4-BE49-F238E27FC236}">
                  <a16:creationId xmlns:a16="http://schemas.microsoft.com/office/drawing/2014/main" id="{1C9ED93D-9818-7EC7-B8DE-79079E6D51EB}"/>
                </a:ext>
              </a:extLst>
            </p:cNvPr>
            <p:cNvSpPr/>
            <p:nvPr userDrawn="1"/>
          </p:nvSpPr>
          <p:spPr bwMode="gray">
            <a:xfrm>
              <a:off x="550193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5" name="Rechteck 644">
              <a:extLst>
                <a:ext uri="{FF2B5EF4-FFF2-40B4-BE49-F238E27FC236}">
                  <a16:creationId xmlns:a16="http://schemas.microsoft.com/office/drawing/2014/main" id="{78AFCF8B-A7ED-EB87-F183-8EE14A37AD79}"/>
                </a:ext>
              </a:extLst>
            </p:cNvPr>
            <p:cNvSpPr/>
            <p:nvPr userDrawn="1"/>
          </p:nvSpPr>
          <p:spPr bwMode="gray">
            <a:xfrm>
              <a:off x="492587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6" name="Rechteck 645">
              <a:extLst>
                <a:ext uri="{FF2B5EF4-FFF2-40B4-BE49-F238E27FC236}">
                  <a16:creationId xmlns:a16="http://schemas.microsoft.com/office/drawing/2014/main" id="{35D0B561-60CA-A8E5-18D3-5E76216BF420}"/>
                </a:ext>
              </a:extLst>
            </p:cNvPr>
            <p:cNvSpPr/>
            <p:nvPr userDrawn="1"/>
          </p:nvSpPr>
          <p:spPr bwMode="gray">
            <a:xfrm>
              <a:off x="434980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7" name="Rechteck 646">
              <a:extLst>
                <a:ext uri="{FF2B5EF4-FFF2-40B4-BE49-F238E27FC236}">
                  <a16:creationId xmlns:a16="http://schemas.microsoft.com/office/drawing/2014/main" id="{FCD4B98D-5DEF-5D18-A323-9B7DDF58ABE1}"/>
                </a:ext>
              </a:extLst>
            </p:cNvPr>
            <p:cNvSpPr/>
            <p:nvPr userDrawn="1"/>
          </p:nvSpPr>
          <p:spPr bwMode="gray">
            <a:xfrm>
              <a:off x="377374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8" name="Rechteck 647">
              <a:extLst>
                <a:ext uri="{FF2B5EF4-FFF2-40B4-BE49-F238E27FC236}">
                  <a16:creationId xmlns:a16="http://schemas.microsoft.com/office/drawing/2014/main" id="{EB0A6525-A2EC-6E15-5092-A256DE77C896}"/>
                </a:ext>
              </a:extLst>
            </p:cNvPr>
            <p:cNvSpPr/>
            <p:nvPr userDrawn="1"/>
          </p:nvSpPr>
          <p:spPr bwMode="gray">
            <a:xfrm>
              <a:off x="319768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9" name="Rechteck 648">
              <a:extLst>
                <a:ext uri="{FF2B5EF4-FFF2-40B4-BE49-F238E27FC236}">
                  <a16:creationId xmlns:a16="http://schemas.microsoft.com/office/drawing/2014/main" id="{38E71C11-89DD-6EE1-F096-96F7CEBF0620}"/>
                </a:ext>
              </a:extLst>
            </p:cNvPr>
            <p:cNvSpPr/>
            <p:nvPr userDrawn="1"/>
          </p:nvSpPr>
          <p:spPr bwMode="gray">
            <a:xfrm>
              <a:off x="262161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0" name="Rechteck 649">
              <a:extLst>
                <a:ext uri="{FF2B5EF4-FFF2-40B4-BE49-F238E27FC236}">
                  <a16:creationId xmlns:a16="http://schemas.microsoft.com/office/drawing/2014/main" id="{C2A66284-9C2B-CE13-C5A9-1CCE79A46711}"/>
                </a:ext>
              </a:extLst>
            </p:cNvPr>
            <p:cNvSpPr/>
            <p:nvPr userDrawn="1"/>
          </p:nvSpPr>
          <p:spPr bwMode="gray">
            <a:xfrm>
              <a:off x="204555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1" name="Rechteck 650">
              <a:extLst>
                <a:ext uri="{FF2B5EF4-FFF2-40B4-BE49-F238E27FC236}">
                  <a16:creationId xmlns:a16="http://schemas.microsoft.com/office/drawing/2014/main" id="{88D090D5-D09F-825C-8603-63C1F865F7EA}"/>
                </a:ext>
              </a:extLst>
            </p:cNvPr>
            <p:cNvSpPr/>
            <p:nvPr userDrawn="1"/>
          </p:nvSpPr>
          <p:spPr bwMode="gray">
            <a:xfrm>
              <a:off x="146948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2" name="Rechteck 651">
              <a:extLst>
                <a:ext uri="{FF2B5EF4-FFF2-40B4-BE49-F238E27FC236}">
                  <a16:creationId xmlns:a16="http://schemas.microsoft.com/office/drawing/2014/main" id="{B5F23C96-E6D2-4F0B-8768-D3B3EC9C8B81}"/>
                </a:ext>
              </a:extLst>
            </p:cNvPr>
            <p:cNvSpPr/>
            <p:nvPr userDrawn="1"/>
          </p:nvSpPr>
          <p:spPr bwMode="gray">
            <a:xfrm>
              <a:off x="89342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3" name="Rechteck 652">
              <a:extLst>
                <a:ext uri="{FF2B5EF4-FFF2-40B4-BE49-F238E27FC236}">
                  <a16:creationId xmlns:a16="http://schemas.microsoft.com/office/drawing/2014/main" id="{730D23EC-D4AA-AC1E-E798-62860F7EFE38}"/>
                </a:ext>
              </a:extLst>
            </p:cNvPr>
            <p:cNvSpPr/>
            <p:nvPr userDrawn="1"/>
          </p:nvSpPr>
          <p:spPr bwMode="gray">
            <a:xfrm>
              <a:off x="31736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4" name="Rechteck 653">
              <a:extLst>
                <a:ext uri="{FF2B5EF4-FFF2-40B4-BE49-F238E27FC236}">
                  <a16:creationId xmlns:a16="http://schemas.microsoft.com/office/drawing/2014/main" id="{E8183B0A-3993-B42E-8382-A734F21733ED}"/>
                </a:ext>
              </a:extLst>
            </p:cNvPr>
            <p:cNvSpPr/>
            <p:nvPr userDrawn="1"/>
          </p:nvSpPr>
          <p:spPr bwMode="gray">
            <a:xfrm>
              <a:off x="1126257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5" name="Rechteck 654">
              <a:extLst>
                <a:ext uri="{FF2B5EF4-FFF2-40B4-BE49-F238E27FC236}">
                  <a16:creationId xmlns:a16="http://schemas.microsoft.com/office/drawing/2014/main" id="{65D5516D-9929-8ECA-E735-23B4B9CD68F6}"/>
                </a:ext>
              </a:extLst>
            </p:cNvPr>
            <p:cNvSpPr/>
            <p:nvPr userDrawn="1"/>
          </p:nvSpPr>
          <p:spPr bwMode="gray">
            <a:xfrm>
              <a:off x="1068651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6" name="Rechteck 655">
              <a:extLst>
                <a:ext uri="{FF2B5EF4-FFF2-40B4-BE49-F238E27FC236}">
                  <a16:creationId xmlns:a16="http://schemas.microsoft.com/office/drawing/2014/main" id="{2A038715-7D69-95EC-CDB7-1137C8D2EE57}"/>
                </a:ext>
              </a:extLst>
            </p:cNvPr>
            <p:cNvSpPr/>
            <p:nvPr userDrawn="1"/>
          </p:nvSpPr>
          <p:spPr bwMode="gray">
            <a:xfrm>
              <a:off x="1011044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7" name="Rechteck 656">
              <a:extLst>
                <a:ext uri="{FF2B5EF4-FFF2-40B4-BE49-F238E27FC236}">
                  <a16:creationId xmlns:a16="http://schemas.microsoft.com/office/drawing/2014/main" id="{FF6EB63F-D7A9-0DE6-453B-F800B7BCE3CB}"/>
                </a:ext>
              </a:extLst>
            </p:cNvPr>
            <p:cNvSpPr/>
            <p:nvPr userDrawn="1"/>
          </p:nvSpPr>
          <p:spPr bwMode="gray">
            <a:xfrm>
              <a:off x="953438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8" name="Rechteck 657">
              <a:extLst>
                <a:ext uri="{FF2B5EF4-FFF2-40B4-BE49-F238E27FC236}">
                  <a16:creationId xmlns:a16="http://schemas.microsoft.com/office/drawing/2014/main" id="{CC39A8E6-B7FA-E5AC-8741-5A1E5C3DCEB5}"/>
                </a:ext>
              </a:extLst>
            </p:cNvPr>
            <p:cNvSpPr/>
            <p:nvPr userDrawn="1"/>
          </p:nvSpPr>
          <p:spPr bwMode="gray">
            <a:xfrm>
              <a:off x="895832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9" name="Rechteck 658">
              <a:extLst>
                <a:ext uri="{FF2B5EF4-FFF2-40B4-BE49-F238E27FC236}">
                  <a16:creationId xmlns:a16="http://schemas.microsoft.com/office/drawing/2014/main" id="{B2B0B8A4-C2BE-03DA-14C0-1FCE420FA0D3}"/>
                </a:ext>
              </a:extLst>
            </p:cNvPr>
            <p:cNvSpPr/>
            <p:nvPr userDrawn="1"/>
          </p:nvSpPr>
          <p:spPr bwMode="gray">
            <a:xfrm>
              <a:off x="838225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0" name="Rechteck 659">
              <a:extLst>
                <a:ext uri="{FF2B5EF4-FFF2-40B4-BE49-F238E27FC236}">
                  <a16:creationId xmlns:a16="http://schemas.microsoft.com/office/drawing/2014/main" id="{B64A314B-02D6-F294-6BD3-0A657F793662}"/>
                </a:ext>
              </a:extLst>
            </p:cNvPr>
            <p:cNvSpPr/>
            <p:nvPr userDrawn="1"/>
          </p:nvSpPr>
          <p:spPr bwMode="gray">
            <a:xfrm>
              <a:off x="780619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1" name="Rechteck 660">
              <a:extLst>
                <a:ext uri="{FF2B5EF4-FFF2-40B4-BE49-F238E27FC236}">
                  <a16:creationId xmlns:a16="http://schemas.microsoft.com/office/drawing/2014/main" id="{DB2517BA-1256-1BC2-D645-DF63974F0B46}"/>
                </a:ext>
              </a:extLst>
            </p:cNvPr>
            <p:cNvSpPr/>
            <p:nvPr userDrawn="1"/>
          </p:nvSpPr>
          <p:spPr bwMode="gray">
            <a:xfrm>
              <a:off x="723012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2" name="Rechteck 661">
              <a:extLst>
                <a:ext uri="{FF2B5EF4-FFF2-40B4-BE49-F238E27FC236}">
                  <a16:creationId xmlns:a16="http://schemas.microsoft.com/office/drawing/2014/main" id="{331F551B-920B-808A-89F9-31ED8915F58E}"/>
                </a:ext>
              </a:extLst>
            </p:cNvPr>
            <p:cNvSpPr/>
            <p:nvPr userDrawn="1"/>
          </p:nvSpPr>
          <p:spPr bwMode="gray">
            <a:xfrm>
              <a:off x="665406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3" name="Rechteck 662">
              <a:extLst>
                <a:ext uri="{FF2B5EF4-FFF2-40B4-BE49-F238E27FC236}">
                  <a16:creationId xmlns:a16="http://schemas.microsoft.com/office/drawing/2014/main" id="{B1A814FD-4888-282F-A4FD-F98E936F42D3}"/>
                </a:ext>
              </a:extLst>
            </p:cNvPr>
            <p:cNvSpPr/>
            <p:nvPr userDrawn="1"/>
          </p:nvSpPr>
          <p:spPr bwMode="gray">
            <a:xfrm>
              <a:off x="607800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4" name="Rechteck 663">
              <a:extLst>
                <a:ext uri="{FF2B5EF4-FFF2-40B4-BE49-F238E27FC236}">
                  <a16:creationId xmlns:a16="http://schemas.microsoft.com/office/drawing/2014/main" id="{920753C7-E434-3B64-2B25-076404BE84BF}"/>
                </a:ext>
              </a:extLst>
            </p:cNvPr>
            <p:cNvSpPr/>
            <p:nvPr userDrawn="1"/>
          </p:nvSpPr>
          <p:spPr bwMode="gray">
            <a:xfrm>
              <a:off x="550193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5" name="Rechteck 664">
              <a:extLst>
                <a:ext uri="{FF2B5EF4-FFF2-40B4-BE49-F238E27FC236}">
                  <a16:creationId xmlns:a16="http://schemas.microsoft.com/office/drawing/2014/main" id="{5B693003-B3E0-B488-5701-CE012FAF407F}"/>
                </a:ext>
              </a:extLst>
            </p:cNvPr>
            <p:cNvSpPr/>
            <p:nvPr userDrawn="1"/>
          </p:nvSpPr>
          <p:spPr bwMode="gray">
            <a:xfrm>
              <a:off x="492587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6" name="Rechteck 665">
              <a:extLst>
                <a:ext uri="{FF2B5EF4-FFF2-40B4-BE49-F238E27FC236}">
                  <a16:creationId xmlns:a16="http://schemas.microsoft.com/office/drawing/2014/main" id="{9270F70A-F242-29BD-98BB-459E25842163}"/>
                </a:ext>
              </a:extLst>
            </p:cNvPr>
            <p:cNvSpPr/>
            <p:nvPr userDrawn="1"/>
          </p:nvSpPr>
          <p:spPr bwMode="gray">
            <a:xfrm>
              <a:off x="434980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7" name="Rechteck 666">
              <a:extLst>
                <a:ext uri="{FF2B5EF4-FFF2-40B4-BE49-F238E27FC236}">
                  <a16:creationId xmlns:a16="http://schemas.microsoft.com/office/drawing/2014/main" id="{DFD2A4C3-0AE5-4D79-3963-0D4CAF73CCD6}"/>
                </a:ext>
              </a:extLst>
            </p:cNvPr>
            <p:cNvSpPr/>
            <p:nvPr userDrawn="1"/>
          </p:nvSpPr>
          <p:spPr bwMode="gray">
            <a:xfrm>
              <a:off x="377374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8" name="Rechteck 667">
              <a:extLst>
                <a:ext uri="{FF2B5EF4-FFF2-40B4-BE49-F238E27FC236}">
                  <a16:creationId xmlns:a16="http://schemas.microsoft.com/office/drawing/2014/main" id="{EF030138-83A6-E97B-3373-DE96113CF8D0}"/>
                </a:ext>
              </a:extLst>
            </p:cNvPr>
            <p:cNvSpPr/>
            <p:nvPr userDrawn="1"/>
          </p:nvSpPr>
          <p:spPr bwMode="gray">
            <a:xfrm>
              <a:off x="319768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9" name="Rechteck 668">
              <a:extLst>
                <a:ext uri="{FF2B5EF4-FFF2-40B4-BE49-F238E27FC236}">
                  <a16:creationId xmlns:a16="http://schemas.microsoft.com/office/drawing/2014/main" id="{821825D5-8ED7-C539-F70B-15922D50F72D}"/>
                </a:ext>
              </a:extLst>
            </p:cNvPr>
            <p:cNvSpPr/>
            <p:nvPr userDrawn="1"/>
          </p:nvSpPr>
          <p:spPr bwMode="gray">
            <a:xfrm>
              <a:off x="262161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0" name="Rechteck 669">
              <a:extLst>
                <a:ext uri="{FF2B5EF4-FFF2-40B4-BE49-F238E27FC236}">
                  <a16:creationId xmlns:a16="http://schemas.microsoft.com/office/drawing/2014/main" id="{95CF964A-0757-58A4-467A-48ED50CCCC17}"/>
                </a:ext>
              </a:extLst>
            </p:cNvPr>
            <p:cNvSpPr/>
            <p:nvPr userDrawn="1"/>
          </p:nvSpPr>
          <p:spPr bwMode="gray">
            <a:xfrm>
              <a:off x="204555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1" name="Rechteck 670">
              <a:extLst>
                <a:ext uri="{FF2B5EF4-FFF2-40B4-BE49-F238E27FC236}">
                  <a16:creationId xmlns:a16="http://schemas.microsoft.com/office/drawing/2014/main" id="{C242281C-2F27-45C3-947E-3A04A5CE8623}"/>
                </a:ext>
              </a:extLst>
            </p:cNvPr>
            <p:cNvSpPr/>
            <p:nvPr userDrawn="1"/>
          </p:nvSpPr>
          <p:spPr bwMode="gray">
            <a:xfrm>
              <a:off x="146948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2" name="Rechteck 671">
              <a:extLst>
                <a:ext uri="{FF2B5EF4-FFF2-40B4-BE49-F238E27FC236}">
                  <a16:creationId xmlns:a16="http://schemas.microsoft.com/office/drawing/2014/main" id="{3069A383-5AB2-8F9D-83A7-2DB36D6C480B}"/>
                </a:ext>
              </a:extLst>
            </p:cNvPr>
            <p:cNvSpPr/>
            <p:nvPr userDrawn="1"/>
          </p:nvSpPr>
          <p:spPr bwMode="gray">
            <a:xfrm>
              <a:off x="89342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3" name="Rechteck 672">
              <a:extLst>
                <a:ext uri="{FF2B5EF4-FFF2-40B4-BE49-F238E27FC236}">
                  <a16:creationId xmlns:a16="http://schemas.microsoft.com/office/drawing/2014/main" id="{2FEFB0AE-DCB3-43A7-C906-ADBFAB52F35D}"/>
                </a:ext>
              </a:extLst>
            </p:cNvPr>
            <p:cNvSpPr/>
            <p:nvPr userDrawn="1"/>
          </p:nvSpPr>
          <p:spPr bwMode="gray">
            <a:xfrm>
              <a:off x="31736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4" name="Rechteck 673">
              <a:extLst>
                <a:ext uri="{FF2B5EF4-FFF2-40B4-BE49-F238E27FC236}">
                  <a16:creationId xmlns:a16="http://schemas.microsoft.com/office/drawing/2014/main" id="{555C04F9-DF2E-81D5-D816-43D8D3E12172}"/>
                </a:ext>
              </a:extLst>
            </p:cNvPr>
            <p:cNvSpPr/>
            <p:nvPr userDrawn="1"/>
          </p:nvSpPr>
          <p:spPr bwMode="gray">
            <a:xfrm>
              <a:off x="1126257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5" name="Rechteck 674">
              <a:extLst>
                <a:ext uri="{FF2B5EF4-FFF2-40B4-BE49-F238E27FC236}">
                  <a16:creationId xmlns:a16="http://schemas.microsoft.com/office/drawing/2014/main" id="{B9334CCB-4B19-2487-AB11-42AF623D463C}"/>
                </a:ext>
              </a:extLst>
            </p:cNvPr>
            <p:cNvSpPr/>
            <p:nvPr userDrawn="1"/>
          </p:nvSpPr>
          <p:spPr bwMode="gray">
            <a:xfrm>
              <a:off x="1068651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6" name="Rechteck 675">
              <a:extLst>
                <a:ext uri="{FF2B5EF4-FFF2-40B4-BE49-F238E27FC236}">
                  <a16:creationId xmlns:a16="http://schemas.microsoft.com/office/drawing/2014/main" id="{A825AA99-903D-588A-DA4F-CF5BF6D10508}"/>
                </a:ext>
              </a:extLst>
            </p:cNvPr>
            <p:cNvSpPr/>
            <p:nvPr userDrawn="1"/>
          </p:nvSpPr>
          <p:spPr bwMode="gray">
            <a:xfrm>
              <a:off x="1011044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7" name="Rechteck 676">
              <a:extLst>
                <a:ext uri="{FF2B5EF4-FFF2-40B4-BE49-F238E27FC236}">
                  <a16:creationId xmlns:a16="http://schemas.microsoft.com/office/drawing/2014/main" id="{61469082-F05A-5983-31B2-72708093433F}"/>
                </a:ext>
              </a:extLst>
            </p:cNvPr>
            <p:cNvSpPr/>
            <p:nvPr userDrawn="1"/>
          </p:nvSpPr>
          <p:spPr bwMode="gray">
            <a:xfrm>
              <a:off x="953438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8" name="Rechteck 677">
              <a:extLst>
                <a:ext uri="{FF2B5EF4-FFF2-40B4-BE49-F238E27FC236}">
                  <a16:creationId xmlns:a16="http://schemas.microsoft.com/office/drawing/2014/main" id="{2B1239C0-B25F-D416-BE5A-2469C81E04C1}"/>
                </a:ext>
              </a:extLst>
            </p:cNvPr>
            <p:cNvSpPr/>
            <p:nvPr userDrawn="1"/>
          </p:nvSpPr>
          <p:spPr bwMode="gray">
            <a:xfrm>
              <a:off x="895832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9" name="Rechteck 678">
              <a:extLst>
                <a:ext uri="{FF2B5EF4-FFF2-40B4-BE49-F238E27FC236}">
                  <a16:creationId xmlns:a16="http://schemas.microsoft.com/office/drawing/2014/main" id="{B2B0DF12-9A09-9EE2-149E-2D4A8AE1E947}"/>
                </a:ext>
              </a:extLst>
            </p:cNvPr>
            <p:cNvSpPr/>
            <p:nvPr userDrawn="1"/>
          </p:nvSpPr>
          <p:spPr bwMode="gray">
            <a:xfrm>
              <a:off x="838225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0" name="Rechteck 679">
              <a:extLst>
                <a:ext uri="{FF2B5EF4-FFF2-40B4-BE49-F238E27FC236}">
                  <a16:creationId xmlns:a16="http://schemas.microsoft.com/office/drawing/2014/main" id="{3B3B46ED-FD06-C028-6663-B3E6FABA64DE}"/>
                </a:ext>
              </a:extLst>
            </p:cNvPr>
            <p:cNvSpPr/>
            <p:nvPr userDrawn="1"/>
          </p:nvSpPr>
          <p:spPr bwMode="gray">
            <a:xfrm>
              <a:off x="780619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1" name="Rechteck 680">
              <a:extLst>
                <a:ext uri="{FF2B5EF4-FFF2-40B4-BE49-F238E27FC236}">
                  <a16:creationId xmlns:a16="http://schemas.microsoft.com/office/drawing/2014/main" id="{F746E611-D4D0-EDE6-ED3B-F6D8C5638CFF}"/>
                </a:ext>
              </a:extLst>
            </p:cNvPr>
            <p:cNvSpPr/>
            <p:nvPr userDrawn="1"/>
          </p:nvSpPr>
          <p:spPr bwMode="gray">
            <a:xfrm>
              <a:off x="723012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2" name="Rechteck 681">
              <a:extLst>
                <a:ext uri="{FF2B5EF4-FFF2-40B4-BE49-F238E27FC236}">
                  <a16:creationId xmlns:a16="http://schemas.microsoft.com/office/drawing/2014/main" id="{DE38036E-5164-5B9E-0F56-3C56600DD9D5}"/>
                </a:ext>
              </a:extLst>
            </p:cNvPr>
            <p:cNvSpPr/>
            <p:nvPr userDrawn="1"/>
          </p:nvSpPr>
          <p:spPr bwMode="gray">
            <a:xfrm>
              <a:off x="665406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3" name="Rechteck 682">
              <a:extLst>
                <a:ext uri="{FF2B5EF4-FFF2-40B4-BE49-F238E27FC236}">
                  <a16:creationId xmlns:a16="http://schemas.microsoft.com/office/drawing/2014/main" id="{A8AC8294-E6E9-1DEB-9596-8BC8DBA44A46}"/>
                </a:ext>
              </a:extLst>
            </p:cNvPr>
            <p:cNvSpPr/>
            <p:nvPr userDrawn="1"/>
          </p:nvSpPr>
          <p:spPr bwMode="gray">
            <a:xfrm>
              <a:off x="607800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4" name="Rechteck 683">
              <a:extLst>
                <a:ext uri="{FF2B5EF4-FFF2-40B4-BE49-F238E27FC236}">
                  <a16:creationId xmlns:a16="http://schemas.microsoft.com/office/drawing/2014/main" id="{63394427-5EF3-E9A4-6C3B-C781A5EBD08C}"/>
                </a:ext>
              </a:extLst>
            </p:cNvPr>
            <p:cNvSpPr/>
            <p:nvPr userDrawn="1"/>
          </p:nvSpPr>
          <p:spPr bwMode="gray">
            <a:xfrm>
              <a:off x="550193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5" name="Rechteck 684">
              <a:extLst>
                <a:ext uri="{FF2B5EF4-FFF2-40B4-BE49-F238E27FC236}">
                  <a16:creationId xmlns:a16="http://schemas.microsoft.com/office/drawing/2014/main" id="{3F8BE5D5-8D03-3633-2EF1-ECC0FC424E33}"/>
                </a:ext>
              </a:extLst>
            </p:cNvPr>
            <p:cNvSpPr/>
            <p:nvPr userDrawn="1"/>
          </p:nvSpPr>
          <p:spPr bwMode="gray">
            <a:xfrm>
              <a:off x="492587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6" name="Rechteck 685">
              <a:extLst>
                <a:ext uri="{FF2B5EF4-FFF2-40B4-BE49-F238E27FC236}">
                  <a16:creationId xmlns:a16="http://schemas.microsoft.com/office/drawing/2014/main" id="{C958D66B-3380-C3A7-E696-E7EEE10D9BE4}"/>
                </a:ext>
              </a:extLst>
            </p:cNvPr>
            <p:cNvSpPr/>
            <p:nvPr userDrawn="1"/>
          </p:nvSpPr>
          <p:spPr bwMode="gray">
            <a:xfrm>
              <a:off x="434980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7" name="Rechteck 686">
              <a:extLst>
                <a:ext uri="{FF2B5EF4-FFF2-40B4-BE49-F238E27FC236}">
                  <a16:creationId xmlns:a16="http://schemas.microsoft.com/office/drawing/2014/main" id="{A040F16B-4066-8F26-9363-778BB0B78A63}"/>
                </a:ext>
              </a:extLst>
            </p:cNvPr>
            <p:cNvSpPr/>
            <p:nvPr userDrawn="1"/>
          </p:nvSpPr>
          <p:spPr bwMode="gray">
            <a:xfrm>
              <a:off x="377374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8" name="Rechteck 687">
              <a:extLst>
                <a:ext uri="{FF2B5EF4-FFF2-40B4-BE49-F238E27FC236}">
                  <a16:creationId xmlns:a16="http://schemas.microsoft.com/office/drawing/2014/main" id="{94C7EDDE-57C4-57B0-DC2A-875B4B9851B6}"/>
                </a:ext>
              </a:extLst>
            </p:cNvPr>
            <p:cNvSpPr/>
            <p:nvPr userDrawn="1"/>
          </p:nvSpPr>
          <p:spPr bwMode="gray">
            <a:xfrm>
              <a:off x="319768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9" name="Rechteck 688">
              <a:extLst>
                <a:ext uri="{FF2B5EF4-FFF2-40B4-BE49-F238E27FC236}">
                  <a16:creationId xmlns:a16="http://schemas.microsoft.com/office/drawing/2014/main" id="{419AA6F9-1B76-667F-7DF9-B00EEDA1F5CF}"/>
                </a:ext>
              </a:extLst>
            </p:cNvPr>
            <p:cNvSpPr/>
            <p:nvPr userDrawn="1"/>
          </p:nvSpPr>
          <p:spPr bwMode="gray">
            <a:xfrm>
              <a:off x="262161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0" name="Rechteck 689">
              <a:extLst>
                <a:ext uri="{FF2B5EF4-FFF2-40B4-BE49-F238E27FC236}">
                  <a16:creationId xmlns:a16="http://schemas.microsoft.com/office/drawing/2014/main" id="{2DE79426-DDDF-1E71-6871-FC2769D5D1BA}"/>
                </a:ext>
              </a:extLst>
            </p:cNvPr>
            <p:cNvSpPr/>
            <p:nvPr userDrawn="1"/>
          </p:nvSpPr>
          <p:spPr bwMode="gray">
            <a:xfrm>
              <a:off x="204555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1" name="Rechteck 690">
              <a:extLst>
                <a:ext uri="{FF2B5EF4-FFF2-40B4-BE49-F238E27FC236}">
                  <a16:creationId xmlns:a16="http://schemas.microsoft.com/office/drawing/2014/main" id="{422674EA-5CC1-C6D1-38EE-7F052F5CECC1}"/>
                </a:ext>
              </a:extLst>
            </p:cNvPr>
            <p:cNvSpPr/>
            <p:nvPr userDrawn="1"/>
          </p:nvSpPr>
          <p:spPr bwMode="gray">
            <a:xfrm>
              <a:off x="146948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2" name="Rechteck 691">
              <a:extLst>
                <a:ext uri="{FF2B5EF4-FFF2-40B4-BE49-F238E27FC236}">
                  <a16:creationId xmlns:a16="http://schemas.microsoft.com/office/drawing/2014/main" id="{8E3BD7CD-7F1A-1853-DC90-22AA8777F9B6}"/>
                </a:ext>
              </a:extLst>
            </p:cNvPr>
            <p:cNvSpPr/>
            <p:nvPr userDrawn="1"/>
          </p:nvSpPr>
          <p:spPr bwMode="gray">
            <a:xfrm>
              <a:off x="89342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3" name="Rechteck 692">
              <a:extLst>
                <a:ext uri="{FF2B5EF4-FFF2-40B4-BE49-F238E27FC236}">
                  <a16:creationId xmlns:a16="http://schemas.microsoft.com/office/drawing/2014/main" id="{13B94987-386A-93BC-7DA2-557AD87BFB40}"/>
                </a:ext>
              </a:extLst>
            </p:cNvPr>
            <p:cNvSpPr/>
            <p:nvPr userDrawn="1"/>
          </p:nvSpPr>
          <p:spPr bwMode="gray">
            <a:xfrm>
              <a:off x="31736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4" name="Rechteck 693">
              <a:extLst>
                <a:ext uri="{FF2B5EF4-FFF2-40B4-BE49-F238E27FC236}">
                  <a16:creationId xmlns:a16="http://schemas.microsoft.com/office/drawing/2014/main" id="{F7CAEC2E-F3ED-D3C7-FEA9-1E78DF56DC55}"/>
                </a:ext>
              </a:extLst>
            </p:cNvPr>
            <p:cNvSpPr/>
            <p:nvPr userDrawn="1"/>
          </p:nvSpPr>
          <p:spPr bwMode="gray">
            <a:xfrm>
              <a:off x="1126257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5" name="Rechteck 694">
              <a:extLst>
                <a:ext uri="{FF2B5EF4-FFF2-40B4-BE49-F238E27FC236}">
                  <a16:creationId xmlns:a16="http://schemas.microsoft.com/office/drawing/2014/main" id="{73A3417B-BD74-69BE-37FA-1A3479FA0A3F}"/>
                </a:ext>
              </a:extLst>
            </p:cNvPr>
            <p:cNvSpPr/>
            <p:nvPr userDrawn="1"/>
          </p:nvSpPr>
          <p:spPr bwMode="gray">
            <a:xfrm>
              <a:off x="1068651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6" name="Rechteck 695">
              <a:extLst>
                <a:ext uri="{FF2B5EF4-FFF2-40B4-BE49-F238E27FC236}">
                  <a16:creationId xmlns:a16="http://schemas.microsoft.com/office/drawing/2014/main" id="{CBA52526-A426-1054-3DBF-EBA890138D82}"/>
                </a:ext>
              </a:extLst>
            </p:cNvPr>
            <p:cNvSpPr/>
            <p:nvPr userDrawn="1"/>
          </p:nvSpPr>
          <p:spPr bwMode="gray">
            <a:xfrm>
              <a:off x="1011044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7" name="Rechteck 696">
              <a:extLst>
                <a:ext uri="{FF2B5EF4-FFF2-40B4-BE49-F238E27FC236}">
                  <a16:creationId xmlns:a16="http://schemas.microsoft.com/office/drawing/2014/main" id="{AE274CEA-E911-48EE-F355-A371A2074824}"/>
                </a:ext>
              </a:extLst>
            </p:cNvPr>
            <p:cNvSpPr/>
            <p:nvPr userDrawn="1"/>
          </p:nvSpPr>
          <p:spPr bwMode="gray">
            <a:xfrm>
              <a:off x="953438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8" name="Rechteck 697">
              <a:extLst>
                <a:ext uri="{FF2B5EF4-FFF2-40B4-BE49-F238E27FC236}">
                  <a16:creationId xmlns:a16="http://schemas.microsoft.com/office/drawing/2014/main" id="{26BDA46C-303A-FA7F-9464-1601E8596136}"/>
                </a:ext>
              </a:extLst>
            </p:cNvPr>
            <p:cNvSpPr/>
            <p:nvPr userDrawn="1"/>
          </p:nvSpPr>
          <p:spPr bwMode="gray">
            <a:xfrm>
              <a:off x="895832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9" name="Rechteck 698">
              <a:extLst>
                <a:ext uri="{FF2B5EF4-FFF2-40B4-BE49-F238E27FC236}">
                  <a16:creationId xmlns:a16="http://schemas.microsoft.com/office/drawing/2014/main" id="{CD7DCAFE-7CC2-2A55-033D-71C3A422A7DB}"/>
                </a:ext>
              </a:extLst>
            </p:cNvPr>
            <p:cNvSpPr/>
            <p:nvPr userDrawn="1"/>
          </p:nvSpPr>
          <p:spPr bwMode="gray">
            <a:xfrm>
              <a:off x="838225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0" name="Rechteck 699">
              <a:extLst>
                <a:ext uri="{FF2B5EF4-FFF2-40B4-BE49-F238E27FC236}">
                  <a16:creationId xmlns:a16="http://schemas.microsoft.com/office/drawing/2014/main" id="{2E028291-724A-1CE9-B87B-13EDF2B6B4E2}"/>
                </a:ext>
              </a:extLst>
            </p:cNvPr>
            <p:cNvSpPr/>
            <p:nvPr userDrawn="1"/>
          </p:nvSpPr>
          <p:spPr bwMode="gray">
            <a:xfrm>
              <a:off x="780619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1" name="Rechteck 700">
              <a:extLst>
                <a:ext uri="{FF2B5EF4-FFF2-40B4-BE49-F238E27FC236}">
                  <a16:creationId xmlns:a16="http://schemas.microsoft.com/office/drawing/2014/main" id="{5E52485D-6CF4-EAA7-6EB4-08885E2A277B}"/>
                </a:ext>
              </a:extLst>
            </p:cNvPr>
            <p:cNvSpPr/>
            <p:nvPr userDrawn="1"/>
          </p:nvSpPr>
          <p:spPr bwMode="gray">
            <a:xfrm>
              <a:off x="723012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2" name="Rechteck 701">
              <a:extLst>
                <a:ext uri="{FF2B5EF4-FFF2-40B4-BE49-F238E27FC236}">
                  <a16:creationId xmlns:a16="http://schemas.microsoft.com/office/drawing/2014/main" id="{0D30142A-4A5E-FF06-DBD7-6EE7FC51A2BE}"/>
                </a:ext>
              </a:extLst>
            </p:cNvPr>
            <p:cNvSpPr/>
            <p:nvPr userDrawn="1"/>
          </p:nvSpPr>
          <p:spPr bwMode="gray">
            <a:xfrm>
              <a:off x="665406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3" name="Rechteck 702">
              <a:extLst>
                <a:ext uri="{FF2B5EF4-FFF2-40B4-BE49-F238E27FC236}">
                  <a16:creationId xmlns:a16="http://schemas.microsoft.com/office/drawing/2014/main" id="{48209E68-74E6-8010-73F6-0F1C12436BBA}"/>
                </a:ext>
              </a:extLst>
            </p:cNvPr>
            <p:cNvSpPr/>
            <p:nvPr userDrawn="1"/>
          </p:nvSpPr>
          <p:spPr bwMode="gray">
            <a:xfrm>
              <a:off x="607800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4" name="Rechteck 703">
              <a:extLst>
                <a:ext uri="{FF2B5EF4-FFF2-40B4-BE49-F238E27FC236}">
                  <a16:creationId xmlns:a16="http://schemas.microsoft.com/office/drawing/2014/main" id="{70F558D3-7077-C810-5259-3A237A99B166}"/>
                </a:ext>
              </a:extLst>
            </p:cNvPr>
            <p:cNvSpPr/>
            <p:nvPr userDrawn="1"/>
          </p:nvSpPr>
          <p:spPr bwMode="gray">
            <a:xfrm>
              <a:off x="550193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5" name="Rechteck 704">
              <a:extLst>
                <a:ext uri="{FF2B5EF4-FFF2-40B4-BE49-F238E27FC236}">
                  <a16:creationId xmlns:a16="http://schemas.microsoft.com/office/drawing/2014/main" id="{3FB91175-0B1D-F6B2-287D-C83945CEC9AB}"/>
                </a:ext>
              </a:extLst>
            </p:cNvPr>
            <p:cNvSpPr/>
            <p:nvPr userDrawn="1"/>
          </p:nvSpPr>
          <p:spPr bwMode="gray">
            <a:xfrm>
              <a:off x="492587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6" name="Rechteck 705">
              <a:extLst>
                <a:ext uri="{FF2B5EF4-FFF2-40B4-BE49-F238E27FC236}">
                  <a16:creationId xmlns:a16="http://schemas.microsoft.com/office/drawing/2014/main" id="{E158F62A-A7BF-3205-A00B-65081C17098C}"/>
                </a:ext>
              </a:extLst>
            </p:cNvPr>
            <p:cNvSpPr/>
            <p:nvPr userDrawn="1"/>
          </p:nvSpPr>
          <p:spPr bwMode="gray">
            <a:xfrm>
              <a:off x="434980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7" name="Rechteck 706">
              <a:extLst>
                <a:ext uri="{FF2B5EF4-FFF2-40B4-BE49-F238E27FC236}">
                  <a16:creationId xmlns:a16="http://schemas.microsoft.com/office/drawing/2014/main" id="{70520C17-1CC5-18A6-35CF-19CBBB4CCD22}"/>
                </a:ext>
              </a:extLst>
            </p:cNvPr>
            <p:cNvSpPr/>
            <p:nvPr userDrawn="1"/>
          </p:nvSpPr>
          <p:spPr bwMode="gray">
            <a:xfrm>
              <a:off x="377374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8" name="Rechteck 707">
              <a:extLst>
                <a:ext uri="{FF2B5EF4-FFF2-40B4-BE49-F238E27FC236}">
                  <a16:creationId xmlns:a16="http://schemas.microsoft.com/office/drawing/2014/main" id="{E99CF7B9-9545-C0A3-A3A7-9594C98CDFBF}"/>
                </a:ext>
              </a:extLst>
            </p:cNvPr>
            <p:cNvSpPr/>
            <p:nvPr userDrawn="1"/>
          </p:nvSpPr>
          <p:spPr bwMode="gray">
            <a:xfrm>
              <a:off x="319768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9" name="Rechteck 708">
              <a:extLst>
                <a:ext uri="{FF2B5EF4-FFF2-40B4-BE49-F238E27FC236}">
                  <a16:creationId xmlns:a16="http://schemas.microsoft.com/office/drawing/2014/main" id="{56B05E6F-90BA-E909-B173-C687C37D6580}"/>
                </a:ext>
              </a:extLst>
            </p:cNvPr>
            <p:cNvSpPr/>
            <p:nvPr userDrawn="1"/>
          </p:nvSpPr>
          <p:spPr bwMode="gray">
            <a:xfrm>
              <a:off x="262161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0" name="Rechteck 709">
              <a:extLst>
                <a:ext uri="{FF2B5EF4-FFF2-40B4-BE49-F238E27FC236}">
                  <a16:creationId xmlns:a16="http://schemas.microsoft.com/office/drawing/2014/main" id="{75092DFE-92E5-14CD-07F4-5C65B72E83CB}"/>
                </a:ext>
              </a:extLst>
            </p:cNvPr>
            <p:cNvSpPr/>
            <p:nvPr userDrawn="1"/>
          </p:nvSpPr>
          <p:spPr bwMode="gray">
            <a:xfrm>
              <a:off x="204555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1" name="Rechteck 710">
              <a:extLst>
                <a:ext uri="{FF2B5EF4-FFF2-40B4-BE49-F238E27FC236}">
                  <a16:creationId xmlns:a16="http://schemas.microsoft.com/office/drawing/2014/main" id="{57DDC256-892A-4D0F-50E4-E42B1C325495}"/>
                </a:ext>
              </a:extLst>
            </p:cNvPr>
            <p:cNvSpPr/>
            <p:nvPr userDrawn="1"/>
          </p:nvSpPr>
          <p:spPr bwMode="gray">
            <a:xfrm>
              <a:off x="146948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2" name="Rechteck 711">
              <a:extLst>
                <a:ext uri="{FF2B5EF4-FFF2-40B4-BE49-F238E27FC236}">
                  <a16:creationId xmlns:a16="http://schemas.microsoft.com/office/drawing/2014/main" id="{DF006E83-0AC9-A77A-7114-382271A06C87}"/>
                </a:ext>
              </a:extLst>
            </p:cNvPr>
            <p:cNvSpPr/>
            <p:nvPr userDrawn="1"/>
          </p:nvSpPr>
          <p:spPr bwMode="gray">
            <a:xfrm>
              <a:off x="89342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3" name="Rechteck 712">
              <a:extLst>
                <a:ext uri="{FF2B5EF4-FFF2-40B4-BE49-F238E27FC236}">
                  <a16:creationId xmlns:a16="http://schemas.microsoft.com/office/drawing/2014/main" id="{AF5FE07E-C335-EAED-8530-E9D71165087A}"/>
                </a:ext>
              </a:extLst>
            </p:cNvPr>
            <p:cNvSpPr/>
            <p:nvPr userDrawn="1"/>
          </p:nvSpPr>
          <p:spPr bwMode="gray">
            <a:xfrm>
              <a:off x="31736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4" name="Rechteck 713">
              <a:extLst>
                <a:ext uri="{FF2B5EF4-FFF2-40B4-BE49-F238E27FC236}">
                  <a16:creationId xmlns:a16="http://schemas.microsoft.com/office/drawing/2014/main" id="{9F64D1C6-E224-AE1E-4FBA-395AE4BB2F99}"/>
                </a:ext>
              </a:extLst>
            </p:cNvPr>
            <p:cNvSpPr/>
            <p:nvPr userDrawn="1"/>
          </p:nvSpPr>
          <p:spPr bwMode="gray">
            <a:xfrm>
              <a:off x="1126257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5" name="Rechteck 714">
              <a:extLst>
                <a:ext uri="{FF2B5EF4-FFF2-40B4-BE49-F238E27FC236}">
                  <a16:creationId xmlns:a16="http://schemas.microsoft.com/office/drawing/2014/main" id="{B2D992A4-4F14-B6C2-CB42-899A8ED9CF83}"/>
                </a:ext>
              </a:extLst>
            </p:cNvPr>
            <p:cNvSpPr/>
            <p:nvPr userDrawn="1"/>
          </p:nvSpPr>
          <p:spPr bwMode="gray">
            <a:xfrm>
              <a:off x="1068651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6" name="Rechteck 715">
              <a:extLst>
                <a:ext uri="{FF2B5EF4-FFF2-40B4-BE49-F238E27FC236}">
                  <a16:creationId xmlns:a16="http://schemas.microsoft.com/office/drawing/2014/main" id="{14C22A47-1206-DF07-A53B-03D26C464D6E}"/>
                </a:ext>
              </a:extLst>
            </p:cNvPr>
            <p:cNvSpPr/>
            <p:nvPr userDrawn="1"/>
          </p:nvSpPr>
          <p:spPr bwMode="gray">
            <a:xfrm>
              <a:off x="1011044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7" name="Rechteck 716">
              <a:extLst>
                <a:ext uri="{FF2B5EF4-FFF2-40B4-BE49-F238E27FC236}">
                  <a16:creationId xmlns:a16="http://schemas.microsoft.com/office/drawing/2014/main" id="{AB9CABB9-C06A-F931-8467-447E51964655}"/>
                </a:ext>
              </a:extLst>
            </p:cNvPr>
            <p:cNvSpPr/>
            <p:nvPr userDrawn="1"/>
          </p:nvSpPr>
          <p:spPr bwMode="gray">
            <a:xfrm>
              <a:off x="953438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8" name="Rechteck 717">
              <a:extLst>
                <a:ext uri="{FF2B5EF4-FFF2-40B4-BE49-F238E27FC236}">
                  <a16:creationId xmlns:a16="http://schemas.microsoft.com/office/drawing/2014/main" id="{1C0330F3-05E9-F14D-F863-53BB903BBD75}"/>
                </a:ext>
              </a:extLst>
            </p:cNvPr>
            <p:cNvSpPr/>
            <p:nvPr userDrawn="1"/>
          </p:nvSpPr>
          <p:spPr bwMode="gray">
            <a:xfrm>
              <a:off x="895832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9" name="Rechteck 718">
              <a:extLst>
                <a:ext uri="{FF2B5EF4-FFF2-40B4-BE49-F238E27FC236}">
                  <a16:creationId xmlns:a16="http://schemas.microsoft.com/office/drawing/2014/main" id="{0E0DF69B-96DE-AEE1-FBBC-F42E08FDC82E}"/>
                </a:ext>
              </a:extLst>
            </p:cNvPr>
            <p:cNvSpPr/>
            <p:nvPr userDrawn="1"/>
          </p:nvSpPr>
          <p:spPr bwMode="gray">
            <a:xfrm>
              <a:off x="838225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0" name="Rechteck 719">
              <a:extLst>
                <a:ext uri="{FF2B5EF4-FFF2-40B4-BE49-F238E27FC236}">
                  <a16:creationId xmlns:a16="http://schemas.microsoft.com/office/drawing/2014/main" id="{724359E4-4EE2-3C3D-3323-4C75158E5A45}"/>
                </a:ext>
              </a:extLst>
            </p:cNvPr>
            <p:cNvSpPr/>
            <p:nvPr userDrawn="1"/>
          </p:nvSpPr>
          <p:spPr bwMode="gray">
            <a:xfrm>
              <a:off x="780619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1" name="Rechteck 720">
              <a:extLst>
                <a:ext uri="{FF2B5EF4-FFF2-40B4-BE49-F238E27FC236}">
                  <a16:creationId xmlns:a16="http://schemas.microsoft.com/office/drawing/2014/main" id="{AD40ADBF-107A-0232-9D6E-2504B8141955}"/>
                </a:ext>
              </a:extLst>
            </p:cNvPr>
            <p:cNvSpPr/>
            <p:nvPr userDrawn="1"/>
          </p:nvSpPr>
          <p:spPr bwMode="gray">
            <a:xfrm>
              <a:off x="723012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2" name="Rechteck 721">
              <a:extLst>
                <a:ext uri="{FF2B5EF4-FFF2-40B4-BE49-F238E27FC236}">
                  <a16:creationId xmlns:a16="http://schemas.microsoft.com/office/drawing/2014/main" id="{54E20FDC-DC70-BE96-FC3A-29914F7CF341}"/>
                </a:ext>
              </a:extLst>
            </p:cNvPr>
            <p:cNvSpPr/>
            <p:nvPr userDrawn="1"/>
          </p:nvSpPr>
          <p:spPr bwMode="gray">
            <a:xfrm>
              <a:off x="665406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3" name="Rechteck 722">
              <a:extLst>
                <a:ext uri="{FF2B5EF4-FFF2-40B4-BE49-F238E27FC236}">
                  <a16:creationId xmlns:a16="http://schemas.microsoft.com/office/drawing/2014/main" id="{B4DBE973-98F9-7157-C9C4-C09DEB0491E6}"/>
                </a:ext>
              </a:extLst>
            </p:cNvPr>
            <p:cNvSpPr/>
            <p:nvPr userDrawn="1"/>
          </p:nvSpPr>
          <p:spPr bwMode="gray">
            <a:xfrm>
              <a:off x="607800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4" name="Rechteck 723">
              <a:extLst>
                <a:ext uri="{FF2B5EF4-FFF2-40B4-BE49-F238E27FC236}">
                  <a16:creationId xmlns:a16="http://schemas.microsoft.com/office/drawing/2014/main" id="{0ECC8152-F314-C8B5-006F-1003608A209A}"/>
                </a:ext>
              </a:extLst>
            </p:cNvPr>
            <p:cNvSpPr/>
            <p:nvPr userDrawn="1"/>
          </p:nvSpPr>
          <p:spPr bwMode="gray">
            <a:xfrm>
              <a:off x="550193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5" name="Rechteck 724">
              <a:extLst>
                <a:ext uri="{FF2B5EF4-FFF2-40B4-BE49-F238E27FC236}">
                  <a16:creationId xmlns:a16="http://schemas.microsoft.com/office/drawing/2014/main" id="{E1375687-789A-DC83-F531-5B2BAFE83C01}"/>
                </a:ext>
              </a:extLst>
            </p:cNvPr>
            <p:cNvSpPr/>
            <p:nvPr userDrawn="1"/>
          </p:nvSpPr>
          <p:spPr bwMode="gray">
            <a:xfrm>
              <a:off x="492587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6" name="Rechteck 725">
              <a:extLst>
                <a:ext uri="{FF2B5EF4-FFF2-40B4-BE49-F238E27FC236}">
                  <a16:creationId xmlns:a16="http://schemas.microsoft.com/office/drawing/2014/main" id="{26F61470-2530-740A-46F4-D0E5154431D8}"/>
                </a:ext>
              </a:extLst>
            </p:cNvPr>
            <p:cNvSpPr/>
            <p:nvPr userDrawn="1"/>
          </p:nvSpPr>
          <p:spPr bwMode="gray">
            <a:xfrm>
              <a:off x="434980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7" name="Rechteck 726">
              <a:extLst>
                <a:ext uri="{FF2B5EF4-FFF2-40B4-BE49-F238E27FC236}">
                  <a16:creationId xmlns:a16="http://schemas.microsoft.com/office/drawing/2014/main" id="{D6711CAA-354D-AFD7-4A09-ED2AA3DEA16B}"/>
                </a:ext>
              </a:extLst>
            </p:cNvPr>
            <p:cNvSpPr/>
            <p:nvPr userDrawn="1"/>
          </p:nvSpPr>
          <p:spPr bwMode="gray">
            <a:xfrm>
              <a:off x="377374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8" name="Rechteck 727">
              <a:extLst>
                <a:ext uri="{FF2B5EF4-FFF2-40B4-BE49-F238E27FC236}">
                  <a16:creationId xmlns:a16="http://schemas.microsoft.com/office/drawing/2014/main" id="{FBC43E59-F62A-EE9B-C8CA-E9D3EB349887}"/>
                </a:ext>
              </a:extLst>
            </p:cNvPr>
            <p:cNvSpPr/>
            <p:nvPr userDrawn="1"/>
          </p:nvSpPr>
          <p:spPr bwMode="gray">
            <a:xfrm>
              <a:off x="319768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9" name="Rechteck 728">
              <a:extLst>
                <a:ext uri="{FF2B5EF4-FFF2-40B4-BE49-F238E27FC236}">
                  <a16:creationId xmlns:a16="http://schemas.microsoft.com/office/drawing/2014/main" id="{D0D36B5E-C9DD-EA49-8547-7B53398B9F0F}"/>
                </a:ext>
              </a:extLst>
            </p:cNvPr>
            <p:cNvSpPr/>
            <p:nvPr userDrawn="1"/>
          </p:nvSpPr>
          <p:spPr bwMode="gray">
            <a:xfrm>
              <a:off x="262161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0" name="Rechteck 729">
              <a:extLst>
                <a:ext uri="{FF2B5EF4-FFF2-40B4-BE49-F238E27FC236}">
                  <a16:creationId xmlns:a16="http://schemas.microsoft.com/office/drawing/2014/main" id="{2AD633C1-43B7-144C-C285-331C6ECFAECD}"/>
                </a:ext>
              </a:extLst>
            </p:cNvPr>
            <p:cNvSpPr/>
            <p:nvPr userDrawn="1"/>
          </p:nvSpPr>
          <p:spPr bwMode="gray">
            <a:xfrm>
              <a:off x="204555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1" name="Rechteck 730">
              <a:extLst>
                <a:ext uri="{FF2B5EF4-FFF2-40B4-BE49-F238E27FC236}">
                  <a16:creationId xmlns:a16="http://schemas.microsoft.com/office/drawing/2014/main" id="{6D342C3E-79AE-F1C4-E544-3641ECC75948}"/>
                </a:ext>
              </a:extLst>
            </p:cNvPr>
            <p:cNvSpPr/>
            <p:nvPr userDrawn="1"/>
          </p:nvSpPr>
          <p:spPr bwMode="gray">
            <a:xfrm>
              <a:off x="146948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2" name="Rechteck 731">
              <a:extLst>
                <a:ext uri="{FF2B5EF4-FFF2-40B4-BE49-F238E27FC236}">
                  <a16:creationId xmlns:a16="http://schemas.microsoft.com/office/drawing/2014/main" id="{FF4DFC18-C620-53CF-25F7-7A06144BA254}"/>
                </a:ext>
              </a:extLst>
            </p:cNvPr>
            <p:cNvSpPr/>
            <p:nvPr userDrawn="1"/>
          </p:nvSpPr>
          <p:spPr bwMode="gray">
            <a:xfrm>
              <a:off x="89342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3" name="Rechteck 732">
              <a:extLst>
                <a:ext uri="{FF2B5EF4-FFF2-40B4-BE49-F238E27FC236}">
                  <a16:creationId xmlns:a16="http://schemas.microsoft.com/office/drawing/2014/main" id="{D77D7F52-A68D-BC25-03E5-D3870B583301}"/>
                </a:ext>
              </a:extLst>
            </p:cNvPr>
            <p:cNvSpPr/>
            <p:nvPr userDrawn="1"/>
          </p:nvSpPr>
          <p:spPr bwMode="gray">
            <a:xfrm>
              <a:off x="31736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4" name="Rechteck 733">
              <a:extLst>
                <a:ext uri="{FF2B5EF4-FFF2-40B4-BE49-F238E27FC236}">
                  <a16:creationId xmlns:a16="http://schemas.microsoft.com/office/drawing/2014/main" id="{232F49D9-4615-8025-365B-ED2D29E40609}"/>
                </a:ext>
              </a:extLst>
            </p:cNvPr>
            <p:cNvSpPr/>
            <p:nvPr userDrawn="1"/>
          </p:nvSpPr>
          <p:spPr bwMode="gray">
            <a:xfrm>
              <a:off x="1126257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5" name="Rechteck 734">
              <a:extLst>
                <a:ext uri="{FF2B5EF4-FFF2-40B4-BE49-F238E27FC236}">
                  <a16:creationId xmlns:a16="http://schemas.microsoft.com/office/drawing/2014/main" id="{F59BC741-712A-F931-D8B3-62F98E47177C}"/>
                </a:ext>
              </a:extLst>
            </p:cNvPr>
            <p:cNvSpPr/>
            <p:nvPr userDrawn="1"/>
          </p:nvSpPr>
          <p:spPr bwMode="gray">
            <a:xfrm>
              <a:off x="1068651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6" name="Rechteck 735">
              <a:extLst>
                <a:ext uri="{FF2B5EF4-FFF2-40B4-BE49-F238E27FC236}">
                  <a16:creationId xmlns:a16="http://schemas.microsoft.com/office/drawing/2014/main" id="{561D01C1-AFE6-55D7-B685-CFF6F48E11C6}"/>
                </a:ext>
              </a:extLst>
            </p:cNvPr>
            <p:cNvSpPr/>
            <p:nvPr userDrawn="1"/>
          </p:nvSpPr>
          <p:spPr bwMode="gray">
            <a:xfrm>
              <a:off x="1011044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7" name="Rechteck 736">
              <a:extLst>
                <a:ext uri="{FF2B5EF4-FFF2-40B4-BE49-F238E27FC236}">
                  <a16:creationId xmlns:a16="http://schemas.microsoft.com/office/drawing/2014/main" id="{8446CAA1-8FC6-BEDD-B189-B78EC6EBA899}"/>
                </a:ext>
              </a:extLst>
            </p:cNvPr>
            <p:cNvSpPr/>
            <p:nvPr userDrawn="1"/>
          </p:nvSpPr>
          <p:spPr bwMode="gray">
            <a:xfrm>
              <a:off x="953438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8" name="Rechteck 737">
              <a:extLst>
                <a:ext uri="{FF2B5EF4-FFF2-40B4-BE49-F238E27FC236}">
                  <a16:creationId xmlns:a16="http://schemas.microsoft.com/office/drawing/2014/main" id="{C15671D1-86B7-0266-C081-A38BE953D3D1}"/>
                </a:ext>
              </a:extLst>
            </p:cNvPr>
            <p:cNvSpPr/>
            <p:nvPr userDrawn="1"/>
          </p:nvSpPr>
          <p:spPr bwMode="gray">
            <a:xfrm>
              <a:off x="895832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9" name="Rechteck 738">
              <a:extLst>
                <a:ext uri="{FF2B5EF4-FFF2-40B4-BE49-F238E27FC236}">
                  <a16:creationId xmlns:a16="http://schemas.microsoft.com/office/drawing/2014/main" id="{0D318B9C-7ED2-A5D9-520D-C101D98DE4A9}"/>
                </a:ext>
              </a:extLst>
            </p:cNvPr>
            <p:cNvSpPr/>
            <p:nvPr userDrawn="1"/>
          </p:nvSpPr>
          <p:spPr bwMode="gray">
            <a:xfrm>
              <a:off x="838225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0" name="Rechteck 739">
              <a:extLst>
                <a:ext uri="{FF2B5EF4-FFF2-40B4-BE49-F238E27FC236}">
                  <a16:creationId xmlns:a16="http://schemas.microsoft.com/office/drawing/2014/main" id="{7CEEE30D-E1C8-9677-0F92-349A2F4C431A}"/>
                </a:ext>
              </a:extLst>
            </p:cNvPr>
            <p:cNvSpPr/>
            <p:nvPr userDrawn="1"/>
          </p:nvSpPr>
          <p:spPr bwMode="gray">
            <a:xfrm>
              <a:off x="780619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1" name="Rechteck 740">
              <a:extLst>
                <a:ext uri="{FF2B5EF4-FFF2-40B4-BE49-F238E27FC236}">
                  <a16:creationId xmlns:a16="http://schemas.microsoft.com/office/drawing/2014/main" id="{3D5E6E7C-C23C-54F2-DAFC-4362242FF740}"/>
                </a:ext>
              </a:extLst>
            </p:cNvPr>
            <p:cNvSpPr/>
            <p:nvPr userDrawn="1"/>
          </p:nvSpPr>
          <p:spPr bwMode="gray">
            <a:xfrm>
              <a:off x="723012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2" name="Rechteck 741">
              <a:extLst>
                <a:ext uri="{FF2B5EF4-FFF2-40B4-BE49-F238E27FC236}">
                  <a16:creationId xmlns:a16="http://schemas.microsoft.com/office/drawing/2014/main" id="{321D97E1-2DCC-7932-4559-B466AA1263AF}"/>
                </a:ext>
              </a:extLst>
            </p:cNvPr>
            <p:cNvSpPr/>
            <p:nvPr userDrawn="1"/>
          </p:nvSpPr>
          <p:spPr bwMode="gray">
            <a:xfrm>
              <a:off x="665406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3" name="Rechteck 742">
              <a:extLst>
                <a:ext uri="{FF2B5EF4-FFF2-40B4-BE49-F238E27FC236}">
                  <a16:creationId xmlns:a16="http://schemas.microsoft.com/office/drawing/2014/main" id="{0AAA858C-CC76-0699-1037-27DEA42D68D2}"/>
                </a:ext>
              </a:extLst>
            </p:cNvPr>
            <p:cNvSpPr/>
            <p:nvPr userDrawn="1"/>
          </p:nvSpPr>
          <p:spPr bwMode="gray">
            <a:xfrm>
              <a:off x="607800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4" name="Rechteck 743">
              <a:extLst>
                <a:ext uri="{FF2B5EF4-FFF2-40B4-BE49-F238E27FC236}">
                  <a16:creationId xmlns:a16="http://schemas.microsoft.com/office/drawing/2014/main" id="{A1B45ADA-39BB-8184-541B-144C784EFB79}"/>
                </a:ext>
              </a:extLst>
            </p:cNvPr>
            <p:cNvSpPr/>
            <p:nvPr userDrawn="1"/>
          </p:nvSpPr>
          <p:spPr bwMode="gray">
            <a:xfrm>
              <a:off x="550193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5" name="Rechteck 744">
              <a:extLst>
                <a:ext uri="{FF2B5EF4-FFF2-40B4-BE49-F238E27FC236}">
                  <a16:creationId xmlns:a16="http://schemas.microsoft.com/office/drawing/2014/main" id="{8AA53A04-DFC0-8E40-8C7F-3BF6DC86172D}"/>
                </a:ext>
              </a:extLst>
            </p:cNvPr>
            <p:cNvSpPr/>
            <p:nvPr userDrawn="1"/>
          </p:nvSpPr>
          <p:spPr bwMode="gray">
            <a:xfrm>
              <a:off x="492587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6" name="Rechteck 745">
              <a:extLst>
                <a:ext uri="{FF2B5EF4-FFF2-40B4-BE49-F238E27FC236}">
                  <a16:creationId xmlns:a16="http://schemas.microsoft.com/office/drawing/2014/main" id="{B1EFC767-FDD3-3EA2-1875-682F482C0689}"/>
                </a:ext>
              </a:extLst>
            </p:cNvPr>
            <p:cNvSpPr/>
            <p:nvPr userDrawn="1"/>
          </p:nvSpPr>
          <p:spPr bwMode="gray">
            <a:xfrm>
              <a:off x="434980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7" name="Rechteck 746">
              <a:extLst>
                <a:ext uri="{FF2B5EF4-FFF2-40B4-BE49-F238E27FC236}">
                  <a16:creationId xmlns:a16="http://schemas.microsoft.com/office/drawing/2014/main" id="{67BDC81B-0428-38B8-54DB-8A93719F60EC}"/>
                </a:ext>
              </a:extLst>
            </p:cNvPr>
            <p:cNvSpPr/>
            <p:nvPr userDrawn="1"/>
          </p:nvSpPr>
          <p:spPr bwMode="gray">
            <a:xfrm>
              <a:off x="377374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8" name="Rechteck 747">
              <a:extLst>
                <a:ext uri="{FF2B5EF4-FFF2-40B4-BE49-F238E27FC236}">
                  <a16:creationId xmlns:a16="http://schemas.microsoft.com/office/drawing/2014/main" id="{778A9505-61E7-72BF-2456-520A15C716EB}"/>
                </a:ext>
              </a:extLst>
            </p:cNvPr>
            <p:cNvSpPr/>
            <p:nvPr userDrawn="1"/>
          </p:nvSpPr>
          <p:spPr bwMode="gray">
            <a:xfrm>
              <a:off x="319768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9" name="Rechteck 748">
              <a:extLst>
                <a:ext uri="{FF2B5EF4-FFF2-40B4-BE49-F238E27FC236}">
                  <a16:creationId xmlns:a16="http://schemas.microsoft.com/office/drawing/2014/main" id="{BDF115AA-25F3-BB4A-C484-883C7334D03F}"/>
                </a:ext>
              </a:extLst>
            </p:cNvPr>
            <p:cNvSpPr/>
            <p:nvPr userDrawn="1"/>
          </p:nvSpPr>
          <p:spPr bwMode="gray">
            <a:xfrm>
              <a:off x="262161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0" name="Rechteck 749">
              <a:extLst>
                <a:ext uri="{FF2B5EF4-FFF2-40B4-BE49-F238E27FC236}">
                  <a16:creationId xmlns:a16="http://schemas.microsoft.com/office/drawing/2014/main" id="{5CA6B160-82B6-F1A5-839F-BEB1385FAF07}"/>
                </a:ext>
              </a:extLst>
            </p:cNvPr>
            <p:cNvSpPr/>
            <p:nvPr userDrawn="1"/>
          </p:nvSpPr>
          <p:spPr bwMode="gray">
            <a:xfrm>
              <a:off x="204555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1" name="Rechteck 750">
              <a:extLst>
                <a:ext uri="{FF2B5EF4-FFF2-40B4-BE49-F238E27FC236}">
                  <a16:creationId xmlns:a16="http://schemas.microsoft.com/office/drawing/2014/main" id="{88541F48-F881-B3F6-8FFD-727AC98EA6B5}"/>
                </a:ext>
              </a:extLst>
            </p:cNvPr>
            <p:cNvSpPr/>
            <p:nvPr userDrawn="1"/>
          </p:nvSpPr>
          <p:spPr bwMode="gray">
            <a:xfrm>
              <a:off x="146948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2" name="Rechteck 751">
              <a:extLst>
                <a:ext uri="{FF2B5EF4-FFF2-40B4-BE49-F238E27FC236}">
                  <a16:creationId xmlns:a16="http://schemas.microsoft.com/office/drawing/2014/main" id="{A5DC31C5-DD34-8298-D4C5-9F8455AA1AF2}"/>
                </a:ext>
              </a:extLst>
            </p:cNvPr>
            <p:cNvSpPr/>
            <p:nvPr userDrawn="1"/>
          </p:nvSpPr>
          <p:spPr bwMode="gray">
            <a:xfrm>
              <a:off x="89342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3" name="Rechteck 752">
              <a:extLst>
                <a:ext uri="{FF2B5EF4-FFF2-40B4-BE49-F238E27FC236}">
                  <a16:creationId xmlns:a16="http://schemas.microsoft.com/office/drawing/2014/main" id="{05726656-60D3-CFAC-06D4-02CAEF189361}"/>
                </a:ext>
              </a:extLst>
            </p:cNvPr>
            <p:cNvSpPr/>
            <p:nvPr userDrawn="1"/>
          </p:nvSpPr>
          <p:spPr bwMode="gray">
            <a:xfrm>
              <a:off x="31736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4" name="Rechteck 753">
              <a:extLst>
                <a:ext uri="{FF2B5EF4-FFF2-40B4-BE49-F238E27FC236}">
                  <a16:creationId xmlns:a16="http://schemas.microsoft.com/office/drawing/2014/main" id="{A6FAC872-6D2B-6085-23CD-32686710322D}"/>
                </a:ext>
              </a:extLst>
            </p:cNvPr>
            <p:cNvSpPr/>
            <p:nvPr userDrawn="1"/>
          </p:nvSpPr>
          <p:spPr bwMode="gray">
            <a:xfrm>
              <a:off x="1126257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5" name="Rechteck 754">
              <a:extLst>
                <a:ext uri="{FF2B5EF4-FFF2-40B4-BE49-F238E27FC236}">
                  <a16:creationId xmlns:a16="http://schemas.microsoft.com/office/drawing/2014/main" id="{B2608141-5261-579C-40B5-D1795C357543}"/>
                </a:ext>
              </a:extLst>
            </p:cNvPr>
            <p:cNvSpPr/>
            <p:nvPr userDrawn="1"/>
          </p:nvSpPr>
          <p:spPr bwMode="gray">
            <a:xfrm>
              <a:off x="1068651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6" name="Rechteck 755">
              <a:extLst>
                <a:ext uri="{FF2B5EF4-FFF2-40B4-BE49-F238E27FC236}">
                  <a16:creationId xmlns:a16="http://schemas.microsoft.com/office/drawing/2014/main" id="{2688D50A-21F8-FBD5-4177-D263E4DB7984}"/>
                </a:ext>
              </a:extLst>
            </p:cNvPr>
            <p:cNvSpPr/>
            <p:nvPr userDrawn="1"/>
          </p:nvSpPr>
          <p:spPr bwMode="gray">
            <a:xfrm>
              <a:off x="1011044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7" name="Rechteck 756">
              <a:extLst>
                <a:ext uri="{FF2B5EF4-FFF2-40B4-BE49-F238E27FC236}">
                  <a16:creationId xmlns:a16="http://schemas.microsoft.com/office/drawing/2014/main" id="{5885B448-DED2-EC7D-D075-4CA4A49A7ECA}"/>
                </a:ext>
              </a:extLst>
            </p:cNvPr>
            <p:cNvSpPr/>
            <p:nvPr userDrawn="1"/>
          </p:nvSpPr>
          <p:spPr bwMode="gray">
            <a:xfrm>
              <a:off x="953438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8" name="Rechteck 757">
              <a:extLst>
                <a:ext uri="{FF2B5EF4-FFF2-40B4-BE49-F238E27FC236}">
                  <a16:creationId xmlns:a16="http://schemas.microsoft.com/office/drawing/2014/main" id="{3D5B6565-76D0-814D-DADD-617A243A71E3}"/>
                </a:ext>
              </a:extLst>
            </p:cNvPr>
            <p:cNvSpPr/>
            <p:nvPr userDrawn="1"/>
          </p:nvSpPr>
          <p:spPr bwMode="gray">
            <a:xfrm>
              <a:off x="895832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9" name="Rechteck 758">
              <a:extLst>
                <a:ext uri="{FF2B5EF4-FFF2-40B4-BE49-F238E27FC236}">
                  <a16:creationId xmlns:a16="http://schemas.microsoft.com/office/drawing/2014/main" id="{ACC508EA-1DA9-9D2D-A5EE-6890C787B29D}"/>
                </a:ext>
              </a:extLst>
            </p:cNvPr>
            <p:cNvSpPr/>
            <p:nvPr userDrawn="1"/>
          </p:nvSpPr>
          <p:spPr bwMode="gray">
            <a:xfrm>
              <a:off x="838225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0" name="Rechteck 759">
              <a:extLst>
                <a:ext uri="{FF2B5EF4-FFF2-40B4-BE49-F238E27FC236}">
                  <a16:creationId xmlns:a16="http://schemas.microsoft.com/office/drawing/2014/main" id="{D64A7249-4BA4-F0F4-8B10-C4C63D5507C9}"/>
                </a:ext>
              </a:extLst>
            </p:cNvPr>
            <p:cNvSpPr/>
            <p:nvPr userDrawn="1"/>
          </p:nvSpPr>
          <p:spPr bwMode="gray">
            <a:xfrm>
              <a:off x="780619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1" name="Rechteck 760">
              <a:extLst>
                <a:ext uri="{FF2B5EF4-FFF2-40B4-BE49-F238E27FC236}">
                  <a16:creationId xmlns:a16="http://schemas.microsoft.com/office/drawing/2014/main" id="{FE03C544-7E88-0FCB-DE80-E4FF713D244D}"/>
                </a:ext>
              </a:extLst>
            </p:cNvPr>
            <p:cNvSpPr/>
            <p:nvPr userDrawn="1"/>
          </p:nvSpPr>
          <p:spPr bwMode="gray">
            <a:xfrm>
              <a:off x="723012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2" name="Rechteck 761">
              <a:extLst>
                <a:ext uri="{FF2B5EF4-FFF2-40B4-BE49-F238E27FC236}">
                  <a16:creationId xmlns:a16="http://schemas.microsoft.com/office/drawing/2014/main" id="{2AB06859-29FD-A3FF-7FFA-53190EB10609}"/>
                </a:ext>
              </a:extLst>
            </p:cNvPr>
            <p:cNvSpPr/>
            <p:nvPr userDrawn="1"/>
          </p:nvSpPr>
          <p:spPr bwMode="gray">
            <a:xfrm>
              <a:off x="665406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3" name="Rechteck 762">
              <a:extLst>
                <a:ext uri="{FF2B5EF4-FFF2-40B4-BE49-F238E27FC236}">
                  <a16:creationId xmlns:a16="http://schemas.microsoft.com/office/drawing/2014/main" id="{9A37A68E-65C8-74E4-4670-7DED45ACDAA3}"/>
                </a:ext>
              </a:extLst>
            </p:cNvPr>
            <p:cNvSpPr/>
            <p:nvPr userDrawn="1"/>
          </p:nvSpPr>
          <p:spPr bwMode="gray">
            <a:xfrm>
              <a:off x="607800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4" name="Rechteck 763">
              <a:extLst>
                <a:ext uri="{FF2B5EF4-FFF2-40B4-BE49-F238E27FC236}">
                  <a16:creationId xmlns:a16="http://schemas.microsoft.com/office/drawing/2014/main" id="{0FA704A4-4A75-B882-4D47-7C06791A0791}"/>
                </a:ext>
              </a:extLst>
            </p:cNvPr>
            <p:cNvSpPr/>
            <p:nvPr userDrawn="1"/>
          </p:nvSpPr>
          <p:spPr bwMode="gray">
            <a:xfrm>
              <a:off x="550193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5" name="Rechteck 764">
              <a:extLst>
                <a:ext uri="{FF2B5EF4-FFF2-40B4-BE49-F238E27FC236}">
                  <a16:creationId xmlns:a16="http://schemas.microsoft.com/office/drawing/2014/main" id="{5F9DE346-00C0-1EF5-4B20-53B693607482}"/>
                </a:ext>
              </a:extLst>
            </p:cNvPr>
            <p:cNvSpPr/>
            <p:nvPr userDrawn="1"/>
          </p:nvSpPr>
          <p:spPr bwMode="gray">
            <a:xfrm>
              <a:off x="492587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6" name="Rechteck 765">
              <a:extLst>
                <a:ext uri="{FF2B5EF4-FFF2-40B4-BE49-F238E27FC236}">
                  <a16:creationId xmlns:a16="http://schemas.microsoft.com/office/drawing/2014/main" id="{7427E10D-4265-51CD-A7D0-F5FE8F0D6450}"/>
                </a:ext>
              </a:extLst>
            </p:cNvPr>
            <p:cNvSpPr/>
            <p:nvPr userDrawn="1"/>
          </p:nvSpPr>
          <p:spPr bwMode="gray">
            <a:xfrm>
              <a:off x="434980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7" name="Rechteck 766">
              <a:extLst>
                <a:ext uri="{FF2B5EF4-FFF2-40B4-BE49-F238E27FC236}">
                  <a16:creationId xmlns:a16="http://schemas.microsoft.com/office/drawing/2014/main" id="{13AEB746-C462-3DDC-3980-DD1E2DC461D4}"/>
                </a:ext>
              </a:extLst>
            </p:cNvPr>
            <p:cNvSpPr/>
            <p:nvPr userDrawn="1"/>
          </p:nvSpPr>
          <p:spPr bwMode="gray">
            <a:xfrm>
              <a:off x="377374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8" name="Rechteck 767">
              <a:extLst>
                <a:ext uri="{FF2B5EF4-FFF2-40B4-BE49-F238E27FC236}">
                  <a16:creationId xmlns:a16="http://schemas.microsoft.com/office/drawing/2014/main" id="{8D7A0E99-EC99-7AE7-BD86-CCE2C6F22A5C}"/>
                </a:ext>
              </a:extLst>
            </p:cNvPr>
            <p:cNvSpPr/>
            <p:nvPr userDrawn="1"/>
          </p:nvSpPr>
          <p:spPr bwMode="gray">
            <a:xfrm>
              <a:off x="319768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9" name="Rechteck 768">
              <a:extLst>
                <a:ext uri="{FF2B5EF4-FFF2-40B4-BE49-F238E27FC236}">
                  <a16:creationId xmlns:a16="http://schemas.microsoft.com/office/drawing/2014/main" id="{D6A3A7AB-3239-D0DA-17A9-8D99E5CD3EBC}"/>
                </a:ext>
              </a:extLst>
            </p:cNvPr>
            <p:cNvSpPr/>
            <p:nvPr userDrawn="1"/>
          </p:nvSpPr>
          <p:spPr bwMode="gray">
            <a:xfrm>
              <a:off x="262161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0" name="Rechteck 769">
              <a:extLst>
                <a:ext uri="{FF2B5EF4-FFF2-40B4-BE49-F238E27FC236}">
                  <a16:creationId xmlns:a16="http://schemas.microsoft.com/office/drawing/2014/main" id="{EEF2659C-F61B-4F5E-A6F3-03943517F297}"/>
                </a:ext>
              </a:extLst>
            </p:cNvPr>
            <p:cNvSpPr/>
            <p:nvPr userDrawn="1"/>
          </p:nvSpPr>
          <p:spPr bwMode="gray">
            <a:xfrm>
              <a:off x="204555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1" name="Rechteck 770">
              <a:extLst>
                <a:ext uri="{FF2B5EF4-FFF2-40B4-BE49-F238E27FC236}">
                  <a16:creationId xmlns:a16="http://schemas.microsoft.com/office/drawing/2014/main" id="{37FFEFE6-9BEF-16A9-3693-B8BDB4AE893C}"/>
                </a:ext>
              </a:extLst>
            </p:cNvPr>
            <p:cNvSpPr/>
            <p:nvPr userDrawn="1"/>
          </p:nvSpPr>
          <p:spPr bwMode="gray">
            <a:xfrm>
              <a:off x="146948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2" name="Rechteck 771">
              <a:extLst>
                <a:ext uri="{FF2B5EF4-FFF2-40B4-BE49-F238E27FC236}">
                  <a16:creationId xmlns:a16="http://schemas.microsoft.com/office/drawing/2014/main" id="{9771D390-8841-E977-8FEA-41692751E4FB}"/>
                </a:ext>
              </a:extLst>
            </p:cNvPr>
            <p:cNvSpPr/>
            <p:nvPr userDrawn="1"/>
          </p:nvSpPr>
          <p:spPr bwMode="gray">
            <a:xfrm>
              <a:off x="89342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3" name="Rechteck 772">
              <a:extLst>
                <a:ext uri="{FF2B5EF4-FFF2-40B4-BE49-F238E27FC236}">
                  <a16:creationId xmlns:a16="http://schemas.microsoft.com/office/drawing/2014/main" id="{F8BF63D3-3D6D-6635-A3D1-CB1F3690922A}"/>
                </a:ext>
              </a:extLst>
            </p:cNvPr>
            <p:cNvSpPr/>
            <p:nvPr userDrawn="1"/>
          </p:nvSpPr>
          <p:spPr bwMode="gray">
            <a:xfrm>
              <a:off x="31736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4" name="Rechteck 773">
              <a:extLst>
                <a:ext uri="{FF2B5EF4-FFF2-40B4-BE49-F238E27FC236}">
                  <a16:creationId xmlns:a16="http://schemas.microsoft.com/office/drawing/2014/main" id="{69917AA4-A6A4-7049-AED4-31ADFAB50C8F}"/>
                </a:ext>
              </a:extLst>
            </p:cNvPr>
            <p:cNvSpPr/>
            <p:nvPr userDrawn="1"/>
          </p:nvSpPr>
          <p:spPr bwMode="gray">
            <a:xfrm>
              <a:off x="1183864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5" name="Rechteck 774">
              <a:extLst>
                <a:ext uri="{FF2B5EF4-FFF2-40B4-BE49-F238E27FC236}">
                  <a16:creationId xmlns:a16="http://schemas.microsoft.com/office/drawing/2014/main" id="{66C7DB0E-C39C-E57B-3CCE-73FAC0235813}"/>
                </a:ext>
              </a:extLst>
            </p:cNvPr>
            <p:cNvSpPr/>
            <p:nvPr userDrawn="1"/>
          </p:nvSpPr>
          <p:spPr bwMode="gray">
            <a:xfrm>
              <a:off x="1183864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6" name="Rechteck 775">
              <a:extLst>
                <a:ext uri="{FF2B5EF4-FFF2-40B4-BE49-F238E27FC236}">
                  <a16:creationId xmlns:a16="http://schemas.microsoft.com/office/drawing/2014/main" id="{CE325D04-21B5-D04C-F8C5-B64608A1C7DC}"/>
                </a:ext>
              </a:extLst>
            </p:cNvPr>
            <p:cNvSpPr/>
            <p:nvPr userDrawn="1"/>
          </p:nvSpPr>
          <p:spPr bwMode="gray">
            <a:xfrm>
              <a:off x="1183864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7" name="Rechteck 776">
              <a:extLst>
                <a:ext uri="{FF2B5EF4-FFF2-40B4-BE49-F238E27FC236}">
                  <a16:creationId xmlns:a16="http://schemas.microsoft.com/office/drawing/2014/main" id="{1178FA1C-C506-B036-DE00-7FAA7914E6FC}"/>
                </a:ext>
              </a:extLst>
            </p:cNvPr>
            <p:cNvSpPr/>
            <p:nvPr userDrawn="1"/>
          </p:nvSpPr>
          <p:spPr bwMode="gray">
            <a:xfrm>
              <a:off x="1183864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8" name="Rechteck 777">
              <a:extLst>
                <a:ext uri="{FF2B5EF4-FFF2-40B4-BE49-F238E27FC236}">
                  <a16:creationId xmlns:a16="http://schemas.microsoft.com/office/drawing/2014/main" id="{0420E4FD-25F5-7220-B74E-E6F9C063AF5D}"/>
                </a:ext>
              </a:extLst>
            </p:cNvPr>
            <p:cNvSpPr/>
            <p:nvPr userDrawn="1"/>
          </p:nvSpPr>
          <p:spPr bwMode="gray">
            <a:xfrm>
              <a:off x="1183864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9" name="Rechteck 778">
              <a:extLst>
                <a:ext uri="{FF2B5EF4-FFF2-40B4-BE49-F238E27FC236}">
                  <a16:creationId xmlns:a16="http://schemas.microsoft.com/office/drawing/2014/main" id="{034F31B2-D9B1-C17D-A117-35C09C6E8D65}"/>
                </a:ext>
              </a:extLst>
            </p:cNvPr>
            <p:cNvSpPr/>
            <p:nvPr userDrawn="1"/>
          </p:nvSpPr>
          <p:spPr bwMode="gray">
            <a:xfrm>
              <a:off x="1183864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0" name="Rechteck 779">
              <a:extLst>
                <a:ext uri="{FF2B5EF4-FFF2-40B4-BE49-F238E27FC236}">
                  <a16:creationId xmlns:a16="http://schemas.microsoft.com/office/drawing/2014/main" id="{BBFA6D9E-D98C-84A4-B10B-9415C9CF92FB}"/>
                </a:ext>
              </a:extLst>
            </p:cNvPr>
            <p:cNvSpPr/>
            <p:nvPr userDrawn="1"/>
          </p:nvSpPr>
          <p:spPr bwMode="gray">
            <a:xfrm>
              <a:off x="1183864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1" name="Rechteck 780">
              <a:extLst>
                <a:ext uri="{FF2B5EF4-FFF2-40B4-BE49-F238E27FC236}">
                  <a16:creationId xmlns:a16="http://schemas.microsoft.com/office/drawing/2014/main" id="{2DB0F388-3D11-AB45-0041-361F44BF8064}"/>
                </a:ext>
              </a:extLst>
            </p:cNvPr>
            <p:cNvSpPr/>
            <p:nvPr userDrawn="1"/>
          </p:nvSpPr>
          <p:spPr bwMode="gray">
            <a:xfrm>
              <a:off x="1183864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2" name="Rechteck 781">
              <a:extLst>
                <a:ext uri="{FF2B5EF4-FFF2-40B4-BE49-F238E27FC236}">
                  <a16:creationId xmlns:a16="http://schemas.microsoft.com/office/drawing/2014/main" id="{F4CE659F-A5EB-E8D4-D74A-1C543D8B85CF}"/>
                </a:ext>
              </a:extLst>
            </p:cNvPr>
            <p:cNvSpPr/>
            <p:nvPr userDrawn="1"/>
          </p:nvSpPr>
          <p:spPr bwMode="gray">
            <a:xfrm>
              <a:off x="1183864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grpSp>
      <p:grpSp>
        <p:nvGrpSpPr>
          <p:cNvPr id="372" name="Gruppieren 371">
            <a:extLst>
              <a:ext uri="{FF2B5EF4-FFF2-40B4-BE49-F238E27FC236}">
                <a16:creationId xmlns:a16="http://schemas.microsoft.com/office/drawing/2014/main" id="{49C2EBBD-0B29-0B89-AD5D-42537BAACD55}"/>
              </a:ext>
              <a:ext uri="{C183D7F6-B498-43B3-948B-1728B52AA6E4}">
                <adec:decorative xmlns:adec="http://schemas.microsoft.com/office/drawing/2017/decorative" val="1"/>
              </a:ext>
            </a:extLst>
          </p:cNvPr>
          <p:cNvGrpSpPr/>
          <p:nvPr userDrawn="1"/>
        </p:nvGrpSpPr>
        <p:grpSpPr>
          <a:xfrm>
            <a:off x="838831" y="2082829"/>
            <a:ext cx="2448000" cy="0"/>
            <a:chOff x="983432" y="2082829"/>
            <a:chExt cx="2448000" cy="0"/>
          </a:xfrm>
        </p:grpSpPr>
        <p:cxnSp>
          <p:nvCxnSpPr>
            <p:cNvPr id="373" name="Line">
              <a:extLst>
                <a:ext uri="{FF2B5EF4-FFF2-40B4-BE49-F238E27FC236}">
                  <a16:creationId xmlns:a16="http://schemas.microsoft.com/office/drawing/2014/main" id="{1E9CA30F-F310-A2F6-548D-DA7E94632D5B}"/>
                </a:ext>
                <a:ext uri="{C183D7F6-B498-43B3-948B-1728B52AA6E4}">
                  <adec:decorative xmlns:adec="http://schemas.microsoft.com/office/drawing/2017/decorative" val="1"/>
                </a:ext>
              </a:extLst>
            </p:cNvPr>
            <p:cNvCxnSpPr>
              <a:cxnSpLocks/>
            </p:cNvCxnSpPr>
            <p:nvPr userDrawn="1"/>
          </p:nvCxnSpPr>
          <p:spPr bwMode="gray">
            <a:xfrm>
              <a:off x="983432" y="2082829"/>
              <a:ext cx="2448000" cy="0"/>
            </a:xfrm>
            <a:prstGeom prst="line">
              <a:avLst/>
            </a:prstGeom>
            <a:ln w="1047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4" name="Line">
              <a:extLst>
                <a:ext uri="{FF2B5EF4-FFF2-40B4-BE49-F238E27FC236}">
                  <a16:creationId xmlns:a16="http://schemas.microsoft.com/office/drawing/2014/main" id="{095ED35B-D67F-E183-9FC6-3DC38D31987B}"/>
                </a:ext>
                <a:ext uri="{C183D7F6-B498-43B3-948B-1728B52AA6E4}">
                  <adec:decorative xmlns:adec="http://schemas.microsoft.com/office/drawing/2017/decorative" val="1"/>
                </a:ext>
              </a:extLst>
            </p:cNvPr>
            <p:cNvCxnSpPr>
              <a:cxnSpLocks/>
            </p:cNvCxnSpPr>
            <p:nvPr userDrawn="1"/>
          </p:nvCxnSpPr>
          <p:spPr bwMode="gray">
            <a:xfrm>
              <a:off x="1056000" y="2082829"/>
              <a:ext cx="2303696"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375" name="Shape">
            <a:extLst>
              <a:ext uri="{FF2B5EF4-FFF2-40B4-BE49-F238E27FC236}">
                <a16:creationId xmlns:a16="http://schemas.microsoft.com/office/drawing/2014/main" id="{DE745F04-009E-D66B-4848-25E85D7007C9}"/>
              </a:ext>
              <a:ext uri="{C183D7F6-B498-43B3-948B-1728B52AA6E4}">
                <adec:decorative xmlns:adec="http://schemas.microsoft.com/office/drawing/2017/decorative" val="1"/>
              </a:ext>
            </a:extLst>
          </p:cNvPr>
          <p:cNvSpPr>
            <a:spLocks/>
          </p:cNvSpPr>
          <p:nvPr userDrawn="1"/>
        </p:nvSpPr>
        <p:spPr bwMode="gray">
          <a:xfrm>
            <a:off x="4367808" y="2061400"/>
            <a:ext cx="5775177" cy="3463099"/>
          </a:xfrm>
          <a:custGeom>
            <a:avLst/>
            <a:gdLst>
              <a:gd name="connsiteX0" fmla="*/ 0 w 8604027"/>
              <a:gd name="connsiteY0" fmla="*/ 857 h 5734812"/>
              <a:gd name="connsiteX1" fmla="*/ 8604028 w 8604027"/>
              <a:gd name="connsiteY1" fmla="*/ 0 h 5734812"/>
              <a:gd name="connsiteX2" fmla="*/ 7170039 w 8604027"/>
              <a:gd name="connsiteY2" fmla="*/ 4301966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02506 w 8604029"/>
              <a:gd name="connsiteY2" fmla="*/ 3984076 h 5734812"/>
              <a:gd name="connsiteX3" fmla="*/ 0 w 8604029"/>
              <a:gd name="connsiteY3" fmla="*/ 5734812 h 5734812"/>
              <a:gd name="connsiteX4" fmla="*/ 0 w 8604029"/>
              <a:gd name="connsiteY4" fmla="*/ 857 h 5734812"/>
              <a:gd name="connsiteX0" fmla="*/ 0 w 8604027"/>
              <a:gd name="connsiteY0" fmla="*/ 857 h 5734812"/>
              <a:gd name="connsiteX1" fmla="*/ 8604028 w 8604027"/>
              <a:gd name="connsiteY1" fmla="*/ 0 h 5734812"/>
              <a:gd name="connsiteX2" fmla="*/ 7046854 w 8604027"/>
              <a:gd name="connsiteY2" fmla="*/ 4091749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50550 w 8604029"/>
              <a:gd name="connsiteY2" fmla="*/ 4107130 h 5734812"/>
              <a:gd name="connsiteX3" fmla="*/ 0 w 8604029"/>
              <a:gd name="connsiteY3" fmla="*/ 5734812 h 5734812"/>
              <a:gd name="connsiteX4" fmla="*/ 0 w 8604029"/>
              <a:gd name="connsiteY4" fmla="*/ 857 h 5734812"/>
              <a:gd name="connsiteX0" fmla="*/ 0 w 8604028"/>
              <a:gd name="connsiteY0" fmla="*/ 857 h 5734812"/>
              <a:gd name="connsiteX1" fmla="*/ 8604028 w 8604028"/>
              <a:gd name="connsiteY1" fmla="*/ 0 h 5734812"/>
              <a:gd name="connsiteX2" fmla="*/ 6576335 w 8604028"/>
              <a:gd name="connsiteY2" fmla="*/ 3411651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98802 w 8604028"/>
              <a:gd name="connsiteY2" fmla="*/ 3812078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905914 w 8604028"/>
              <a:gd name="connsiteY2" fmla="*/ 3827884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70437 w 8604028"/>
              <a:gd name="connsiteY2" fmla="*/ 3745075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84628 w 8604028"/>
              <a:gd name="connsiteY2" fmla="*/ 3827883 h 5734812"/>
              <a:gd name="connsiteX3" fmla="*/ 0 w 8604028"/>
              <a:gd name="connsiteY3" fmla="*/ 5734812 h 5734812"/>
              <a:gd name="connsiteX4" fmla="*/ 0 w 8604028"/>
              <a:gd name="connsiteY4" fmla="*/ 857 h 5734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4028" h="5734812">
                <a:moveTo>
                  <a:pt x="0" y="857"/>
                </a:moveTo>
                <a:lnTo>
                  <a:pt x="8604028" y="0"/>
                </a:lnTo>
                <a:lnTo>
                  <a:pt x="6884628" y="3827883"/>
                </a:lnTo>
                <a:lnTo>
                  <a:pt x="0" y="5734812"/>
                </a:lnTo>
                <a:lnTo>
                  <a:pt x="0" y="857"/>
                </a:lnTo>
                <a:close/>
              </a:path>
            </a:pathLst>
          </a:custGeom>
          <a:solidFill>
            <a:schemeClr val="bg1"/>
          </a:solidFill>
          <a:ln w="76200" cap="flat">
            <a:solidFill>
              <a:schemeClr val="bg1"/>
            </a:solidFill>
            <a:prstDash val="solid"/>
            <a:miter/>
          </a:ln>
        </p:spPr>
        <p:txBody>
          <a:bodyPr rtlCol="0" anchor="ctr"/>
          <a:lstStyle/>
          <a:p>
            <a:endParaRPr lang="en-GB" dirty="0"/>
          </a:p>
        </p:txBody>
      </p:sp>
      <p:sp>
        <p:nvSpPr>
          <p:cNvPr id="376" name="Shape">
            <a:extLst>
              <a:ext uri="{FF2B5EF4-FFF2-40B4-BE49-F238E27FC236}">
                <a16:creationId xmlns:a16="http://schemas.microsoft.com/office/drawing/2014/main" id="{FB2A4848-5014-9058-83D9-D793D385E245}"/>
              </a:ext>
              <a:ext uri="{C183D7F6-B498-43B3-948B-1728B52AA6E4}">
                <adec:decorative xmlns:adec="http://schemas.microsoft.com/office/drawing/2017/decorative" val="1"/>
              </a:ext>
            </a:extLst>
          </p:cNvPr>
          <p:cNvSpPr>
            <a:spLocks/>
          </p:cNvSpPr>
          <p:nvPr userDrawn="1"/>
        </p:nvSpPr>
        <p:spPr bwMode="gray">
          <a:xfrm>
            <a:off x="4367808" y="2061400"/>
            <a:ext cx="5775177" cy="3463099"/>
          </a:xfrm>
          <a:custGeom>
            <a:avLst/>
            <a:gdLst>
              <a:gd name="connsiteX0" fmla="*/ 0 w 8604027"/>
              <a:gd name="connsiteY0" fmla="*/ 857 h 5734812"/>
              <a:gd name="connsiteX1" fmla="*/ 8604028 w 8604027"/>
              <a:gd name="connsiteY1" fmla="*/ 0 h 5734812"/>
              <a:gd name="connsiteX2" fmla="*/ 7170039 w 8604027"/>
              <a:gd name="connsiteY2" fmla="*/ 4301966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02506 w 8604029"/>
              <a:gd name="connsiteY2" fmla="*/ 3984076 h 5734812"/>
              <a:gd name="connsiteX3" fmla="*/ 0 w 8604029"/>
              <a:gd name="connsiteY3" fmla="*/ 5734812 h 5734812"/>
              <a:gd name="connsiteX4" fmla="*/ 0 w 8604029"/>
              <a:gd name="connsiteY4" fmla="*/ 857 h 5734812"/>
              <a:gd name="connsiteX0" fmla="*/ 0 w 8604027"/>
              <a:gd name="connsiteY0" fmla="*/ 857 h 5734812"/>
              <a:gd name="connsiteX1" fmla="*/ 8604028 w 8604027"/>
              <a:gd name="connsiteY1" fmla="*/ 0 h 5734812"/>
              <a:gd name="connsiteX2" fmla="*/ 7046854 w 8604027"/>
              <a:gd name="connsiteY2" fmla="*/ 4091749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50550 w 8604029"/>
              <a:gd name="connsiteY2" fmla="*/ 4107130 h 5734812"/>
              <a:gd name="connsiteX3" fmla="*/ 0 w 8604029"/>
              <a:gd name="connsiteY3" fmla="*/ 5734812 h 5734812"/>
              <a:gd name="connsiteX4" fmla="*/ 0 w 8604029"/>
              <a:gd name="connsiteY4" fmla="*/ 857 h 5734812"/>
              <a:gd name="connsiteX0" fmla="*/ 0 w 8604028"/>
              <a:gd name="connsiteY0" fmla="*/ 857 h 5734812"/>
              <a:gd name="connsiteX1" fmla="*/ 8604028 w 8604028"/>
              <a:gd name="connsiteY1" fmla="*/ 0 h 5734812"/>
              <a:gd name="connsiteX2" fmla="*/ 6576335 w 8604028"/>
              <a:gd name="connsiteY2" fmla="*/ 3411651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98802 w 8604028"/>
              <a:gd name="connsiteY2" fmla="*/ 3812078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905914 w 8604028"/>
              <a:gd name="connsiteY2" fmla="*/ 3827884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70437 w 8604028"/>
              <a:gd name="connsiteY2" fmla="*/ 3745075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84628 w 8604028"/>
              <a:gd name="connsiteY2" fmla="*/ 3827883 h 5734812"/>
              <a:gd name="connsiteX3" fmla="*/ 0 w 8604028"/>
              <a:gd name="connsiteY3" fmla="*/ 5734812 h 5734812"/>
              <a:gd name="connsiteX4" fmla="*/ 0 w 8604028"/>
              <a:gd name="connsiteY4" fmla="*/ 857 h 5734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4028" h="5734812">
                <a:moveTo>
                  <a:pt x="0" y="857"/>
                </a:moveTo>
                <a:lnTo>
                  <a:pt x="8604028" y="0"/>
                </a:lnTo>
                <a:lnTo>
                  <a:pt x="6884628" y="3827883"/>
                </a:lnTo>
                <a:lnTo>
                  <a:pt x="0" y="5734812"/>
                </a:lnTo>
                <a:lnTo>
                  <a:pt x="0" y="857"/>
                </a:lnTo>
                <a:close/>
              </a:path>
            </a:pathLst>
          </a:custGeom>
          <a:solidFill>
            <a:schemeClr val="accent6"/>
          </a:solidFill>
          <a:ln w="9525" cap="flat">
            <a:noFill/>
            <a:prstDash val="solid"/>
            <a:miter/>
          </a:ln>
        </p:spPr>
        <p:txBody>
          <a:bodyPr rtlCol="0" anchor="ctr"/>
          <a:lstStyle/>
          <a:p>
            <a:endParaRPr lang="en-GB" dirty="0"/>
          </a:p>
        </p:txBody>
      </p:sp>
      <p:pic>
        <p:nvPicPr>
          <p:cNvPr id="377" name="Logo">
            <a:extLst>
              <a:ext uri="{FF2B5EF4-FFF2-40B4-BE49-F238E27FC236}">
                <a16:creationId xmlns:a16="http://schemas.microsoft.com/office/drawing/2014/main" id="{B22E0BF9-4067-40CA-A9FE-D8554608642D}"/>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bwMode="gray">
          <a:xfrm>
            <a:off x="10128448" y="335757"/>
            <a:ext cx="1358180" cy="576000"/>
          </a:xfrm>
          <a:prstGeom prst="rect">
            <a:avLst/>
          </a:prstGeom>
        </p:spPr>
      </p:pic>
      <p:sp>
        <p:nvSpPr>
          <p:cNvPr id="378" name="Title">
            <a:extLst>
              <a:ext uri="{FF2B5EF4-FFF2-40B4-BE49-F238E27FC236}">
                <a16:creationId xmlns:a16="http://schemas.microsoft.com/office/drawing/2014/main" id="{7ABDD20F-4476-53EF-A6A3-29389D4115C4}"/>
              </a:ext>
            </a:extLst>
          </p:cNvPr>
          <p:cNvSpPr>
            <a:spLocks noGrp="1"/>
          </p:cNvSpPr>
          <p:nvPr>
            <p:ph type="ctrTitle" hasCustomPrompt="1"/>
          </p:nvPr>
        </p:nvSpPr>
        <p:spPr bwMode="gray">
          <a:xfrm>
            <a:off x="4583809" y="2205400"/>
            <a:ext cx="4968575" cy="1367992"/>
          </a:xfrm>
          <a:prstGeom prst="rect">
            <a:avLst/>
          </a:prstGeom>
        </p:spPr>
        <p:txBody>
          <a:bodyPr vert="horz" tIns="54000" anchor="t">
            <a:noAutofit/>
          </a:bodyPr>
          <a:lstStyle>
            <a:lvl1pPr algn="l">
              <a:lnSpc>
                <a:spcPct val="90000"/>
              </a:lnSpc>
              <a:defRPr sz="3000" baseline="0">
                <a:solidFill>
                  <a:schemeClr val="tx1"/>
                </a:solidFill>
              </a:defRPr>
            </a:lvl1pPr>
          </a:lstStyle>
          <a:p>
            <a:r>
              <a:rPr lang="en-GB" dirty="0"/>
              <a:t>Insert your long title of presentation here in maximal three lines</a:t>
            </a:r>
          </a:p>
        </p:txBody>
      </p:sp>
      <p:sp>
        <p:nvSpPr>
          <p:cNvPr id="379" name="Subtitle 2">
            <a:extLst>
              <a:ext uri="{FF2B5EF4-FFF2-40B4-BE49-F238E27FC236}">
                <a16:creationId xmlns:a16="http://schemas.microsoft.com/office/drawing/2014/main" id="{D8FF4764-A9E4-0137-5DCC-0B66023B814A}"/>
              </a:ext>
            </a:extLst>
          </p:cNvPr>
          <p:cNvSpPr>
            <a:spLocks noGrp="1"/>
          </p:cNvSpPr>
          <p:nvPr>
            <p:ph type="subTitle" idx="1" hasCustomPrompt="1"/>
          </p:nvPr>
        </p:nvSpPr>
        <p:spPr bwMode="gray">
          <a:xfrm>
            <a:off x="4583809" y="3789400"/>
            <a:ext cx="4392511" cy="1080000"/>
          </a:xfrm>
          <a:prstGeom prst="rect">
            <a:avLst/>
          </a:prstGeom>
        </p:spPr>
        <p:txBody>
          <a:bodyPr/>
          <a:lstStyle>
            <a:lvl1pPr marL="0" indent="0" algn="l">
              <a:lnSpc>
                <a:spcPct val="100000"/>
              </a:lnSpc>
              <a:spcBef>
                <a:spcPts val="0"/>
              </a:spcBef>
              <a:buNone/>
              <a:defRPr sz="2000" b="0">
                <a:solidFill>
                  <a:schemeClr val="tx1"/>
                </a:solidFill>
                <a:latin typeface="+mn-lt"/>
              </a:defRPr>
            </a:lvl1pPr>
            <a:lvl2pPr marL="0" indent="0" algn="l">
              <a:lnSpc>
                <a:spcPct val="100000"/>
              </a:lnSpc>
              <a:spcBef>
                <a:spcPts val="0"/>
              </a:spcBef>
              <a:buNone/>
              <a:defRPr sz="2000" b="0">
                <a:solidFill>
                  <a:schemeClr val="tx1"/>
                </a:solidFill>
                <a:latin typeface="+mn-lt"/>
              </a:defRPr>
            </a:lvl2pPr>
            <a:lvl3pPr marL="0" indent="0" algn="l">
              <a:lnSpc>
                <a:spcPct val="100000"/>
              </a:lnSpc>
              <a:spcBef>
                <a:spcPts val="0"/>
              </a:spcBef>
              <a:buNone/>
              <a:defRPr sz="2000" b="0">
                <a:solidFill>
                  <a:schemeClr val="tx1"/>
                </a:solidFill>
                <a:latin typeface="+mn-lt"/>
              </a:defRPr>
            </a:lvl3pPr>
            <a:lvl4pPr marL="0" indent="0" algn="l">
              <a:lnSpc>
                <a:spcPct val="100000"/>
              </a:lnSpc>
              <a:spcBef>
                <a:spcPts val="0"/>
              </a:spcBef>
              <a:buNone/>
              <a:defRPr sz="2000" b="0">
                <a:solidFill>
                  <a:schemeClr val="tx1"/>
                </a:solidFill>
                <a:latin typeface="+mn-lt"/>
              </a:defRPr>
            </a:lvl4pPr>
            <a:lvl5pPr marL="0" indent="0" algn="l">
              <a:lnSpc>
                <a:spcPct val="100000"/>
              </a:lnSpc>
              <a:spcBef>
                <a:spcPts val="0"/>
              </a:spcBef>
              <a:buNone/>
              <a:defRPr sz="2000" b="0">
                <a:solidFill>
                  <a:schemeClr val="tx1"/>
                </a:solidFill>
                <a:latin typeface="+mn-lt"/>
              </a:defRPr>
            </a:lvl5pPr>
            <a:lvl6pPr marL="0" indent="0" algn="l">
              <a:lnSpc>
                <a:spcPct val="100000"/>
              </a:lnSpc>
              <a:spcBef>
                <a:spcPts val="0"/>
              </a:spcBef>
              <a:buNone/>
              <a:defRPr sz="2000" b="0">
                <a:solidFill>
                  <a:schemeClr val="tx1"/>
                </a:solidFill>
                <a:latin typeface="+mn-lt"/>
              </a:defRPr>
            </a:lvl6pPr>
            <a:lvl7pPr marL="0" indent="0" algn="l">
              <a:lnSpc>
                <a:spcPct val="100000"/>
              </a:lnSpc>
              <a:spcBef>
                <a:spcPts val="0"/>
              </a:spcBef>
              <a:buNone/>
              <a:defRPr sz="2000" b="0">
                <a:solidFill>
                  <a:schemeClr val="tx1"/>
                </a:solidFill>
                <a:latin typeface="+mn-lt"/>
              </a:defRPr>
            </a:lvl7pPr>
            <a:lvl8pPr marL="0" indent="0" algn="l">
              <a:lnSpc>
                <a:spcPct val="100000"/>
              </a:lnSpc>
              <a:spcBef>
                <a:spcPts val="0"/>
              </a:spcBef>
              <a:buNone/>
              <a:defRPr sz="2000" b="0">
                <a:solidFill>
                  <a:schemeClr val="tx1"/>
                </a:solidFill>
                <a:latin typeface="+mn-lt"/>
              </a:defRPr>
            </a:lvl8pPr>
            <a:lvl9pPr marL="0" indent="0" algn="l">
              <a:lnSpc>
                <a:spcPct val="100000"/>
              </a:lnSpc>
              <a:spcBef>
                <a:spcPts val="0"/>
              </a:spcBef>
              <a:buNone/>
              <a:defRPr sz="2000" b="0">
                <a:solidFill>
                  <a:schemeClr val="tx1"/>
                </a:solidFill>
                <a:latin typeface="+mn-lt"/>
              </a:defRPr>
            </a:lvl9pPr>
          </a:lstStyle>
          <a:p>
            <a:r>
              <a:rPr lang="en-GB" dirty="0"/>
              <a:t>Insert here your subtitle</a:t>
            </a:r>
          </a:p>
        </p:txBody>
      </p:sp>
      <p:sp>
        <p:nvSpPr>
          <p:cNvPr id="380" name="Author">
            <a:extLst>
              <a:ext uri="{FF2B5EF4-FFF2-40B4-BE49-F238E27FC236}">
                <a16:creationId xmlns:a16="http://schemas.microsoft.com/office/drawing/2014/main" id="{2A45C266-9DD8-CD86-325D-8A83652A4754}"/>
              </a:ext>
            </a:extLst>
          </p:cNvPr>
          <p:cNvSpPr>
            <a:spLocks noGrp="1"/>
          </p:cNvSpPr>
          <p:nvPr>
            <p:ph type="body" sz="quarter" idx="14" hasCustomPrompt="1"/>
          </p:nvPr>
        </p:nvSpPr>
        <p:spPr bwMode="gray">
          <a:xfrm>
            <a:off x="695400" y="2277400"/>
            <a:ext cx="2807728" cy="216000"/>
          </a:xfrm>
          <a:prstGeom prst="rect">
            <a:avLst/>
          </a:prstGeom>
          <a:solidFill>
            <a:schemeClr val="bg1"/>
          </a:solidFill>
          <a:ln w="127">
            <a:solidFill>
              <a:schemeClr val="bg1"/>
            </a:solidFill>
          </a:ln>
        </p:spPr>
        <p:txBody>
          <a:bodyPr wrap="square" lIns="216000" rIns="216000"/>
          <a:lstStyle>
            <a:lvl1pPr marL="0" indent="0">
              <a:lnSpc>
                <a:spcPct val="100000"/>
              </a:lnSpc>
              <a:spcBef>
                <a:spcPts val="0"/>
              </a:spcBef>
              <a:buFont typeface="Arial" panose="020B0604020202020204" pitchFamily="34" charset="0"/>
              <a:buNone/>
              <a:defRPr sz="1200" b="0">
                <a:latin typeface="+mj-lt"/>
              </a:defRPr>
            </a:lvl1pPr>
            <a:lvl2pPr marL="0" indent="0">
              <a:lnSpc>
                <a:spcPct val="100000"/>
              </a:lnSpc>
              <a:spcBef>
                <a:spcPts val="0"/>
              </a:spcBef>
              <a:buFont typeface="Arial" panose="020B0604020202020204" pitchFamily="34" charset="0"/>
              <a:buNone/>
              <a:defRPr sz="1200" b="0">
                <a:latin typeface="+mj-lt"/>
              </a:defRPr>
            </a:lvl2pPr>
            <a:lvl3pPr marL="0" indent="0">
              <a:lnSpc>
                <a:spcPct val="100000"/>
              </a:lnSpc>
              <a:spcBef>
                <a:spcPts val="0"/>
              </a:spcBef>
              <a:buFont typeface="Arial" panose="020B0604020202020204" pitchFamily="34" charset="0"/>
              <a:buNone/>
              <a:defRPr sz="1200" b="0">
                <a:latin typeface="+mj-lt"/>
              </a:defRPr>
            </a:lvl3pPr>
            <a:lvl4pPr marL="0" indent="0">
              <a:lnSpc>
                <a:spcPct val="100000"/>
              </a:lnSpc>
              <a:spcBef>
                <a:spcPts val="0"/>
              </a:spcBef>
              <a:buFont typeface="Arial" panose="020B0604020202020204" pitchFamily="34" charset="0"/>
              <a:buNone/>
              <a:defRPr sz="1200" b="0">
                <a:latin typeface="+mj-lt"/>
              </a:defRPr>
            </a:lvl4pPr>
            <a:lvl5pPr marL="0" indent="0">
              <a:lnSpc>
                <a:spcPct val="100000"/>
              </a:lnSpc>
              <a:spcBef>
                <a:spcPts val="0"/>
              </a:spcBef>
              <a:buFont typeface="Arial" panose="020B0604020202020204" pitchFamily="34" charset="0"/>
              <a:buNone/>
              <a:defRPr sz="1200" b="0">
                <a:latin typeface="+mj-lt"/>
              </a:defRPr>
            </a:lvl5pPr>
            <a:lvl6pPr marL="0" indent="0">
              <a:lnSpc>
                <a:spcPct val="100000"/>
              </a:lnSpc>
              <a:spcBef>
                <a:spcPts val="0"/>
              </a:spcBef>
              <a:buNone/>
              <a:defRPr sz="1200" b="0">
                <a:latin typeface="+mj-lt"/>
              </a:defRPr>
            </a:lvl6pPr>
            <a:lvl7pPr marL="0" indent="0">
              <a:lnSpc>
                <a:spcPct val="100000"/>
              </a:lnSpc>
              <a:spcBef>
                <a:spcPts val="0"/>
              </a:spcBef>
              <a:buNone/>
              <a:defRPr sz="1200" b="0">
                <a:latin typeface="+mj-lt"/>
              </a:defRPr>
            </a:lvl7pPr>
            <a:lvl8pPr marL="0" indent="0">
              <a:lnSpc>
                <a:spcPct val="100000"/>
              </a:lnSpc>
              <a:spcBef>
                <a:spcPts val="0"/>
              </a:spcBef>
              <a:buNone/>
              <a:defRPr sz="1200" b="0">
                <a:latin typeface="+mj-lt"/>
              </a:defRPr>
            </a:lvl8pPr>
            <a:lvl9pPr marL="0" indent="0">
              <a:lnSpc>
                <a:spcPct val="100000"/>
              </a:lnSpc>
              <a:spcBef>
                <a:spcPts val="0"/>
              </a:spcBef>
              <a:buNone/>
              <a:defRPr sz="1200" b="0">
                <a:latin typeface="+mj-lt"/>
              </a:defRPr>
            </a:lvl9pPr>
          </a:lstStyle>
          <a:p>
            <a:pPr lvl="0"/>
            <a:r>
              <a:rPr lang="en-GB" dirty="0"/>
              <a:t>First name Last name</a:t>
            </a:r>
          </a:p>
        </p:txBody>
      </p:sp>
      <p:sp>
        <p:nvSpPr>
          <p:cNvPr id="381" name="Department, Date">
            <a:extLst>
              <a:ext uri="{FF2B5EF4-FFF2-40B4-BE49-F238E27FC236}">
                <a16:creationId xmlns:a16="http://schemas.microsoft.com/office/drawing/2014/main" id="{A2F60D95-E9C6-7D32-53FB-DB9AC79BCE17}"/>
              </a:ext>
            </a:extLst>
          </p:cNvPr>
          <p:cNvSpPr>
            <a:spLocks noGrp="1"/>
          </p:cNvSpPr>
          <p:nvPr>
            <p:ph type="body" sz="quarter" idx="15" hasCustomPrompt="1"/>
          </p:nvPr>
        </p:nvSpPr>
        <p:spPr bwMode="gray">
          <a:xfrm>
            <a:off x="695400" y="2493400"/>
            <a:ext cx="2807728" cy="1007608"/>
          </a:xfrm>
          <a:prstGeom prst="rect">
            <a:avLst/>
          </a:prstGeom>
          <a:solidFill>
            <a:schemeClr val="bg1"/>
          </a:solidFill>
          <a:ln w="127">
            <a:solidFill>
              <a:schemeClr val="bg1"/>
            </a:solidFill>
          </a:ln>
        </p:spPr>
        <p:txBody>
          <a:bodyPr wrap="square" lIns="216000" rIns="216000"/>
          <a:lstStyle>
            <a:lvl1pPr marL="0" indent="0">
              <a:lnSpc>
                <a:spcPct val="100000"/>
              </a:lnSpc>
              <a:spcBef>
                <a:spcPts val="0"/>
              </a:spcBef>
              <a:buFont typeface="Arial" panose="020B0604020202020204" pitchFamily="34" charset="0"/>
              <a:buNone/>
              <a:defRPr sz="1200" i="1">
                <a:latin typeface="+mn-lt"/>
              </a:defRPr>
            </a:lvl1pPr>
            <a:lvl2pPr marL="0" indent="0">
              <a:lnSpc>
                <a:spcPct val="100000"/>
              </a:lnSpc>
              <a:spcBef>
                <a:spcPts val="0"/>
              </a:spcBef>
              <a:buFont typeface="Arial" panose="020B0604020202020204" pitchFamily="34" charset="0"/>
              <a:buNone/>
              <a:defRPr sz="1200" i="1">
                <a:latin typeface="+mn-lt"/>
              </a:defRPr>
            </a:lvl2pPr>
            <a:lvl3pPr marL="0" indent="0">
              <a:lnSpc>
                <a:spcPct val="100000"/>
              </a:lnSpc>
              <a:spcBef>
                <a:spcPts val="0"/>
              </a:spcBef>
              <a:buFont typeface="Arial" panose="020B0604020202020204" pitchFamily="34" charset="0"/>
              <a:buNone/>
              <a:defRPr sz="1200" i="1">
                <a:latin typeface="+mn-lt"/>
              </a:defRPr>
            </a:lvl3pPr>
            <a:lvl4pPr marL="0" indent="0">
              <a:lnSpc>
                <a:spcPct val="100000"/>
              </a:lnSpc>
              <a:spcBef>
                <a:spcPts val="0"/>
              </a:spcBef>
              <a:buFont typeface="Arial" panose="020B0604020202020204" pitchFamily="34" charset="0"/>
              <a:buNone/>
              <a:defRPr sz="1200" i="1">
                <a:latin typeface="+mn-lt"/>
              </a:defRPr>
            </a:lvl4pPr>
            <a:lvl5pPr marL="0" indent="0">
              <a:lnSpc>
                <a:spcPct val="100000"/>
              </a:lnSpc>
              <a:spcBef>
                <a:spcPts val="0"/>
              </a:spcBef>
              <a:buFont typeface="Arial" panose="020B0604020202020204" pitchFamily="34" charset="0"/>
              <a:buNone/>
              <a:defRPr sz="1200" i="1">
                <a:latin typeface="+mn-lt"/>
              </a:defRPr>
            </a:lvl5pPr>
            <a:lvl6pPr marL="0" indent="0">
              <a:lnSpc>
                <a:spcPct val="100000"/>
              </a:lnSpc>
              <a:spcBef>
                <a:spcPts val="0"/>
              </a:spcBef>
              <a:buNone/>
              <a:defRPr sz="1200" i="1">
                <a:latin typeface="+mn-lt"/>
              </a:defRPr>
            </a:lvl6pPr>
            <a:lvl7pPr marL="0" indent="0">
              <a:lnSpc>
                <a:spcPct val="100000"/>
              </a:lnSpc>
              <a:spcBef>
                <a:spcPts val="0"/>
              </a:spcBef>
              <a:buNone/>
              <a:defRPr sz="1200" i="1">
                <a:latin typeface="+mn-lt"/>
              </a:defRPr>
            </a:lvl7pPr>
            <a:lvl8pPr marL="0" indent="0">
              <a:lnSpc>
                <a:spcPct val="100000"/>
              </a:lnSpc>
              <a:spcBef>
                <a:spcPts val="0"/>
              </a:spcBef>
              <a:buNone/>
              <a:defRPr sz="1200" i="1">
                <a:latin typeface="+mn-lt"/>
              </a:defRPr>
            </a:lvl8pPr>
            <a:lvl9pPr marL="0" indent="0">
              <a:lnSpc>
                <a:spcPct val="100000"/>
              </a:lnSpc>
              <a:spcBef>
                <a:spcPts val="0"/>
              </a:spcBef>
              <a:buNone/>
              <a:defRPr sz="1200" i="1">
                <a:latin typeface="+mn-lt"/>
              </a:defRPr>
            </a:lvl9pPr>
          </a:lstStyle>
          <a:p>
            <a:pPr lvl="0"/>
            <a:r>
              <a:rPr lang="en-GB" dirty="0"/>
              <a:t>Department</a:t>
            </a:r>
            <a:br>
              <a:rPr lang="en-GB" dirty="0"/>
            </a:br>
            <a:r>
              <a:rPr lang="en-GB" dirty="0"/>
              <a:t>DD/MM/YYYY</a:t>
            </a:r>
          </a:p>
        </p:txBody>
      </p:sp>
    </p:spTree>
    <p:extLst>
      <p:ext uri="{BB962C8B-B14F-4D97-AF65-F5344CB8AC3E}">
        <p14:creationId xmlns:p14="http://schemas.microsoft.com/office/powerpoint/2010/main" val="3917286372"/>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 contacts">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D37E9F0-6A5F-BA9A-72DA-7D1215B55906}"/>
              </a:ext>
            </a:extLst>
          </p:cNvPr>
          <p:cNvGraphicFramePr>
            <a:graphicFrameLocks noChangeAspect="1"/>
          </p:cNvGraphicFramePr>
          <p:nvPr userDrawn="1">
            <p:custDataLst>
              <p:tags r:id="rId1"/>
            </p:custDataLst>
            <p:extLst>
              <p:ext uri="{D42A27DB-BD31-4B8C-83A1-F6EECF244321}">
                <p14:modId xmlns:p14="http://schemas.microsoft.com/office/powerpoint/2010/main" val="198237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3" name="Objekt 2" hidden="1">
                        <a:extLst>
                          <a:ext uri="{FF2B5EF4-FFF2-40B4-BE49-F238E27FC236}">
                            <a16:creationId xmlns:a16="http://schemas.microsoft.com/office/drawing/2014/main" id="{BD37E9F0-6A5F-BA9A-72DA-7D1215B5590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a:extLst>
              <a:ext uri="{FF2B5EF4-FFF2-40B4-BE49-F238E27FC236}">
                <a16:creationId xmlns:a16="http://schemas.microsoft.com/office/drawing/2014/main" id="{CA5E4281-7DAB-4B66-B128-B1580F2596D2}"/>
              </a:ext>
            </a:extLst>
          </p:cNvPr>
          <p:cNvSpPr>
            <a:spLocks noGrp="1"/>
          </p:cNvSpPr>
          <p:nvPr>
            <p:ph type="title" hasCustomPrompt="1"/>
          </p:nvPr>
        </p:nvSpPr>
        <p:spPr bwMode="gray"/>
        <p:txBody>
          <a:bodyPr vert="horz"/>
          <a:lstStyle>
            <a:lvl1pPr>
              <a:defRPr/>
            </a:lvl1pPr>
          </a:lstStyle>
          <a:p>
            <a:r>
              <a:rPr lang="en-GB"/>
              <a:t>Insert your headline in Lato Heavy 24 pt here</a:t>
            </a:r>
            <a:endParaRPr lang="en-GB" dirty="0"/>
          </a:p>
        </p:txBody>
      </p:sp>
      <p:sp>
        <p:nvSpPr>
          <p:cNvPr id="62" name="Shape">
            <a:extLst>
              <a:ext uri="{FF2B5EF4-FFF2-40B4-BE49-F238E27FC236}">
                <a16:creationId xmlns:a16="http://schemas.microsoft.com/office/drawing/2014/main" id="{16825BDD-BB1B-4D1C-B52B-7933359BD6A1}"/>
              </a:ext>
              <a:ext uri="{C183D7F6-B498-43B3-948B-1728B52AA6E4}">
                <adec:decorative xmlns:adec="http://schemas.microsoft.com/office/drawing/2017/decorative" val="1"/>
              </a:ext>
            </a:extLst>
          </p:cNvPr>
          <p:cNvSpPr/>
          <p:nvPr userDrawn="1"/>
        </p:nvSpPr>
        <p:spPr bwMode="gray">
          <a:xfrm>
            <a:off x="335360" y="1484784"/>
            <a:ext cx="5184824" cy="201622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4" name="Picture Placeholder 3">
            <a:extLst>
              <a:ext uri="{FF2B5EF4-FFF2-40B4-BE49-F238E27FC236}">
                <a16:creationId xmlns:a16="http://schemas.microsoft.com/office/drawing/2014/main" id="{96D1107F-3E3A-3C4B-8256-95C871BFFA2C}"/>
              </a:ext>
            </a:extLst>
          </p:cNvPr>
          <p:cNvSpPr>
            <a:spLocks noGrp="1"/>
          </p:cNvSpPr>
          <p:nvPr>
            <p:ph type="pic" sz="quarter" idx="17" hasCustomPrompt="1"/>
          </p:nvPr>
        </p:nvSpPr>
        <p:spPr bwMode="gray">
          <a:xfrm>
            <a:off x="551672" y="1700784"/>
            <a:ext cx="1368000" cy="1584000"/>
          </a:xfrm>
          <a:prstGeom prst="rect">
            <a:avLst/>
          </a:prstGeom>
          <a:solidFill>
            <a:srgbClr val="D9DADB"/>
          </a:solidFill>
        </p:spPr>
        <p:txBody>
          <a:bodyPr/>
          <a:lstStyle>
            <a:lvl1pPr marL="0" indent="0">
              <a:buNone/>
              <a:defRPr sz="1400"/>
            </a:lvl1pPr>
          </a:lstStyle>
          <a:p>
            <a:r>
              <a:rPr lang="en-GB"/>
              <a:t> </a:t>
            </a:r>
            <a:endParaRPr lang="en-GB" dirty="0"/>
          </a:p>
        </p:txBody>
      </p:sp>
      <p:sp>
        <p:nvSpPr>
          <p:cNvPr id="95" name="Text Placeholder 5">
            <a:extLst>
              <a:ext uri="{FF2B5EF4-FFF2-40B4-BE49-F238E27FC236}">
                <a16:creationId xmlns:a16="http://schemas.microsoft.com/office/drawing/2014/main" id="{9E6D6A14-7FC7-2E46-8CC2-5CA4E5211990}"/>
              </a:ext>
            </a:extLst>
          </p:cNvPr>
          <p:cNvSpPr>
            <a:spLocks noGrp="1"/>
          </p:cNvSpPr>
          <p:nvPr>
            <p:ph type="body" sz="quarter" idx="19" hasCustomPrompt="1"/>
          </p:nvPr>
        </p:nvSpPr>
        <p:spPr bwMode="gray">
          <a:xfrm>
            <a:off x="2207904" y="1700784"/>
            <a:ext cx="3024000" cy="216000"/>
          </a:xfrm>
          <a:prstGeom prst="rect">
            <a:avLst/>
          </a:prstGeom>
        </p:spPr>
        <p:txBody>
          <a:bodyPr lIns="0" tIns="0" rIns="0" bIns="0" anchor="t" anchorCtr="0"/>
          <a:lstStyle>
            <a:lvl1pPr marL="0" indent="0" algn="l">
              <a:lnSpc>
                <a:spcPct val="100000"/>
              </a:lnSpc>
              <a:spcBef>
                <a:spcPts val="0"/>
              </a:spcBef>
              <a:buFont typeface="Arial" panose="020B0604020202020204" pitchFamily="34" charset="0"/>
              <a:buNone/>
              <a:defRPr sz="900" b="0" cap="all" baseline="0">
                <a:solidFill>
                  <a:schemeClr val="bg1"/>
                </a:solidFill>
                <a:latin typeface="+mn-lt"/>
              </a:defRPr>
            </a:lvl1pPr>
            <a:lvl2pPr marL="0" indent="0">
              <a:lnSpc>
                <a:spcPct val="100000"/>
              </a:lnSpc>
              <a:spcBef>
                <a:spcPts val="0"/>
              </a:spcBef>
              <a:buFont typeface="Arial" panose="020B0604020202020204" pitchFamily="34" charset="0"/>
              <a:buNone/>
              <a:defRPr sz="900" b="0" cap="all" baseline="0">
                <a:solidFill>
                  <a:schemeClr val="bg1"/>
                </a:solidFill>
                <a:latin typeface="+mn-lt"/>
              </a:defRPr>
            </a:lvl2pPr>
            <a:lvl3pPr marL="0" indent="0">
              <a:lnSpc>
                <a:spcPct val="100000"/>
              </a:lnSpc>
              <a:spcBef>
                <a:spcPts val="0"/>
              </a:spcBef>
              <a:buFont typeface="Arial" panose="020B0604020202020204" pitchFamily="34" charset="0"/>
              <a:buNone/>
              <a:defRPr sz="900" b="0" cap="all" baseline="0">
                <a:solidFill>
                  <a:schemeClr val="bg1"/>
                </a:solidFill>
                <a:latin typeface="+mn-lt"/>
              </a:defRPr>
            </a:lvl3pPr>
            <a:lvl4pPr marL="0" indent="0">
              <a:lnSpc>
                <a:spcPct val="100000"/>
              </a:lnSpc>
              <a:spcBef>
                <a:spcPts val="0"/>
              </a:spcBef>
              <a:buFont typeface="Arial" panose="020B0604020202020204" pitchFamily="34" charset="0"/>
              <a:buNone/>
              <a:defRPr sz="900" b="0" cap="all" baseline="0">
                <a:solidFill>
                  <a:schemeClr val="bg1"/>
                </a:solidFill>
                <a:latin typeface="+mn-lt"/>
              </a:defRPr>
            </a:lvl4pPr>
            <a:lvl5pPr marL="0" indent="0">
              <a:lnSpc>
                <a:spcPct val="100000"/>
              </a:lnSpc>
              <a:spcBef>
                <a:spcPts val="0"/>
              </a:spcBef>
              <a:buFont typeface="Arial" panose="020B0604020202020204" pitchFamily="34" charset="0"/>
              <a:buNone/>
              <a:defRPr sz="900" b="0" cap="all" baseline="0">
                <a:solidFill>
                  <a:schemeClr val="bg1"/>
                </a:solidFill>
                <a:latin typeface="+mn-lt"/>
              </a:defRPr>
            </a:lvl5pPr>
            <a:lvl6pPr marL="0" indent="0">
              <a:spcBef>
                <a:spcPts val="0"/>
              </a:spcBef>
              <a:buNone/>
              <a:defRPr sz="900" b="0" cap="all" baseline="0">
                <a:solidFill>
                  <a:schemeClr val="bg1"/>
                </a:solidFill>
                <a:latin typeface="+mn-lt"/>
              </a:defRPr>
            </a:lvl6pPr>
            <a:lvl7pPr marL="0" indent="0">
              <a:spcBef>
                <a:spcPts val="0"/>
              </a:spcBef>
              <a:buNone/>
              <a:defRPr sz="900" b="0" cap="all" baseline="0">
                <a:solidFill>
                  <a:schemeClr val="bg1"/>
                </a:solidFill>
                <a:latin typeface="+mn-lt"/>
              </a:defRPr>
            </a:lvl7pPr>
            <a:lvl8pPr marL="0" indent="0">
              <a:spcBef>
                <a:spcPts val="0"/>
              </a:spcBef>
              <a:buNone/>
              <a:defRPr sz="900" b="0" cap="all" baseline="0">
                <a:solidFill>
                  <a:schemeClr val="bg1"/>
                </a:solidFill>
                <a:latin typeface="+mn-lt"/>
              </a:defRPr>
            </a:lvl8pPr>
            <a:lvl9pPr marL="0" indent="0">
              <a:spcBef>
                <a:spcPts val="0"/>
              </a:spcBef>
              <a:buNone/>
              <a:defRPr sz="900" b="0" cap="all" baseline="0">
                <a:solidFill>
                  <a:schemeClr val="bg1"/>
                </a:solidFill>
                <a:latin typeface="+mn-lt"/>
              </a:defRPr>
            </a:lvl9pPr>
          </a:lstStyle>
          <a:p>
            <a:pPr lvl="0"/>
            <a:r>
              <a:rPr lang="en-GB"/>
              <a:t>Country</a:t>
            </a:r>
            <a:endParaRPr lang="en-GB" dirty="0"/>
          </a:p>
        </p:txBody>
      </p:sp>
      <p:sp>
        <p:nvSpPr>
          <p:cNvPr id="96" name="Text Placeholder 5">
            <a:extLst>
              <a:ext uri="{FF2B5EF4-FFF2-40B4-BE49-F238E27FC236}">
                <a16:creationId xmlns:a16="http://schemas.microsoft.com/office/drawing/2014/main" id="{F98B3B28-1889-DA4F-A2D1-BD173114DC3B}"/>
              </a:ext>
            </a:extLst>
          </p:cNvPr>
          <p:cNvSpPr>
            <a:spLocks noGrp="1"/>
          </p:cNvSpPr>
          <p:nvPr>
            <p:ph type="body" sz="quarter" idx="20" hasCustomPrompt="1"/>
          </p:nvPr>
        </p:nvSpPr>
        <p:spPr bwMode="gray">
          <a:xfrm>
            <a:off x="2207904" y="2060784"/>
            <a:ext cx="3024000"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baseline="0">
                <a:solidFill>
                  <a:schemeClr val="bg1"/>
                </a:solidFill>
                <a:latin typeface="+mj-lt"/>
              </a:defRPr>
            </a:lvl1pPr>
            <a:lvl2pPr marL="0" indent="0">
              <a:lnSpc>
                <a:spcPct val="100000"/>
              </a:lnSpc>
              <a:spcBef>
                <a:spcPts val="0"/>
              </a:spcBef>
              <a:buFont typeface="Arial" panose="020B0604020202020204" pitchFamily="34" charset="0"/>
              <a:buNone/>
              <a:defRPr sz="1100" b="0">
                <a:solidFill>
                  <a:schemeClr val="bg1"/>
                </a:solidFill>
                <a:latin typeface="+mj-lt"/>
              </a:defRPr>
            </a:lvl2pPr>
            <a:lvl3pPr marL="0" indent="0">
              <a:lnSpc>
                <a:spcPct val="100000"/>
              </a:lnSpc>
              <a:spcBef>
                <a:spcPts val="0"/>
              </a:spcBef>
              <a:buFont typeface="Arial" panose="020B0604020202020204" pitchFamily="34" charset="0"/>
              <a:buNone/>
              <a:defRPr sz="1100" b="0">
                <a:solidFill>
                  <a:schemeClr val="bg1"/>
                </a:solidFill>
                <a:latin typeface="+mj-lt"/>
              </a:defRPr>
            </a:lvl3pPr>
            <a:lvl4pPr marL="0" indent="0">
              <a:lnSpc>
                <a:spcPct val="100000"/>
              </a:lnSpc>
              <a:spcBef>
                <a:spcPts val="0"/>
              </a:spcBef>
              <a:buFont typeface="Arial" panose="020B0604020202020204" pitchFamily="34" charset="0"/>
              <a:buNone/>
              <a:defRPr sz="1100" b="0">
                <a:solidFill>
                  <a:schemeClr val="bg1"/>
                </a:solidFill>
                <a:latin typeface="+mj-lt"/>
              </a:defRPr>
            </a:lvl4pPr>
            <a:lvl5pPr marL="0" indent="0">
              <a:lnSpc>
                <a:spcPct val="100000"/>
              </a:lnSpc>
              <a:spcBef>
                <a:spcPts val="0"/>
              </a:spcBef>
              <a:buFont typeface="Arial" panose="020B0604020202020204" pitchFamily="34" charset="0"/>
              <a:buNone/>
              <a:defRPr sz="1100" b="0">
                <a:solidFill>
                  <a:schemeClr val="bg1"/>
                </a:solidFill>
                <a:latin typeface="+mj-lt"/>
              </a:defRPr>
            </a:lvl5pPr>
            <a:lvl6pPr marL="0" indent="0">
              <a:spcBef>
                <a:spcPts val="0"/>
              </a:spcBef>
              <a:buNone/>
              <a:defRPr sz="1100" b="0">
                <a:solidFill>
                  <a:schemeClr val="bg1"/>
                </a:solidFill>
                <a:latin typeface="+mj-lt"/>
              </a:defRPr>
            </a:lvl6pPr>
            <a:lvl7pPr marL="0" indent="0">
              <a:spcBef>
                <a:spcPts val="0"/>
              </a:spcBef>
              <a:buNone/>
              <a:defRPr sz="1100" b="0">
                <a:solidFill>
                  <a:schemeClr val="bg1"/>
                </a:solidFill>
                <a:latin typeface="+mj-lt"/>
              </a:defRPr>
            </a:lvl7pPr>
            <a:lvl8pPr marL="0" indent="0">
              <a:spcBef>
                <a:spcPts val="0"/>
              </a:spcBef>
              <a:buNone/>
              <a:defRPr sz="1100" b="0">
                <a:solidFill>
                  <a:schemeClr val="bg1"/>
                </a:solidFill>
                <a:latin typeface="+mj-lt"/>
              </a:defRPr>
            </a:lvl8pPr>
            <a:lvl9pPr marL="0" indent="0">
              <a:spcBef>
                <a:spcPts val="0"/>
              </a:spcBef>
              <a:buNone/>
              <a:defRPr sz="1100" b="0">
                <a:solidFill>
                  <a:schemeClr val="bg1"/>
                </a:solidFill>
                <a:latin typeface="+mj-lt"/>
              </a:defRPr>
            </a:lvl9pPr>
          </a:lstStyle>
          <a:p>
            <a:pPr lvl="0"/>
            <a:r>
              <a:rPr lang="en-GB"/>
              <a:t>Name Surname</a:t>
            </a:r>
            <a:endParaRPr lang="en-GB" dirty="0"/>
          </a:p>
        </p:txBody>
      </p:sp>
      <p:sp>
        <p:nvSpPr>
          <p:cNvPr id="97" name="Text Placeholder 5">
            <a:extLst>
              <a:ext uri="{FF2B5EF4-FFF2-40B4-BE49-F238E27FC236}">
                <a16:creationId xmlns:a16="http://schemas.microsoft.com/office/drawing/2014/main" id="{8AAA19EE-9DB4-474A-A321-C8153907CCE5}"/>
              </a:ext>
            </a:extLst>
          </p:cNvPr>
          <p:cNvSpPr>
            <a:spLocks noGrp="1"/>
          </p:cNvSpPr>
          <p:nvPr>
            <p:ph type="body" sz="quarter" idx="21" hasCustomPrompt="1"/>
          </p:nvPr>
        </p:nvSpPr>
        <p:spPr bwMode="gray">
          <a:xfrm>
            <a:off x="2207904" y="2276784"/>
            <a:ext cx="3024000" cy="216000"/>
          </a:xfrm>
          <a:prstGeom prst="rect">
            <a:avLst/>
          </a:prstGeom>
        </p:spPr>
        <p:txBody>
          <a:bodyPr lIns="0" tIns="36000" rIns="0" bIns="0" anchor="t"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a:t>Job Position</a:t>
            </a:r>
            <a:endParaRPr lang="en-GB" dirty="0"/>
          </a:p>
        </p:txBody>
      </p:sp>
      <p:sp>
        <p:nvSpPr>
          <p:cNvPr id="98" name="Text Placeholder 5">
            <a:extLst>
              <a:ext uri="{FF2B5EF4-FFF2-40B4-BE49-F238E27FC236}">
                <a16:creationId xmlns:a16="http://schemas.microsoft.com/office/drawing/2014/main" id="{B143D523-493C-BC4E-B1AA-5DB95154E377}"/>
              </a:ext>
            </a:extLst>
          </p:cNvPr>
          <p:cNvSpPr>
            <a:spLocks noGrp="1"/>
          </p:cNvSpPr>
          <p:nvPr>
            <p:ph type="body" sz="quarter" idx="22" hasCustomPrompt="1"/>
          </p:nvPr>
        </p:nvSpPr>
        <p:spPr bwMode="gray">
          <a:xfrm>
            <a:off x="2207904" y="2852784"/>
            <a:ext cx="3024000"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a:t>Phone number</a:t>
            </a:r>
            <a:endParaRPr lang="en-GB" dirty="0"/>
          </a:p>
        </p:txBody>
      </p:sp>
      <p:sp>
        <p:nvSpPr>
          <p:cNvPr id="99" name="Text Placeholder 5">
            <a:extLst>
              <a:ext uri="{FF2B5EF4-FFF2-40B4-BE49-F238E27FC236}">
                <a16:creationId xmlns:a16="http://schemas.microsoft.com/office/drawing/2014/main" id="{9D91B60C-53AD-284C-95D2-EDFB9B2E1C5D}"/>
              </a:ext>
            </a:extLst>
          </p:cNvPr>
          <p:cNvSpPr>
            <a:spLocks noGrp="1"/>
          </p:cNvSpPr>
          <p:nvPr>
            <p:ph type="body" sz="quarter" idx="23" hasCustomPrompt="1"/>
          </p:nvPr>
        </p:nvSpPr>
        <p:spPr bwMode="gray">
          <a:xfrm>
            <a:off x="2207904" y="3068784"/>
            <a:ext cx="3024000"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a:t>Email address</a:t>
            </a:r>
            <a:endParaRPr lang="en-GB" dirty="0"/>
          </a:p>
        </p:txBody>
      </p:sp>
      <p:sp>
        <p:nvSpPr>
          <p:cNvPr id="63" name="Shape">
            <a:extLst>
              <a:ext uri="{FF2B5EF4-FFF2-40B4-BE49-F238E27FC236}">
                <a16:creationId xmlns:a16="http://schemas.microsoft.com/office/drawing/2014/main" id="{B3761F59-E702-400C-BB3D-7C2F7DFAF9BF}"/>
              </a:ext>
              <a:ext uri="{C183D7F6-B498-43B3-948B-1728B52AA6E4}">
                <adec:decorative xmlns:adec="http://schemas.microsoft.com/office/drawing/2017/decorative" val="1"/>
              </a:ext>
            </a:extLst>
          </p:cNvPr>
          <p:cNvSpPr/>
          <p:nvPr userDrawn="1"/>
        </p:nvSpPr>
        <p:spPr bwMode="gray">
          <a:xfrm>
            <a:off x="6095752" y="1485297"/>
            <a:ext cx="5184824" cy="20154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119" name="Picture Placeholder 3">
            <a:extLst>
              <a:ext uri="{FF2B5EF4-FFF2-40B4-BE49-F238E27FC236}">
                <a16:creationId xmlns:a16="http://schemas.microsoft.com/office/drawing/2014/main" id="{B5007B33-0681-7C4B-8C02-A2115D4F5A85}"/>
              </a:ext>
            </a:extLst>
          </p:cNvPr>
          <p:cNvSpPr>
            <a:spLocks noGrp="1"/>
          </p:cNvSpPr>
          <p:nvPr>
            <p:ph type="pic" sz="quarter" idx="36" hasCustomPrompt="1"/>
          </p:nvPr>
        </p:nvSpPr>
        <p:spPr bwMode="gray">
          <a:xfrm>
            <a:off x="6312514" y="1700784"/>
            <a:ext cx="1368000" cy="1584000"/>
          </a:xfrm>
          <a:prstGeom prst="rect">
            <a:avLst/>
          </a:prstGeom>
          <a:solidFill>
            <a:srgbClr val="D9DADB"/>
          </a:solidFill>
        </p:spPr>
        <p:txBody>
          <a:bodyPr/>
          <a:lstStyle>
            <a:lvl1pPr marL="0" indent="0">
              <a:buNone/>
              <a:defRPr sz="1400"/>
            </a:lvl1pPr>
          </a:lstStyle>
          <a:p>
            <a:r>
              <a:rPr lang="en-GB"/>
              <a:t> </a:t>
            </a:r>
            <a:endParaRPr lang="en-GB" dirty="0"/>
          </a:p>
        </p:txBody>
      </p:sp>
      <p:sp>
        <p:nvSpPr>
          <p:cNvPr id="120" name="Text Placeholder 5">
            <a:extLst>
              <a:ext uri="{FF2B5EF4-FFF2-40B4-BE49-F238E27FC236}">
                <a16:creationId xmlns:a16="http://schemas.microsoft.com/office/drawing/2014/main" id="{7947A278-4541-C145-8A1A-805C82E2BEB2}"/>
              </a:ext>
            </a:extLst>
          </p:cNvPr>
          <p:cNvSpPr>
            <a:spLocks noGrp="1"/>
          </p:cNvSpPr>
          <p:nvPr>
            <p:ph type="body" sz="quarter" idx="37" hasCustomPrompt="1"/>
          </p:nvPr>
        </p:nvSpPr>
        <p:spPr bwMode="gray">
          <a:xfrm>
            <a:off x="7968296" y="1700784"/>
            <a:ext cx="3024000" cy="216000"/>
          </a:xfrm>
          <a:prstGeom prst="rect">
            <a:avLst/>
          </a:prstGeom>
        </p:spPr>
        <p:txBody>
          <a:bodyPr lIns="0" tIns="0" rIns="0" bIns="0" anchor="t" anchorCtr="0"/>
          <a:lstStyle>
            <a:lvl1pPr marL="0" indent="0" algn="l">
              <a:lnSpc>
                <a:spcPct val="100000"/>
              </a:lnSpc>
              <a:spcBef>
                <a:spcPts val="0"/>
              </a:spcBef>
              <a:buFont typeface="Arial" panose="020B0604020202020204" pitchFamily="34" charset="0"/>
              <a:buNone/>
              <a:defRPr sz="900" b="0" cap="all" baseline="0">
                <a:solidFill>
                  <a:schemeClr val="bg1"/>
                </a:solidFill>
                <a:latin typeface="+mn-lt"/>
              </a:defRPr>
            </a:lvl1pPr>
            <a:lvl2pPr marL="0" indent="0">
              <a:lnSpc>
                <a:spcPct val="100000"/>
              </a:lnSpc>
              <a:spcBef>
                <a:spcPts val="0"/>
              </a:spcBef>
              <a:buFont typeface="Arial" panose="020B0604020202020204" pitchFamily="34" charset="0"/>
              <a:buNone/>
              <a:defRPr sz="900" b="0" cap="all" baseline="0">
                <a:solidFill>
                  <a:schemeClr val="bg1"/>
                </a:solidFill>
                <a:latin typeface="+mn-lt"/>
              </a:defRPr>
            </a:lvl2pPr>
            <a:lvl3pPr marL="0" indent="0">
              <a:lnSpc>
                <a:spcPct val="100000"/>
              </a:lnSpc>
              <a:spcBef>
                <a:spcPts val="0"/>
              </a:spcBef>
              <a:buFont typeface="Arial" panose="020B0604020202020204" pitchFamily="34" charset="0"/>
              <a:buNone/>
              <a:defRPr sz="900" b="0" cap="all" baseline="0">
                <a:solidFill>
                  <a:schemeClr val="bg1"/>
                </a:solidFill>
                <a:latin typeface="+mn-lt"/>
              </a:defRPr>
            </a:lvl3pPr>
            <a:lvl4pPr marL="0" indent="0">
              <a:lnSpc>
                <a:spcPct val="100000"/>
              </a:lnSpc>
              <a:spcBef>
                <a:spcPts val="0"/>
              </a:spcBef>
              <a:buFont typeface="Arial" panose="020B0604020202020204" pitchFamily="34" charset="0"/>
              <a:buNone/>
              <a:defRPr sz="900" b="0" cap="all" baseline="0">
                <a:solidFill>
                  <a:schemeClr val="bg1"/>
                </a:solidFill>
                <a:latin typeface="+mn-lt"/>
              </a:defRPr>
            </a:lvl4pPr>
            <a:lvl5pPr marL="0" indent="0">
              <a:lnSpc>
                <a:spcPct val="100000"/>
              </a:lnSpc>
              <a:spcBef>
                <a:spcPts val="0"/>
              </a:spcBef>
              <a:buFont typeface="Arial" panose="020B0604020202020204" pitchFamily="34" charset="0"/>
              <a:buNone/>
              <a:defRPr sz="900" b="0" cap="all" baseline="0">
                <a:solidFill>
                  <a:schemeClr val="bg1"/>
                </a:solidFill>
                <a:latin typeface="+mn-lt"/>
              </a:defRPr>
            </a:lvl5pPr>
            <a:lvl6pPr marL="0" indent="0">
              <a:spcBef>
                <a:spcPts val="0"/>
              </a:spcBef>
              <a:buNone/>
              <a:defRPr sz="900" b="0" cap="all" baseline="0">
                <a:solidFill>
                  <a:schemeClr val="bg1"/>
                </a:solidFill>
                <a:latin typeface="+mn-lt"/>
              </a:defRPr>
            </a:lvl6pPr>
            <a:lvl7pPr marL="0" indent="0">
              <a:spcBef>
                <a:spcPts val="0"/>
              </a:spcBef>
              <a:buNone/>
              <a:defRPr sz="900" b="0" cap="all" baseline="0">
                <a:solidFill>
                  <a:schemeClr val="bg1"/>
                </a:solidFill>
                <a:latin typeface="+mn-lt"/>
              </a:defRPr>
            </a:lvl7pPr>
            <a:lvl8pPr marL="0" indent="0">
              <a:spcBef>
                <a:spcPts val="0"/>
              </a:spcBef>
              <a:buNone/>
              <a:defRPr sz="900" b="0" cap="all" baseline="0">
                <a:solidFill>
                  <a:schemeClr val="bg1"/>
                </a:solidFill>
                <a:latin typeface="+mn-lt"/>
              </a:defRPr>
            </a:lvl8pPr>
            <a:lvl9pPr marL="0" indent="0">
              <a:spcBef>
                <a:spcPts val="0"/>
              </a:spcBef>
              <a:buNone/>
              <a:defRPr sz="900" b="0" cap="all" baseline="0">
                <a:solidFill>
                  <a:schemeClr val="bg1"/>
                </a:solidFill>
                <a:latin typeface="+mn-lt"/>
              </a:defRPr>
            </a:lvl9pPr>
          </a:lstStyle>
          <a:p>
            <a:pPr lvl="0"/>
            <a:r>
              <a:rPr lang="en-GB"/>
              <a:t>Country</a:t>
            </a:r>
            <a:endParaRPr lang="en-GB" dirty="0"/>
          </a:p>
        </p:txBody>
      </p:sp>
      <p:sp>
        <p:nvSpPr>
          <p:cNvPr id="121" name="Text Placeholder 5">
            <a:extLst>
              <a:ext uri="{FF2B5EF4-FFF2-40B4-BE49-F238E27FC236}">
                <a16:creationId xmlns:a16="http://schemas.microsoft.com/office/drawing/2014/main" id="{AB572493-73FB-0646-BCF6-467CE0D18D0B}"/>
              </a:ext>
            </a:extLst>
          </p:cNvPr>
          <p:cNvSpPr>
            <a:spLocks noGrp="1"/>
          </p:cNvSpPr>
          <p:nvPr>
            <p:ph type="body" sz="quarter" idx="38" hasCustomPrompt="1"/>
          </p:nvPr>
        </p:nvSpPr>
        <p:spPr bwMode="gray">
          <a:xfrm>
            <a:off x="7968296" y="2060784"/>
            <a:ext cx="3024000"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baseline="0">
                <a:solidFill>
                  <a:schemeClr val="bg1"/>
                </a:solidFill>
                <a:latin typeface="+mj-lt"/>
              </a:defRPr>
            </a:lvl1pPr>
            <a:lvl2pPr marL="0" indent="0">
              <a:lnSpc>
                <a:spcPct val="100000"/>
              </a:lnSpc>
              <a:spcBef>
                <a:spcPts val="0"/>
              </a:spcBef>
              <a:buFont typeface="Arial" panose="020B0604020202020204" pitchFamily="34" charset="0"/>
              <a:buNone/>
              <a:defRPr sz="1100" b="0">
                <a:solidFill>
                  <a:schemeClr val="bg1"/>
                </a:solidFill>
                <a:latin typeface="+mj-lt"/>
              </a:defRPr>
            </a:lvl2pPr>
            <a:lvl3pPr marL="0" indent="0">
              <a:lnSpc>
                <a:spcPct val="100000"/>
              </a:lnSpc>
              <a:spcBef>
                <a:spcPts val="0"/>
              </a:spcBef>
              <a:buFont typeface="Arial" panose="020B0604020202020204" pitchFamily="34" charset="0"/>
              <a:buNone/>
              <a:defRPr sz="1100" b="0">
                <a:solidFill>
                  <a:schemeClr val="bg1"/>
                </a:solidFill>
                <a:latin typeface="+mj-lt"/>
              </a:defRPr>
            </a:lvl3pPr>
            <a:lvl4pPr marL="0" indent="0">
              <a:lnSpc>
                <a:spcPct val="100000"/>
              </a:lnSpc>
              <a:spcBef>
                <a:spcPts val="0"/>
              </a:spcBef>
              <a:buFont typeface="Arial" panose="020B0604020202020204" pitchFamily="34" charset="0"/>
              <a:buNone/>
              <a:defRPr sz="1100" b="0">
                <a:solidFill>
                  <a:schemeClr val="bg1"/>
                </a:solidFill>
                <a:latin typeface="+mj-lt"/>
              </a:defRPr>
            </a:lvl4pPr>
            <a:lvl5pPr marL="0" indent="0">
              <a:lnSpc>
                <a:spcPct val="100000"/>
              </a:lnSpc>
              <a:spcBef>
                <a:spcPts val="0"/>
              </a:spcBef>
              <a:buFont typeface="Arial" panose="020B0604020202020204" pitchFamily="34" charset="0"/>
              <a:buNone/>
              <a:defRPr sz="1100" b="0">
                <a:solidFill>
                  <a:schemeClr val="bg1"/>
                </a:solidFill>
                <a:latin typeface="+mj-lt"/>
              </a:defRPr>
            </a:lvl5pPr>
            <a:lvl6pPr marL="0" indent="0">
              <a:spcBef>
                <a:spcPts val="0"/>
              </a:spcBef>
              <a:buNone/>
              <a:defRPr sz="1100" b="0">
                <a:solidFill>
                  <a:schemeClr val="bg1"/>
                </a:solidFill>
                <a:latin typeface="+mj-lt"/>
              </a:defRPr>
            </a:lvl6pPr>
            <a:lvl7pPr marL="0" indent="0">
              <a:spcBef>
                <a:spcPts val="0"/>
              </a:spcBef>
              <a:buNone/>
              <a:defRPr sz="1100" b="0">
                <a:solidFill>
                  <a:schemeClr val="bg1"/>
                </a:solidFill>
                <a:latin typeface="+mj-lt"/>
              </a:defRPr>
            </a:lvl7pPr>
            <a:lvl8pPr marL="0" indent="0">
              <a:spcBef>
                <a:spcPts val="0"/>
              </a:spcBef>
              <a:buNone/>
              <a:defRPr sz="1100" b="0">
                <a:solidFill>
                  <a:schemeClr val="bg1"/>
                </a:solidFill>
                <a:latin typeface="+mj-lt"/>
              </a:defRPr>
            </a:lvl8pPr>
            <a:lvl9pPr marL="0" indent="0">
              <a:spcBef>
                <a:spcPts val="0"/>
              </a:spcBef>
              <a:buNone/>
              <a:defRPr sz="1100" b="0">
                <a:solidFill>
                  <a:schemeClr val="bg1"/>
                </a:solidFill>
                <a:latin typeface="+mj-lt"/>
              </a:defRPr>
            </a:lvl9pPr>
          </a:lstStyle>
          <a:p>
            <a:pPr lvl="0"/>
            <a:r>
              <a:rPr lang="en-GB"/>
              <a:t>Name Surname</a:t>
            </a:r>
            <a:endParaRPr lang="en-GB" dirty="0"/>
          </a:p>
        </p:txBody>
      </p:sp>
      <p:sp>
        <p:nvSpPr>
          <p:cNvPr id="122" name="Text Placeholder 5">
            <a:extLst>
              <a:ext uri="{FF2B5EF4-FFF2-40B4-BE49-F238E27FC236}">
                <a16:creationId xmlns:a16="http://schemas.microsoft.com/office/drawing/2014/main" id="{160A0CE4-A4A1-664B-B2A5-3BEEF22E242A}"/>
              </a:ext>
            </a:extLst>
          </p:cNvPr>
          <p:cNvSpPr>
            <a:spLocks noGrp="1"/>
          </p:cNvSpPr>
          <p:nvPr>
            <p:ph type="body" sz="quarter" idx="39" hasCustomPrompt="1"/>
          </p:nvPr>
        </p:nvSpPr>
        <p:spPr bwMode="gray">
          <a:xfrm>
            <a:off x="7968296" y="2276784"/>
            <a:ext cx="3024000" cy="216000"/>
          </a:xfrm>
          <a:prstGeom prst="rect">
            <a:avLst/>
          </a:prstGeom>
        </p:spPr>
        <p:txBody>
          <a:bodyPr lIns="0" tIns="36000" rIns="0" bIns="0" anchor="t"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a:t>Job Position</a:t>
            </a:r>
            <a:endParaRPr lang="en-GB" dirty="0"/>
          </a:p>
        </p:txBody>
      </p:sp>
      <p:sp>
        <p:nvSpPr>
          <p:cNvPr id="123" name="Text Placeholder 5">
            <a:extLst>
              <a:ext uri="{FF2B5EF4-FFF2-40B4-BE49-F238E27FC236}">
                <a16:creationId xmlns:a16="http://schemas.microsoft.com/office/drawing/2014/main" id="{595B26DC-2F0F-0741-AD06-D75BE5AE7950}"/>
              </a:ext>
            </a:extLst>
          </p:cNvPr>
          <p:cNvSpPr>
            <a:spLocks noGrp="1"/>
          </p:cNvSpPr>
          <p:nvPr>
            <p:ph type="body" sz="quarter" idx="40" hasCustomPrompt="1"/>
          </p:nvPr>
        </p:nvSpPr>
        <p:spPr bwMode="gray">
          <a:xfrm>
            <a:off x="7968296" y="2852784"/>
            <a:ext cx="3024000"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a:t>Phone number</a:t>
            </a:r>
            <a:endParaRPr lang="en-GB" dirty="0"/>
          </a:p>
        </p:txBody>
      </p:sp>
      <p:sp>
        <p:nvSpPr>
          <p:cNvPr id="124" name="Text Placeholder 5">
            <a:extLst>
              <a:ext uri="{FF2B5EF4-FFF2-40B4-BE49-F238E27FC236}">
                <a16:creationId xmlns:a16="http://schemas.microsoft.com/office/drawing/2014/main" id="{727EE54C-753A-284A-8B4F-9C5FDDC2D63C}"/>
              </a:ext>
            </a:extLst>
          </p:cNvPr>
          <p:cNvSpPr>
            <a:spLocks noGrp="1"/>
          </p:cNvSpPr>
          <p:nvPr>
            <p:ph type="body" sz="quarter" idx="41" hasCustomPrompt="1"/>
          </p:nvPr>
        </p:nvSpPr>
        <p:spPr bwMode="gray">
          <a:xfrm>
            <a:off x="7968296" y="3068784"/>
            <a:ext cx="3024000"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a:t>Email address</a:t>
            </a:r>
            <a:endParaRPr lang="en-GB" dirty="0"/>
          </a:p>
        </p:txBody>
      </p:sp>
      <p:sp>
        <p:nvSpPr>
          <p:cNvPr id="61" name="Shape">
            <a:extLst>
              <a:ext uri="{FF2B5EF4-FFF2-40B4-BE49-F238E27FC236}">
                <a16:creationId xmlns:a16="http://schemas.microsoft.com/office/drawing/2014/main" id="{6902CA4F-7D42-4F6B-8E46-F2707F4EA0D5}"/>
              </a:ext>
              <a:ext uri="{C183D7F6-B498-43B3-948B-1728B52AA6E4}">
                <adec:decorative xmlns:adec="http://schemas.microsoft.com/office/drawing/2017/decorative" val="1"/>
              </a:ext>
            </a:extLst>
          </p:cNvPr>
          <p:cNvSpPr/>
          <p:nvPr userDrawn="1"/>
        </p:nvSpPr>
        <p:spPr bwMode="gray">
          <a:xfrm>
            <a:off x="335360" y="4077825"/>
            <a:ext cx="5184824" cy="20154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106" name="Picture Placeholder 3">
            <a:extLst>
              <a:ext uri="{FF2B5EF4-FFF2-40B4-BE49-F238E27FC236}">
                <a16:creationId xmlns:a16="http://schemas.microsoft.com/office/drawing/2014/main" id="{B6FE670F-20AA-EF43-93FE-D8EBD89F9D86}"/>
              </a:ext>
            </a:extLst>
          </p:cNvPr>
          <p:cNvSpPr>
            <a:spLocks noGrp="1"/>
          </p:cNvSpPr>
          <p:nvPr>
            <p:ph type="pic" sz="quarter" idx="30" hasCustomPrompt="1"/>
          </p:nvPr>
        </p:nvSpPr>
        <p:spPr bwMode="gray">
          <a:xfrm>
            <a:off x="551672" y="4293387"/>
            <a:ext cx="1368000" cy="1584000"/>
          </a:xfrm>
          <a:prstGeom prst="rect">
            <a:avLst/>
          </a:prstGeom>
          <a:solidFill>
            <a:srgbClr val="D9DADB"/>
          </a:solidFill>
        </p:spPr>
        <p:txBody>
          <a:bodyPr/>
          <a:lstStyle>
            <a:lvl1pPr marL="0" indent="0">
              <a:buNone/>
              <a:defRPr sz="1400"/>
            </a:lvl1pPr>
          </a:lstStyle>
          <a:p>
            <a:r>
              <a:rPr lang="en-GB"/>
              <a:t> </a:t>
            </a:r>
            <a:endParaRPr lang="en-GB" dirty="0"/>
          </a:p>
        </p:txBody>
      </p:sp>
      <p:sp>
        <p:nvSpPr>
          <p:cNvPr id="107" name="Text Placeholder 5">
            <a:extLst>
              <a:ext uri="{FF2B5EF4-FFF2-40B4-BE49-F238E27FC236}">
                <a16:creationId xmlns:a16="http://schemas.microsoft.com/office/drawing/2014/main" id="{62E04480-8830-0F40-AE67-E9D2BB0BFD43}"/>
              </a:ext>
            </a:extLst>
          </p:cNvPr>
          <p:cNvSpPr>
            <a:spLocks noGrp="1"/>
          </p:cNvSpPr>
          <p:nvPr>
            <p:ph type="body" sz="quarter" idx="31" hasCustomPrompt="1"/>
          </p:nvPr>
        </p:nvSpPr>
        <p:spPr bwMode="gray">
          <a:xfrm>
            <a:off x="2207904" y="4293387"/>
            <a:ext cx="3024000" cy="216000"/>
          </a:xfrm>
          <a:prstGeom prst="rect">
            <a:avLst/>
          </a:prstGeom>
        </p:spPr>
        <p:txBody>
          <a:bodyPr lIns="0" tIns="0" rIns="0" bIns="0" anchor="t" anchorCtr="0"/>
          <a:lstStyle>
            <a:lvl1pPr marL="0" indent="0" algn="l">
              <a:lnSpc>
                <a:spcPct val="100000"/>
              </a:lnSpc>
              <a:spcBef>
                <a:spcPts val="0"/>
              </a:spcBef>
              <a:buFont typeface="Arial" panose="020B0604020202020204" pitchFamily="34" charset="0"/>
              <a:buNone/>
              <a:defRPr sz="900" b="0" cap="all" baseline="0">
                <a:solidFill>
                  <a:schemeClr val="bg1"/>
                </a:solidFill>
                <a:latin typeface="+mn-lt"/>
              </a:defRPr>
            </a:lvl1pPr>
            <a:lvl2pPr marL="0" indent="0">
              <a:lnSpc>
                <a:spcPct val="100000"/>
              </a:lnSpc>
              <a:spcBef>
                <a:spcPts val="0"/>
              </a:spcBef>
              <a:buFont typeface="Arial" panose="020B0604020202020204" pitchFamily="34" charset="0"/>
              <a:buNone/>
              <a:defRPr sz="900" b="0" cap="all" baseline="0">
                <a:solidFill>
                  <a:schemeClr val="bg1"/>
                </a:solidFill>
                <a:latin typeface="+mn-lt"/>
              </a:defRPr>
            </a:lvl2pPr>
            <a:lvl3pPr marL="0" indent="0">
              <a:lnSpc>
                <a:spcPct val="100000"/>
              </a:lnSpc>
              <a:spcBef>
                <a:spcPts val="0"/>
              </a:spcBef>
              <a:buFont typeface="Arial" panose="020B0604020202020204" pitchFamily="34" charset="0"/>
              <a:buNone/>
              <a:defRPr sz="900" b="0" cap="all" baseline="0">
                <a:solidFill>
                  <a:schemeClr val="bg1"/>
                </a:solidFill>
                <a:latin typeface="+mn-lt"/>
              </a:defRPr>
            </a:lvl3pPr>
            <a:lvl4pPr marL="0" indent="0">
              <a:lnSpc>
                <a:spcPct val="100000"/>
              </a:lnSpc>
              <a:spcBef>
                <a:spcPts val="0"/>
              </a:spcBef>
              <a:buFont typeface="Arial" panose="020B0604020202020204" pitchFamily="34" charset="0"/>
              <a:buNone/>
              <a:defRPr sz="900" b="0" cap="all" baseline="0">
                <a:solidFill>
                  <a:schemeClr val="bg1"/>
                </a:solidFill>
                <a:latin typeface="+mn-lt"/>
              </a:defRPr>
            </a:lvl4pPr>
            <a:lvl5pPr marL="0" indent="0">
              <a:lnSpc>
                <a:spcPct val="100000"/>
              </a:lnSpc>
              <a:spcBef>
                <a:spcPts val="0"/>
              </a:spcBef>
              <a:buFont typeface="Arial" panose="020B0604020202020204" pitchFamily="34" charset="0"/>
              <a:buNone/>
              <a:defRPr sz="900" b="0" cap="all" baseline="0">
                <a:solidFill>
                  <a:schemeClr val="bg1"/>
                </a:solidFill>
                <a:latin typeface="+mn-lt"/>
              </a:defRPr>
            </a:lvl5pPr>
            <a:lvl6pPr marL="0" indent="0">
              <a:spcBef>
                <a:spcPts val="0"/>
              </a:spcBef>
              <a:buNone/>
              <a:defRPr sz="900" b="0" cap="all" baseline="0">
                <a:solidFill>
                  <a:schemeClr val="bg1"/>
                </a:solidFill>
                <a:latin typeface="+mn-lt"/>
              </a:defRPr>
            </a:lvl6pPr>
            <a:lvl7pPr marL="0" indent="0">
              <a:spcBef>
                <a:spcPts val="0"/>
              </a:spcBef>
              <a:buNone/>
              <a:defRPr sz="900" b="0" cap="all" baseline="0">
                <a:solidFill>
                  <a:schemeClr val="bg1"/>
                </a:solidFill>
                <a:latin typeface="+mn-lt"/>
              </a:defRPr>
            </a:lvl7pPr>
            <a:lvl8pPr marL="0" indent="0">
              <a:spcBef>
                <a:spcPts val="0"/>
              </a:spcBef>
              <a:buNone/>
              <a:defRPr sz="900" b="0" cap="all" baseline="0">
                <a:solidFill>
                  <a:schemeClr val="bg1"/>
                </a:solidFill>
                <a:latin typeface="+mn-lt"/>
              </a:defRPr>
            </a:lvl8pPr>
            <a:lvl9pPr marL="0" indent="0">
              <a:spcBef>
                <a:spcPts val="0"/>
              </a:spcBef>
              <a:buNone/>
              <a:defRPr sz="900" b="0" cap="all" baseline="0">
                <a:solidFill>
                  <a:schemeClr val="bg1"/>
                </a:solidFill>
                <a:latin typeface="+mn-lt"/>
              </a:defRPr>
            </a:lvl9pPr>
          </a:lstStyle>
          <a:p>
            <a:pPr lvl="0"/>
            <a:r>
              <a:rPr lang="en-GB"/>
              <a:t>Country</a:t>
            </a:r>
            <a:endParaRPr lang="en-GB" dirty="0"/>
          </a:p>
        </p:txBody>
      </p:sp>
      <p:sp>
        <p:nvSpPr>
          <p:cNvPr id="108" name="Text Placeholder 5">
            <a:extLst>
              <a:ext uri="{FF2B5EF4-FFF2-40B4-BE49-F238E27FC236}">
                <a16:creationId xmlns:a16="http://schemas.microsoft.com/office/drawing/2014/main" id="{8E37D29D-067C-6F40-8722-813FC5CCB6DD}"/>
              </a:ext>
            </a:extLst>
          </p:cNvPr>
          <p:cNvSpPr>
            <a:spLocks noGrp="1"/>
          </p:cNvSpPr>
          <p:nvPr>
            <p:ph type="body" sz="quarter" idx="32" hasCustomPrompt="1"/>
          </p:nvPr>
        </p:nvSpPr>
        <p:spPr bwMode="gray">
          <a:xfrm>
            <a:off x="2207904" y="4653387"/>
            <a:ext cx="3024000"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baseline="0">
                <a:solidFill>
                  <a:schemeClr val="bg1"/>
                </a:solidFill>
                <a:latin typeface="+mj-lt"/>
              </a:defRPr>
            </a:lvl1pPr>
            <a:lvl2pPr marL="0" indent="0">
              <a:lnSpc>
                <a:spcPct val="100000"/>
              </a:lnSpc>
              <a:spcBef>
                <a:spcPts val="0"/>
              </a:spcBef>
              <a:buFont typeface="Arial" panose="020B0604020202020204" pitchFamily="34" charset="0"/>
              <a:buNone/>
              <a:defRPr sz="1100" b="0">
                <a:solidFill>
                  <a:schemeClr val="bg1"/>
                </a:solidFill>
                <a:latin typeface="+mj-lt"/>
              </a:defRPr>
            </a:lvl2pPr>
            <a:lvl3pPr marL="0" indent="0">
              <a:lnSpc>
                <a:spcPct val="100000"/>
              </a:lnSpc>
              <a:spcBef>
                <a:spcPts val="0"/>
              </a:spcBef>
              <a:buFont typeface="Arial" panose="020B0604020202020204" pitchFamily="34" charset="0"/>
              <a:buNone/>
              <a:defRPr sz="1100" b="0">
                <a:solidFill>
                  <a:schemeClr val="bg1"/>
                </a:solidFill>
                <a:latin typeface="+mj-lt"/>
              </a:defRPr>
            </a:lvl3pPr>
            <a:lvl4pPr marL="0" indent="0">
              <a:lnSpc>
                <a:spcPct val="100000"/>
              </a:lnSpc>
              <a:spcBef>
                <a:spcPts val="0"/>
              </a:spcBef>
              <a:buFont typeface="Arial" panose="020B0604020202020204" pitchFamily="34" charset="0"/>
              <a:buNone/>
              <a:defRPr sz="1100" b="0">
                <a:solidFill>
                  <a:schemeClr val="bg1"/>
                </a:solidFill>
                <a:latin typeface="+mj-lt"/>
              </a:defRPr>
            </a:lvl4pPr>
            <a:lvl5pPr marL="0" indent="0">
              <a:lnSpc>
                <a:spcPct val="100000"/>
              </a:lnSpc>
              <a:spcBef>
                <a:spcPts val="0"/>
              </a:spcBef>
              <a:buFont typeface="Arial" panose="020B0604020202020204" pitchFamily="34" charset="0"/>
              <a:buNone/>
              <a:defRPr sz="1100" b="0">
                <a:solidFill>
                  <a:schemeClr val="bg1"/>
                </a:solidFill>
                <a:latin typeface="+mj-lt"/>
              </a:defRPr>
            </a:lvl5pPr>
            <a:lvl6pPr marL="0" indent="0">
              <a:spcBef>
                <a:spcPts val="0"/>
              </a:spcBef>
              <a:buNone/>
              <a:defRPr sz="1100" b="0">
                <a:solidFill>
                  <a:schemeClr val="bg1"/>
                </a:solidFill>
                <a:latin typeface="+mj-lt"/>
              </a:defRPr>
            </a:lvl6pPr>
            <a:lvl7pPr marL="0" indent="0">
              <a:spcBef>
                <a:spcPts val="0"/>
              </a:spcBef>
              <a:buNone/>
              <a:defRPr sz="1100" b="0">
                <a:solidFill>
                  <a:schemeClr val="bg1"/>
                </a:solidFill>
                <a:latin typeface="+mj-lt"/>
              </a:defRPr>
            </a:lvl7pPr>
            <a:lvl8pPr marL="0" indent="0">
              <a:spcBef>
                <a:spcPts val="0"/>
              </a:spcBef>
              <a:buNone/>
              <a:defRPr sz="1100" b="0">
                <a:solidFill>
                  <a:schemeClr val="bg1"/>
                </a:solidFill>
                <a:latin typeface="+mj-lt"/>
              </a:defRPr>
            </a:lvl8pPr>
            <a:lvl9pPr marL="0" indent="0">
              <a:spcBef>
                <a:spcPts val="0"/>
              </a:spcBef>
              <a:buNone/>
              <a:defRPr sz="1100" b="0">
                <a:solidFill>
                  <a:schemeClr val="bg1"/>
                </a:solidFill>
                <a:latin typeface="+mj-lt"/>
              </a:defRPr>
            </a:lvl9pPr>
          </a:lstStyle>
          <a:p>
            <a:pPr lvl="0"/>
            <a:r>
              <a:rPr lang="en-GB"/>
              <a:t>Name Surname</a:t>
            </a:r>
            <a:endParaRPr lang="en-GB" dirty="0"/>
          </a:p>
        </p:txBody>
      </p:sp>
      <p:sp>
        <p:nvSpPr>
          <p:cNvPr id="109" name="Text Placeholder 5">
            <a:extLst>
              <a:ext uri="{FF2B5EF4-FFF2-40B4-BE49-F238E27FC236}">
                <a16:creationId xmlns:a16="http://schemas.microsoft.com/office/drawing/2014/main" id="{9F2507A6-1822-8441-AF42-6F32CAD53095}"/>
              </a:ext>
            </a:extLst>
          </p:cNvPr>
          <p:cNvSpPr>
            <a:spLocks noGrp="1"/>
          </p:cNvSpPr>
          <p:nvPr>
            <p:ph type="body" sz="quarter" idx="33" hasCustomPrompt="1"/>
          </p:nvPr>
        </p:nvSpPr>
        <p:spPr bwMode="gray">
          <a:xfrm>
            <a:off x="2207904" y="4869387"/>
            <a:ext cx="3024000" cy="216000"/>
          </a:xfrm>
          <a:prstGeom prst="rect">
            <a:avLst/>
          </a:prstGeom>
        </p:spPr>
        <p:txBody>
          <a:bodyPr lIns="0" tIns="36000" rIns="0" bIns="0" anchor="t"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a:t>Job Position</a:t>
            </a:r>
            <a:endParaRPr lang="en-GB" dirty="0"/>
          </a:p>
        </p:txBody>
      </p:sp>
      <p:sp>
        <p:nvSpPr>
          <p:cNvPr id="110" name="Text Placeholder 5">
            <a:extLst>
              <a:ext uri="{FF2B5EF4-FFF2-40B4-BE49-F238E27FC236}">
                <a16:creationId xmlns:a16="http://schemas.microsoft.com/office/drawing/2014/main" id="{B1FAFD4D-A617-1D4B-A22B-92EA6E00239C}"/>
              </a:ext>
            </a:extLst>
          </p:cNvPr>
          <p:cNvSpPr>
            <a:spLocks noGrp="1"/>
          </p:cNvSpPr>
          <p:nvPr>
            <p:ph type="body" sz="quarter" idx="34" hasCustomPrompt="1"/>
          </p:nvPr>
        </p:nvSpPr>
        <p:spPr bwMode="gray">
          <a:xfrm>
            <a:off x="2207904" y="5445387"/>
            <a:ext cx="3024000"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a:t>Phone number</a:t>
            </a:r>
            <a:endParaRPr lang="en-GB" dirty="0"/>
          </a:p>
        </p:txBody>
      </p:sp>
      <p:sp>
        <p:nvSpPr>
          <p:cNvPr id="111" name="Text Placeholder 5">
            <a:extLst>
              <a:ext uri="{FF2B5EF4-FFF2-40B4-BE49-F238E27FC236}">
                <a16:creationId xmlns:a16="http://schemas.microsoft.com/office/drawing/2014/main" id="{1758521F-192E-8E46-9355-9EA0AC42A502}"/>
              </a:ext>
            </a:extLst>
          </p:cNvPr>
          <p:cNvSpPr>
            <a:spLocks noGrp="1"/>
          </p:cNvSpPr>
          <p:nvPr>
            <p:ph type="body" sz="quarter" idx="35" hasCustomPrompt="1"/>
          </p:nvPr>
        </p:nvSpPr>
        <p:spPr bwMode="gray">
          <a:xfrm>
            <a:off x="2207904" y="5661387"/>
            <a:ext cx="3024000"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a:t>Email address</a:t>
            </a:r>
            <a:endParaRPr lang="en-GB" dirty="0"/>
          </a:p>
        </p:txBody>
      </p:sp>
      <p:sp>
        <p:nvSpPr>
          <p:cNvPr id="65" name="Shape">
            <a:extLst>
              <a:ext uri="{FF2B5EF4-FFF2-40B4-BE49-F238E27FC236}">
                <a16:creationId xmlns:a16="http://schemas.microsoft.com/office/drawing/2014/main" id="{B4AE5ACA-7F4B-4818-955D-31E8DD615571}"/>
              </a:ext>
              <a:ext uri="{C183D7F6-B498-43B3-948B-1728B52AA6E4}">
                <adec:decorative xmlns:adec="http://schemas.microsoft.com/office/drawing/2017/decorative" val="1"/>
              </a:ext>
            </a:extLst>
          </p:cNvPr>
          <p:cNvSpPr/>
          <p:nvPr userDrawn="1"/>
        </p:nvSpPr>
        <p:spPr bwMode="gray">
          <a:xfrm>
            <a:off x="6095752" y="4077825"/>
            <a:ext cx="5184824" cy="201547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131" name="Picture Placeholder 3">
            <a:extLst>
              <a:ext uri="{FF2B5EF4-FFF2-40B4-BE49-F238E27FC236}">
                <a16:creationId xmlns:a16="http://schemas.microsoft.com/office/drawing/2014/main" id="{805973E7-6E2A-9147-9EEF-11EA3705FB9B}"/>
              </a:ext>
            </a:extLst>
          </p:cNvPr>
          <p:cNvSpPr>
            <a:spLocks noGrp="1"/>
          </p:cNvSpPr>
          <p:nvPr>
            <p:ph type="pic" sz="quarter" idx="42" hasCustomPrompt="1"/>
          </p:nvPr>
        </p:nvSpPr>
        <p:spPr bwMode="gray">
          <a:xfrm>
            <a:off x="6312514" y="4276487"/>
            <a:ext cx="1368000" cy="1584000"/>
          </a:xfrm>
          <a:prstGeom prst="rect">
            <a:avLst/>
          </a:prstGeom>
          <a:solidFill>
            <a:srgbClr val="D9DADB"/>
          </a:solidFill>
        </p:spPr>
        <p:txBody>
          <a:bodyPr/>
          <a:lstStyle>
            <a:lvl1pPr marL="0" indent="0">
              <a:buNone/>
              <a:defRPr sz="1400"/>
            </a:lvl1pPr>
          </a:lstStyle>
          <a:p>
            <a:r>
              <a:rPr lang="en-GB"/>
              <a:t> </a:t>
            </a:r>
            <a:endParaRPr lang="en-GB" dirty="0"/>
          </a:p>
        </p:txBody>
      </p:sp>
      <p:sp>
        <p:nvSpPr>
          <p:cNvPr id="132" name="Text Placeholder 5">
            <a:extLst>
              <a:ext uri="{FF2B5EF4-FFF2-40B4-BE49-F238E27FC236}">
                <a16:creationId xmlns:a16="http://schemas.microsoft.com/office/drawing/2014/main" id="{8962C3D4-A44F-C143-8800-C613E37B77C9}"/>
              </a:ext>
            </a:extLst>
          </p:cNvPr>
          <p:cNvSpPr>
            <a:spLocks noGrp="1"/>
          </p:cNvSpPr>
          <p:nvPr>
            <p:ph type="body" sz="quarter" idx="43" hasCustomPrompt="1"/>
          </p:nvPr>
        </p:nvSpPr>
        <p:spPr bwMode="gray">
          <a:xfrm>
            <a:off x="7968296" y="4276487"/>
            <a:ext cx="3024000" cy="216000"/>
          </a:xfrm>
          <a:prstGeom prst="rect">
            <a:avLst/>
          </a:prstGeom>
        </p:spPr>
        <p:txBody>
          <a:bodyPr lIns="0" tIns="0" rIns="0" bIns="0" anchor="t" anchorCtr="0"/>
          <a:lstStyle>
            <a:lvl1pPr marL="0" indent="0" algn="l">
              <a:lnSpc>
                <a:spcPct val="100000"/>
              </a:lnSpc>
              <a:spcBef>
                <a:spcPts val="0"/>
              </a:spcBef>
              <a:buFont typeface="Arial" panose="020B0604020202020204" pitchFamily="34" charset="0"/>
              <a:buNone/>
              <a:defRPr sz="900" b="0" cap="all" baseline="0">
                <a:solidFill>
                  <a:schemeClr val="bg1"/>
                </a:solidFill>
                <a:latin typeface="+mn-lt"/>
              </a:defRPr>
            </a:lvl1pPr>
            <a:lvl2pPr marL="0" indent="0">
              <a:lnSpc>
                <a:spcPct val="100000"/>
              </a:lnSpc>
              <a:spcBef>
                <a:spcPts val="0"/>
              </a:spcBef>
              <a:buFont typeface="Arial" panose="020B0604020202020204" pitchFamily="34" charset="0"/>
              <a:buNone/>
              <a:defRPr sz="900" b="0" cap="all" baseline="0">
                <a:solidFill>
                  <a:schemeClr val="bg1"/>
                </a:solidFill>
                <a:latin typeface="+mn-lt"/>
              </a:defRPr>
            </a:lvl2pPr>
            <a:lvl3pPr marL="0" indent="0">
              <a:lnSpc>
                <a:spcPct val="100000"/>
              </a:lnSpc>
              <a:spcBef>
                <a:spcPts val="0"/>
              </a:spcBef>
              <a:buFont typeface="Arial" panose="020B0604020202020204" pitchFamily="34" charset="0"/>
              <a:buNone/>
              <a:defRPr sz="900" b="0" cap="all" baseline="0">
                <a:solidFill>
                  <a:schemeClr val="bg1"/>
                </a:solidFill>
                <a:latin typeface="+mn-lt"/>
              </a:defRPr>
            </a:lvl3pPr>
            <a:lvl4pPr marL="0" indent="0">
              <a:lnSpc>
                <a:spcPct val="100000"/>
              </a:lnSpc>
              <a:spcBef>
                <a:spcPts val="0"/>
              </a:spcBef>
              <a:buFont typeface="Arial" panose="020B0604020202020204" pitchFamily="34" charset="0"/>
              <a:buNone/>
              <a:defRPr sz="900" b="0" cap="all" baseline="0">
                <a:solidFill>
                  <a:schemeClr val="bg1"/>
                </a:solidFill>
                <a:latin typeface="+mn-lt"/>
              </a:defRPr>
            </a:lvl4pPr>
            <a:lvl5pPr marL="0" indent="0">
              <a:lnSpc>
                <a:spcPct val="100000"/>
              </a:lnSpc>
              <a:spcBef>
                <a:spcPts val="0"/>
              </a:spcBef>
              <a:buFont typeface="Arial" panose="020B0604020202020204" pitchFamily="34" charset="0"/>
              <a:buNone/>
              <a:defRPr sz="900" b="0" cap="all" baseline="0">
                <a:solidFill>
                  <a:schemeClr val="bg1"/>
                </a:solidFill>
                <a:latin typeface="+mn-lt"/>
              </a:defRPr>
            </a:lvl5pPr>
            <a:lvl6pPr marL="0" indent="0">
              <a:spcBef>
                <a:spcPts val="0"/>
              </a:spcBef>
              <a:buNone/>
              <a:defRPr sz="900" b="0" cap="all" baseline="0">
                <a:solidFill>
                  <a:schemeClr val="bg1"/>
                </a:solidFill>
                <a:latin typeface="+mn-lt"/>
              </a:defRPr>
            </a:lvl6pPr>
            <a:lvl7pPr marL="0" indent="0">
              <a:spcBef>
                <a:spcPts val="0"/>
              </a:spcBef>
              <a:buNone/>
              <a:defRPr sz="900" b="0" cap="all" baseline="0">
                <a:solidFill>
                  <a:schemeClr val="bg1"/>
                </a:solidFill>
                <a:latin typeface="+mn-lt"/>
              </a:defRPr>
            </a:lvl7pPr>
            <a:lvl8pPr marL="0" indent="0">
              <a:spcBef>
                <a:spcPts val="0"/>
              </a:spcBef>
              <a:buNone/>
              <a:defRPr sz="900" b="0" cap="all" baseline="0">
                <a:solidFill>
                  <a:schemeClr val="bg1"/>
                </a:solidFill>
                <a:latin typeface="+mn-lt"/>
              </a:defRPr>
            </a:lvl8pPr>
            <a:lvl9pPr marL="0" indent="0">
              <a:spcBef>
                <a:spcPts val="0"/>
              </a:spcBef>
              <a:buNone/>
              <a:defRPr sz="900" b="0" cap="all" baseline="0">
                <a:solidFill>
                  <a:schemeClr val="bg1"/>
                </a:solidFill>
                <a:latin typeface="+mn-lt"/>
              </a:defRPr>
            </a:lvl9pPr>
          </a:lstStyle>
          <a:p>
            <a:pPr lvl="0"/>
            <a:r>
              <a:rPr lang="en-GB"/>
              <a:t>Country</a:t>
            </a:r>
            <a:endParaRPr lang="en-GB" dirty="0"/>
          </a:p>
        </p:txBody>
      </p:sp>
      <p:sp>
        <p:nvSpPr>
          <p:cNvPr id="133" name="Text Placeholder 5">
            <a:extLst>
              <a:ext uri="{FF2B5EF4-FFF2-40B4-BE49-F238E27FC236}">
                <a16:creationId xmlns:a16="http://schemas.microsoft.com/office/drawing/2014/main" id="{A8F8F8A4-0708-D740-9016-1F49549FDC6C}"/>
              </a:ext>
            </a:extLst>
          </p:cNvPr>
          <p:cNvSpPr>
            <a:spLocks noGrp="1"/>
          </p:cNvSpPr>
          <p:nvPr>
            <p:ph type="body" sz="quarter" idx="44" hasCustomPrompt="1"/>
          </p:nvPr>
        </p:nvSpPr>
        <p:spPr bwMode="gray">
          <a:xfrm>
            <a:off x="7968296" y="4636487"/>
            <a:ext cx="3024000"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baseline="0">
                <a:solidFill>
                  <a:schemeClr val="bg1"/>
                </a:solidFill>
                <a:latin typeface="+mj-lt"/>
              </a:defRPr>
            </a:lvl1pPr>
            <a:lvl2pPr marL="0" indent="0">
              <a:lnSpc>
                <a:spcPct val="100000"/>
              </a:lnSpc>
              <a:spcBef>
                <a:spcPts val="0"/>
              </a:spcBef>
              <a:buFont typeface="Arial" panose="020B0604020202020204" pitchFamily="34" charset="0"/>
              <a:buNone/>
              <a:defRPr sz="1100" b="0">
                <a:solidFill>
                  <a:schemeClr val="bg1"/>
                </a:solidFill>
                <a:latin typeface="+mj-lt"/>
              </a:defRPr>
            </a:lvl2pPr>
            <a:lvl3pPr marL="0" indent="0">
              <a:lnSpc>
                <a:spcPct val="100000"/>
              </a:lnSpc>
              <a:spcBef>
                <a:spcPts val="0"/>
              </a:spcBef>
              <a:buFont typeface="Arial" panose="020B0604020202020204" pitchFamily="34" charset="0"/>
              <a:buNone/>
              <a:defRPr sz="1100" b="0">
                <a:solidFill>
                  <a:schemeClr val="bg1"/>
                </a:solidFill>
                <a:latin typeface="+mj-lt"/>
              </a:defRPr>
            </a:lvl3pPr>
            <a:lvl4pPr marL="0" indent="0">
              <a:lnSpc>
                <a:spcPct val="100000"/>
              </a:lnSpc>
              <a:spcBef>
                <a:spcPts val="0"/>
              </a:spcBef>
              <a:buFont typeface="Arial" panose="020B0604020202020204" pitchFamily="34" charset="0"/>
              <a:buNone/>
              <a:defRPr sz="1100" b="0">
                <a:solidFill>
                  <a:schemeClr val="bg1"/>
                </a:solidFill>
                <a:latin typeface="+mj-lt"/>
              </a:defRPr>
            </a:lvl4pPr>
            <a:lvl5pPr marL="0" indent="0">
              <a:lnSpc>
                <a:spcPct val="100000"/>
              </a:lnSpc>
              <a:spcBef>
                <a:spcPts val="0"/>
              </a:spcBef>
              <a:buFont typeface="Arial" panose="020B0604020202020204" pitchFamily="34" charset="0"/>
              <a:buNone/>
              <a:defRPr sz="1100" b="0">
                <a:solidFill>
                  <a:schemeClr val="bg1"/>
                </a:solidFill>
                <a:latin typeface="+mj-lt"/>
              </a:defRPr>
            </a:lvl5pPr>
            <a:lvl6pPr marL="0" indent="0">
              <a:spcBef>
                <a:spcPts val="0"/>
              </a:spcBef>
              <a:buNone/>
              <a:defRPr sz="1100" b="0">
                <a:solidFill>
                  <a:schemeClr val="bg1"/>
                </a:solidFill>
                <a:latin typeface="+mj-lt"/>
              </a:defRPr>
            </a:lvl6pPr>
            <a:lvl7pPr marL="0" indent="0">
              <a:spcBef>
                <a:spcPts val="0"/>
              </a:spcBef>
              <a:buNone/>
              <a:defRPr sz="1100" b="0">
                <a:solidFill>
                  <a:schemeClr val="bg1"/>
                </a:solidFill>
                <a:latin typeface="+mj-lt"/>
              </a:defRPr>
            </a:lvl7pPr>
            <a:lvl8pPr marL="0" indent="0">
              <a:spcBef>
                <a:spcPts val="0"/>
              </a:spcBef>
              <a:buNone/>
              <a:defRPr sz="1100" b="0">
                <a:solidFill>
                  <a:schemeClr val="bg1"/>
                </a:solidFill>
                <a:latin typeface="+mj-lt"/>
              </a:defRPr>
            </a:lvl8pPr>
            <a:lvl9pPr marL="0" indent="0">
              <a:spcBef>
                <a:spcPts val="0"/>
              </a:spcBef>
              <a:buNone/>
              <a:defRPr sz="1100" b="0">
                <a:solidFill>
                  <a:schemeClr val="bg1"/>
                </a:solidFill>
                <a:latin typeface="+mj-lt"/>
              </a:defRPr>
            </a:lvl9pPr>
          </a:lstStyle>
          <a:p>
            <a:pPr lvl="0"/>
            <a:r>
              <a:rPr lang="en-GB"/>
              <a:t>Name Surname</a:t>
            </a:r>
            <a:endParaRPr lang="en-GB" dirty="0"/>
          </a:p>
        </p:txBody>
      </p:sp>
      <p:sp>
        <p:nvSpPr>
          <p:cNvPr id="134" name="Text Placeholder 5">
            <a:extLst>
              <a:ext uri="{FF2B5EF4-FFF2-40B4-BE49-F238E27FC236}">
                <a16:creationId xmlns:a16="http://schemas.microsoft.com/office/drawing/2014/main" id="{57164E9F-FD59-6846-BB9E-D6BE603E2F6F}"/>
              </a:ext>
            </a:extLst>
          </p:cNvPr>
          <p:cNvSpPr>
            <a:spLocks noGrp="1"/>
          </p:cNvSpPr>
          <p:nvPr>
            <p:ph type="body" sz="quarter" idx="45" hasCustomPrompt="1"/>
          </p:nvPr>
        </p:nvSpPr>
        <p:spPr bwMode="gray">
          <a:xfrm>
            <a:off x="7968296" y="4852487"/>
            <a:ext cx="3024000" cy="216000"/>
          </a:xfrm>
          <a:prstGeom prst="rect">
            <a:avLst/>
          </a:prstGeom>
        </p:spPr>
        <p:txBody>
          <a:bodyPr lIns="0" tIns="36000" rIns="0" bIns="0" anchor="t"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a:t>Job Position</a:t>
            </a:r>
            <a:endParaRPr lang="en-GB" dirty="0"/>
          </a:p>
        </p:txBody>
      </p:sp>
      <p:sp>
        <p:nvSpPr>
          <p:cNvPr id="135" name="Text Placeholder 5">
            <a:extLst>
              <a:ext uri="{FF2B5EF4-FFF2-40B4-BE49-F238E27FC236}">
                <a16:creationId xmlns:a16="http://schemas.microsoft.com/office/drawing/2014/main" id="{BFAABD29-99A4-AF4F-847D-F82B682D01B2}"/>
              </a:ext>
            </a:extLst>
          </p:cNvPr>
          <p:cNvSpPr>
            <a:spLocks noGrp="1"/>
          </p:cNvSpPr>
          <p:nvPr>
            <p:ph type="body" sz="quarter" idx="46" hasCustomPrompt="1"/>
          </p:nvPr>
        </p:nvSpPr>
        <p:spPr bwMode="gray">
          <a:xfrm>
            <a:off x="7968296" y="5428487"/>
            <a:ext cx="3024000"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a:t>Phone number</a:t>
            </a:r>
            <a:endParaRPr lang="en-GB" dirty="0"/>
          </a:p>
        </p:txBody>
      </p:sp>
      <p:sp>
        <p:nvSpPr>
          <p:cNvPr id="136" name="Text Placeholder 5">
            <a:extLst>
              <a:ext uri="{FF2B5EF4-FFF2-40B4-BE49-F238E27FC236}">
                <a16:creationId xmlns:a16="http://schemas.microsoft.com/office/drawing/2014/main" id="{74BE0303-949F-8445-84A6-96A0C8234482}"/>
              </a:ext>
            </a:extLst>
          </p:cNvPr>
          <p:cNvSpPr>
            <a:spLocks noGrp="1"/>
          </p:cNvSpPr>
          <p:nvPr>
            <p:ph type="body" sz="quarter" idx="47" hasCustomPrompt="1"/>
          </p:nvPr>
        </p:nvSpPr>
        <p:spPr bwMode="gray">
          <a:xfrm>
            <a:off x="7968296" y="5644487"/>
            <a:ext cx="3024000" cy="216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1100" b="0" i="1" baseline="0">
                <a:solidFill>
                  <a:schemeClr val="bg1"/>
                </a:solidFill>
                <a:latin typeface="+mn-lt"/>
              </a:defRPr>
            </a:lvl1pPr>
            <a:lvl2pPr marL="0" indent="0">
              <a:lnSpc>
                <a:spcPct val="100000"/>
              </a:lnSpc>
              <a:spcBef>
                <a:spcPts val="0"/>
              </a:spcBef>
              <a:buFont typeface="Arial" panose="020B0604020202020204" pitchFamily="34" charset="0"/>
              <a:buNone/>
              <a:defRPr sz="1100" b="0" i="1">
                <a:solidFill>
                  <a:schemeClr val="bg1"/>
                </a:solidFill>
                <a:latin typeface="+mn-lt"/>
              </a:defRPr>
            </a:lvl2pPr>
            <a:lvl3pPr marL="0" indent="0">
              <a:lnSpc>
                <a:spcPct val="100000"/>
              </a:lnSpc>
              <a:spcBef>
                <a:spcPts val="0"/>
              </a:spcBef>
              <a:buFont typeface="Arial" panose="020B0604020202020204" pitchFamily="34" charset="0"/>
              <a:buNone/>
              <a:defRPr sz="1100" b="0" i="1">
                <a:solidFill>
                  <a:schemeClr val="bg1"/>
                </a:solidFill>
                <a:latin typeface="+mn-lt"/>
              </a:defRPr>
            </a:lvl3pPr>
            <a:lvl4pPr marL="0" indent="0">
              <a:lnSpc>
                <a:spcPct val="100000"/>
              </a:lnSpc>
              <a:spcBef>
                <a:spcPts val="0"/>
              </a:spcBef>
              <a:buFont typeface="Arial" panose="020B0604020202020204" pitchFamily="34" charset="0"/>
              <a:buNone/>
              <a:defRPr sz="1100" b="0" i="1">
                <a:solidFill>
                  <a:schemeClr val="bg1"/>
                </a:solidFill>
                <a:latin typeface="+mn-lt"/>
              </a:defRPr>
            </a:lvl4pPr>
            <a:lvl5pPr marL="0" indent="0">
              <a:lnSpc>
                <a:spcPct val="100000"/>
              </a:lnSpc>
              <a:spcBef>
                <a:spcPts val="0"/>
              </a:spcBef>
              <a:buFont typeface="Arial" panose="020B0604020202020204" pitchFamily="34" charset="0"/>
              <a:buNone/>
              <a:defRPr sz="1100" b="0" i="1">
                <a:solidFill>
                  <a:schemeClr val="bg1"/>
                </a:solidFill>
                <a:latin typeface="+mn-lt"/>
              </a:defRPr>
            </a:lvl5pPr>
            <a:lvl6pPr marL="0" indent="0">
              <a:spcBef>
                <a:spcPts val="0"/>
              </a:spcBef>
              <a:buNone/>
              <a:defRPr sz="1100" b="0" i="1">
                <a:solidFill>
                  <a:schemeClr val="bg1"/>
                </a:solidFill>
                <a:latin typeface="+mn-lt"/>
              </a:defRPr>
            </a:lvl6pPr>
            <a:lvl7pPr marL="0" indent="0">
              <a:spcBef>
                <a:spcPts val="0"/>
              </a:spcBef>
              <a:buNone/>
              <a:defRPr sz="1100" b="0" i="1">
                <a:solidFill>
                  <a:schemeClr val="bg1"/>
                </a:solidFill>
                <a:latin typeface="+mn-lt"/>
              </a:defRPr>
            </a:lvl7pPr>
            <a:lvl8pPr marL="0" indent="0">
              <a:spcBef>
                <a:spcPts val="0"/>
              </a:spcBef>
              <a:buNone/>
              <a:defRPr sz="1100" b="0" i="1">
                <a:solidFill>
                  <a:schemeClr val="bg1"/>
                </a:solidFill>
                <a:latin typeface="+mn-lt"/>
              </a:defRPr>
            </a:lvl8pPr>
            <a:lvl9pPr marL="0" indent="0">
              <a:spcBef>
                <a:spcPts val="0"/>
              </a:spcBef>
              <a:buNone/>
              <a:defRPr sz="1100" b="0" i="1">
                <a:solidFill>
                  <a:schemeClr val="bg1"/>
                </a:solidFill>
                <a:latin typeface="+mn-lt"/>
              </a:defRPr>
            </a:lvl9pPr>
          </a:lstStyle>
          <a:p>
            <a:pPr lvl="0"/>
            <a:r>
              <a:rPr lang="en-GB"/>
              <a:t>Email address</a:t>
            </a:r>
            <a:endParaRPr lang="en-GB" dirty="0"/>
          </a:p>
        </p:txBody>
      </p:sp>
      <p:sp>
        <p:nvSpPr>
          <p:cNvPr id="7" name="Datumsplatzhalter 6">
            <a:extLst>
              <a:ext uri="{FF2B5EF4-FFF2-40B4-BE49-F238E27FC236}">
                <a16:creationId xmlns:a16="http://schemas.microsoft.com/office/drawing/2014/main" id="{D95FFC9A-C143-40B9-6995-F4311D53207D}"/>
              </a:ext>
            </a:extLst>
          </p:cNvPr>
          <p:cNvSpPr>
            <a:spLocks noGrp="1"/>
          </p:cNvSpPr>
          <p:nvPr>
            <p:ph type="dt" sz="half" idx="48"/>
          </p:nvPr>
        </p:nvSpPr>
        <p:spPr/>
        <p:txBody>
          <a:bodyPr/>
          <a:lstStyle/>
          <a:p>
            <a:r>
              <a:rPr lang="en-US"/>
              <a:t>7/26/2022</a:t>
            </a:r>
            <a:endParaRPr lang="en-GB" dirty="0"/>
          </a:p>
        </p:txBody>
      </p:sp>
      <p:sp>
        <p:nvSpPr>
          <p:cNvPr id="8" name="Fußzeilenplatzhalter 7">
            <a:extLst>
              <a:ext uri="{FF2B5EF4-FFF2-40B4-BE49-F238E27FC236}">
                <a16:creationId xmlns:a16="http://schemas.microsoft.com/office/drawing/2014/main" id="{44C048B1-5254-84B6-77BE-ED61940F59EC}"/>
              </a:ext>
            </a:extLst>
          </p:cNvPr>
          <p:cNvSpPr>
            <a:spLocks noGrp="1"/>
          </p:cNvSpPr>
          <p:nvPr>
            <p:ph type="ftr" sz="quarter" idx="49"/>
          </p:nvPr>
        </p:nvSpPr>
        <p:spPr/>
        <p:txBody>
          <a:bodyPr/>
          <a:lstStyle/>
          <a:p>
            <a:r>
              <a:rPr lang="de-DE"/>
              <a:t>Der Konsument nach Corona und Consumer Voice</a:t>
            </a:r>
            <a:endParaRPr lang="de-DE" dirty="0"/>
          </a:p>
        </p:txBody>
      </p:sp>
      <p:sp>
        <p:nvSpPr>
          <p:cNvPr id="9" name="Foliennummernplatzhalter 8">
            <a:extLst>
              <a:ext uri="{FF2B5EF4-FFF2-40B4-BE49-F238E27FC236}">
                <a16:creationId xmlns:a16="http://schemas.microsoft.com/office/drawing/2014/main" id="{F8703A5B-DF98-C3AC-775D-C8026A388DBE}"/>
              </a:ext>
            </a:extLst>
          </p:cNvPr>
          <p:cNvSpPr>
            <a:spLocks noGrp="1"/>
          </p:cNvSpPr>
          <p:nvPr>
            <p:ph type="sldNum" sz="quarter" idx="50"/>
          </p:nvPr>
        </p:nvSpPr>
        <p:spPr/>
        <p:txBody>
          <a:bodyPr/>
          <a:lstStyle/>
          <a:p>
            <a:fld id="{CAEA825B-D749-4F0A-886E-8D45A39EAF2A}" type="slidenum">
              <a:rPr lang="de-DE" smtClean="0"/>
              <a:pPr/>
              <a:t>‹Nº›</a:t>
            </a:fld>
            <a:endParaRPr lang="de-DE"/>
          </a:p>
        </p:txBody>
      </p:sp>
      <p:sp>
        <p:nvSpPr>
          <p:cNvPr id="35" name="Subtitle">
            <a:extLst>
              <a:ext uri="{FF2B5EF4-FFF2-40B4-BE49-F238E27FC236}">
                <a16:creationId xmlns:a16="http://schemas.microsoft.com/office/drawing/2014/main" id="{326D6347-7AFB-E810-EC0D-686D8E5B4239}"/>
              </a:ext>
            </a:extLst>
          </p:cNvPr>
          <p:cNvSpPr>
            <a:spLocks noGrp="1"/>
          </p:cNvSpPr>
          <p:nvPr>
            <p:ph type="subTitle" idx="13" hasCustomPrompt="1"/>
          </p:nvPr>
        </p:nvSpPr>
        <p:spPr bwMode="gray">
          <a:xfrm>
            <a:off x="335360" y="659362"/>
            <a:ext cx="8640959" cy="360040"/>
          </a:xfrm>
          <a:prstGeom prst="rect">
            <a:avLst/>
          </a:prstGeom>
        </p:spPr>
        <p:txBody>
          <a:bodyPr wrap="none" tIns="0"/>
          <a:lstStyle>
            <a:lvl1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1pPr>
            <a:lvl2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2pPr>
            <a:lvl3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3pPr>
            <a:lvl4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4pPr>
            <a:lvl5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5pPr>
            <a:lvl6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6pPr>
            <a:lvl7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7pPr>
            <a:lvl8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8pPr>
            <a:lvl9pPr marL="0" indent="0" algn="l">
              <a:lnSpc>
                <a:spcPct val="100000"/>
              </a:lnSpc>
              <a:spcBef>
                <a:spcPts val="0"/>
              </a:spcBef>
              <a:buNone/>
              <a:defRPr sz="2000">
                <a:latin typeface="Lato Light" panose="020F0502020204030203" pitchFamily="34" charset="0"/>
                <a:ea typeface="Lato Light" panose="020F0502020204030203" pitchFamily="34" charset="0"/>
                <a:cs typeface="Lato Light" panose="020F0502020204030203" pitchFamily="34" charset="0"/>
              </a:defRPr>
            </a:lvl9pPr>
          </a:lstStyle>
          <a:p>
            <a:r>
              <a:rPr lang="en-GB" dirty="0"/>
              <a:t>Insert your sub-headline in </a:t>
            </a:r>
            <a:r>
              <a:rPr lang="en-GB" dirty="0" err="1"/>
              <a:t>Lato</a:t>
            </a:r>
            <a:r>
              <a:rPr lang="en-GB" dirty="0"/>
              <a:t> light 20 </a:t>
            </a:r>
            <a:r>
              <a:rPr lang="en-GB" dirty="0" err="1"/>
              <a:t>pt</a:t>
            </a:r>
            <a:r>
              <a:rPr lang="en-GB" dirty="0"/>
              <a:t> here</a:t>
            </a:r>
          </a:p>
        </p:txBody>
      </p:sp>
      <p:grpSp>
        <p:nvGrpSpPr>
          <p:cNvPr id="53" name="Gruppieren 52">
            <a:extLst>
              <a:ext uri="{FF2B5EF4-FFF2-40B4-BE49-F238E27FC236}">
                <a16:creationId xmlns:a16="http://schemas.microsoft.com/office/drawing/2014/main" id="{D71B6C04-F658-4880-8CEE-875585C49290}"/>
              </a:ext>
              <a:ext uri="{C183D7F6-B498-43B3-948B-1728B52AA6E4}">
                <adec:decorative xmlns:adec="http://schemas.microsoft.com/office/drawing/2017/decorative" val="1"/>
              </a:ext>
            </a:extLst>
          </p:cNvPr>
          <p:cNvGrpSpPr/>
          <p:nvPr userDrawn="1"/>
        </p:nvGrpSpPr>
        <p:grpSpPr>
          <a:xfrm>
            <a:off x="-168768" y="-171392"/>
            <a:ext cx="12025408" cy="6264688"/>
            <a:chOff x="-168768" y="-171392"/>
            <a:chExt cx="12025408" cy="6264688"/>
          </a:xfrm>
        </p:grpSpPr>
        <p:cxnSp>
          <p:nvCxnSpPr>
            <p:cNvPr id="54" name="Gerader Verbinder 53">
              <a:extLst>
                <a:ext uri="{FF2B5EF4-FFF2-40B4-BE49-F238E27FC236}">
                  <a16:creationId xmlns:a16="http://schemas.microsoft.com/office/drawing/2014/main" id="{1829AD31-CD92-2867-C02E-D5739213D893}"/>
                </a:ext>
              </a:extLst>
            </p:cNvPr>
            <p:cNvCxnSpPr/>
            <p:nvPr userDrawn="1"/>
          </p:nvCxnSpPr>
          <p:spPr bwMode="gray">
            <a:xfrm>
              <a:off x="33536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FD927032-1278-8325-37DC-79A877812E88}"/>
                </a:ext>
              </a:extLst>
            </p:cNvPr>
            <p:cNvCxnSpPr/>
            <p:nvPr userDrawn="1"/>
          </p:nvCxnSpPr>
          <p:spPr bwMode="gray">
            <a:xfrm>
              <a:off x="436780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7375E6A1-B44B-C960-EC8F-22B2352A32D9}"/>
                </a:ext>
              </a:extLst>
            </p:cNvPr>
            <p:cNvCxnSpPr/>
            <p:nvPr userDrawn="1"/>
          </p:nvCxnSpPr>
          <p:spPr bwMode="gray">
            <a:xfrm>
              <a:off x="494387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F7AF7C6F-3D50-F6AB-2A87-4206BEDA113A}"/>
                </a:ext>
              </a:extLst>
            </p:cNvPr>
            <p:cNvCxnSpPr/>
            <p:nvPr userDrawn="1"/>
          </p:nvCxnSpPr>
          <p:spPr bwMode="gray">
            <a:xfrm>
              <a:off x="667206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BBAFBC11-1797-F51E-0EC5-D510613162CA}"/>
                </a:ext>
              </a:extLst>
            </p:cNvPr>
            <p:cNvCxnSpPr/>
            <p:nvPr userDrawn="1"/>
          </p:nvCxnSpPr>
          <p:spPr bwMode="gray">
            <a:xfrm>
              <a:off x="609600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246B679D-C145-7520-60BA-E2BFA04F26FF}"/>
                </a:ext>
              </a:extLst>
            </p:cNvPr>
            <p:cNvCxnSpPr/>
            <p:nvPr userDrawn="1"/>
          </p:nvCxnSpPr>
          <p:spPr bwMode="gray">
            <a:xfrm>
              <a:off x="724812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109A4FDE-A605-8069-7229-D2F7AF862B74}"/>
                </a:ext>
              </a:extLst>
            </p:cNvPr>
            <p:cNvCxnSpPr/>
            <p:nvPr userDrawn="1"/>
          </p:nvCxnSpPr>
          <p:spPr bwMode="gray">
            <a:xfrm>
              <a:off x="782419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F1FEA7E3-1BD3-91CF-6D40-6465B860B0EE}"/>
                </a:ext>
              </a:extLst>
            </p:cNvPr>
            <p:cNvCxnSpPr/>
            <p:nvPr userDrawn="1"/>
          </p:nvCxnSpPr>
          <p:spPr bwMode="gray">
            <a:xfrm>
              <a:off x="840025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659EA9FF-08F9-0725-C652-D2025FB4F321}"/>
                </a:ext>
              </a:extLst>
            </p:cNvPr>
            <p:cNvCxnSpPr/>
            <p:nvPr userDrawn="1"/>
          </p:nvCxnSpPr>
          <p:spPr bwMode="gray">
            <a:xfrm>
              <a:off x="897632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5" name="Gerader Verbinder 84">
              <a:extLst>
                <a:ext uri="{FF2B5EF4-FFF2-40B4-BE49-F238E27FC236}">
                  <a16:creationId xmlns:a16="http://schemas.microsoft.com/office/drawing/2014/main" id="{AEECBB46-172A-DF0A-DD14-606812186792}"/>
                </a:ext>
              </a:extLst>
            </p:cNvPr>
            <p:cNvCxnSpPr/>
            <p:nvPr userDrawn="1"/>
          </p:nvCxnSpPr>
          <p:spPr bwMode="gray">
            <a:xfrm>
              <a:off x="1128057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6" name="Gerader Verbinder 85">
              <a:extLst>
                <a:ext uri="{FF2B5EF4-FFF2-40B4-BE49-F238E27FC236}">
                  <a16:creationId xmlns:a16="http://schemas.microsoft.com/office/drawing/2014/main" id="{E3B30F6E-7DF7-D8D7-2C78-66737B197EB3}"/>
                </a:ext>
              </a:extLst>
            </p:cNvPr>
            <p:cNvCxnSpPr/>
            <p:nvPr userDrawn="1"/>
          </p:nvCxnSpPr>
          <p:spPr bwMode="gray">
            <a:xfrm>
              <a:off x="1185664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7" name="Gerader Verbinder 86">
              <a:extLst>
                <a:ext uri="{FF2B5EF4-FFF2-40B4-BE49-F238E27FC236}">
                  <a16:creationId xmlns:a16="http://schemas.microsoft.com/office/drawing/2014/main" id="{1D3F8E7D-4B51-12D5-F0F6-FF74C95312B4}"/>
                </a:ext>
              </a:extLst>
            </p:cNvPr>
            <p:cNvCxnSpPr>
              <a:cxnSpLocks/>
            </p:cNvCxnSpPr>
            <p:nvPr userDrawn="1"/>
          </p:nvCxnSpPr>
          <p:spPr bwMode="gray">
            <a:xfrm rot="5400000">
              <a:off x="-132688" y="29665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8" name="Gerader Verbinder 87">
              <a:extLst>
                <a:ext uri="{FF2B5EF4-FFF2-40B4-BE49-F238E27FC236}">
                  <a16:creationId xmlns:a16="http://schemas.microsoft.com/office/drawing/2014/main" id="{D7DEAACA-EB19-4DA3-9065-B6075E131BF5}"/>
                </a:ext>
              </a:extLst>
            </p:cNvPr>
            <p:cNvCxnSpPr/>
            <p:nvPr userDrawn="1"/>
          </p:nvCxnSpPr>
          <p:spPr bwMode="gray">
            <a:xfrm>
              <a:off x="321568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89" name="Gerader Verbinder 88">
              <a:extLst>
                <a:ext uri="{FF2B5EF4-FFF2-40B4-BE49-F238E27FC236}">
                  <a16:creationId xmlns:a16="http://schemas.microsoft.com/office/drawing/2014/main" id="{9DA4F613-21AC-CE38-36B9-1900CBE6687C}"/>
                </a:ext>
              </a:extLst>
            </p:cNvPr>
            <p:cNvCxnSpPr/>
            <p:nvPr userDrawn="1"/>
          </p:nvCxnSpPr>
          <p:spPr bwMode="gray">
            <a:xfrm>
              <a:off x="379174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90" name="Gerader Verbinder 89">
              <a:extLst>
                <a:ext uri="{FF2B5EF4-FFF2-40B4-BE49-F238E27FC236}">
                  <a16:creationId xmlns:a16="http://schemas.microsoft.com/office/drawing/2014/main" id="{079D8346-8EF1-564F-0DFE-26E9D6673A4F}"/>
                </a:ext>
              </a:extLst>
            </p:cNvPr>
            <p:cNvCxnSpPr>
              <a:cxnSpLocks/>
            </p:cNvCxnSpPr>
            <p:nvPr userDrawn="1"/>
          </p:nvCxnSpPr>
          <p:spPr bwMode="gray">
            <a:xfrm rot="5400000">
              <a:off x="-132704" y="87272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91" name="Gerader Verbinder 90">
              <a:extLst>
                <a:ext uri="{FF2B5EF4-FFF2-40B4-BE49-F238E27FC236}">
                  <a16:creationId xmlns:a16="http://schemas.microsoft.com/office/drawing/2014/main" id="{5D998D03-9501-6258-5EF6-CDC9E78501D7}"/>
                </a:ext>
              </a:extLst>
            </p:cNvPr>
            <p:cNvCxnSpPr>
              <a:cxnSpLocks/>
            </p:cNvCxnSpPr>
            <p:nvPr userDrawn="1"/>
          </p:nvCxnSpPr>
          <p:spPr bwMode="gray">
            <a:xfrm rot="5400000">
              <a:off x="-132712" y="202484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92" name="Gerader Verbinder 91">
              <a:extLst>
                <a:ext uri="{FF2B5EF4-FFF2-40B4-BE49-F238E27FC236}">
                  <a16:creationId xmlns:a16="http://schemas.microsoft.com/office/drawing/2014/main" id="{73DEA7B8-9A13-012F-904E-C9E96631C502}"/>
                </a:ext>
              </a:extLst>
            </p:cNvPr>
            <p:cNvCxnSpPr>
              <a:cxnSpLocks/>
            </p:cNvCxnSpPr>
            <p:nvPr userDrawn="1"/>
          </p:nvCxnSpPr>
          <p:spPr bwMode="gray">
            <a:xfrm rot="5400000">
              <a:off x="-132768" y="605729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93" name="Gerader Verbinder 92">
              <a:extLst>
                <a:ext uri="{FF2B5EF4-FFF2-40B4-BE49-F238E27FC236}">
                  <a16:creationId xmlns:a16="http://schemas.microsoft.com/office/drawing/2014/main" id="{08EB679F-140D-CAF9-724B-CACF443161F1}"/>
                </a:ext>
              </a:extLst>
            </p:cNvPr>
            <p:cNvCxnSpPr/>
            <p:nvPr/>
          </p:nvCxnSpPr>
          <p:spPr bwMode="gray">
            <a:xfrm>
              <a:off x="1070451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100" name="Gerader Verbinder 99">
              <a:extLst>
                <a:ext uri="{FF2B5EF4-FFF2-40B4-BE49-F238E27FC236}">
                  <a16:creationId xmlns:a16="http://schemas.microsoft.com/office/drawing/2014/main" id="{88A7FA90-72E3-427C-27D2-1E3BB507A1F7}"/>
                </a:ext>
              </a:extLst>
            </p:cNvPr>
            <p:cNvCxnSpPr/>
            <p:nvPr/>
          </p:nvCxnSpPr>
          <p:spPr bwMode="gray">
            <a:xfrm>
              <a:off x="1012844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101" name="Gerader Verbinder 100">
              <a:extLst>
                <a:ext uri="{FF2B5EF4-FFF2-40B4-BE49-F238E27FC236}">
                  <a16:creationId xmlns:a16="http://schemas.microsoft.com/office/drawing/2014/main" id="{7DE0C847-482A-DB21-CF4A-D457D140C07D}"/>
                </a:ext>
              </a:extLst>
            </p:cNvPr>
            <p:cNvCxnSpPr/>
            <p:nvPr/>
          </p:nvCxnSpPr>
          <p:spPr bwMode="gray">
            <a:xfrm>
              <a:off x="955059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102" name="Gerader Verbinder 101">
              <a:extLst>
                <a:ext uri="{FF2B5EF4-FFF2-40B4-BE49-F238E27FC236}">
                  <a16:creationId xmlns:a16="http://schemas.microsoft.com/office/drawing/2014/main" id="{AC841D9D-8BC4-886A-96BD-4C33422E089C}"/>
                </a:ext>
              </a:extLst>
            </p:cNvPr>
            <p:cNvCxnSpPr/>
            <p:nvPr/>
          </p:nvCxnSpPr>
          <p:spPr bwMode="gray">
            <a:xfrm>
              <a:off x="551973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103" name="Gerader Verbinder 102">
              <a:extLst>
                <a:ext uri="{FF2B5EF4-FFF2-40B4-BE49-F238E27FC236}">
                  <a16:creationId xmlns:a16="http://schemas.microsoft.com/office/drawing/2014/main" id="{86251E1B-B32E-7E1C-3620-9C85F935C306}"/>
                </a:ext>
              </a:extLst>
            </p:cNvPr>
            <p:cNvCxnSpPr/>
            <p:nvPr/>
          </p:nvCxnSpPr>
          <p:spPr bwMode="gray">
            <a:xfrm>
              <a:off x="263961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104" name="Gerader Verbinder 103">
              <a:extLst>
                <a:ext uri="{FF2B5EF4-FFF2-40B4-BE49-F238E27FC236}">
                  <a16:creationId xmlns:a16="http://schemas.microsoft.com/office/drawing/2014/main" id="{EDD1241C-539D-7177-1B05-979D146BF0E6}"/>
                </a:ext>
              </a:extLst>
            </p:cNvPr>
            <p:cNvCxnSpPr/>
            <p:nvPr/>
          </p:nvCxnSpPr>
          <p:spPr bwMode="gray">
            <a:xfrm>
              <a:off x="206355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105" name="Gerader Verbinder 104">
              <a:extLst>
                <a:ext uri="{FF2B5EF4-FFF2-40B4-BE49-F238E27FC236}">
                  <a16:creationId xmlns:a16="http://schemas.microsoft.com/office/drawing/2014/main" id="{444BB93B-7996-8A09-C101-2005BD63F211}"/>
                </a:ext>
              </a:extLst>
            </p:cNvPr>
            <p:cNvCxnSpPr/>
            <p:nvPr/>
          </p:nvCxnSpPr>
          <p:spPr bwMode="gray">
            <a:xfrm>
              <a:off x="148748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112" name="Gerader Verbinder 111">
              <a:extLst>
                <a:ext uri="{FF2B5EF4-FFF2-40B4-BE49-F238E27FC236}">
                  <a16:creationId xmlns:a16="http://schemas.microsoft.com/office/drawing/2014/main" id="{096605B2-FE25-3EB5-55EE-3D3A14118D12}"/>
                </a:ext>
              </a:extLst>
            </p:cNvPr>
            <p:cNvCxnSpPr/>
            <p:nvPr/>
          </p:nvCxnSpPr>
          <p:spPr bwMode="gray">
            <a:xfrm>
              <a:off x="91142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113" name="Gerader Verbinder 112">
              <a:extLst>
                <a:ext uri="{FF2B5EF4-FFF2-40B4-BE49-F238E27FC236}">
                  <a16:creationId xmlns:a16="http://schemas.microsoft.com/office/drawing/2014/main" id="{C7D8189E-C2FF-5271-84ED-26C3C344FE11}"/>
                </a:ext>
              </a:extLst>
            </p:cNvPr>
            <p:cNvCxnSpPr>
              <a:cxnSpLocks/>
            </p:cNvCxnSpPr>
            <p:nvPr/>
          </p:nvCxnSpPr>
          <p:spPr bwMode="gray">
            <a:xfrm rot="5400000">
              <a:off x="-132704" y="144878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114" name="Gerader Verbinder 113">
              <a:extLst>
                <a:ext uri="{FF2B5EF4-FFF2-40B4-BE49-F238E27FC236}">
                  <a16:creationId xmlns:a16="http://schemas.microsoft.com/office/drawing/2014/main" id="{210FD035-E568-768E-571B-6C180A3EBF09}"/>
                </a:ext>
              </a:extLst>
            </p:cNvPr>
            <p:cNvCxnSpPr>
              <a:cxnSpLocks/>
            </p:cNvCxnSpPr>
            <p:nvPr/>
          </p:nvCxnSpPr>
          <p:spPr bwMode="gray">
            <a:xfrm rot="5400000">
              <a:off x="-132712" y="260091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115" name="Gerader Verbinder 114">
              <a:extLst>
                <a:ext uri="{FF2B5EF4-FFF2-40B4-BE49-F238E27FC236}">
                  <a16:creationId xmlns:a16="http://schemas.microsoft.com/office/drawing/2014/main" id="{ED5EA98F-3643-7874-B082-6EF2C463FA8C}"/>
                </a:ext>
              </a:extLst>
            </p:cNvPr>
            <p:cNvCxnSpPr>
              <a:cxnSpLocks/>
            </p:cNvCxnSpPr>
            <p:nvPr/>
          </p:nvCxnSpPr>
          <p:spPr bwMode="gray">
            <a:xfrm rot="5400000">
              <a:off x="-132712" y="317697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116" name="Gerader Verbinder 115">
              <a:extLst>
                <a:ext uri="{FF2B5EF4-FFF2-40B4-BE49-F238E27FC236}">
                  <a16:creationId xmlns:a16="http://schemas.microsoft.com/office/drawing/2014/main" id="{DA3C8EED-5791-7B3D-2A24-4F5F7227EEB9}"/>
                </a:ext>
              </a:extLst>
            </p:cNvPr>
            <p:cNvCxnSpPr>
              <a:cxnSpLocks/>
            </p:cNvCxnSpPr>
            <p:nvPr/>
          </p:nvCxnSpPr>
          <p:spPr bwMode="gray">
            <a:xfrm rot="5400000">
              <a:off x="-132712" y="375304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117" name="Gerader Verbinder 116">
              <a:extLst>
                <a:ext uri="{FF2B5EF4-FFF2-40B4-BE49-F238E27FC236}">
                  <a16:creationId xmlns:a16="http://schemas.microsoft.com/office/drawing/2014/main" id="{FC2562CD-7701-1AC6-C17E-8362DB61C2BA}"/>
                </a:ext>
              </a:extLst>
            </p:cNvPr>
            <p:cNvCxnSpPr>
              <a:cxnSpLocks/>
            </p:cNvCxnSpPr>
            <p:nvPr/>
          </p:nvCxnSpPr>
          <p:spPr bwMode="gray">
            <a:xfrm rot="5400000">
              <a:off x="-132712" y="432910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118" name="Gerader Verbinder 117">
              <a:extLst>
                <a:ext uri="{FF2B5EF4-FFF2-40B4-BE49-F238E27FC236}">
                  <a16:creationId xmlns:a16="http://schemas.microsoft.com/office/drawing/2014/main" id="{B907A387-2344-A7C1-6862-6B59A14CC71D}"/>
                </a:ext>
              </a:extLst>
            </p:cNvPr>
            <p:cNvCxnSpPr>
              <a:cxnSpLocks/>
            </p:cNvCxnSpPr>
            <p:nvPr/>
          </p:nvCxnSpPr>
          <p:spPr bwMode="gray">
            <a:xfrm rot="5400000">
              <a:off x="-132712" y="490516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125" name="Gerader Verbinder 124">
              <a:extLst>
                <a:ext uri="{FF2B5EF4-FFF2-40B4-BE49-F238E27FC236}">
                  <a16:creationId xmlns:a16="http://schemas.microsoft.com/office/drawing/2014/main" id="{EB04BD5F-C9DF-37AF-0E80-4F13CD5CE486}"/>
                </a:ext>
              </a:extLst>
            </p:cNvPr>
            <p:cNvCxnSpPr>
              <a:cxnSpLocks/>
            </p:cNvCxnSpPr>
            <p:nvPr/>
          </p:nvCxnSpPr>
          <p:spPr bwMode="gray">
            <a:xfrm rot="5400000">
              <a:off x="-132712" y="548123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495275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mpty">
    <p:bg>
      <p:bgRef idx="1001">
        <a:schemeClr val="bg1"/>
      </p:bgRef>
    </p:bg>
    <p:spTree>
      <p:nvGrpSpPr>
        <p:cNvPr id="1" name=""/>
        <p:cNvGrpSpPr/>
        <p:nvPr/>
      </p:nvGrpSpPr>
      <p:grpSpPr>
        <a:xfrm>
          <a:off x="0" y="0"/>
          <a:ext cx="0" cy="0"/>
          <a:chOff x="0" y="0"/>
          <a:chExt cx="0" cy="0"/>
        </a:xfrm>
      </p:grpSpPr>
      <p:sp>
        <p:nvSpPr>
          <p:cNvPr id="7" name="Datumsplatzhalter 6">
            <a:extLst>
              <a:ext uri="{FF2B5EF4-FFF2-40B4-BE49-F238E27FC236}">
                <a16:creationId xmlns:a16="http://schemas.microsoft.com/office/drawing/2014/main" id="{B923389D-590E-5F23-B8A1-8A99D605824F}"/>
              </a:ext>
            </a:extLst>
          </p:cNvPr>
          <p:cNvSpPr>
            <a:spLocks noGrp="1"/>
          </p:cNvSpPr>
          <p:nvPr>
            <p:ph type="dt" sz="half" idx="18"/>
          </p:nvPr>
        </p:nvSpPr>
        <p:spPr/>
        <p:txBody>
          <a:bodyPr/>
          <a:lstStyle/>
          <a:p>
            <a:r>
              <a:rPr lang="en-US"/>
              <a:t>7/26/2022</a:t>
            </a:r>
            <a:endParaRPr lang="en-GB" dirty="0"/>
          </a:p>
        </p:txBody>
      </p:sp>
      <p:sp>
        <p:nvSpPr>
          <p:cNvPr id="8" name="Fußzeilenplatzhalter 7">
            <a:extLst>
              <a:ext uri="{FF2B5EF4-FFF2-40B4-BE49-F238E27FC236}">
                <a16:creationId xmlns:a16="http://schemas.microsoft.com/office/drawing/2014/main" id="{0CC01ECD-357C-ED32-75AC-EEDFCFD147EF}"/>
              </a:ext>
            </a:extLst>
          </p:cNvPr>
          <p:cNvSpPr>
            <a:spLocks noGrp="1"/>
          </p:cNvSpPr>
          <p:nvPr>
            <p:ph type="ftr" sz="quarter" idx="19"/>
          </p:nvPr>
        </p:nvSpPr>
        <p:spPr/>
        <p:txBody>
          <a:bodyPr/>
          <a:lstStyle/>
          <a:p>
            <a:r>
              <a:rPr lang="de-DE"/>
              <a:t>Der Konsument nach Corona und Consumer Voice</a:t>
            </a:r>
            <a:endParaRPr lang="de-DE" dirty="0"/>
          </a:p>
        </p:txBody>
      </p:sp>
      <p:sp>
        <p:nvSpPr>
          <p:cNvPr id="50" name="Foliennummernplatzhalter 49">
            <a:extLst>
              <a:ext uri="{FF2B5EF4-FFF2-40B4-BE49-F238E27FC236}">
                <a16:creationId xmlns:a16="http://schemas.microsoft.com/office/drawing/2014/main" id="{91FFA9BC-6ABB-1557-11DF-76C17B695625}"/>
              </a:ext>
            </a:extLst>
          </p:cNvPr>
          <p:cNvSpPr>
            <a:spLocks noGrp="1"/>
          </p:cNvSpPr>
          <p:nvPr>
            <p:ph type="sldNum" sz="quarter" idx="20"/>
          </p:nvPr>
        </p:nvSpPr>
        <p:spPr/>
        <p:txBody>
          <a:bodyPr/>
          <a:lstStyle/>
          <a:p>
            <a:fld id="{CAEA825B-D749-4F0A-886E-8D45A39EAF2A}" type="slidenum">
              <a:rPr lang="de-DE" smtClean="0"/>
              <a:pPr/>
              <a:t>‹Nº›</a:t>
            </a:fld>
            <a:endParaRPr lang="de-DE"/>
          </a:p>
        </p:txBody>
      </p:sp>
      <p:sp>
        <p:nvSpPr>
          <p:cNvPr id="11" name="Source">
            <a:extLst>
              <a:ext uri="{FF2B5EF4-FFF2-40B4-BE49-F238E27FC236}">
                <a16:creationId xmlns:a16="http://schemas.microsoft.com/office/drawing/2014/main" id="{D1F528C3-7DB6-C415-A8E8-2BA45F8BD225}"/>
              </a:ext>
            </a:extLst>
          </p:cNvPr>
          <p:cNvSpPr>
            <a:spLocks noGrp="1"/>
          </p:cNvSpPr>
          <p:nvPr>
            <p:ph type="body" sz="quarter" idx="26" hasCustomPrompt="1"/>
          </p:nvPr>
        </p:nvSpPr>
        <p:spPr bwMode="gray">
          <a:xfrm>
            <a:off x="1487488" y="6525000"/>
            <a:ext cx="9217024" cy="144000"/>
          </a:xfrm>
          <a:prstGeom prst="rect">
            <a:avLst/>
          </a:prstGeom>
        </p:spPr>
        <p:txBody>
          <a:bodyPr lIns="0" tIns="0" rIns="0" bIns="0" anchor="b" anchorCtr="0"/>
          <a:lstStyle>
            <a:lvl1pPr marL="0" indent="0" algn="l">
              <a:lnSpc>
                <a:spcPct val="100000"/>
              </a:lnSpc>
              <a:spcBef>
                <a:spcPts val="0"/>
              </a:spcBef>
              <a:buFont typeface="Arial" panose="020B0604020202020204" pitchFamily="34" charset="0"/>
              <a:buNone/>
              <a:defRPr sz="900" baseline="0"/>
            </a:lvl1pPr>
            <a:lvl2pPr marL="0" indent="0" algn="l">
              <a:lnSpc>
                <a:spcPct val="100000"/>
              </a:lnSpc>
              <a:spcBef>
                <a:spcPts val="0"/>
              </a:spcBef>
              <a:buFont typeface="Arial" panose="020B0604020202020204" pitchFamily="34" charset="0"/>
              <a:buNone/>
              <a:defRPr sz="900"/>
            </a:lvl2pPr>
            <a:lvl3pPr marL="0" indent="0" algn="l">
              <a:lnSpc>
                <a:spcPct val="100000"/>
              </a:lnSpc>
              <a:spcBef>
                <a:spcPts val="0"/>
              </a:spcBef>
              <a:buFont typeface="Arial" panose="020B0604020202020204" pitchFamily="34" charset="0"/>
              <a:buNone/>
              <a:defRPr sz="900"/>
            </a:lvl3pPr>
            <a:lvl4pPr marL="0" indent="0" algn="l">
              <a:lnSpc>
                <a:spcPct val="100000"/>
              </a:lnSpc>
              <a:spcBef>
                <a:spcPts val="0"/>
              </a:spcBef>
              <a:buFont typeface="Arial" panose="020B0604020202020204" pitchFamily="34" charset="0"/>
              <a:buNone/>
              <a:defRPr sz="900"/>
            </a:lvl4pPr>
            <a:lvl5pPr marL="0" indent="0" algn="l">
              <a:lnSpc>
                <a:spcPct val="100000"/>
              </a:lnSpc>
              <a:spcBef>
                <a:spcPts val="0"/>
              </a:spcBef>
              <a:buFont typeface="Arial" panose="020B0604020202020204" pitchFamily="34" charset="0"/>
              <a:buNone/>
              <a:defRPr sz="900" b="0">
                <a:latin typeface="+mn-lt"/>
              </a:defRPr>
            </a:lvl5pPr>
            <a:lvl6pPr marL="0" indent="0">
              <a:lnSpc>
                <a:spcPct val="100000"/>
              </a:lnSpc>
              <a:spcBef>
                <a:spcPts val="0"/>
              </a:spcBef>
              <a:buNone/>
              <a:defRPr sz="900" b="0">
                <a:latin typeface="+mn-lt"/>
              </a:defRPr>
            </a:lvl6pPr>
            <a:lvl7pPr marL="0" indent="0">
              <a:lnSpc>
                <a:spcPct val="100000"/>
              </a:lnSpc>
              <a:spcBef>
                <a:spcPts val="0"/>
              </a:spcBef>
              <a:buNone/>
              <a:defRPr sz="900" b="0">
                <a:latin typeface="+mn-lt"/>
              </a:defRPr>
            </a:lvl7pPr>
            <a:lvl8pPr marL="0" indent="0">
              <a:lnSpc>
                <a:spcPct val="100000"/>
              </a:lnSpc>
              <a:spcBef>
                <a:spcPts val="0"/>
              </a:spcBef>
              <a:buNone/>
              <a:defRPr sz="900" b="0">
                <a:latin typeface="+mn-lt"/>
              </a:defRPr>
            </a:lvl8pPr>
            <a:lvl9pPr marL="0" indent="0">
              <a:lnSpc>
                <a:spcPct val="100000"/>
              </a:lnSpc>
              <a:spcBef>
                <a:spcPts val="0"/>
              </a:spcBef>
              <a:buNone/>
              <a:defRPr sz="900" b="0">
                <a:latin typeface="+mn-lt"/>
              </a:defRPr>
            </a:lvl9pPr>
          </a:lstStyle>
          <a:p>
            <a:pPr lvl="0"/>
            <a:r>
              <a:rPr lang="en-GB" dirty="0"/>
              <a:t>Source, Footnote</a:t>
            </a:r>
          </a:p>
        </p:txBody>
      </p:sp>
      <p:grpSp>
        <p:nvGrpSpPr>
          <p:cNvPr id="24" name="Gruppieren 23">
            <a:extLst>
              <a:ext uri="{FF2B5EF4-FFF2-40B4-BE49-F238E27FC236}">
                <a16:creationId xmlns:a16="http://schemas.microsoft.com/office/drawing/2014/main" id="{1C520E73-514D-012F-4F49-E0A3F3A6ED93}"/>
              </a:ext>
              <a:ext uri="{C183D7F6-B498-43B3-948B-1728B52AA6E4}">
                <adec:decorative xmlns:adec="http://schemas.microsoft.com/office/drawing/2017/decorative" val="1"/>
              </a:ext>
            </a:extLst>
          </p:cNvPr>
          <p:cNvGrpSpPr/>
          <p:nvPr userDrawn="1"/>
        </p:nvGrpSpPr>
        <p:grpSpPr>
          <a:xfrm>
            <a:off x="-168768" y="-171392"/>
            <a:ext cx="12025408" cy="6264688"/>
            <a:chOff x="-168768" y="-171392"/>
            <a:chExt cx="12025408" cy="6264688"/>
          </a:xfrm>
        </p:grpSpPr>
        <p:cxnSp>
          <p:nvCxnSpPr>
            <p:cNvPr id="25" name="Gerader Verbinder 24">
              <a:extLst>
                <a:ext uri="{FF2B5EF4-FFF2-40B4-BE49-F238E27FC236}">
                  <a16:creationId xmlns:a16="http://schemas.microsoft.com/office/drawing/2014/main" id="{83B181A0-65E6-1EF3-8667-7ED9988A1240}"/>
                </a:ext>
              </a:extLst>
            </p:cNvPr>
            <p:cNvCxnSpPr/>
            <p:nvPr userDrawn="1"/>
          </p:nvCxnSpPr>
          <p:spPr bwMode="gray">
            <a:xfrm>
              <a:off x="33536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2484033F-9659-1BD3-E9C2-E7C79A6E6CD7}"/>
                </a:ext>
              </a:extLst>
            </p:cNvPr>
            <p:cNvCxnSpPr/>
            <p:nvPr userDrawn="1"/>
          </p:nvCxnSpPr>
          <p:spPr bwMode="gray">
            <a:xfrm>
              <a:off x="436780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4621BFDF-74E2-C2D8-99C0-22CD2299D14D}"/>
                </a:ext>
              </a:extLst>
            </p:cNvPr>
            <p:cNvCxnSpPr/>
            <p:nvPr userDrawn="1"/>
          </p:nvCxnSpPr>
          <p:spPr bwMode="gray">
            <a:xfrm>
              <a:off x="494387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A1F5DC77-F876-E52C-A58B-27B729CFE9DC}"/>
                </a:ext>
              </a:extLst>
            </p:cNvPr>
            <p:cNvCxnSpPr/>
            <p:nvPr userDrawn="1"/>
          </p:nvCxnSpPr>
          <p:spPr bwMode="gray">
            <a:xfrm>
              <a:off x="667206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29" name="Gerader Verbinder 28">
              <a:extLst>
                <a:ext uri="{FF2B5EF4-FFF2-40B4-BE49-F238E27FC236}">
                  <a16:creationId xmlns:a16="http://schemas.microsoft.com/office/drawing/2014/main" id="{72AAC82F-CA51-EE05-E4D9-6B2100D51BD5}"/>
                </a:ext>
              </a:extLst>
            </p:cNvPr>
            <p:cNvCxnSpPr/>
            <p:nvPr userDrawn="1"/>
          </p:nvCxnSpPr>
          <p:spPr bwMode="gray">
            <a:xfrm>
              <a:off x="609600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0" name="Gerader Verbinder 29">
              <a:extLst>
                <a:ext uri="{FF2B5EF4-FFF2-40B4-BE49-F238E27FC236}">
                  <a16:creationId xmlns:a16="http://schemas.microsoft.com/office/drawing/2014/main" id="{DFEB7FB2-51DE-AB7E-1CDA-BEE78B81DD21}"/>
                </a:ext>
              </a:extLst>
            </p:cNvPr>
            <p:cNvCxnSpPr/>
            <p:nvPr userDrawn="1"/>
          </p:nvCxnSpPr>
          <p:spPr bwMode="gray">
            <a:xfrm>
              <a:off x="724812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1" name="Gerader Verbinder 30">
              <a:extLst>
                <a:ext uri="{FF2B5EF4-FFF2-40B4-BE49-F238E27FC236}">
                  <a16:creationId xmlns:a16="http://schemas.microsoft.com/office/drawing/2014/main" id="{3EFA1DF2-E171-6BD1-4680-5B413F7518CA}"/>
                </a:ext>
              </a:extLst>
            </p:cNvPr>
            <p:cNvCxnSpPr/>
            <p:nvPr userDrawn="1"/>
          </p:nvCxnSpPr>
          <p:spPr bwMode="gray">
            <a:xfrm>
              <a:off x="782419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2" name="Gerader Verbinder 31">
              <a:extLst>
                <a:ext uri="{FF2B5EF4-FFF2-40B4-BE49-F238E27FC236}">
                  <a16:creationId xmlns:a16="http://schemas.microsoft.com/office/drawing/2014/main" id="{00687D1D-16D9-FDF4-F839-873740B6C1E1}"/>
                </a:ext>
              </a:extLst>
            </p:cNvPr>
            <p:cNvCxnSpPr/>
            <p:nvPr userDrawn="1"/>
          </p:nvCxnSpPr>
          <p:spPr bwMode="gray">
            <a:xfrm>
              <a:off x="840025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3" name="Gerader Verbinder 32">
              <a:extLst>
                <a:ext uri="{FF2B5EF4-FFF2-40B4-BE49-F238E27FC236}">
                  <a16:creationId xmlns:a16="http://schemas.microsoft.com/office/drawing/2014/main" id="{8A980341-1081-2A3C-229C-984F7FE37EB2}"/>
                </a:ext>
              </a:extLst>
            </p:cNvPr>
            <p:cNvCxnSpPr/>
            <p:nvPr userDrawn="1"/>
          </p:nvCxnSpPr>
          <p:spPr bwMode="gray">
            <a:xfrm>
              <a:off x="897632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4" name="Gerader Verbinder 33">
              <a:extLst>
                <a:ext uri="{FF2B5EF4-FFF2-40B4-BE49-F238E27FC236}">
                  <a16:creationId xmlns:a16="http://schemas.microsoft.com/office/drawing/2014/main" id="{06F3298E-D01F-4DED-BADF-E442C16D18AB}"/>
                </a:ext>
              </a:extLst>
            </p:cNvPr>
            <p:cNvCxnSpPr/>
            <p:nvPr userDrawn="1"/>
          </p:nvCxnSpPr>
          <p:spPr bwMode="gray">
            <a:xfrm>
              <a:off x="1128057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35" name="Gerader Verbinder 34">
              <a:extLst>
                <a:ext uri="{FF2B5EF4-FFF2-40B4-BE49-F238E27FC236}">
                  <a16:creationId xmlns:a16="http://schemas.microsoft.com/office/drawing/2014/main" id="{C9A009F6-11B6-FE9B-0154-47143605EB6F}"/>
                </a:ext>
              </a:extLst>
            </p:cNvPr>
            <p:cNvCxnSpPr/>
            <p:nvPr userDrawn="1"/>
          </p:nvCxnSpPr>
          <p:spPr bwMode="gray">
            <a:xfrm>
              <a:off x="1185664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5" name="Gerader Verbinder 54">
              <a:extLst>
                <a:ext uri="{FF2B5EF4-FFF2-40B4-BE49-F238E27FC236}">
                  <a16:creationId xmlns:a16="http://schemas.microsoft.com/office/drawing/2014/main" id="{9C486DF2-6230-5F92-28F6-4B0EBDBE5F74}"/>
                </a:ext>
              </a:extLst>
            </p:cNvPr>
            <p:cNvCxnSpPr>
              <a:cxnSpLocks/>
            </p:cNvCxnSpPr>
            <p:nvPr userDrawn="1"/>
          </p:nvCxnSpPr>
          <p:spPr bwMode="gray">
            <a:xfrm rot="5400000">
              <a:off x="-132688" y="29665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D91560F6-EFAB-DFF0-2CE5-CA8E8D7B92FD}"/>
                </a:ext>
              </a:extLst>
            </p:cNvPr>
            <p:cNvCxnSpPr/>
            <p:nvPr userDrawn="1"/>
          </p:nvCxnSpPr>
          <p:spPr bwMode="gray">
            <a:xfrm>
              <a:off x="3215680"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CC5C11C4-8915-110C-A659-EF2B58EA51E5}"/>
                </a:ext>
              </a:extLst>
            </p:cNvPr>
            <p:cNvCxnSpPr/>
            <p:nvPr userDrawn="1"/>
          </p:nvCxnSpPr>
          <p:spPr bwMode="gray">
            <a:xfrm>
              <a:off x="379174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8" name="Gerader Verbinder 57">
              <a:extLst>
                <a:ext uri="{FF2B5EF4-FFF2-40B4-BE49-F238E27FC236}">
                  <a16:creationId xmlns:a16="http://schemas.microsoft.com/office/drawing/2014/main" id="{FE596507-B269-096F-C772-3D589F8313DE}"/>
                </a:ext>
              </a:extLst>
            </p:cNvPr>
            <p:cNvCxnSpPr>
              <a:cxnSpLocks/>
            </p:cNvCxnSpPr>
            <p:nvPr userDrawn="1"/>
          </p:nvCxnSpPr>
          <p:spPr bwMode="gray">
            <a:xfrm rot="5400000">
              <a:off x="-132704" y="87272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59" name="Gerader Verbinder 58">
              <a:extLst>
                <a:ext uri="{FF2B5EF4-FFF2-40B4-BE49-F238E27FC236}">
                  <a16:creationId xmlns:a16="http://schemas.microsoft.com/office/drawing/2014/main" id="{ABBDE7A6-4B6E-7284-FA27-77003867E36F}"/>
                </a:ext>
              </a:extLst>
            </p:cNvPr>
            <p:cNvCxnSpPr>
              <a:cxnSpLocks/>
            </p:cNvCxnSpPr>
            <p:nvPr userDrawn="1"/>
          </p:nvCxnSpPr>
          <p:spPr bwMode="gray">
            <a:xfrm rot="5400000">
              <a:off x="-132712" y="202484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0" name="Gerader Verbinder 59">
              <a:extLst>
                <a:ext uri="{FF2B5EF4-FFF2-40B4-BE49-F238E27FC236}">
                  <a16:creationId xmlns:a16="http://schemas.microsoft.com/office/drawing/2014/main" id="{EA56F48E-CA1E-D2EF-1DAD-AA1A0BA4AD05}"/>
                </a:ext>
              </a:extLst>
            </p:cNvPr>
            <p:cNvCxnSpPr>
              <a:cxnSpLocks/>
            </p:cNvCxnSpPr>
            <p:nvPr userDrawn="1"/>
          </p:nvCxnSpPr>
          <p:spPr bwMode="gray">
            <a:xfrm rot="5400000">
              <a:off x="-132768" y="605729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1" name="Gerader Verbinder 60">
              <a:extLst>
                <a:ext uri="{FF2B5EF4-FFF2-40B4-BE49-F238E27FC236}">
                  <a16:creationId xmlns:a16="http://schemas.microsoft.com/office/drawing/2014/main" id="{F6D4A6AA-3A8B-35E0-0C02-91A34BDF1544}"/>
                </a:ext>
              </a:extLst>
            </p:cNvPr>
            <p:cNvCxnSpPr/>
            <p:nvPr/>
          </p:nvCxnSpPr>
          <p:spPr bwMode="gray">
            <a:xfrm>
              <a:off x="1070451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2" name="Gerader Verbinder 61">
              <a:extLst>
                <a:ext uri="{FF2B5EF4-FFF2-40B4-BE49-F238E27FC236}">
                  <a16:creationId xmlns:a16="http://schemas.microsoft.com/office/drawing/2014/main" id="{71E01254-A5BF-7CF9-08F2-F36694BDDAAC}"/>
                </a:ext>
              </a:extLst>
            </p:cNvPr>
            <p:cNvCxnSpPr/>
            <p:nvPr/>
          </p:nvCxnSpPr>
          <p:spPr bwMode="gray">
            <a:xfrm>
              <a:off x="1012844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3" name="Gerader Verbinder 62">
              <a:extLst>
                <a:ext uri="{FF2B5EF4-FFF2-40B4-BE49-F238E27FC236}">
                  <a16:creationId xmlns:a16="http://schemas.microsoft.com/office/drawing/2014/main" id="{F4D0D6A0-2C15-2CE6-7577-46899F22922A}"/>
                </a:ext>
              </a:extLst>
            </p:cNvPr>
            <p:cNvCxnSpPr/>
            <p:nvPr/>
          </p:nvCxnSpPr>
          <p:spPr bwMode="gray">
            <a:xfrm>
              <a:off x="955059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4" name="Gerader Verbinder 63">
              <a:extLst>
                <a:ext uri="{FF2B5EF4-FFF2-40B4-BE49-F238E27FC236}">
                  <a16:creationId xmlns:a16="http://schemas.microsoft.com/office/drawing/2014/main" id="{8CCCB8B0-8EFF-E403-AB34-9C736D429C67}"/>
                </a:ext>
              </a:extLst>
            </p:cNvPr>
            <p:cNvCxnSpPr/>
            <p:nvPr/>
          </p:nvCxnSpPr>
          <p:spPr bwMode="gray">
            <a:xfrm>
              <a:off x="551973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5" name="Gerader Verbinder 64">
              <a:extLst>
                <a:ext uri="{FF2B5EF4-FFF2-40B4-BE49-F238E27FC236}">
                  <a16:creationId xmlns:a16="http://schemas.microsoft.com/office/drawing/2014/main" id="{55D92A3E-E46B-1B90-CEF5-61C65FC2B382}"/>
                </a:ext>
              </a:extLst>
            </p:cNvPr>
            <p:cNvCxnSpPr/>
            <p:nvPr/>
          </p:nvCxnSpPr>
          <p:spPr bwMode="gray">
            <a:xfrm>
              <a:off x="2639616"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6" name="Gerader Verbinder 65">
              <a:extLst>
                <a:ext uri="{FF2B5EF4-FFF2-40B4-BE49-F238E27FC236}">
                  <a16:creationId xmlns:a16="http://schemas.microsoft.com/office/drawing/2014/main" id="{9109572B-C5A8-12C7-0744-351374AEBBCC}"/>
                </a:ext>
              </a:extLst>
            </p:cNvPr>
            <p:cNvCxnSpPr/>
            <p:nvPr/>
          </p:nvCxnSpPr>
          <p:spPr bwMode="gray">
            <a:xfrm>
              <a:off x="2063552"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0CA6D5E5-CE57-020C-EC9F-A7342AFAC9E5}"/>
                </a:ext>
              </a:extLst>
            </p:cNvPr>
            <p:cNvCxnSpPr/>
            <p:nvPr/>
          </p:nvCxnSpPr>
          <p:spPr bwMode="gray">
            <a:xfrm>
              <a:off x="1487488"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8" name="Gerader Verbinder 67">
              <a:extLst>
                <a:ext uri="{FF2B5EF4-FFF2-40B4-BE49-F238E27FC236}">
                  <a16:creationId xmlns:a16="http://schemas.microsoft.com/office/drawing/2014/main" id="{E6732A02-61C2-172F-9138-73D00662DEF2}"/>
                </a:ext>
              </a:extLst>
            </p:cNvPr>
            <p:cNvCxnSpPr/>
            <p:nvPr/>
          </p:nvCxnSpPr>
          <p:spPr bwMode="gray">
            <a:xfrm>
              <a:off x="911424" y="-17139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69" name="Gerader Verbinder 68">
              <a:extLst>
                <a:ext uri="{FF2B5EF4-FFF2-40B4-BE49-F238E27FC236}">
                  <a16:creationId xmlns:a16="http://schemas.microsoft.com/office/drawing/2014/main" id="{9179F2E0-8B24-BC7B-F842-2AA1BCD8020A}"/>
                </a:ext>
              </a:extLst>
            </p:cNvPr>
            <p:cNvCxnSpPr>
              <a:cxnSpLocks/>
            </p:cNvCxnSpPr>
            <p:nvPr/>
          </p:nvCxnSpPr>
          <p:spPr bwMode="gray">
            <a:xfrm rot="5400000">
              <a:off x="-132704" y="144878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id="{C2F2BD90-732F-E2C0-A38E-37D876182F1D}"/>
                </a:ext>
              </a:extLst>
            </p:cNvPr>
            <p:cNvCxnSpPr>
              <a:cxnSpLocks/>
            </p:cNvCxnSpPr>
            <p:nvPr/>
          </p:nvCxnSpPr>
          <p:spPr bwMode="gray">
            <a:xfrm rot="5400000">
              <a:off x="-132712" y="260091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id="{68484A78-3A9F-E6C3-7611-CCF8E00F8F14}"/>
                </a:ext>
              </a:extLst>
            </p:cNvPr>
            <p:cNvCxnSpPr>
              <a:cxnSpLocks/>
            </p:cNvCxnSpPr>
            <p:nvPr/>
          </p:nvCxnSpPr>
          <p:spPr bwMode="gray">
            <a:xfrm rot="5400000">
              <a:off x="-132712" y="3176976"/>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id="{B2CA6EEB-EF1E-B7EF-9BBC-47C9DCB01234}"/>
                </a:ext>
              </a:extLst>
            </p:cNvPr>
            <p:cNvCxnSpPr>
              <a:cxnSpLocks/>
            </p:cNvCxnSpPr>
            <p:nvPr/>
          </p:nvCxnSpPr>
          <p:spPr bwMode="gray">
            <a:xfrm rot="5400000">
              <a:off x="-132712" y="3753040"/>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3" name="Gerader Verbinder 72">
              <a:extLst>
                <a:ext uri="{FF2B5EF4-FFF2-40B4-BE49-F238E27FC236}">
                  <a16:creationId xmlns:a16="http://schemas.microsoft.com/office/drawing/2014/main" id="{7B0C5C62-F6F1-5C4E-71CF-165289EAD64C}"/>
                </a:ext>
              </a:extLst>
            </p:cNvPr>
            <p:cNvCxnSpPr>
              <a:cxnSpLocks/>
            </p:cNvCxnSpPr>
            <p:nvPr/>
          </p:nvCxnSpPr>
          <p:spPr bwMode="gray">
            <a:xfrm rot="5400000">
              <a:off x="-132712" y="4329104"/>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4" name="Gerader Verbinder 73">
              <a:extLst>
                <a:ext uri="{FF2B5EF4-FFF2-40B4-BE49-F238E27FC236}">
                  <a16:creationId xmlns:a16="http://schemas.microsoft.com/office/drawing/2014/main" id="{AB4DBDFE-CB70-393D-6351-AEAE29B1C5E7}"/>
                </a:ext>
              </a:extLst>
            </p:cNvPr>
            <p:cNvCxnSpPr>
              <a:cxnSpLocks/>
            </p:cNvCxnSpPr>
            <p:nvPr/>
          </p:nvCxnSpPr>
          <p:spPr bwMode="gray">
            <a:xfrm rot="5400000">
              <a:off x="-132712" y="4905168"/>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cxnSp>
          <p:nvCxnSpPr>
            <p:cNvPr id="75" name="Gerader Verbinder 74">
              <a:extLst>
                <a:ext uri="{FF2B5EF4-FFF2-40B4-BE49-F238E27FC236}">
                  <a16:creationId xmlns:a16="http://schemas.microsoft.com/office/drawing/2014/main" id="{D4DD5335-CF56-B600-9810-7D7E4B41F493}"/>
                </a:ext>
              </a:extLst>
            </p:cNvPr>
            <p:cNvCxnSpPr>
              <a:cxnSpLocks/>
            </p:cNvCxnSpPr>
            <p:nvPr/>
          </p:nvCxnSpPr>
          <p:spPr bwMode="gray">
            <a:xfrm rot="5400000">
              <a:off x="-132712" y="5481232"/>
              <a:ext cx="0" cy="72000"/>
            </a:xfrm>
            <a:prstGeom prst="line">
              <a:avLst/>
            </a:prstGeom>
            <a:ln w="6350">
              <a:solidFill>
                <a:srgbClr val="D2335F"/>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6864880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0" userDrawn="1">
          <p15:clr>
            <a:srgbClr val="FBAE40"/>
          </p15:clr>
        </p15:guide>
        <p15:guide id="2" orient="horz" pos="3838" userDrawn="1">
          <p15:clr>
            <a:srgbClr val="FBAE40"/>
          </p15:clr>
        </p15:guide>
        <p15:guide id="3" pos="211" userDrawn="1">
          <p15:clr>
            <a:srgbClr val="FBAE40"/>
          </p15:clr>
        </p15:guide>
        <p15:guide id="4" pos="7469" userDrawn="1">
          <p15:clr>
            <a:srgbClr val="FBAE40"/>
          </p15:clr>
        </p15:guide>
        <p15:guide id="5" orient="horz" pos="935"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End slide">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C54D9937-AF39-4EDC-7D16-3C8B52FADF78}"/>
              </a:ext>
            </a:extLst>
          </p:cNvPr>
          <p:cNvGraphicFramePr>
            <a:graphicFrameLocks noChangeAspect="1"/>
          </p:cNvGraphicFramePr>
          <p:nvPr userDrawn="1">
            <p:custDataLst>
              <p:tags r:id="rId1"/>
            </p:custDataLst>
            <p:extLst>
              <p:ext uri="{D42A27DB-BD31-4B8C-83A1-F6EECF244321}">
                <p14:modId xmlns:p14="http://schemas.microsoft.com/office/powerpoint/2010/main" val="3648556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3" name="Objekt 2" hidden="1">
                        <a:extLst>
                          <a:ext uri="{FF2B5EF4-FFF2-40B4-BE49-F238E27FC236}">
                            <a16:creationId xmlns:a16="http://schemas.microsoft.com/office/drawing/2014/main" id="{C54D9937-AF39-4EDC-7D16-3C8B52FADF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83" name="Gruppieren 582">
            <a:extLst>
              <a:ext uri="{FF2B5EF4-FFF2-40B4-BE49-F238E27FC236}">
                <a16:creationId xmlns:a16="http://schemas.microsoft.com/office/drawing/2014/main" id="{D9C37C15-4661-1EC0-1E68-286F6CB3E34C}"/>
              </a:ext>
            </a:extLst>
          </p:cNvPr>
          <p:cNvGrpSpPr/>
          <p:nvPr userDrawn="1"/>
        </p:nvGrpSpPr>
        <p:grpSpPr>
          <a:xfrm>
            <a:off x="317360" y="1484784"/>
            <a:ext cx="11539280" cy="4626512"/>
            <a:chOff x="317360" y="1484784"/>
            <a:chExt cx="11539280" cy="4626512"/>
          </a:xfrm>
        </p:grpSpPr>
        <p:sp>
          <p:nvSpPr>
            <p:cNvPr id="584" name="Rechteck 583">
              <a:extLst>
                <a:ext uri="{FF2B5EF4-FFF2-40B4-BE49-F238E27FC236}">
                  <a16:creationId xmlns:a16="http://schemas.microsoft.com/office/drawing/2014/main" id="{6CDFA476-8296-C5BC-E630-0854ED158929}"/>
                </a:ext>
              </a:extLst>
            </p:cNvPr>
            <p:cNvSpPr/>
            <p:nvPr userDrawn="1"/>
          </p:nvSpPr>
          <p:spPr bwMode="gray">
            <a:xfrm>
              <a:off x="1126257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85" name="Rechteck 584">
              <a:extLst>
                <a:ext uri="{FF2B5EF4-FFF2-40B4-BE49-F238E27FC236}">
                  <a16:creationId xmlns:a16="http://schemas.microsoft.com/office/drawing/2014/main" id="{B63E2F34-D7DF-4E7D-60D9-7B60E09A86A8}"/>
                </a:ext>
              </a:extLst>
            </p:cNvPr>
            <p:cNvSpPr/>
            <p:nvPr userDrawn="1"/>
          </p:nvSpPr>
          <p:spPr bwMode="gray">
            <a:xfrm>
              <a:off x="1068651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86" name="Rechteck 585">
              <a:extLst>
                <a:ext uri="{FF2B5EF4-FFF2-40B4-BE49-F238E27FC236}">
                  <a16:creationId xmlns:a16="http://schemas.microsoft.com/office/drawing/2014/main" id="{AF19C520-3374-9882-DEA6-CB7C2771144A}"/>
                </a:ext>
              </a:extLst>
            </p:cNvPr>
            <p:cNvSpPr/>
            <p:nvPr userDrawn="1"/>
          </p:nvSpPr>
          <p:spPr bwMode="gray">
            <a:xfrm>
              <a:off x="1011044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87" name="Rechteck 586">
              <a:extLst>
                <a:ext uri="{FF2B5EF4-FFF2-40B4-BE49-F238E27FC236}">
                  <a16:creationId xmlns:a16="http://schemas.microsoft.com/office/drawing/2014/main" id="{17C1A6F5-D628-5A6D-3CF8-77C4D2BE21CA}"/>
                </a:ext>
              </a:extLst>
            </p:cNvPr>
            <p:cNvSpPr/>
            <p:nvPr userDrawn="1"/>
          </p:nvSpPr>
          <p:spPr bwMode="gray">
            <a:xfrm>
              <a:off x="953438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88" name="Rechteck 587">
              <a:extLst>
                <a:ext uri="{FF2B5EF4-FFF2-40B4-BE49-F238E27FC236}">
                  <a16:creationId xmlns:a16="http://schemas.microsoft.com/office/drawing/2014/main" id="{C74B3201-2E62-E836-5D4D-831FF08F9B4A}"/>
                </a:ext>
              </a:extLst>
            </p:cNvPr>
            <p:cNvSpPr/>
            <p:nvPr userDrawn="1"/>
          </p:nvSpPr>
          <p:spPr bwMode="gray">
            <a:xfrm>
              <a:off x="895832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89" name="Rechteck 588">
              <a:extLst>
                <a:ext uri="{FF2B5EF4-FFF2-40B4-BE49-F238E27FC236}">
                  <a16:creationId xmlns:a16="http://schemas.microsoft.com/office/drawing/2014/main" id="{73620ADE-36B4-1B34-59A5-8E542481EA51}"/>
                </a:ext>
              </a:extLst>
            </p:cNvPr>
            <p:cNvSpPr/>
            <p:nvPr userDrawn="1"/>
          </p:nvSpPr>
          <p:spPr bwMode="gray">
            <a:xfrm>
              <a:off x="838225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0" name="Rechteck 589">
              <a:extLst>
                <a:ext uri="{FF2B5EF4-FFF2-40B4-BE49-F238E27FC236}">
                  <a16:creationId xmlns:a16="http://schemas.microsoft.com/office/drawing/2014/main" id="{D40B8B49-1480-84E2-4FD2-44E8046C6AE0}"/>
                </a:ext>
              </a:extLst>
            </p:cNvPr>
            <p:cNvSpPr/>
            <p:nvPr userDrawn="1"/>
          </p:nvSpPr>
          <p:spPr bwMode="gray">
            <a:xfrm>
              <a:off x="780619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1" name="Rechteck 590">
              <a:extLst>
                <a:ext uri="{FF2B5EF4-FFF2-40B4-BE49-F238E27FC236}">
                  <a16:creationId xmlns:a16="http://schemas.microsoft.com/office/drawing/2014/main" id="{97F94633-5423-836D-CBFF-CA26923FF301}"/>
                </a:ext>
              </a:extLst>
            </p:cNvPr>
            <p:cNvSpPr/>
            <p:nvPr userDrawn="1"/>
          </p:nvSpPr>
          <p:spPr bwMode="gray">
            <a:xfrm>
              <a:off x="723012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2" name="Rechteck 591">
              <a:extLst>
                <a:ext uri="{FF2B5EF4-FFF2-40B4-BE49-F238E27FC236}">
                  <a16:creationId xmlns:a16="http://schemas.microsoft.com/office/drawing/2014/main" id="{E455FB1E-4370-E1A0-22D6-AB8B1CE3BC45}"/>
                </a:ext>
              </a:extLst>
            </p:cNvPr>
            <p:cNvSpPr/>
            <p:nvPr userDrawn="1"/>
          </p:nvSpPr>
          <p:spPr bwMode="gray">
            <a:xfrm>
              <a:off x="665406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3" name="Rechteck 592">
              <a:extLst>
                <a:ext uri="{FF2B5EF4-FFF2-40B4-BE49-F238E27FC236}">
                  <a16:creationId xmlns:a16="http://schemas.microsoft.com/office/drawing/2014/main" id="{B26CA8A3-A2D7-1301-6CC2-EA041775C823}"/>
                </a:ext>
              </a:extLst>
            </p:cNvPr>
            <p:cNvSpPr/>
            <p:nvPr userDrawn="1"/>
          </p:nvSpPr>
          <p:spPr bwMode="gray">
            <a:xfrm>
              <a:off x="607800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4" name="Rechteck 593">
              <a:extLst>
                <a:ext uri="{FF2B5EF4-FFF2-40B4-BE49-F238E27FC236}">
                  <a16:creationId xmlns:a16="http://schemas.microsoft.com/office/drawing/2014/main" id="{6B8E7112-DCDD-22C6-9B5A-C81C548B21E7}"/>
                </a:ext>
              </a:extLst>
            </p:cNvPr>
            <p:cNvSpPr/>
            <p:nvPr userDrawn="1"/>
          </p:nvSpPr>
          <p:spPr bwMode="gray">
            <a:xfrm>
              <a:off x="550193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5" name="Rechteck 594">
              <a:extLst>
                <a:ext uri="{FF2B5EF4-FFF2-40B4-BE49-F238E27FC236}">
                  <a16:creationId xmlns:a16="http://schemas.microsoft.com/office/drawing/2014/main" id="{0A58C869-EA64-4493-EA99-5646137FAAC3}"/>
                </a:ext>
              </a:extLst>
            </p:cNvPr>
            <p:cNvSpPr/>
            <p:nvPr userDrawn="1"/>
          </p:nvSpPr>
          <p:spPr bwMode="gray">
            <a:xfrm>
              <a:off x="492587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6" name="Rechteck 595">
              <a:extLst>
                <a:ext uri="{FF2B5EF4-FFF2-40B4-BE49-F238E27FC236}">
                  <a16:creationId xmlns:a16="http://schemas.microsoft.com/office/drawing/2014/main" id="{CE8F149C-39E9-FE3B-9BB1-BD2AC7039D0C}"/>
                </a:ext>
              </a:extLst>
            </p:cNvPr>
            <p:cNvSpPr/>
            <p:nvPr userDrawn="1"/>
          </p:nvSpPr>
          <p:spPr bwMode="gray">
            <a:xfrm>
              <a:off x="434980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7" name="Rechteck 596">
              <a:extLst>
                <a:ext uri="{FF2B5EF4-FFF2-40B4-BE49-F238E27FC236}">
                  <a16:creationId xmlns:a16="http://schemas.microsoft.com/office/drawing/2014/main" id="{43F16B1E-F2C9-0DF6-792B-CDBCFF7C2CB8}"/>
                </a:ext>
              </a:extLst>
            </p:cNvPr>
            <p:cNvSpPr/>
            <p:nvPr userDrawn="1"/>
          </p:nvSpPr>
          <p:spPr bwMode="gray">
            <a:xfrm>
              <a:off x="377374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8" name="Rechteck 597">
              <a:extLst>
                <a:ext uri="{FF2B5EF4-FFF2-40B4-BE49-F238E27FC236}">
                  <a16:creationId xmlns:a16="http://schemas.microsoft.com/office/drawing/2014/main" id="{A92FB7FE-84D2-2012-0C10-A64F53975437}"/>
                </a:ext>
              </a:extLst>
            </p:cNvPr>
            <p:cNvSpPr/>
            <p:nvPr userDrawn="1"/>
          </p:nvSpPr>
          <p:spPr bwMode="gray">
            <a:xfrm>
              <a:off x="319768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9" name="Rechteck 598">
              <a:extLst>
                <a:ext uri="{FF2B5EF4-FFF2-40B4-BE49-F238E27FC236}">
                  <a16:creationId xmlns:a16="http://schemas.microsoft.com/office/drawing/2014/main" id="{06C7F8F3-F220-38DB-6C72-47994E1D3717}"/>
                </a:ext>
              </a:extLst>
            </p:cNvPr>
            <p:cNvSpPr/>
            <p:nvPr userDrawn="1"/>
          </p:nvSpPr>
          <p:spPr bwMode="gray">
            <a:xfrm>
              <a:off x="262161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0" name="Rechteck 599">
              <a:extLst>
                <a:ext uri="{FF2B5EF4-FFF2-40B4-BE49-F238E27FC236}">
                  <a16:creationId xmlns:a16="http://schemas.microsoft.com/office/drawing/2014/main" id="{F66F432E-7B76-DF22-80E1-EA77D937684F}"/>
                </a:ext>
              </a:extLst>
            </p:cNvPr>
            <p:cNvSpPr/>
            <p:nvPr userDrawn="1"/>
          </p:nvSpPr>
          <p:spPr bwMode="gray">
            <a:xfrm>
              <a:off x="204555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1" name="Rechteck 600">
              <a:extLst>
                <a:ext uri="{FF2B5EF4-FFF2-40B4-BE49-F238E27FC236}">
                  <a16:creationId xmlns:a16="http://schemas.microsoft.com/office/drawing/2014/main" id="{40B9F00A-896B-6817-E877-9C0EB9BA7531}"/>
                </a:ext>
              </a:extLst>
            </p:cNvPr>
            <p:cNvSpPr/>
            <p:nvPr userDrawn="1"/>
          </p:nvSpPr>
          <p:spPr bwMode="gray">
            <a:xfrm>
              <a:off x="146948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2" name="Rechteck 601">
              <a:extLst>
                <a:ext uri="{FF2B5EF4-FFF2-40B4-BE49-F238E27FC236}">
                  <a16:creationId xmlns:a16="http://schemas.microsoft.com/office/drawing/2014/main" id="{370726A2-5EC5-9288-219F-D2EF42AEB0EA}"/>
                </a:ext>
              </a:extLst>
            </p:cNvPr>
            <p:cNvSpPr/>
            <p:nvPr userDrawn="1"/>
          </p:nvSpPr>
          <p:spPr bwMode="gray">
            <a:xfrm>
              <a:off x="89342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3" name="Rechteck 602">
              <a:extLst>
                <a:ext uri="{FF2B5EF4-FFF2-40B4-BE49-F238E27FC236}">
                  <a16:creationId xmlns:a16="http://schemas.microsoft.com/office/drawing/2014/main" id="{104716A9-ED2F-FAEB-4F63-AF4B0CFA6797}"/>
                </a:ext>
              </a:extLst>
            </p:cNvPr>
            <p:cNvSpPr/>
            <p:nvPr userDrawn="1"/>
          </p:nvSpPr>
          <p:spPr bwMode="gray">
            <a:xfrm>
              <a:off x="31736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4" name="Rechteck 603">
              <a:extLst>
                <a:ext uri="{FF2B5EF4-FFF2-40B4-BE49-F238E27FC236}">
                  <a16:creationId xmlns:a16="http://schemas.microsoft.com/office/drawing/2014/main" id="{D57F0E72-01F3-DD7E-BA01-5891BFD490AF}"/>
                </a:ext>
              </a:extLst>
            </p:cNvPr>
            <p:cNvSpPr/>
            <p:nvPr userDrawn="1"/>
          </p:nvSpPr>
          <p:spPr bwMode="gray">
            <a:xfrm>
              <a:off x="1126257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5" name="Rechteck 604">
              <a:extLst>
                <a:ext uri="{FF2B5EF4-FFF2-40B4-BE49-F238E27FC236}">
                  <a16:creationId xmlns:a16="http://schemas.microsoft.com/office/drawing/2014/main" id="{A1C84C71-3940-2C32-7F85-84F6B21AE19A}"/>
                </a:ext>
              </a:extLst>
            </p:cNvPr>
            <p:cNvSpPr/>
            <p:nvPr userDrawn="1"/>
          </p:nvSpPr>
          <p:spPr bwMode="gray">
            <a:xfrm>
              <a:off x="1068651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6" name="Rechteck 605">
              <a:extLst>
                <a:ext uri="{FF2B5EF4-FFF2-40B4-BE49-F238E27FC236}">
                  <a16:creationId xmlns:a16="http://schemas.microsoft.com/office/drawing/2014/main" id="{59E7121A-FA0D-0E32-9659-75EF8B02E9A1}"/>
                </a:ext>
              </a:extLst>
            </p:cNvPr>
            <p:cNvSpPr/>
            <p:nvPr userDrawn="1"/>
          </p:nvSpPr>
          <p:spPr bwMode="gray">
            <a:xfrm>
              <a:off x="1011044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7" name="Rechteck 606">
              <a:extLst>
                <a:ext uri="{FF2B5EF4-FFF2-40B4-BE49-F238E27FC236}">
                  <a16:creationId xmlns:a16="http://schemas.microsoft.com/office/drawing/2014/main" id="{549F65F4-EE58-2221-4391-6887956EB751}"/>
                </a:ext>
              </a:extLst>
            </p:cNvPr>
            <p:cNvSpPr/>
            <p:nvPr userDrawn="1"/>
          </p:nvSpPr>
          <p:spPr bwMode="gray">
            <a:xfrm>
              <a:off x="953438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8" name="Rechteck 607">
              <a:extLst>
                <a:ext uri="{FF2B5EF4-FFF2-40B4-BE49-F238E27FC236}">
                  <a16:creationId xmlns:a16="http://schemas.microsoft.com/office/drawing/2014/main" id="{2A2D860E-B89B-2F5D-B5C1-3A8B318A52FD}"/>
                </a:ext>
              </a:extLst>
            </p:cNvPr>
            <p:cNvSpPr/>
            <p:nvPr userDrawn="1"/>
          </p:nvSpPr>
          <p:spPr bwMode="gray">
            <a:xfrm>
              <a:off x="895832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9" name="Rechteck 608">
              <a:extLst>
                <a:ext uri="{FF2B5EF4-FFF2-40B4-BE49-F238E27FC236}">
                  <a16:creationId xmlns:a16="http://schemas.microsoft.com/office/drawing/2014/main" id="{C9C8A00D-653B-823F-AC47-CE699815AEB5}"/>
                </a:ext>
              </a:extLst>
            </p:cNvPr>
            <p:cNvSpPr/>
            <p:nvPr userDrawn="1"/>
          </p:nvSpPr>
          <p:spPr bwMode="gray">
            <a:xfrm>
              <a:off x="838225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0" name="Rechteck 609">
              <a:extLst>
                <a:ext uri="{FF2B5EF4-FFF2-40B4-BE49-F238E27FC236}">
                  <a16:creationId xmlns:a16="http://schemas.microsoft.com/office/drawing/2014/main" id="{033D7793-9352-7E3A-B1CF-4701200E7DD1}"/>
                </a:ext>
              </a:extLst>
            </p:cNvPr>
            <p:cNvSpPr/>
            <p:nvPr userDrawn="1"/>
          </p:nvSpPr>
          <p:spPr bwMode="gray">
            <a:xfrm>
              <a:off x="780619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1" name="Rechteck 610">
              <a:extLst>
                <a:ext uri="{FF2B5EF4-FFF2-40B4-BE49-F238E27FC236}">
                  <a16:creationId xmlns:a16="http://schemas.microsoft.com/office/drawing/2014/main" id="{9FA25D8C-BE5D-99BA-FDFA-D79D3C3EAA5A}"/>
                </a:ext>
              </a:extLst>
            </p:cNvPr>
            <p:cNvSpPr/>
            <p:nvPr userDrawn="1"/>
          </p:nvSpPr>
          <p:spPr bwMode="gray">
            <a:xfrm>
              <a:off x="723012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2" name="Rechteck 611">
              <a:extLst>
                <a:ext uri="{FF2B5EF4-FFF2-40B4-BE49-F238E27FC236}">
                  <a16:creationId xmlns:a16="http://schemas.microsoft.com/office/drawing/2014/main" id="{72A0213C-31B5-435D-EE2C-E38627B93E27}"/>
                </a:ext>
              </a:extLst>
            </p:cNvPr>
            <p:cNvSpPr/>
            <p:nvPr userDrawn="1"/>
          </p:nvSpPr>
          <p:spPr bwMode="gray">
            <a:xfrm>
              <a:off x="665406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3" name="Rechteck 612">
              <a:extLst>
                <a:ext uri="{FF2B5EF4-FFF2-40B4-BE49-F238E27FC236}">
                  <a16:creationId xmlns:a16="http://schemas.microsoft.com/office/drawing/2014/main" id="{15F39986-47C1-6979-B588-C4F3023BFA1C}"/>
                </a:ext>
              </a:extLst>
            </p:cNvPr>
            <p:cNvSpPr/>
            <p:nvPr userDrawn="1"/>
          </p:nvSpPr>
          <p:spPr bwMode="gray">
            <a:xfrm>
              <a:off x="607800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4" name="Rechteck 613">
              <a:extLst>
                <a:ext uri="{FF2B5EF4-FFF2-40B4-BE49-F238E27FC236}">
                  <a16:creationId xmlns:a16="http://schemas.microsoft.com/office/drawing/2014/main" id="{B4F8D4E4-07D5-DF8A-C031-7D7538E89FDC}"/>
                </a:ext>
              </a:extLst>
            </p:cNvPr>
            <p:cNvSpPr/>
            <p:nvPr userDrawn="1"/>
          </p:nvSpPr>
          <p:spPr bwMode="gray">
            <a:xfrm>
              <a:off x="550193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5" name="Rechteck 614">
              <a:extLst>
                <a:ext uri="{FF2B5EF4-FFF2-40B4-BE49-F238E27FC236}">
                  <a16:creationId xmlns:a16="http://schemas.microsoft.com/office/drawing/2014/main" id="{F12F5EDD-87A7-926F-8F35-6F0081EEBDC2}"/>
                </a:ext>
              </a:extLst>
            </p:cNvPr>
            <p:cNvSpPr/>
            <p:nvPr userDrawn="1"/>
          </p:nvSpPr>
          <p:spPr bwMode="gray">
            <a:xfrm>
              <a:off x="492587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6" name="Rechteck 615">
              <a:extLst>
                <a:ext uri="{FF2B5EF4-FFF2-40B4-BE49-F238E27FC236}">
                  <a16:creationId xmlns:a16="http://schemas.microsoft.com/office/drawing/2014/main" id="{A6C34709-3657-B0B3-06E9-5B5E6E88AF35}"/>
                </a:ext>
              </a:extLst>
            </p:cNvPr>
            <p:cNvSpPr/>
            <p:nvPr userDrawn="1"/>
          </p:nvSpPr>
          <p:spPr bwMode="gray">
            <a:xfrm>
              <a:off x="434980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7" name="Rechteck 616">
              <a:extLst>
                <a:ext uri="{FF2B5EF4-FFF2-40B4-BE49-F238E27FC236}">
                  <a16:creationId xmlns:a16="http://schemas.microsoft.com/office/drawing/2014/main" id="{852634A7-A491-B850-C6FA-BD2AD4F533C9}"/>
                </a:ext>
              </a:extLst>
            </p:cNvPr>
            <p:cNvSpPr/>
            <p:nvPr userDrawn="1"/>
          </p:nvSpPr>
          <p:spPr bwMode="gray">
            <a:xfrm>
              <a:off x="377374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8" name="Rechteck 617">
              <a:extLst>
                <a:ext uri="{FF2B5EF4-FFF2-40B4-BE49-F238E27FC236}">
                  <a16:creationId xmlns:a16="http://schemas.microsoft.com/office/drawing/2014/main" id="{ADDB4129-23B6-F442-8417-C9705046E516}"/>
                </a:ext>
              </a:extLst>
            </p:cNvPr>
            <p:cNvSpPr/>
            <p:nvPr userDrawn="1"/>
          </p:nvSpPr>
          <p:spPr bwMode="gray">
            <a:xfrm>
              <a:off x="319768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9" name="Rechteck 618">
              <a:extLst>
                <a:ext uri="{FF2B5EF4-FFF2-40B4-BE49-F238E27FC236}">
                  <a16:creationId xmlns:a16="http://schemas.microsoft.com/office/drawing/2014/main" id="{52078BA5-5A07-5302-20FB-58CC9BF4416D}"/>
                </a:ext>
              </a:extLst>
            </p:cNvPr>
            <p:cNvSpPr/>
            <p:nvPr userDrawn="1"/>
          </p:nvSpPr>
          <p:spPr bwMode="gray">
            <a:xfrm>
              <a:off x="262161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0" name="Rechteck 619">
              <a:extLst>
                <a:ext uri="{FF2B5EF4-FFF2-40B4-BE49-F238E27FC236}">
                  <a16:creationId xmlns:a16="http://schemas.microsoft.com/office/drawing/2014/main" id="{11C5BAC6-7E62-9EC0-6D81-9D8291B79E23}"/>
                </a:ext>
              </a:extLst>
            </p:cNvPr>
            <p:cNvSpPr/>
            <p:nvPr userDrawn="1"/>
          </p:nvSpPr>
          <p:spPr bwMode="gray">
            <a:xfrm>
              <a:off x="204555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1" name="Rechteck 620">
              <a:extLst>
                <a:ext uri="{FF2B5EF4-FFF2-40B4-BE49-F238E27FC236}">
                  <a16:creationId xmlns:a16="http://schemas.microsoft.com/office/drawing/2014/main" id="{ACA29229-9945-5425-D3E3-AD1F0EF5D349}"/>
                </a:ext>
              </a:extLst>
            </p:cNvPr>
            <p:cNvSpPr/>
            <p:nvPr userDrawn="1"/>
          </p:nvSpPr>
          <p:spPr bwMode="gray">
            <a:xfrm>
              <a:off x="146948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2" name="Rechteck 621">
              <a:extLst>
                <a:ext uri="{FF2B5EF4-FFF2-40B4-BE49-F238E27FC236}">
                  <a16:creationId xmlns:a16="http://schemas.microsoft.com/office/drawing/2014/main" id="{C50855C5-3A1F-47AC-AC26-D3634E608012}"/>
                </a:ext>
              </a:extLst>
            </p:cNvPr>
            <p:cNvSpPr/>
            <p:nvPr userDrawn="1"/>
          </p:nvSpPr>
          <p:spPr bwMode="gray">
            <a:xfrm>
              <a:off x="89342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3" name="Rechteck 622">
              <a:extLst>
                <a:ext uri="{FF2B5EF4-FFF2-40B4-BE49-F238E27FC236}">
                  <a16:creationId xmlns:a16="http://schemas.microsoft.com/office/drawing/2014/main" id="{1EB0B764-DEC3-C25B-E81F-700C7EDCDDF0}"/>
                </a:ext>
              </a:extLst>
            </p:cNvPr>
            <p:cNvSpPr/>
            <p:nvPr userDrawn="1"/>
          </p:nvSpPr>
          <p:spPr bwMode="gray">
            <a:xfrm>
              <a:off x="31736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4" name="Rechteck 623">
              <a:extLst>
                <a:ext uri="{FF2B5EF4-FFF2-40B4-BE49-F238E27FC236}">
                  <a16:creationId xmlns:a16="http://schemas.microsoft.com/office/drawing/2014/main" id="{35BEAED5-8110-6CAE-F4E1-564ED64D3260}"/>
                </a:ext>
              </a:extLst>
            </p:cNvPr>
            <p:cNvSpPr/>
            <p:nvPr userDrawn="1"/>
          </p:nvSpPr>
          <p:spPr bwMode="gray">
            <a:xfrm>
              <a:off x="1126257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5" name="Rechteck 624">
              <a:extLst>
                <a:ext uri="{FF2B5EF4-FFF2-40B4-BE49-F238E27FC236}">
                  <a16:creationId xmlns:a16="http://schemas.microsoft.com/office/drawing/2014/main" id="{2ADCE6E3-E468-1B54-3119-71AD64E9407D}"/>
                </a:ext>
              </a:extLst>
            </p:cNvPr>
            <p:cNvSpPr/>
            <p:nvPr userDrawn="1"/>
          </p:nvSpPr>
          <p:spPr bwMode="gray">
            <a:xfrm>
              <a:off x="1068651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6" name="Rechteck 625">
              <a:extLst>
                <a:ext uri="{FF2B5EF4-FFF2-40B4-BE49-F238E27FC236}">
                  <a16:creationId xmlns:a16="http://schemas.microsoft.com/office/drawing/2014/main" id="{5D2DEC00-79B0-3419-E927-092DE81CEC12}"/>
                </a:ext>
              </a:extLst>
            </p:cNvPr>
            <p:cNvSpPr/>
            <p:nvPr userDrawn="1"/>
          </p:nvSpPr>
          <p:spPr bwMode="gray">
            <a:xfrm>
              <a:off x="1011044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7" name="Rechteck 626">
              <a:extLst>
                <a:ext uri="{FF2B5EF4-FFF2-40B4-BE49-F238E27FC236}">
                  <a16:creationId xmlns:a16="http://schemas.microsoft.com/office/drawing/2014/main" id="{887A5560-BD63-833F-AF5B-017BF9A3A757}"/>
                </a:ext>
              </a:extLst>
            </p:cNvPr>
            <p:cNvSpPr/>
            <p:nvPr userDrawn="1"/>
          </p:nvSpPr>
          <p:spPr bwMode="gray">
            <a:xfrm>
              <a:off x="953438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8" name="Rechteck 627">
              <a:extLst>
                <a:ext uri="{FF2B5EF4-FFF2-40B4-BE49-F238E27FC236}">
                  <a16:creationId xmlns:a16="http://schemas.microsoft.com/office/drawing/2014/main" id="{EE67E399-954C-5579-5BA5-DEA59C030996}"/>
                </a:ext>
              </a:extLst>
            </p:cNvPr>
            <p:cNvSpPr/>
            <p:nvPr userDrawn="1"/>
          </p:nvSpPr>
          <p:spPr bwMode="gray">
            <a:xfrm>
              <a:off x="895832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9" name="Rechteck 628">
              <a:extLst>
                <a:ext uri="{FF2B5EF4-FFF2-40B4-BE49-F238E27FC236}">
                  <a16:creationId xmlns:a16="http://schemas.microsoft.com/office/drawing/2014/main" id="{A338DFBE-B8D2-246C-ECC8-EB2E5E334F1B}"/>
                </a:ext>
              </a:extLst>
            </p:cNvPr>
            <p:cNvSpPr/>
            <p:nvPr userDrawn="1"/>
          </p:nvSpPr>
          <p:spPr bwMode="gray">
            <a:xfrm>
              <a:off x="838225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0" name="Rechteck 629">
              <a:extLst>
                <a:ext uri="{FF2B5EF4-FFF2-40B4-BE49-F238E27FC236}">
                  <a16:creationId xmlns:a16="http://schemas.microsoft.com/office/drawing/2014/main" id="{99F293DE-A724-B556-5E21-92619FB9FD00}"/>
                </a:ext>
              </a:extLst>
            </p:cNvPr>
            <p:cNvSpPr/>
            <p:nvPr userDrawn="1"/>
          </p:nvSpPr>
          <p:spPr bwMode="gray">
            <a:xfrm>
              <a:off x="780619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1" name="Rechteck 630">
              <a:extLst>
                <a:ext uri="{FF2B5EF4-FFF2-40B4-BE49-F238E27FC236}">
                  <a16:creationId xmlns:a16="http://schemas.microsoft.com/office/drawing/2014/main" id="{4BCF2726-8D46-1713-588A-A3D35C52E9CC}"/>
                </a:ext>
              </a:extLst>
            </p:cNvPr>
            <p:cNvSpPr/>
            <p:nvPr userDrawn="1"/>
          </p:nvSpPr>
          <p:spPr bwMode="gray">
            <a:xfrm>
              <a:off x="723012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2" name="Rechteck 631">
              <a:extLst>
                <a:ext uri="{FF2B5EF4-FFF2-40B4-BE49-F238E27FC236}">
                  <a16:creationId xmlns:a16="http://schemas.microsoft.com/office/drawing/2014/main" id="{DAC0B1BB-C91C-558A-66CB-2E538928B39E}"/>
                </a:ext>
              </a:extLst>
            </p:cNvPr>
            <p:cNvSpPr/>
            <p:nvPr userDrawn="1"/>
          </p:nvSpPr>
          <p:spPr bwMode="gray">
            <a:xfrm>
              <a:off x="665406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3" name="Rechteck 632">
              <a:extLst>
                <a:ext uri="{FF2B5EF4-FFF2-40B4-BE49-F238E27FC236}">
                  <a16:creationId xmlns:a16="http://schemas.microsoft.com/office/drawing/2014/main" id="{77FDE7E0-CEC8-1F25-1D4C-8F58198FA001}"/>
                </a:ext>
              </a:extLst>
            </p:cNvPr>
            <p:cNvSpPr/>
            <p:nvPr userDrawn="1"/>
          </p:nvSpPr>
          <p:spPr bwMode="gray">
            <a:xfrm>
              <a:off x="607800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4" name="Rechteck 633">
              <a:extLst>
                <a:ext uri="{FF2B5EF4-FFF2-40B4-BE49-F238E27FC236}">
                  <a16:creationId xmlns:a16="http://schemas.microsoft.com/office/drawing/2014/main" id="{6B281611-3BB3-CB29-26E5-D50148222554}"/>
                </a:ext>
              </a:extLst>
            </p:cNvPr>
            <p:cNvSpPr/>
            <p:nvPr userDrawn="1"/>
          </p:nvSpPr>
          <p:spPr bwMode="gray">
            <a:xfrm>
              <a:off x="550193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5" name="Rechteck 634">
              <a:extLst>
                <a:ext uri="{FF2B5EF4-FFF2-40B4-BE49-F238E27FC236}">
                  <a16:creationId xmlns:a16="http://schemas.microsoft.com/office/drawing/2014/main" id="{11513A13-5E75-7B3B-BDC6-26B92B5D5FD6}"/>
                </a:ext>
              </a:extLst>
            </p:cNvPr>
            <p:cNvSpPr/>
            <p:nvPr userDrawn="1"/>
          </p:nvSpPr>
          <p:spPr bwMode="gray">
            <a:xfrm>
              <a:off x="492587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6" name="Rechteck 635">
              <a:extLst>
                <a:ext uri="{FF2B5EF4-FFF2-40B4-BE49-F238E27FC236}">
                  <a16:creationId xmlns:a16="http://schemas.microsoft.com/office/drawing/2014/main" id="{F928DEC1-65AB-E394-791E-FFA903F72133}"/>
                </a:ext>
              </a:extLst>
            </p:cNvPr>
            <p:cNvSpPr/>
            <p:nvPr userDrawn="1"/>
          </p:nvSpPr>
          <p:spPr bwMode="gray">
            <a:xfrm>
              <a:off x="434980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7" name="Rechteck 636">
              <a:extLst>
                <a:ext uri="{FF2B5EF4-FFF2-40B4-BE49-F238E27FC236}">
                  <a16:creationId xmlns:a16="http://schemas.microsoft.com/office/drawing/2014/main" id="{336D5CBE-B22E-02A8-A4A9-4B3CDF7967BC}"/>
                </a:ext>
              </a:extLst>
            </p:cNvPr>
            <p:cNvSpPr/>
            <p:nvPr userDrawn="1"/>
          </p:nvSpPr>
          <p:spPr bwMode="gray">
            <a:xfrm>
              <a:off x="377374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8" name="Rechteck 637">
              <a:extLst>
                <a:ext uri="{FF2B5EF4-FFF2-40B4-BE49-F238E27FC236}">
                  <a16:creationId xmlns:a16="http://schemas.microsoft.com/office/drawing/2014/main" id="{6823A618-B994-2FC3-E05B-9BA7F17A0998}"/>
                </a:ext>
              </a:extLst>
            </p:cNvPr>
            <p:cNvSpPr/>
            <p:nvPr userDrawn="1"/>
          </p:nvSpPr>
          <p:spPr bwMode="gray">
            <a:xfrm>
              <a:off x="319768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9" name="Rechteck 638">
              <a:extLst>
                <a:ext uri="{FF2B5EF4-FFF2-40B4-BE49-F238E27FC236}">
                  <a16:creationId xmlns:a16="http://schemas.microsoft.com/office/drawing/2014/main" id="{9DB16C51-CBBD-7F0C-3E7A-27AE755686A0}"/>
                </a:ext>
              </a:extLst>
            </p:cNvPr>
            <p:cNvSpPr/>
            <p:nvPr userDrawn="1"/>
          </p:nvSpPr>
          <p:spPr bwMode="gray">
            <a:xfrm>
              <a:off x="262161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0" name="Rechteck 639">
              <a:extLst>
                <a:ext uri="{FF2B5EF4-FFF2-40B4-BE49-F238E27FC236}">
                  <a16:creationId xmlns:a16="http://schemas.microsoft.com/office/drawing/2014/main" id="{91C319E4-F989-F313-AF1F-234271E2CB00}"/>
                </a:ext>
              </a:extLst>
            </p:cNvPr>
            <p:cNvSpPr/>
            <p:nvPr userDrawn="1"/>
          </p:nvSpPr>
          <p:spPr bwMode="gray">
            <a:xfrm>
              <a:off x="204555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1" name="Rechteck 640">
              <a:extLst>
                <a:ext uri="{FF2B5EF4-FFF2-40B4-BE49-F238E27FC236}">
                  <a16:creationId xmlns:a16="http://schemas.microsoft.com/office/drawing/2014/main" id="{B6CF5471-6AA6-2220-9AD8-32DA145EEA1A}"/>
                </a:ext>
              </a:extLst>
            </p:cNvPr>
            <p:cNvSpPr/>
            <p:nvPr userDrawn="1"/>
          </p:nvSpPr>
          <p:spPr bwMode="gray">
            <a:xfrm>
              <a:off x="146948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2" name="Rechteck 641">
              <a:extLst>
                <a:ext uri="{FF2B5EF4-FFF2-40B4-BE49-F238E27FC236}">
                  <a16:creationId xmlns:a16="http://schemas.microsoft.com/office/drawing/2014/main" id="{360BB8EA-A213-24D2-9295-4B35545BD98B}"/>
                </a:ext>
              </a:extLst>
            </p:cNvPr>
            <p:cNvSpPr/>
            <p:nvPr userDrawn="1"/>
          </p:nvSpPr>
          <p:spPr bwMode="gray">
            <a:xfrm>
              <a:off x="89342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3" name="Rechteck 642">
              <a:extLst>
                <a:ext uri="{FF2B5EF4-FFF2-40B4-BE49-F238E27FC236}">
                  <a16:creationId xmlns:a16="http://schemas.microsoft.com/office/drawing/2014/main" id="{0107F515-F42B-6CB4-CE2F-BACBC84BA667}"/>
                </a:ext>
              </a:extLst>
            </p:cNvPr>
            <p:cNvSpPr/>
            <p:nvPr userDrawn="1"/>
          </p:nvSpPr>
          <p:spPr bwMode="gray">
            <a:xfrm>
              <a:off x="31736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4" name="Rechteck 643">
              <a:extLst>
                <a:ext uri="{FF2B5EF4-FFF2-40B4-BE49-F238E27FC236}">
                  <a16:creationId xmlns:a16="http://schemas.microsoft.com/office/drawing/2014/main" id="{D1AF8DDE-B7A6-6192-4F81-A966BF0B8A00}"/>
                </a:ext>
              </a:extLst>
            </p:cNvPr>
            <p:cNvSpPr/>
            <p:nvPr userDrawn="1"/>
          </p:nvSpPr>
          <p:spPr bwMode="gray">
            <a:xfrm>
              <a:off x="1126257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5" name="Rechteck 644">
              <a:extLst>
                <a:ext uri="{FF2B5EF4-FFF2-40B4-BE49-F238E27FC236}">
                  <a16:creationId xmlns:a16="http://schemas.microsoft.com/office/drawing/2014/main" id="{5E0D4F20-C387-FD53-F455-8F74117417F9}"/>
                </a:ext>
              </a:extLst>
            </p:cNvPr>
            <p:cNvSpPr/>
            <p:nvPr userDrawn="1"/>
          </p:nvSpPr>
          <p:spPr bwMode="gray">
            <a:xfrm>
              <a:off x="1068651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6" name="Rechteck 645">
              <a:extLst>
                <a:ext uri="{FF2B5EF4-FFF2-40B4-BE49-F238E27FC236}">
                  <a16:creationId xmlns:a16="http://schemas.microsoft.com/office/drawing/2014/main" id="{020B5B24-9F03-18F9-2509-1F5C3EC65CEE}"/>
                </a:ext>
              </a:extLst>
            </p:cNvPr>
            <p:cNvSpPr/>
            <p:nvPr userDrawn="1"/>
          </p:nvSpPr>
          <p:spPr bwMode="gray">
            <a:xfrm>
              <a:off x="1011044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7" name="Rechteck 646">
              <a:extLst>
                <a:ext uri="{FF2B5EF4-FFF2-40B4-BE49-F238E27FC236}">
                  <a16:creationId xmlns:a16="http://schemas.microsoft.com/office/drawing/2014/main" id="{3BA4B725-240D-5B43-6F01-4667E09EAF8D}"/>
                </a:ext>
              </a:extLst>
            </p:cNvPr>
            <p:cNvSpPr/>
            <p:nvPr userDrawn="1"/>
          </p:nvSpPr>
          <p:spPr bwMode="gray">
            <a:xfrm>
              <a:off x="953438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8" name="Rechteck 647">
              <a:extLst>
                <a:ext uri="{FF2B5EF4-FFF2-40B4-BE49-F238E27FC236}">
                  <a16:creationId xmlns:a16="http://schemas.microsoft.com/office/drawing/2014/main" id="{E2FF6654-F1E7-06E4-1AD8-085A329E04DE}"/>
                </a:ext>
              </a:extLst>
            </p:cNvPr>
            <p:cNvSpPr/>
            <p:nvPr userDrawn="1"/>
          </p:nvSpPr>
          <p:spPr bwMode="gray">
            <a:xfrm>
              <a:off x="895832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9" name="Rechteck 648">
              <a:extLst>
                <a:ext uri="{FF2B5EF4-FFF2-40B4-BE49-F238E27FC236}">
                  <a16:creationId xmlns:a16="http://schemas.microsoft.com/office/drawing/2014/main" id="{82133B50-1D32-7050-2F80-5D909C276375}"/>
                </a:ext>
              </a:extLst>
            </p:cNvPr>
            <p:cNvSpPr/>
            <p:nvPr userDrawn="1"/>
          </p:nvSpPr>
          <p:spPr bwMode="gray">
            <a:xfrm>
              <a:off x="838225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0" name="Rechteck 649">
              <a:extLst>
                <a:ext uri="{FF2B5EF4-FFF2-40B4-BE49-F238E27FC236}">
                  <a16:creationId xmlns:a16="http://schemas.microsoft.com/office/drawing/2014/main" id="{70A0DDE9-B8F4-AA69-616F-51EAAB08276B}"/>
                </a:ext>
              </a:extLst>
            </p:cNvPr>
            <p:cNvSpPr/>
            <p:nvPr userDrawn="1"/>
          </p:nvSpPr>
          <p:spPr bwMode="gray">
            <a:xfrm>
              <a:off x="780619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1" name="Rechteck 650">
              <a:extLst>
                <a:ext uri="{FF2B5EF4-FFF2-40B4-BE49-F238E27FC236}">
                  <a16:creationId xmlns:a16="http://schemas.microsoft.com/office/drawing/2014/main" id="{C4EAC9E5-6F9D-FBC5-B252-FC29FE9E817D}"/>
                </a:ext>
              </a:extLst>
            </p:cNvPr>
            <p:cNvSpPr/>
            <p:nvPr userDrawn="1"/>
          </p:nvSpPr>
          <p:spPr bwMode="gray">
            <a:xfrm>
              <a:off x="723012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2" name="Rechteck 651">
              <a:extLst>
                <a:ext uri="{FF2B5EF4-FFF2-40B4-BE49-F238E27FC236}">
                  <a16:creationId xmlns:a16="http://schemas.microsoft.com/office/drawing/2014/main" id="{A66BC7BA-F255-7589-9361-D9BC2DB609C6}"/>
                </a:ext>
              </a:extLst>
            </p:cNvPr>
            <p:cNvSpPr/>
            <p:nvPr userDrawn="1"/>
          </p:nvSpPr>
          <p:spPr bwMode="gray">
            <a:xfrm>
              <a:off x="665406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3" name="Rechteck 652">
              <a:extLst>
                <a:ext uri="{FF2B5EF4-FFF2-40B4-BE49-F238E27FC236}">
                  <a16:creationId xmlns:a16="http://schemas.microsoft.com/office/drawing/2014/main" id="{0DFCE5D3-205E-2CF7-8852-93CEDA3B0C17}"/>
                </a:ext>
              </a:extLst>
            </p:cNvPr>
            <p:cNvSpPr/>
            <p:nvPr userDrawn="1"/>
          </p:nvSpPr>
          <p:spPr bwMode="gray">
            <a:xfrm>
              <a:off x="607800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4" name="Rechteck 653">
              <a:extLst>
                <a:ext uri="{FF2B5EF4-FFF2-40B4-BE49-F238E27FC236}">
                  <a16:creationId xmlns:a16="http://schemas.microsoft.com/office/drawing/2014/main" id="{31580928-310D-7AB6-BC53-9AC6DE998875}"/>
                </a:ext>
              </a:extLst>
            </p:cNvPr>
            <p:cNvSpPr/>
            <p:nvPr userDrawn="1"/>
          </p:nvSpPr>
          <p:spPr bwMode="gray">
            <a:xfrm>
              <a:off x="550193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5" name="Rechteck 654">
              <a:extLst>
                <a:ext uri="{FF2B5EF4-FFF2-40B4-BE49-F238E27FC236}">
                  <a16:creationId xmlns:a16="http://schemas.microsoft.com/office/drawing/2014/main" id="{86F68DE8-164C-14DF-D626-6ECB62CC2DB6}"/>
                </a:ext>
              </a:extLst>
            </p:cNvPr>
            <p:cNvSpPr/>
            <p:nvPr userDrawn="1"/>
          </p:nvSpPr>
          <p:spPr bwMode="gray">
            <a:xfrm>
              <a:off x="492587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6" name="Rechteck 655">
              <a:extLst>
                <a:ext uri="{FF2B5EF4-FFF2-40B4-BE49-F238E27FC236}">
                  <a16:creationId xmlns:a16="http://schemas.microsoft.com/office/drawing/2014/main" id="{1E07F87B-53DF-A193-F008-E87D65518510}"/>
                </a:ext>
              </a:extLst>
            </p:cNvPr>
            <p:cNvSpPr/>
            <p:nvPr userDrawn="1"/>
          </p:nvSpPr>
          <p:spPr bwMode="gray">
            <a:xfrm>
              <a:off x="434980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7" name="Rechteck 656">
              <a:extLst>
                <a:ext uri="{FF2B5EF4-FFF2-40B4-BE49-F238E27FC236}">
                  <a16:creationId xmlns:a16="http://schemas.microsoft.com/office/drawing/2014/main" id="{86FC2FAD-DA5B-12F6-402E-B95EF5DC03D6}"/>
                </a:ext>
              </a:extLst>
            </p:cNvPr>
            <p:cNvSpPr/>
            <p:nvPr userDrawn="1"/>
          </p:nvSpPr>
          <p:spPr bwMode="gray">
            <a:xfrm>
              <a:off x="377374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8" name="Rechteck 657">
              <a:extLst>
                <a:ext uri="{FF2B5EF4-FFF2-40B4-BE49-F238E27FC236}">
                  <a16:creationId xmlns:a16="http://schemas.microsoft.com/office/drawing/2014/main" id="{D4920186-AAAB-417C-4537-C749DEE82BDD}"/>
                </a:ext>
              </a:extLst>
            </p:cNvPr>
            <p:cNvSpPr/>
            <p:nvPr userDrawn="1"/>
          </p:nvSpPr>
          <p:spPr bwMode="gray">
            <a:xfrm>
              <a:off x="319768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9" name="Rechteck 658">
              <a:extLst>
                <a:ext uri="{FF2B5EF4-FFF2-40B4-BE49-F238E27FC236}">
                  <a16:creationId xmlns:a16="http://schemas.microsoft.com/office/drawing/2014/main" id="{53FA9CE7-B121-0B55-00DB-2895275EEEE8}"/>
                </a:ext>
              </a:extLst>
            </p:cNvPr>
            <p:cNvSpPr/>
            <p:nvPr userDrawn="1"/>
          </p:nvSpPr>
          <p:spPr bwMode="gray">
            <a:xfrm>
              <a:off x="262161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0" name="Rechteck 659">
              <a:extLst>
                <a:ext uri="{FF2B5EF4-FFF2-40B4-BE49-F238E27FC236}">
                  <a16:creationId xmlns:a16="http://schemas.microsoft.com/office/drawing/2014/main" id="{11B2E5FF-E1AE-68CD-5218-68B1F15E0BF3}"/>
                </a:ext>
              </a:extLst>
            </p:cNvPr>
            <p:cNvSpPr/>
            <p:nvPr userDrawn="1"/>
          </p:nvSpPr>
          <p:spPr bwMode="gray">
            <a:xfrm>
              <a:off x="204555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1" name="Rechteck 660">
              <a:extLst>
                <a:ext uri="{FF2B5EF4-FFF2-40B4-BE49-F238E27FC236}">
                  <a16:creationId xmlns:a16="http://schemas.microsoft.com/office/drawing/2014/main" id="{D9AD1849-296D-E0A7-487E-07FE7FDF7493}"/>
                </a:ext>
              </a:extLst>
            </p:cNvPr>
            <p:cNvSpPr/>
            <p:nvPr userDrawn="1"/>
          </p:nvSpPr>
          <p:spPr bwMode="gray">
            <a:xfrm>
              <a:off x="146948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2" name="Rechteck 661">
              <a:extLst>
                <a:ext uri="{FF2B5EF4-FFF2-40B4-BE49-F238E27FC236}">
                  <a16:creationId xmlns:a16="http://schemas.microsoft.com/office/drawing/2014/main" id="{0A6752C7-6DB3-4D18-D7D2-66289B01BE63}"/>
                </a:ext>
              </a:extLst>
            </p:cNvPr>
            <p:cNvSpPr/>
            <p:nvPr userDrawn="1"/>
          </p:nvSpPr>
          <p:spPr bwMode="gray">
            <a:xfrm>
              <a:off x="89342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3" name="Rechteck 662">
              <a:extLst>
                <a:ext uri="{FF2B5EF4-FFF2-40B4-BE49-F238E27FC236}">
                  <a16:creationId xmlns:a16="http://schemas.microsoft.com/office/drawing/2014/main" id="{9FFB3DE6-56C8-6F18-F0E3-D0AE7E4C8347}"/>
                </a:ext>
              </a:extLst>
            </p:cNvPr>
            <p:cNvSpPr/>
            <p:nvPr userDrawn="1"/>
          </p:nvSpPr>
          <p:spPr bwMode="gray">
            <a:xfrm>
              <a:off x="31736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4" name="Rechteck 663">
              <a:extLst>
                <a:ext uri="{FF2B5EF4-FFF2-40B4-BE49-F238E27FC236}">
                  <a16:creationId xmlns:a16="http://schemas.microsoft.com/office/drawing/2014/main" id="{89E6FBB0-5FAD-742D-5F6C-12FA3B7791F6}"/>
                </a:ext>
              </a:extLst>
            </p:cNvPr>
            <p:cNvSpPr/>
            <p:nvPr userDrawn="1"/>
          </p:nvSpPr>
          <p:spPr bwMode="gray">
            <a:xfrm>
              <a:off x="1126257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5" name="Rechteck 664">
              <a:extLst>
                <a:ext uri="{FF2B5EF4-FFF2-40B4-BE49-F238E27FC236}">
                  <a16:creationId xmlns:a16="http://schemas.microsoft.com/office/drawing/2014/main" id="{37A635AE-EA11-4297-08BB-A101CB8E6071}"/>
                </a:ext>
              </a:extLst>
            </p:cNvPr>
            <p:cNvSpPr/>
            <p:nvPr userDrawn="1"/>
          </p:nvSpPr>
          <p:spPr bwMode="gray">
            <a:xfrm>
              <a:off x="1068651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6" name="Rechteck 665">
              <a:extLst>
                <a:ext uri="{FF2B5EF4-FFF2-40B4-BE49-F238E27FC236}">
                  <a16:creationId xmlns:a16="http://schemas.microsoft.com/office/drawing/2014/main" id="{616538E1-019A-0D9F-3CD1-A09C3DD64290}"/>
                </a:ext>
              </a:extLst>
            </p:cNvPr>
            <p:cNvSpPr/>
            <p:nvPr userDrawn="1"/>
          </p:nvSpPr>
          <p:spPr bwMode="gray">
            <a:xfrm>
              <a:off x="1011044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7" name="Rechteck 666">
              <a:extLst>
                <a:ext uri="{FF2B5EF4-FFF2-40B4-BE49-F238E27FC236}">
                  <a16:creationId xmlns:a16="http://schemas.microsoft.com/office/drawing/2014/main" id="{07FDAEFE-B8D0-BC09-C254-D7A45A8BC753}"/>
                </a:ext>
              </a:extLst>
            </p:cNvPr>
            <p:cNvSpPr/>
            <p:nvPr userDrawn="1"/>
          </p:nvSpPr>
          <p:spPr bwMode="gray">
            <a:xfrm>
              <a:off x="953438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8" name="Rechteck 667">
              <a:extLst>
                <a:ext uri="{FF2B5EF4-FFF2-40B4-BE49-F238E27FC236}">
                  <a16:creationId xmlns:a16="http://schemas.microsoft.com/office/drawing/2014/main" id="{B2BDAECE-8001-EF08-D7CE-79D7FEE1869A}"/>
                </a:ext>
              </a:extLst>
            </p:cNvPr>
            <p:cNvSpPr/>
            <p:nvPr userDrawn="1"/>
          </p:nvSpPr>
          <p:spPr bwMode="gray">
            <a:xfrm>
              <a:off x="895832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9" name="Rechteck 668">
              <a:extLst>
                <a:ext uri="{FF2B5EF4-FFF2-40B4-BE49-F238E27FC236}">
                  <a16:creationId xmlns:a16="http://schemas.microsoft.com/office/drawing/2014/main" id="{3EFF9387-8864-3D4A-B562-643A945517B8}"/>
                </a:ext>
              </a:extLst>
            </p:cNvPr>
            <p:cNvSpPr/>
            <p:nvPr userDrawn="1"/>
          </p:nvSpPr>
          <p:spPr bwMode="gray">
            <a:xfrm>
              <a:off x="838225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0" name="Rechteck 669">
              <a:extLst>
                <a:ext uri="{FF2B5EF4-FFF2-40B4-BE49-F238E27FC236}">
                  <a16:creationId xmlns:a16="http://schemas.microsoft.com/office/drawing/2014/main" id="{D4077574-DA94-1A56-4713-2EF06A6BD1A8}"/>
                </a:ext>
              </a:extLst>
            </p:cNvPr>
            <p:cNvSpPr/>
            <p:nvPr userDrawn="1"/>
          </p:nvSpPr>
          <p:spPr bwMode="gray">
            <a:xfrm>
              <a:off x="780619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1" name="Rechteck 670">
              <a:extLst>
                <a:ext uri="{FF2B5EF4-FFF2-40B4-BE49-F238E27FC236}">
                  <a16:creationId xmlns:a16="http://schemas.microsoft.com/office/drawing/2014/main" id="{1D89CEE5-9335-A40C-B475-0AE68B6275B4}"/>
                </a:ext>
              </a:extLst>
            </p:cNvPr>
            <p:cNvSpPr/>
            <p:nvPr userDrawn="1"/>
          </p:nvSpPr>
          <p:spPr bwMode="gray">
            <a:xfrm>
              <a:off x="723012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2" name="Rechteck 671">
              <a:extLst>
                <a:ext uri="{FF2B5EF4-FFF2-40B4-BE49-F238E27FC236}">
                  <a16:creationId xmlns:a16="http://schemas.microsoft.com/office/drawing/2014/main" id="{DBB4D345-AAFF-F80F-63A6-2FD973B1FCB8}"/>
                </a:ext>
              </a:extLst>
            </p:cNvPr>
            <p:cNvSpPr/>
            <p:nvPr userDrawn="1"/>
          </p:nvSpPr>
          <p:spPr bwMode="gray">
            <a:xfrm>
              <a:off x="665406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3" name="Rechteck 672">
              <a:extLst>
                <a:ext uri="{FF2B5EF4-FFF2-40B4-BE49-F238E27FC236}">
                  <a16:creationId xmlns:a16="http://schemas.microsoft.com/office/drawing/2014/main" id="{9E90AF2A-59A7-C012-03B3-742F809FB9E0}"/>
                </a:ext>
              </a:extLst>
            </p:cNvPr>
            <p:cNvSpPr/>
            <p:nvPr userDrawn="1"/>
          </p:nvSpPr>
          <p:spPr bwMode="gray">
            <a:xfrm>
              <a:off x="607800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4" name="Rechteck 673">
              <a:extLst>
                <a:ext uri="{FF2B5EF4-FFF2-40B4-BE49-F238E27FC236}">
                  <a16:creationId xmlns:a16="http://schemas.microsoft.com/office/drawing/2014/main" id="{05CFA639-FE6D-70A4-B3F9-CAC9D0D18FDA}"/>
                </a:ext>
              </a:extLst>
            </p:cNvPr>
            <p:cNvSpPr/>
            <p:nvPr userDrawn="1"/>
          </p:nvSpPr>
          <p:spPr bwMode="gray">
            <a:xfrm>
              <a:off x="550193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5" name="Rechteck 674">
              <a:extLst>
                <a:ext uri="{FF2B5EF4-FFF2-40B4-BE49-F238E27FC236}">
                  <a16:creationId xmlns:a16="http://schemas.microsoft.com/office/drawing/2014/main" id="{32D17BCA-1AA8-A189-26D5-8919CF1688B4}"/>
                </a:ext>
              </a:extLst>
            </p:cNvPr>
            <p:cNvSpPr/>
            <p:nvPr userDrawn="1"/>
          </p:nvSpPr>
          <p:spPr bwMode="gray">
            <a:xfrm>
              <a:off x="492587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6" name="Rechteck 675">
              <a:extLst>
                <a:ext uri="{FF2B5EF4-FFF2-40B4-BE49-F238E27FC236}">
                  <a16:creationId xmlns:a16="http://schemas.microsoft.com/office/drawing/2014/main" id="{F7B4DF37-6735-890C-49B4-B1743651B73F}"/>
                </a:ext>
              </a:extLst>
            </p:cNvPr>
            <p:cNvSpPr/>
            <p:nvPr userDrawn="1"/>
          </p:nvSpPr>
          <p:spPr bwMode="gray">
            <a:xfrm>
              <a:off x="434980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7" name="Rechteck 676">
              <a:extLst>
                <a:ext uri="{FF2B5EF4-FFF2-40B4-BE49-F238E27FC236}">
                  <a16:creationId xmlns:a16="http://schemas.microsoft.com/office/drawing/2014/main" id="{12533E74-686C-8858-166A-770B56C57BBE}"/>
                </a:ext>
              </a:extLst>
            </p:cNvPr>
            <p:cNvSpPr/>
            <p:nvPr userDrawn="1"/>
          </p:nvSpPr>
          <p:spPr bwMode="gray">
            <a:xfrm>
              <a:off x="377374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8" name="Rechteck 677">
              <a:extLst>
                <a:ext uri="{FF2B5EF4-FFF2-40B4-BE49-F238E27FC236}">
                  <a16:creationId xmlns:a16="http://schemas.microsoft.com/office/drawing/2014/main" id="{A35E20E7-96C6-BA25-6AFB-9E6F5241823D}"/>
                </a:ext>
              </a:extLst>
            </p:cNvPr>
            <p:cNvSpPr/>
            <p:nvPr userDrawn="1"/>
          </p:nvSpPr>
          <p:spPr bwMode="gray">
            <a:xfrm>
              <a:off x="319768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9" name="Rechteck 678">
              <a:extLst>
                <a:ext uri="{FF2B5EF4-FFF2-40B4-BE49-F238E27FC236}">
                  <a16:creationId xmlns:a16="http://schemas.microsoft.com/office/drawing/2014/main" id="{39E577DB-4442-CDBF-D70E-1818BFF27726}"/>
                </a:ext>
              </a:extLst>
            </p:cNvPr>
            <p:cNvSpPr/>
            <p:nvPr userDrawn="1"/>
          </p:nvSpPr>
          <p:spPr bwMode="gray">
            <a:xfrm>
              <a:off x="262161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0" name="Rechteck 679">
              <a:extLst>
                <a:ext uri="{FF2B5EF4-FFF2-40B4-BE49-F238E27FC236}">
                  <a16:creationId xmlns:a16="http://schemas.microsoft.com/office/drawing/2014/main" id="{D3D22DAB-FE69-9EEC-9891-CA326E8E9894}"/>
                </a:ext>
              </a:extLst>
            </p:cNvPr>
            <p:cNvSpPr/>
            <p:nvPr userDrawn="1"/>
          </p:nvSpPr>
          <p:spPr bwMode="gray">
            <a:xfrm>
              <a:off x="204555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1" name="Rechteck 680">
              <a:extLst>
                <a:ext uri="{FF2B5EF4-FFF2-40B4-BE49-F238E27FC236}">
                  <a16:creationId xmlns:a16="http://schemas.microsoft.com/office/drawing/2014/main" id="{CB8AA2EA-71FE-9F95-5241-2DC215CF64CB}"/>
                </a:ext>
              </a:extLst>
            </p:cNvPr>
            <p:cNvSpPr/>
            <p:nvPr userDrawn="1"/>
          </p:nvSpPr>
          <p:spPr bwMode="gray">
            <a:xfrm>
              <a:off x="146948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2" name="Rechteck 681">
              <a:extLst>
                <a:ext uri="{FF2B5EF4-FFF2-40B4-BE49-F238E27FC236}">
                  <a16:creationId xmlns:a16="http://schemas.microsoft.com/office/drawing/2014/main" id="{252B8668-AAA3-D58E-F887-0C447FC18E70}"/>
                </a:ext>
              </a:extLst>
            </p:cNvPr>
            <p:cNvSpPr/>
            <p:nvPr userDrawn="1"/>
          </p:nvSpPr>
          <p:spPr bwMode="gray">
            <a:xfrm>
              <a:off x="89342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3" name="Rechteck 682">
              <a:extLst>
                <a:ext uri="{FF2B5EF4-FFF2-40B4-BE49-F238E27FC236}">
                  <a16:creationId xmlns:a16="http://schemas.microsoft.com/office/drawing/2014/main" id="{A37AED50-FE45-9AA4-F1DA-1BA49D87C44A}"/>
                </a:ext>
              </a:extLst>
            </p:cNvPr>
            <p:cNvSpPr/>
            <p:nvPr userDrawn="1"/>
          </p:nvSpPr>
          <p:spPr bwMode="gray">
            <a:xfrm>
              <a:off x="31736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4" name="Rechteck 683">
              <a:extLst>
                <a:ext uri="{FF2B5EF4-FFF2-40B4-BE49-F238E27FC236}">
                  <a16:creationId xmlns:a16="http://schemas.microsoft.com/office/drawing/2014/main" id="{F6829962-D826-3498-390D-46DB96471D93}"/>
                </a:ext>
              </a:extLst>
            </p:cNvPr>
            <p:cNvSpPr/>
            <p:nvPr userDrawn="1"/>
          </p:nvSpPr>
          <p:spPr bwMode="gray">
            <a:xfrm>
              <a:off x="1126257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5" name="Rechteck 684">
              <a:extLst>
                <a:ext uri="{FF2B5EF4-FFF2-40B4-BE49-F238E27FC236}">
                  <a16:creationId xmlns:a16="http://schemas.microsoft.com/office/drawing/2014/main" id="{99487504-22AD-12C1-6A17-FBF9E4174CF9}"/>
                </a:ext>
              </a:extLst>
            </p:cNvPr>
            <p:cNvSpPr/>
            <p:nvPr userDrawn="1"/>
          </p:nvSpPr>
          <p:spPr bwMode="gray">
            <a:xfrm>
              <a:off x="1068651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6" name="Rechteck 685">
              <a:extLst>
                <a:ext uri="{FF2B5EF4-FFF2-40B4-BE49-F238E27FC236}">
                  <a16:creationId xmlns:a16="http://schemas.microsoft.com/office/drawing/2014/main" id="{9C0FA537-D4EF-E72B-C98C-2352967BD268}"/>
                </a:ext>
              </a:extLst>
            </p:cNvPr>
            <p:cNvSpPr/>
            <p:nvPr userDrawn="1"/>
          </p:nvSpPr>
          <p:spPr bwMode="gray">
            <a:xfrm>
              <a:off x="1011044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7" name="Rechteck 686">
              <a:extLst>
                <a:ext uri="{FF2B5EF4-FFF2-40B4-BE49-F238E27FC236}">
                  <a16:creationId xmlns:a16="http://schemas.microsoft.com/office/drawing/2014/main" id="{EAC1D7B7-B0EF-CFAD-ABD9-290070F70295}"/>
                </a:ext>
              </a:extLst>
            </p:cNvPr>
            <p:cNvSpPr/>
            <p:nvPr userDrawn="1"/>
          </p:nvSpPr>
          <p:spPr bwMode="gray">
            <a:xfrm>
              <a:off x="953438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8" name="Rechteck 687">
              <a:extLst>
                <a:ext uri="{FF2B5EF4-FFF2-40B4-BE49-F238E27FC236}">
                  <a16:creationId xmlns:a16="http://schemas.microsoft.com/office/drawing/2014/main" id="{F660DBD6-28E2-1325-91C6-13FA527D795C}"/>
                </a:ext>
              </a:extLst>
            </p:cNvPr>
            <p:cNvSpPr/>
            <p:nvPr userDrawn="1"/>
          </p:nvSpPr>
          <p:spPr bwMode="gray">
            <a:xfrm>
              <a:off x="895832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9" name="Rechteck 688">
              <a:extLst>
                <a:ext uri="{FF2B5EF4-FFF2-40B4-BE49-F238E27FC236}">
                  <a16:creationId xmlns:a16="http://schemas.microsoft.com/office/drawing/2014/main" id="{664F34AB-C49C-2146-8070-5504D447A2AB}"/>
                </a:ext>
              </a:extLst>
            </p:cNvPr>
            <p:cNvSpPr/>
            <p:nvPr userDrawn="1"/>
          </p:nvSpPr>
          <p:spPr bwMode="gray">
            <a:xfrm>
              <a:off x="838225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0" name="Rechteck 689">
              <a:extLst>
                <a:ext uri="{FF2B5EF4-FFF2-40B4-BE49-F238E27FC236}">
                  <a16:creationId xmlns:a16="http://schemas.microsoft.com/office/drawing/2014/main" id="{DF00BE36-7599-09D8-6A4F-CDB665595734}"/>
                </a:ext>
              </a:extLst>
            </p:cNvPr>
            <p:cNvSpPr/>
            <p:nvPr userDrawn="1"/>
          </p:nvSpPr>
          <p:spPr bwMode="gray">
            <a:xfrm>
              <a:off x="780619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1" name="Rechteck 690">
              <a:extLst>
                <a:ext uri="{FF2B5EF4-FFF2-40B4-BE49-F238E27FC236}">
                  <a16:creationId xmlns:a16="http://schemas.microsoft.com/office/drawing/2014/main" id="{25904FA7-C9E6-5F12-A5F2-F5065000BDED}"/>
                </a:ext>
              </a:extLst>
            </p:cNvPr>
            <p:cNvSpPr/>
            <p:nvPr userDrawn="1"/>
          </p:nvSpPr>
          <p:spPr bwMode="gray">
            <a:xfrm>
              <a:off x="723012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2" name="Rechteck 691">
              <a:extLst>
                <a:ext uri="{FF2B5EF4-FFF2-40B4-BE49-F238E27FC236}">
                  <a16:creationId xmlns:a16="http://schemas.microsoft.com/office/drawing/2014/main" id="{604DA939-8F47-74BB-7739-AB0DCE86DB45}"/>
                </a:ext>
              </a:extLst>
            </p:cNvPr>
            <p:cNvSpPr/>
            <p:nvPr userDrawn="1"/>
          </p:nvSpPr>
          <p:spPr bwMode="gray">
            <a:xfrm>
              <a:off x="665406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3" name="Rechteck 692">
              <a:extLst>
                <a:ext uri="{FF2B5EF4-FFF2-40B4-BE49-F238E27FC236}">
                  <a16:creationId xmlns:a16="http://schemas.microsoft.com/office/drawing/2014/main" id="{7E0577B9-EF5D-61E5-9A9E-959692E1BAF6}"/>
                </a:ext>
              </a:extLst>
            </p:cNvPr>
            <p:cNvSpPr/>
            <p:nvPr userDrawn="1"/>
          </p:nvSpPr>
          <p:spPr bwMode="gray">
            <a:xfrm>
              <a:off x="607800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4" name="Rechteck 693">
              <a:extLst>
                <a:ext uri="{FF2B5EF4-FFF2-40B4-BE49-F238E27FC236}">
                  <a16:creationId xmlns:a16="http://schemas.microsoft.com/office/drawing/2014/main" id="{45F38381-7746-6A70-9CFC-24485672E665}"/>
                </a:ext>
              </a:extLst>
            </p:cNvPr>
            <p:cNvSpPr/>
            <p:nvPr userDrawn="1"/>
          </p:nvSpPr>
          <p:spPr bwMode="gray">
            <a:xfrm>
              <a:off x="550193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5" name="Rechteck 694">
              <a:extLst>
                <a:ext uri="{FF2B5EF4-FFF2-40B4-BE49-F238E27FC236}">
                  <a16:creationId xmlns:a16="http://schemas.microsoft.com/office/drawing/2014/main" id="{F824B87C-5508-B00D-0D74-4B75422E6CCF}"/>
                </a:ext>
              </a:extLst>
            </p:cNvPr>
            <p:cNvSpPr/>
            <p:nvPr userDrawn="1"/>
          </p:nvSpPr>
          <p:spPr bwMode="gray">
            <a:xfrm>
              <a:off x="492587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6" name="Rechteck 695">
              <a:extLst>
                <a:ext uri="{FF2B5EF4-FFF2-40B4-BE49-F238E27FC236}">
                  <a16:creationId xmlns:a16="http://schemas.microsoft.com/office/drawing/2014/main" id="{B01E256F-DB89-A1BE-C1B1-0995D9B5DBFE}"/>
                </a:ext>
              </a:extLst>
            </p:cNvPr>
            <p:cNvSpPr/>
            <p:nvPr userDrawn="1"/>
          </p:nvSpPr>
          <p:spPr bwMode="gray">
            <a:xfrm>
              <a:off x="434980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7" name="Rechteck 696">
              <a:extLst>
                <a:ext uri="{FF2B5EF4-FFF2-40B4-BE49-F238E27FC236}">
                  <a16:creationId xmlns:a16="http://schemas.microsoft.com/office/drawing/2014/main" id="{1C229A02-FB64-D862-D4BD-C775E53EE32E}"/>
                </a:ext>
              </a:extLst>
            </p:cNvPr>
            <p:cNvSpPr/>
            <p:nvPr userDrawn="1"/>
          </p:nvSpPr>
          <p:spPr bwMode="gray">
            <a:xfrm>
              <a:off x="377374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8" name="Rechteck 697">
              <a:extLst>
                <a:ext uri="{FF2B5EF4-FFF2-40B4-BE49-F238E27FC236}">
                  <a16:creationId xmlns:a16="http://schemas.microsoft.com/office/drawing/2014/main" id="{4A22DAA2-6893-C05C-88CC-61AE7A61220A}"/>
                </a:ext>
              </a:extLst>
            </p:cNvPr>
            <p:cNvSpPr/>
            <p:nvPr userDrawn="1"/>
          </p:nvSpPr>
          <p:spPr bwMode="gray">
            <a:xfrm>
              <a:off x="319768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9" name="Rechteck 698">
              <a:extLst>
                <a:ext uri="{FF2B5EF4-FFF2-40B4-BE49-F238E27FC236}">
                  <a16:creationId xmlns:a16="http://schemas.microsoft.com/office/drawing/2014/main" id="{199D64ED-A9B7-CFE3-52DE-3FD7E4E14C2E}"/>
                </a:ext>
              </a:extLst>
            </p:cNvPr>
            <p:cNvSpPr/>
            <p:nvPr userDrawn="1"/>
          </p:nvSpPr>
          <p:spPr bwMode="gray">
            <a:xfrm>
              <a:off x="262161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0" name="Rechteck 699">
              <a:extLst>
                <a:ext uri="{FF2B5EF4-FFF2-40B4-BE49-F238E27FC236}">
                  <a16:creationId xmlns:a16="http://schemas.microsoft.com/office/drawing/2014/main" id="{16F73DDD-02CC-BEF4-EB9F-380EB21C98C8}"/>
                </a:ext>
              </a:extLst>
            </p:cNvPr>
            <p:cNvSpPr/>
            <p:nvPr userDrawn="1"/>
          </p:nvSpPr>
          <p:spPr bwMode="gray">
            <a:xfrm>
              <a:off x="204555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1" name="Rechteck 700">
              <a:extLst>
                <a:ext uri="{FF2B5EF4-FFF2-40B4-BE49-F238E27FC236}">
                  <a16:creationId xmlns:a16="http://schemas.microsoft.com/office/drawing/2014/main" id="{318C98A4-87DC-0A06-B8BB-76FB5BE9F5FB}"/>
                </a:ext>
              </a:extLst>
            </p:cNvPr>
            <p:cNvSpPr/>
            <p:nvPr userDrawn="1"/>
          </p:nvSpPr>
          <p:spPr bwMode="gray">
            <a:xfrm>
              <a:off x="146948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2" name="Rechteck 701">
              <a:extLst>
                <a:ext uri="{FF2B5EF4-FFF2-40B4-BE49-F238E27FC236}">
                  <a16:creationId xmlns:a16="http://schemas.microsoft.com/office/drawing/2014/main" id="{E81C4BAE-2400-AB0F-A784-850CA8977087}"/>
                </a:ext>
              </a:extLst>
            </p:cNvPr>
            <p:cNvSpPr/>
            <p:nvPr userDrawn="1"/>
          </p:nvSpPr>
          <p:spPr bwMode="gray">
            <a:xfrm>
              <a:off x="89342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3" name="Rechteck 702">
              <a:extLst>
                <a:ext uri="{FF2B5EF4-FFF2-40B4-BE49-F238E27FC236}">
                  <a16:creationId xmlns:a16="http://schemas.microsoft.com/office/drawing/2014/main" id="{A8B957F1-53A9-1BB3-B701-410ED70472D0}"/>
                </a:ext>
              </a:extLst>
            </p:cNvPr>
            <p:cNvSpPr/>
            <p:nvPr userDrawn="1"/>
          </p:nvSpPr>
          <p:spPr bwMode="gray">
            <a:xfrm>
              <a:off x="31736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4" name="Rechteck 703">
              <a:extLst>
                <a:ext uri="{FF2B5EF4-FFF2-40B4-BE49-F238E27FC236}">
                  <a16:creationId xmlns:a16="http://schemas.microsoft.com/office/drawing/2014/main" id="{D3772136-A7EC-45DF-46B7-2B7CE07FA8E8}"/>
                </a:ext>
              </a:extLst>
            </p:cNvPr>
            <p:cNvSpPr/>
            <p:nvPr userDrawn="1"/>
          </p:nvSpPr>
          <p:spPr bwMode="gray">
            <a:xfrm>
              <a:off x="1126257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5" name="Rechteck 704">
              <a:extLst>
                <a:ext uri="{FF2B5EF4-FFF2-40B4-BE49-F238E27FC236}">
                  <a16:creationId xmlns:a16="http://schemas.microsoft.com/office/drawing/2014/main" id="{CB41D1A6-DC98-E684-1BA7-8E11AD099A59}"/>
                </a:ext>
              </a:extLst>
            </p:cNvPr>
            <p:cNvSpPr/>
            <p:nvPr userDrawn="1"/>
          </p:nvSpPr>
          <p:spPr bwMode="gray">
            <a:xfrm>
              <a:off x="1068651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6" name="Rechteck 705">
              <a:extLst>
                <a:ext uri="{FF2B5EF4-FFF2-40B4-BE49-F238E27FC236}">
                  <a16:creationId xmlns:a16="http://schemas.microsoft.com/office/drawing/2014/main" id="{ADDAD27F-0730-AF84-3E24-0D2531926AD6}"/>
                </a:ext>
              </a:extLst>
            </p:cNvPr>
            <p:cNvSpPr/>
            <p:nvPr userDrawn="1"/>
          </p:nvSpPr>
          <p:spPr bwMode="gray">
            <a:xfrm>
              <a:off x="1011044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7" name="Rechteck 706">
              <a:extLst>
                <a:ext uri="{FF2B5EF4-FFF2-40B4-BE49-F238E27FC236}">
                  <a16:creationId xmlns:a16="http://schemas.microsoft.com/office/drawing/2014/main" id="{2C5741E8-DFCE-5AA2-03BB-B4B5DF6BE134}"/>
                </a:ext>
              </a:extLst>
            </p:cNvPr>
            <p:cNvSpPr/>
            <p:nvPr userDrawn="1"/>
          </p:nvSpPr>
          <p:spPr bwMode="gray">
            <a:xfrm>
              <a:off x="953438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8" name="Rechteck 707">
              <a:extLst>
                <a:ext uri="{FF2B5EF4-FFF2-40B4-BE49-F238E27FC236}">
                  <a16:creationId xmlns:a16="http://schemas.microsoft.com/office/drawing/2014/main" id="{0327C283-F55E-A138-C385-448FA20BFA7A}"/>
                </a:ext>
              </a:extLst>
            </p:cNvPr>
            <p:cNvSpPr/>
            <p:nvPr userDrawn="1"/>
          </p:nvSpPr>
          <p:spPr bwMode="gray">
            <a:xfrm>
              <a:off x="895832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9" name="Rechteck 708">
              <a:extLst>
                <a:ext uri="{FF2B5EF4-FFF2-40B4-BE49-F238E27FC236}">
                  <a16:creationId xmlns:a16="http://schemas.microsoft.com/office/drawing/2014/main" id="{EF9D85E3-D8C5-0A31-AE8B-717BE2A84F3C}"/>
                </a:ext>
              </a:extLst>
            </p:cNvPr>
            <p:cNvSpPr/>
            <p:nvPr userDrawn="1"/>
          </p:nvSpPr>
          <p:spPr bwMode="gray">
            <a:xfrm>
              <a:off x="838225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0" name="Rechteck 709">
              <a:extLst>
                <a:ext uri="{FF2B5EF4-FFF2-40B4-BE49-F238E27FC236}">
                  <a16:creationId xmlns:a16="http://schemas.microsoft.com/office/drawing/2014/main" id="{C9B45B9A-8516-5737-E398-0496B57517FF}"/>
                </a:ext>
              </a:extLst>
            </p:cNvPr>
            <p:cNvSpPr/>
            <p:nvPr userDrawn="1"/>
          </p:nvSpPr>
          <p:spPr bwMode="gray">
            <a:xfrm>
              <a:off x="780619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1" name="Rechteck 710">
              <a:extLst>
                <a:ext uri="{FF2B5EF4-FFF2-40B4-BE49-F238E27FC236}">
                  <a16:creationId xmlns:a16="http://schemas.microsoft.com/office/drawing/2014/main" id="{0A5791E4-EAF2-A059-DB14-E3BD4C03E4D9}"/>
                </a:ext>
              </a:extLst>
            </p:cNvPr>
            <p:cNvSpPr/>
            <p:nvPr userDrawn="1"/>
          </p:nvSpPr>
          <p:spPr bwMode="gray">
            <a:xfrm>
              <a:off x="723012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2" name="Rechteck 711">
              <a:extLst>
                <a:ext uri="{FF2B5EF4-FFF2-40B4-BE49-F238E27FC236}">
                  <a16:creationId xmlns:a16="http://schemas.microsoft.com/office/drawing/2014/main" id="{3FA5FCC9-1E3E-370B-6066-F64C9632B27B}"/>
                </a:ext>
              </a:extLst>
            </p:cNvPr>
            <p:cNvSpPr/>
            <p:nvPr userDrawn="1"/>
          </p:nvSpPr>
          <p:spPr bwMode="gray">
            <a:xfrm>
              <a:off x="665406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3" name="Rechteck 712">
              <a:extLst>
                <a:ext uri="{FF2B5EF4-FFF2-40B4-BE49-F238E27FC236}">
                  <a16:creationId xmlns:a16="http://schemas.microsoft.com/office/drawing/2014/main" id="{2F401C49-E938-6C10-B79C-4EEC3F3E6F9E}"/>
                </a:ext>
              </a:extLst>
            </p:cNvPr>
            <p:cNvSpPr/>
            <p:nvPr userDrawn="1"/>
          </p:nvSpPr>
          <p:spPr bwMode="gray">
            <a:xfrm>
              <a:off x="607800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4" name="Rechteck 713">
              <a:extLst>
                <a:ext uri="{FF2B5EF4-FFF2-40B4-BE49-F238E27FC236}">
                  <a16:creationId xmlns:a16="http://schemas.microsoft.com/office/drawing/2014/main" id="{C4B47438-03B6-134F-BF04-F36C0442D456}"/>
                </a:ext>
              </a:extLst>
            </p:cNvPr>
            <p:cNvSpPr/>
            <p:nvPr userDrawn="1"/>
          </p:nvSpPr>
          <p:spPr bwMode="gray">
            <a:xfrm>
              <a:off x="550193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5" name="Rechteck 714">
              <a:extLst>
                <a:ext uri="{FF2B5EF4-FFF2-40B4-BE49-F238E27FC236}">
                  <a16:creationId xmlns:a16="http://schemas.microsoft.com/office/drawing/2014/main" id="{11226458-B83D-BB4B-EDBF-3976CF5C9CCF}"/>
                </a:ext>
              </a:extLst>
            </p:cNvPr>
            <p:cNvSpPr/>
            <p:nvPr userDrawn="1"/>
          </p:nvSpPr>
          <p:spPr bwMode="gray">
            <a:xfrm>
              <a:off x="492587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6" name="Rechteck 715">
              <a:extLst>
                <a:ext uri="{FF2B5EF4-FFF2-40B4-BE49-F238E27FC236}">
                  <a16:creationId xmlns:a16="http://schemas.microsoft.com/office/drawing/2014/main" id="{D890A979-155E-837B-3A67-8A1A12F792F8}"/>
                </a:ext>
              </a:extLst>
            </p:cNvPr>
            <p:cNvSpPr/>
            <p:nvPr userDrawn="1"/>
          </p:nvSpPr>
          <p:spPr bwMode="gray">
            <a:xfrm>
              <a:off x="434980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7" name="Rechteck 716">
              <a:extLst>
                <a:ext uri="{FF2B5EF4-FFF2-40B4-BE49-F238E27FC236}">
                  <a16:creationId xmlns:a16="http://schemas.microsoft.com/office/drawing/2014/main" id="{DED1B205-AA64-C926-5A26-0D0B849C3479}"/>
                </a:ext>
              </a:extLst>
            </p:cNvPr>
            <p:cNvSpPr/>
            <p:nvPr userDrawn="1"/>
          </p:nvSpPr>
          <p:spPr bwMode="gray">
            <a:xfrm>
              <a:off x="377374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8" name="Rechteck 717">
              <a:extLst>
                <a:ext uri="{FF2B5EF4-FFF2-40B4-BE49-F238E27FC236}">
                  <a16:creationId xmlns:a16="http://schemas.microsoft.com/office/drawing/2014/main" id="{EF676756-AD47-B8CA-C8FC-982901F20ED3}"/>
                </a:ext>
              </a:extLst>
            </p:cNvPr>
            <p:cNvSpPr/>
            <p:nvPr userDrawn="1"/>
          </p:nvSpPr>
          <p:spPr bwMode="gray">
            <a:xfrm>
              <a:off x="319768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9" name="Rechteck 718">
              <a:extLst>
                <a:ext uri="{FF2B5EF4-FFF2-40B4-BE49-F238E27FC236}">
                  <a16:creationId xmlns:a16="http://schemas.microsoft.com/office/drawing/2014/main" id="{6E7BDB7B-F745-556B-4FB0-8B752B068453}"/>
                </a:ext>
              </a:extLst>
            </p:cNvPr>
            <p:cNvSpPr/>
            <p:nvPr userDrawn="1"/>
          </p:nvSpPr>
          <p:spPr bwMode="gray">
            <a:xfrm>
              <a:off x="262161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0" name="Rechteck 719">
              <a:extLst>
                <a:ext uri="{FF2B5EF4-FFF2-40B4-BE49-F238E27FC236}">
                  <a16:creationId xmlns:a16="http://schemas.microsoft.com/office/drawing/2014/main" id="{3AA543CD-2D32-BBB9-5E0F-CF4D92846D14}"/>
                </a:ext>
              </a:extLst>
            </p:cNvPr>
            <p:cNvSpPr/>
            <p:nvPr userDrawn="1"/>
          </p:nvSpPr>
          <p:spPr bwMode="gray">
            <a:xfrm>
              <a:off x="204555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1" name="Rechteck 720">
              <a:extLst>
                <a:ext uri="{FF2B5EF4-FFF2-40B4-BE49-F238E27FC236}">
                  <a16:creationId xmlns:a16="http://schemas.microsoft.com/office/drawing/2014/main" id="{86FC05A7-F521-9007-C1EE-D278EBF44A3B}"/>
                </a:ext>
              </a:extLst>
            </p:cNvPr>
            <p:cNvSpPr/>
            <p:nvPr userDrawn="1"/>
          </p:nvSpPr>
          <p:spPr bwMode="gray">
            <a:xfrm>
              <a:off x="146948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2" name="Rechteck 721">
              <a:extLst>
                <a:ext uri="{FF2B5EF4-FFF2-40B4-BE49-F238E27FC236}">
                  <a16:creationId xmlns:a16="http://schemas.microsoft.com/office/drawing/2014/main" id="{2E5B1F63-B603-C084-652A-F56D9E365B52}"/>
                </a:ext>
              </a:extLst>
            </p:cNvPr>
            <p:cNvSpPr/>
            <p:nvPr userDrawn="1"/>
          </p:nvSpPr>
          <p:spPr bwMode="gray">
            <a:xfrm>
              <a:off x="89342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3" name="Rechteck 722">
              <a:extLst>
                <a:ext uri="{FF2B5EF4-FFF2-40B4-BE49-F238E27FC236}">
                  <a16:creationId xmlns:a16="http://schemas.microsoft.com/office/drawing/2014/main" id="{1F12D622-226E-A6E4-B5E1-400DAADA2BE1}"/>
                </a:ext>
              </a:extLst>
            </p:cNvPr>
            <p:cNvSpPr/>
            <p:nvPr userDrawn="1"/>
          </p:nvSpPr>
          <p:spPr bwMode="gray">
            <a:xfrm>
              <a:off x="31736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4" name="Rechteck 723">
              <a:extLst>
                <a:ext uri="{FF2B5EF4-FFF2-40B4-BE49-F238E27FC236}">
                  <a16:creationId xmlns:a16="http://schemas.microsoft.com/office/drawing/2014/main" id="{A9B30E95-9E23-2597-F975-C2A5DB8C79E5}"/>
                </a:ext>
              </a:extLst>
            </p:cNvPr>
            <p:cNvSpPr/>
            <p:nvPr userDrawn="1"/>
          </p:nvSpPr>
          <p:spPr bwMode="gray">
            <a:xfrm>
              <a:off x="1126257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5" name="Rechteck 724">
              <a:extLst>
                <a:ext uri="{FF2B5EF4-FFF2-40B4-BE49-F238E27FC236}">
                  <a16:creationId xmlns:a16="http://schemas.microsoft.com/office/drawing/2014/main" id="{92348C7E-F56E-069C-BF83-C56849ACD8C5}"/>
                </a:ext>
              </a:extLst>
            </p:cNvPr>
            <p:cNvSpPr/>
            <p:nvPr userDrawn="1"/>
          </p:nvSpPr>
          <p:spPr bwMode="gray">
            <a:xfrm>
              <a:off x="1068651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6" name="Rechteck 725">
              <a:extLst>
                <a:ext uri="{FF2B5EF4-FFF2-40B4-BE49-F238E27FC236}">
                  <a16:creationId xmlns:a16="http://schemas.microsoft.com/office/drawing/2014/main" id="{2243E131-E5F5-2C77-3552-BDCEC6C284C7}"/>
                </a:ext>
              </a:extLst>
            </p:cNvPr>
            <p:cNvSpPr/>
            <p:nvPr userDrawn="1"/>
          </p:nvSpPr>
          <p:spPr bwMode="gray">
            <a:xfrm>
              <a:off x="1011044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7" name="Rechteck 726">
              <a:extLst>
                <a:ext uri="{FF2B5EF4-FFF2-40B4-BE49-F238E27FC236}">
                  <a16:creationId xmlns:a16="http://schemas.microsoft.com/office/drawing/2014/main" id="{2044B5B1-3328-4E14-0681-B646CFA59789}"/>
                </a:ext>
              </a:extLst>
            </p:cNvPr>
            <p:cNvSpPr/>
            <p:nvPr userDrawn="1"/>
          </p:nvSpPr>
          <p:spPr bwMode="gray">
            <a:xfrm>
              <a:off x="953438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8" name="Rechteck 727">
              <a:extLst>
                <a:ext uri="{FF2B5EF4-FFF2-40B4-BE49-F238E27FC236}">
                  <a16:creationId xmlns:a16="http://schemas.microsoft.com/office/drawing/2014/main" id="{EEB30FA6-51E0-3C56-D7D5-CEDD5EB7DBA1}"/>
                </a:ext>
              </a:extLst>
            </p:cNvPr>
            <p:cNvSpPr/>
            <p:nvPr userDrawn="1"/>
          </p:nvSpPr>
          <p:spPr bwMode="gray">
            <a:xfrm>
              <a:off x="895832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9" name="Rechteck 728">
              <a:extLst>
                <a:ext uri="{FF2B5EF4-FFF2-40B4-BE49-F238E27FC236}">
                  <a16:creationId xmlns:a16="http://schemas.microsoft.com/office/drawing/2014/main" id="{8B0BF30B-92F0-7281-6301-326DCDEBB3A7}"/>
                </a:ext>
              </a:extLst>
            </p:cNvPr>
            <p:cNvSpPr/>
            <p:nvPr userDrawn="1"/>
          </p:nvSpPr>
          <p:spPr bwMode="gray">
            <a:xfrm>
              <a:off x="838225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0" name="Rechteck 729">
              <a:extLst>
                <a:ext uri="{FF2B5EF4-FFF2-40B4-BE49-F238E27FC236}">
                  <a16:creationId xmlns:a16="http://schemas.microsoft.com/office/drawing/2014/main" id="{531BC76A-D428-F100-29E2-007E03484F08}"/>
                </a:ext>
              </a:extLst>
            </p:cNvPr>
            <p:cNvSpPr/>
            <p:nvPr userDrawn="1"/>
          </p:nvSpPr>
          <p:spPr bwMode="gray">
            <a:xfrm>
              <a:off x="780619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1" name="Rechteck 730">
              <a:extLst>
                <a:ext uri="{FF2B5EF4-FFF2-40B4-BE49-F238E27FC236}">
                  <a16:creationId xmlns:a16="http://schemas.microsoft.com/office/drawing/2014/main" id="{7BC37D18-D22F-36E5-BAFF-170B01AF2A29}"/>
                </a:ext>
              </a:extLst>
            </p:cNvPr>
            <p:cNvSpPr/>
            <p:nvPr userDrawn="1"/>
          </p:nvSpPr>
          <p:spPr bwMode="gray">
            <a:xfrm>
              <a:off x="723012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2" name="Rechteck 731">
              <a:extLst>
                <a:ext uri="{FF2B5EF4-FFF2-40B4-BE49-F238E27FC236}">
                  <a16:creationId xmlns:a16="http://schemas.microsoft.com/office/drawing/2014/main" id="{97C2E91B-D657-3D5D-E5AC-ABF06C450131}"/>
                </a:ext>
              </a:extLst>
            </p:cNvPr>
            <p:cNvSpPr/>
            <p:nvPr userDrawn="1"/>
          </p:nvSpPr>
          <p:spPr bwMode="gray">
            <a:xfrm>
              <a:off x="665406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3" name="Rechteck 732">
              <a:extLst>
                <a:ext uri="{FF2B5EF4-FFF2-40B4-BE49-F238E27FC236}">
                  <a16:creationId xmlns:a16="http://schemas.microsoft.com/office/drawing/2014/main" id="{A7E1A254-0008-775A-386C-25226390A3B0}"/>
                </a:ext>
              </a:extLst>
            </p:cNvPr>
            <p:cNvSpPr/>
            <p:nvPr userDrawn="1"/>
          </p:nvSpPr>
          <p:spPr bwMode="gray">
            <a:xfrm>
              <a:off x="607800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4" name="Rechteck 733">
              <a:extLst>
                <a:ext uri="{FF2B5EF4-FFF2-40B4-BE49-F238E27FC236}">
                  <a16:creationId xmlns:a16="http://schemas.microsoft.com/office/drawing/2014/main" id="{161889EE-2694-64FC-3D60-2714BC468C31}"/>
                </a:ext>
              </a:extLst>
            </p:cNvPr>
            <p:cNvSpPr/>
            <p:nvPr userDrawn="1"/>
          </p:nvSpPr>
          <p:spPr bwMode="gray">
            <a:xfrm>
              <a:off x="550193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5" name="Rechteck 734">
              <a:extLst>
                <a:ext uri="{FF2B5EF4-FFF2-40B4-BE49-F238E27FC236}">
                  <a16:creationId xmlns:a16="http://schemas.microsoft.com/office/drawing/2014/main" id="{E96585F9-309D-C689-3DB6-CD226C2AB332}"/>
                </a:ext>
              </a:extLst>
            </p:cNvPr>
            <p:cNvSpPr/>
            <p:nvPr userDrawn="1"/>
          </p:nvSpPr>
          <p:spPr bwMode="gray">
            <a:xfrm>
              <a:off x="492587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6" name="Rechteck 735">
              <a:extLst>
                <a:ext uri="{FF2B5EF4-FFF2-40B4-BE49-F238E27FC236}">
                  <a16:creationId xmlns:a16="http://schemas.microsoft.com/office/drawing/2014/main" id="{31C3ED65-CCE8-4D90-C7F0-06A1A3EA516E}"/>
                </a:ext>
              </a:extLst>
            </p:cNvPr>
            <p:cNvSpPr/>
            <p:nvPr userDrawn="1"/>
          </p:nvSpPr>
          <p:spPr bwMode="gray">
            <a:xfrm>
              <a:off x="434980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7" name="Rechteck 736">
              <a:extLst>
                <a:ext uri="{FF2B5EF4-FFF2-40B4-BE49-F238E27FC236}">
                  <a16:creationId xmlns:a16="http://schemas.microsoft.com/office/drawing/2014/main" id="{EEDFF27D-3F83-A6B0-FB71-EA03BBF8F049}"/>
                </a:ext>
              </a:extLst>
            </p:cNvPr>
            <p:cNvSpPr/>
            <p:nvPr userDrawn="1"/>
          </p:nvSpPr>
          <p:spPr bwMode="gray">
            <a:xfrm>
              <a:off x="377374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8" name="Rechteck 737">
              <a:extLst>
                <a:ext uri="{FF2B5EF4-FFF2-40B4-BE49-F238E27FC236}">
                  <a16:creationId xmlns:a16="http://schemas.microsoft.com/office/drawing/2014/main" id="{254FB42C-BB99-3C52-042F-06801D3A516C}"/>
                </a:ext>
              </a:extLst>
            </p:cNvPr>
            <p:cNvSpPr/>
            <p:nvPr userDrawn="1"/>
          </p:nvSpPr>
          <p:spPr bwMode="gray">
            <a:xfrm>
              <a:off x="319768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9" name="Rechteck 738">
              <a:extLst>
                <a:ext uri="{FF2B5EF4-FFF2-40B4-BE49-F238E27FC236}">
                  <a16:creationId xmlns:a16="http://schemas.microsoft.com/office/drawing/2014/main" id="{4F3FD685-8FF4-D9DA-D75B-2BB488D8E55B}"/>
                </a:ext>
              </a:extLst>
            </p:cNvPr>
            <p:cNvSpPr/>
            <p:nvPr userDrawn="1"/>
          </p:nvSpPr>
          <p:spPr bwMode="gray">
            <a:xfrm>
              <a:off x="262161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0" name="Rechteck 739">
              <a:extLst>
                <a:ext uri="{FF2B5EF4-FFF2-40B4-BE49-F238E27FC236}">
                  <a16:creationId xmlns:a16="http://schemas.microsoft.com/office/drawing/2014/main" id="{FEA3B63C-CAC6-47A8-FA46-B056D46415F8}"/>
                </a:ext>
              </a:extLst>
            </p:cNvPr>
            <p:cNvSpPr/>
            <p:nvPr userDrawn="1"/>
          </p:nvSpPr>
          <p:spPr bwMode="gray">
            <a:xfrm>
              <a:off x="204555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1" name="Rechteck 740">
              <a:extLst>
                <a:ext uri="{FF2B5EF4-FFF2-40B4-BE49-F238E27FC236}">
                  <a16:creationId xmlns:a16="http://schemas.microsoft.com/office/drawing/2014/main" id="{9ECCDD9A-B950-1C4C-213B-900CEBCECD0F}"/>
                </a:ext>
              </a:extLst>
            </p:cNvPr>
            <p:cNvSpPr/>
            <p:nvPr userDrawn="1"/>
          </p:nvSpPr>
          <p:spPr bwMode="gray">
            <a:xfrm>
              <a:off x="146948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2" name="Rechteck 741">
              <a:extLst>
                <a:ext uri="{FF2B5EF4-FFF2-40B4-BE49-F238E27FC236}">
                  <a16:creationId xmlns:a16="http://schemas.microsoft.com/office/drawing/2014/main" id="{A5BA7FD3-CD3B-7C4D-49B2-D589564CE4B6}"/>
                </a:ext>
              </a:extLst>
            </p:cNvPr>
            <p:cNvSpPr/>
            <p:nvPr userDrawn="1"/>
          </p:nvSpPr>
          <p:spPr bwMode="gray">
            <a:xfrm>
              <a:off x="89342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3" name="Rechteck 742">
              <a:extLst>
                <a:ext uri="{FF2B5EF4-FFF2-40B4-BE49-F238E27FC236}">
                  <a16:creationId xmlns:a16="http://schemas.microsoft.com/office/drawing/2014/main" id="{F7B982C4-8787-A6CA-F374-0CE3612E49DF}"/>
                </a:ext>
              </a:extLst>
            </p:cNvPr>
            <p:cNvSpPr/>
            <p:nvPr userDrawn="1"/>
          </p:nvSpPr>
          <p:spPr bwMode="gray">
            <a:xfrm>
              <a:off x="31736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4" name="Rechteck 743">
              <a:extLst>
                <a:ext uri="{FF2B5EF4-FFF2-40B4-BE49-F238E27FC236}">
                  <a16:creationId xmlns:a16="http://schemas.microsoft.com/office/drawing/2014/main" id="{89B2B55C-001C-1108-E3DE-620C165EE8B6}"/>
                </a:ext>
              </a:extLst>
            </p:cNvPr>
            <p:cNvSpPr/>
            <p:nvPr userDrawn="1"/>
          </p:nvSpPr>
          <p:spPr bwMode="gray">
            <a:xfrm>
              <a:off x="1126257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5" name="Rechteck 744">
              <a:extLst>
                <a:ext uri="{FF2B5EF4-FFF2-40B4-BE49-F238E27FC236}">
                  <a16:creationId xmlns:a16="http://schemas.microsoft.com/office/drawing/2014/main" id="{30B065EE-E23F-9E96-CDE1-E229ED0404DE}"/>
                </a:ext>
              </a:extLst>
            </p:cNvPr>
            <p:cNvSpPr/>
            <p:nvPr userDrawn="1"/>
          </p:nvSpPr>
          <p:spPr bwMode="gray">
            <a:xfrm>
              <a:off x="1068651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6" name="Rechteck 745">
              <a:extLst>
                <a:ext uri="{FF2B5EF4-FFF2-40B4-BE49-F238E27FC236}">
                  <a16:creationId xmlns:a16="http://schemas.microsoft.com/office/drawing/2014/main" id="{6FDE1D93-61FB-A361-36D2-1483E5DDEA98}"/>
                </a:ext>
              </a:extLst>
            </p:cNvPr>
            <p:cNvSpPr/>
            <p:nvPr userDrawn="1"/>
          </p:nvSpPr>
          <p:spPr bwMode="gray">
            <a:xfrm>
              <a:off x="1011044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7" name="Rechteck 746">
              <a:extLst>
                <a:ext uri="{FF2B5EF4-FFF2-40B4-BE49-F238E27FC236}">
                  <a16:creationId xmlns:a16="http://schemas.microsoft.com/office/drawing/2014/main" id="{8651CDD3-8BA3-8E08-E53A-85BCB00F49E4}"/>
                </a:ext>
              </a:extLst>
            </p:cNvPr>
            <p:cNvSpPr/>
            <p:nvPr userDrawn="1"/>
          </p:nvSpPr>
          <p:spPr bwMode="gray">
            <a:xfrm>
              <a:off x="953438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8" name="Rechteck 747">
              <a:extLst>
                <a:ext uri="{FF2B5EF4-FFF2-40B4-BE49-F238E27FC236}">
                  <a16:creationId xmlns:a16="http://schemas.microsoft.com/office/drawing/2014/main" id="{B07949A8-E6D2-FB7F-1786-11517CCC0436}"/>
                </a:ext>
              </a:extLst>
            </p:cNvPr>
            <p:cNvSpPr/>
            <p:nvPr userDrawn="1"/>
          </p:nvSpPr>
          <p:spPr bwMode="gray">
            <a:xfrm>
              <a:off x="895832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9" name="Rechteck 748">
              <a:extLst>
                <a:ext uri="{FF2B5EF4-FFF2-40B4-BE49-F238E27FC236}">
                  <a16:creationId xmlns:a16="http://schemas.microsoft.com/office/drawing/2014/main" id="{C5EEC1E2-E469-219D-A799-B44E95685D98}"/>
                </a:ext>
              </a:extLst>
            </p:cNvPr>
            <p:cNvSpPr/>
            <p:nvPr userDrawn="1"/>
          </p:nvSpPr>
          <p:spPr bwMode="gray">
            <a:xfrm>
              <a:off x="838225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0" name="Rechteck 749">
              <a:extLst>
                <a:ext uri="{FF2B5EF4-FFF2-40B4-BE49-F238E27FC236}">
                  <a16:creationId xmlns:a16="http://schemas.microsoft.com/office/drawing/2014/main" id="{AEE93A85-8387-5AA4-CBA5-1442062F0DFE}"/>
                </a:ext>
              </a:extLst>
            </p:cNvPr>
            <p:cNvSpPr/>
            <p:nvPr userDrawn="1"/>
          </p:nvSpPr>
          <p:spPr bwMode="gray">
            <a:xfrm>
              <a:off x="780619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1" name="Rechteck 750">
              <a:extLst>
                <a:ext uri="{FF2B5EF4-FFF2-40B4-BE49-F238E27FC236}">
                  <a16:creationId xmlns:a16="http://schemas.microsoft.com/office/drawing/2014/main" id="{27C88903-6CCD-D221-4A5C-B9E537938E27}"/>
                </a:ext>
              </a:extLst>
            </p:cNvPr>
            <p:cNvSpPr/>
            <p:nvPr userDrawn="1"/>
          </p:nvSpPr>
          <p:spPr bwMode="gray">
            <a:xfrm>
              <a:off x="723012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2" name="Rechteck 751">
              <a:extLst>
                <a:ext uri="{FF2B5EF4-FFF2-40B4-BE49-F238E27FC236}">
                  <a16:creationId xmlns:a16="http://schemas.microsoft.com/office/drawing/2014/main" id="{44447B62-11E0-4F17-23C6-67BFD620000E}"/>
                </a:ext>
              </a:extLst>
            </p:cNvPr>
            <p:cNvSpPr/>
            <p:nvPr userDrawn="1"/>
          </p:nvSpPr>
          <p:spPr bwMode="gray">
            <a:xfrm>
              <a:off x="665406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3" name="Rechteck 752">
              <a:extLst>
                <a:ext uri="{FF2B5EF4-FFF2-40B4-BE49-F238E27FC236}">
                  <a16:creationId xmlns:a16="http://schemas.microsoft.com/office/drawing/2014/main" id="{4844947F-0FCF-2041-8A4B-EC46589C4E54}"/>
                </a:ext>
              </a:extLst>
            </p:cNvPr>
            <p:cNvSpPr/>
            <p:nvPr userDrawn="1"/>
          </p:nvSpPr>
          <p:spPr bwMode="gray">
            <a:xfrm>
              <a:off x="607800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4" name="Rechteck 753">
              <a:extLst>
                <a:ext uri="{FF2B5EF4-FFF2-40B4-BE49-F238E27FC236}">
                  <a16:creationId xmlns:a16="http://schemas.microsoft.com/office/drawing/2014/main" id="{272D6BCE-DFCC-FB7B-66AC-0E115DFBB970}"/>
                </a:ext>
              </a:extLst>
            </p:cNvPr>
            <p:cNvSpPr/>
            <p:nvPr userDrawn="1"/>
          </p:nvSpPr>
          <p:spPr bwMode="gray">
            <a:xfrm>
              <a:off x="550193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5" name="Rechteck 754">
              <a:extLst>
                <a:ext uri="{FF2B5EF4-FFF2-40B4-BE49-F238E27FC236}">
                  <a16:creationId xmlns:a16="http://schemas.microsoft.com/office/drawing/2014/main" id="{2E5CC815-35D3-1633-D820-C6C661B41C36}"/>
                </a:ext>
              </a:extLst>
            </p:cNvPr>
            <p:cNvSpPr/>
            <p:nvPr userDrawn="1"/>
          </p:nvSpPr>
          <p:spPr bwMode="gray">
            <a:xfrm>
              <a:off x="492587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6" name="Rechteck 755">
              <a:extLst>
                <a:ext uri="{FF2B5EF4-FFF2-40B4-BE49-F238E27FC236}">
                  <a16:creationId xmlns:a16="http://schemas.microsoft.com/office/drawing/2014/main" id="{D9F4C9CF-4104-B687-B0B3-D59617D3A7CD}"/>
                </a:ext>
              </a:extLst>
            </p:cNvPr>
            <p:cNvSpPr/>
            <p:nvPr userDrawn="1"/>
          </p:nvSpPr>
          <p:spPr bwMode="gray">
            <a:xfrm>
              <a:off x="434980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7" name="Rechteck 756">
              <a:extLst>
                <a:ext uri="{FF2B5EF4-FFF2-40B4-BE49-F238E27FC236}">
                  <a16:creationId xmlns:a16="http://schemas.microsoft.com/office/drawing/2014/main" id="{91228AA7-5A72-DD2A-21C9-D86929E70E5D}"/>
                </a:ext>
              </a:extLst>
            </p:cNvPr>
            <p:cNvSpPr/>
            <p:nvPr userDrawn="1"/>
          </p:nvSpPr>
          <p:spPr bwMode="gray">
            <a:xfrm>
              <a:off x="377374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8" name="Rechteck 757">
              <a:extLst>
                <a:ext uri="{FF2B5EF4-FFF2-40B4-BE49-F238E27FC236}">
                  <a16:creationId xmlns:a16="http://schemas.microsoft.com/office/drawing/2014/main" id="{457428C6-6A08-9FC8-FF89-C62B85C6E497}"/>
                </a:ext>
              </a:extLst>
            </p:cNvPr>
            <p:cNvSpPr/>
            <p:nvPr userDrawn="1"/>
          </p:nvSpPr>
          <p:spPr bwMode="gray">
            <a:xfrm>
              <a:off x="319768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9" name="Rechteck 758">
              <a:extLst>
                <a:ext uri="{FF2B5EF4-FFF2-40B4-BE49-F238E27FC236}">
                  <a16:creationId xmlns:a16="http://schemas.microsoft.com/office/drawing/2014/main" id="{E194365B-FDC7-4870-2165-D9F402D49E4A}"/>
                </a:ext>
              </a:extLst>
            </p:cNvPr>
            <p:cNvSpPr/>
            <p:nvPr userDrawn="1"/>
          </p:nvSpPr>
          <p:spPr bwMode="gray">
            <a:xfrm>
              <a:off x="262161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0" name="Rechteck 759">
              <a:extLst>
                <a:ext uri="{FF2B5EF4-FFF2-40B4-BE49-F238E27FC236}">
                  <a16:creationId xmlns:a16="http://schemas.microsoft.com/office/drawing/2014/main" id="{46B7417B-D978-6F2D-C411-17B3EF9585E5}"/>
                </a:ext>
              </a:extLst>
            </p:cNvPr>
            <p:cNvSpPr/>
            <p:nvPr userDrawn="1"/>
          </p:nvSpPr>
          <p:spPr bwMode="gray">
            <a:xfrm>
              <a:off x="204555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1" name="Rechteck 760">
              <a:extLst>
                <a:ext uri="{FF2B5EF4-FFF2-40B4-BE49-F238E27FC236}">
                  <a16:creationId xmlns:a16="http://schemas.microsoft.com/office/drawing/2014/main" id="{218F660E-E33C-81CA-9AFE-8860A919BF9A}"/>
                </a:ext>
              </a:extLst>
            </p:cNvPr>
            <p:cNvSpPr/>
            <p:nvPr userDrawn="1"/>
          </p:nvSpPr>
          <p:spPr bwMode="gray">
            <a:xfrm>
              <a:off x="146948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2" name="Rechteck 761">
              <a:extLst>
                <a:ext uri="{FF2B5EF4-FFF2-40B4-BE49-F238E27FC236}">
                  <a16:creationId xmlns:a16="http://schemas.microsoft.com/office/drawing/2014/main" id="{98718A75-8D58-4BA3-9180-BDBD8A01F26F}"/>
                </a:ext>
              </a:extLst>
            </p:cNvPr>
            <p:cNvSpPr/>
            <p:nvPr userDrawn="1"/>
          </p:nvSpPr>
          <p:spPr bwMode="gray">
            <a:xfrm>
              <a:off x="89342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3" name="Rechteck 762">
              <a:extLst>
                <a:ext uri="{FF2B5EF4-FFF2-40B4-BE49-F238E27FC236}">
                  <a16:creationId xmlns:a16="http://schemas.microsoft.com/office/drawing/2014/main" id="{82B8C85C-9C95-CD18-43B5-BC16E1B2D0C0}"/>
                </a:ext>
              </a:extLst>
            </p:cNvPr>
            <p:cNvSpPr/>
            <p:nvPr userDrawn="1"/>
          </p:nvSpPr>
          <p:spPr bwMode="gray">
            <a:xfrm>
              <a:off x="31736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4" name="Rechteck 763">
              <a:extLst>
                <a:ext uri="{FF2B5EF4-FFF2-40B4-BE49-F238E27FC236}">
                  <a16:creationId xmlns:a16="http://schemas.microsoft.com/office/drawing/2014/main" id="{A0D5DEE6-7641-7BFC-BE8B-F8FFC9D19153}"/>
                </a:ext>
              </a:extLst>
            </p:cNvPr>
            <p:cNvSpPr/>
            <p:nvPr userDrawn="1"/>
          </p:nvSpPr>
          <p:spPr bwMode="gray">
            <a:xfrm>
              <a:off x="1183864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5" name="Rechteck 764">
              <a:extLst>
                <a:ext uri="{FF2B5EF4-FFF2-40B4-BE49-F238E27FC236}">
                  <a16:creationId xmlns:a16="http://schemas.microsoft.com/office/drawing/2014/main" id="{FF66C22A-9971-3BF9-A8FC-FB015A13760D}"/>
                </a:ext>
              </a:extLst>
            </p:cNvPr>
            <p:cNvSpPr/>
            <p:nvPr userDrawn="1"/>
          </p:nvSpPr>
          <p:spPr bwMode="gray">
            <a:xfrm>
              <a:off x="1183864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6" name="Rechteck 765">
              <a:extLst>
                <a:ext uri="{FF2B5EF4-FFF2-40B4-BE49-F238E27FC236}">
                  <a16:creationId xmlns:a16="http://schemas.microsoft.com/office/drawing/2014/main" id="{0C1C2EAF-83ED-A613-D12E-EE3B6B6A1CA0}"/>
                </a:ext>
              </a:extLst>
            </p:cNvPr>
            <p:cNvSpPr/>
            <p:nvPr userDrawn="1"/>
          </p:nvSpPr>
          <p:spPr bwMode="gray">
            <a:xfrm>
              <a:off x="1183864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7" name="Rechteck 766">
              <a:extLst>
                <a:ext uri="{FF2B5EF4-FFF2-40B4-BE49-F238E27FC236}">
                  <a16:creationId xmlns:a16="http://schemas.microsoft.com/office/drawing/2014/main" id="{D4A58602-3836-52B7-69F3-FF50FB72ACAB}"/>
                </a:ext>
              </a:extLst>
            </p:cNvPr>
            <p:cNvSpPr/>
            <p:nvPr userDrawn="1"/>
          </p:nvSpPr>
          <p:spPr bwMode="gray">
            <a:xfrm>
              <a:off x="1183864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8" name="Rechteck 767">
              <a:extLst>
                <a:ext uri="{FF2B5EF4-FFF2-40B4-BE49-F238E27FC236}">
                  <a16:creationId xmlns:a16="http://schemas.microsoft.com/office/drawing/2014/main" id="{04A8FA80-38AF-5082-8475-AB95EB51985B}"/>
                </a:ext>
              </a:extLst>
            </p:cNvPr>
            <p:cNvSpPr/>
            <p:nvPr userDrawn="1"/>
          </p:nvSpPr>
          <p:spPr bwMode="gray">
            <a:xfrm>
              <a:off x="1183864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9" name="Rechteck 768">
              <a:extLst>
                <a:ext uri="{FF2B5EF4-FFF2-40B4-BE49-F238E27FC236}">
                  <a16:creationId xmlns:a16="http://schemas.microsoft.com/office/drawing/2014/main" id="{67EBF1C8-A111-8103-8D0A-6E86EBF0EBB1}"/>
                </a:ext>
              </a:extLst>
            </p:cNvPr>
            <p:cNvSpPr/>
            <p:nvPr userDrawn="1"/>
          </p:nvSpPr>
          <p:spPr bwMode="gray">
            <a:xfrm>
              <a:off x="1183864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0" name="Rechteck 769">
              <a:extLst>
                <a:ext uri="{FF2B5EF4-FFF2-40B4-BE49-F238E27FC236}">
                  <a16:creationId xmlns:a16="http://schemas.microsoft.com/office/drawing/2014/main" id="{E2992E55-9CF2-EC46-7F46-681F82EAC8C1}"/>
                </a:ext>
              </a:extLst>
            </p:cNvPr>
            <p:cNvSpPr/>
            <p:nvPr userDrawn="1"/>
          </p:nvSpPr>
          <p:spPr bwMode="gray">
            <a:xfrm>
              <a:off x="1183864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1" name="Rechteck 770">
              <a:extLst>
                <a:ext uri="{FF2B5EF4-FFF2-40B4-BE49-F238E27FC236}">
                  <a16:creationId xmlns:a16="http://schemas.microsoft.com/office/drawing/2014/main" id="{4B2A18C3-AA1E-41B1-5A56-831E54C315BE}"/>
                </a:ext>
              </a:extLst>
            </p:cNvPr>
            <p:cNvSpPr/>
            <p:nvPr userDrawn="1"/>
          </p:nvSpPr>
          <p:spPr bwMode="gray">
            <a:xfrm>
              <a:off x="1183864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2" name="Rechteck 771">
              <a:extLst>
                <a:ext uri="{FF2B5EF4-FFF2-40B4-BE49-F238E27FC236}">
                  <a16:creationId xmlns:a16="http://schemas.microsoft.com/office/drawing/2014/main" id="{0FC236C5-9B36-6437-98C2-B89922566355}"/>
                </a:ext>
              </a:extLst>
            </p:cNvPr>
            <p:cNvSpPr/>
            <p:nvPr userDrawn="1"/>
          </p:nvSpPr>
          <p:spPr bwMode="gray">
            <a:xfrm>
              <a:off x="1183864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grpSp>
      <p:sp>
        <p:nvSpPr>
          <p:cNvPr id="271" name="Subtitle">
            <a:extLst>
              <a:ext uri="{FF2B5EF4-FFF2-40B4-BE49-F238E27FC236}">
                <a16:creationId xmlns:a16="http://schemas.microsoft.com/office/drawing/2014/main" id="{9D8B1ACD-0D77-D763-CE04-A05AF5D42782}"/>
              </a:ext>
            </a:extLst>
          </p:cNvPr>
          <p:cNvSpPr>
            <a:spLocks noGrp="1"/>
          </p:cNvSpPr>
          <p:nvPr>
            <p:ph type="subTitle" idx="13" hasCustomPrompt="1"/>
          </p:nvPr>
        </p:nvSpPr>
        <p:spPr bwMode="gray">
          <a:xfrm>
            <a:off x="695400" y="5877272"/>
            <a:ext cx="3023752" cy="288000"/>
          </a:xfrm>
          <a:prstGeom prst="rect">
            <a:avLst/>
          </a:prstGeom>
          <a:solidFill>
            <a:schemeClr val="bg1"/>
          </a:solidFill>
          <a:ln w="127">
            <a:solidFill>
              <a:schemeClr val="bg1"/>
            </a:solidFill>
          </a:ln>
        </p:spPr>
        <p:txBody>
          <a:bodyPr wrap="none" lIns="216000" tIns="0" rIns="216000" anchor="b"/>
          <a:lstStyle>
            <a:lvl1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1pPr>
            <a:lvl2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2pPr>
            <a:lvl3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3pPr>
            <a:lvl4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4pPr>
            <a:lvl5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5pPr>
            <a:lvl6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6pPr>
            <a:lvl7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7pPr>
            <a:lvl8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8pPr>
            <a:lvl9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9pPr>
          </a:lstStyle>
          <a:p>
            <a:pPr lvl="0"/>
            <a:r>
              <a:rPr lang="en-GB"/>
              <a:t>gfk.com</a:t>
            </a:r>
            <a:endParaRPr lang="en-GB" dirty="0"/>
          </a:p>
        </p:txBody>
      </p:sp>
      <p:sp>
        <p:nvSpPr>
          <p:cNvPr id="200" name="Title">
            <a:extLst>
              <a:ext uri="{FF2B5EF4-FFF2-40B4-BE49-F238E27FC236}">
                <a16:creationId xmlns:a16="http://schemas.microsoft.com/office/drawing/2014/main" id="{98D3EC72-B9C8-A06F-DD41-E4E558271EF6}"/>
              </a:ext>
            </a:extLst>
          </p:cNvPr>
          <p:cNvSpPr>
            <a:spLocks noGrp="1"/>
          </p:cNvSpPr>
          <p:nvPr>
            <p:ph type="ctrTitle" hasCustomPrompt="1"/>
          </p:nvPr>
        </p:nvSpPr>
        <p:spPr bwMode="gray">
          <a:xfrm>
            <a:off x="695400" y="1927126"/>
            <a:ext cx="2625729" cy="1069826"/>
          </a:xfrm>
          <a:prstGeom prst="rect">
            <a:avLst/>
          </a:prstGeom>
          <a:solidFill>
            <a:schemeClr val="bg1"/>
          </a:solidFill>
          <a:ln w="127">
            <a:solidFill>
              <a:schemeClr val="bg1"/>
            </a:solidFill>
          </a:ln>
        </p:spPr>
        <p:txBody>
          <a:bodyPr vert="horz" wrap="square" lIns="216000" tIns="90000" rIns="216000" bIns="540000" anchor="t">
            <a:spAutoFit/>
          </a:bodyPr>
          <a:lstStyle>
            <a:lvl1pPr algn="l">
              <a:lnSpc>
                <a:spcPct val="90000"/>
              </a:lnSpc>
              <a:defRPr sz="3000" baseline="0"/>
            </a:lvl1pPr>
          </a:lstStyle>
          <a:p>
            <a:r>
              <a:rPr lang="en-GB" dirty="0"/>
              <a:t>[Thank You]</a:t>
            </a:r>
          </a:p>
        </p:txBody>
      </p:sp>
      <p:cxnSp>
        <p:nvCxnSpPr>
          <p:cNvPr id="201" name="Line">
            <a:extLst>
              <a:ext uri="{FF2B5EF4-FFF2-40B4-BE49-F238E27FC236}">
                <a16:creationId xmlns:a16="http://schemas.microsoft.com/office/drawing/2014/main" id="{C6A68CDF-322A-62E2-7BE1-CF327264F9E3}"/>
              </a:ext>
              <a:ext uri="{C183D7F6-B498-43B3-948B-1728B52AA6E4}">
                <adec:decorative xmlns:adec="http://schemas.microsoft.com/office/drawing/2017/decorative" val="1"/>
              </a:ext>
            </a:extLst>
          </p:cNvPr>
          <p:cNvCxnSpPr>
            <a:cxnSpLocks/>
          </p:cNvCxnSpPr>
          <p:nvPr userDrawn="1"/>
        </p:nvCxnSpPr>
        <p:spPr bwMode="gray">
          <a:xfrm>
            <a:off x="911424" y="925959"/>
            <a:ext cx="2304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Grafik 1" descr="Ein Bild, das Text, Schrift, Grafiken, Logo enthält.&#10;&#10;Automatisch generierte Beschreibung">
            <a:extLst>
              <a:ext uri="{FF2B5EF4-FFF2-40B4-BE49-F238E27FC236}">
                <a16:creationId xmlns:a16="http://schemas.microsoft.com/office/drawing/2014/main" id="{A8A8FCFF-B355-AC4B-A062-A27327AB4F5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128448" y="332656"/>
            <a:ext cx="1377259" cy="583140"/>
          </a:xfrm>
          <a:prstGeom prst="rect">
            <a:avLst/>
          </a:prstGeom>
        </p:spPr>
      </p:pic>
    </p:spTree>
    <p:extLst>
      <p:ext uri="{BB962C8B-B14F-4D97-AF65-F5344CB8AC3E}">
        <p14:creationId xmlns:p14="http://schemas.microsoft.com/office/powerpoint/2010/main" val="298601272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End slide 2">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5AEFEA2B-CFA3-3A52-DD7E-6D219D2D1C18}"/>
              </a:ext>
            </a:extLst>
          </p:cNvPr>
          <p:cNvGraphicFramePr>
            <a:graphicFrameLocks noChangeAspect="1"/>
          </p:cNvGraphicFramePr>
          <p:nvPr userDrawn="1">
            <p:custDataLst>
              <p:tags r:id="rId1"/>
            </p:custDataLst>
            <p:extLst>
              <p:ext uri="{D42A27DB-BD31-4B8C-83A1-F6EECF244321}">
                <p14:modId xmlns:p14="http://schemas.microsoft.com/office/powerpoint/2010/main" val="3108927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3" name="Objekt 2" hidden="1">
                        <a:extLst>
                          <a:ext uri="{FF2B5EF4-FFF2-40B4-BE49-F238E27FC236}">
                            <a16:creationId xmlns:a16="http://schemas.microsoft.com/office/drawing/2014/main" id="{5AEFEA2B-CFA3-3A52-DD7E-6D219D2D1C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83" name="Gruppieren 582">
            <a:extLst>
              <a:ext uri="{FF2B5EF4-FFF2-40B4-BE49-F238E27FC236}">
                <a16:creationId xmlns:a16="http://schemas.microsoft.com/office/drawing/2014/main" id="{362661D4-C612-CB74-47EA-B9C338252AD8}"/>
              </a:ext>
            </a:extLst>
          </p:cNvPr>
          <p:cNvGrpSpPr/>
          <p:nvPr userDrawn="1"/>
        </p:nvGrpSpPr>
        <p:grpSpPr>
          <a:xfrm>
            <a:off x="317360" y="1484784"/>
            <a:ext cx="11539280" cy="4626512"/>
            <a:chOff x="317360" y="1484784"/>
            <a:chExt cx="11539280" cy="4626512"/>
          </a:xfrm>
        </p:grpSpPr>
        <p:sp>
          <p:nvSpPr>
            <p:cNvPr id="584" name="Rechteck 583">
              <a:extLst>
                <a:ext uri="{FF2B5EF4-FFF2-40B4-BE49-F238E27FC236}">
                  <a16:creationId xmlns:a16="http://schemas.microsoft.com/office/drawing/2014/main" id="{70CC0C14-1FBF-2522-6988-2AB19DB413C7}"/>
                </a:ext>
              </a:extLst>
            </p:cNvPr>
            <p:cNvSpPr/>
            <p:nvPr userDrawn="1"/>
          </p:nvSpPr>
          <p:spPr bwMode="gray">
            <a:xfrm>
              <a:off x="1126257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85" name="Rechteck 584">
              <a:extLst>
                <a:ext uri="{FF2B5EF4-FFF2-40B4-BE49-F238E27FC236}">
                  <a16:creationId xmlns:a16="http://schemas.microsoft.com/office/drawing/2014/main" id="{521470DF-427E-9E5A-C564-30C1C5F85CE6}"/>
                </a:ext>
              </a:extLst>
            </p:cNvPr>
            <p:cNvSpPr/>
            <p:nvPr userDrawn="1"/>
          </p:nvSpPr>
          <p:spPr bwMode="gray">
            <a:xfrm>
              <a:off x="1068651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86" name="Rechteck 585">
              <a:extLst>
                <a:ext uri="{FF2B5EF4-FFF2-40B4-BE49-F238E27FC236}">
                  <a16:creationId xmlns:a16="http://schemas.microsoft.com/office/drawing/2014/main" id="{EB5A7C18-5092-AB64-CBE6-2866261309D3}"/>
                </a:ext>
              </a:extLst>
            </p:cNvPr>
            <p:cNvSpPr/>
            <p:nvPr userDrawn="1"/>
          </p:nvSpPr>
          <p:spPr bwMode="gray">
            <a:xfrm>
              <a:off x="1011044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87" name="Rechteck 586">
              <a:extLst>
                <a:ext uri="{FF2B5EF4-FFF2-40B4-BE49-F238E27FC236}">
                  <a16:creationId xmlns:a16="http://schemas.microsoft.com/office/drawing/2014/main" id="{FD3F8619-5936-4F53-1931-557AD0A2E8AA}"/>
                </a:ext>
              </a:extLst>
            </p:cNvPr>
            <p:cNvSpPr/>
            <p:nvPr userDrawn="1"/>
          </p:nvSpPr>
          <p:spPr bwMode="gray">
            <a:xfrm>
              <a:off x="953438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88" name="Rechteck 587">
              <a:extLst>
                <a:ext uri="{FF2B5EF4-FFF2-40B4-BE49-F238E27FC236}">
                  <a16:creationId xmlns:a16="http://schemas.microsoft.com/office/drawing/2014/main" id="{BDF420CE-9029-F734-A63D-978EF8E6A082}"/>
                </a:ext>
              </a:extLst>
            </p:cNvPr>
            <p:cNvSpPr/>
            <p:nvPr userDrawn="1"/>
          </p:nvSpPr>
          <p:spPr bwMode="gray">
            <a:xfrm>
              <a:off x="895832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89" name="Rechteck 588">
              <a:extLst>
                <a:ext uri="{FF2B5EF4-FFF2-40B4-BE49-F238E27FC236}">
                  <a16:creationId xmlns:a16="http://schemas.microsoft.com/office/drawing/2014/main" id="{9B17FB4F-DBD3-C965-9790-FD89AB07FD31}"/>
                </a:ext>
              </a:extLst>
            </p:cNvPr>
            <p:cNvSpPr/>
            <p:nvPr userDrawn="1"/>
          </p:nvSpPr>
          <p:spPr bwMode="gray">
            <a:xfrm>
              <a:off x="838225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0" name="Rechteck 589">
              <a:extLst>
                <a:ext uri="{FF2B5EF4-FFF2-40B4-BE49-F238E27FC236}">
                  <a16:creationId xmlns:a16="http://schemas.microsoft.com/office/drawing/2014/main" id="{A29654A4-13B1-5957-693B-891B1A9E0609}"/>
                </a:ext>
              </a:extLst>
            </p:cNvPr>
            <p:cNvSpPr/>
            <p:nvPr userDrawn="1"/>
          </p:nvSpPr>
          <p:spPr bwMode="gray">
            <a:xfrm>
              <a:off x="780619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1" name="Rechteck 590">
              <a:extLst>
                <a:ext uri="{FF2B5EF4-FFF2-40B4-BE49-F238E27FC236}">
                  <a16:creationId xmlns:a16="http://schemas.microsoft.com/office/drawing/2014/main" id="{8EC3BB2F-DAE1-4B35-359A-F38CCEB63B73}"/>
                </a:ext>
              </a:extLst>
            </p:cNvPr>
            <p:cNvSpPr/>
            <p:nvPr userDrawn="1"/>
          </p:nvSpPr>
          <p:spPr bwMode="gray">
            <a:xfrm>
              <a:off x="723012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2" name="Rechteck 591">
              <a:extLst>
                <a:ext uri="{FF2B5EF4-FFF2-40B4-BE49-F238E27FC236}">
                  <a16:creationId xmlns:a16="http://schemas.microsoft.com/office/drawing/2014/main" id="{3EE97075-6D1C-FD8A-5270-B6EB7D2F3AE7}"/>
                </a:ext>
              </a:extLst>
            </p:cNvPr>
            <p:cNvSpPr/>
            <p:nvPr userDrawn="1"/>
          </p:nvSpPr>
          <p:spPr bwMode="gray">
            <a:xfrm>
              <a:off x="665406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3" name="Rechteck 592">
              <a:extLst>
                <a:ext uri="{FF2B5EF4-FFF2-40B4-BE49-F238E27FC236}">
                  <a16:creationId xmlns:a16="http://schemas.microsoft.com/office/drawing/2014/main" id="{CDAEBAE9-A17F-9E90-F18B-35756207901E}"/>
                </a:ext>
              </a:extLst>
            </p:cNvPr>
            <p:cNvSpPr/>
            <p:nvPr userDrawn="1"/>
          </p:nvSpPr>
          <p:spPr bwMode="gray">
            <a:xfrm>
              <a:off x="607800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4" name="Rechteck 593">
              <a:extLst>
                <a:ext uri="{FF2B5EF4-FFF2-40B4-BE49-F238E27FC236}">
                  <a16:creationId xmlns:a16="http://schemas.microsoft.com/office/drawing/2014/main" id="{EDC850A4-4193-AF82-6E93-0A7A8954065B}"/>
                </a:ext>
              </a:extLst>
            </p:cNvPr>
            <p:cNvSpPr/>
            <p:nvPr userDrawn="1"/>
          </p:nvSpPr>
          <p:spPr bwMode="gray">
            <a:xfrm>
              <a:off x="550193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5" name="Rechteck 594">
              <a:extLst>
                <a:ext uri="{FF2B5EF4-FFF2-40B4-BE49-F238E27FC236}">
                  <a16:creationId xmlns:a16="http://schemas.microsoft.com/office/drawing/2014/main" id="{5E03D339-FAFA-4F1E-A032-BBC571FA1C28}"/>
                </a:ext>
              </a:extLst>
            </p:cNvPr>
            <p:cNvSpPr/>
            <p:nvPr userDrawn="1"/>
          </p:nvSpPr>
          <p:spPr bwMode="gray">
            <a:xfrm>
              <a:off x="492587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6" name="Rechteck 595">
              <a:extLst>
                <a:ext uri="{FF2B5EF4-FFF2-40B4-BE49-F238E27FC236}">
                  <a16:creationId xmlns:a16="http://schemas.microsoft.com/office/drawing/2014/main" id="{7D9A8EC4-A7DA-BAC5-1B42-5A9C08E67F5F}"/>
                </a:ext>
              </a:extLst>
            </p:cNvPr>
            <p:cNvSpPr/>
            <p:nvPr userDrawn="1"/>
          </p:nvSpPr>
          <p:spPr bwMode="gray">
            <a:xfrm>
              <a:off x="434980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7" name="Rechteck 596">
              <a:extLst>
                <a:ext uri="{FF2B5EF4-FFF2-40B4-BE49-F238E27FC236}">
                  <a16:creationId xmlns:a16="http://schemas.microsoft.com/office/drawing/2014/main" id="{716E6160-22DB-1F6B-A962-6672E1DE8D6F}"/>
                </a:ext>
              </a:extLst>
            </p:cNvPr>
            <p:cNvSpPr/>
            <p:nvPr userDrawn="1"/>
          </p:nvSpPr>
          <p:spPr bwMode="gray">
            <a:xfrm>
              <a:off x="377374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8" name="Rechteck 597">
              <a:extLst>
                <a:ext uri="{FF2B5EF4-FFF2-40B4-BE49-F238E27FC236}">
                  <a16:creationId xmlns:a16="http://schemas.microsoft.com/office/drawing/2014/main" id="{8257793B-CBBE-FB30-DCF3-A46FEF26B6F3}"/>
                </a:ext>
              </a:extLst>
            </p:cNvPr>
            <p:cNvSpPr/>
            <p:nvPr userDrawn="1"/>
          </p:nvSpPr>
          <p:spPr bwMode="gray">
            <a:xfrm>
              <a:off x="319768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9" name="Rechteck 598">
              <a:extLst>
                <a:ext uri="{FF2B5EF4-FFF2-40B4-BE49-F238E27FC236}">
                  <a16:creationId xmlns:a16="http://schemas.microsoft.com/office/drawing/2014/main" id="{934A1AEA-6FA2-4D15-03E5-4C7C34916333}"/>
                </a:ext>
              </a:extLst>
            </p:cNvPr>
            <p:cNvSpPr/>
            <p:nvPr userDrawn="1"/>
          </p:nvSpPr>
          <p:spPr bwMode="gray">
            <a:xfrm>
              <a:off x="262161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0" name="Rechteck 599">
              <a:extLst>
                <a:ext uri="{FF2B5EF4-FFF2-40B4-BE49-F238E27FC236}">
                  <a16:creationId xmlns:a16="http://schemas.microsoft.com/office/drawing/2014/main" id="{E540B79E-631E-6DFC-25CC-A2D038FFAEFF}"/>
                </a:ext>
              </a:extLst>
            </p:cNvPr>
            <p:cNvSpPr/>
            <p:nvPr userDrawn="1"/>
          </p:nvSpPr>
          <p:spPr bwMode="gray">
            <a:xfrm>
              <a:off x="204555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1" name="Rechteck 600">
              <a:extLst>
                <a:ext uri="{FF2B5EF4-FFF2-40B4-BE49-F238E27FC236}">
                  <a16:creationId xmlns:a16="http://schemas.microsoft.com/office/drawing/2014/main" id="{34DB40ED-CE79-1DF4-E1AE-63C8D927F2BB}"/>
                </a:ext>
              </a:extLst>
            </p:cNvPr>
            <p:cNvSpPr/>
            <p:nvPr userDrawn="1"/>
          </p:nvSpPr>
          <p:spPr bwMode="gray">
            <a:xfrm>
              <a:off x="146948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2" name="Rechteck 601">
              <a:extLst>
                <a:ext uri="{FF2B5EF4-FFF2-40B4-BE49-F238E27FC236}">
                  <a16:creationId xmlns:a16="http://schemas.microsoft.com/office/drawing/2014/main" id="{87E3D26B-D764-0431-B238-6A1E7DF2CA56}"/>
                </a:ext>
              </a:extLst>
            </p:cNvPr>
            <p:cNvSpPr/>
            <p:nvPr userDrawn="1"/>
          </p:nvSpPr>
          <p:spPr bwMode="gray">
            <a:xfrm>
              <a:off x="89342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3" name="Rechteck 602">
              <a:extLst>
                <a:ext uri="{FF2B5EF4-FFF2-40B4-BE49-F238E27FC236}">
                  <a16:creationId xmlns:a16="http://schemas.microsoft.com/office/drawing/2014/main" id="{8E8380AF-46D7-1682-E5F8-CB876EDC3B87}"/>
                </a:ext>
              </a:extLst>
            </p:cNvPr>
            <p:cNvSpPr/>
            <p:nvPr userDrawn="1"/>
          </p:nvSpPr>
          <p:spPr bwMode="gray">
            <a:xfrm>
              <a:off x="31736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4" name="Rechteck 603">
              <a:extLst>
                <a:ext uri="{FF2B5EF4-FFF2-40B4-BE49-F238E27FC236}">
                  <a16:creationId xmlns:a16="http://schemas.microsoft.com/office/drawing/2014/main" id="{C6A41F37-62CE-617D-8B01-9849BAA266A0}"/>
                </a:ext>
              </a:extLst>
            </p:cNvPr>
            <p:cNvSpPr/>
            <p:nvPr userDrawn="1"/>
          </p:nvSpPr>
          <p:spPr bwMode="gray">
            <a:xfrm>
              <a:off x="1126257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5" name="Rechteck 604">
              <a:extLst>
                <a:ext uri="{FF2B5EF4-FFF2-40B4-BE49-F238E27FC236}">
                  <a16:creationId xmlns:a16="http://schemas.microsoft.com/office/drawing/2014/main" id="{DEE03464-C4F6-DEF0-C98A-1BA0EDF8750E}"/>
                </a:ext>
              </a:extLst>
            </p:cNvPr>
            <p:cNvSpPr/>
            <p:nvPr userDrawn="1"/>
          </p:nvSpPr>
          <p:spPr bwMode="gray">
            <a:xfrm>
              <a:off x="1068651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6" name="Rechteck 605">
              <a:extLst>
                <a:ext uri="{FF2B5EF4-FFF2-40B4-BE49-F238E27FC236}">
                  <a16:creationId xmlns:a16="http://schemas.microsoft.com/office/drawing/2014/main" id="{2E6F862D-E756-C394-F7DF-BF60B02A1E14}"/>
                </a:ext>
              </a:extLst>
            </p:cNvPr>
            <p:cNvSpPr/>
            <p:nvPr userDrawn="1"/>
          </p:nvSpPr>
          <p:spPr bwMode="gray">
            <a:xfrm>
              <a:off x="1011044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7" name="Rechteck 606">
              <a:extLst>
                <a:ext uri="{FF2B5EF4-FFF2-40B4-BE49-F238E27FC236}">
                  <a16:creationId xmlns:a16="http://schemas.microsoft.com/office/drawing/2014/main" id="{80B53B3F-1FB7-4F40-2549-3E47C6C9F692}"/>
                </a:ext>
              </a:extLst>
            </p:cNvPr>
            <p:cNvSpPr/>
            <p:nvPr userDrawn="1"/>
          </p:nvSpPr>
          <p:spPr bwMode="gray">
            <a:xfrm>
              <a:off x="953438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8" name="Rechteck 607">
              <a:extLst>
                <a:ext uri="{FF2B5EF4-FFF2-40B4-BE49-F238E27FC236}">
                  <a16:creationId xmlns:a16="http://schemas.microsoft.com/office/drawing/2014/main" id="{0D2116E1-CF2B-4B1F-769B-8DA9D82CF167}"/>
                </a:ext>
              </a:extLst>
            </p:cNvPr>
            <p:cNvSpPr/>
            <p:nvPr userDrawn="1"/>
          </p:nvSpPr>
          <p:spPr bwMode="gray">
            <a:xfrm>
              <a:off x="895832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9" name="Rechteck 608">
              <a:extLst>
                <a:ext uri="{FF2B5EF4-FFF2-40B4-BE49-F238E27FC236}">
                  <a16:creationId xmlns:a16="http://schemas.microsoft.com/office/drawing/2014/main" id="{0548AD75-D50C-DDC6-7135-F81F293EEFBC}"/>
                </a:ext>
              </a:extLst>
            </p:cNvPr>
            <p:cNvSpPr/>
            <p:nvPr userDrawn="1"/>
          </p:nvSpPr>
          <p:spPr bwMode="gray">
            <a:xfrm>
              <a:off x="838225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0" name="Rechteck 609">
              <a:extLst>
                <a:ext uri="{FF2B5EF4-FFF2-40B4-BE49-F238E27FC236}">
                  <a16:creationId xmlns:a16="http://schemas.microsoft.com/office/drawing/2014/main" id="{4AA480A7-6689-407A-8371-55D947377339}"/>
                </a:ext>
              </a:extLst>
            </p:cNvPr>
            <p:cNvSpPr/>
            <p:nvPr userDrawn="1"/>
          </p:nvSpPr>
          <p:spPr bwMode="gray">
            <a:xfrm>
              <a:off x="780619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1" name="Rechteck 610">
              <a:extLst>
                <a:ext uri="{FF2B5EF4-FFF2-40B4-BE49-F238E27FC236}">
                  <a16:creationId xmlns:a16="http://schemas.microsoft.com/office/drawing/2014/main" id="{6D5CA8EC-AAAE-33D1-8580-C807631CB9B9}"/>
                </a:ext>
              </a:extLst>
            </p:cNvPr>
            <p:cNvSpPr/>
            <p:nvPr userDrawn="1"/>
          </p:nvSpPr>
          <p:spPr bwMode="gray">
            <a:xfrm>
              <a:off x="723012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2" name="Rechteck 611">
              <a:extLst>
                <a:ext uri="{FF2B5EF4-FFF2-40B4-BE49-F238E27FC236}">
                  <a16:creationId xmlns:a16="http://schemas.microsoft.com/office/drawing/2014/main" id="{8D03016F-D3F6-919D-2329-05F629593D51}"/>
                </a:ext>
              </a:extLst>
            </p:cNvPr>
            <p:cNvSpPr/>
            <p:nvPr userDrawn="1"/>
          </p:nvSpPr>
          <p:spPr bwMode="gray">
            <a:xfrm>
              <a:off x="665406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3" name="Rechteck 612">
              <a:extLst>
                <a:ext uri="{FF2B5EF4-FFF2-40B4-BE49-F238E27FC236}">
                  <a16:creationId xmlns:a16="http://schemas.microsoft.com/office/drawing/2014/main" id="{44315BC8-413C-0C1E-C31C-3A5256103EAB}"/>
                </a:ext>
              </a:extLst>
            </p:cNvPr>
            <p:cNvSpPr/>
            <p:nvPr userDrawn="1"/>
          </p:nvSpPr>
          <p:spPr bwMode="gray">
            <a:xfrm>
              <a:off x="607800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4" name="Rechteck 613">
              <a:extLst>
                <a:ext uri="{FF2B5EF4-FFF2-40B4-BE49-F238E27FC236}">
                  <a16:creationId xmlns:a16="http://schemas.microsoft.com/office/drawing/2014/main" id="{3FEB6A4F-7149-B83C-63EB-C9A020D8D850}"/>
                </a:ext>
              </a:extLst>
            </p:cNvPr>
            <p:cNvSpPr/>
            <p:nvPr userDrawn="1"/>
          </p:nvSpPr>
          <p:spPr bwMode="gray">
            <a:xfrm>
              <a:off x="550193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5" name="Rechteck 614">
              <a:extLst>
                <a:ext uri="{FF2B5EF4-FFF2-40B4-BE49-F238E27FC236}">
                  <a16:creationId xmlns:a16="http://schemas.microsoft.com/office/drawing/2014/main" id="{104ABF4C-8F8B-1717-38A5-AE01735BD1AB}"/>
                </a:ext>
              </a:extLst>
            </p:cNvPr>
            <p:cNvSpPr/>
            <p:nvPr userDrawn="1"/>
          </p:nvSpPr>
          <p:spPr bwMode="gray">
            <a:xfrm>
              <a:off x="492587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6" name="Rechteck 615">
              <a:extLst>
                <a:ext uri="{FF2B5EF4-FFF2-40B4-BE49-F238E27FC236}">
                  <a16:creationId xmlns:a16="http://schemas.microsoft.com/office/drawing/2014/main" id="{5EAD1E82-DF04-6E05-083D-BCE097DEB6D4}"/>
                </a:ext>
              </a:extLst>
            </p:cNvPr>
            <p:cNvSpPr/>
            <p:nvPr userDrawn="1"/>
          </p:nvSpPr>
          <p:spPr bwMode="gray">
            <a:xfrm>
              <a:off x="434980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7" name="Rechteck 616">
              <a:extLst>
                <a:ext uri="{FF2B5EF4-FFF2-40B4-BE49-F238E27FC236}">
                  <a16:creationId xmlns:a16="http://schemas.microsoft.com/office/drawing/2014/main" id="{172F9C7A-BF88-BE61-A67C-485B0A91AC37}"/>
                </a:ext>
              </a:extLst>
            </p:cNvPr>
            <p:cNvSpPr/>
            <p:nvPr userDrawn="1"/>
          </p:nvSpPr>
          <p:spPr bwMode="gray">
            <a:xfrm>
              <a:off x="377374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8" name="Rechteck 617">
              <a:extLst>
                <a:ext uri="{FF2B5EF4-FFF2-40B4-BE49-F238E27FC236}">
                  <a16:creationId xmlns:a16="http://schemas.microsoft.com/office/drawing/2014/main" id="{0BF2DDA7-C650-0987-191F-69040AAEDC1C}"/>
                </a:ext>
              </a:extLst>
            </p:cNvPr>
            <p:cNvSpPr/>
            <p:nvPr userDrawn="1"/>
          </p:nvSpPr>
          <p:spPr bwMode="gray">
            <a:xfrm>
              <a:off x="319768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9" name="Rechteck 618">
              <a:extLst>
                <a:ext uri="{FF2B5EF4-FFF2-40B4-BE49-F238E27FC236}">
                  <a16:creationId xmlns:a16="http://schemas.microsoft.com/office/drawing/2014/main" id="{F7CDEC2A-FF76-BA36-8210-2534D100B090}"/>
                </a:ext>
              </a:extLst>
            </p:cNvPr>
            <p:cNvSpPr/>
            <p:nvPr userDrawn="1"/>
          </p:nvSpPr>
          <p:spPr bwMode="gray">
            <a:xfrm>
              <a:off x="262161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0" name="Rechteck 619">
              <a:extLst>
                <a:ext uri="{FF2B5EF4-FFF2-40B4-BE49-F238E27FC236}">
                  <a16:creationId xmlns:a16="http://schemas.microsoft.com/office/drawing/2014/main" id="{238DAC4D-D519-F578-760F-6121DC0A3018}"/>
                </a:ext>
              </a:extLst>
            </p:cNvPr>
            <p:cNvSpPr/>
            <p:nvPr userDrawn="1"/>
          </p:nvSpPr>
          <p:spPr bwMode="gray">
            <a:xfrm>
              <a:off x="204555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1" name="Rechteck 620">
              <a:extLst>
                <a:ext uri="{FF2B5EF4-FFF2-40B4-BE49-F238E27FC236}">
                  <a16:creationId xmlns:a16="http://schemas.microsoft.com/office/drawing/2014/main" id="{8C4B26FC-1F6C-C25A-A801-6F085AAAED80}"/>
                </a:ext>
              </a:extLst>
            </p:cNvPr>
            <p:cNvSpPr/>
            <p:nvPr userDrawn="1"/>
          </p:nvSpPr>
          <p:spPr bwMode="gray">
            <a:xfrm>
              <a:off x="146948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2" name="Rechteck 621">
              <a:extLst>
                <a:ext uri="{FF2B5EF4-FFF2-40B4-BE49-F238E27FC236}">
                  <a16:creationId xmlns:a16="http://schemas.microsoft.com/office/drawing/2014/main" id="{FEF688CA-2EA1-D58C-26E7-D4767CB7DD44}"/>
                </a:ext>
              </a:extLst>
            </p:cNvPr>
            <p:cNvSpPr/>
            <p:nvPr userDrawn="1"/>
          </p:nvSpPr>
          <p:spPr bwMode="gray">
            <a:xfrm>
              <a:off x="89342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3" name="Rechteck 622">
              <a:extLst>
                <a:ext uri="{FF2B5EF4-FFF2-40B4-BE49-F238E27FC236}">
                  <a16:creationId xmlns:a16="http://schemas.microsoft.com/office/drawing/2014/main" id="{479DE84F-359F-532B-522C-6CE9DCADD7B2}"/>
                </a:ext>
              </a:extLst>
            </p:cNvPr>
            <p:cNvSpPr/>
            <p:nvPr userDrawn="1"/>
          </p:nvSpPr>
          <p:spPr bwMode="gray">
            <a:xfrm>
              <a:off x="31736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4" name="Rechteck 623">
              <a:extLst>
                <a:ext uri="{FF2B5EF4-FFF2-40B4-BE49-F238E27FC236}">
                  <a16:creationId xmlns:a16="http://schemas.microsoft.com/office/drawing/2014/main" id="{ABA462C6-BC68-431A-31C4-88EDA6D3553D}"/>
                </a:ext>
              </a:extLst>
            </p:cNvPr>
            <p:cNvSpPr/>
            <p:nvPr userDrawn="1"/>
          </p:nvSpPr>
          <p:spPr bwMode="gray">
            <a:xfrm>
              <a:off x="1126257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5" name="Rechteck 624">
              <a:extLst>
                <a:ext uri="{FF2B5EF4-FFF2-40B4-BE49-F238E27FC236}">
                  <a16:creationId xmlns:a16="http://schemas.microsoft.com/office/drawing/2014/main" id="{D9B13F35-AAB6-B829-3893-EA9A2984F239}"/>
                </a:ext>
              </a:extLst>
            </p:cNvPr>
            <p:cNvSpPr/>
            <p:nvPr userDrawn="1"/>
          </p:nvSpPr>
          <p:spPr bwMode="gray">
            <a:xfrm>
              <a:off x="1068651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6" name="Rechteck 625">
              <a:extLst>
                <a:ext uri="{FF2B5EF4-FFF2-40B4-BE49-F238E27FC236}">
                  <a16:creationId xmlns:a16="http://schemas.microsoft.com/office/drawing/2014/main" id="{B70B05F9-D394-6A41-7159-FFF1A3049478}"/>
                </a:ext>
              </a:extLst>
            </p:cNvPr>
            <p:cNvSpPr/>
            <p:nvPr userDrawn="1"/>
          </p:nvSpPr>
          <p:spPr bwMode="gray">
            <a:xfrm>
              <a:off x="1011044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7" name="Rechteck 626">
              <a:extLst>
                <a:ext uri="{FF2B5EF4-FFF2-40B4-BE49-F238E27FC236}">
                  <a16:creationId xmlns:a16="http://schemas.microsoft.com/office/drawing/2014/main" id="{24B7BA33-4973-6E0C-FF68-6BAD863B42CD}"/>
                </a:ext>
              </a:extLst>
            </p:cNvPr>
            <p:cNvSpPr/>
            <p:nvPr userDrawn="1"/>
          </p:nvSpPr>
          <p:spPr bwMode="gray">
            <a:xfrm>
              <a:off x="953438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8" name="Rechteck 627">
              <a:extLst>
                <a:ext uri="{FF2B5EF4-FFF2-40B4-BE49-F238E27FC236}">
                  <a16:creationId xmlns:a16="http://schemas.microsoft.com/office/drawing/2014/main" id="{0D8E5918-93EA-39C0-086C-EF729EB89A86}"/>
                </a:ext>
              </a:extLst>
            </p:cNvPr>
            <p:cNvSpPr/>
            <p:nvPr userDrawn="1"/>
          </p:nvSpPr>
          <p:spPr bwMode="gray">
            <a:xfrm>
              <a:off x="895832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9" name="Rechteck 628">
              <a:extLst>
                <a:ext uri="{FF2B5EF4-FFF2-40B4-BE49-F238E27FC236}">
                  <a16:creationId xmlns:a16="http://schemas.microsoft.com/office/drawing/2014/main" id="{BA3282CF-68A5-67C8-79EA-86B13345C33F}"/>
                </a:ext>
              </a:extLst>
            </p:cNvPr>
            <p:cNvSpPr/>
            <p:nvPr userDrawn="1"/>
          </p:nvSpPr>
          <p:spPr bwMode="gray">
            <a:xfrm>
              <a:off x="838225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0" name="Rechteck 629">
              <a:extLst>
                <a:ext uri="{FF2B5EF4-FFF2-40B4-BE49-F238E27FC236}">
                  <a16:creationId xmlns:a16="http://schemas.microsoft.com/office/drawing/2014/main" id="{06DB49A3-7D3F-12E5-0A95-98A90D68931C}"/>
                </a:ext>
              </a:extLst>
            </p:cNvPr>
            <p:cNvSpPr/>
            <p:nvPr userDrawn="1"/>
          </p:nvSpPr>
          <p:spPr bwMode="gray">
            <a:xfrm>
              <a:off x="780619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1" name="Rechteck 630">
              <a:extLst>
                <a:ext uri="{FF2B5EF4-FFF2-40B4-BE49-F238E27FC236}">
                  <a16:creationId xmlns:a16="http://schemas.microsoft.com/office/drawing/2014/main" id="{FCD25D4C-AE38-11F7-1989-63453282B763}"/>
                </a:ext>
              </a:extLst>
            </p:cNvPr>
            <p:cNvSpPr/>
            <p:nvPr userDrawn="1"/>
          </p:nvSpPr>
          <p:spPr bwMode="gray">
            <a:xfrm>
              <a:off x="723012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2" name="Rechteck 631">
              <a:extLst>
                <a:ext uri="{FF2B5EF4-FFF2-40B4-BE49-F238E27FC236}">
                  <a16:creationId xmlns:a16="http://schemas.microsoft.com/office/drawing/2014/main" id="{DF0D8781-A79D-66BA-FC84-ECDDB13243C6}"/>
                </a:ext>
              </a:extLst>
            </p:cNvPr>
            <p:cNvSpPr/>
            <p:nvPr userDrawn="1"/>
          </p:nvSpPr>
          <p:spPr bwMode="gray">
            <a:xfrm>
              <a:off x="665406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3" name="Rechteck 632">
              <a:extLst>
                <a:ext uri="{FF2B5EF4-FFF2-40B4-BE49-F238E27FC236}">
                  <a16:creationId xmlns:a16="http://schemas.microsoft.com/office/drawing/2014/main" id="{49F72B14-359F-337D-2CC0-B25BC100C6C4}"/>
                </a:ext>
              </a:extLst>
            </p:cNvPr>
            <p:cNvSpPr/>
            <p:nvPr userDrawn="1"/>
          </p:nvSpPr>
          <p:spPr bwMode="gray">
            <a:xfrm>
              <a:off x="607800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4" name="Rechteck 633">
              <a:extLst>
                <a:ext uri="{FF2B5EF4-FFF2-40B4-BE49-F238E27FC236}">
                  <a16:creationId xmlns:a16="http://schemas.microsoft.com/office/drawing/2014/main" id="{D1F55A67-C079-A700-3E72-FF2E7046303F}"/>
                </a:ext>
              </a:extLst>
            </p:cNvPr>
            <p:cNvSpPr/>
            <p:nvPr userDrawn="1"/>
          </p:nvSpPr>
          <p:spPr bwMode="gray">
            <a:xfrm>
              <a:off x="550193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5" name="Rechteck 634">
              <a:extLst>
                <a:ext uri="{FF2B5EF4-FFF2-40B4-BE49-F238E27FC236}">
                  <a16:creationId xmlns:a16="http://schemas.microsoft.com/office/drawing/2014/main" id="{5194308F-E446-A5CA-FA5C-FAB2078C7335}"/>
                </a:ext>
              </a:extLst>
            </p:cNvPr>
            <p:cNvSpPr/>
            <p:nvPr userDrawn="1"/>
          </p:nvSpPr>
          <p:spPr bwMode="gray">
            <a:xfrm>
              <a:off x="492587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6" name="Rechteck 635">
              <a:extLst>
                <a:ext uri="{FF2B5EF4-FFF2-40B4-BE49-F238E27FC236}">
                  <a16:creationId xmlns:a16="http://schemas.microsoft.com/office/drawing/2014/main" id="{ED6B9C9D-7A68-EE0A-7EE6-99971A716776}"/>
                </a:ext>
              </a:extLst>
            </p:cNvPr>
            <p:cNvSpPr/>
            <p:nvPr userDrawn="1"/>
          </p:nvSpPr>
          <p:spPr bwMode="gray">
            <a:xfrm>
              <a:off x="434980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7" name="Rechteck 636">
              <a:extLst>
                <a:ext uri="{FF2B5EF4-FFF2-40B4-BE49-F238E27FC236}">
                  <a16:creationId xmlns:a16="http://schemas.microsoft.com/office/drawing/2014/main" id="{67CC61D3-A70B-F915-5087-C818E24766F0}"/>
                </a:ext>
              </a:extLst>
            </p:cNvPr>
            <p:cNvSpPr/>
            <p:nvPr userDrawn="1"/>
          </p:nvSpPr>
          <p:spPr bwMode="gray">
            <a:xfrm>
              <a:off x="377374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8" name="Rechteck 637">
              <a:extLst>
                <a:ext uri="{FF2B5EF4-FFF2-40B4-BE49-F238E27FC236}">
                  <a16:creationId xmlns:a16="http://schemas.microsoft.com/office/drawing/2014/main" id="{EC2C452A-17D3-8F1A-1293-562375FA97EA}"/>
                </a:ext>
              </a:extLst>
            </p:cNvPr>
            <p:cNvSpPr/>
            <p:nvPr userDrawn="1"/>
          </p:nvSpPr>
          <p:spPr bwMode="gray">
            <a:xfrm>
              <a:off x="319768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9" name="Rechteck 638">
              <a:extLst>
                <a:ext uri="{FF2B5EF4-FFF2-40B4-BE49-F238E27FC236}">
                  <a16:creationId xmlns:a16="http://schemas.microsoft.com/office/drawing/2014/main" id="{1482C476-FE01-FD5F-B0D8-3528C9D64AF1}"/>
                </a:ext>
              </a:extLst>
            </p:cNvPr>
            <p:cNvSpPr/>
            <p:nvPr userDrawn="1"/>
          </p:nvSpPr>
          <p:spPr bwMode="gray">
            <a:xfrm>
              <a:off x="262161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0" name="Rechteck 639">
              <a:extLst>
                <a:ext uri="{FF2B5EF4-FFF2-40B4-BE49-F238E27FC236}">
                  <a16:creationId xmlns:a16="http://schemas.microsoft.com/office/drawing/2014/main" id="{CC72C7C9-2F72-CA7B-96B5-C8B402F055B7}"/>
                </a:ext>
              </a:extLst>
            </p:cNvPr>
            <p:cNvSpPr/>
            <p:nvPr userDrawn="1"/>
          </p:nvSpPr>
          <p:spPr bwMode="gray">
            <a:xfrm>
              <a:off x="204555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1" name="Rechteck 640">
              <a:extLst>
                <a:ext uri="{FF2B5EF4-FFF2-40B4-BE49-F238E27FC236}">
                  <a16:creationId xmlns:a16="http://schemas.microsoft.com/office/drawing/2014/main" id="{EB46DD35-A007-E248-19F2-886360A3AB55}"/>
                </a:ext>
              </a:extLst>
            </p:cNvPr>
            <p:cNvSpPr/>
            <p:nvPr userDrawn="1"/>
          </p:nvSpPr>
          <p:spPr bwMode="gray">
            <a:xfrm>
              <a:off x="146948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2" name="Rechteck 641">
              <a:extLst>
                <a:ext uri="{FF2B5EF4-FFF2-40B4-BE49-F238E27FC236}">
                  <a16:creationId xmlns:a16="http://schemas.microsoft.com/office/drawing/2014/main" id="{A045FA6E-798A-1D3A-4A4E-C820CE689A4D}"/>
                </a:ext>
              </a:extLst>
            </p:cNvPr>
            <p:cNvSpPr/>
            <p:nvPr userDrawn="1"/>
          </p:nvSpPr>
          <p:spPr bwMode="gray">
            <a:xfrm>
              <a:off x="89342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3" name="Rechteck 642">
              <a:extLst>
                <a:ext uri="{FF2B5EF4-FFF2-40B4-BE49-F238E27FC236}">
                  <a16:creationId xmlns:a16="http://schemas.microsoft.com/office/drawing/2014/main" id="{DC6992C5-C2B0-0C0F-5F9A-2CB476D6DE18}"/>
                </a:ext>
              </a:extLst>
            </p:cNvPr>
            <p:cNvSpPr/>
            <p:nvPr userDrawn="1"/>
          </p:nvSpPr>
          <p:spPr bwMode="gray">
            <a:xfrm>
              <a:off x="31736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4" name="Rechteck 643">
              <a:extLst>
                <a:ext uri="{FF2B5EF4-FFF2-40B4-BE49-F238E27FC236}">
                  <a16:creationId xmlns:a16="http://schemas.microsoft.com/office/drawing/2014/main" id="{2F6C6C90-5C2B-FF1A-25A3-9AB4E1F1ED34}"/>
                </a:ext>
              </a:extLst>
            </p:cNvPr>
            <p:cNvSpPr/>
            <p:nvPr userDrawn="1"/>
          </p:nvSpPr>
          <p:spPr bwMode="gray">
            <a:xfrm>
              <a:off x="1126257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5" name="Rechteck 644">
              <a:extLst>
                <a:ext uri="{FF2B5EF4-FFF2-40B4-BE49-F238E27FC236}">
                  <a16:creationId xmlns:a16="http://schemas.microsoft.com/office/drawing/2014/main" id="{6DE7A757-2858-FD08-7EC2-112A6331ADBB}"/>
                </a:ext>
              </a:extLst>
            </p:cNvPr>
            <p:cNvSpPr/>
            <p:nvPr userDrawn="1"/>
          </p:nvSpPr>
          <p:spPr bwMode="gray">
            <a:xfrm>
              <a:off x="1068651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6" name="Rechteck 645">
              <a:extLst>
                <a:ext uri="{FF2B5EF4-FFF2-40B4-BE49-F238E27FC236}">
                  <a16:creationId xmlns:a16="http://schemas.microsoft.com/office/drawing/2014/main" id="{90D641F2-DCCB-6681-58CC-8DBF3258DEA3}"/>
                </a:ext>
              </a:extLst>
            </p:cNvPr>
            <p:cNvSpPr/>
            <p:nvPr userDrawn="1"/>
          </p:nvSpPr>
          <p:spPr bwMode="gray">
            <a:xfrm>
              <a:off x="1011044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7" name="Rechteck 646">
              <a:extLst>
                <a:ext uri="{FF2B5EF4-FFF2-40B4-BE49-F238E27FC236}">
                  <a16:creationId xmlns:a16="http://schemas.microsoft.com/office/drawing/2014/main" id="{51384DBE-C0EF-1B50-B4BB-3FAB6C0B920D}"/>
                </a:ext>
              </a:extLst>
            </p:cNvPr>
            <p:cNvSpPr/>
            <p:nvPr userDrawn="1"/>
          </p:nvSpPr>
          <p:spPr bwMode="gray">
            <a:xfrm>
              <a:off x="953438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8" name="Rechteck 647">
              <a:extLst>
                <a:ext uri="{FF2B5EF4-FFF2-40B4-BE49-F238E27FC236}">
                  <a16:creationId xmlns:a16="http://schemas.microsoft.com/office/drawing/2014/main" id="{2B61E2F6-C052-B93F-9CE1-36B99815AED2}"/>
                </a:ext>
              </a:extLst>
            </p:cNvPr>
            <p:cNvSpPr/>
            <p:nvPr userDrawn="1"/>
          </p:nvSpPr>
          <p:spPr bwMode="gray">
            <a:xfrm>
              <a:off x="895832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9" name="Rechteck 648">
              <a:extLst>
                <a:ext uri="{FF2B5EF4-FFF2-40B4-BE49-F238E27FC236}">
                  <a16:creationId xmlns:a16="http://schemas.microsoft.com/office/drawing/2014/main" id="{D1C13B1B-D9ED-474E-0082-2E0AF568B9C0}"/>
                </a:ext>
              </a:extLst>
            </p:cNvPr>
            <p:cNvSpPr/>
            <p:nvPr userDrawn="1"/>
          </p:nvSpPr>
          <p:spPr bwMode="gray">
            <a:xfrm>
              <a:off x="838225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0" name="Rechteck 649">
              <a:extLst>
                <a:ext uri="{FF2B5EF4-FFF2-40B4-BE49-F238E27FC236}">
                  <a16:creationId xmlns:a16="http://schemas.microsoft.com/office/drawing/2014/main" id="{F31374B9-18CA-A82A-A92D-AF75A58A8753}"/>
                </a:ext>
              </a:extLst>
            </p:cNvPr>
            <p:cNvSpPr/>
            <p:nvPr userDrawn="1"/>
          </p:nvSpPr>
          <p:spPr bwMode="gray">
            <a:xfrm>
              <a:off x="780619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1" name="Rechteck 650">
              <a:extLst>
                <a:ext uri="{FF2B5EF4-FFF2-40B4-BE49-F238E27FC236}">
                  <a16:creationId xmlns:a16="http://schemas.microsoft.com/office/drawing/2014/main" id="{F9C20AAA-26FE-3B0B-EB31-95FB4551C924}"/>
                </a:ext>
              </a:extLst>
            </p:cNvPr>
            <p:cNvSpPr/>
            <p:nvPr userDrawn="1"/>
          </p:nvSpPr>
          <p:spPr bwMode="gray">
            <a:xfrm>
              <a:off x="723012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2" name="Rechteck 651">
              <a:extLst>
                <a:ext uri="{FF2B5EF4-FFF2-40B4-BE49-F238E27FC236}">
                  <a16:creationId xmlns:a16="http://schemas.microsoft.com/office/drawing/2014/main" id="{B9F24C65-AA73-5727-C85A-24EA694A5230}"/>
                </a:ext>
              </a:extLst>
            </p:cNvPr>
            <p:cNvSpPr/>
            <p:nvPr userDrawn="1"/>
          </p:nvSpPr>
          <p:spPr bwMode="gray">
            <a:xfrm>
              <a:off x="665406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3" name="Rechteck 652">
              <a:extLst>
                <a:ext uri="{FF2B5EF4-FFF2-40B4-BE49-F238E27FC236}">
                  <a16:creationId xmlns:a16="http://schemas.microsoft.com/office/drawing/2014/main" id="{E4287F20-2063-E09A-163E-45DE671C3846}"/>
                </a:ext>
              </a:extLst>
            </p:cNvPr>
            <p:cNvSpPr/>
            <p:nvPr userDrawn="1"/>
          </p:nvSpPr>
          <p:spPr bwMode="gray">
            <a:xfrm>
              <a:off x="607800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4" name="Rechteck 653">
              <a:extLst>
                <a:ext uri="{FF2B5EF4-FFF2-40B4-BE49-F238E27FC236}">
                  <a16:creationId xmlns:a16="http://schemas.microsoft.com/office/drawing/2014/main" id="{78B18EFA-63DA-16CD-40D9-2D636C9E6035}"/>
                </a:ext>
              </a:extLst>
            </p:cNvPr>
            <p:cNvSpPr/>
            <p:nvPr userDrawn="1"/>
          </p:nvSpPr>
          <p:spPr bwMode="gray">
            <a:xfrm>
              <a:off x="550193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5" name="Rechteck 654">
              <a:extLst>
                <a:ext uri="{FF2B5EF4-FFF2-40B4-BE49-F238E27FC236}">
                  <a16:creationId xmlns:a16="http://schemas.microsoft.com/office/drawing/2014/main" id="{31106600-A21F-7F9E-DCE1-22553D36E6BF}"/>
                </a:ext>
              </a:extLst>
            </p:cNvPr>
            <p:cNvSpPr/>
            <p:nvPr userDrawn="1"/>
          </p:nvSpPr>
          <p:spPr bwMode="gray">
            <a:xfrm>
              <a:off x="492587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6" name="Rechteck 655">
              <a:extLst>
                <a:ext uri="{FF2B5EF4-FFF2-40B4-BE49-F238E27FC236}">
                  <a16:creationId xmlns:a16="http://schemas.microsoft.com/office/drawing/2014/main" id="{CC603917-199D-85F5-0867-68F3C7EE5E4E}"/>
                </a:ext>
              </a:extLst>
            </p:cNvPr>
            <p:cNvSpPr/>
            <p:nvPr userDrawn="1"/>
          </p:nvSpPr>
          <p:spPr bwMode="gray">
            <a:xfrm>
              <a:off x="434980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7" name="Rechteck 656">
              <a:extLst>
                <a:ext uri="{FF2B5EF4-FFF2-40B4-BE49-F238E27FC236}">
                  <a16:creationId xmlns:a16="http://schemas.microsoft.com/office/drawing/2014/main" id="{2664C258-D3C1-E5BA-2DE3-F91FCC2CBD27}"/>
                </a:ext>
              </a:extLst>
            </p:cNvPr>
            <p:cNvSpPr/>
            <p:nvPr userDrawn="1"/>
          </p:nvSpPr>
          <p:spPr bwMode="gray">
            <a:xfrm>
              <a:off x="377374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8" name="Rechteck 657">
              <a:extLst>
                <a:ext uri="{FF2B5EF4-FFF2-40B4-BE49-F238E27FC236}">
                  <a16:creationId xmlns:a16="http://schemas.microsoft.com/office/drawing/2014/main" id="{7D8799EB-F2BA-D85E-6C2B-388E6398C063}"/>
                </a:ext>
              </a:extLst>
            </p:cNvPr>
            <p:cNvSpPr/>
            <p:nvPr userDrawn="1"/>
          </p:nvSpPr>
          <p:spPr bwMode="gray">
            <a:xfrm>
              <a:off x="319768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9" name="Rechteck 658">
              <a:extLst>
                <a:ext uri="{FF2B5EF4-FFF2-40B4-BE49-F238E27FC236}">
                  <a16:creationId xmlns:a16="http://schemas.microsoft.com/office/drawing/2014/main" id="{C6FAE9C5-CCC2-D7EB-86DA-63BAA812D91E}"/>
                </a:ext>
              </a:extLst>
            </p:cNvPr>
            <p:cNvSpPr/>
            <p:nvPr userDrawn="1"/>
          </p:nvSpPr>
          <p:spPr bwMode="gray">
            <a:xfrm>
              <a:off x="262161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0" name="Rechteck 659">
              <a:extLst>
                <a:ext uri="{FF2B5EF4-FFF2-40B4-BE49-F238E27FC236}">
                  <a16:creationId xmlns:a16="http://schemas.microsoft.com/office/drawing/2014/main" id="{4073042B-CAC3-B6F7-62D6-5A44F83F3E2E}"/>
                </a:ext>
              </a:extLst>
            </p:cNvPr>
            <p:cNvSpPr/>
            <p:nvPr userDrawn="1"/>
          </p:nvSpPr>
          <p:spPr bwMode="gray">
            <a:xfrm>
              <a:off x="204555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1" name="Rechteck 660">
              <a:extLst>
                <a:ext uri="{FF2B5EF4-FFF2-40B4-BE49-F238E27FC236}">
                  <a16:creationId xmlns:a16="http://schemas.microsoft.com/office/drawing/2014/main" id="{22AFA407-528B-3DAC-8199-7B81BC029F3A}"/>
                </a:ext>
              </a:extLst>
            </p:cNvPr>
            <p:cNvSpPr/>
            <p:nvPr userDrawn="1"/>
          </p:nvSpPr>
          <p:spPr bwMode="gray">
            <a:xfrm>
              <a:off x="146948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2" name="Rechteck 661">
              <a:extLst>
                <a:ext uri="{FF2B5EF4-FFF2-40B4-BE49-F238E27FC236}">
                  <a16:creationId xmlns:a16="http://schemas.microsoft.com/office/drawing/2014/main" id="{8FEA0E8E-BB34-85CB-BF42-28EF15AA62BA}"/>
                </a:ext>
              </a:extLst>
            </p:cNvPr>
            <p:cNvSpPr/>
            <p:nvPr userDrawn="1"/>
          </p:nvSpPr>
          <p:spPr bwMode="gray">
            <a:xfrm>
              <a:off x="89342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3" name="Rechteck 662">
              <a:extLst>
                <a:ext uri="{FF2B5EF4-FFF2-40B4-BE49-F238E27FC236}">
                  <a16:creationId xmlns:a16="http://schemas.microsoft.com/office/drawing/2014/main" id="{2558C635-203A-6BDC-763E-068B099C4635}"/>
                </a:ext>
              </a:extLst>
            </p:cNvPr>
            <p:cNvSpPr/>
            <p:nvPr userDrawn="1"/>
          </p:nvSpPr>
          <p:spPr bwMode="gray">
            <a:xfrm>
              <a:off x="31736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4" name="Rechteck 663">
              <a:extLst>
                <a:ext uri="{FF2B5EF4-FFF2-40B4-BE49-F238E27FC236}">
                  <a16:creationId xmlns:a16="http://schemas.microsoft.com/office/drawing/2014/main" id="{13F098EA-FA8A-B3B4-CB70-B53B4D000205}"/>
                </a:ext>
              </a:extLst>
            </p:cNvPr>
            <p:cNvSpPr/>
            <p:nvPr userDrawn="1"/>
          </p:nvSpPr>
          <p:spPr bwMode="gray">
            <a:xfrm>
              <a:off x="1126257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5" name="Rechteck 664">
              <a:extLst>
                <a:ext uri="{FF2B5EF4-FFF2-40B4-BE49-F238E27FC236}">
                  <a16:creationId xmlns:a16="http://schemas.microsoft.com/office/drawing/2014/main" id="{8A6460CF-49B6-C360-FFDD-4374A8F7F97D}"/>
                </a:ext>
              </a:extLst>
            </p:cNvPr>
            <p:cNvSpPr/>
            <p:nvPr userDrawn="1"/>
          </p:nvSpPr>
          <p:spPr bwMode="gray">
            <a:xfrm>
              <a:off x="1068651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6" name="Rechteck 665">
              <a:extLst>
                <a:ext uri="{FF2B5EF4-FFF2-40B4-BE49-F238E27FC236}">
                  <a16:creationId xmlns:a16="http://schemas.microsoft.com/office/drawing/2014/main" id="{19E20EA2-353D-C9EE-0F29-1DAFCE7EC4A3}"/>
                </a:ext>
              </a:extLst>
            </p:cNvPr>
            <p:cNvSpPr/>
            <p:nvPr userDrawn="1"/>
          </p:nvSpPr>
          <p:spPr bwMode="gray">
            <a:xfrm>
              <a:off x="1011044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7" name="Rechteck 666">
              <a:extLst>
                <a:ext uri="{FF2B5EF4-FFF2-40B4-BE49-F238E27FC236}">
                  <a16:creationId xmlns:a16="http://schemas.microsoft.com/office/drawing/2014/main" id="{7A840462-61B2-CC42-EA9A-D0E9E21B4100}"/>
                </a:ext>
              </a:extLst>
            </p:cNvPr>
            <p:cNvSpPr/>
            <p:nvPr userDrawn="1"/>
          </p:nvSpPr>
          <p:spPr bwMode="gray">
            <a:xfrm>
              <a:off x="953438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8" name="Rechteck 667">
              <a:extLst>
                <a:ext uri="{FF2B5EF4-FFF2-40B4-BE49-F238E27FC236}">
                  <a16:creationId xmlns:a16="http://schemas.microsoft.com/office/drawing/2014/main" id="{624911C7-FBDC-F9E7-2438-EBA4B69F4983}"/>
                </a:ext>
              </a:extLst>
            </p:cNvPr>
            <p:cNvSpPr/>
            <p:nvPr userDrawn="1"/>
          </p:nvSpPr>
          <p:spPr bwMode="gray">
            <a:xfrm>
              <a:off x="895832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9" name="Rechteck 668">
              <a:extLst>
                <a:ext uri="{FF2B5EF4-FFF2-40B4-BE49-F238E27FC236}">
                  <a16:creationId xmlns:a16="http://schemas.microsoft.com/office/drawing/2014/main" id="{83A04D4E-00A2-284B-5781-C61FE3DE877B}"/>
                </a:ext>
              </a:extLst>
            </p:cNvPr>
            <p:cNvSpPr/>
            <p:nvPr userDrawn="1"/>
          </p:nvSpPr>
          <p:spPr bwMode="gray">
            <a:xfrm>
              <a:off x="838225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0" name="Rechteck 669">
              <a:extLst>
                <a:ext uri="{FF2B5EF4-FFF2-40B4-BE49-F238E27FC236}">
                  <a16:creationId xmlns:a16="http://schemas.microsoft.com/office/drawing/2014/main" id="{1DE0C156-4B66-70D1-9A37-5496E6CF9166}"/>
                </a:ext>
              </a:extLst>
            </p:cNvPr>
            <p:cNvSpPr/>
            <p:nvPr userDrawn="1"/>
          </p:nvSpPr>
          <p:spPr bwMode="gray">
            <a:xfrm>
              <a:off x="780619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1" name="Rechteck 670">
              <a:extLst>
                <a:ext uri="{FF2B5EF4-FFF2-40B4-BE49-F238E27FC236}">
                  <a16:creationId xmlns:a16="http://schemas.microsoft.com/office/drawing/2014/main" id="{ADAA0997-2150-B526-BB2B-CFA6A2E7777E}"/>
                </a:ext>
              </a:extLst>
            </p:cNvPr>
            <p:cNvSpPr/>
            <p:nvPr userDrawn="1"/>
          </p:nvSpPr>
          <p:spPr bwMode="gray">
            <a:xfrm>
              <a:off x="723012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2" name="Rechteck 671">
              <a:extLst>
                <a:ext uri="{FF2B5EF4-FFF2-40B4-BE49-F238E27FC236}">
                  <a16:creationId xmlns:a16="http://schemas.microsoft.com/office/drawing/2014/main" id="{CE16049D-05D2-9D80-5E88-1BAC5FBF3025}"/>
                </a:ext>
              </a:extLst>
            </p:cNvPr>
            <p:cNvSpPr/>
            <p:nvPr userDrawn="1"/>
          </p:nvSpPr>
          <p:spPr bwMode="gray">
            <a:xfrm>
              <a:off x="665406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3" name="Rechteck 672">
              <a:extLst>
                <a:ext uri="{FF2B5EF4-FFF2-40B4-BE49-F238E27FC236}">
                  <a16:creationId xmlns:a16="http://schemas.microsoft.com/office/drawing/2014/main" id="{CDC8B439-21A6-AA1A-2BE0-0BF6E3044CE0}"/>
                </a:ext>
              </a:extLst>
            </p:cNvPr>
            <p:cNvSpPr/>
            <p:nvPr userDrawn="1"/>
          </p:nvSpPr>
          <p:spPr bwMode="gray">
            <a:xfrm>
              <a:off x="607800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4" name="Rechteck 673">
              <a:extLst>
                <a:ext uri="{FF2B5EF4-FFF2-40B4-BE49-F238E27FC236}">
                  <a16:creationId xmlns:a16="http://schemas.microsoft.com/office/drawing/2014/main" id="{3291220A-D8F2-2543-8798-8B7475FB65D1}"/>
                </a:ext>
              </a:extLst>
            </p:cNvPr>
            <p:cNvSpPr/>
            <p:nvPr userDrawn="1"/>
          </p:nvSpPr>
          <p:spPr bwMode="gray">
            <a:xfrm>
              <a:off x="550193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5" name="Rechteck 674">
              <a:extLst>
                <a:ext uri="{FF2B5EF4-FFF2-40B4-BE49-F238E27FC236}">
                  <a16:creationId xmlns:a16="http://schemas.microsoft.com/office/drawing/2014/main" id="{25FDB456-42A6-5BD4-D5C2-698AD3D53356}"/>
                </a:ext>
              </a:extLst>
            </p:cNvPr>
            <p:cNvSpPr/>
            <p:nvPr userDrawn="1"/>
          </p:nvSpPr>
          <p:spPr bwMode="gray">
            <a:xfrm>
              <a:off x="492587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6" name="Rechteck 675">
              <a:extLst>
                <a:ext uri="{FF2B5EF4-FFF2-40B4-BE49-F238E27FC236}">
                  <a16:creationId xmlns:a16="http://schemas.microsoft.com/office/drawing/2014/main" id="{C1C9D6F2-940E-6C31-1A1B-F8645A57AE05}"/>
                </a:ext>
              </a:extLst>
            </p:cNvPr>
            <p:cNvSpPr/>
            <p:nvPr userDrawn="1"/>
          </p:nvSpPr>
          <p:spPr bwMode="gray">
            <a:xfrm>
              <a:off x="434980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7" name="Rechteck 676">
              <a:extLst>
                <a:ext uri="{FF2B5EF4-FFF2-40B4-BE49-F238E27FC236}">
                  <a16:creationId xmlns:a16="http://schemas.microsoft.com/office/drawing/2014/main" id="{CC08C350-AA05-8D00-6BEC-A3E200BA78FE}"/>
                </a:ext>
              </a:extLst>
            </p:cNvPr>
            <p:cNvSpPr/>
            <p:nvPr userDrawn="1"/>
          </p:nvSpPr>
          <p:spPr bwMode="gray">
            <a:xfrm>
              <a:off x="377374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8" name="Rechteck 677">
              <a:extLst>
                <a:ext uri="{FF2B5EF4-FFF2-40B4-BE49-F238E27FC236}">
                  <a16:creationId xmlns:a16="http://schemas.microsoft.com/office/drawing/2014/main" id="{7AF396AD-B96E-4D68-A361-411A6CBE2BEF}"/>
                </a:ext>
              </a:extLst>
            </p:cNvPr>
            <p:cNvSpPr/>
            <p:nvPr userDrawn="1"/>
          </p:nvSpPr>
          <p:spPr bwMode="gray">
            <a:xfrm>
              <a:off x="319768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9" name="Rechteck 678">
              <a:extLst>
                <a:ext uri="{FF2B5EF4-FFF2-40B4-BE49-F238E27FC236}">
                  <a16:creationId xmlns:a16="http://schemas.microsoft.com/office/drawing/2014/main" id="{287E9CF0-47A4-AC7A-3A37-A85E027B7BF0}"/>
                </a:ext>
              </a:extLst>
            </p:cNvPr>
            <p:cNvSpPr/>
            <p:nvPr userDrawn="1"/>
          </p:nvSpPr>
          <p:spPr bwMode="gray">
            <a:xfrm>
              <a:off x="262161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0" name="Rechteck 679">
              <a:extLst>
                <a:ext uri="{FF2B5EF4-FFF2-40B4-BE49-F238E27FC236}">
                  <a16:creationId xmlns:a16="http://schemas.microsoft.com/office/drawing/2014/main" id="{CF0DFFA9-EB49-12E9-4993-DD48BC771C3F}"/>
                </a:ext>
              </a:extLst>
            </p:cNvPr>
            <p:cNvSpPr/>
            <p:nvPr userDrawn="1"/>
          </p:nvSpPr>
          <p:spPr bwMode="gray">
            <a:xfrm>
              <a:off x="204555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1" name="Rechteck 680">
              <a:extLst>
                <a:ext uri="{FF2B5EF4-FFF2-40B4-BE49-F238E27FC236}">
                  <a16:creationId xmlns:a16="http://schemas.microsoft.com/office/drawing/2014/main" id="{4457EB29-8ED5-2023-E66C-6C51E6D5FEF7}"/>
                </a:ext>
              </a:extLst>
            </p:cNvPr>
            <p:cNvSpPr/>
            <p:nvPr userDrawn="1"/>
          </p:nvSpPr>
          <p:spPr bwMode="gray">
            <a:xfrm>
              <a:off x="146948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2" name="Rechteck 681">
              <a:extLst>
                <a:ext uri="{FF2B5EF4-FFF2-40B4-BE49-F238E27FC236}">
                  <a16:creationId xmlns:a16="http://schemas.microsoft.com/office/drawing/2014/main" id="{E76C43B5-EFBA-3CF5-4660-AAB6EA89780A}"/>
                </a:ext>
              </a:extLst>
            </p:cNvPr>
            <p:cNvSpPr/>
            <p:nvPr userDrawn="1"/>
          </p:nvSpPr>
          <p:spPr bwMode="gray">
            <a:xfrm>
              <a:off x="89342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3" name="Rechteck 682">
              <a:extLst>
                <a:ext uri="{FF2B5EF4-FFF2-40B4-BE49-F238E27FC236}">
                  <a16:creationId xmlns:a16="http://schemas.microsoft.com/office/drawing/2014/main" id="{537D513C-90A1-70F4-09C0-157B675704A3}"/>
                </a:ext>
              </a:extLst>
            </p:cNvPr>
            <p:cNvSpPr/>
            <p:nvPr userDrawn="1"/>
          </p:nvSpPr>
          <p:spPr bwMode="gray">
            <a:xfrm>
              <a:off x="31736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4" name="Rechteck 683">
              <a:extLst>
                <a:ext uri="{FF2B5EF4-FFF2-40B4-BE49-F238E27FC236}">
                  <a16:creationId xmlns:a16="http://schemas.microsoft.com/office/drawing/2014/main" id="{DE38BE49-EEDF-3118-62FB-BF5E650778F9}"/>
                </a:ext>
              </a:extLst>
            </p:cNvPr>
            <p:cNvSpPr/>
            <p:nvPr userDrawn="1"/>
          </p:nvSpPr>
          <p:spPr bwMode="gray">
            <a:xfrm>
              <a:off x="1126257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5" name="Rechteck 684">
              <a:extLst>
                <a:ext uri="{FF2B5EF4-FFF2-40B4-BE49-F238E27FC236}">
                  <a16:creationId xmlns:a16="http://schemas.microsoft.com/office/drawing/2014/main" id="{B13FC58D-61AC-C796-9D91-701CAE3B2E16}"/>
                </a:ext>
              </a:extLst>
            </p:cNvPr>
            <p:cNvSpPr/>
            <p:nvPr userDrawn="1"/>
          </p:nvSpPr>
          <p:spPr bwMode="gray">
            <a:xfrm>
              <a:off x="1068651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6" name="Rechteck 685">
              <a:extLst>
                <a:ext uri="{FF2B5EF4-FFF2-40B4-BE49-F238E27FC236}">
                  <a16:creationId xmlns:a16="http://schemas.microsoft.com/office/drawing/2014/main" id="{F022C9F5-3900-95D7-6DE8-65631E56BAC9}"/>
                </a:ext>
              </a:extLst>
            </p:cNvPr>
            <p:cNvSpPr/>
            <p:nvPr userDrawn="1"/>
          </p:nvSpPr>
          <p:spPr bwMode="gray">
            <a:xfrm>
              <a:off x="1011044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7" name="Rechteck 686">
              <a:extLst>
                <a:ext uri="{FF2B5EF4-FFF2-40B4-BE49-F238E27FC236}">
                  <a16:creationId xmlns:a16="http://schemas.microsoft.com/office/drawing/2014/main" id="{45C8A3CA-8EF3-9001-34EB-AB4275E0C973}"/>
                </a:ext>
              </a:extLst>
            </p:cNvPr>
            <p:cNvSpPr/>
            <p:nvPr userDrawn="1"/>
          </p:nvSpPr>
          <p:spPr bwMode="gray">
            <a:xfrm>
              <a:off x="953438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8" name="Rechteck 687">
              <a:extLst>
                <a:ext uri="{FF2B5EF4-FFF2-40B4-BE49-F238E27FC236}">
                  <a16:creationId xmlns:a16="http://schemas.microsoft.com/office/drawing/2014/main" id="{EB7A4958-79D8-2F9D-5436-33F3F6972C4A}"/>
                </a:ext>
              </a:extLst>
            </p:cNvPr>
            <p:cNvSpPr/>
            <p:nvPr userDrawn="1"/>
          </p:nvSpPr>
          <p:spPr bwMode="gray">
            <a:xfrm>
              <a:off x="895832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9" name="Rechteck 688">
              <a:extLst>
                <a:ext uri="{FF2B5EF4-FFF2-40B4-BE49-F238E27FC236}">
                  <a16:creationId xmlns:a16="http://schemas.microsoft.com/office/drawing/2014/main" id="{AAB723F7-9B57-BEF5-6CB3-A51BC87A4388}"/>
                </a:ext>
              </a:extLst>
            </p:cNvPr>
            <p:cNvSpPr/>
            <p:nvPr userDrawn="1"/>
          </p:nvSpPr>
          <p:spPr bwMode="gray">
            <a:xfrm>
              <a:off x="838225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0" name="Rechteck 689">
              <a:extLst>
                <a:ext uri="{FF2B5EF4-FFF2-40B4-BE49-F238E27FC236}">
                  <a16:creationId xmlns:a16="http://schemas.microsoft.com/office/drawing/2014/main" id="{BAC1263E-10E9-F79B-F095-9392E878AEB4}"/>
                </a:ext>
              </a:extLst>
            </p:cNvPr>
            <p:cNvSpPr/>
            <p:nvPr userDrawn="1"/>
          </p:nvSpPr>
          <p:spPr bwMode="gray">
            <a:xfrm>
              <a:off x="780619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1" name="Rechteck 690">
              <a:extLst>
                <a:ext uri="{FF2B5EF4-FFF2-40B4-BE49-F238E27FC236}">
                  <a16:creationId xmlns:a16="http://schemas.microsoft.com/office/drawing/2014/main" id="{8F486F9B-B481-F8A2-6F3F-85B66E43CCF1}"/>
                </a:ext>
              </a:extLst>
            </p:cNvPr>
            <p:cNvSpPr/>
            <p:nvPr userDrawn="1"/>
          </p:nvSpPr>
          <p:spPr bwMode="gray">
            <a:xfrm>
              <a:off x="723012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2" name="Rechteck 691">
              <a:extLst>
                <a:ext uri="{FF2B5EF4-FFF2-40B4-BE49-F238E27FC236}">
                  <a16:creationId xmlns:a16="http://schemas.microsoft.com/office/drawing/2014/main" id="{98310B70-7374-7EC5-17D6-497533390D67}"/>
                </a:ext>
              </a:extLst>
            </p:cNvPr>
            <p:cNvSpPr/>
            <p:nvPr userDrawn="1"/>
          </p:nvSpPr>
          <p:spPr bwMode="gray">
            <a:xfrm>
              <a:off x="665406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3" name="Rechteck 692">
              <a:extLst>
                <a:ext uri="{FF2B5EF4-FFF2-40B4-BE49-F238E27FC236}">
                  <a16:creationId xmlns:a16="http://schemas.microsoft.com/office/drawing/2014/main" id="{8766D4B5-DCD2-70B5-BA1C-0BC46279761A}"/>
                </a:ext>
              </a:extLst>
            </p:cNvPr>
            <p:cNvSpPr/>
            <p:nvPr userDrawn="1"/>
          </p:nvSpPr>
          <p:spPr bwMode="gray">
            <a:xfrm>
              <a:off x="607800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4" name="Rechteck 693">
              <a:extLst>
                <a:ext uri="{FF2B5EF4-FFF2-40B4-BE49-F238E27FC236}">
                  <a16:creationId xmlns:a16="http://schemas.microsoft.com/office/drawing/2014/main" id="{9168AA30-2289-74CD-A821-9AEC8279B8E4}"/>
                </a:ext>
              </a:extLst>
            </p:cNvPr>
            <p:cNvSpPr/>
            <p:nvPr userDrawn="1"/>
          </p:nvSpPr>
          <p:spPr bwMode="gray">
            <a:xfrm>
              <a:off x="550193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5" name="Rechteck 694">
              <a:extLst>
                <a:ext uri="{FF2B5EF4-FFF2-40B4-BE49-F238E27FC236}">
                  <a16:creationId xmlns:a16="http://schemas.microsoft.com/office/drawing/2014/main" id="{B3922964-F98B-C469-B3C9-7B59699FBF66}"/>
                </a:ext>
              </a:extLst>
            </p:cNvPr>
            <p:cNvSpPr/>
            <p:nvPr userDrawn="1"/>
          </p:nvSpPr>
          <p:spPr bwMode="gray">
            <a:xfrm>
              <a:off x="492587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6" name="Rechteck 695">
              <a:extLst>
                <a:ext uri="{FF2B5EF4-FFF2-40B4-BE49-F238E27FC236}">
                  <a16:creationId xmlns:a16="http://schemas.microsoft.com/office/drawing/2014/main" id="{A3BE596C-1BBA-D76C-421F-2B7CC3AC38ED}"/>
                </a:ext>
              </a:extLst>
            </p:cNvPr>
            <p:cNvSpPr/>
            <p:nvPr userDrawn="1"/>
          </p:nvSpPr>
          <p:spPr bwMode="gray">
            <a:xfrm>
              <a:off x="434980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7" name="Rechteck 696">
              <a:extLst>
                <a:ext uri="{FF2B5EF4-FFF2-40B4-BE49-F238E27FC236}">
                  <a16:creationId xmlns:a16="http://schemas.microsoft.com/office/drawing/2014/main" id="{9B2548C3-C2B1-964D-25D1-292898386233}"/>
                </a:ext>
              </a:extLst>
            </p:cNvPr>
            <p:cNvSpPr/>
            <p:nvPr userDrawn="1"/>
          </p:nvSpPr>
          <p:spPr bwMode="gray">
            <a:xfrm>
              <a:off x="377374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8" name="Rechteck 697">
              <a:extLst>
                <a:ext uri="{FF2B5EF4-FFF2-40B4-BE49-F238E27FC236}">
                  <a16:creationId xmlns:a16="http://schemas.microsoft.com/office/drawing/2014/main" id="{94C1CA1F-DA4E-2C10-9757-CD61355EC930}"/>
                </a:ext>
              </a:extLst>
            </p:cNvPr>
            <p:cNvSpPr/>
            <p:nvPr userDrawn="1"/>
          </p:nvSpPr>
          <p:spPr bwMode="gray">
            <a:xfrm>
              <a:off x="319768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9" name="Rechteck 698">
              <a:extLst>
                <a:ext uri="{FF2B5EF4-FFF2-40B4-BE49-F238E27FC236}">
                  <a16:creationId xmlns:a16="http://schemas.microsoft.com/office/drawing/2014/main" id="{D69F8A24-7CD4-E3F5-138C-C177451729B5}"/>
                </a:ext>
              </a:extLst>
            </p:cNvPr>
            <p:cNvSpPr/>
            <p:nvPr userDrawn="1"/>
          </p:nvSpPr>
          <p:spPr bwMode="gray">
            <a:xfrm>
              <a:off x="262161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0" name="Rechteck 699">
              <a:extLst>
                <a:ext uri="{FF2B5EF4-FFF2-40B4-BE49-F238E27FC236}">
                  <a16:creationId xmlns:a16="http://schemas.microsoft.com/office/drawing/2014/main" id="{5101D034-7BF6-D17E-ACDE-09A473C3C725}"/>
                </a:ext>
              </a:extLst>
            </p:cNvPr>
            <p:cNvSpPr/>
            <p:nvPr userDrawn="1"/>
          </p:nvSpPr>
          <p:spPr bwMode="gray">
            <a:xfrm>
              <a:off x="204555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1" name="Rechteck 700">
              <a:extLst>
                <a:ext uri="{FF2B5EF4-FFF2-40B4-BE49-F238E27FC236}">
                  <a16:creationId xmlns:a16="http://schemas.microsoft.com/office/drawing/2014/main" id="{BF9EB9B5-F67B-691B-868C-44838B852F72}"/>
                </a:ext>
              </a:extLst>
            </p:cNvPr>
            <p:cNvSpPr/>
            <p:nvPr userDrawn="1"/>
          </p:nvSpPr>
          <p:spPr bwMode="gray">
            <a:xfrm>
              <a:off x="146948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2" name="Rechteck 701">
              <a:extLst>
                <a:ext uri="{FF2B5EF4-FFF2-40B4-BE49-F238E27FC236}">
                  <a16:creationId xmlns:a16="http://schemas.microsoft.com/office/drawing/2014/main" id="{39AB1942-E61A-4AB3-B1E9-D20EAC4D293F}"/>
                </a:ext>
              </a:extLst>
            </p:cNvPr>
            <p:cNvSpPr/>
            <p:nvPr userDrawn="1"/>
          </p:nvSpPr>
          <p:spPr bwMode="gray">
            <a:xfrm>
              <a:off x="89342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3" name="Rechteck 702">
              <a:extLst>
                <a:ext uri="{FF2B5EF4-FFF2-40B4-BE49-F238E27FC236}">
                  <a16:creationId xmlns:a16="http://schemas.microsoft.com/office/drawing/2014/main" id="{56565114-4937-3D16-3FD4-1D134ADFBA4D}"/>
                </a:ext>
              </a:extLst>
            </p:cNvPr>
            <p:cNvSpPr/>
            <p:nvPr userDrawn="1"/>
          </p:nvSpPr>
          <p:spPr bwMode="gray">
            <a:xfrm>
              <a:off x="31736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4" name="Rechteck 703">
              <a:extLst>
                <a:ext uri="{FF2B5EF4-FFF2-40B4-BE49-F238E27FC236}">
                  <a16:creationId xmlns:a16="http://schemas.microsoft.com/office/drawing/2014/main" id="{C98C3656-2943-2C02-8335-2FD89CB48300}"/>
                </a:ext>
              </a:extLst>
            </p:cNvPr>
            <p:cNvSpPr/>
            <p:nvPr userDrawn="1"/>
          </p:nvSpPr>
          <p:spPr bwMode="gray">
            <a:xfrm>
              <a:off x="1126257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5" name="Rechteck 704">
              <a:extLst>
                <a:ext uri="{FF2B5EF4-FFF2-40B4-BE49-F238E27FC236}">
                  <a16:creationId xmlns:a16="http://schemas.microsoft.com/office/drawing/2014/main" id="{08488403-7939-5935-A717-11899EADD162}"/>
                </a:ext>
              </a:extLst>
            </p:cNvPr>
            <p:cNvSpPr/>
            <p:nvPr userDrawn="1"/>
          </p:nvSpPr>
          <p:spPr bwMode="gray">
            <a:xfrm>
              <a:off x="1068651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6" name="Rechteck 705">
              <a:extLst>
                <a:ext uri="{FF2B5EF4-FFF2-40B4-BE49-F238E27FC236}">
                  <a16:creationId xmlns:a16="http://schemas.microsoft.com/office/drawing/2014/main" id="{CB77E4A4-93DD-7CAE-3965-57ED4DC23839}"/>
                </a:ext>
              </a:extLst>
            </p:cNvPr>
            <p:cNvSpPr/>
            <p:nvPr userDrawn="1"/>
          </p:nvSpPr>
          <p:spPr bwMode="gray">
            <a:xfrm>
              <a:off x="1011044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7" name="Rechteck 706">
              <a:extLst>
                <a:ext uri="{FF2B5EF4-FFF2-40B4-BE49-F238E27FC236}">
                  <a16:creationId xmlns:a16="http://schemas.microsoft.com/office/drawing/2014/main" id="{180674A3-32DC-5CFB-F3F0-AEF3189E3911}"/>
                </a:ext>
              </a:extLst>
            </p:cNvPr>
            <p:cNvSpPr/>
            <p:nvPr userDrawn="1"/>
          </p:nvSpPr>
          <p:spPr bwMode="gray">
            <a:xfrm>
              <a:off x="953438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8" name="Rechteck 707">
              <a:extLst>
                <a:ext uri="{FF2B5EF4-FFF2-40B4-BE49-F238E27FC236}">
                  <a16:creationId xmlns:a16="http://schemas.microsoft.com/office/drawing/2014/main" id="{D2F17E32-C662-A9B9-5D03-E9A27AE8708B}"/>
                </a:ext>
              </a:extLst>
            </p:cNvPr>
            <p:cNvSpPr/>
            <p:nvPr userDrawn="1"/>
          </p:nvSpPr>
          <p:spPr bwMode="gray">
            <a:xfrm>
              <a:off x="895832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9" name="Rechteck 708">
              <a:extLst>
                <a:ext uri="{FF2B5EF4-FFF2-40B4-BE49-F238E27FC236}">
                  <a16:creationId xmlns:a16="http://schemas.microsoft.com/office/drawing/2014/main" id="{05B4682F-3B7B-0D4F-3DE7-F8F7B4C33736}"/>
                </a:ext>
              </a:extLst>
            </p:cNvPr>
            <p:cNvSpPr/>
            <p:nvPr userDrawn="1"/>
          </p:nvSpPr>
          <p:spPr bwMode="gray">
            <a:xfrm>
              <a:off x="838225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0" name="Rechteck 709">
              <a:extLst>
                <a:ext uri="{FF2B5EF4-FFF2-40B4-BE49-F238E27FC236}">
                  <a16:creationId xmlns:a16="http://schemas.microsoft.com/office/drawing/2014/main" id="{69D07643-96A2-5EBE-4A15-2EBC58185DD8}"/>
                </a:ext>
              </a:extLst>
            </p:cNvPr>
            <p:cNvSpPr/>
            <p:nvPr userDrawn="1"/>
          </p:nvSpPr>
          <p:spPr bwMode="gray">
            <a:xfrm>
              <a:off x="780619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1" name="Rechteck 710">
              <a:extLst>
                <a:ext uri="{FF2B5EF4-FFF2-40B4-BE49-F238E27FC236}">
                  <a16:creationId xmlns:a16="http://schemas.microsoft.com/office/drawing/2014/main" id="{5F87D76B-C860-282A-17FA-21427DB8A459}"/>
                </a:ext>
              </a:extLst>
            </p:cNvPr>
            <p:cNvSpPr/>
            <p:nvPr userDrawn="1"/>
          </p:nvSpPr>
          <p:spPr bwMode="gray">
            <a:xfrm>
              <a:off x="723012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2" name="Rechteck 711">
              <a:extLst>
                <a:ext uri="{FF2B5EF4-FFF2-40B4-BE49-F238E27FC236}">
                  <a16:creationId xmlns:a16="http://schemas.microsoft.com/office/drawing/2014/main" id="{B0473078-836D-FB77-0D28-079DC033A683}"/>
                </a:ext>
              </a:extLst>
            </p:cNvPr>
            <p:cNvSpPr/>
            <p:nvPr userDrawn="1"/>
          </p:nvSpPr>
          <p:spPr bwMode="gray">
            <a:xfrm>
              <a:off x="665406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3" name="Rechteck 712">
              <a:extLst>
                <a:ext uri="{FF2B5EF4-FFF2-40B4-BE49-F238E27FC236}">
                  <a16:creationId xmlns:a16="http://schemas.microsoft.com/office/drawing/2014/main" id="{763EA82B-02A8-5363-BACF-F4FD5E1F3AD3}"/>
                </a:ext>
              </a:extLst>
            </p:cNvPr>
            <p:cNvSpPr/>
            <p:nvPr userDrawn="1"/>
          </p:nvSpPr>
          <p:spPr bwMode="gray">
            <a:xfrm>
              <a:off x="607800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4" name="Rechteck 713">
              <a:extLst>
                <a:ext uri="{FF2B5EF4-FFF2-40B4-BE49-F238E27FC236}">
                  <a16:creationId xmlns:a16="http://schemas.microsoft.com/office/drawing/2014/main" id="{59BD100A-2210-D1F4-9E1A-C43AD07753E3}"/>
                </a:ext>
              </a:extLst>
            </p:cNvPr>
            <p:cNvSpPr/>
            <p:nvPr userDrawn="1"/>
          </p:nvSpPr>
          <p:spPr bwMode="gray">
            <a:xfrm>
              <a:off x="550193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5" name="Rechteck 714">
              <a:extLst>
                <a:ext uri="{FF2B5EF4-FFF2-40B4-BE49-F238E27FC236}">
                  <a16:creationId xmlns:a16="http://schemas.microsoft.com/office/drawing/2014/main" id="{D7FB82F8-2736-939F-EF7D-09AB454FB8A1}"/>
                </a:ext>
              </a:extLst>
            </p:cNvPr>
            <p:cNvSpPr/>
            <p:nvPr userDrawn="1"/>
          </p:nvSpPr>
          <p:spPr bwMode="gray">
            <a:xfrm>
              <a:off x="492587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6" name="Rechteck 715">
              <a:extLst>
                <a:ext uri="{FF2B5EF4-FFF2-40B4-BE49-F238E27FC236}">
                  <a16:creationId xmlns:a16="http://schemas.microsoft.com/office/drawing/2014/main" id="{2D621138-9432-EE05-85E8-CE906D311305}"/>
                </a:ext>
              </a:extLst>
            </p:cNvPr>
            <p:cNvSpPr/>
            <p:nvPr userDrawn="1"/>
          </p:nvSpPr>
          <p:spPr bwMode="gray">
            <a:xfrm>
              <a:off x="434980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7" name="Rechteck 716">
              <a:extLst>
                <a:ext uri="{FF2B5EF4-FFF2-40B4-BE49-F238E27FC236}">
                  <a16:creationId xmlns:a16="http://schemas.microsoft.com/office/drawing/2014/main" id="{4EF4D2DC-060A-CA57-A8E7-FD9345BD0AD6}"/>
                </a:ext>
              </a:extLst>
            </p:cNvPr>
            <p:cNvSpPr/>
            <p:nvPr userDrawn="1"/>
          </p:nvSpPr>
          <p:spPr bwMode="gray">
            <a:xfrm>
              <a:off x="377374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8" name="Rechteck 717">
              <a:extLst>
                <a:ext uri="{FF2B5EF4-FFF2-40B4-BE49-F238E27FC236}">
                  <a16:creationId xmlns:a16="http://schemas.microsoft.com/office/drawing/2014/main" id="{F0E20F2A-68A1-7842-9DB0-4A1CC7AC05BF}"/>
                </a:ext>
              </a:extLst>
            </p:cNvPr>
            <p:cNvSpPr/>
            <p:nvPr userDrawn="1"/>
          </p:nvSpPr>
          <p:spPr bwMode="gray">
            <a:xfrm>
              <a:off x="319768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9" name="Rechteck 718">
              <a:extLst>
                <a:ext uri="{FF2B5EF4-FFF2-40B4-BE49-F238E27FC236}">
                  <a16:creationId xmlns:a16="http://schemas.microsoft.com/office/drawing/2014/main" id="{7C2E8C08-12B7-FC2E-4BEA-FD0723966C67}"/>
                </a:ext>
              </a:extLst>
            </p:cNvPr>
            <p:cNvSpPr/>
            <p:nvPr userDrawn="1"/>
          </p:nvSpPr>
          <p:spPr bwMode="gray">
            <a:xfrm>
              <a:off x="262161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0" name="Rechteck 719">
              <a:extLst>
                <a:ext uri="{FF2B5EF4-FFF2-40B4-BE49-F238E27FC236}">
                  <a16:creationId xmlns:a16="http://schemas.microsoft.com/office/drawing/2014/main" id="{8D98062D-B27F-8CF4-D112-36F2CD997963}"/>
                </a:ext>
              </a:extLst>
            </p:cNvPr>
            <p:cNvSpPr/>
            <p:nvPr userDrawn="1"/>
          </p:nvSpPr>
          <p:spPr bwMode="gray">
            <a:xfrm>
              <a:off x="204555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1" name="Rechteck 720">
              <a:extLst>
                <a:ext uri="{FF2B5EF4-FFF2-40B4-BE49-F238E27FC236}">
                  <a16:creationId xmlns:a16="http://schemas.microsoft.com/office/drawing/2014/main" id="{4163B6F8-7346-EE98-EC90-5F2CE7475984}"/>
                </a:ext>
              </a:extLst>
            </p:cNvPr>
            <p:cNvSpPr/>
            <p:nvPr userDrawn="1"/>
          </p:nvSpPr>
          <p:spPr bwMode="gray">
            <a:xfrm>
              <a:off x="146948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2" name="Rechteck 721">
              <a:extLst>
                <a:ext uri="{FF2B5EF4-FFF2-40B4-BE49-F238E27FC236}">
                  <a16:creationId xmlns:a16="http://schemas.microsoft.com/office/drawing/2014/main" id="{84058654-9D82-9F4F-058A-BB76E37CBABA}"/>
                </a:ext>
              </a:extLst>
            </p:cNvPr>
            <p:cNvSpPr/>
            <p:nvPr userDrawn="1"/>
          </p:nvSpPr>
          <p:spPr bwMode="gray">
            <a:xfrm>
              <a:off x="89342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3" name="Rechteck 722">
              <a:extLst>
                <a:ext uri="{FF2B5EF4-FFF2-40B4-BE49-F238E27FC236}">
                  <a16:creationId xmlns:a16="http://schemas.microsoft.com/office/drawing/2014/main" id="{566BCC9B-D449-B385-B9CD-B64750BDBE24}"/>
                </a:ext>
              </a:extLst>
            </p:cNvPr>
            <p:cNvSpPr/>
            <p:nvPr userDrawn="1"/>
          </p:nvSpPr>
          <p:spPr bwMode="gray">
            <a:xfrm>
              <a:off x="31736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4" name="Rechteck 723">
              <a:extLst>
                <a:ext uri="{FF2B5EF4-FFF2-40B4-BE49-F238E27FC236}">
                  <a16:creationId xmlns:a16="http://schemas.microsoft.com/office/drawing/2014/main" id="{43E1FC99-AF9D-4A61-A2BB-AA6ED4F190E0}"/>
                </a:ext>
              </a:extLst>
            </p:cNvPr>
            <p:cNvSpPr/>
            <p:nvPr userDrawn="1"/>
          </p:nvSpPr>
          <p:spPr bwMode="gray">
            <a:xfrm>
              <a:off x="1126257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5" name="Rechteck 724">
              <a:extLst>
                <a:ext uri="{FF2B5EF4-FFF2-40B4-BE49-F238E27FC236}">
                  <a16:creationId xmlns:a16="http://schemas.microsoft.com/office/drawing/2014/main" id="{74D5DA3B-3DBA-0F74-DAED-99AE03E3A164}"/>
                </a:ext>
              </a:extLst>
            </p:cNvPr>
            <p:cNvSpPr/>
            <p:nvPr userDrawn="1"/>
          </p:nvSpPr>
          <p:spPr bwMode="gray">
            <a:xfrm>
              <a:off x="1068651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6" name="Rechteck 725">
              <a:extLst>
                <a:ext uri="{FF2B5EF4-FFF2-40B4-BE49-F238E27FC236}">
                  <a16:creationId xmlns:a16="http://schemas.microsoft.com/office/drawing/2014/main" id="{3087C1DF-A271-AF0A-BB09-A19ACAE710CB}"/>
                </a:ext>
              </a:extLst>
            </p:cNvPr>
            <p:cNvSpPr/>
            <p:nvPr userDrawn="1"/>
          </p:nvSpPr>
          <p:spPr bwMode="gray">
            <a:xfrm>
              <a:off x="1011044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7" name="Rechteck 726">
              <a:extLst>
                <a:ext uri="{FF2B5EF4-FFF2-40B4-BE49-F238E27FC236}">
                  <a16:creationId xmlns:a16="http://schemas.microsoft.com/office/drawing/2014/main" id="{ABF25ED2-07F0-6BBF-1FAC-B7448CB6A1A6}"/>
                </a:ext>
              </a:extLst>
            </p:cNvPr>
            <p:cNvSpPr/>
            <p:nvPr userDrawn="1"/>
          </p:nvSpPr>
          <p:spPr bwMode="gray">
            <a:xfrm>
              <a:off x="953438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8" name="Rechteck 727">
              <a:extLst>
                <a:ext uri="{FF2B5EF4-FFF2-40B4-BE49-F238E27FC236}">
                  <a16:creationId xmlns:a16="http://schemas.microsoft.com/office/drawing/2014/main" id="{6A001D68-430B-5A89-D0B2-061F79ADC9E6}"/>
                </a:ext>
              </a:extLst>
            </p:cNvPr>
            <p:cNvSpPr/>
            <p:nvPr userDrawn="1"/>
          </p:nvSpPr>
          <p:spPr bwMode="gray">
            <a:xfrm>
              <a:off x="895832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9" name="Rechteck 728">
              <a:extLst>
                <a:ext uri="{FF2B5EF4-FFF2-40B4-BE49-F238E27FC236}">
                  <a16:creationId xmlns:a16="http://schemas.microsoft.com/office/drawing/2014/main" id="{3A526EA4-95F9-9E5D-1E0B-3D5288981B7A}"/>
                </a:ext>
              </a:extLst>
            </p:cNvPr>
            <p:cNvSpPr/>
            <p:nvPr userDrawn="1"/>
          </p:nvSpPr>
          <p:spPr bwMode="gray">
            <a:xfrm>
              <a:off x="838225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0" name="Rechteck 729">
              <a:extLst>
                <a:ext uri="{FF2B5EF4-FFF2-40B4-BE49-F238E27FC236}">
                  <a16:creationId xmlns:a16="http://schemas.microsoft.com/office/drawing/2014/main" id="{AD23B11A-35E7-9C9C-34D5-A32E1F06683D}"/>
                </a:ext>
              </a:extLst>
            </p:cNvPr>
            <p:cNvSpPr/>
            <p:nvPr userDrawn="1"/>
          </p:nvSpPr>
          <p:spPr bwMode="gray">
            <a:xfrm>
              <a:off x="780619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1" name="Rechteck 730">
              <a:extLst>
                <a:ext uri="{FF2B5EF4-FFF2-40B4-BE49-F238E27FC236}">
                  <a16:creationId xmlns:a16="http://schemas.microsoft.com/office/drawing/2014/main" id="{A5463C0A-7230-6159-6EFC-0C8372A114A8}"/>
                </a:ext>
              </a:extLst>
            </p:cNvPr>
            <p:cNvSpPr/>
            <p:nvPr userDrawn="1"/>
          </p:nvSpPr>
          <p:spPr bwMode="gray">
            <a:xfrm>
              <a:off x="723012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2" name="Rechteck 731">
              <a:extLst>
                <a:ext uri="{FF2B5EF4-FFF2-40B4-BE49-F238E27FC236}">
                  <a16:creationId xmlns:a16="http://schemas.microsoft.com/office/drawing/2014/main" id="{BD94E150-57B4-9302-CAD8-4D2FEC536EE6}"/>
                </a:ext>
              </a:extLst>
            </p:cNvPr>
            <p:cNvSpPr/>
            <p:nvPr userDrawn="1"/>
          </p:nvSpPr>
          <p:spPr bwMode="gray">
            <a:xfrm>
              <a:off x="665406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3" name="Rechteck 732">
              <a:extLst>
                <a:ext uri="{FF2B5EF4-FFF2-40B4-BE49-F238E27FC236}">
                  <a16:creationId xmlns:a16="http://schemas.microsoft.com/office/drawing/2014/main" id="{C8DFD39B-05FA-DFED-2E1E-6007AD86B310}"/>
                </a:ext>
              </a:extLst>
            </p:cNvPr>
            <p:cNvSpPr/>
            <p:nvPr userDrawn="1"/>
          </p:nvSpPr>
          <p:spPr bwMode="gray">
            <a:xfrm>
              <a:off x="607800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4" name="Rechteck 733">
              <a:extLst>
                <a:ext uri="{FF2B5EF4-FFF2-40B4-BE49-F238E27FC236}">
                  <a16:creationId xmlns:a16="http://schemas.microsoft.com/office/drawing/2014/main" id="{A4D8AC77-1C70-E38A-1EFA-00CC052DC304}"/>
                </a:ext>
              </a:extLst>
            </p:cNvPr>
            <p:cNvSpPr/>
            <p:nvPr userDrawn="1"/>
          </p:nvSpPr>
          <p:spPr bwMode="gray">
            <a:xfrm>
              <a:off x="550193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5" name="Rechteck 734">
              <a:extLst>
                <a:ext uri="{FF2B5EF4-FFF2-40B4-BE49-F238E27FC236}">
                  <a16:creationId xmlns:a16="http://schemas.microsoft.com/office/drawing/2014/main" id="{6BA98046-9F44-426C-7EB4-890740600526}"/>
                </a:ext>
              </a:extLst>
            </p:cNvPr>
            <p:cNvSpPr/>
            <p:nvPr userDrawn="1"/>
          </p:nvSpPr>
          <p:spPr bwMode="gray">
            <a:xfrm>
              <a:off x="492587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6" name="Rechteck 735">
              <a:extLst>
                <a:ext uri="{FF2B5EF4-FFF2-40B4-BE49-F238E27FC236}">
                  <a16:creationId xmlns:a16="http://schemas.microsoft.com/office/drawing/2014/main" id="{DABA0388-BFFC-0C96-008E-B7E85D4BD4C0}"/>
                </a:ext>
              </a:extLst>
            </p:cNvPr>
            <p:cNvSpPr/>
            <p:nvPr userDrawn="1"/>
          </p:nvSpPr>
          <p:spPr bwMode="gray">
            <a:xfrm>
              <a:off x="434980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7" name="Rechteck 736">
              <a:extLst>
                <a:ext uri="{FF2B5EF4-FFF2-40B4-BE49-F238E27FC236}">
                  <a16:creationId xmlns:a16="http://schemas.microsoft.com/office/drawing/2014/main" id="{5710B4EE-8F0C-C45B-C780-E47758E9C3CE}"/>
                </a:ext>
              </a:extLst>
            </p:cNvPr>
            <p:cNvSpPr/>
            <p:nvPr userDrawn="1"/>
          </p:nvSpPr>
          <p:spPr bwMode="gray">
            <a:xfrm>
              <a:off x="377374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8" name="Rechteck 737">
              <a:extLst>
                <a:ext uri="{FF2B5EF4-FFF2-40B4-BE49-F238E27FC236}">
                  <a16:creationId xmlns:a16="http://schemas.microsoft.com/office/drawing/2014/main" id="{0B7BFC41-30B5-9789-07D7-0778657EDAC0}"/>
                </a:ext>
              </a:extLst>
            </p:cNvPr>
            <p:cNvSpPr/>
            <p:nvPr userDrawn="1"/>
          </p:nvSpPr>
          <p:spPr bwMode="gray">
            <a:xfrm>
              <a:off x="319768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9" name="Rechteck 738">
              <a:extLst>
                <a:ext uri="{FF2B5EF4-FFF2-40B4-BE49-F238E27FC236}">
                  <a16:creationId xmlns:a16="http://schemas.microsoft.com/office/drawing/2014/main" id="{6A2EB3DC-6DE7-3C8B-41FE-A0BC3E5BA3B6}"/>
                </a:ext>
              </a:extLst>
            </p:cNvPr>
            <p:cNvSpPr/>
            <p:nvPr userDrawn="1"/>
          </p:nvSpPr>
          <p:spPr bwMode="gray">
            <a:xfrm>
              <a:off x="262161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0" name="Rechteck 739">
              <a:extLst>
                <a:ext uri="{FF2B5EF4-FFF2-40B4-BE49-F238E27FC236}">
                  <a16:creationId xmlns:a16="http://schemas.microsoft.com/office/drawing/2014/main" id="{52E1280B-948E-CA07-8870-4B010AC31E96}"/>
                </a:ext>
              </a:extLst>
            </p:cNvPr>
            <p:cNvSpPr/>
            <p:nvPr userDrawn="1"/>
          </p:nvSpPr>
          <p:spPr bwMode="gray">
            <a:xfrm>
              <a:off x="204555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1" name="Rechteck 740">
              <a:extLst>
                <a:ext uri="{FF2B5EF4-FFF2-40B4-BE49-F238E27FC236}">
                  <a16:creationId xmlns:a16="http://schemas.microsoft.com/office/drawing/2014/main" id="{20656F19-E0C2-9EDA-B07C-12AA1CC602B8}"/>
                </a:ext>
              </a:extLst>
            </p:cNvPr>
            <p:cNvSpPr/>
            <p:nvPr userDrawn="1"/>
          </p:nvSpPr>
          <p:spPr bwMode="gray">
            <a:xfrm>
              <a:off x="146948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2" name="Rechteck 741">
              <a:extLst>
                <a:ext uri="{FF2B5EF4-FFF2-40B4-BE49-F238E27FC236}">
                  <a16:creationId xmlns:a16="http://schemas.microsoft.com/office/drawing/2014/main" id="{445BA726-3880-A40F-FD5C-98D1A8032CBB}"/>
                </a:ext>
              </a:extLst>
            </p:cNvPr>
            <p:cNvSpPr/>
            <p:nvPr userDrawn="1"/>
          </p:nvSpPr>
          <p:spPr bwMode="gray">
            <a:xfrm>
              <a:off x="89342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3" name="Rechteck 742">
              <a:extLst>
                <a:ext uri="{FF2B5EF4-FFF2-40B4-BE49-F238E27FC236}">
                  <a16:creationId xmlns:a16="http://schemas.microsoft.com/office/drawing/2014/main" id="{CFFF3B3B-1C06-1BA3-4FB8-B2D0C6A8AC15}"/>
                </a:ext>
              </a:extLst>
            </p:cNvPr>
            <p:cNvSpPr/>
            <p:nvPr userDrawn="1"/>
          </p:nvSpPr>
          <p:spPr bwMode="gray">
            <a:xfrm>
              <a:off x="31736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4" name="Rechteck 743">
              <a:extLst>
                <a:ext uri="{FF2B5EF4-FFF2-40B4-BE49-F238E27FC236}">
                  <a16:creationId xmlns:a16="http://schemas.microsoft.com/office/drawing/2014/main" id="{9CC2B8E1-7273-14F3-94CE-C360B92AC580}"/>
                </a:ext>
              </a:extLst>
            </p:cNvPr>
            <p:cNvSpPr/>
            <p:nvPr userDrawn="1"/>
          </p:nvSpPr>
          <p:spPr bwMode="gray">
            <a:xfrm>
              <a:off x="1126257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5" name="Rechteck 744">
              <a:extLst>
                <a:ext uri="{FF2B5EF4-FFF2-40B4-BE49-F238E27FC236}">
                  <a16:creationId xmlns:a16="http://schemas.microsoft.com/office/drawing/2014/main" id="{868F8059-F94E-E2C1-F1FB-5395C82B0048}"/>
                </a:ext>
              </a:extLst>
            </p:cNvPr>
            <p:cNvSpPr/>
            <p:nvPr userDrawn="1"/>
          </p:nvSpPr>
          <p:spPr bwMode="gray">
            <a:xfrm>
              <a:off x="1068651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6" name="Rechteck 745">
              <a:extLst>
                <a:ext uri="{FF2B5EF4-FFF2-40B4-BE49-F238E27FC236}">
                  <a16:creationId xmlns:a16="http://schemas.microsoft.com/office/drawing/2014/main" id="{CD0562C3-3393-0711-38AA-6CF0EFC82FFC}"/>
                </a:ext>
              </a:extLst>
            </p:cNvPr>
            <p:cNvSpPr/>
            <p:nvPr userDrawn="1"/>
          </p:nvSpPr>
          <p:spPr bwMode="gray">
            <a:xfrm>
              <a:off x="1011044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7" name="Rechteck 746">
              <a:extLst>
                <a:ext uri="{FF2B5EF4-FFF2-40B4-BE49-F238E27FC236}">
                  <a16:creationId xmlns:a16="http://schemas.microsoft.com/office/drawing/2014/main" id="{D705009A-1E3E-AB0C-C8A0-4201A70907CB}"/>
                </a:ext>
              </a:extLst>
            </p:cNvPr>
            <p:cNvSpPr/>
            <p:nvPr userDrawn="1"/>
          </p:nvSpPr>
          <p:spPr bwMode="gray">
            <a:xfrm>
              <a:off x="953438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8" name="Rechteck 747">
              <a:extLst>
                <a:ext uri="{FF2B5EF4-FFF2-40B4-BE49-F238E27FC236}">
                  <a16:creationId xmlns:a16="http://schemas.microsoft.com/office/drawing/2014/main" id="{CD1607BE-55A1-FDF2-C53D-4A38E52C153F}"/>
                </a:ext>
              </a:extLst>
            </p:cNvPr>
            <p:cNvSpPr/>
            <p:nvPr userDrawn="1"/>
          </p:nvSpPr>
          <p:spPr bwMode="gray">
            <a:xfrm>
              <a:off x="895832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9" name="Rechteck 748">
              <a:extLst>
                <a:ext uri="{FF2B5EF4-FFF2-40B4-BE49-F238E27FC236}">
                  <a16:creationId xmlns:a16="http://schemas.microsoft.com/office/drawing/2014/main" id="{CA659FA1-42CF-7770-AE6D-24354BB246BD}"/>
                </a:ext>
              </a:extLst>
            </p:cNvPr>
            <p:cNvSpPr/>
            <p:nvPr userDrawn="1"/>
          </p:nvSpPr>
          <p:spPr bwMode="gray">
            <a:xfrm>
              <a:off x="838225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0" name="Rechteck 749">
              <a:extLst>
                <a:ext uri="{FF2B5EF4-FFF2-40B4-BE49-F238E27FC236}">
                  <a16:creationId xmlns:a16="http://schemas.microsoft.com/office/drawing/2014/main" id="{D51F6EA7-F0CE-CCD9-6498-ACFD812D8E33}"/>
                </a:ext>
              </a:extLst>
            </p:cNvPr>
            <p:cNvSpPr/>
            <p:nvPr userDrawn="1"/>
          </p:nvSpPr>
          <p:spPr bwMode="gray">
            <a:xfrm>
              <a:off x="780619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1" name="Rechteck 750">
              <a:extLst>
                <a:ext uri="{FF2B5EF4-FFF2-40B4-BE49-F238E27FC236}">
                  <a16:creationId xmlns:a16="http://schemas.microsoft.com/office/drawing/2014/main" id="{2DDD7E16-4891-19ED-5023-0F67382A6BD7}"/>
                </a:ext>
              </a:extLst>
            </p:cNvPr>
            <p:cNvSpPr/>
            <p:nvPr userDrawn="1"/>
          </p:nvSpPr>
          <p:spPr bwMode="gray">
            <a:xfrm>
              <a:off x="723012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2" name="Rechteck 751">
              <a:extLst>
                <a:ext uri="{FF2B5EF4-FFF2-40B4-BE49-F238E27FC236}">
                  <a16:creationId xmlns:a16="http://schemas.microsoft.com/office/drawing/2014/main" id="{654AC03A-CCB6-D9BC-C70E-B07BD25DCA24}"/>
                </a:ext>
              </a:extLst>
            </p:cNvPr>
            <p:cNvSpPr/>
            <p:nvPr userDrawn="1"/>
          </p:nvSpPr>
          <p:spPr bwMode="gray">
            <a:xfrm>
              <a:off x="665406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3" name="Rechteck 752">
              <a:extLst>
                <a:ext uri="{FF2B5EF4-FFF2-40B4-BE49-F238E27FC236}">
                  <a16:creationId xmlns:a16="http://schemas.microsoft.com/office/drawing/2014/main" id="{C0574C60-1494-FA6B-53F7-51C635A0A576}"/>
                </a:ext>
              </a:extLst>
            </p:cNvPr>
            <p:cNvSpPr/>
            <p:nvPr userDrawn="1"/>
          </p:nvSpPr>
          <p:spPr bwMode="gray">
            <a:xfrm>
              <a:off x="607800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4" name="Rechteck 753">
              <a:extLst>
                <a:ext uri="{FF2B5EF4-FFF2-40B4-BE49-F238E27FC236}">
                  <a16:creationId xmlns:a16="http://schemas.microsoft.com/office/drawing/2014/main" id="{05E2885A-250B-CE2F-2DAE-7C5738D890D9}"/>
                </a:ext>
              </a:extLst>
            </p:cNvPr>
            <p:cNvSpPr/>
            <p:nvPr userDrawn="1"/>
          </p:nvSpPr>
          <p:spPr bwMode="gray">
            <a:xfrm>
              <a:off x="550193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5" name="Rechteck 754">
              <a:extLst>
                <a:ext uri="{FF2B5EF4-FFF2-40B4-BE49-F238E27FC236}">
                  <a16:creationId xmlns:a16="http://schemas.microsoft.com/office/drawing/2014/main" id="{ECC77B60-BC67-14DB-C90C-ECDDF348D49D}"/>
                </a:ext>
              </a:extLst>
            </p:cNvPr>
            <p:cNvSpPr/>
            <p:nvPr userDrawn="1"/>
          </p:nvSpPr>
          <p:spPr bwMode="gray">
            <a:xfrm>
              <a:off x="492587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6" name="Rechteck 755">
              <a:extLst>
                <a:ext uri="{FF2B5EF4-FFF2-40B4-BE49-F238E27FC236}">
                  <a16:creationId xmlns:a16="http://schemas.microsoft.com/office/drawing/2014/main" id="{3041A581-9372-B53D-0E8F-A6318632E29B}"/>
                </a:ext>
              </a:extLst>
            </p:cNvPr>
            <p:cNvSpPr/>
            <p:nvPr userDrawn="1"/>
          </p:nvSpPr>
          <p:spPr bwMode="gray">
            <a:xfrm>
              <a:off x="434980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7" name="Rechteck 756">
              <a:extLst>
                <a:ext uri="{FF2B5EF4-FFF2-40B4-BE49-F238E27FC236}">
                  <a16:creationId xmlns:a16="http://schemas.microsoft.com/office/drawing/2014/main" id="{222E0576-67D2-9766-ECA7-062AA1088EFB}"/>
                </a:ext>
              </a:extLst>
            </p:cNvPr>
            <p:cNvSpPr/>
            <p:nvPr userDrawn="1"/>
          </p:nvSpPr>
          <p:spPr bwMode="gray">
            <a:xfrm>
              <a:off x="377374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8" name="Rechteck 757">
              <a:extLst>
                <a:ext uri="{FF2B5EF4-FFF2-40B4-BE49-F238E27FC236}">
                  <a16:creationId xmlns:a16="http://schemas.microsoft.com/office/drawing/2014/main" id="{85772A9B-EC7E-5C9E-F3C4-BF8FB704FA2B}"/>
                </a:ext>
              </a:extLst>
            </p:cNvPr>
            <p:cNvSpPr/>
            <p:nvPr userDrawn="1"/>
          </p:nvSpPr>
          <p:spPr bwMode="gray">
            <a:xfrm>
              <a:off x="319768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9" name="Rechteck 758">
              <a:extLst>
                <a:ext uri="{FF2B5EF4-FFF2-40B4-BE49-F238E27FC236}">
                  <a16:creationId xmlns:a16="http://schemas.microsoft.com/office/drawing/2014/main" id="{72897824-6517-D331-FF29-D2AD474A3602}"/>
                </a:ext>
              </a:extLst>
            </p:cNvPr>
            <p:cNvSpPr/>
            <p:nvPr userDrawn="1"/>
          </p:nvSpPr>
          <p:spPr bwMode="gray">
            <a:xfrm>
              <a:off x="262161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0" name="Rechteck 759">
              <a:extLst>
                <a:ext uri="{FF2B5EF4-FFF2-40B4-BE49-F238E27FC236}">
                  <a16:creationId xmlns:a16="http://schemas.microsoft.com/office/drawing/2014/main" id="{BC42FBFA-3220-7353-9EBC-A128BB083A79}"/>
                </a:ext>
              </a:extLst>
            </p:cNvPr>
            <p:cNvSpPr/>
            <p:nvPr userDrawn="1"/>
          </p:nvSpPr>
          <p:spPr bwMode="gray">
            <a:xfrm>
              <a:off x="204555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1" name="Rechteck 760">
              <a:extLst>
                <a:ext uri="{FF2B5EF4-FFF2-40B4-BE49-F238E27FC236}">
                  <a16:creationId xmlns:a16="http://schemas.microsoft.com/office/drawing/2014/main" id="{C38B8F7C-9ADF-3B48-77C7-C661088702C6}"/>
                </a:ext>
              </a:extLst>
            </p:cNvPr>
            <p:cNvSpPr/>
            <p:nvPr userDrawn="1"/>
          </p:nvSpPr>
          <p:spPr bwMode="gray">
            <a:xfrm>
              <a:off x="146948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2" name="Rechteck 761">
              <a:extLst>
                <a:ext uri="{FF2B5EF4-FFF2-40B4-BE49-F238E27FC236}">
                  <a16:creationId xmlns:a16="http://schemas.microsoft.com/office/drawing/2014/main" id="{90DCF8A2-8B60-9FE5-F643-4A0813ABE85D}"/>
                </a:ext>
              </a:extLst>
            </p:cNvPr>
            <p:cNvSpPr/>
            <p:nvPr userDrawn="1"/>
          </p:nvSpPr>
          <p:spPr bwMode="gray">
            <a:xfrm>
              <a:off x="89342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3" name="Rechteck 762">
              <a:extLst>
                <a:ext uri="{FF2B5EF4-FFF2-40B4-BE49-F238E27FC236}">
                  <a16:creationId xmlns:a16="http://schemas.microsoft.com/office/drawing/2014/main" id="{5A5EA978-0203-DFB4-86F3-EDC3C0669709}"/>
                </a:ext>
              </a:extLst>
            </p:cNvPr>
            <p:cNvSpPr/>
            <p:nvPr userDrawn="1"/>
          </p:nvSpPr>
          <p:spPr bwMode="gray">
            <a:xfrm>
              <a:off x="31736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4" name="Rechteck 763">
              <a:extLst>
                <a:ext uri="{FF2B5EF4-FFF2-40B4-BE49-F238E27FC236}">
                  <a16:creationId xmlns:a16="http://schemas.microsoft.com/office/drawing/2014/main" id="{38793406-88A8-292A-88CB-ED9FE38AFE8F}"/>
                </a:ext>
              </a:extLst>
            </p:cNvPr>
            <p:cNvSpPr/>
            <p:nvPr userDrawn="1"/>
          </p:nvSpPr>
          <p:spPr bwMode="gray">
            <a:xfrm>
              <a:off x="1183864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5" name="Rechteck 764">
              <a:extLst>
                <a:ext uri="{FF2B5EF4-FFF2-40B4-BE49-F238E27FC236}">
                  <a16:creationId xmlns:a16="http://schemas.microsoft.com/office/drawing/2014/main" id="{E7EE255C-A013-B04D-097C-7CCD8036953D}"/>
                </a:ext>
              </a:extLst>
            </p:cNvPr>
            <p:cNvSpPr/>
            <p:nvPr userDrawn="1"/>
          </p:nvSpPr>
          <p:spPr bwMode="gray">
            <a:xfrm>
              <a:off x="1183864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6" name="Rechteck 765">
              <a:extLst>
                <a:ext uri="{FF2B5EF4-FFF2-40B4-BE49-F238E27FC236}">
                  <a16:creationId xmlns:a16="http://schemas.microsoft.com/office/drawing/2014/main" id="{876BFE06-DFB4-68CE-F247-3623219DA150}"/>
                </a:ext>
              </a:extLst>
            </p:cNvPr>
            <p:cNvSpPr/>
            <p:nvPr userDrawn="1"/>
          </p:nvSpPr>
          <p:spPr bwMode="gray">
            <a:xfrm>
              <a:off x="1183864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7" name="Rechteck 766">
              <a:extLst>
                <a:ext uri="{FF2B5EF4-FFF2-40B4-BE49-F238E27FC236}">
                  <a16:creationId xmlns:a16="http://schemas.microsoft.com/office/drawing/2014/main" id="{268A98C3-A89F-24AE-D42B-583C730A76C4}"/>
                </a:ext>
              </a:extLst>
            </p:cNvPr>
            <p:cNvSpPr/>
            <p:nvPr userDrawn="1"/>
          </p:nvSpPr>
          <p:spPr bwMode="gray">
            <a:xfrm>
              <a:off x="1183864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8" name="Rechteck 767">
              <a:extLst>
                <a:ext uri="{FF2B5EF4-FFF2-40B4-BE49-F238E27FC236}">
                  <a16:creationId xmlns:a16="http://schemas.microsoft.com/office/drawing/2014/main" id="{7B1A7CFA-F841-FC48-E5A0-F3AEA90FAC3A}"/>
                </a:ext>
              </a:extLst>
            </p:cNvPr>
            <p:cNvSpPr/>
            <p:nvPr userDrawn="1"/>
          </p:nvSpPr>
          <p:spPr bwMode="gray">
            <a:xfrm>
              <a:off x="1183864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9" name="Rechteck 768">
              <a:extLst>
                <a:ext uri="{FF2B5EF4-FFF2-40B4-BE49-F238E27FC236}">
                  <a16:creationId xmlns:a16="http://schemas.microsoft.com/office/drawing/2014/main" id="{CB92B09A-8A1B-DCCB-813B-A8CF8E96CFE4}"/>
                </a:ext>
              </a:extLst>
            </p:cNvPr>
            <p:cNvSpPr/>
            <p:nvPr userDrawn="1"/>
          </p:nvSpPr>
          <p:spPr bwMode="gray">
            <a:xfrm>
              <a:off x="1183864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0" name="Rechteck 769">
              <a:extLst>
                <a:ext uri="{FF2B5EF4-FFF2-40B4-BE49-F238E27FC236}">
                  <a16:creationId xmlns:a16="http://schemas.microsoft.com/office/drawing/2014/main" id="{9DE17890-FAE1-486F-D0CC-29B0839AC837}"/>
                </a:ext>
              </a:extLst>
            </p:cNvPr>
            <p:cNvSpPr/>
            <p:nvPr userDrawn="1"/>
          </p:nvSpPr>
          <p:spPr bwMode="gray">
            <a:xfrm>
              <a:off x="1183864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1" name="Rechteck 770">
              <a:extLst>
                <a:ext uri="{FF2B5EF4-FFF2-40B4-BE49-F238E27FC236}">
                  <a16:creationId xmlns:a16="http://schemas.microsoft.com/office/drawing/2014/main" id="{7B511644-F318-DF94-4452-811C07F7C506}"/>
                </a:ext>
              </a:extLst>
            </p:cNvPr>
            <p:cNvSpPr/>
            <p:nvPr userDrawn="1"/>
          </p:nvSpPr>
          <p:spPr bwMode="gray">
            <a:xfrm>
              <a:off x="1183864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2" name="Rechteck 771">
              <a:extLst>
                <a:ext uri="{FF2B5EF4-FFF2-40B4-BE49-F238E27FC236}">
                  <a16:creationId xmlns:a16="http://schemas.microsoft.com/office/drawing/2014/main" id="{10ECF239-422F-6B9F-1050-1B4D0F5C504D}"/>
                </a:ext>
              </a:extLst>
            </p:cNvPr>
            <p:cNvSpPr/>
            <p:nvPr userDrawn="1"/>
          </p:nvSpPr>
          <p:spPr bwMode="gray">
            <a:xfrm>
              <a:off x="1183864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grpSp>
      <p:sp>
        <p:nvSpPr>
          <p:cNvPr id="270" name="Subtitle">
            <a:extLst>
              <a:ext uri="{FF2B5EF4-FFF2-40B4-BE49-F238E27FC236}">
                <a16:creationId xmlns:a16="http://schemas.microsoft.com/office/drawing/2014/main" id="{5DAA3EBD-B768-872B-90F6-2AC1D1A8C782}"/>
              </a:ext>
            </a:extLst>
          </p:cNvPr>
          <p:cNvSpPr>
            <a:spLocks noGrp="1"/>
          </p:cNvSpPr>
          <p:nvPr>
            <p:ph type="subTitle" idx="13" hasCustomPrompt="1"/>
          </p:nvPr>
        </p:nvSpPr>
        <p:spPr bwMode="gray">
          <a:xfrm>
            <a:off x="695401" y="3140968"/>
            <a:ext cx="5544000" cy="720080"/>
          </a:xfrm>
          <a:prstGeom prst="rect">
            <a:avLst/>
          </a:prstGeom>
          <a:solidFill>
            <a:schemeClr val="bg1"/>
          </a:solidFill>
          <a:ln w="127">
            <a:solidFill>
              <a:schemeClr val="bg1"/>
            </a:solidFill>
          </a:ln>
        </p:spPr>
        <p:txBody>
          <a:bodyPr wrap="none" lIns="216000" tIns="0" rIns="216000" anchor="b"/>
          <a:lstStyle>
            <a:lvl1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1pPr>
            <a:lvl2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2pPr>
            <a:lvl3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3pPr>
            <a:lvl4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4pPr>
            <a:lvl5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5pPr>
            <a:lvl6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6pPr>
            <a:lvl7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7pPr>
            <a:lvl8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8pPr>
            <a:lvl9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9pPr>
          </a:lstStyle>
          <a:p>
            <a:pPr lvl="0"/>
            <a:r>
              <a:rPr lang="en-GB" dirty="0"/>
              <a:t>gfk.com</a:t>
            </a:r>
          </a:p>
        </p:txBody>
      </p:sp>
      <p:pic>
        <p:nvPicPr>
          <p:cNvPr id="272" name="Logo">
            <a:extLst>
              <a:ext uri="{FF2B5EF4-FFF2-40B4-BE49-F238E27FC236}">
                <a16:creationId xmlns:a16="http://schemas.microsoft.com/office/drawing/2014/main" id="{C7A89EE6-02A6-14EB-6844-AAAD46669879}"/>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bwMode="gray">
          <a:xfrm>
            <a:off x="10128448" y="335757"/>
            <a:ext cx="1358180" cy="576000"/>
          </a:xfrm>
          <a:prstGeom prst="rect">
            <a:avLst/>
          </a:prstGeom>
        </p:spPr>
      </p:pic>
      <p:cxnSp>
        <p:nvCxnSpPr>
          <p:cNvPr id="198" name="Line">
            <a:extLst>
              <a:ext uri="{FF2B5EF4-FFF2-40B4-BE49-F238E27FC236}">
                <a16:creationId xmlns:a16="http://schemas.microsoft.com/office/drawing/2014/main" id="{6E7F8EF2-CCB2-44AC-5B44-DA463638504E}"/>
              </a:ext>
              <a:ext uri="{C183D7F6-B498-43B3-948B-1728B52AA6E4}">
                <adec:decorative xmlns:adec="http://schemas.microsoft.com/office/drawing/2017/decorative" val="1"/>
              </a:ext>
            </a:extLst>
          </p:cNvPr>
          <p:cNvCxnSpPr>
            <a:cxnSpLocks/>
          </p:cNvCxnSpPr>
          <p:nvPr userDrawn="1"/>
        </p:nvCxnSpPr>
        <p:spPr bwMode="gray">
          <a:xfrm>
            <a:off x="911424" y="925959"/>
            <a:ext cx="2304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99" name="Title">
            <a:extLst>
              <a:ext uri="{FF2B5EF4-FFF2-40B4-BE49-F238E27FC236}">
                <a16:creationId xmlns:a16="http://schemas.microsoft.com/office/drawing/2014/main" id="{D1945D40-A672-2FF9-16AF-19EE6D9800B2}"/>
              </a:ext>
            </a:extLst>
          </p:cNvPr>
          <p:cNvSpPr>
            <a:spLocks noGrp="1"/>
          </p:cNvSpPr>
          <p:nvPr>
            <p:ph type="ctrTitle" hasCustomPrompt="1"/>
          </p:nvPr>
        </p:nvSpPr>
        <p:spPr bwMode="gray">
          <a:xfrm>
            <a:off x="695400" y="1927126"/>
            <a:ext cx="5688632" cy="1467149"/>
          </a:xfrm>
          <a:prstGeom prst="rect">
            <a:avLst/>
          </a:prstGeom>
          <a:solidFill>
            <a:schemeClr val="bg1"/>
          </a:solidFill>
          <a:ln w="127">
            <a:solidFill>
              <a:schemeClr val="bg1"/>
            </a:solidFill>
          </a:ln>
        </p:spPr>
        <p:txBody>
          <a:bodyPr vert="horz" wrap="square" lIns="216000" tIns="90000" rIns="216000" bIns="540000" anchor="t">
            <a:spAutoFit/>
          </a:bodyPr>
          <a:lstStyle>
            <a:lvl1pPr algn="l">
              <a:lnSpc>
                <a:spcPct val="90000"/>
              </a:lnSpc>
              <a:defRPr sz="3000" baseline="0"/>
            </a:lvl1pPr>
          </a:lstStyle>
          <a:p>
            <a:r>
              <a:rPr lang="en-GB" dirty="0"/>
              <a:t>[Thank You and </a:t>
            </a:r>
            <a:br>
              <a:rPr lang="en-GB" dirty="0"/>
            </a:br>
            <a:r>
              <a:rPr lang="en-GB" dirty="0"/>
              <a:t>Call to action]</a:t>
            </a:r>
          </a:p>
        </p:txBody>
      </p:sp>
    </p:spTree>
    <p:extLst>
      <p:ext uri="{BB962C8B-B14F-4D97-AF65-F5344CB8AC3E}">
        <p14:creationId xmlns:p14="http://schemas.microsoft.com/office/powerpoint/2010/main" val="88497172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End slide 3">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16F404C-814B-9DFE-56B3-0F1EBE462122}"/>
              </a:ext>
            </a:extLst>
          </p:cNvPr>
          <p:cNvGraphicFramePr>
            <a:graphicFrameLocks noChangeAspect="1"/>
          </p:cNvGraphicFramePr>
          <p:nvPr userDrawn="1">
            <p:custDataLst>
              <p:tags r:id="rId1"/>
            </p:custDataLst>
            <p:extLst>
              <p:ext uri="{D42A27DB-BD31-4B8C-83A1-F6EECF244321}">
                <p14:modId xmlns:p14="http://schemas.microsoft.com/office/powerpoint/2010/main" val="3603404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3" name="Objekt 2" hidden="1">
                        <a:extLst>
                          <a:ext uri="{FF2B5EF4-FFF2-40B4-BE49-F238E27FC236}">
                            <a16:creationId xmlns:a16="http://schemas.microsoft.com/office/drawing/2014/main" id="{A16F404C-814B-9DFE-56B3-0F1EBE4621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97" name="Gruppieren 796">
            <a:extLst>
              <a:ext uri="{FF2B5EF4-FFF2-40B4-BE49-F238E27FC236}">
                <a16:creationId xmlns:a16="http://schemas.microsoft.com/office/drawing/2014/main" id="{18E31C36-CDD2-04B3-CA5F-649AC3A56DC5}"/>
              </a:ext>
            </a:extLst>
          </p:cNvPr>
          <p:cNvGrpSpPr/>
          <p:nvPr userDrawn="1"/>
        </p:nvGrpSpPr>
        <p:grpSpPr>
          <a:xfrm>
            <a:off x="317360" y="1484784"/>
            <a:ext cx="11539280" cy="4626512"/>
            <a:chOff x="317360" y="1484784"/>
            <a:chExt cx="11539280" cy="4626512"/>
          </a:xfrm>
        </p:grpSpPr>
        <p:sp>
          <p:nvSpPr>
            <p:cNvPr id="798" name="Rechteck 797">
              <a:extLst>
                <a:ext uri="{FF2B5EF4-FFF2-40B4-BE49-F238E27FC236}">
                  <a16:creationId xmlns:a16="http://schemas.microsoft.com/office/drawing/2014/main" id="{CB4A7FB3-5111-1A48-5AF1-6BE39D15CA2B}"/>
                </a:ext>
              </a:extLst>
            </p:cNvPr>
            <p:cNvSpPr/>
            <p:nvPr userDrawn="1"/>
          </p:nvSpPr>
          <p:spPr bwMode="gray">
            <a:xfrm>
              <a:off x="1126257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99" name="Rechteck 798">
              <a:extLst>
                <a:ext uri="{FF2B5EF4-FFF2-40B4-BE49-F238E27FC236}">
                  <a16:creationId xmlns:a16="http://schemas.microsoft.com/office/drawing/2014/main" id="{666D1A6D-65CD-7D70-DF9F-97FD859E0DA1}"/>
                </a:ext>
              </a:extLst>
            </p:cNvPr>
            <p:cNvSpPr/>
            <p:nvPr userDrawn="1"/>
          </p:nvSpPr>
          <p:spPr bwMode="gray">
            <a:xfrm>
              <a:off x="1068651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00" name="Rechteck 799">
              <a:extLst>
                <a:ext uri="{FF2B5EF4-FFF2-40B4-BE49-F238E27FC236}">
                  <a16:creationId xmlns:a16="http://schemas.microsoft.com/office/drawing/2014/main" id="{9685C7C9-603F-5904-45D7-A181824A45C6}"/>
                </a:ext>
              </a:extLst>
            </p:cNvPr>
            <p:cNvSpPr/>
            <p:nvPr userDrawn="1"/>
          </p:nvSpPr>
          <p:spPr bwMode="gray">
            <a:xfrm>
              <a:off x="1011044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01" name="Rechteck 800">
              <a:extLst>
                <a:ext uri="{FF2B5EF4-FFF2-40B4-BE49-F238E27FC236}">
                  <a16:creationId xmlns:a16="http://schemas.microsoft.com/office/drawing/2014/main" id="{5598A012-32ED-4379-9B47-88AA76606F94}"/>
                </a:ext>
              </a:extLst>
            </p:cNvPr>
            <p:cNvSpPr/>
            <p:nvPr userDrawn="1"/>
          </p:nvSpPr>
          <p:spPr bwMode="gray">
            <a:xfrm>
              <a:off x="953438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02" name="Rechteck 801">
              <a:extLst>
                <a:ext uri="{FF2B5EF4-FFF2-40B4-BE49-F238E27FC236}">
                  <a16:creationId xmlns:a16="http://schemas.microsoft.com/office/drawing/2014/main" id="{FC78B432-3B3F-FEFD-7968-4696FEB161AB}"/>
                </a:ext>
              </a:extLst>
            </p:cNvPr>
            <p:cNvSpPr/>
            <p:nvPr userDrawn="1"/>
          </p:nvSpPr>
          <p:spPr bwMode="gray">
            <a:xfrm>
              <a:off x="895832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03" name="Rechteck 802">
              <a:extLst>
                <a:ext uri="{FF2B5EF4-FFF2-40B4-BE49-F238E27FC236}">
                  <a16:creationId xmlns:a16="http://schemas.microsoft.com/office/drawing/2014/main" id="{AC213284-29C0-8F3A-7210-CE2CFAC44DE3}"/>
                </a:ext>
              </a:extLst>
            </p:cNvPr>
            <p:cNvSpPr/>
            <p:nvPr userDrawn="1"/>
          </p:nvSpPr>
          <p:spPr bwMode="gray">
            <a:xfrm>
              <a:off x="838225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04" name="Rechteck 803">
              <a:extLst>
                <a:ext uri="{FF2B5EF4-FFF2-40B4-BE49-F238E27FC236}">
                  <a16:creationId xmlns:a16="http://schemas.microsoft.com/office/drawing/2014/main" id="{90696E2C-A49D-A610-A93F-72FE2AF1861C}"/>
                </a:ext>
              </a:extLst>
            </p:cNvPr>
            <p:cNvSpPr/>
            <p:nvPr userDrawn="1"/>
          </p:nvSpPr>
          <p:spPr bwMode="gray">
            <a:xfrm>
              <a:off x="780619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05" name="Rechteck 804">
              <a:extLst>
                <a:ext uri="{FF2B5EF4-FFF2-40B4-BE49-F238E27FC236}">
                  <a16:creationId xmlns:a16="http://schemas.microsoft.com/office/drawing/2014/main" id="{94AA6C07-01D5-59A6-4F37-5B80D3546C6B}"/>
                </a:ext>
              </a:extLst>
            </p:cNvPr>
            <p:cNvSpPr/>
            <p:nvPr userDrawn="1"/>
          </p:nvSpPr>
          <p:spPr bwMode="gray">
            <a:xfrm>
              <a:off x="723012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06" name="Rechteck 805">
              <a:extLst>
                <a:ext uri="{FF2B5EF4-FFF2-40B4-BE49-F238E27FC236}">
                  <a16:creationId xmlns:a16="http://schemas.microsoft.com/office/drawing/2014/main" id="{1D1311CC-0420-622E-22C0-B7DA1BB72762}"/>
                </a:ext>
              </a:extLst>
            </p:cNvPr>
            <p:cNvSpPr/>
            <p:nvPr userDrawn="1"/>
          </p:nvSpPr>
          <p:spPr bwMode="gray">
            <a:xfrm>
              <a:off x="665406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07" name="Rechteck 806">
              <a:extLst>
                <a:ext uri="{FF2B5EF4-FFF2-40B4-BE49-F238E27FC236}">
                  <a16:creationId xmlns:a16="http://schemas.microsoft.com/office/drawing/2014/main" id="{EEEC364C-7BC2-A55C-92AF-2AC0B7BE0159}"/>
                </a:ext>
              </a:extLst>
            </p:cNvPr>
            <p:cNvSpPr/>
            <p:nvPr userDrawn="1"/>
          </p:nvSpPr>
          <p:spPr bwMode="gray">
            <a:xfrm>
              <a:off x="607800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08" name="Rechteck 807">
              <a:extLst>
                <a:ext uri="{FF2B5EF4-FFF2-40B4-BE49-F238E27FC236}">
                  <a16:creationId xmlns:a16="http://schemas.microsoft.com/office/drawing/2014/main" id="{4FBB09A5-FFB7-ADB9-774D-85C4AFE596A8}"/>
                </a:ext>
              </a:extLst>
            </p:cNvPr>
            <p:cNvSpPr/>
            <p:nvPr userDrawn="1"/>
          </p:nvSpPr>
          <p:spPr bwMode="gray">
            <a:xfrm>
              <a:off x="550193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09" name="Rechteck 808">
              <a:extLst>
                <a:ext uri="{FF2B5EF4-FFF2-40B4-BE49-F238E27FC236}">
                  <a16:creationId xmlns:a16="http://schemas.microsoft.com/office/drawing/2014/main" id="{2CD8D199-2A6B-1F56-5CDC-B2BC7D639051}"/>
                </a:ext>
              </a:extLst>
            </p:cNvPr>
            <p:cNvSpPr/>
            <p:nvPr userDrawn="1"/>
          </p:nvSpPr>
          <p:spPr bwMode="gray">
            <a:xfrm>
              <a:off x="492587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10" name="Rechteck 809">
              <a:extLst>
                <a:ext uri="{FF2B5EF4-FFF2-40B4-BE49-F238E27FC236}">
                  <a16:creationId xmlns:a16="http://schemas.microsoft.com/office/drawing/2014/main" id="{42CB796F-6164-2B56-C164-60BFDC755DBD}"/>
                </a:ext>
              </a:extLst>
            </p:cNvPr>
            <p:cNvSpPr/>
            <p:nvPr userDrawn="1"/>
          </p:nvSpPr>
          <p:spPr bwMode="gray">
            <a:xfrm>
              <a:off x="434980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11" name="Rechteck 810">
              <a:extLst>
                <a:ext uri="{FF2B5EF4-FFF2-40B4-BE49-F238E27FC236}">
                  <a16:creationId xmlns:a16="http://schemas.microsoft.com/office/drawing/2014/main" id="{C458E90F-DECF-CD03-6CD6-68C8C04EE7E4}"/>
                </a:ext>
              </a:extLst>
            </p:cNvPr>
            <p:cNvSpPr/>
            <p:nvPr userDrawn="1"/>
          </p:nvSpPr>
          <p:spPr bwMode="gray">
            <a:xfrm>
              <a:off x="377374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12" name="Rechteck 811">
              <a:extLst>
                <a:ext uri="{FF2B5EF4-FFF2-40B4-BE49-F238E27FC236}">
                  <a16:creationId xmlns:a16="http://schemas.microsoft.com/office/drawing/2014/main" id="{9DA7D94C-050C-34A0-3025-5FA0600265C9}"/>
                </a:ext>
              </a:extLst>
            </p:cNvPr>
            <p:cNvSpPr/>
            <p:nvPr userDrawn="1"/>
          </p:nvSpPr>
          <p:spPr bwMode="gray">
            <a:xfrm>
              <a:off x="319768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13" name="Rechteck 812">
              <a:extLst>
                <a:ext uri="{FF2B5EF4-FFF2-40B4-BE49-F238E27FC236}">
                  <a16:creationId xmlns:a16="http://schemas.microsoft.com/office/drawing/2014/main" id="{287D988C-85BF-6B48-9AE5-787A1918A92F}"/>
                </a:ext>
              </a:extLst>
            </p:cNvPr>
            <p:cNvSpPr/>
            <p:nvPr userDrawn="1"/>
          </p:nvSpPr>
          <p:spPr bwMode="gray">
            <a:xfrm>
              <a:off x="262161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14" name="Rechteck 813">
              <a:extLst>
                <a:ext uri="{FF2B5EF4-FFF2-40B4-BE49-F238E27FC236}">
                  <a16:creationId xmlns:a16="http://schemas.microsoft.com/office/drawing/2014/main" id="{56EAA463-96F6-4AEB-9590-FAC72A9FF3E4}"/>
                </a:ext>
              </a:extLst>
            </p:cNvPr>
            <p:cNvSpPr/>
            <p:nvPr userDrawn="1"/>
          </p:nvSpPr>
          <p:spPr bwMode="gray">
            <a:xfrm>
              <a:off x="204555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15" name="Rechteck 814">
              <a:extLst>
                <a:ext uri="{FF2B5EF4-FFF2-40B4-BE49-F238E27FC236}">
                  <a16:creationId xmlns:a16="http://schemas.microsoft.com/office/drawing/2014/main" id="{DAAFD3F3-E60D-BD60-BAE7-2C9F39840322}"/>
                </a:ext>
              </a:extLst>
            </p:cNvPr>
            <p:cNvSpPr/>
            <p:nvPr userDrawn="1"/>
          </p:nvSpPr>
          <p:spPr bwMode="gray">
            <a:xfrm>
              <a:off x="146948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16" name="Rechteck 815">
              <a:extLst>
                <a:ext uri="{FF2B5EF4-FFF2-40B4-BE49-F238E27FC236}">
                  <a16:creationId xmlns:a16="http://schemas.microsoft.com/office/drawing/2014/main" id="{7469B639-5654-B4B2-301C-B2A195990AC2}"/>
                </a:ext>
              </a:extLst>
            </p:cNvPr>
            <p:cNvSpPr/>
            <p:nvPr userDrawn="1"/>
          </p:nvSpPr>
          <p:spPr bwMode="gray">
            <a:xfrm>
              <a:off x="89342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17" name="Rechteck 816">
              <a:extLst>
                <a:ext uri="{FF2B5EF4-FFF2-40B4-BE49-F238E27FC236}">
                  <a16:creationId xmlns:a16="http://schemas.microsoft.com/office/drawing/2014/main" id="{0B235F84-F13F-7026-A7B2-EE803E6343B8}"/>
                </a:ext>
              </a:extLst>
            </p:cNvPr>
            <p:cNvSpPr/>
            <p:nvPr userDrawn="1"/>
          </p:nvSpPr>
          <p:spPr bwMode="gray">
            <a:xfrm>
              <a:off x="31736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18" name="Rechteck 817">
              <a:extLst>
                <a:ext uri="{FF2B5EF4-FFF2-40B4-BE49-F238E27FC236}">
                  <a16:creationId xmlns:a16="http://schemas.microsoft.com/office/drawing/2014/main" id="{F08BD829-0469-7A1D-ED41-DFED8CC3C214}"/>
                </a:ext>
              </a:extLst>
            </p:cNvPr>
            <p:cNvSpPr/>
            <p:nvPr userDrawn="1"/>
          </p:nvSpPr>
          <p:spPr bwMode="gray">
            <a:xfrm>
              <a:off x="1126257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19" name="Rechteck 818">
              <a:extLst>
                <a:ext uri="{FF2B5EF4-FFF2-40B4-BE49-F238E27FC236}">
                  <a16:creationId xmlns:a16="http://schemas.microsoft.com/office/drawing/2014/main" id="{2F6AC070-0D04-DFE9-8A90-C9C3D11CD41B}"/>
                </a:ext>
              </a:extLst>
            </p:cNvPr>
            <p:cNvSpPr/>
            <p:nvPr userDrawn="1"/>
          </p:nvSpPr>
          <p:spPr bwMode="gray">
            <a:xfrm>
              <a:off x="1068651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20" name="Rechteck 819">
              <a:extLst>
                <a:ext uri="{FF2B5EF4-FFF2-40B4-BE49-F238E27FC236}">
                  <a16:creationId xmlns:a16="http://schemas.microsoft.com/office/drawing/2014/main" id="{6732A629-6BEA-1E17-80F0-97C9313244A2}"/>
                </a:ext>
              </a:extLst>
            </p:cNvPr>
            <p:cNvSpPr/>
            <p:nvPr userDrawn="1"/>
          </p:nvSpPr>
          <p:spPr bwMode="gray">
            <a:xfrm>
              <a:off x="1011044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21" name="Rechteck 820">
              <a:extLst>
                <a:ext uri="{FF2B5EF4-FFF2-40B4-BE49-F238E27FC236}">
                  <a16:creationId xmlns:a16="http://schemas.microsoft.com/office/drawing/2014/main" id="{D5411F75-F711-4872-0630-38E610D71EC8}"/>
                </a:ext>
              </a:extLst>
            </p:cNvPr>
            <p:cNvSpPr/>
            <p:nvPr userDrawn="1"/>
          </p:nvSpPr>
          <p:spPr bwMode="gray">
            <a:xfrm>
              <a:off x="953438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22" name="Rechteck 821">
              <a:extLst>
                <a:ext uri="{FF2B5EF4-FFF2-40B4-BE49-F238E27FC236}">
                  <a16:creationId xmlns:a16="http://schemas.microsoft.com/office/drawing/2014/main" id="{ABFFBA6C-BB33-2333-AEFF-DEA77F22D413}"/>
                </a:ext>
              </a:extLst>
            </p:cNvPr>
            <p:cNvSpPr/>
            <p:nvPr userDrawn="1"/>
          </p:nvSpPr>
          <p:spPr bwMode="gray">
            <a:xfrm>
              <a:off x="895832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23" name="Rechteck 822">
              <a:extLst>
                <a:ext uri="{FF2B5EF4-FFF2-40B4-BE49-F238E27FC236}">
                  <a16:creationId xmlns:a16="http://schemas.microsoft.com/office/drawing/2014/main" id="{DA7B8043-F122-02EE-9727-11A2C62F866B}"/>
                </a:ext>
              </a:extLst>
            </p:cNvPr>
            <p:cNvSpPr/>
            <p:nvPr userDrawn="1"/>
          </p:nvSpPr>
          <p:spPr bwMode="gray">
            <a:xfrm>
              <a:off x="838225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24" name="Rechteck 823">
              <a:extLst>
                <a:ext uri="{FF2B5EF4-FFF2-40B4-BE49-F238E27FC236}">
                  <a16:creationId xmlns:a16="http://schemas.microsoft.com/office/drawing/2014/main" id="{5C3B3919-CA17-A20B-ADC1-88CF5071535F}"/>
                </a:ext>
              </a:extLst>
            </p:cNvPr>
            <p:cNvSpPr/>
            <p:nvPr userDrawn="1"/>
          </p:nvSpPr>
          <p:spPr bwMode="gray">
            <a:xfrm>
              <a:off x="780619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25" name="Rechteck 824">
              <a:extLst>
                <a:ext uri="{FF2B5EF4-FFF2-40B4-BE49-F238E27FC236}">
                  <a16:creationId xmlns:a16="http://schemas.microsoft.com/office/drawing/2014/main" id="{FCE00C98-A299-00C7-A705-522F0CCF6E3C}"/>
                </a:ext>
              </a:extLst>
            </p:cNvPr>
            <p:cNvSpPr/>
            <p:nvPr userDrawn="1"/>
          </p:nvSpPr>
          <p:spPr bwMode="gray">
            <a:xfrm>
              <a:off x="723012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26" name="Rechteck 825">
              <a:extLst>
                <a:ext uri="{FF2B5EF4-FFF2-40B4-BE49-F238E27FC236}">
                  <a16:creationId xmlns:a16="http://schemas.microsoft.com/office/drawing/2014/main" id="{B15237C3-CCC5-AB99-934D-D008E34FB577}"/>
                </a:ext>
              </a:extLst>
            </p:cNvPr>
            <p:cNvSpPr/>
            <p:nvPr userDrawn="1"/>
          </p:nvSpPr>
          <p:spPr bwMode="gray">
            <a:xfrm>
              <a:off x="665406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27" name="Rechteck 826">
              <a:extLst>
                <a:ext uri="{FF2B5EF4-FFF2-40B4-BE49-F238E27FC236}">
                  <a16:creationId xmlns:a16="http://schemas.microsoft.com/office/drawing/2014/main" id="{0FBE18D5-B92C-B5DE-8527-4AB6AAA58902}"/>
                </a:ext>
              </a:extLst>
            </p:cNvPr>
            <p:cNvSpPr/>
            <p:nvPr userDrawn="1"/>
          </p:nvSpPr>
          <p:spPr bwMode="gray">
            <a:xfrm>
              <a:off x="607800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28" name="Rechteck 827">
              <a:extLst>
                <a:ext uri="{FF2B5EF4-FFF2-40B4-BE49-F238E27FC236}">
                  <a16:creationId xmlns:a16="http://schemas.microsoft.com/office/drawing/2014/main" id="{B6A15BE1-8E92-71C4-0722-F91ADA3D08D1}"/>
                </a:ext>
              </a:extLst>
            </p:cNvPr>
            <p:cNvSpPr/>
            <p:nvPr userDrawn="1"/>
          </p:nvSpPr>
          <p:spPr bwMode="gray">
            <a:xfrm>
              <a:off x="550193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29" name="Rechteck 828">
              <a:extLst>
                <a:ext uri="{FF2B5EF4-FFF2-40B4-BE49-F238E27FC236}">
                  <a16:creationId xmlns:a16="http://schemas.microsoft.com/office/drawing/2014/main" id="{890880A8-B676-E9F5-30F2-AEF7319F82F6}"/>
                </a:ext>
              </a:extLst>
            </p:cNvPr>
            <p:cNvSpPr/>
            <p:nvPr userDrawn="1"/>
          </p:nvSpPr>
          <p:spPr bwMode="gray">
            <a:xfrm>
              <a:off x="492587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30" name="Rechteck 829">
              <a:extLst>
                <a:ext uri="{FF2B5EF4-FFF2-40B4-BE49-F238E27FC236}">
                  <a16:creationId xmlns:a16="http://schemas.microsoft.com/office/drawing/2014/main" id="{58B32076-7010-70AB-47DB-2A9E766D343B}"/>
                </a:ext>
              </a:extLst>
            </p:cNvPr>
            <p:cNvSpPr/>
            <p:nvPr userDrawn="1"/>
          </p:nvSpPr>
          <p:spPr bwMode="gray">
            <a:xfrm>
              <a:off x="434980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31" name="Rechteck 830">
              <a:extLst>
                <a:ext uri="{FF2B5EF4-FFF2-40B4-BE49-F238E27FC236}">
                  <a16:creationId xmlns:a16="http://schemas.microsoft.com/office/drawing/2014/main" id="{A7DEE6AA-3009-06D0-1AA5-C04105E892AD}"/>
                </a:ext>
              </a:extLst>
            </p:cNvPr>
            <p:cNvSpPr/>
            <p:nvPr userDrawn="1"/>
          </p:nvSpPr>
          <p:spPr bwMode="gray">
            <a:xfrm>
              <a:off x="377374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32" name="Rechteck 831">
              <a:extLst>
                <a:ext uri="{FF2B5EF4-FFF2-40B4-BE49-F238E27FC236}">
                  <a16:creationId xmlns:a16="http://schemas.microsoft.com/office/drawing/2014/main" id="{C89F7EB9-DD8A-B64C-EBFB-4AA3030E9C86}"/>
                </a:ext>
              </a:extLst>
            </p:cNvPr>
            <p:cNvSpPr/>
            <p:nvPr userDrawn="1"/>
          </p:nvSpPr>
          <p:spPr bwMode="gray">
            <a:xfrm>
              <a:off x="319768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33" name="Rechteck 832">
              <a:extLst>
                <a:ext uri="{FF2B5EF4-FFF2-40B4-BE49-F238E27FC236}">
                  <a16:creationId xmlns:a16="http://schemas.microsoft.com/office/drawing/2014/main" id="{7041C42E-9861-F095-9086-329339EFE1D0}"/>
                </a:ext>
              </a:extLst>
            </p:cNvPr>
            <p:cNvSpPr/>
            <p:nvPr userDrawn="1"/>
          </p:nvSpPr>
          <p:spPr bwMode="gray">
            <a:xfrm>
              <a:off x="262161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34" name="Rechteck 833">
              <a:extLst>
                <a:ext uri="{FF2B5EF4-FFF2-40B4-BE49-F238E27FC236}">
                  <a16:creationId xmlns:a16="http://schemas.microsoft.com/office/drawing/2014/main" id="{FBA90863-A969-674C-2542-AF6BE2C0585D}"/>
                </a:ext>
              </a:extLst>
            </p:cNvPr>
            <p:cNvSpPr/>
            <p:nvPr userDrawn="1"/>
          </p:nvSpPr>
          <p:spPr bwMode="gray">
            <a:xfrm>
              <a:off x="204555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35" name="Rechteck 834">
              <a:extLst>
                <a:ext uri="{FF2B5EF4-FFF2-40B4-BE49-F238E27FC236}">
                  <a16:creationId xmlns:a16="http://schemas.microsoft.com/office/drawing/2014/main" id="{BCF2B235-7843-9E9C-53AB-EA3DB7C70F8D}"/>
                </a:ext>
              </a:extLst>
            </p:cNvPr>
            <p:cNvSpPr/>
            <p:nvPr userDrawn="1"/>
          </p:nvSpPr>
          <p:spPr bwMode="gray">
            <a:xfrm>
              <a:off x="146948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36" name="Rechteck 835">
              <a:extLst>
                <a:ext uri="{FF2B5EF4-FFF2-40B4-BE49-F238E27FC236}">
                  <a16:creationId xmlns:a16="http://schemas.microsoft.com/office/drawing/2014/main" id="{7A4B2C44-ACB5-9C04-66B1-94CC48CC12DC}"/>
                </a:ext>
              </a:extLst>
            </p:cNvPr>
            <p:cNvSpPr/>
            <p:nvPr userDrawn="1"/>
          </p:nvSpPr>
          <p:spPr bwMode="gray">
            <a:xfrm>
              <a:off x="89342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37" name="Rechteck 836">
              <a:extLst>
                <a:ext uri="{FF2B5EF4-FFF2-40B4-BE49-F238E27FC236}">
                  <a16:creationId xmlns:a16="http://schemas.microsoft.com/office/drawing/2014/main" id="{5467E3D3-DAC6-D181-AE7B-5ADA622213B2}"/>
                </a:ext>
              </a:extLst>
            </p:cNvPr>
            <p:cNvSpPr/>
            <p:nvPr userDrawn="1"/>
          </p:nvSpPr>
          <p:spPr bwMode="gray">
            <a:xfrm>
              <a:off x="31736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38" name="Rechteck 837">
              <a:extLst>
                <a:ext uri="{FF2B5EF4-FFF2-40B4-BE49-F238E27FC236}">
                  <a16:creationId xmlns:a16="http://schemas.microsoft.com/office/drawing/2014/main" id="{0604A39C-78F8-C308-C447-9E2C0F0B637B}"/>
                </a:ext>
              </a:extLst>
            </p:cNvPr>
            <p:cNvSpPr/>
            <p:nvPr userDrawn="1"/>
          </p:nvSpPr>
          <p:spPr bwMode="gray">
            <a:xfrm>
              <a:off x="1126257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39" name="Rechteck 838">
              <a:extLst>
                <a:ext uri="{FF2B5EF4-FFF2-40B4-BE49-F238E27FC236}">
                  <a16:creationId xmlns:a16="http://schemas.microsoft.com/office/drawing/2014/main" id="{4D209CF4-A854-A84D-7325-9727CF781A84}"/>
                </a:ext>
              </a:extLst>
            </p:cNvPr>
            <p:cNvSpPr/>
            <p:nvPr userDrawn="1"/>
          </p:nvSpPr>
          <p:spPr bwMode="gray">
            <a:xfrm>
              <a:off x="1068651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40" name="Rechteck 839">
              <a:extLst>
                <a:ext uri="{FF2B5EF4-FFF2-40B4-BE49-F238E27FC236}">
                  <a16:creationId xmlns:a16="http://schemas.microsoft.com/office/drawing/2014/main" id="{FB72D9D8-0D73-8F9B-C137-030F08FE8078}"/>
                </a:ext>
              </a:extLst>
            </p:cNvPr>
            <p:cNvSpPr/>
            <p:nvPr userDrawn="1"/>
          </p:nvSpPr>
          <p:spPr bwMode="gray">
            <a:xfrm>
              <a:off x="1011044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41" name="Rechteck 840">
              <a:extLst>
                <a:ext uri="{FF2B5EF4-FFF2-40B4-BE49-F238E27FC236}">
                  <a16:creationId xmlns:a16="http://schemas.microsoft.com/office/drawing/2014/main" id="{4417E7F1-07F6-47D1-3105-91024A09678C}"/>
                </a:ext>
              </a:extLst>
            </p:cNvPr>
            <p:cNvSpPr/>
            <p:nvPr userDrawn="1"/>
          </p:nvSpPr>
          <p:spPr bwMode="gray">
            <a:xfrm>
              <a:off x="953438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42" name="Rechteck 841">
              <a:extLst>
                <a:ext uri="{FF2B5EF4-FFF2-40B4-BE49-F238E27FC236}">
                  <a16:creationId xmlns:a16="http://schemas.microsoft.com/office/drawing/2014/main" id="{ACB85D56-0C1A-E89C-5E2F-D8AFBA82FCE4}"/>
                </a:ext>
              </a:extLst>
            </p:cNvPr>
            <p:cNvSpPr/>
            <p:nvPr userDrawn="1"/>
          </p:nvSpPr>
          <p:spPr bwMode="gray">
            <a:xfrm>
              <a:off x="895832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43" name="Rechteck 842">
              <a:extLst>
                <a:ext uri="{FF2B5EF4-FFF2-40B4-BE49-F238E27FC236}">
                  <a16:creationId xmlns:a16="http://schemas.microsoft.com/office/drawing/2014/main" id="{0F6D8E6E-8F01-5828-6EB4-BC1A60679729}"/>
                </a:ext>
              </a:extLst>
            </p:cNvPr>
            <p:cNvSpPr/>
            <p:nvPr userDrawn="1"/>
          </p:nvSpPr>
          <p:spPr bwMode="gray">
            <a:xfrm>
              <a:off x="838225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44" name="Rechteck 843">
              <a:extLst>
                <a:ext uri="{FF2B5EF4-FFF2-40B4-BE49-F238E27FC236}">
                  <a16:creationId xmlns:a16="http://schemas.microsoft.com/office/drawing/2014/main" id="{39DC6C3E-45C0-021E-69B5-F2B00336EF0B}"/>
                </a:ext>
              </a:extLst>
            </p:cNvPr>
            <p:cNvSpPr/>
            <p:nvPr userDrawn="1"/>
          </p:nvSpPr>
          <p:spPr bwMode="gray">
            <a:xfrm>
              <a:off x="780619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45" name="Rechteck 844">
              <a:extLst>
                <a:ext uri="{FF2B5EF4-FFF2-40B4-BE49-F238E27FC236}">
                  <a16:creationId xmlns:a16="http://schemas.microsoft.com/office/drawing/2014/main" id="{6A195341-A24A-62BF-5B98-A7EC93E67287}"/>
                </a:ext>
              </a:extLst>
            </p:cNvPr>
            <p:cNvSpPr/>
            <p:nvPr userDrawn="1"/>
          </p:nvSpPr>
          <p:spPr bwMode="gray">
            <a:xfrm>
              <a:off x="723012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46" name="Rechteck 845">
              <a:extLst>
                <a:ext uri="{FF2B5EF4-FFF2-40B4-BE49-F238E27FC236}">
                  <a16:creationId xmlns:a16="http://schemas.microsoft.com/office/drawing/2014/main" id="{164FE846-3DD7-F692-6B45-AC76ED227EFE}"/>
                </a:ext>
              </a:extLst>
            </p:cNvPr>
            <p:cNvSpPr/>
            <p:nvPr userDrawn="1"/>
          </p:nvSpPr>
          <p:spPr bwMode="gray">
            <a:xfrm>
              <a:off x="665406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47" name="Rechteck 846">
              <a:extLst>
                <a:ext uri="{FF2B5EF4-FFF2-40B4-BE49-F238E27FC236}">
                  <a16:creationId xmlns:a16="http://schemas.microsoft.com/office/drawing/2014/main" id="{5F7CDF77-EEC4-F3FE-8840-D40958A93CAA}"/>
                </a:ext>
              </a:extLst>
            </p:cNvPr>
            <p:cNvSpPr/>
            <p:nvPr userDrawn="1"/>
          </p:nvSpPr>
          <p:spPr bwMode="gray">
            <a:xfrm>
              <a:off x="607800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48" name="Rechteck 847">
              <a:extLst>
                <a:ext uri="{FF2B5EF4-FFF2-40B4-BE49-F238E27FC236}">
                  <a16:creationId xmlns:a16="http://schemas.microsoft.com/office/drawing/2014/main" id="{A5054CBC-D618-628F-6C1D-2BF3265B7929}"/>
                </a:ext>
              </a:extLst>
            </p:cNvPr>
            <p:cNvSpPr/>
            <p:nvPr userDrawn="1"/>
          </p:nvSpPr>
          <p:spPr bwMode="gray">
            <a:xfrm>
              <a:off x="550193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49" name="Rechteck 848">
              <a:extLst>
                <a:ext uri="{FF2B5EF4-FFF2-40B4-BE49-F238E27FC236}">
                  <a16:creationId xmlns:a16="http://schemas.microsoft.com/office/drawing/2014/main" id="{52065B4D-5480-1DD6-FDFA-1F9C5D092838}"/>
                </a:ext>
              </a:extLst>
            </p:cNvPr>
            <p:cNvSpPr/>
            <p:nvPr userDrawn="1"/>
          </p:nvSpPr>
          <p:spPr bwMode="gray">
            <a:xfrm>
              <a:off x="492587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50" name="Rechteck 849">
              <a:extLst>
                <a:ext uri="{FF2B5EF4-FFF2-40B4-BE49-F238E27FC236}">
                  <a16:creationId xmlns:a16="http://schemas.microsoft.com/office/drawing/2014/main" id="{959EFBB6-C8BB-0A30-0028-5C95628A6588}"/>
                </a:ext>
              </a:extLst>
            </p:cNvPr>
            <p:cNvSpPr/>
            <p:nvPr userDrawn="1"/>
          </p:nvSpPr>
          <p:spPr bwMode="gray">
            <a:xfrm>
              <a:off x="434980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51" name="Rechteck 850">
              <a:extLst>
                <a:ext uri="{FF2B5EF4-FFF2-40B4-BE49-F238E27FC236}">
                  <a16:creationId xmlns:a16="http://schemas.microsoft.com/office/drawing/2014/main" id="{9B41C9F4-4504-3AEA-E62F-5AAF472FCC87}"/>
                </a:ext>
              </a:extLst>
            </p:cNvPr>
            <p:cNvSpPr/>
            <p:nvPr userDrawn="1"/>
          </p:nvSpPr>
          <p:spPr bwMode="gray">
            <a:xfrm>
              <a:off x="377374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52" name="Rechteck 851">
              <a:extLst>
                <a:ext uri="{FF2B5EF4-FFF2-40B4-BE49-F238E27FC236}">
                  <a16:creationId xmlns:a16="http://schemas.microsoft.com/office/drawing/2014/main" id="{2846F681-06FE-78C3-5BD1-DEDD99707D52}"/>
                </a:ext>
              </a:extLst>
            </p:cNvPr>
            <p:cNvSpPr/>
            <p:nvPr userDrawn="1"/>
          </p:nvSpPr>
          <p:spPr bwMode="gray">
            <a:xfrm>
              <a:off x="319768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53" name="Rechteck 852">
              <a:extLst>
                <a:ext uri="{FF2B5EF4-FFF2-40B4-BE49-F238E27FC236}">
                  <a16:creationId xmlns:a16="http://schemas.microsoft.com/office/drawing/2014/main" id="{A4F8D042-C9E1-3C50-4A42-7B8A21D9D0DA}"/>
                </a:ext>
              </a:extLst>
            </p:cNvPr>
            <p:cNvSpPr/>
            <p:nvPr userDrawn="1"/>
          </p:nvSpPr>
          <p:spPr bwMode="gray">
            <a:xfrm>
              <a:off x="262161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54" name="Rechteck 853">
              <a:extLst>
                <a:ext uri="{FF2B5EF4-FFF2-40B4-BE49-F238E27FC236}">
                  <a16:creationId xmlns:a16="http://schemas.microsoft.com/office/drawing/2014/main" id="{17628820-63E8-0C0B-1B52-87E7A798E2ED}"/>
                </a:ext>
              </a:extLst>
            </p:cNvPr>
            <p:cNvSpPr/>
            <p:nvPr userDrawn="1"/>
          </p:nvSpPr>
          <p:spPr bwMode="gray">
            <a:xfrm>
              <a:off x="204555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55" name="Rechteck 854">
              <a:extLst>
                <a:ext uri="{FF2B5EF4-FFF2-40B4-BE49-F238E27FC236}">
                  <a16:creationId xmlns:a16="http://schemas.microsoft.com/office/drawing/2014/main" id="{D4857A53-AA25-C5B5-C62E-D8EC5D00B5E9}"/>
                </a:ext>
              </a:extLst>
            </p:cNvPr>
            <p:cNvSpPr/>
            <p:nvPr userDrawn="1"/>
          </p:nvSpPr>
          <p:spPr bwMode="gray">
            <a:xfrm>
              <a:off x="146948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56" name="Rechteck 855">
              <a:extLst>
                <a:ext uri="{FF2B5EF4-FFF2-40B4-BE49-F238E27FC236}">
                  <a16:creationId xmlns:a16="http://schemas.microsoft.com/office/drawing/2014/main" id="{9554AE00-33D1-9901-74FD-C7C480A0C4BF}"/>
                </a:ext>
              </a:extLst>
            </p:cNvPr>
            <p:cNvSpPr/>
            <p:nvPr userDrawn="1"/>
          </p:nvSpPr>
          <p:spPr bwMode="gray">
            <a:xfrm>
              <a:off x="89342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57" name="Rechteck 856">
              <a:extLst>
                <a:ext uri="{FF2B5EF4-FFF2-40B4-BE49-F238E27FC236}">
                  <a16:creationId xmlns:a16="http://schemas.microsoft.com/office/drawing/2014/main" id="{E18A28BF-D90B-7FCC-097B-01A58B47BE5A}"/>
                </a:ext>
              </a:extLst>
            </p:cNvPr>
            <p:cNvSpPr/>
            <p:nvPr userDrawn="1"/>
          </p:nvSpPr>
          <p:spPr bwMode="gray">
            <a:xfrm>
              <a:off x="31736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58" name="Rechteck 857">
              <a:extLst>
                <a:ext uri="{FF2B5EF4-FFF2-40B4-BE49-F238E27FC236}">
                  <a16:creationId xmlns:a16="http://schemas.microsoft.com/office/drawing/2014/main" id="{9D1043CA-1347-B7C0-C608-0D37AE3798A5}"/>
                </a:ext>
              </a:extLst>
            </p:cNvPr>
            <p:cNvSpPr/>
            <p:nvPr userDrawn="1"/>
          </p:nvSpPr>
          <p:spPr bwMode="gray">
            <a:xfrm>
              <a:off x="1126257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59" name="Rechteck 858">
              <a:extLst>
                <a:ext uri="{FF2B5EF4-FFF2-40B4-BE49-F238E27FC236}">
                  <a16:creationId xmlns:a16="http://schemas.microsoft.com/office/drawing/2014/main" id="{6775D9CD-9541-1DB4-4500-EEAC84730A78}"/>
                </a:ext>
              </a:extLst>
            </p:cNvPr>
            <p:cNvSpPr/>
            <p:nvPr userDrawn="1"/>
          </p:nvSpPr>
          <p:spPr bwMode="gray">
            <a:xfrm>
              <a:off x="1068651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60" name="Rechteck 859">
              <a:extLst>
                <a:ext uri="{FF2B5EF4-FFF2-40B4-BE49-F238E27FC236}">
                  <a16:creationId xmlns:a16="http://schemas.microsoft.com/office/drawing/2014/main" id="{A141D2A8-32EC-0BDC-69C0-6536BF3D30CA}"/>
                </a:ext>
              </a:extLst>
            </p:cNvPr>
            <p:cNvSpPr/>
            <p:nvPr userDrawn="1"/>
          </p:nvSpPr>
          <p:spPr bwMode="gray">
            <a:xfrm>
              <a:off x="1011044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61" name="Rechteck 860">
              <a:extLst>
                <a:ext uri="{FF2B5EF4-FFF2-40B4-BE49-F238E27FC236}">
                  <a16:creationId xmlns:a16="http://schemas.microsoft.com/office/drawing/2014/main" id="{D7438712-AF86-5C9D-1265-35623D13BA2B}"/>
                </a:ext>
              </a:extLst>
            </p:cNvPr>
            <p:cNvSpPr/>
            <p:nvPr userDrawn="1"/>
          </p:nvSpPr>
          <p:spPr bwMode="gray">
            <a:xfrm>
              <a:off x="953438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62" name="Rechteck 861">
              <a:extLst>
                <a:ext uri="{FF2B5EF4-FFF2-40B4-BE49-F238E27FC236}">
                  <a16:creationId xmlns:a16="http://schemas.microsoft.com/office/drawing/2014/main" id="{4B0EDF7B-9C31-496F-EA7C-F6339ED79A5B}"/>
                </a:ext>
              </a:extLst>
            </p:cNvPr>
            <p:cNvSpPr/>
            <p:nvPr userDrawn="1"/>
          </p:nvSpPr>
          <p:spPr bwMode="gray">
            <a:xfrm>
              <a:off x="895832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63" name="Rechteck 862">
              <a:extLst>
                <a:ext uri="{FF2B5EF4-FFF2-40B4-BE49-F238E27FC236}">
                  <a16:creationId xmlns:a16="http://schemas.microsoft.com/office/drawing/2014/main" id="{2F2F28C2-6749-1E1B-FB02-253AB279DE8D}"/>
                </a:ext>
              </a:extLst>
            </p:cNvPr>
            <p:cNvSpPr/>
            <p:nvPr userDrawn="1"/>
          </p:nvSpPr>
          <p:spPr bwMode="gray">
            <a:xfrm>
              <a:off x="838225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64" name="Rechteck 863">
              <a:extLst>
                <a:ext uri="{FF2B5EF4-FFF2-40B4-BE49-F238E27FC236}">
                  <a16:creationId xmlns:a16="http://schemas.microsoft.com/office/drawing/2014/main" id="{1447EEB4-BFD5-B500-E6D8-BCE910041E3F}"/>
                </a:ext>
              </a:extLst>
            </p:cNvPr>
            <p:cNvSpPr/>
            <p:nvPr userDrawn="1"/>
          </p:nvSpPr>
          <p:spPr bwMode="gray">
            <a:xfrm>
              <a:off x="780619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65" name="Rechteck 864">
              <a:extLst>
                <a:ext uri="{FF2B5EF4-FFF2-40B4-BE49-F238E27FC236}">
                  <a16:creationId xmlns:a16="http://schemas.microsoft.com/office/drawing/2014/main" id="{B8289306-C784-72C9-2271-05152E5596E2}"/>
                </a:ext>
              </a:extLst>
            </p:cNvPr>
            <p:cNvSpPr/>
            <p:nvPr userDrawn="1"/>
          </p:nvSpPr>
          <p:spPr bwMode="gray">
            <a:xfrm>
              <a:off x="723012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66" name="Rechteck 865">
              <a:extLst>
                <a:ext uri="{FF2B5EF4-FFF2-40B4-BE49-F238E27FC236}">
                  <a16:creationId xmlns:a16="http://schemas.microsoft.com/office/drawing/2014/main" id="{F8976596-83CD-3E52-8B5E-9368F32C8275}"/>
                </a:ext>
              </a:extLst>
            </p:cNvPr>
            <p:cNvSpPr/>
            <p:nvPr userDrawn="1"/>
          </p:nvSpPr>
          <p:spPr bwMode="gray">
            <a:xfrm>
              <a:off x="665406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67" name="Rechteck 866">
              <a:extLst>
                <a:ext uri="{FF2B5EF4-FFF2-40B4-BE49-F238E27FC236}">
                  <a16:creationId xmlns:a16="http://schemas.microsoft.com/office/drawing/2014/main" id="{2D8B26A8-32FE-CF95-3109-C46A20552142}"/>
                </a:ext>
              </a:extLst>
            </p:cNvPr>
            <p:cNvSpPr/>
            <p:nvPr userDrawn="1"/>
          </p:nvSpPr>
          <p:spPr bwMode="gray">
            <a:xfrm>
              <a:off x="607800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68" name="Rechteck 867">
              <a:extLst>
                <a:ext uri="{FF2B5EF4-FFF2-40B4-BE49-F238E27FC236}">
                  <a16:creationId xmlns:a16="http://schemas.microsoft.com/office/drawing/2014/main" id="{B9508BEE-FCFB-B324-2244-4371A26857D2}"/>
                </a:ext>
              </a:extLst>
            </p:cNvPr>
            <p:cNvSpPr/>
            <p:nvPr userDrawn="1"/>
          </p:nvSpPr>
          <p:spPr bwMode="gray">
            <a:xfrm>
              <a:off x="550193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69" name="Rechteck 868">
              <a:extLst>
                <a:ext uri="{FF2B5EF4-FFF2-40B4-BE49-F238E27FC236}">
                  <a16:creationId xmlns:a16="http://schemas.microsoft.com/office/drawing/2014/main" id="{796CFFAF-9F64-7114-DAAE-B7A0107D101E}"/>
                </a:ext>
              </a:extLst>
            </p:cNvPr>
            <p:cNvSpPr/>
            <p:nvPr userDrawn="1"/>
          </p:nvSpPr>
          <p:spPr bwMode="gray">
            <a:xfrm>
              <a:off x="492587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70" name="Rechteck 869">
              <a:extLst>
                <a:ext uri="{FF2B5EF4-FFF2-40B4-BE49-F238E27FC236}">
                  <a16:creationId xmlns:a16="http://schemas.microsoft.com/office/drawing/2014/main" id="{97273EC4-D9FA-81D6-1ECA-5ACADF0310D1}"/>
                </a:ext>
              </a:extLst>
            </p:cNvPr>
            <p:cNvSpPr/>
            <p:nvPr userDrawn="1"/>
          </p:nvSpPr>
          <p:spPr bwMode="gray">
            <a:xfrm>
              <a:off x="434980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71" name="Rechteck 870">
              <a:extLst>
                <a:ext uri="{FF2B5EF4-FFF2-40B4-BE49-F238E27FC236}">
                  <a16:creationId xmlns:a16="http://schemas.microsoft.com/office/drawing/2014/main" id="{6D6D43F6-636A-6267-8D3B-76E801F3F1B8}"/>
                </a:ext>
              </a:extLst>
            </p:cNvPr>
            <p:cNvSpPr/>
            <p:nvPr userDrawn="1"/>
          </p:nvSpPr>
          <p:spPr bwMode="gray">
            <a:xfrm>
              <a:off x="377374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72" name="Rechteck 871">
              <a:extLst>
                <a:ext uri="{FF2B5EF4-FFF2-40B4-BE49-F238E27FC236}">
                  <a16:creationId xmlns:a16="http://schemas.microsoft.com/office/drawing/2014/main" id="{13E44501-F893-7599-EFAA-ACA93CE8D181}"/>
                </a:ext>
              </a:extLst>
            </p:cNvPr>
            <p:cNvSpPr/>
            <p:nvPr userDrawn="1"/>
          </p:nvSpPr>
          <p:spPr bwMode="gray">
            <a:xfrm>
              <a:off x="319768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73" name="Rechteck 872">
              <a:extLst>
                <a:ext uri="{FF2B5EF4-FFF2-40B4-BE49-F238E27FC236}">
                  <a16:creationId xmlns:a16="http://schemas.microsoft.com/office/drawing/2014/main" id="{DB8A4AB2-A4BD-D460-F697-75F446145335}"/>
                </a:ext>
              </a:extLst>
            </p:cNvPr>
            <p:cNvSpPr/>
            <p:nvPr userDrawn="1"/>
          </p:nvSpPr>
          <p:spPr bwMode="gray">
            <a:xfrm>
              <a:off x="262161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74" name="Rechteck 873">
              <a:extLst>
                <a:ext uri="{FF2B5EF4-FFF2-40B4-BE49-F238E27FC236}">
                  <a16:creationId xmlns:a16="http://schemas.microsoft.com/office/drawing/2014/main" id="{3B7C5169-4B93-F020-8301-08E8D8F859B7}"/>
                </a:ext>
              </a:extLst>
            </p:cNvPr>
            <p:cNvSpPr/>
            <p:nvPr userDrawn="1"/>
          </p:nvSpPr>
          <p:spPr bwMode="gray">
            <a:xfrm>
              <a:off x="204555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75" name="Rechteck 874">
              <a:extLst>
                <a:ext uri="{FF2B5EF4-FFF2-40B4-BE49-F238E27FC236}">
                  <a16:creationId xmlns:a16="http://schemas.microsoft.com/office/drawing/2014/main" id="{D66F246E-E2AD-4FCE-DA02-A0569419AB01}"/>
                </a:ext>
              </a:extLst>
            </p:cNvPr>
            <p:cNvSpPr/>
            <p:nvPr userDrawn="1"/>
          </p:nvSpPr>
          <p:spPr bwMode="gray">
            <a:xfrm>
              <a:off x="146948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76" name="Rechteck 875">
              <a:extLst>
                <a:ext uri="{FF2B5EF4-FFF2-40B4-BE49-F238E27FC236}">
                  <a16:creationId xmlns:a16="http://schemas.microsoft.com/office/drawing/2014/main" id="{8F441EA5-933C-0DAA-C135-0A106AE930DC}"/>
                </a:ext>
              </a:extLst>
            </p:cNvPr>
            <p:cNvSpPr/>
            <p:nvPr userDrawn="1"/>
          </p:nvSpPr>
          <p:spPr bwMode="gray">
            <a:xfrm>
              <a:off x="89342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77" name="Rechteck 876">
              <a:extLst>
                <a:ext uri="{FF2B5EF4-FFF2-40B4-BE49-F238E27FC236}">
                  <a16:creationId xmlns:a16="http://schemas.microsoft.com/office/drawing/2014/main" id="{2301517F-6B9D-C113-ED01-252F69F32641}"/>
                </a:ext>
              </a:extLst>
            </p:cNvPr>
            <p:cNvSpPr/>
            <p:nvPr userDrawn="1"/>
          </p:nvSpPr>
          <p:spPr bwMode="gray">
            <a:xfrm>
              <a:off x="31736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78" name="Rechteck 877">
              <a:extLst>
                <a:ext uri="{FF2B5EF4-FFF2-40B4-BE49-F238E27FC236}">
                  <a16:creationId xmlns:a16="http://schemas.microsoft.com/office/drawing/2014/main" id="{AD387318-ABEA-BE68-FD8A-B09A22C2D0E4}"/>
                </a:ext>
              </a:extLst>
            </p:cNvPr>
            <p:cNvSpPr/>
            <p:nvPr userDrawn="1"/>
          </p:nvSpPr>
          <p:spPr bwMode="gray">
            <a:xfrm>
              <a:off x="1126257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79" name="Rechteck 878">
              <a:extLst>
                <a:ext uri="{FF2B5EF4-FFF2-40B4-BE49-F238E27FC236}">
                  <a16:creationId xmlns:a16="http://schemas.microsoft.com/office/drawing/2014/main" id="{B1BCC114-981E-CECE-94E3-5D845DDFDF4A}"/>
                </a:ext>
              </a:extLst>
            </p:cNvPr>
            <p:cNvSpPr/>
            <p:nvPr userDrawn="1"/>
          </p:nvSpPr>
          <p:spPr bwMode="gray">
            <a:xfrm>
              <a:off x="1068651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80" name="Rechteck 879">
              <a:extLst>
                <a:ext uri="{FF2B5EF4-FFF2-40B4-BE49-F238E27FC236}">
                  <a16:creationId xmlns:a16="http://schemas.microsoft.com/office/drawing/2014/main" id="{68DAB19E-E237-B5A1-56E0-F70BE632D9C2}"/>
                </a:ext>
              </a:extLst>
            </p:cNvPr>
            <p:cNvSpPr/>
            <p:nvPr userDrawn="1"/>
          </p:nvSpPr>
          <p:spPr bwMode="gray">
            <a:xfrm>
              <a:off x="1011044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81" name="Rechteck 880">
              <a:extLst>
                <a:ext uri="{FF2B5EF4-FFF2-40B4-BE49-F238E27FC236}">
                  <a16:creationId xmlns:a16="http://schemas.microsoft.com/office/drawing/2014/main" id="{D03098B9-8BDD-DEF3-9B72-085AD7A0EE17}"/>
                </a:ext>
              </a:extLst>
            </p:cNvPr>
            <p:cNvSpPr/>
            <p:nvPr userDrawn="1"/>
          </p:nvSpPr>
          <p:spPr bwMode="gray">
            <a:xfrm>
              <a:off x="953438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82" name="Rechteck 881">
              <a:extLst>
                <a:ext uri="{FF2B5EF4-FFF2-40B4-BE49-F238E27FC236}">
                  <a16:creationId xmlns:a16="http://schemas.microsoft.com/office/drawing/2014/main" id="{E5833FD7-4A71-D266-0F33-7449DC5D6AE0}"/>
                </a:ext>
              </a:extLst>
            </p:cNvPr>
            <p:cNvSpPr/>
            <p:nvPr userDrawn="1"/>
          </p:nvSpPr>
          <p:spPr bwMode="gray">
            <a:xfrm>
              <a:off x="895832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83" name="Rechteck 882">
              <a:extLst>
                <a:ext uri="{FF2B5EF4-FFF2-40B4-BE49-F238E27FC236}">
                  <a16:creationId xmlns:a16="http://schemas.microsoft.com/office/drawing/2014/main" id="{40965E07-8AF6-2EEB-5BD5-24E7BDC08D23}"/>
                </a:ext>
              </a:extLst>
            </p:cNvPr>
            <p:cNvSpPr/>
            <p:nvPr userDrawn="1"/>
          </p:nvSpPr>
          <p:spPr bwMode="gray">
            <a:xfrm>
              <a:off x="838225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84" name="Rechteck 883">
              <a:extLst>
                <a:ext uri="{FF2B5EF4-FFF2-40B4-BE49-F238E27FC236}">
                  <a16:creationId xmlns:a16="http://schemas.microsoft.com/office/drawing/2014/main" id="{524BA64C-7AE1-629B-DC3B-B98C431EBD66}"/>
                </a:ext>
              </a:extLst>
            </p:cNvPr>
            <p:cNvSpPr/>
            <p:nvPr userDrawn="1"/>
          </p:nvSpPr>
          <p:spPr bwMode="gray">
            <a:xfrm>
              <a:off x="780619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85" name="Rechteck 884">
              <a:extLst>
                <a:ext uri="{FF2B5EF4-FFF2-40B4-BE49-F238E27FC236}">
                  <a16:creationId xmlns:a16="http://schemas.microsoft.com/office/drawing/2014/main" id="{22738F78-25D2-86AA-2738-1658B9642003}"/>
                </a:ext>
              </a:extLst>
            </p:cNvPr>
            <p:cNvSpPr/>
            <p:nvPr userDrawn="1"/>
          </p:nvSpPr>
          <p:spPr bwMode="gray">
            <a:xfrm>
              <a:off x="723012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86" name="Rechteck 885">
              <a:extLst>
                <a:ext uri="{FF2B5EF4-FFF2-40B4-BE49-F238E27FC236}">
                  <a16:creationId xmlns:a16="http://schemas.microsoft.com/office/drawing/2014/main" id="{58481F6F-CDDB-596C-F1D2-F9F9A04DD6EF}"/>
                </a:ext>
              </a:extLst>
            </p:cNvPr>
            <p:cNvSpPr/>
            <p:nvPr userDrawn="1"/>
          </p:nvSpPr>
          <p:spPr bwMode="gray">
            <a:xfrm>
              <a:off x="665406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87" name="Rechteck 886">
              <a:extLst>
                <a:ext uri="{FF2B5EF4-FFF2-40B4-BE49-F238E27FC236}">
                  <a16:creationId xmlns:a16="http://schemas.microsoft.com/office/drawing/2014/main" id="{7BAC2EFB-CEC1-3EA3-1C8C-325C7A741EDF}"/>
                </a:ext>
              </a:extLst>
            </p:cNvPr>
            <p:cNvSpPr/>
            <p:nvPr userDrawn="1"/>
          </p:nvSpPr>
          <p:spPr bwMode="gray">
            <a:xfrm>
              <a:off x="607800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88" name="Rechteck 887">
              <a:extLst>
                <a:ext uri="{FF2B5EF4-FFF2-40B4-BE49-F238E27FC236}">
                  <a16:creationId xmlns:a16="http://schemas.microsoft.com/office/drawing/2014/main" id="{399DA0FC-7FE3-3C10-5236-AE58EA4A5627}"/>
                </a:ext>
              </a:extLst>
            </p:cNvPr>
            <p:cNvSpPr/>
            <p:nvPr userDrawn="1"/>
          </p:nvSpPr>
          <p:spPr bwMode="gray">
            <a:xfrm>
              <a:off x="550193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89" name="Rechteck 888">
              <a:extLst>
                <a:ext uri="{FF2B5EF4-FFF2-40B4-BE49-F238E27FC236}">
                  <a16:creationId xmlns:a16="http://schemas.microsoft.com/office/drawing/2014/main" id="{5FBFDB25-6339-51DD-27E6-315D545285D3}"/>
                </a:ext>
              </a:extLst>
            </p:cNvPr>
            <p:cNvSpPr/>
            <p:nvPr userDrawn="1"/>
          </p:nvSpPr>
          <p:spPr bwMode="gray">
            <a:xfrm>
              <a:off x="492587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90" name="Rechteck 889">
              <a:extLst>
                <a:ext uri="{FF2B5EF4-FFF2-40B4-BE49-F238E27FC236}">
                  <a16:creationId xmlns:a16="http://schemas.microsoft.com/office/drawing/2014/main" id="{8D9A3026-4FC1-E77F-1A85-FE2E096BC64F}"/>
                </a:ext>
              </a:extLst>
            </p:cNvPr>
            <p:cNvSpPr/>
            <p:nvPr userDrawn="1"/>
          </p:nvSpPr>
          <p:spPr bwMode="gray">
            <a:xfrm>
              <a:off x="434980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91" name="Rechteck 890">
              <a:extLst>
                <a:ext uri="{FF2B5EF4-FFF2-40B4-BE49-F238E27FC236}">
                  <a16:creationId xmlns:a16="http://schemas.microsoft.com/office/drawing/2014/main" id="{3E057DA9-4F16-2464-7825-F5BD7D689FF3}"/>
                </a:ext>
              </a:extLst>
            </p:cNvPr>
            <p:cNvSpPr/>
            <p:nvPr userDrawn="1"/>
          </p:nvSpPr>
          <p:spPr bwMode="gray">
            <a:xfrm>
              <a:off x="377374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92" name="Rechteck 891">
              <a:extLst>
                <a:ext uri="{FF2B5EF4-FFF2-40B4-BE49-F238E27FC236}">
                  <a16:creationId xmlns:a16="http://schemas.microsoft.com/office/drawing/2014/main" id="{DA1FEBB3-9199-4266-0F07-4CABF2550D0B}"/>
                </a:ext>
              </a:extLst>
            </p:cNvPr>
            <p:cNvSpPr/>
            <p:nvPr userDrawn="1"/>
          </p:nvSpPr>
          <p:spPr bwMode="gray">
            <a:xfrm>
              <a:off x="319768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93" name="Rechteck 892">
              <a:extLst>
                <a:ext uri="{FF2B5EF4-FFF2-40B4-BE49-F238E27FC236}">
                  <a16:creationId xmlns:a16="http://schemas.microsoft.com/office/drawing/2014/main" id="{1A34EDCD-4B0E-C585-C2A7-FB15FB927D84}"/>
                </a:ext>
              </a:extLst>
            </p:cNvPr>
            <p:cNvSpPr/>
            <p:nvPr userDrawn="1"/>
          </p:nvSpPr>
          <p:spPr bwMode="gray">
            <a:xfrm>
              <a:off x="262161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94" name="Rechteck 893">
              <a:extLst>
                <a:ext uri="{FF2B5EF4-FFF2-40B4-BE49-F238E27FC236}">
                  <a16:creationId xmlns:a16="http://schemas.microsoft.com/office/drawing/2014/main" id="{D7EC70CC-4766-ACBE-F4B7-222FB3D3FBE6}"/>
                </a:ext>
              </a:extLst>
            </p:cNvPr>
            <p:cNvSpPr/>
            <p:nvPr userDrawn="1"/>
          </p:nvSpPr>
          <p:spPr bwMode="gray">
            <a:xfrm>
              <a:off x="204555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95" name="Rechteck 894">
              <a:extLst>
                <a:ext uri="{FF2B5EF4-FFF2-40B4-BE49-F238E27FC236}">
                  <a16:creationId xmlns:a16="http://schemas.microsoft.com/office/drawing/2014/main" id="{07BD716B-7BA0-A01B-75ED-C99559591AA4}"/>
                </a:ext>
              </a:extLst>
            </p:cNvPr>
            <p:cNvSpPr/>
            <p:nvPr userDrawn="1"/>
          </p:nvSpPr>
          <p:spPr bwMode="gray">
            <a:xfrm>
              <a:off x="146948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96" name="Rechteck 895">
              <a:extLst>
                <a:ext uri="{FF2B5EF4-FFF2-40B4-BE49-F238E27FC236}">
                  <a16:creationId xmlns:a16="http://schemas.microsoft.com/office/drawing/2014/main" id="{B1A4D53A-6209-F788-683F-CB126D893BB8}"/>
                </a:ext>
              </a:extLst>
            </p:cNvPr>
            <p:cNvSpPr/>
            <p:nvPr userDrawn="1"/>
          </p:nvSpPr>
          <p:spPr bwMode="gray">
            <a:xfrm>
              <a:off x="89342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97" name="Rechteck 896">
              <a:extLst>
                <a:ext uri="{FF2B5EF4-FFF2-40B4-BE49-F238E27FC236}">
                  <a16:creationId xmlns:a16="http://schemas.microsoft.com/office/drawing/2014/main" id="{30F15415-DC9F-C8E8-55D6-D46A1DD96E07}"/>
                </a:ext>
              </a:extLst>
            </p:cNvPr>
            <p:cNvSpPr/>
            <p:nvPr userDrawn="1"/>
          </p:nvSpPr>
          <p:spPr bwMode="gray">
            <a:xfrm>
              <a:off x="31736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98" name="Rechteck 897">
              <a:extLst>
                <a:ext uri="{FF2B5EF4-FFF2-40B4-BE49-F238E27FC236}">
                  <a16:creationId xmlns:a16="http://schemas.microsoft.com/office/drawing/2014/main" id="{9C037508-FA1D-1967-DAD8-47EF60B0395D}"/>
                </a:ext>
              </a:extLst>
            </p:cNvPr>
            <p:cNvSpPr/>
            <p:nvPr userDrawn="1"/>
          </p:nvSpPr>
          <p:spPr bwMode="gray">
            <a:xfrm>
              <a:off x="1126257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899" name="Rechteck 898">
              <a:extLst>
                <a:ext uri="{FF2B5EF4-FFF2-40B4-BE49-F238E27FC236}">
                  <a16:creationId xmlns:a16="http://schemas.microsoft.com/office/drawing/2014/main" id="{7FC4FDD3-1FB5-EF07-B599-F2DD8E87AD71}"/>
                </a:ext>
              </a:extLst>
            </p:cNvPr>
            <p:cNvSpPr/>
            <p:nvPr userDrawn="1"/>
          </p:nvSpPr>
          <p:spPr bwMode="gray">
            <a:xfrm>
              <a:off x="1068651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00" name="Rechteck 899">
              <a:extLst>
                <a:ext uri="{FF2B5EF4-FFF2-40B4-BE49-F238E27FC236}">
                  <a16:creationId xmlns:a16="http://schemas.microsoft.com/office/drawing/2014/main" id="{20E993A2-5C01-A802-FB62-31AA27CF0FFE}"/>
                </a:ext>
              </a:extLst>
            </p:cNvPr>
            <p:cNvSpPr/>
            <p:nvPr userDrawn="1"/>
          </p:nvSpPr>
          <p:spPr bwMode="gray">
            <a:xfrm>
              <a:off x="1011044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01" name="Rechteck 900">
              <a:extLst>
                <a:ext uri="{FF2B5EF4-FFF2-40B4-BE49-F238E27FC236}">
                  <a16:creationId xmlns:a16="http://schemas.microsoft.com/office/drawing/2014/main" id="{224C14B3-7990-3F7C-ED19-B8428C2C6604}"/>
                </a:ext>
              </a:extLst>
            </p:cNvPr>
            <p:cNvSpPr/>
            <p:nvPr userDrawn="1"/>
          </p:nvSpPr>
          <p:spPr bwMode="gray">
            <a:xfrm>
              <a:off x="953438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02" name="Rechteck 901">
              <a:extLst>
                <a:ext uri="{FF2B5EF4-FFF2-40B4-BE49-F238E27FC236}">
                  <a16:creationId xmlns:a16="http://schemas.microsoft.com/office/drawing/2014/main" id="{55FED788-4480-06BC-DF52-98DDC450FEB5}"/>
                </a:ext>
              </a:extLst>
            </p:cNvPr>
            <p:cNvSpPr/>
            <p:nvPr userDrawn="1"/>
          </p:nvSpPr>
          <p:spPr bwMode="gray">
            <a:xfrm>
              <a:off x="895832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03" name="Rechteck 902">
              <a:extLst>
                <a:ext uri="{FF2B5EF4-FFF2-40B4-BE49-F238E27FC236}">
                  <a16:creationId xmlns:a16="http://schemas.microsoft.com/office/drawing/2014/main" id="{193A1385-510A-842F-4549-63CF7B3E70AC}"/>
                </a:ext>
              </a:extLst>
            </p:cNvPr>
            <p:cNvSpPr/>
            <p:nvPr userDrawn="1"/>
          </p:nvSpPr>
          <p:spPr bwMode="gray">
            <a:xfrm>
              <a:off x="838225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04" name="Rechteck 903">
              <a:extLst>
                <a:ext uri="{FF2B5EF4-FFF2-40B4-BE49-F238E27FC236}">
                  <a16:creationId xmlns:a16="http://schemas.microsoft.com/office/drawing/2014/main" id="{7B4BCCA5-925D-C66A-1F01-B5FF8AA5225C}"/>
                </a:ext>
              </a:extLst>
            </p:cNvPr>
            <p:cNvSpPr/>
            <p:nvPr userDrawn="1"/>
          </p:nvSpPr>
          <p:spPr bwMode="gray">
            <a:xfrm>
              <a:off x="780619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05" name="Rechteck 904">
              <a:extLst>
                <a:ext uri="{FF2B5EF4-FFF2-40B4-BE49-F238E27FC236}">
                  <a16:creationId xmlns:a16="http://schemas.microsoft.com/office/drawing/2014/main" id="{020C98EB-4DDE-0DCD-8849-7AFF7EC0F35D}"/>
                </a:ext>
              </a:extLst>
            </p:cNvPr>
            <p:cNvSpPr/>
            <p:nvPr userDrawn="1"/>
          </p:nvSpPr>
          <p:spPr bwMode="gray">
            <a:xfrm>
              <a:off x="723012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06" name="Rechteck 905">
              <a:extLst>
                <a:ext uri="{FF2B5EF4-FFF2-40B4-BE49-F238E27FC236}">
                  <a16:creationId xmlns:a16="http://schemas.microsoft.com/office/drawing/2014/main" id="{5BC08C52-4E75-B2C1-FCBA-90462A004C73}"/>
                </a:ext>
              </a:extLst>
            </p:cNvPr>
            <p:cNvSpPr/>
            <p:nvPr userDrawn="1"/>
          </p:nvSpPr>
          <p:spPr bwMode="gray">
            <a:xfrm>
              <a:off x="665406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07" name="Rechteck 906">
              <a:extLst>
                <a:ext uri="{FF2B5EF4-FFF2-40B4-BE49-F238E27FC236}">
                  <a16:creationId xmlns:a16="http://schemas.microsoft.com/office/drawing/2014/main" id="{8FE29ED2-5729-D67F-F407-DE60F983D2C4}"/>
                </a:ext>
              </a:extLst>
            </p:cNvPr>
            <p:cNvSpPr/>
            <p:nvPr userDrawn="1"/>
          </p:nvSpPr>
          <p:spPr bwMode="gray">
            <a:xfrm>
              <a:off x="607800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08" name="Rechteck 907">
              <a:extLst>
                <a:ext uri="{FF2B5EF4-FFF2-40B4-BE49-F238E27FC236}">
                  <a16:creationId xmlns:a16="http://schemas.microsoft.com/office/drawing/2014/main" id="{06199F18-8831-F211-F4A5-7B2EFFA3D91F}"/>
                </a:ext>
              </a:extLst>
            </p:cNvPr>
            <p:cNvSpPr/>
            <p:nvPr userDrawn="1"/>
          </p:nvSpPr>
          <p:spPr bwMode="gray">
            <a:xfrm>
              <a:off x="550193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09" name="Rechteck 908">
              <a:extLst>
                <a:ext uri="{FF2B5EF4-FFF2-40B4-BE49-F238E27FC236}">
                  <a16:creationId xmlns:a16="http://schemas.microsoft.com/office/drawing/2014/main" id="{84B7E6B7-BB02-6222-F77D-56AB364E1B1B}"/>
                </a:ext>
              </a:extLst>
            </p:cNvPr>
            <p:cNvSpPr/>
            <p:nvPr userDrawn="1"/>
          </p:nvSpPr>
          <p:spPr bwMode="gray">
            <a:xfrm>
              <a:off x="492587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10" name="Rechteck 909">
              <a:extLst>
                <a:ext uri="{FF2B5EF4-FFF2-40B4-BE49-F238E27FC236}">
                  <a16:creationId xmlns:a16="http://schemas.microsoft.com/office/drawing/2014/main" id="{741E9D2A-2EFD-9401-CFB0-B0C7BD870313}"/>
                </a:ext>
              </a:extLst>
            </p:cNvPr>
            <p:cNvSpPr/>
            <p:nvPr userDrawn="1"/>
          </p:nvSpPr>
          <p:spPr bwMode="gray">
            <a:xfrm>
              <a:off x="434980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11" name="Rechteck 910">
              <a:extLst>
                <a:ext uri="{FF2B5EF4-FFF2-40B4-BE49-F238E27FC236}">
                  <a16:creationId xmlns:a16="http://schemas.microsoft.com/office/drawing/2014/main" id="{CC3B5957-54E3-A70E-AFE8-0E8C2AFDE212}"/>
                </a:ext>
              </a:extLst>
            </p:cNvPr>
            <p:cNvSpPr/>
            <p:nvPr userDrawn="1"/>
          </p:nvSpPr>
          <p:spPr bwMode="gray">
            <a:xfrm>
              <a:off x="377374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12" name="Rechteck 911">
              <a:extLst>
                <a:ext uri="{FF2B5EF4-FFF2-40B4-BE49-F238E27FC236}">
                  <a16:creationId xmlns:a16="http://schemas.microsoft.com/office/drawing/2014/main" id="{2F81563D-DFAA-A1A8-6C25-50D8122B4AB9}"/>
                </a:ext>
              </a:extLst>
            </p:cNvPr>
            <p:cNvSpPr/>
            <p:nvPr userDrawn="1"/>
          </p:nvSpPr>
          <p:spPr bwMode="gray">
            <a:xfrm>
              <a:off x="319768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13" name="Rechteck 912">
              <a:extLst>
                <a:ext uri="{FF2B5EF4-FFF2-40B4-BE49-F238E27FC236}">
                  <a16:creationId xmlns:a16="http://schemas.microsoft.com/office/drawing/2014/main" id="{F8BF82C4-A7A0-2DB9-B3FC-3E244A91B013}"/>
                </a:ext>
              </a:extLst>
            </p:cNvPr>
            <p:cNvSpPr/>
            <p:nvPr userDrawn="1"/>
          </p:nvSpPr>
          <p:spPr bwMode="gray">
            <a:xfrm>
              <a:off x="262161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14" name="Rechteck 913">
              <a:extLst>
                <a:ext uri="{FF2B5EF4-FFF2-40B4-BE49-F238E27FC236}">
                  <a16:creationId xmlns:a16="http://schemas.microsoft.com/office/drawing/2014/main" id="{E6520E41-523D-F77C-9BCD-6813BCB047FA}"/>
                </a:ext>
              </a:extLst>
            </p:cNvPr>
            <p:cNvSpPr/>
            <p:nvPr userDrawn="1"/>
          </p:nvSpPr>
          <p:spPr bwMode="gray">
            <a:xfrm>
              <a:off x="204555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15" name="Rechteck 914">
              <a:extLst>
                <a:ext uri="{FF2B5EF4-FFF2-40B4-BE49-F238E27FC236}">
                  <a16:creationId xmlns:a16="http://schemas.microsoft.com/office/drawing/2014/main" id="{AF2A62DB-7C62-332B-4AF3-D2E94A9B0066}"/>
                </a:ext>
              </a:extLst>
            </p:cNvPr>
            <p:cNvSpPr/>
            <p:nvPr userDrawn="1"/>
          </p:nvSpPr>
          <p:spPr bwMode="gray">
            <a:xfrm>
              <a:off x="146948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16" name="Rechteck 915">
              <a:extLst>
                <a:ext uri="{FF2B5EF4-FFF2-40B4-BE49-F238E27FC236}">
                  <a16:creationId xmlns:a16="http://schemas.microsoft.com/office/drawing/2014/main" id="{22EA7930-8E66-4353-F00D-870670CC3AD2}"/>
                </a:ext>
              </a:extLst>
            </p:cNvPr>
            <p:cNvSpPr/>
            <p:nvPr userDrawn="1"/>
          </p:nvSpPr>
          <p:spPr bwMode="gray">
            <a:xfrm>
              <a:off x="89342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17" name="Rechteck 916">
              <a:extLst>
                <a:ext uri="{FF2B5EF4-FFF2-40B4-BE49-F238E27FC236}">
                  <a16:creationId xmlns:a16="http://schemas.microsoft.com/office/drawing/2014/main" id="{E6A9B08B-631C-6262-3CBD-2F02788A22C7}"/>
                </a:ext>
              </a:extLst>
            </p:cNvPr>
            <p:cNvSpPr/>
            <p:nvPr userDrawn="1"/>
          </p:nvSpPr>
          <p:spPr bwMode="gray">
            <a:xfrm>
              <a:off x="31736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18" name="Rechteck 917">
              <a:extLst>
                <a:ext uri="{FF2B5EF4-FFF2-40B4-BE49-F238E27FC236}">
                  <a16:creationId xmlns:a16="http://schemas.microsoft.com/office/drawing/2014/main" id="{1F2F13AA-E5FE-AEE7-B291-413059034D98}"/>
                </a:ext>
              </a:extLst>
            </p:cNvPr>
            <p:cNvSpPr/>
            <p:nvPr userDrawn="1"/>
          </p:nvSpPr>
          <p:spPr bwMode="gray">
            <a:xfrm>
              <a:off x="1126257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19" name="Rechteck 918">
              <a:extLst>
                <a:ext uri="{FF2B5EF4-FFF2-40B4-BE49-F238E27FC236}">
                  <a16:creationId xmlns:a16="http://schemas.microsoft.com/office/drawing/2014/main" id="{C1BA412A-EAA3-838F-E6E7-742E8B16E11D}"/>
                </a:ext>
              </a:extLst>
            </p:cNvPr>
            <p:cNvSpPr/>
            <p:nvPr userDrawn="1"/>
          </p:nvSpPr>
          <p:spPr bwMode="gray">
            <a:xfrm>
              <a:off x="1068651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20" name="Rechteck 919">
              <a:extLst>
                <a:ext uri="{FF2B5EF4-FFF2-40B4-BE49-F238E27FC236}">
                  <a16:creationId xmlns:a16="http://schemas.microsoft.com/office/drawing/2014/main" id="{F2F19031-5BE1-9C61-C3E2-A5B3C1F353EA}"/>
                </a:ext>
              </a:extLst>
            </p:cNvPr>
            <p:cNvSpPr/>
            <p:nvPr userDrawn="1"/>
          </p:nvSpPr>
          <p:spPr bwMode="gray">
            <a:xfrm>
              <a:off x="1011044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21" name="Rechteck 920">
              <a:extLst>
                <a:ext uri="{FF2B5EF4-FFF2-40B4-BE49-F238E27FC236}">
                  <a16:creationId xmlns:a16="http://schemas.microsoft.com/office/drawing/2014/main" id="{87B85A63-2DBE-E8F3-9437-AAC722215B21}"/>
                </a:ext>
              </a:extLst>
            </p:cNvPr>
            <p:cNvSpPr/>
            <p:nvPr userDrawn="1"/>
          </p:nvSpPr>
          <p:spPr bwMode="gray">
            <a:xfrm>
              <a:off x="953438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22" name="Rechteck 921">
              <a:extLst>
                <a:ext uri="{FF2B5EF4-FFF2-40B4-BE49-F238E27FC236}">
                  <a16:creationId xmlns:a16="http://schemas.microsoft.com/office/drawing/2014/main" id="{07BE7378-0A76-734A-6FA4-82C320A05652}"/>
                </a:ext>
              </a:extLst>
            </p:cNvPr>
            <p:cNvSpPr/>
            <p:nvPr userDrawn="1"/>
          </p:nvSpPr>
          <p:spPr bwMode="gray">
            <a:xfrm>
              <a:off x="895832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23" name="Rechteck 922">
              <a:extLst>
                <a:ext uri="{FF2B5EF4-FFF2-40B4-BE49-F238E27FC236}">
                  <a16:creationId xmlns:a16="http://schemas.microsoft.com/office/drawing/2014/main" id="{ED20F6CC-95EB-AC3B-CE02-ECE99A0EE839}"/>
                </a:ext>
              </a:extLst>
            </p:cNvPr>
            <p:cNvSpPr/>
            <p:nvPr userDrawn="1"/>
          </p:nvSpPr>
          <p:spPr bwMode="gray">
            <a:xfrm>
              <a:off x="838225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24" name="Rechteck 923">
              <a:extLst>
                <a:ext uri="{FF2B5EF4-FFF2-40B4-BE49-F238E27FC236}">
                  <a16:creationId xmlns:a16="http://schemas.microsoft.com/office/drawing/2014/main" id="{41990BA0-A884-2241-5F8E-CD6E44477A1D}"/>
                </a:ext>
              </a:extLst>
            </p:cNvPr>
            <p:cNvSpPr/>
            <p:nvPr userDrawn="1"/>
          </p:nvSpPr>
          <p:spPr bwMode="gray">
            <a:xfrm>
              <a:off x="780619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25" name="Rechteck 924">
              <a:extLst>
                <a:ext uri="{FF2B5EF4-FFF2-40B4-BE49-F238E27FC236}">
                  <a16:creationId xmlns:a16="http://schemas.microsoft.com/office/drawing/2014/main" id="{7A4CD870-5743-B0A5-9B28-ADECE0F2528C}"/>
                </a:ext>
              </a:extLst>
            </p:cNvPr>
            <p:cNvSpPr/>
            <p:nvPr userDrawn="1"/>
          </p:nvSpPr>
          <p:spPr bwMode="gray">
            <a:xfrm>
              <a:off x="723012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26" name="Rechteck 925">
              <a:extLst>
                <a:ext uri="{FF2B5EF4-FFF2-40B4-BE49-F238E27FC236}">
                  <a16:creationId xmlns:a16="http://schemas.microsoft.com/office/drawing/2014/main" id="{C29E8053-11CC-10AB-3366-664E2932991A}"/>
                </a:ext>
              </a:extLst>
            </p:cNvPr>
            <p:cNvSpPr/>
            <p:nvPr userDrawn="1"/>
          </p:nvSpPr>
          <p:spPr bwMode="gray">
            <a:xfrm>
              <a:off x="665406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27" name="Rechteck 926">
              <a:extLst>
                <a:ext uri="{FF2B5EF4-FFF2-40B4-BE49-F238E27FC236}">
                  <a16:creationId xmlns:a16="http://schemas.microsoft.com/office/drawing/2014/main" id="{38FB277F-A046-DE38-F84F-96177BAC96AA}"/>
                </a:ext>
              </a:extLst>
            </p:cNvPr>
            <p:cNvSpPr/>
            <p:nvPr userDrawn="1"/>
          </p:nvSpPr>
          <p:spPr bwMode="gray">
            <a:xfrm>
              <a:off x="607800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28" name="Rechteck 927">
              <a:extLst>
                <a:ext uri="{FF2B5EF4-FFF2-40B4-BE49-F238E27FC236}">
                  <a16:creationId xmlns:a16="http://schemas.microsoft.com/office/drawing/2014/main" id="{3258A46E-8941-351B-324B-CD944E9AC0B8}"/>
                </a:ext>
              </a:extLst>
            </p:cNvPr>
            <p:cNvSpPr/>
            <p:nvPr userDrawn="1"/>
          </p:nvSpPr>
          <p:spPr bwMode="gray">
            <a:xfrm>
              <a:off x="550193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29" name="Rechteck 928">
              <a:extLst>
                <a:ext uri="{FF2B5EF4-FFF2-40B4-BE49-F238E27FC236}">
                  <a16:creationId xmlns:a16="http://schemas.microsoft.com/office/drawing/2014/main" id="{4A012A93-E9C6-E018-30E4-009F5E31F5AD}"/>
                </a:ext>
              </a:extLst>
            </p:cNvPr>
            <p:cNvSpPr/>
            <p:nvPr userDrawn="1"/>
          </p:nvSpPr>
          <p:spPr bwMode="gray">
            <a:xfrm>
              <a:off x="492587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30" name="Rechteck 929">
              <a:extLst>
                <a:ext uri="{FF2B5EF4-FFF2-40B4-BE49-F238E27FC236}">
                  <a16:creationId xmlns:a16="http://schemas.microsoft.com/office/drawing/2014/main" id="{42CE96EE-C205-51A5-0180-C360580F1023}"/>
                </a:ext>
              </a:extLst>
            </p:cNvPr>
            <p:cNvSpPr/>
            <p:nvPr userDrawn="1"/>
          </p:nvSpPr>
          <p:spPr bwMode="gray">
            <a:xfrm>
              <a:off x="434980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31" name="Rechteck 930">
              <a:extLst>
                <a:ext uri="{FF2B5EF4-FFF2-40B4-BE49-F238E27FC236}">
                  <a16:creationId xmlns:a16="http://schemas.microsoft.com/office/drawing/2014/main" id="{9873D6D4-9E47-32D6-2734-1715C5D73311}"/>
                </a:ext>
              </a:extLst>
            </p:cNvPr>
            <p:cNvSpPr/>
            <p:nvPr userDrawn="1"/>
          </p:nvSpPr>
          <p:spPr bwMode="gray">
            <a:xfrm>
              <a:off x="377374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32" name="Rechteck 931">
              <a:extLst>
                <a:ext uri="{FF2B5EF4-FFF2-40B4-BE49-F238E27FC236}">
                  <a16:creationId xmlns:a16="http://schemas.microsoft.com/office/drawing/2014/main" id="{F8A49CFF-A020-20DF-0D58-90385C5DFE1A}"/>
                </a:ext>
              </a:extLst>
            </p:cNvPr>
            <p:cNvSpPr/>
            <p:nvPr userDrawn="1"/>
          </p:nvSpPr>
          <p:spPr bwMode="gray">
            <a:xfrm>
              <a:off x="319768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33" name="Rechteck 932">
              <a:extLst>
                <a:ext uri="{FF2B5EF4-FFF2-40B4-BE49-F238E27FC236}">
                  <a16:creationId xmlns:a16="http://schemas.microsoft.com/office/drawing/2014/main" id="{7D175062-B3FA-AD6D-BC01-AA0CECF061CC}"/>
                </a:ext>
              </a:extLst>
            </p:cNvPr>
            <p:cNvSpPr/>
            <p:nvPr userDrawn="1"/>
          </p:nvSpPr>
          <p:spPr bwMode="gray">
            <a:xfrm>
              <a:off x="262161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34" name="Rechteck 933">
              <a:extLst>
                <a:ext uri="{FF2B5EF4-FFF2-40B4-BE49-F238E27FC236}">
                  <a16:creationId xmlns:a16="http://schemas.microsoft.com/office/drawing/2014/main" id="{974A26B8-6E53-E646-3356-698B787160AF}"/>
                </a:ext>
              </a:extLst>
            </p:cNvPr>
            <p:cNvSpPr/>
            <p:nvPr userDrawn="1"/>
          </p:nvSpPr>
          <p:spPr bwMode="gray">
            <a:xfrm>
              <a:off x="204555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35" name="Rechteck 934">
              <a:extLst>
                <a:ext uri="{FF2B5EF4-FFF2-40B4-BE49-F238E27FC236}">
                  <a16:creationId xmlns:a16="http://schemas.microsoft.com/office/drawing/2014/main" id="{CC86BE8A-AD65-7A01-7E6F-7F2CD6A01D6E}"/>
                </a:ext>
              </a:extLst>
            </p:cNvPr>
            <p:cNvSpPr/>
            <p:nvPr userDrawn="1"/>
          </p:nvSpPr>
          <p:spPr bwMode="gray">
            <a:xfrm>
              <a:off x="146948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36" name="Rechteck 935">
              <a:extLst>
                <a:ext uri="{FF2B5EF4-FFF2-40B4-BE49-F238E27FC236}">
                  <a16:creationId xmlns:a16="http://schemas.microsoft.com/office/drawing/2014/main" id="{B2ACD7E3-86A3-810A-C89A-DABBC9A61CEF}"/>
                </a:ext>
              </a:extLst>
            </p:cNvPr>
            <p:cNvSpPr/>
            <p:nvPr userDrawn="1"/>
          </p:nvSpPr>
          <p:spPr bwMode="gray">
            <a:xfrm>
              <a:off x="89342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37" name="Rechteck 936">
              <a:extLst>
                <a:ext uri="{FF2B5EF4-FFF2-40B4-BE49-F238E27FC236}">
                  <a16:creationId xmlns:a16="http://schemas.microsoft.com/office/drawing/2014/main" id="{4EE21D62-4A0C-4DFD-AD2E-55377B55BAE8}"/>
                </a:ext>
              </a:extLst>
            </p:cNvPr>
            <p:cNvSpPr/>
            <p:nvPr userDrawn="1"/>
          </p:nvSpPr>
          <p:spPr bwMode="gray">
            <a:xfrm>
              <a:off x="31736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38" name="Rechteck 937">
              <a:extLst>
                <a:ext uri="{FF2B5EF4-FFF2-40B4-BE49-F238E27FC236}">
                  <a16:creationId xmlns:a16="http://schemas.microsoft.com/office/drawing/2014/main" id="{D2EBC148-3280-29A1-31EF-72FDA9B13729}"/>
                </a:ext>
              </a:extLst>
            </p:cNvPr>
            <p:cNvSpPr/>
            <p:nvPr userDrawn="1"/>
          </p:nvSpPr>
          <p:spPr bwMode="gray">
            <a:xfrm>
              <a:off x="1126257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39" name="Rechteck 938">
              <a:extLst>
                <a:ext uri="{FF2B5EF4-FFF2-40B4-BE49-F238E27FC236}">
                  <a16:creationId xmlns:a16="http://schemas.microsoft.com/office/drawing/2014/main" id="{02E8F716-E944-C052-CE36-10C6799A12A0}"/>
                </a:ext>
              </a:extLst>
            </p:cNvPr>
            <p:cNvSpPr/>
            <p:nvPr userDrawn="1"/>
          </p:nvSpPr>
          <p:spPr bwMode="gray">
            <a:xfrm>
              <a:off x="1068651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40" name="Rechteck 939">
              <a:extLst>
                <a:ext uri="{FF2B5EF4-FFF2-40B4-BE49-F238E27FC236}">
                  <a16:creationId xmlns:a16="http://schemas.microsoft.com/office/drawing/2014/main" id="{1F5F36DE-71BA-83AB-4FC1-CF96ABACCB43}"/>
                </a:ext>
              </a:extLst>
            </p:cNvPr>
            <p:cNvSpPr/>
            <p:nvPr userDrawn="1"/>
          </p:nvSpPr>
          <p:spPr bwMode="gray">
            <a:xfrm>
              <a:off x="1011044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41" name="Rechteck 940">
              <a:extLst>
                <a:ext uri="{FF2B5EF4-FFF2-40B4-BE49-F238E27FC236}">
                  <a16:creationId xmlns:a16="http://schemas.microsoft.com/office/drawing/2014/main" id="{E82BF00A-D1C5-67F6-33B1-7DF1B2F1C054}"/>
                </a:ext>
              </a:extLst>
            </p:cNvPr>
            <p:cNvSpPr/>
            <p:nvPr userDrawn="1"/>
          </p:nvSpPr>
          <p:spPr bwMode="gray">
            <a:xfrm>
              <a:off x="953438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42" name="Rechteck 941">
              <a:extLst>
                <a:ext uri="{FF2B5EF4-FFF2-40B4-BE49-F238E27FC236}">
                  <a16:creationId xmlns:a16="http://schemas.microsoft.com/office/drawing/2014/main" id="{16DF4BBA-CFBD-6DA5-173E-52CA0F0BE9E0}"/>
                </a:ext>
              </a:extLst>
            </p:cNvPr>
            <p:cNvSpPr/>
            <p:nvPr userDrawn="1"/>
          </p:nvSpPr>
          <p:spPr bwMode="gray">
            <a:xfrm>
              <a:off x="895832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43" name="Rechteck 942">
              <a:extLst>
                <a:ext uri="{FF2B5EF4-FFF2-40B4-BE49-F238E27FC236}">
                  <a16:creationId xmlns:a16="http://schemas.microsoft.com/office/drawing/2014/main" id="{6C654F85-A559-F500-034D-C630676A5D19}"/>
                </a:ext>
              </a:extLst>
            </p:cNvPr>
            <p:cNvSpPr/>
            <p:nvPr userDrawn="1"/>
          </p:nvSpPr>
          <p:spPr bwMode="gray">
            <a:xfrm>
              <a:off x="838225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44" name="Rechteck 943">
              <a:extLst>
                <a:ext uri="{FF2B5EF4-FFF2-40B4-BE49-F238E27FC236}">
                  <a16:creationId xmlns:a16="http://schemas.microsoft.com/office/drawing/2014/main" id="{8CF331F5-32B3-F97B-C9CA-8E63038565E6}"/>
                </a:ext>
              </a:extLst>
            </p:cNvPr>
            <p:cNvSpPr/>
            <p:nvPr userDrawn="1"/>
          </p:nvSpPr>
          <p:spPr bwMode="gray">
            <a:xfrm>
              <a:off x="780619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45" name="Rechteck 944">
              <a:extLst>
                <a:ext uri="{FF2B5EF4-FFF2-40B4-BE49-F238E27FC236}">
                  <a16:creationId xmlns:a16="http://schemas.microsoft.com/office/drawing/2014/main" id="{58EE44C9-CC3A-245A-E544-EE8BC10C7A2B}"/>
                </a:ext>
              </a:extLst>
            </p:cNvPr>
            <p:cNvSpPr/>
            <p:nvPr userDrawn="1"/>
          </p:nvSpPr>
          <p:spPr bwMode="gray">
            <a:xfrm>
              <a:off x="723012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46" name="Rechteck 945">
              <a:extLst>
                <a:ext uri="{FF2B5EF4-FFF2-40B4-BE49-F238E27FC236}">
                  <a16:creationId xmlns:a16="http://schemas.microsoft.com/office/drawing/2014/main" id="{3D69D25D-FD96-4C7D-8F9A-F7CE90F0A149}"/>
                </a:ext>
              </a:extLst>
            </p:cNvPr>
            <p:cNvSpPr/>
            <p:nvPr userDrawn="1"/>
          </p:nvSpPr>
          <p:spPr bwMode="gray">
            <a:xfrm>
              <a:off x="665406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47" name="Rechteck 946">
              <a:extLst>
                <a:ext uri="{FF2B5EF4-FFF2-40B4-BE49-F238E27FC236}">
                  <a16:creationId xmlns:a16="http://schemas.microsoft.com/office/drawing/2014/main" id="{9CE369CC-AC2A-FA9A-9E75-5106EB39507C}"/>
                </a:ext>
              </a:extLst>
            </p:cNvPr>
            <p:cNvSpPr/>
            <p:nvPr userDrawn="1"/>
          </p:nvSpPr>
          <p:spPr bwMode="gray">
            <a:xfrm>
              <a:off x="607800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48" name="Rechteck 947">
              <a:extLst>
                <a:ext uri="{FF2B5EF4-FFF2-40B4-BE49-F238E27FC236}">
                  <a16:creationId xmlns:a16="http://schemas.microsoft.com/office/drawing/2014/main" id="{72B05C4F-F21E-D1A8-08B3-1089D63679B0}"/>
                </a:ext>
              </a:extLst>
            </p:cNvPr>
            <p:cNvSpPr/>
            <p:nvPr userDrawn="1"/>
          </p:nvSpPr>
          <p:spPr bwMode="gray">
            <a:xfrm>
              <a:off x="550193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49" name="Rechteck 948">
              <a:extLst>
                <a:ext uri="{FF2B5EF4-FFF2-40B4-BE49-F238E27FC236}">
                  <a16:creationId xmlns:a16="http://schemas.microsoft.com/office/drawing/2014/main" id="{8567DCB5-AD5B-AE23-8424-B3021EC0A4A5}"/>
                </a:ext>
              </a:extLst>
            </p:cNvPr>
            <p:cNvSpPr/>
            <p:nvPr userDrawn="1"/>
          </p:nvSpPr>
          <p:spPr bwMode="gray">
            <a:xfrm>
              <a:off x="492587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50" name="Rechteck 949">
              <a:extLst>
                <a:ext uri="{FF2B5EF4-FFF2-40B4-BE49-F238E27FC236}">
                  <a16:creationId xmlns:a16="http://schemas.microsoft.com/office/drawing/2014/main" id="{1AADDD1F-C82B-3115-2597-8C5FDBFF1C87}"/>
                </a:ext>
              </a:extLst>
            </p:cNvPr>
            <p:cNvSpPr/>
            <p:nvPr userDrawn="1"/>
          </p:nvSpPr>
          <p:spPr bwMode="gray">
            <a:xfrm>
              <a:off x="434980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51" name="Rechteck 950">
              <a:extLst>
                <a:ext uri="{FF2B5EF4-FFF2-40B4-BE49-F238E27FC236}">
                  <a16:creationId xmlns:a16="http://schemas.microsoft.com/office/drawing/2014/main" id="{CD44EB69-B2C6-6B60-99EC-87136821D921}"/>
                </a:ext>
              </a:extLst>
            </p:cNvPr>
            <p:cNvSpPr/>
            <p:nvPr userDrawn="1"/>
          </p:nvSpPr>
          <p:spPr bwMode="gray">
            <a:xfrm>
              <a:off x="377374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52" name="Rechteck 951">
              <a:extLst>
                <a:ext uri="{FF2B5EF4-FFF2-40B4-BE49-F238E27FC236}">
                  <a16:creationId xmlns:a16="http://schemas.microsoft.com/office/drawing/2014/main" id="{B0017166-ABCA-1D7F-6017-9BA6DC427058}"/>
                </a:ext>
              </a:extLst>
            </p:cNvPr>
            <p:cNvSpPr/>
            <p:nvPr userDrawn="1"/>
          </p:nvSpPr>
          <p:spPr bwMode="gray">
            <a:xfrm>
              <a:off x="319768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53" name="Rechteck 952">
              <a:extLst>
                <a:ext uri="{FF2B5EF4-FFF2-40B4-BE49-F238E27FC236}">
                  <a16:creationId xmlns:a16="http://schemas.microsoft.com/office/drawing/2014/main" id="{4FB3F06A-3544-E5D4-366C-267CE9554DB0}"/>
                </a:ext>
              </a:extLst>
            </p:cNvPr>
            <p:cNvSpPr/>
            <p:nvPr userDrawn="1"/>
          </p:nvSpPr>
          <p:spPr bwMode="gray">
            <a:xfrm>
              <a:off x="262161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54" name="Rechteck 953">
              <a:extLst>
                <a:ext uri="{FF2B5EF4-FFF2-40B4-BE49-F238E27FC236}">
                  <a16:creationId xmlns:a16="http://schemas.microsoft.com/office/drawing/2014/main" id="{61674FDF-0EBD-CD04-1695-2569C28F7CA9}"/>
                </a:ext>
              </a:extLst>
            </p:cNvPr>
            <p:cNvSpPr/>
            <p:nvPr userDrawn="1"/>
          </p:nvSpPr>
          <p:spPr bwMode="gray">
            <a:xfrm>
              <a:off x="204555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55" name="Rechteck 954">
              <a:extLst>
                <a:ext uri="{FF2B5EF4-FFF2-40B4-BE49-F238E27FC236}">
                  <a16:creationId xmlns:a16="http://schemas.microsoft.com/office/drawing/2014/main" id="{98191983-0F7E-1104-2740-66CA77B18AD5}"/>
                </a:ext>
              </a:extLst>
            </p:cNvPr>
            <p:cNvSpPr/>
            <p:nvPr userDrawn="1"/>
          </p:nvSpPr>
          <p:spPr bwMode="gray">
            <a:xfrm>
              <a:off x="146948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56" name="Rechteck 955">
              <a:extLst>
                <a:ext uri="{FF2B5EF4-FFF2-40B4-BE49-F238E27FC236}">
                  <a16:creationId xmlns:a16="http://schemas.microsoft.com/office/drawing/2014/main" id="{C4AC54BD-8646-1F0E-5C69-AA48C3B4EE12}"/>
                </a:ext>
              </a:extLst>
            </p:cNvPr>
            <p:cNvSpPr/>
            <p:nvPr userDrawn="1"/>
          </p:nvSpPr>
          <p:spPr bwMode="gray">
            <a:xfrm>
              <a:off x="89342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57" name="Rechteck 956">
              <a:extLst>
                <a:ext uri="{FF2B5EF4-FFF2-40B4-BE49-F238E27FC236}">
                  <a16:creationId xmlns:a16="http://schemas.microsoft.com/office/drawing/2014/main" id="{5ABB28DD-1460-EF46-90C1-A31A9199D33A}"/>
                </a:ext>
              </a:extLst>
            </p:cNvPr>
            <p:cNvSpPr/>
            <p:nvPr userDrawn="1"/>
          </p:nvSpPr>
          <p:spPr bwMode="gray">
            <a:xfrm>
              <a:off x="31736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58" name="Rechteck 957">
              <a:extLst>
                <a:ext uri="{FF2B5EF4-FFF2-40B4-BE49-F238E27FC236}">
                  <a16:creationId xmlns:a16="http://schemas.microsoft.com/office/drawing/2014/main" id="{52165D76-E74C-D216-D112-52B2D62B5F39}"/>
                </a:ext>
              </a:extLst>
            </p:cNvPr>
            <p:cNvSpPr/>
            <p:nvPr userDrawn="1"/>
          </p:nvSpPr>
          <p:spPr bwMode="gray">
            <a:xfrm>
              <a:off x="1126257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59" name="Rechteck 958">
              <a:extLst>
                <a:ext uri="{FF2B5EF4-FFF2-40B4-BE49-F238E27FC236}">
                  <a16:creationId xmlns:a16="http://schemas.microsoft.com/office/drawing/2014/main" id="{5059C01F-F6FE-8E92-1EAF-B61BAA19ADD0}"/>
                </a:ext>
              </a:extLst>
            </p:cNvPr>
            <p:cNvSpPr/>
            <p:nvPr userDrawn="1"/>
          </p:nvSpPr>
          <p:spPr bwMode="gray">
            <a:xfrm>
              <a:off x="1068651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60" name="Rechteck 959">
              <a:extLst>
                <a:ext uri="{FF2B5EF4-FFF2-40B4-BE49-F238E27FC236}">
                  <a16:creationId xmlns:a16="http://schemas.microsoft.com/office/drawing/2014/main" id="{DA03E7C0-1A94-72D1-B7B7-2C1F3A3AABB1}"/>
                </a:ext>
              </a:extLst>
            </p:cNvPr>
            <p:cNvSpPr/>
            <p:nvPr userDrawn="1"/>
          </p:nvSpPr>
          <p:spPr bwMode="gray">
            <a:xfrm>
              <a:off x="1011044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61" name="Rechteck 960">
              <a:extLst>
                <a:ext uri="{FF2B5EF4-FFF2-40B4-BE49-F238E27FC236}">
                  <a16:creationId xmlns:a16="http://schemas.microsoft.com/office/drawing/2014/main" id="{D6BA087C-D1E3-412F-10B9-C4E4D1350E41}"/>
                </a:ext>
              </a:extLst>
            </p:cNvPr>
            <p:cNvSpPr/>
            <p:nvPr userDrawn="1"/>
          </p:nvSpPr>
          <p:spPr bwMode="gray">
            <a:xfrm>
              <a:off x="953438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62" name="Rechteck 961">
              <a:extLst>
                <a:ext uri="{FF2B5EF4-FFF2-40B4-BE49-F238E27FC236}">
                  <a16:creationId xmlns:a16="http://schemas.microsoft.com/office/drawing/2014/main" id="{0A942A63-B471-966C-7A7E-72C09013CA9B}"/>
                </a:ext>
              </a:extLst>
            </p:cNvPr>
            <p:cNvSpPr/>
            <p:nvPr userDrawn="1"/>
          </p:nvSpPr>
          <p:spPr bwMode="gray">
            <a:xfrm>
              <a:off x="895832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63" name="Rechteck 962">
              <a:extLst>
                <a:ext uri="{FF2B5EF4-FFF2-40B4-BE49-F238E27FC236}">
                  <a16:creationId xmlns:a16="http://schemas.microsoft.com/office/drawing/2014/main" id="{9D3F32E1-E23B-FC95-DA07-D8BA00C39D00}"/>
                </a:ext>
              </a:extLst>
            </p:cNvPr>
            <p:cNvSpPr/>
            <p:nvPr userDrawn="1"/>
          </p:nvSpPr>
          <p:spPr bwMode="gray">
            <a:xfrm>
              <a:off x="838225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64" name="Rechteck 963">
              <a:extLst>
                <a:ext uri="{FF2B5EF4-FFF2-40B4-BE49-F238E27FC236}">
                  <a16:creationId xmlns:a16="http://schemas.microsoft.com/office/drawing/2014/main" id="{2A4628E4-1FDB-46EB-C022-0D5C25694B8C}"/>
                </a:ext>
              </a:extLst>
            </p:cNvPr>
            <p:cNvSpPr/>
            <p:nvPr userDrawn="1"/>
          </p:nvSpPr>
          <p:spPr bwMode="gray">
            <a:xfrm>
              <a:off x="780619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65" name="Rechteck 964">
              <a:extLst>
                <a:ext uri="{FF2B5EF4-FFF2-40B4-BE49-F238E27FC236}">
                  <a16:creationId xmlns:a16="http://schemas.microsoft.com/office/drawing/2014/main" id="{25AF6449-43EC-D064-637D-2FFF4D3728B8}"/>
                </a:ext>
              </a:extLst>
            </p:cNvPr>
            <p:cNvSpPr/>
            <p:nvPr userDrawn="1"/>
          </p:nvSpPr>
          <p:spPr bwMode="gray">
            <a:xfrm>
              <a:off x="723012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66" name="Rechteck 965">
              <a:extLst>
                <a:ext uri="{FF2B5EF4-FFF2-40B4-BE49-F238E27FC236}">
                  <a16:creationId xmlns:a16="http://schemas.microsoft.com/office/drawing/2014/main" id="{502B7D62-E8D1-15B1-4005-60549C2478AA}"/>
                </a:ext>
              </a:extLst>
            </p:cNvPr>
            <p:cNvSpPr/>
            <p:nvPr userDrawn="1"/>
          </p:nvSpPr>
          <p:spPr bwMode="gray">
            <a:xfrm>
              <a:off x="665406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67" name="Rechteck 966">
              <a:extLst>
                <a:ext uri="{FF2B5EF4-FFF2-40B4-BE49-F238E27FC236}">
                  <a16:creationId xmlns:a16="http://schemas.microsoft.com/office/drawing/2014/main" id="{674C0385-C06F-406D-D15A-FAD4D8AD848C}"/>
                </a:ext>
              </a:extLst>
            </p:cNvPr>
            <p:cNvSpPr/>
            <p:nvPr userDrawn="1"/>
          </p:nvSpPr>
          <p:spPr bwMode="gray">
            <a:xfrm>
              <a:off x="607800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68" name="Rechteck 967">
              <a:extLst>
                <a:ext uri="{FF2B5EF4-FFF2-40B4-BE49-F238E27FC236}">
                  <a16:creationId xmlns:a16="http://schemas.microsoft.com/office/drawing/2014/main" id="{A9943EEF-FB5B-AC27-8A22-19611164F69C}"/>
                </a:ext>
              </a:extLst>
            </p:cNvPr>
            <p:cNvSpPr/>
            <p:nvPr userDrawn="1"/>
          </p:nvSpPr>
          <p:spPr bwMode="gray">
            <a:xfrm>
              <a:off x="550193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69" name="Rechteck 968">
              <a:extLst>
                <a:ext uri="{FF2B5EF4-FFF2-40B4-BE49-F238E27FC236}">
                  <a16:creationId xmlns:a16="http://schemas.microsoft.com/office/drawing/2014/main" id="{98EEF0B7-7B87-E740-33D5-9F174D52E952}"/>
                </a:ext>
              </a:extLst>
            </p:cNvPr>
            <p:cNvSpPr/>
            <p:nvPr userDrawn="1"/>
          </p:nvSpPr>
          <p:spPr bwMode="gray">
            <a:xfrm>
              <a:off x="492587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70" name="Rechteck 969">
              <a:extLst>
                <a:ext uri="{FF2B5EF4-FFF2-40B4-BE49-F238E27FC236}">
                  <a16:creationId xmlns:a16="http://schemas.microsoft.com/office/drawing/2014/main" id="{0134FC07-3DF7-4C3E-98A3-5E348FB4AA3A}"/>
                </a:ext>
              </a:extLst>
            </p:cNvPr>
            <p:cNvSpPr/>
            <p:nvPr userDrawn="1"/>
          </p:nvSpPr>
          <p:spPr bwMode="gray">
            <a:xfrm>
              <a:off x="434980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71" name="Rechteck 970">
              <a:extLst>
                <a:ext uri="{FF2B5EF4-FFF2-40B4-BE49-F238E27FC236}">
                  <a16:creationId xmlns:a16="http://schemas.microsoft.com/office/drawing/2014/main" id="{680653F0-7C46-8CF4-3016-49912DD2184E}"/>
                </a:ext>
              </a:extLst>
            </p:cNvPr>
            <p:cNvSpPr/>
            <p:nvPr userDrawn="1"/>
          </p:nvSpPr>
          <p:spPr bwMode="gray">
            <a:xfrm>
              <a:off x="377374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72" name="Rechteck 971">
              <a:extLst>
                <a:ext uri="{FF2B5EF4-FFF2-40B4-BE49-F238E27FC236}">
                  <a16:creationId xmlns:a16="http://schemas.microsoft.com/office/drawing/2014/main" id="{21BF1A47-1ADF-9223-C04F-19D225632738}"/>
                </a:ext>
              </a:extLst>
            </p:cNvPr>
            <p:cNvSpPr/>
            <p:nvPr userDrawn="1"/>
          </p:nvSpPr>
          <p:spPr bwMode="gray">
            <a:xfrm>
              <a:off x="319768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73" name="Rechteck 972">
              <a:extLst>
                <a:ext uri="{FF2B5EF4-FFF2-40B4-BE49-F238E27FC236}">
                  <a16:creationId xmlns:a16="http://schemas.microsoft.com/office/drawing/2014/main" id="{27A5C4D5-023E-69BC-C4A7-FFC4C633BE21}"/>
                </a:ext>
              </a:extLst>
            </p:cNvPr>
            <p:cNvSpPr/>
            <p:nvPr userDrawn="1"/>
          </p:nvSpPr>
          <p:spPr bwMode="gray">
            <a:xfrm>
              <a:off x="262161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74" name="Rechteck 973">
              <a:extLst>
                <a:ext uri="{FF2B5EF4-FFF2-40B4-BE49-F238E27FC236}">
                  <a16:creationId xmlns:a16="http://schemas.microsoft.com/office/drawing/2014/main" id="{A72C044D-7AA9-7DED-4DD4-B549040CB905}"/>
                </a:ext>
              </a:extLst>
            </p:cNvPr>
            <p:cNvSpPr/>
            <p:nvPr userDrawn="1"/>
          </p:nvSpPr>
          <p:spPr bwMode="gray">
            <a:xfrm>
              <a:off x="204555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75" name="Rechteck 974">
              <a:extLst>
                <a:ext uri="{FF2B5EF4-FFF2-40B4-BE49-F238E27FC236}">
                  <a16:creationId xmlns:a16="http://schemas.microsoft.com/office/drawing/2014/main" id="{C8070613-0CA8-B8B5-5A8F-40EADDCB2F21}"/>
                </a:ext>
              </a:extLst>
            </p:cNvPr>
            <p:cNvSpPr/>
            <p:nvPr userDrawn="1"/>
          </p:nvSpPr>
          <p:spPr bwMode="gray">
            <a:xfrm>
              <a:off x="146948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76" name="Rechteck 975">
              <a:extLst>
                <a:ext uri="{FF2B5EF4-FFF2-40B4-BE49-F238E27FC236}">
                  <a16:creationId xmlns:a16="http://schemas.microsoft.com/office/drawing/2014/main" id="{63E6A1C9-2B8A-433D-BC67-F1EDC513E1AF}"/>
                </a:ext>
              </a:extLst>
            </p:cNvPr>
            <p:cNvSpPr/>
            <p:nvPr userDrawn="1"/>
          </p:nvSpPr>
          <p:spPr bwMode="gray">
            <a:xfrm>
              <a:off x="89342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77" name="Rechteck 976">
              <a:extLst>
                <a:ext uri="{FF2B5EF4-FFF2-40B4-BE49-F238E27FC236}">
                  <a16:creationId xmlns:a16="http://schemas.microsoft.com/office/drawing/2014/main" id="{CAB35196-54FA-DABB-7E46-B9503190D238}"/>
                </a:ext>
              </a:extLst>
            </p:cNvPr>
            <p:cNvSpPr/>
            <p:nvPr userDrawn="1"/>
          </p:nvSpPr>
          <p:spPr bwMode="gray">
            <a:xfrm>
              <a:off x="31736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78" name="Rechteck 977">
              <a:extLst>
                <a:ext uri="{FF2B5EF4-FFF2-40B4-BE49-F238E27FC236}">
                  <a16:creationId xmlns:a16="http://schemas.microsoft.com/office/drawing/2014/main" id="{1AF2ABEC-EA58-ED1E-4CC8-0A2432A4076E}"/>
                </a:ext>
              </a:extLst>
            </p:cNvPr>
            <p:cNvSpPr/>
            <p:nvPr userDrawn="1"/>
          </p:nvSpPr>
          <p:spPr bwMode="gray">
            <a:xfrm>
              <a:off x="1183864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79" name="Rechteck 978">
              <a:extLst>
                <a:ext uri="{FF2B5EF4-FFF2-40B4-BE49-F238E27FC236}">
                  <a16:creationId xmlns:a16="http://schemas.microsoft.com/office/drawing/2014/main" id="{53A8503A-1855-A3F4-19BA-B4AC0BB7503D}"/>
                </a:ext>
              </a:extLst>
            </p:cNvPr>
            <p:cNvSpPr/>
            <p:nvPr userDrawn="1"/>
          </p:nvSpPr>
          <p:spPr bwMode="gray">
            <a:xfrm>
              <a:off x="1183864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80" name="Rechteck 979">
              <a:extLst>
                <a:ext uri="{FF2B5EF4-FFF2-40B4-BE49-F238E27FC236}">
                  <a16:creationId xmlns:a16="http://schemas.microsoft.com/office/drawing/2014/main" id="{AD9E912B-C8E9-129F-42B1-6D1E422791E9}"/>
                </a:ext>
              </a:extLst>
            </p:cNvPr>
            <p:cNvSpPr/>
            <p:nvPr userDrawn="1"/>
          </p:nvSpPr>
          <p:spPr bwMode="gray">
            <a:xfrm>
              <a:off x="1183864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81" name="Rechteck 980">
              <a:extLst>
                <a:ext uri="{FF2B5EF4-FFF2-40B4-BE49-F238E27FC236}">
                  <a16:creationId xmlns:a16="http://schemas.microsoft.com/office/drawing/2014/main" id="{44E1B8D2-1799-8C8D-BDCE-ACE9880D3FA6}"/>
                </a:ext>
              </a:extLst>
            </p:cNvPr>
            <p:cNvSpPr/>
            <p:nvPr userDrawn="1"/>
          </p:nvSpPr>
          <p:spPr bwMode="gray">
            <a:xfrm>
              <a:off x="1183864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82" name="Rechteck 981">
              <a:extLst>
                <a:ext uri="{FF2B5EF4-FFF2-40B4-BE49-F238E27FC236}">
                  <a16:creationId xmlns:a16="http://schemas.microsoft.com/office/drawing/2014/main" id="{0E9CB05C-4E69-826D-7441-72B2F37582B2}"/>
                </a:ext>
              </a:extLst>
            </p:cNvPr>
            <p:cNvSpPr/>
            <p:nvPr userDrawn="1"/>
          </p:nvSpPr>
          <p:spPr bwMode="gray">
            <a:xfrm>
              <a:off x="1183864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83" name="Rechteck 982">
              <a:extLst>
                <a:ext uri="{FF2B5EF4-FFF2-40B4-BE49-F238E27FC236}">
                  <a16:creationId xmlns:a16="http://schemas.microsoft.com/office/drawing/2014/main" id="{EDB384EF-13AA-67CF-138C-270B0CD4B2D2}"/>
                </a:ext>
              </a:extLst>
            </p:cNvPr>
            <p:cNvSpPr/>
            <p:nvPr userDrawn="1"/>
          </p:nvSpPr>
          <p:spPr bwMode="gray">
            <a:xfrm>
              <a:off x="1183864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84" name="Rechteck 983">
              <a:extLst>
                <a:ext uri="{FF2B5EF4-FFF2-40B4-BE49-F238E27FC236}">
                  <a16:creationId xmlns:a16="http://schemas.microsoft.com/office/drawing/2014/main" id="{25614EFD-5648-DFF0-6EBD-064026DC6D45}"/>
                </a:ext>
              </a:extLst>
            </p:cNvPr>
            <p:cNvSpPr/>
            <p:nvPr userDrawn="1"/>
          </p:nvSpPr>
          <p:spPr bwMode="gray">
            <a:xfrm>
              <a:off x="1183864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85" name="Rechteck 984">
              <a:extLst>
                <a:ext uri="{FF2B5EF4-FFF2-40B4-BE49-F238E27FC236}">
                  <a16:creationId xmlns:a16="http://schemas.microsoft.com/office/drawing/2014/main" id="{10E130EC-E54A-C3D5-12AF-99E1010477CB}"/>
                </a:ext>
              </a:extLst>
            </p:cNvPr>
            <p:cNvSpPr/>
            <p:nvPr userDrawn="1"/>
          </p:nvSpPr>
          <p:spPr bwMode="gray">
            <a:xfrm>
              <a:off x="1183864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986" name="Rechteck 985">
              <a:extLst>
                <a:ext uri="{FF2B5EF4-FFF2-40B4-BE49-F238E27FC236}">
                  <a16:creationId xmlns:a16="http://schemas.microsoft.com/office/drawing/2014/main" id="{E4DF4B1B-9830-7394-6200-30F4070492C0}"/>
                </a:ext>
              </a:extLst>
            </p:cNvPr>
            <p:cNvSpPr/>
            <p:nvPr userDrawn="1"/>
          </p:nvSpPr>
          <p:spPr bwMode="gray">
            <a:xfrm>
              <a:off x="1183864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grpSp>
      <p:sp>
        <p:nvSpPr>
          <p:cNvPr id="480" name="Shape">
            <a:extLst>
              <a:ext uri="{FF2B5EF4-FFF2-40B4-BE49-F238E27FC236}">
                <a16:creationId xmlns:a16="http://schemas.microsoft.com/office/drawing/2014/main" id="{C6B2D270-DE50-2989-2167-C48C56756784}"/>
              </a:ext>
              <a:ext uri="{C183D7F6-B498-43B3-948B-1728B52AA6E4}">
                <adec:decorative xmlns:adec="http://schemas.microsoft.com/office/drawing/2017/decorative" val="1"/>
              </a:ext>
            </a:extLst>
          </p:cNvPr>
          <p:cNvSpPr>
            <a:spLocks/>
          </p:cNvSpPr>
          <p:nvPr userDrawn="1"/>
        </p:nvSpPr>
        <p:spPr bwMode="gray">
          <a:xfrm>
            <a:off x="911424" y="2060848"/>
            <a:ext cx="6344926" cy="3457575"/>
          </a:xfrm>
          <a:custGeom>
            <a:avLst/>
            <a:gdLst>
              <a:gd name="connsiteX0" fmla="*/ 0 w 8604027"/>
              <a:gd name="connsiteY0" fmla="*/ 857 h 5734812"/>
              <a:gd name="connsiteX1" fmla="*/ 8604028 w 8604027"/>
              <a:gd name="connsiteY1" fmla="*/ 0 h 5734812"/>
              <a:gd name="connsiteX2" fmla="*/ 7170039 w 8604027"/>
              <a:gd name="connsiteY2" fmla="*/ 4301966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02506 w 8604029"/>
              <a:gd name="connsiteY2" fmla="*/ 3984076 h 5734812"/>
              <a:gd name="connsiteX3" fmla="*/ 0 w 8604029"/>
              <a:gd name="connsiteY3" fmla="*/ 5734812 h 5734812"/>
              <a:gd name="connsiteX4" fmla="*/ 0 w 8604029"/>
              <a:gd name="connsiteY4" fmla="*/ 857 h 5734812"/>
              <a:gd name="connsiteX0" fmla="*/ 0 w 8604027"/>
              <a:gd name="connsiteY0" fmla="*/ 857 h 5734812"/>
              <a:gd name="connsiteX1" fmla="*/ 8604028 w 8604027"/>
              <a:gd name="connsiteY1" fmla="*/ 0 h 5734812"/>
              <a:gd name="connsiteX2" fmla="*/ 7046854 w 8604027"/>
              <a:gd name="connsiteY2" fmla="*/ 4091749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50550 w 8604029"/>
              <a:gd name="connsiteY2" fmla="*/ 4107130 h 5734812"/>
              <a:gd name="connsiteX3" fmla="*/ 0 w 8604029"/>
              <a:gd name="connsiteY3" fmla="*/ 5734812 h 5734812"/>
              <a:gd name="connsiteX4" fmla="*/ 0 w 8604029"/>
              <a:gd name="connsiteY4" fmla="*/ 857 h 5734812"/>
              <a:gd name="connsiteX0" fmla="*/ 0 w 8604028"/>
              <a:gd name="connsiteY0" fmla="*/ 857 h 5734812"/>
              <a:gd name="connsiteX1" fmla="*/ 8604028 w 8604028"/>
              <a:gd name="connsiteY1" fmla="*/ 0 h 5734812"/>
              <a:gd name="connsiteX2" fmla="*/ 7288205 w 8604028"/>
              <a:gd name="connsiteY2" fmla="*/ 4276474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7288205 w 8604028"/>
              <a:gd name="connsiteY2" fmla="*/ 4306956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900714 w 8604028"/>
              <a:gd name="connsiteY2" fmla="*/ 3690820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7055711 w 8604028"/>
              <a:gd name="connsiteY2" fmla="*/ 4812505 h 5734812"/>
              <a:gd name="connsiteX3" fmla="*/ 0 w 8604028"/>
              <a:gd name="connsiteY3" fmla="*/ 5734812 h 5734812"/>
              <a:gd name="connsiteX4" fmla="*/ 0 w 8604028"/>
              <a:gd name="connsiteY4" fmla="*/ 857 h 5734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4028" h="5734812">
                <a:moveTo>
                  <a:pt x="0" y="857"/>
                </a:moveTo>
                <a:lnTo>
                  <a:pt x="8604028" y="0"/>
                </a:lnTo>
                <a:lnTo>
                  <a:pt x="7055711" y="4812505"/>
                </a:lnTo>
                <a:lnTo>
                  <a:pt x="0" y="5734812"/>
                </a:lnTo>
                <a:lnTo>
                  <a:pt x="0" y="857"/>
                </a:lnTo>
                <a:close/>
              </a:path>
            </a:pathLst>
          </a:custGeom>
          <a:solidFill>
            <a:schemeClr val="bg1"/>
          </a:solidFill>
          <a:ln w="76200" cap="flat">
            <a:solidFill>
              <a:schemeClr val="bg1"/>
            </a:solidFill>
            <a:prstDash val="solid"/>
            <a:miter/>
          </a:ln>
        </p:spPr>
        <p:txBody>
          <a:bodyPr rtlCol="0" anchor="ctr"/>
          <a:lstStyle/>
          <a:p>
            <a:endParaRPr lang="en-GB" dirty="0"/>
          </a:p>
        </p:txBody>
      </p:sp>
      <p:sp>
        <p:nvSpPr>
          <p:cNvPr id="270" name="Shape">
            <a:extLst>
              <a:ext uri="{FF2B5EF4-FFF2-40B4-BE49-F238E27FC236}">
                <a16:creationId xmlns:a16="http://schemas.microsoft.com/office/drawing/2014/main" id="{CA04DA29-1BDE-4E17-8832-0715948621EA}"/>
              </a:ext>
              <a:ext uri="{C183D7F6-B498-43B3-948B-1728B52AA6E4}">
                <adec:decorative xmlns:adec="http://schemas.microsoft.com/office/drawing/2017/decorative" val="1"/>
              </a:ext>
            </a:extLst>
          </p:cNvPr>
          <p:cNvSpPr>
            <a:spLocks/>
          </p:cNvSpPr>
          <p:nvPr userDrawn="1"/>
        </p:nvSpPr>
        <p:spPr bwMode="gray">
          <a:xfrm>
            <a:off x="911984" y="2059254"/>
            <a:ext cx="6344926" cy="3457575"/>
          </a:xfrm>
          <a:custGeom>
            <a:avLst/>
            <a:gdLst>
              <a:gd name="connsiteX0" fmla="*/ 0 w 8604027"/>
              <a:gd name="connsiteY0" fmla="*/ 857 h 5734812"/>
              <a:gd name="connsiteX1" fmla="*/ 8604028 w 8604027"/>
              <a:gd name="connsiteY1" fmla="*/ 0 h 5734812"/>
              <a:gd name="connsiteX2" fmla="*/ 7170039 w 8604027"/>
              <a:gd name="connsiteY2" fmla="*/ 4301966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02506 w 8604029"/>
              <a:gd name="connsiteY2" fmla="*/ 3984076 h 5734812"/>
              <a:gd name="connsiteX3" fmla="*/ 0 w 8604029"/>
              <a:gd name="connsiteY3" fmla="*/ 5734812 h 5734812"/>
              <a:gd name="connsiteX4" fmla="*/ 0 w 8604029"/>
              <a:gd name="connsiteY4" fmla="*/ 857 h 5734812"/>
              <a:gd name="connsiteX0" fmla="*/ 0 w 8604027"/>
              <a:gd name="connsiteY0" fmla="*/ 857 h 5734812"/>
              <a:gd name="connsiteX1" fmla="*/ 8604028 w 8604027"/>
              <a:gd name="connsiteY1" fmla="*/ 0 h 5734812"/>
              <a:gd name="connsiteX2" fmla="*/ 7046854 w 8604027"/>
              <a:gd name="connsiteY2" fmla="*/ 4091749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50550 w 8604029"/>
              <a:gd name="connsiteY2" fmla="*/ 4107130 h 5734812"/>
              <a:gd name="connsiteX3" fmla="*/ 0 w 8604029"/>
              <a:gd name="connsiteY3" fmla="*/ 5734812 h 5734812"/>
              <a:gd name="connsiteX4" fmla="*/ 0 w 8604029"/>
              <a:gd name="connsiteY4" fmla="*/ 857 h 5734812"/>
              <a:gd name="connsiteX0" fmla="*/ 0 w 8604028"/>
              <a:gd name="connsiteY0" fmla="*/ 857 h 5734812"/>
              <a:gd name="connsiteX1" fmla="*/ 8604028 w 8604028"/>
              <a:gd name="connsiteY1" fmla="*/ 0 h 5734812"/>
              <a:gd name="connsiteX2" fmla="*/ 7288205 w 8604028"/>
              <a:gd name="connsiteY2" fmla="*/ 4276474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7288205 w 8604028"/>
              <a:gd name="connsiteY2" fmla="*/ 4306956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900714 w 8604028"/>
              <a:gd name="connsiteY2" fmla="*/ 3690820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7055711 w 8604028"/>
              <a:gd name="connsiteY2" fmla="*/ 4812505 h 5734812"/>
              <a:gd name="connsiteX3" fmla="*/ 0 w 8604028"/>
              <a:gd name="connsiteY3" fmla="*/ 5734812 h 5734812"/>
              <a:gd name="connsiteX4" fmla="*/ 0 w 8604028"/>
              <a:gd name="connsiteY4" fmla="*/ 857 h 5734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4028" h="5734812">
                <a:moveTo>
                  <a:pt x="0" y="857"/>
                </a:moveTo>
                <a:lnTo>
                  <a:pt x="8604028" y="0"/>
                </a:lnTo>
                <a:lnTo>
                  <a:pt x="7055711" y="4812505"/>
                </a:lnTo>
                <a:lnTo>
                  <a:pt x="0" y="5734812"/>
                </a:lnTo>
                <a:lnTo>
                  <a:pt x="0" y="857"/>
                </a:lnTo>
                <a:close/>
              </a:path>
            </a:pathLst>
          </a:custGeom>
          <a:solidFill>
            <a:schemeClr val="tx1"/>
          </a:solidFill>
          <a:ln w="9525" cap="flat">
            <a:noFill/>
            <a:prstDash val="solid"/>
            <a:miter/>
          </a:ln>
        </p:spPr>
        <p:txBody>
          <a:bodyPr rtlCol="0" anchor="ctr"/>
          <a:lstStyle/>
          <a:p>
            <a:endParaRPr lang="en-GB" dirty="0"/>
          </a:p>
        </p:txBody>
      </p:sp>
      <p:sp>
        <p:nvSpPr>
          <p:cNvPr id="255" name="Title">
            <a:extLst>
              <a:ext uri="{FF2B5EF4-FFF2-40B4-BE49-F238E27FC236}">
                <a16:creationId xmlns:a16="http://schemas.microsoft.com/office/drawing/2014/main" id="{9258FB6E-C910-44A9-A44D-172431214D36}"/>
              </a:ext>
            </a:extLst>
          </p:cNvPr>
          <p:cNvSpPr>
            <a:spLocks noGrp="1"/>
          </p:cNvSpPr>
          <p:nvPr userDrawn="1">
            <p:ph type="ctrTitle" hasCustomPrompt="1"/>
          </p:nvPr>
        </p:nvSpPr>
        <p:spPr bwMode="gray">
          <a:xfrm>
            <a:off x="1127448" y="2277024"/>
            <a:ext cx="4896000" cy="1008000"/>
          </a:xfrm>
          <a:prstGeom prst="rect">
            <a:avLst/>
          </a:prstGeom>
          <a:noFill/>
          <a:ln w="127">
            <a:noFill/>
          </a:ln>
        </p:spPr>
        <p:txBody>
          <a:bodyPr vert="horz" lIns="0" tIns="0" rIns="0" bIns="0" anchor="t">
            <a:noAutofit/>
          </a:bodyPr>
          <a:lstStyle>
            <a:lvl1pPr algn="l">
              <a:lnSpc>
                <a:spcPct val="90000"/>
              </a:lnSpc>
              <a:defRPr sz="3000" baseline="0">
                <a:solidFill>
                  <a:schemeClr val="bg1"/>
                </a:solidFill>
              </a:defRPr>
            </a:lvl1pPr>
          </a:lstStyle>
          <a:p>
            <a:r>
              <a:rPr lang="en-GB" dirty="0"/>
              <a:t>[Thank You and </a:t>
            </a:r>
            <a:br>
              <a:rPr lang="en-GB" dirty="0"/>
            </a:br>
            <a:r>
              <a:rPr lang="en-GB" dirty="0"/>
              <a:t>Call to action]</a:t>
            </a:r>
          </a:p>
        </p:txBody>
      </p:sp>
      <p:sp>
        <p:nvSpPr>
          <p:cNvPr id="274" name="Subtitle">
            <a:extLst>
              <a:ext uri="{FF2B5EF4-FFF2-40B4-BE49-F238E27FC236}">
                <a16:creationId xmlns:a16="http://schemas.microsoft.com/office/drawing/2014/main" id="{A8B8056C-BBE6-D8A0-F11F-1492BA40AB9A}"/>
              </a:ext>
            </a:extLst>
          </p:cNvPr>
          <p:cNvSpPr>
            <a:spLocks noGrp="1"/>
          </p:cNvSpPr>
          <p:nvPr>
            <p:ph type="subTitle" idx="13" hasCustomPrompt="1"/>
          </p:nvPr>
        </p:nvSpPr>
        <p:spPr bwMode="gray">
          <a:xfrm>
            <a:off x="1127984" y="3573048"/>
            <a:ext cx="4896008" cy="288000"/>
          </a:xfrm>
          <a:prstGeom prst="rect">
            <a:avLst/>
          </a:prstGeom>
          <a:noFill/>
          <a:ln w="127">
            <a:noFill/>
          </a:ln>
        </p:spPr>
        <p:txBody>
          <a:bodyPr wrap="none" lIns="0" tIns="0" rIns="0" anchor="t"/>
          <a:lstStyle>
            <a:lvl1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1pPr>
            <a:lvl2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2pPr>
            <a:lvl3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3pPr>
            <a:lvl4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4pPr>
            <a:lvl5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5pPr>
            <a:lvl6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6pPr>
            <a:lvl7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7pPr>
            <a:lvl8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8pPr>
            <a:lvl9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9pPr>
          </a:lstStyle>
          <a:p>
            <a:pPr lvl="0"/>
            <a:r>
              <a:rPr lang="en-GB" dirty="0"/>
              <a:t>gfk.com</a:t>
            </a:r>
          </a:p>
        </p:txBody>
      </p:sp>
      <p:pic>
        <p:nvPicPr>
          <p:cNvPr id="479" name="Logo">
            <a:extLst>
              <a:ext uri="{FF2B5EF4-FFF2-40B4-BE49-F238E27FC236}">
                <a16:creationId xmlns:a16="http://schemas.microsoft.com/office/drawing/2014/main" id="{CD1F25FC-D457-A092-4A7D-4BC76B748F24}"/>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bwMode="gray">
          <a:xfrm>
            <a:off x="10128448" y="335757"/>
            <a:ext cx="1358180" cy="576000"/>
          </a:xfrm>
          <a:prstGeom prst="rect">
            <a:avLst/>
          </a:prstGeom>
        </p:spPr>
      </p:pic>
    </p:spTree>
    <p:extLst>
      <p:ext uri="{BB962C8B-B14F-4D97-AF65-F5344CB8AC3E}">
        <p14:creationId xmlns:p14="http://schemas.microsoft.com/office/powerpoint/2010/main" val="205606745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End slide 4">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725401A3-1209-B2CE-B713-0032FCB4AD49}"/>
              </a:ext>
            </a:extLst>
          </p:cNvPr>
          <p:cNvGraphicFramePr>
            <a:graphicFrameLocks noChangeAspect="1"/>
          </p:cNvGraphicFramePr>
          <p:nvPr userDrawn="1">
            <p:custDataLst>
              <p:tags r:id="rId1"/>
            </p:custDataLst>
            <p:extLst>
              <p:ext uri="{D42A27DB-BD31-4B8C-83A1-F6EECF244321}">
                <p14:modId xmlns:p14="http://schemas.microsoft.com/office/powerpoint/2010/main" val="904546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3" name="Objekt 2" hidden="1">
                        <a:extLst>
                          <a:ext uri="{FF2B5EF4-FFF2-40B4-BE49-F238E27FC236}">
                            <a16:creationId xmlns:a16="http://schemas.microsoft.com/office/drawing/2014/main" id="{725401A3-1209-B2CE-B713-0032FCB4AD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85" name="Gruppieren 584">
            <a:extLst>
              <a:ext uri="{FF2B5EF4-FFF2-40B4-BE49-F238E27FC236}">
                <a16:creationId xmlns:a16="http://schemas.microsoft.com/office/drawing/2014/main" id="{71CE88F9-7B3E-662C-9819-E2922DB3BEA2}"/>
              </a:ext>
            </a:extLst>
          </p:cNvPr>
          <p:cNvGrpSpPr/>
          <p:nvPr userDrawn="1"/>
        </p:nvGrpSpPr>
        <p:grpSpPr>
          <a:xfrm>
            <a:off x="317360" y="1484784"/>
            <a:ext cx="11539280" cy="4626512"/>
            <a:chOff x="317360" y="1484784"/>
            <a:chExt cx="11539280" cy="4626512"/>
          </a:xfrm>
        </p:grpSpPr>
        <p:sp>
          <p:nvSpPr>
            <p:cNvPr id="586" name="Rechteck 585">
              <a:extLst>
                <a:ext uri="{FF2B5EF4-FFF2-40B4-BE49-F238E27FC236}">
                  <a16:creationId xmlns:a16="http://schemas.microsoft.com/office/drawing/2014/main" id="{B7C09CB3-AFF1-BC22-2342-777800DE803F}"/>
                </a:ext>
              </a:extLst>
            </p:cNvPr>
            <p:cNvSpPr/>
            <p:nvPr userDrawn="1"/>
          </p:nvSpPr>
          <p:spPr bwMode="gray">
            <a:xfrm>
              <a:off x="1126257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87" name="Rechteck 586">
              <a:extLst>
                <a:ext uri="{FF2B5EF4-FFF2-40B4-BE49-F238E27FC236}">
                  <a16:creationId xmlns:a16="http://schemas.microsoft.com/office/drawing/2014/main" id="{5EF131E0-24CF-4830-B56A-655E784BA020}"/>
                </a:ext>
              </a:extLst>
            </p:cNvPr>
            <p:cNvSpPr/>
            <p:nvPr userDrawn="1"/>
          </p:nvSpPr>
          <p:spPr bwMode="gray">
            <a:xfrm>
              <a:off x="1068651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88" name="Rechteck 587">
              <a:extLst>
                <a:ext uri="{FF2B5EF4-FFF2-40B4-BE49-F238E27FC236}">
                  <a16:creationId xmlns:a16="http://schemas.microsoft.com/office/drawing/2014/main" id="{96917198-8F30-57F1-0DF8-D44160EACEC0}"/>
                </a:ext>
              </a:extLst>
            </p:cNvPr>
            <p:cNvSpPr/>
            <p:nvPr userDrawn="1"/>
          </p:nvSpPr>
          <p:spPr bwMode="gray">
            <a:xfrm>
              <a:off x="1011044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89" name="Rechteck 588">
              <a:extLst>
                <a:ext uri="{FF2B5EF4-FFF2-40B4-BE49-F238E27FC236}">
                  <a16:creationId xmlns:a16="http://schemas.microsoft.com/office/drawing/2014/main" id="{71E0D0C9-047F-18E1-F917-19980AF5758A}"/>
                </a:ext>
              </a:extLst>
            </p:cNvPr>
            <p:cNvSpPr/>
            <p:nvPr userDrawn="1"/>
          </p:nvSpPr>
          <p:spPr bwMode="gray">
            <a:xfrm>
              <a:off x="953438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0" name="Rechteck 589">
              <a:extLst>
                <a:ext uri="{FF2B5EF4-FFF2-40B4-BE49-F238E27FC236}">
                  <a16:creationId xmlns:a16="http://schemas.microsoft.com/office/drawing/2014/main" id="{764117CA-7850-7B85-C4B7-1D29998CAA7F}"/>
                </a:ext>
              </a:extLst>
            </p:cNvPr>
            <p:cNvSpPr/>
            <p:nvPr userDrawn="1"/>
          </p:nvSpPr>
          <p:spPr bwMode="gray">
            <a:xfrm>
              <a:off x="895832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1" name="Rechteck 590">
              <a:extLst>
                <a:ext uri="{FF2B5EF4-FFF2-40B4-BE49-F238E27FC236}">
                  <a16:creationId xmlns:a16="http://schemas.microsoft.com/office/drawing/2014/main" id="{CF20E419-5A96-F33B-2EF6-30999CE22DFF}"/>
                </a:ext>
              </a:extLst>
            </p:cNvPr>
            <p:cNvSpPr/>
            <p:nvPr userDrawn="1"/>
          </p:nvSpPr>
          <p:spPr bwMode="gray">
            <a:xfrm>
              <a:off x="838225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2" name="Rechteck 591">
              <a:extLst>
                <a:ext uri="{FF2B5EF4-FFF2-40B4-BE49-F238E27FC236}">
                  <a16:creationId xmlns:a16="http://schemas.microsoft.com/office/drawing/2014/main" id="{41AB5805-99B9-CD9E-AD06-97342D74E43E}"/>
                </a:ext>
              </a:extLst>
            </p:cNvPr>
            <p:cNvSpPr/>
            <p:nvPr userDrawn="1"/>
          </p:nvSpPr>
          <p:spPr bwMode="gray">
            <a:xfrm>
              <a:off x="780619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3" name="Rechteck 592">
              <a:extLst>
                <a:ext uri="{FF2B5EF4-FFF2-40B4-BE49-F238E27FC236}">
                  <a16:creationId xmlns:a16="http://schemas.microsoft.com/office/drawing/2014/main" id="{5499895A-E5F9-383E-F1AA-515F4117F25F}"/>
                </a:ext>
              </a:extLst>
            </p:cNvPr>
            <p:cNvSpPr/>
            <p:nvPr userDrawn="1"/>
          </p:nvSpPr>
          <p:spPr bwMode="gray">
            <a:xfrm>
              <a:off x="723012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4" name="Rechteck 593">
              <a:extLst>
                <a:ext uri="{FF2B5EF4-FFF2-40B4-BE49-F238E27FC236}">
                  <a16:creationId xmlns:a16="http://schemas.microsoft.com/office/drawing/2014/main" id="{6FA1979F-712B-45F6-A799-048EAC1C5ACD}"/>
                </a:ext>
              </a:extLst>
            </p:cNvPr>
            <p:cNvSpPr/>
            <p:nvPr userDrawn="1"/>
          </p:nvSpPr>
          <p:spPr bwMode="gray">
            <a:xfrm>
              <a:off x="665406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5" name="Rechteck 594">
              <a:extLst>
                <a:ext uri="{FF2B5EF4-FFF2-40B4-BE49-F238E27FC236}">
                  <a16:creationId xmlns:a16="http://schemas.microsoft.com/office/drawing/2014/main" id="{4B25A6BF-2CF0-AACA-C0D0-5478FDE6EFE7}"/>
                </a:ext>
              </a:extLst>
            </p:cNvPr>
            <p:cNvSpPr/>
            <p:nvPr userDrawn="1"/>
          </p:nvSpPr>
          <p:spPr bwMode="gray">
            <a:xfrm>
              <a:off x="607800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6" name="Rechteck 595">
              <a:extLst>
                <a:ext uri="{FF2B5EF4-FFF2-40B4-BE49-F238E27FC236}">
                  <a16:creationId xmlns:a16="http://schemas.microsoft.com/office/drawing/2014/main" id="{2EF7B93B-CD4F-1E39-AA38-313C32EF11B0}"/>
                </a:ext>
              </a:extLst>
            </p:cNvPr>
            <p:cNvSpPr/>
            <p:nvPr userDrawn="1"/>
          </p:nvSpPr>
          <p:spPr bwMode="gray">
            <a:xfrm>
              <a:off x="550193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7" name="Rechteck 596">
              <a:extLst>
                <a:ext uri="{FF2B5EF4-FFF2-40B4-BE49-F238E27FC236}">
                  <a16:creationId xmlns:a16="http://schemas.microsoft.com/office/drawing/2014/main" id="{376F25B5-C243-FA1C-73CA-E3F141C15D15}"/>
                </a:ext>
              </a:extLst>
            </p:cNvPr>
            <p:cNvSpPr/>
            <p:nvPr userDrawn="1"/>
          </p:nvSpPr>
          <p:spPr bwMode="gray">
            <a:xfrm>
              <a:off x="492587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8" name="Rechteck 597">
              <a:extLst>
                <a:ext uri="{FF2B5EF4-FFF2-40B4-BE49-F238E27FC236}">
                  <a16:creationId xmlns:a16="http://schemas.microsoft.com/office/drawing/2014/main" id="{D63A065B-B446-0A28-E6CC-F372662D0815}"/>
                </a:ext>
              </a:extLst>
            </p:cNvPr>
            <p:cNvSpPr/>
            <p:nvPr userDrawn="1"/>
          </p:nvSpPr>
          <p:spPr bwMode="gray">
            <a:xfrm>
              <a:off x="434980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9" name="Rechteck 598">
              <a:extLst>
                <a:ext uri="{FF2B5EF4-FFF2-40B4-BE49-F238E27FC236}">
                  <a16:creationId xmlns:a16="http://schemas.microsoft.com/office/drawing/2014/main" id="{7F480CF5-E3B0-1FFB-D2EA-027330018EDC}"/>
                </a:ext>
              </a:extLst>
            </p:cNvPr>
            <p:cNvSpPr/>
            <p:nvPr userDrawn="1"/>
          </p:nvSpPr>
          <p:spPr bwMode="gray">
            <a:xfrm>
              <a:off x="377374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0" name="Rechteck 599">
              <a:extLst>
                <a:ext uri="{FF2B5EF4-FFF2-40B4-BE49-F238E27FC236}">
                  <a16:creationId xmlns:a16="http://schemas.microsoft.com/office/drawing/2014/main" id="{A8215330-4C4F-DFD2-3FB6-4463D57A896A}"/>
                </a:ext>
              </a:extLst>
            </p:cNvPr>
            <p:cNvSpPr/>
            <p:nvPr userDrawn="1"/>
          </p:nvSpPr>
          <p:spPr bwMode="gray">
            <a:xfrm>
              <a:off x="319768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1" name="Rechteck 600">
              <a:extLst>
                <a:ext uri="{FF2B5EF4-FFF2-40B4-BE49-F238E27FC236}">
                  <a16:creationId xmlns:a16="http://schemas.microsoft.com/office/drawing/2014/main" id="{0F511BE1-0578-CECA-9FCF-57A07E6013DA}"/>
                </a:ext>
              </a:extLst>
            </p:cNvPr>
            <p:cNvSpPr/>
            <p:nvPr userDrawn="1"/>
          </p:nvSpPr>
          <p:spPr bwMode="gray">
            <a:xfrm>
              <a:off x="262161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2" name="Rechteck 601">
              <a:extLst>
                <a:ext uri="{FF2B5EF4-FFF2-40B4-BE49-F238E27FC236}">
                  <a16:creationId xmlns:a16="http://schemas.microsoft.com/office/drawing/2014/main" id="{4D92469E-1A84-C4DC-1C28-362FE1F80170}"/>
                </a:ext>
              </a:extLst>
            </p:cNvPr>
            <p:cNvSpPr/>
            <p:nvPr userDrawn="1"/>
          </p:nvSpPr>
          <p:spPr bwMode="gray">
            <a:xfrm>
              <a:off x="204555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3" name="Rechteck 602">
              <a:extLst>
                <a:ext uri="{FF2B5EF4-FFF2-40B4-BE49-F238E27FC236}">
                  <a16:creationId xmlns:a16="http://schemas.microsoft.com/office/drawing/2014/main" id="{A3F616E9-3899-9A4E-6C6A-BE6D18EFB359}"/>
                </a:ext>
              </a:extLst>
            </p:cNvPr>
            <p:cNvSpPr/>
            <p:nvPr userDrawn="1"/>
          </p:nvSpPr>
          <p:spPr bwMode="gray">
            <a:xfrm>
              <a:off x="146948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4" name="Rechteck 603">
              <a:extLst>
                <a:ext uri="{FF2B5EF4-FFF2-40B4-BE49-F238E27FC236}">
                  <a16:creationId xmlns:a16="http://schemas.microsoft.com/office/drawing/2014/main" id="{E12A6315-EA1B-4348-468D-17F0317164BA}"/>
                </a:ext>
              </a:extLst>
            </p:cNvPr>
            <p:cNvSpPr/>
            <p:nvPr userDrawn="1"/>
          </p:nvSpPr>
          <p:spPr bwMode="gray">
            <a:xfrm>
              <a:off x="89342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5" name="Rechteck 604">
              <a:extLst>
                <a:ext uri="{FF2B5EF4-FFF2-40B4-BE49-F238E27FC236}">
                  <a16:creationId xmlns:a16="http://schemas.microsoft.com/office/drawing/2014/main" id="{67CBE059-3168-A5F0-960E-86EC42983DE4}"/>
                </a:ext>
              </a:extLst>
            </p:cNvPr>
            <p:cNvSpPr/>
            <p:nvPr userDrawn="1"/>
          </p:nvSpPr>
          <p:spPr bwMode="gray">
            <a:xfrm>
              <a:off x="31736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6" name="Rechteck 605">
              <a:extLst>
                <a:ext uri="{FF2B5EF4-FFF2-40B4-BE49-F238E27FC236}">
                  <a16:creationId xmlns:a16="http://schemas.microsoft.com/office/drawing/2014/main" id="{4F952E03-03D8-4FA9-6876-55E6F167612F}"/>
                </a:ext>
              </a:extLst>
            </p:cNvPr>
            <p:cNvSpPr/>
            <p:nvPr userDrawn="1"/>
          </p:nvSpPr>
          <p:spPr bwMode="gray">
            <a:xfrm>
              <a:off x="1126257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7" name="Rechteck 606">
              <a:extLst>
                <a:ext uri="{FF2B5EF4-FFF2-40B4-BE49-F238E27FC236}">
                  <a16:creationId xmlns:a16="http://schemas.microsoft.com/office/drawing/2014/main" id="{9781E2B1-D2B7-B239-AA17-ADF731E59027}"/>
                </a:ext>
              </a:extLst>
            </p:cNvPr>
            <p:cNvSpPr/>
            <p:nvPr userDrawn="1"/>
          </p:nvSpPr>
          <p:spPr bwMode="gray">
            <a:xfrm>
              <a:off x="1068651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8" name="Rechteck 607">
              <a:extLst>
                <a:ext uri="{FF2B5EF4-FFF2-40B4-BE49-F238E27FC236}">
                  <a16:creationId xmlns:a16="http://schemas.microsoft.com/office/drawing/2014/main" id="{6C801BB5-807A-4827-A2AA-0A5E489660EB}"/>
                </a:ext>
              </a:extLst>
            </p:cNvPr>
            <p:cNvSpPr/>
            <p:nvPr userDrawn="1"/>
          </p:nvSpPr>
          <p:spPr bwMode="gray">
            <a:xfrm>
              <a:off x="1011044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9" name="Rechteck 608">
              <a:extLst>
                <a:ext uri="{FF2B5EF4-FFF2-40B4-BE49-F238E27FC236}">
                  <a16:creationId xmlns:a16="http://schemas.microsoft.com/office/drawing/2014/main" id="{C9351406-BC3C-3A76-D3EE-311FA6AEE5AF}"/>
                </a:ext>
              </a:extLst>
            </p:cNvPr>
            <p:cNvSpPr/>
            <p:nvPr userDrawn="1"/>
          </p:nvSpPr>
          <p:spPr bwMode="gray">
            <a:xfrm>
              <a:off x="953438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0" name="Rechteck 609">
              <a:extLst>
                <a:ext uri="{FF2B5EF4-FFF2-40B4-BE49-F238E27FC236}">
                  <a16:creationId xmlns:a16="http://schemas.microsoft.com/office/drawing/2014/main" id="{864FFF29-1734-CDA2-770B-D642E6FFE800}"/>
                </a:ext>
              </a:extLst>
            </p:cNvPr>
            <p:cNvSpPr/>
            <p:nvPr userDrawn="1"/>
          </p:nvSpPr>
          <p:spPr bwMode="gray">
            <a:xfrm>
              <a:off x="895832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1" name="Rechteck 610">
              <a:extLst>
                <a:ext uri="{FF2B5EF4-FFF2-40B4-BE49-F238E27FC236}">
                  <a16:creationId xmlns:a16="http://schemas.microsoft.com/office/drawing/2014/main" id="{75603CEF-4B6B-FC00-1C15-F887E657866A}"/>
                </a:ext>
              </a:extLst>
            </p:cNvPr>
            <p:cNvSpPr/>
            <p:nvPr userDrawn="1"/>
          </p:nvSpPr>
          <p:spPr bwMode="gray">
            <a:xfrm>
              <a:off x="838225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2" name="Rechteck 611">
              <a:extLst>
                <a:ext uri="{FF2B5EF4-FFF2-40B4-BE49-F238E27FC236}">
                  <a16:creationId xmlns:a16="http://schemas.microsoft.com/office/drawing/2014/main" id="{EC41CD1A-DB84-D2E3-5CFD-ED5C6865C4E9}"/>
                </a:ext>
              </a:extLst>
            </p:cNvPr>
            <p:cNvSpPr/>
            <p:nvPr userDrawn="1"/>
          </p:nvSpPr>
          <p:spPr bwMode="gray">
            <a:xfrm>
              <a:off x="780619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3" name="Rechteck 612">
              <a:extLst>
                <a:ext uri="{FF2B5EF4-FFF2-40B4-BE49-F238E27FC236}">
                  <a16:creationId xmlns:a16="http://schemas.microsoft.com/office/drawing/2014/main" id="{16DB458E-8483-3C9D-54C1-9306327797EF}"/>
                </a:ext>
              </a:extLst>
            </p:cNvPr>
            <p:cNvSpPr/>
            <p:nvPr userDrawn="1"/>
          </p:nvSpPr>
          <p:spPr bwMode="gray">
            <a:xfrm>
              <a:off x="723012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4" name="Rechteck 613">
              <a:extLst>
                <a:ext uri="{FF2B5EF4-FFF2-40B4-BE49-F238E27FC236}">
                  <a16:creationId xmlns:a16="http://schemas.microsoft.com/office/drawing/2014/main" id="{ED33D231-67E9-CDC1-A787-0826B3EBC4AA}"/>
                </a:ext>
              </a:extLst>
            </p:cNvPr>
            <p:cNvSpPr/>
            <p:nvPr userDrawn="1"/>
          </p:nvSpPr>
          <p:spPr bwMode="gray">
            <a:xfrm>
              <a:off x="665406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5" name="Rechteck 614">
              <a:extLst>
                <a:ext uri="{FF2B5EF4-FFF2-40B4-BE49-F238E27FC236}">
                  <a16:creationId xmlns:a16="http://schemas.microsoft.com/office/drawing/2014/main" id="{F2C9561C-50FF-BDD7-46DF-1015DC89A301}"/>
                </a:ext>
              </a:extLst>
            </p:cNvPr>
            <p:cNvSpPr/>
            <p:nvPr userDrawn="1"/>
          </p:nvSpPr>
          <p:spPr bwMode="gray">
            <a:xfrm>
              <a:off x="607800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6" name="Rechteck 615">
              <a:extLst>
                <a:ext uri="{FF2B5EF4-FFF2-40B4-BE49-F238E27FC236}">
                  <a16:creationId xmlns:a16="http://schemas.microsoft.com/office/drawing/2014/main" id="{5635B396-D32F-2732-9547-961DC89BBF16}"/>
                </a:ext>
              </a:extLst>
            </p:cNvPr>
            <p:cNvSpPr/>
            <p:nvPr userDrawn="1"/>
          </p:nvSpPr>
          <p:spPr bwMode="gray">
            <a:xfrm>
              <a:off x="550193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7" name="Rechteck 616">
              <a:extLst>
                <a:ext uri="{FF2B5EF4-FFF2-40B4-BE49-F238E27FC236}">
                  <a16:creationId xmlns:a16="http://schemas.microsoft.com/office/drawing/2014/main" id="{BFF89F95-095F-1A5F-177C-CB80C179423A}"/>
                </a:ext>
              </a:extLst>
            </p:cNvPr>
            <p:cNvSpPr/>
            <p:nvPr userDrawn="1"/>
          </p:nvSpPr>
          <p:spPr bwMode="gray">
            <a:xfrm>
              <a:off x="492587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8" name="Rechteck 617">
              <a:extLst>
                <a:ext uri="{FF2B5EF4-FFF2-40B4-BE49-F238E27FC236}">
                  <a16:creationId xmlns:a16="http://schemas.microsoft.com/office/drawing/2014/main" id="{05287B02-DB44-E981-5F19-A6F3480BE66E}"/>
                </a:ext>
              </a:extLst>
            </p:cNvPr>
            <p:cNvSpPr/>
            <p:nvPr userDrawn="1"/>
          </p:nvSpPr>
          <p:spPr bwMode="gray">
            <a:xfrm>
              <a:off x="434980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9" name="Rechteck 618">
              <a:extLst>
                <a:ext uri="{FF2B5EF4-FFF2-40B4-BE49-F238E27FC236}">
                  <a16:creationId xmlns:a16="http://schemas.microsoft.com/office/drawing/2014/main" id="{CF16CE80-AF95-488C-1048-CB3580AF25DB}"/>
                </a:ext>
              </a:extLst>
            </p:cNvPr>
            <p:cNvSpPr/>
            <p:nvPr userDrawn="1"/>
          </p:nvSpPr>
          <p:spPr bwMode="gray">
            <a:xfrm>
              <a:off x="377374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0" name="Rechteck 619">
              <a:extLst>
                <a:ext uri="{FF2B5EF4-FFF2-40B4-BE49-F238E27FC236}">
                  <a16:creationId xmlns:a16="http://schemas.microsoft.com/office/drawing/2014/main" id="{444259D9-9356-DD1C-0E3A-8A13C18DE49B}"/>
                </a:ext>
              </a:extLst>
            </p:cNvPr>
            <p:cNvSpPr/>
            <p:nvPr userDrawn="1"/>
          </p:nvSpPr>
          <p:spPr bwMode="gray">
            <a:xfrm>
              <a:off x="319768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1" name="Rechteck 620">
              <a:extLst>
                <a:ext uri="{FF2B5EF4-FFF2-40B4-BE49-F238E27FC236}">
                  <a16:creationId xmlns:a16="http://schemas.microsoft.com/office/drawing/2014/main" id="{EBDF79E8-3A91-30BE-899C-BC394028D0CB}"/>
                </a:ext>
              </a:extLst>
            </p:cNvPr>
            <p:cNvSpPr/>
            <p:nvPr userDrawn="1"/>
          </p:nvSpPr>
          <p:spPr bwMode="gray">
            <a:xfrm>
              <a:off x="262161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2" name="Rechteck 621">
              <a:extLst>
                <a:ext uri="{FF2B5EF4-FFF2-40B4-BE49-F238E27FC236}">
                  <a16:creationId xmlns:a16="http://schemas.microsoft.com/office/drawing/2014/main" id="{BDE54795-9DE7-D8EF-05F9-F1328F740160}"/>
                </a:ext>
              </a:extLst>
            </p:cNvPr>
            <p:cNvSpPr/>
            <p:nvPr userDrawn="1"/>
          </p:nvSpPr>
          <p:spPr bwMode="gray">
            <a:xfrm>
              <a:off x="204555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3" name="Rechteck 622">
              <a:extLst>
                <a:ext uri="{FF2B5EF4-FFF2-40B4-BE49-F238E27FC236}">
                  <a16:creationId xmlns:a16="http://schemas.microsoft.com/office/drawing/2014/main" id="{3A26B2B3-D668-7E1D-BAAF-8D7D82B9E0DA}"/>
                </a:ext>
              </a:extLst>
            </p:cNvPr>
            <p:cNvSpPr/>
            <p:nvPr userDrawn="1"/>
          </p:nvSpPr>
          <p:spPr bwMode="gray">
            <a:xfrm>
              <a:off x="146948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4" name="Rechteck 623">
              <a:extLst>
                <a:ext uri="{FF2B5EF4-FFF2-40B4-BE49-F238E27FC236}">
                  <a16:creationId xmlns:a16="http://schemas.microsoft.com/office/drawing/2014/main" id="{53FECD20-9DD7-E07D-503D-556C1FE07470}"/>
                </a:ext>
              </a:extLst>
            </p:cNvPr>
            <p:cNvSpPr/>
            <p:nvPr userDrawn="1"/>
          </p:nvSpPr>
          <p:spPr bwMode="gray">
            <a:xfrm>
              <a:off x="89342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5" name="Rechteck 624">
              <a:extLst>
                <a:ext uri="{FF2B5EF4-FFF2-40B4-BE49-F238E27FC236}">
                  <a16:creationId xmlns:a16="http://schemas.microsoft.com/office/drawing/2014/main" id="{C2180200-F75D-2060-C358-E83F31E372CA}"/>
                </a:ext>
              </a:extLst>
            </p:cNvPr>
            <p:cNvSpPr/>
            <p:nvPr userDrawn="1"/>
          </p:nvSpPr>
          <p:spPr bwMode="gray">
            <a:xfrm>
              <a:off x="31736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6" name="Rechteck 625">
              <a:extLst>
                <a:ext uri="{FF2B5EF4-FFF2-40B4-BE49-F238E27FC236}">
                  <a16:creationId xmlns:a16="http://schemas.microsoft.com/office/drawing/2014/main" id="{7839BC33-661E-4095-04EF-B33333C88152}"/>
                </a:ext>
              </a:extLst>
            </p:cNvPr>
            <p:cNvSpPr/>
            <p:nvPr userDrawn="1"/>
          </p:nvSpPr>
          <p:spPr bwMode="gray">
            <a:xfrm>
              <a:off x="1126257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7" name="Rechteck 626">
              <a:extLst>
                <a:ext uri="{FF2B5EF4-FFF2-40B4-BE49-F238E27FC236}">
                  <a16:creationId xmlns:a16="http://schemas.microsoft.com/office/drawing/2014/main" id="{3943B8BE-4166-9B9F-4A76-C4CDC438269E}"/>
                </a:ext>
              </a:extLst>
            </p:cNvPr>
            <p:cNvSpPr/>
            <p:nvPr userDrawn="1"/>
          </p:nvSpPr>
          <p:spPr bwMode="gray">
            <a:xfrm>
              <a:off x="1068651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8" name="Rechteck 627">
              <a:extLst>
                <a:ext uri="{FF2B5EF4-FFF2-40B4-BE49-F238E27FC236}">
                  <a16:creationId xmlns:a16="http://schemas.microsoft.com/office/drawing/2014/main" id="{9E1CF367-855E-7F01-6FAD-CA6E9CBDE247}"/>
                </a:ext>
              </a:extLst>
            </p:cNvPr>
            <p:cNvSpPr/>
            <p:nvPr userDrawn="1"/>
          </p:nvSpPr>
          <p:spPr bwMode="gray">
            <a:xfrm>
              <a:off x="1011044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9" name="Rechteck 628">
              <a:extLst>
                <a:ext uri="{FF2B5EF4-FFF2-40B4-BE49-F238E27FC236}">
                  <a16:creationId xmlns:a16="http://schemas.microsoft.com/office/drawing/2014/main" id="{14409D53-5492-673D-FDAF-96025350F2E3}"/>
                </a:ext>
              </a:extLst>
            </p:cNvPr>
            <p:cNvSpPr/>
            <p:nvPr userDrawn="1"/>
          </p:nvSpPr>
          <p:spPr bwMode="gray">
            <a:xfrm>
              <a:off x="953438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0" name="Rechteck 629">
              <a:extLst>
                <a:ext uri="{FF2B5EF4-FFF2-40B4-BE49-F238E27FC236}">
                  <a16:creationId xmlns:a16="http://schemas.microsoft.com/office/drawing/2014/main" id="{8FA82199-8539-8BD2-D317-95EF33EA400B}"/>
                </a:ext>
              </a:extLst>
            </p:cNvPr>
            <p:cNvSpPr/>
            <p:nvPr userDrawn="1"/>
          </p:nvSpPr>
          <p:spPr bwMode="gray">
            <a:xfrm>
              <a:off x="895832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1" name="Rechteck 630">
              <a:extLst>
                <a:ext uri="{FF2B5EF4-FFF2-40B4-BE49-F238E27FC236}">
                  <a16:creationId xmlns:a16="http://schemas.microsoft.com/office/drawing/2014/main" id="{6D37843F-5524-0CA2-DCFF-7D77C778ECB1}"/>
                </a:ext>
              </a:extLst>
            </p:cNvPr>
            <p:cNvSpPr/>
            <p:nvPr userDrawn="1"/>
          </p:nvSpPr>
          <p:spPr bwMode="gray">
            <a:xfrm>
              <a:off x="838225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2" name="Rechteck 631">
              <a:extLst>
                <a:ext uri="{FF2B5EF4-FFF2-40B4-BE49-F238E27FC236}">
                  <a16:creationId xmlns:a16="http://schemas.microsoft.com/office/drawing/2014/main" id="{E39444A8-4CFC-4AA6-5BB7-7ADF4AF3AFDB}"/>
                </a:ext>
              </a:extLst>
            </p:cNvPr>
            <p:cNvSpPr/>
            <p:nvPr userDrawn="1"/>
          </p:nvSpPr>
          <p:spPr bwMode="gray">
            <a:xfrm>
              <a:off x="780619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3" name="Rechteck 632">
              <a:extLst>
                <a:ext uri="{FF2B5EF4-FFF2-40B4-BE49-F238E27FC236}">
                  <a16:creationId xmlns:a16="http://schemas.microsoft.com/office/drawing/2014/main" id="{1C7CEFFA-A014-5D1B-12B6-0969C50CB2BC}"/>
                </a:ext>
              </a:extLst>
            </p:cNvPr>
            <p:cNvSpPr/>
            <p:nvPr userDrawn="1"/>
          </p:nvSpPr>
          <p:spPr bwMode="gray">
            <a:xfrm>
              <a:off x="723012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4" name="Rechteck 633">
              <a:extLst>
                <a:ext uri="{FF2B5EF4-FFF2-40B4-BE49-F238E27FC236}">
                  <a16:creationId xmlns:a16="http://schemas.microsoft.com/office/drawing/2014/main" id="{12F965CF-A4D0-6EE3-8AD9-E7D1BD5CB791}"/>
                </a:ext>
              </a:extLst>
            </p:cNvPr>
            <p:cNvSpPr/>
            <p:nvPr userDrawn="1"/>
          </p:nvSpPr>
          <p:spPr bwMode="gray">
            <a:xfrm>
              <a:off x="665406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5" name="Rechteck 634">
              <a:extLst>
                <a:ext uri="{FF2B5EF4-FFF2-40B4-BE49-F238E27FC236}">
                  <a16:creationId xmlns:a16="http://schemas.microsoft.com/office/drawing/2014/main" id="{61D76738-AC3C-9A84-BF68-F77291C6089F}"/>
                </a:ext>
              </a:extLst>
            </p:cNvPr>
            <p:cNvSpPr/>
            <p:nvPr userDrawn="1"/>
          </p:nvSpPr>
          <p:spPr bwMode="gray">
            <a:xfrm>
              <a:off x="607800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6" name="Rechteck 635">
              <a:extLst>
                <a:ext uri="{FF2B5EF4-FFF2-40B4-BE49-F238E27FC236}">
                  <a16:creationId xmlns:a16="http://schemas.microsoft.com/office/drawing/2014/main" id="{2DB00B71-33AF-016F-6C07-634AEA5D7689}"/>
                </a:ext>
              </a:extLst>
            </p:cNvPr>
            <p:cNvSpPr/>
            <p:nvPr userDrawn="1"/>
          </p:nvSpPr>
          <p:spPr bwMode="gray">
            <a:xfrm>
              <a:off x="550193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7" name="Rechteck 636">
              <a:extLst>
                <a:ext uri="{FF2B5EF4-FFF2-40B4-BE49-F238E27FC236}">
                  <a16:creationId xmlns:a16="http://schemas.microsoft.com/office/drawing/2014/main" id="{63205632-DF1C-CDBA-B27E-276552ED76DC}"/>
                </a:ext>
              </a:extLst>
            </p:cNvPr>
            <p:cNvSpPr/>
            <p:nvPr userDrawn="1"/>
          </p:nvSpPr>
          <p:spPr bwMode="gray">
            <a:xfrm>
              <a:off x="492587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8" name="Rechteck 637">
              <a:extLst>
                <a:ext uri="{FF2B5EF4-FFF2-40B4-BE49-F238E27FC236}">
                  <a16:creationId xmlns:a16="http://schemas.microsoft.com/office/drawing/2014/main" id="{99E07D82-6852-80A4-72BE-25C577A1309B}"/>
                </a:ext>
              </a:extLst>
            </p:cNvPr>
            <p:cNvSpPr/>
            <p:nvPr userDrawn="1"/>
          </p:nvSpPr>
          <p:spPr bwMode="gray">
            <a:xfrm>
              <a:off x="434980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9" name="Rechteck 638">
              <a:extLst>
                <a:ext uri="{FF2B5EF4-FFF2-40B4-BE49-F238E27FC236}">
                  <a16:creationId xmlns:a16="http://schemas.microsoft.com/office/drawing/2014/main" id="{30F184F8-8C49-2947-11F0-1A2BED00F199}"/>
                </a:ext>
              </a:extLst>
            </p:cNvPr>
            <p:cNvSpPr/>
            <p:nvPr userDrawn="1"/>
          </p:nvSpPr>
          <p:spPr bwMode="gray">
            <a:xfrm>
              <a:off x="377374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0" name="Rechteck 639">
              <a:extLst>
                <a:ext uri="{FF2B5EF4-FFF2-40B4-BE49-F238E27FC236}">
                  <a16:creationId xmlns:a16="http://schemas.microsoft.com/office/drawing/2014/main" id="{917DDC0A-63AB-3583-5106-CE28AF6740DA}"/>
                </a:ext>
              </a:extLst>
            </p:cNvPr>
            <p:cNvSpPr/>
            <p:nvPr userDrawn="1"/>
          </p:nvSpPr>
          <p:spPr bwMode="gray">
            <a:xfrm>
              <a:off x="319768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1" name="Rechteck 640">
              <a:extLst>
                <a:ext uri="{FF2B5EF4-FFF2-40B4-BE49-F238E27FC236}">
                  <a16:creationId xmlns:a16="http://schemas.microsoft.com/office/drawing/2014/main" id="{04FDACF2-03C5-ECB6-4FE2-98C272233331}"/>
                </a:ext>
              </a:extLst>
            </p:cNvPr>
            <p:cNvSpPr/>
            <p:nvPr userDrawn="1"/>
          </p:nvSpPr>
          <p:spPr bwMode="gray">
            <a:xfrm>
              <a:off x="262161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2" name="Rechteck 641">
              <a:extLst>
                <a:ext uri="{FF2B5EF4-FFF2-40B4-BE49-F238E27FC236}">
                  <a16:creationId xmlns:a16="http://schemas.microsoft.com/office/drawing/2014/main" id="{BDC9C2CF-F8EA-82D3-6AE4-9930F173CAD4}"/>
                </a:ext>
              </a:extLst>
            </p:cNvPr>
            <p:cNvSpPr/>
            <p:nvPr userDrawn="1"/>
          </p:nvSpPr>
          <p:spPr bwMode="gray">
            <a:xfrm>
              <a:off x="204555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3" name="Rechteck 642">
              <a:extLst>
                <a:ext uri="{FF2B5EF4-FFF2-40B4-BE49-F238E27FC236}">
                  <a16:creationId xmlns:a16="http://schemas.microsoft.com/office/drawing/2014/main" id="{3943179D-E0E9-53C1-BA0D-D1F13C92C2F7}"/>
                </a:ext>
              </a:extLst>
            </p:cNvPr>
            <p:cNvSpPr/>
            <p:nvPr userDrawn="1"/>
          </p:nvSpPr>
          <p:spPr bwMode="gray">
            <a:xfrm>
              <a:off x="146948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4" name="Rechteck 643">
              <a:extLst>
                <a:ext uri="{FF2B5EF4-FFF2-40B4-BE49-F238E27FC236}">
                  <a16:creationId xmlns:a16="http://schemas.microsoft.com/office/drawing/2014/main" id="{57F99BED-BAC8-2D26-37BE-AEADDF57614E}"/>
                </a:ext>
              </a:extLst>
            </p:cNvPr>
            <p:cNvSpPr/>
            <p:nvPr userDrawn="1"/>
          </p:nvSpPr>
          <p:spPr bwMode="gray">
            <a:xfrm>
              <a:off x="89342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5" name="Rechteck 644">
              <a:extLst>
                <a:ext uri="{FF2B5EF4-FFF2-40B4-BE49-F238E27FC236}">
                  <a16:creationId xmlns:a16="http://schemas.microsoft.com/office/drawing/2014/main" id="{7EC04F11-DD82-DCDD-F48F-79E0A16A73E2}"/>
                </a:ext>
              </a:extLst>
            </p:cNvPr>
            <p:cNvSpPr/>
            <p:nvPr userDrawn="1"/>
          </p:nvSpPr>
          <p:spPr bwMode="gray">
            <a:xfrm>
              <a:off x="31736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6" name="Rechteck 645">
              <a:extLst>
                <a:ext uri="{FF2B5EF4-FFF2-40B4-BE49-F238E27FC236}">
                  <a16:creationId xmlns:a16="http://schemas.microsoft.com/office/drawing/2014/main" id="{B039ADEF-069D-885B-FBC3-772D0DC83306}"/>
                </a:ext>
              </a:extLst>
            </p:cNvPr>
            <p:cNvSpPr/>
            <p:nvPr userDrawn="1"/>
          </p:nvSpPr>
          <p:spPr bwMode="gray">
            <a:xfrm>
              <a:off x="1126257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7" name="Rechteck 646">
              <a:extLst>
                <a:ext uri="{FF2B5EF4-FFF2-40B4-BE49-F238E27FC236}">
                  <a16:creationId xmlns:a16="http://schemas.microsoft.com/office/drawing/2014/main" id="{E2EDA083-8ED6-70E6-BA68-5D7F6B64820D}"/>
                </a:ext>
              </a:extLst>
            </p:cNvPr>
            <p:cNvSpPr/>
            <p:nvPr userDrawn="1"/>
          </p:nvSpPr>
          <p:spPr bwMode="gray">
            <a:xfrm>
              <a:off x="1068651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8" name="Rechteck 647">
              <a:extLst>
                <a:ext uri="{FF2B5EF4-FFF2-40B4-BE49-F238E27FC236}">
                  <a16:creationId xmlns:a16="http://schemas.microsoft.com/office/drawing/2014/main" id="{07DF6384-DF32-D462-1D3C-AF93910ACA03}"/>
                </a:ext>
              </a:extLst>
            </p:cNvPr>
            <p:cNvSpPr/>
            <p:nvPr userDrawn="1"/>
          </p:nvSpPr>
          <p:spPr bwMode="gray">
            <a:xfrm>
              <a:off x="1011044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9" name="Rechteck 648">
              <a:extLst>
                <a:ext uri="{FF2B5EF4-FFF2-40B4-BE49-F238E27FC236}">
                  <a16:creationId xmlns:a16="http://schemas.microsoft.com/office/drawing/2014/main" id="{673E9861-2C4B-8165-320A-174B22138497}"/>
                </a:ext>
              </a:extLst>
            </p:cNvPr>
            <p:cNvSpPr/>
            <p:nvPr userDrawn="1"/>
          </p:nvSpPr>
          <p:spPr bwMode="gray">
            <a:xfrm>
              <a:off x="953438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0" name="Rechteck 649">
              <a:extLst>
                <a:ext uri="{FF2B5EF4-FFF2-40B4-BE49-F238E27FC236}">
                  <a16:creationId xmlns:a16="http://schemas.microsoft.com/office/drawing/2014/main" id="{6E2DEF7A-B63D-F9B0-0FD9-BDD037A06F10}"/>
                </a:ext>
              </a:extLst>
            </p:cNvPr>
            <p:cNvSpPr/>
            <p:nvPr userDrawn="1"/>
          </p:nvSpPr>
          <p:spPr bwMode="gray">
            <a:xfrm>
              <a:off x="895832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1" name="Rechteck 650">
              <a:extLst>
                <a:ext uri="{FF2B5EF4-FFF2-40B4-BE49-F238E27FC236}">
                  <a16:creationId xmlns:a16="http://schemas.microsoft.com/office/drawing/2014/main" id="{F995B3A3-E893-3B0E-865F-52EE1E1C8984}"/>
                </a:ext>
              </a:extLst>
            </p:cNvPr>
            <p:cNvSpPr/>
            <p:nvPr userDrawn="1"/>
          </p:nvSpPr>
          <p:spPr bwMode="gray">
            <a:xfrm>
              <a:off x="838225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2" name="Rechteck 651">
              <a:extLst>
                <a:ext uri="{FF2B5EF4-FFF2-40B4-BE49-F238E27FC236}">
                  <a16:creationId xmlns:a16="http://schemas.microsoft.com/office/drawing/2014/main" id="{3A199312-7BC9-419F-D070-56808D058244}"/>
                </a:ext>
              </a:extLst>
            </p:cNvPr>
            <p:cNvSpPr/>
            <p:nvPr userDrawn="1"/>
          </p:nvSpPr>
          <p:spPr bwMode="gray">
            <a:xfrm>
              <a:off x="780619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3" name="Rechteck 652">
              <a:extLst>
                <a:ext uri="{FF2B5EF4-FFF2-40B4-BE49-F238E27FC236}">
                  <a16:creationId xmlns:a16="http://schemas.microsoft.com/office/drawing/2014/main" id="{96BE5EDE-2245-933E-A3A5-E4122C710B21}"/>
                </a:ext>
              </a:extLst>
            </p:cNvPr>
            <p:cNvSpPr/>
            <p:nvPr userDrawn="1"/>
          </p:nvSpPr>
          <p:spPr bwMode="gray">
            <a:xfrm>
              <a:off x="723012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4" name="Rechteck 653">
              <a:extLst>
                <a:ext uri="{FF2B5EF4-FFF2-40B4-BE49-F238E27FC236}">
                  <a16:creationId xmlns:a16="http://schemas.microsoft.com/office/drawing/2014/main" id="{AC960E7D-5B54-6C41-64EC-4058010634A8}"/>
                </a:ext>
              </a:extLst>
            </p:cNvPr>
            <p:cNvSpPr/>
            <p:nvPr userDrawn="1"/>
          </p:nvSpPr>
          <p:spPr bwMode="gray">
            <a:xfrm>
              <a:off x="665406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5" name="Rechteck 654">
              <a:extLst>
                <a:ext uri="{FF2B5EF4-FFF2-40B4-BE49-F238E27FC236}">
                  <a16:creationId xmlns:a16="http://schemas.microsoft.com/office/drawing/2014/main" id="{5448331B-D858-D989-02A9-C92958ADE585}"/>
                </a:ext>
              </a:extLst>
            </p:cNvPr>
            <p:cNvSpPr/>
            <p:nvPr userDrawn="1"/>
          </p:nvSpPr>
          <p:spPr bwMode="gray">
            <a:xfrm>
              <a:off x="607800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6" name="Rechteck 655">
              <a:extLst>
                <a:ext uri="{FF2B5EF4-FFF2-40B4-BE49-F238E27FC236}">
                  <a16:creationId xmlns:a16="http://schemas.microsoft.com/office/drawing/2014/main" id="{5391D9C0-E0E4-5579-5CFE-D81B24CEFEF6}"/>
                </a:ext>
              </a:extLst>
            </p:cNvPr>
            <p:cNvSpPr/>
            <p:nvPr userDrawn="1"/>
          </p:nvSpPr>
          <p:spPr bwMode="gray">
            <a:xfrm>
              <a:off x="550193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7" name="Rechteck 656">
              <a:extLst>
                <a:ext uri="{FF2B5EF4-FFF2-40B4-BE49-F238E27FC236}">
                  <a16:creationId xmlns:a16="http://schemas.microsoft.com/office/drawing/2014/main" id="{2155DB51-34E4-EFD5-C110-A399EEEF9F7E}"/>
                </a:ext>
              </a:extLst>
            </p:cNvPr>
            <p:cNvSpPr/>
            <p:nvPr userDrawn="1"/>
          </p:nvSpPr>
          <p:spPr bwMode="gray">
            <a:xfrm>
              <a:off x="492587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8" name="Rechteck 657">
              <a:extLst>
                <a:ext uri="{FF2B5EF4-FFF2-40B4-BE49-F238E27FC236}">
                  <a16:creationId xmlns:a16="http://schemas.microsoft.com/office/drawing/2014/main" id="{5DBC532B-DAEE-F0A5-88B5-A83615D9C9AB}"/>
                </a:ext>
              </a:extLst>
            </p:cNvPr>
            <p:cNvSpPr/>
            <p:nvPr userDrawn="1"/>
          </p:nvSpPr>
          <p:spPr bwMode="gray">
            <a:xfrm>
              <a:off x="434980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9" name="Rechteck 658">
              <a:extLst>
                <a:ext uri="{FF2B5EF4-FFF2-40B4-BE49-F238E27FC236}">
                  <a16:creationId xmlns:a16="http://schemas.microsoft.com/office/drawing/2014/main" id="{3CD66F09-FE8D-5B0F-057F-E8B8A0F6A131}"/>
                </a:ext>
              </a:extLst>
            </p:cNvPr>
            <p:cNvSpPr/>
            <p:nvPr userDrawn="1"/>
          </p:nvSpPr>
          <p:spPr bwMode="gray">
            <a:xfrm>
              <a:off x="377374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0" name="Rechteck 659">
              <a:extLst>
                <a:ext uri="{FF2B5EF4-FFF2-40B4-BE49-F238E27FC236}">
                  <a16:creationId xmlns:a16="http://schemas.microsoft.com/office/drawing/2014/main" id="{C34B329B-CEC0-7544-EA7D-5DBF84EC62F6}"/>
                </a:ext>
              </a:extLst>
            </p:cNvPr>
            <p:cNvSpPr/>
            <p:nvPr userDrawn="1"/>
          </p:nvSpPr>
          <p:spPr bwMode="gray">
            <a:xfrm>
              <a:off x="319768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1" name="Rechteck 660">
              <a:extLst>
                <a:ext uri="{FF2B5EF4-FFF2-40B4-BE49-F238E27FC236}">
                  <a16:creationId xmlns:a16="http://schemas.microsoft.com/office/drawing/2014/main" id="{7D8E993B-7CBE-D62B-F510-FC0A97B386EC}"/>
                </a:ext>
              </a:extLst>
            </p:cNvPr>
            <p:cNvSpPr/>
            <p:nvPr userDrawn="1"/>
          </p:nvSpPr>
          <p:spPr bwMode="gray">
            <a:xfrm>
              <a:off x="262161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2" name="Rechteck 661">
              <a:extLst>
                <a:ext uri="{FF2B5EF4-FFF2-40B4-BE49-F238E27FC236}">
                  <a16:creationId xmlns:a16="http://schemas.microsoft.com/office/drawing/2014/main" id="{15A64811-339A-1C9F-B922-310360E8D56D}"/>
                </a:ext>
              </a:extLst>
            </p:cNvPr>
            <p:cNvSpPr/>
            <p:nvPr userDrawn="1"/>
          </p:nvSpPr>
          <p:spPr bwMode="gray">
            <a:xfrm>
              <a:off x="204555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3" name="Rechteck 662">
              <a:extLst>
                <a:ext uri="{FF2B5EF4-FFF2-40B4-BE49-F238E27FC236}">
                  <a16:creationId xmlns:a16="http://schemas.microsoft.com/office/drawing/2014/main" id="{B45BBAEC-9FAF-1C0E-FFE7-2BE11EDA3301}"/>
                </a:ext>
              </a:extLst>
            </p:cNvPr>
            <p:cNvSpPr/>
            <p:nvPr userDrawn="1"/>
          </p:nvSpPr>
          <p:spPr bwMode="gray">
            <a:xfrm>
              <a:off x="146948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4" name="Rechteck 663">
              <a:extLst>
                <a:ext uri="{FF2B5EF4-FFF2-40B4-BE49-F238E27FC236}">
                  <a16:creationId xmlns:a16="http://schemas.microsoft.com/office/drawing/2014/main" id="{122D88FB-6D60-298C-16FA-3D2ACE847256}"/>
                </a:ext>
              </a:extLst>
            </p:cNvPr>
            <p:cNvSpPr/>
            <p:nvPr userDrawn="1"/>
          </p:nvSpPr>
          <p:spPr bwMode="gray">
            <a:xfrm>
              <a:off x="89342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5" name="Rechteck 664">
              <a:extLst>
                <a:ext uri="{FF2B5EF4-FFF2-40B4-BE49-F238E27FC236}">
                  <a16:creationId xmlns:a16="http://schemas.microsoft.com/office/drawing/2014/main" id="{AA464710-D7EC-C186-23EA-5E68AEAFF098}"/>
                </a:ext>
              </a:extLst>
            </p:cNvPr>
            <p:cNvSpPr/>
            <p:nvPr userDrawn="1"/>
          </p:nvSpPr>
          <p:spPr bwMode="gray">
            <a:xfrm>
              <a:off x="31736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6" name="Rechteck 665">
              <a:extLst>
                <a:ext uri="{FF2B5EF4-FFF2-40B4-BE49-F238E27FC236}">
                  <a16:creationId xmlns:a16="http://schemas.microsoft.com/office/drawing/2014/main" id="{CC854502-523A-AFC0-DEB4-A4C6DCCC25EA}"/>
                </a:ext>
              </a:extLst>
            </p:cNvPr>
            <p:cNvSpPr/>
            <p:nvPr userDrawn="1"/>
          </p:nvSpPr>
          <p:spPr bwMode="gray">
            <a:xfrm>
              <a:off x="1126257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7" name="Rechteck 666">
              <a:extLst>
                <a:ext uri="{FF2B5EF4-FFF2-40B4-BE49-F238E27FC236}">
                  <a16:creationId xmlns:a16="http://schemas.microsoft.com/office/drawing/2014/main" id="{B49DE712-C165-3604-8226-81CF0C9F7209}"/>
                </a:ext>
              </a:extLst>
            </p:cNvPr>
            <p:cNvSpPr/>
            <p:nvPr userDrawn="1"/>
          </p:nvSpPr>
          <p:spPr bwMode="gray">
            <a:xfrm>
              <a:off x="1068651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8" name="Rechteck 667">
              <a:extLst>
                <a:ext uri="{FF2B5EF4-FFF2-40B4-BE49-F238E27FC236}">
                  <a16:creationId xmlns:a16="http://schemas.microsoft.com/office/drawing/2014/main" id="{84366458-6EE8-BBDD-2756-16F0927D8AFD}"/>
                </a:ext>
              </a:extLst>
            </p:cNvPr>
            <p:cNvSpPr/>
            <p:nvPr userDrawn="1"/>
          </p:nvSpPr>
          <p:spPr bwMode="gray">
            <a:xfrm>
              <a:off x="1011044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9" name="Rechteck 668">
              <a:extLst>
                <a:ext uri="{FF2B5EF4-FFF2-40B4-BE49-F238E27FC236}">
                  <a16:creationId xmlns:a16="http://schemas.microsoft.com/office/drawing/2014/main" id="{3DC5C7D5-0576-1CD6-5A6B-52FFA939774C}"/>
                </a:ext>
              </a:extLst>
            </p:cNvPr>
            <p:cNvSpPr/>
            <p:nvPr userDrawn="1"/>
          </p:nvSpPr>
          <p:spPr bwMode="gray">
            <a:xfrm>
              <a:off x="953438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0" name="Rechteck 669">
              <a:extLst>
                <a:ext uri="{FF2B5EF4-FFF2-40B4-BE49-F238E27FC236}">
                  <a16:creationId xmlns:a16="http://schemas.microsoft.com/office/drawing/2014/main" id="{AAE4743D-C99B-0750-3508-43E2516570B7}"/>
                </a:ext>
              </a:extLst>
            </p:cNvPr>
            <p:cNvSpPr/>
            <p:nvPr userDrawn="1"/>
          </p:nvSpPr>
          <p:spPr bwMode="gray">
            <a:xfrm>
              <a:off x="895832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1" name="Rechteck 670">
              <a:extLst>
                <a:ext uri="{FF2B5EF4-FFF2-40B4-BE49-F238E27FC236}">
                  <a16:creationId xmlns:a16="http://schemas.microsoft.com/office/drawing/2014/main" id="{50571E59-3780-FA39-2E48-026A634D15C7}"/>
                </a:ext>
              </a:extLst>
            </p:cNvPr>
            <p:cNvSpPr/>
            <p:nvPr userDrawn="1"/>
          </p:nvSpPr>
          <p:spPr bwMode="gray">
            <a:xfrm>
              <a:off x="838225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2" name="Rechteck 671">
              <a:extLst>
                <a:ext uri="{FF2B5EF4-FFF2-40B4-BE49-F238E27FC236}">
                  <a16:creationId xmlns:a16="http://schemas.microsoft.com/office/drawing/2014/main" id="{49FDA538-2F5D-27DA-074A-92DD9C0BFD2E}"/>
                </a:ext>
              </a:extLst>
            </p:cNvPr>
            <p:cNvSpPr/>
            <p:nvPr userDrawn="1"/>
          </p:nvSpPr>
          <p:spPr bwMode="gray">
            <a:xfrm>
              <a:off x="780619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3" name="Rechteck 672">
              <a:extLst>
                <a:ext uri="{FF2B5EF4-FFF2-40B4-BE49-F238E27FC236}">
                  <a16:creationId xmlns:a16="http://schemas.microsoft.com/office/drawing/2014/main" id="{0D50E3BC-6ADE-15A9-214C-38F19E8ECFFB}"/>
                </a:ext>
              </a:extLst>
            </p:cNvPr>
            <p:cNvSpPr/>
            <p:nvPr userDrawn="1"/>
          </p:nvSpPr>
          <p:spPr bwMode="gray">
            <a:xfrm>
              <a:off x="723012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4" name="Rechteck 673">
              <a:extLst>
                <a:ext uri="{FF2B5EF4-FFF2-40B4-BE49-F238E27FC236}">
                  <a16:creationId xmlns:a16="http://schemas.microsoft.com/office/drawing/2014/main" id="{874D328C-C1BC-47D8-4C91-5613E308B347}"/>
                </a:ext>
              </a:extLst>
            </p:cNvPr>
            <p:cNvSpPr/>
            <p:nvPr userDrawn="1"/>
          </p:nvSpPr>
          <p:spPr bwMode="gray">
            <a:xfrm>
              <a:off x="665406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5" name="Rechteck 674">
              <a:extLst>
                <a:ext uri="{FF2B5EF4-FFF2-40B4-BE49-F238E27FC236}">
                  <a16:creationId xmlns:a16="http://schemas.microsoft.com/office/drawing/2014/main" id="{2A554747-DD24-9872-5976-8E8958F4CD27}"/>
                </a:ext>
              </a:extLst>
            </p:cNvPr>
            <p:cNvSpPr/>
            <p:nvPr userDrawn="1"/>
          </p:nvSpPr>
          <p:spPr bwMode="gray">
            <a:xfrm>
              <a:off x="607800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6" name="Rechteck 675">
              <a:extLst>
                <a:ext uri="{FF2B5EF4-FFF2-40B4-BE49-F238E27FC236}">
                  <a16:creationId xmlns:a16="http://schemas.microsoft.com/office/drawing/2014/main" id="{2045DFB0-0BB9-0D06-3D2B-E63F6BDE2773}"/>
                </a:ext>
              </a:extLst>
            </p:cNvPr>
            <p:cNvSpPr/>
            <p:nvPr userDrawn="1"/>
          </p:nvSpPr>
          <p:spPr bwMode="gray">
            <a:xfrm>
              <a:off x="550193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7" name="Rechteck 676">
              <a:extLst>
                <a:ext uri="{FF2B5EF4-FFF2-40B4-BE49-F238E27FC236}">
                  <a16:creationId xmlns:a16="http://schemas.microsoft.com/office/drawing/2014/main" id="{8F687CF7-CD51-3F1E-AD6D-04B3048AAD06}"/>
                </a:ext>
              </a:extLst>
            </p:cNvPr>
            <p:cNvSpPr/>
            <p:nvPr userDrawn="1"/>
          </p:nvSpPr>
          <p:spPr bwMode="gray">
            <a:xfrm>
              <a:off x="492587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8" name="Rechteck 677">
              <a:extLst>
                <a:ext uri="{FF2B5EF4-FFF2-40B4-BE49-F238E27FC236}">
                  <a16:creationId xmlns:a16="http://schemas.microsoft.com/office/drawing/2014/main" id="{81B264B1-877B-4E29-3550-BAA6BEFECF3A}"/>
                </a:ext>
              </a:extLst>
            </p:cNvPr>
            <p:cNvSpPr/>
            <p:nvPr userDrawn="1"/>
          </p:nvSpPr>
          <p:spPr bwMode="gray">
            <a:xfrm>
              <a:off x="434980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9" name="Rechteck 678">
              <a:extLst>
                <a:ext uri="{FF2B5EF4-FFF2-40B4-BE49-F238E27FC236}">
                  <a16:creationId xmlns:a16="http://schemas.microsoft.com/office/drawing/2014/main" id="{E47C82D3-F8D2-8DFA-C8CD-63CDA10528BD}"/>
                </a:ext>
              </a:extLst>
            </p:cNvPr>
            <p:cNvSpPr/>
            <p:nvPr userDrawn="1"/>
          </p:nvSpPr>
          <p:spPr bwMode="gray">
            <a:xfrm>
              <a:off x="377374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0" name="Rechteck 679">
              <a:extLst>
                <a:ext uri="{FF2B5EF4-FFF2-40B4-BE49-F238E27FC236}">
                  <a16:creationId xmlns:a16="http://schemas.microsoft.com/office/drawing/2014/main" id="{930A7A40-382C-C54E-984A-E506B91B5B40}"/>
                </a:ext>
              </a:extLst>
            </p:cNvPr>
            <p:cNvSpPr/>
            <p:nvPr userDrawn="1"/>
          </p:nvSpPr>
          <p:spPr bwMode="gray">
            <a:xfrm>
              <a:off x="319768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1" name="Rechteck 680">
              <a:extLst>
                <a:ext uri="{FF2B5EF4-FFF2-40B4-BE49-F238E27FC236}">
                  <a16:creationId xmlns:a16="http://schemas.microsoft.com/office/drawing/2014/main" id="{B41A3D9E-8508-EB50-0B54-7B4AA342A534}"/>
                </a:ext>
              </a:extLst>
            </p:cNvPr>
            <p:cNvSpPr/>
            <p:nvPr userDrawn="1"/>
          </p:nvSpPr>
          <p:spPr bwMode="gray">
            <a:xfrm>
              <a:off x="262161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2" name="Rechteck 681">
              <a:extLst>
                <a:ext uri="{FF2B5EF4-FFF2-40B4-BE49-F238E27FC236}">
                  <a16:creationId xmlns:a16="http://schemas.microsoft.com/office/drawing/2014/main" id="{DB6F446A-103B-97FC-EBE9-BBC4890763D0}"/>
                </a:ext>
              </a:extLst>
            </p:cNvPr>
            <p:cNvSpPr/>
            <p:nvPr userDrawn="1"/>
          </p:nvSpPr>
          <p:spPr bwMode="gray">
            <a:xfrm>
              <a:off x="204555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3" name="Rechteck 682">
              <a:extLst>
                <a:ext uri="{FF2B5EF4-FFF2-40B4-BE49-F238E27FC236}">
                  <a16:creationId xmlns:a16="http://schemas.microsoft.com/office/drawing/2014/main" id="{1C483122-6EAB-C3C6-8F54-08AE652B9276}"/>
                </a:ext>
              </a:extLst>
            </p:cNvPr>
            <p:cNvSpPr/>
            <p:nvPr userDrawn="1"/>
          </p:nvSpPr>
          <p:spPr bwMode="gray">
            <a:xfrm>
              <a:off x="146948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4" name="Rechteck 683">
              <a:extLst>
                <a:ext uri="{FF2B5EF4-FFF2-40B4-BE49-F238E27FC236}">
                  <a16:creationId xmlns:a16="http://schemas.microsoft.com/office/drawing/2014/main" id="{19509C6E-0FFF-C244-A551-91307F5B3DEC}"/>
                </a:ext>
              </a:extLst>
            </p:cNvPr>
            <p:cNvSpPr/>
            <p:nvPr userDrawn="1"/>
          </p:nvSpPr>
          <p:spPr bwMode="gray">
            <a:xfrm>
              <a:off x="89342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5" name="Rechteck 684">
              <a:extLst>
                <a:ext uri="{FF2B5EF4-FFF2-40B4-BE49-F238E27FC236}">
                  <a16:creationId xmlns:a16="http://schemas.microsoft.com/office/drawing/2014/main" id="{39674905-C4D4-7CC6-CDEE-636DE8BDE72F}"/>
                </a:ext>
              </a:extLst>
            </p:cNvPr>
            <p:cNvSpPr/>
            <p:nvPr userDrawn="1"/>
          </p:nvSpPr>
          <p:spPr bwMode="gray">
            <a:xfrm>
              <a:off x="31736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6" name="Rechteck 685">
              <a:extLst>
                <a:ext uri="{FF2B5EF4-FFF2-40B4-BE49-F238E27FC236}">
                  <a16:creationId xmlns:a16="http://schemas.microsoft.com/office/drawing/2014/main" id="{CAD1DA37-C35B-2020-D739-15C02207A195}"/>
                </a:ext>
              </a:extLst>
            </p:cNvPr>
            <p:cNvSpPr/>
            <p:nvPr userDrawn="1"/>
          </p:nvSpPr>
          <p:spPr bwMode="gray">
            <a:xfrm>
              <a:off x="1126257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7" name="Rechteck 686">
              <a:extLst>
                <a:ext uri="{FF2B5EF4-FFF2-40B4-BE49-F238E27FC236}">
                  <a16:creationId xmlns:a16="http://schemas.microsoft.com/office/drawing/2014/main" id="{4F89A6D8-A531-8FEB-5675-22273018C855}"/>
                </a:ext>
              </a:extLst>
            </p:cNvPr>
            <p:cNvSpPr/>
            <p:nvPr userDrawn="1"/>
          </p:nvSpPr>
          <p:spPr bwMode="gray">
            <a:xfrm>
              <a:off x="1068651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8" name="Rechteck 687">
              <a:extLst>
                <a:ext uri="{FF2B5EF4-FFF2-40B4-BE49-F238E27FC236}">
                  <a16:creationId xmlns:a16="http://schemas.microsoft.com/office/drawing/2014/main" id="{804D21EB-34D8-09BA-DAB9-EDB1371935D6}"/>
                </a:ext>
              </a:extLst>
            </p:cNvPr>
            <p:cNvSpPr/>
            <p:nvPr userDrawn="1"/>
          </p:nvSpPr>
          <p:spPr bwMode="gray">
            <a:xfrm>
              <a:off x="1011044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9" name="Rechteck 688">
              <a:extLst>
                <a:ext uri="{FF2B5EF4-FFF2-40B4-BE49-F238E27FC236}">
                  <a16:creationId xmlns:a16="http://schemas.microsoft.com/office/drawing/2014/main" id="{CEAAC0E7-B81A-A84D-1764-68697EFF805B}"/>
                </a:ext>
              </a:extLst>
            </p:cNvPr>
            <p:cNvSpPr/>
            <p:nvPr userDrawn="1"/>
          </p:nvSpPr>
          <p:spPr bwMode="gray">
            <a:xfrm>
              <a:off x="953438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0" name="Rechteck 689">
              <a:extLst>
                <a:ext uri="{FF2B5EF4-FFF2-40B4-BE49-F238E27FC236}">
                  <a16:creationId xmlns:a16="http://schemas.microsoft.com/office/drawing/2014/main" id="{CCE27AEA-32ED-71AA-DE9E-C084CE5DA1FF}"/>
                </a:ext>
              </a:extLst>
            </p:cNvPr>
            <p:cNvSpPr/>
            <p:nvPr userDrawn="1"/>
          </p:nvSpPr>
          <p:spPr bwMode="gray">
            <a:xfrm>
              <a:off x="895832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1" name="Rechteck 690">
              <a:extLst>
                <a:ext uri="{FF2B5EF4-FFF2-40B4-BE49-F238E27FC236}">
                  <a16:creationId xmlns:a16="http://schemas.microsoft.com/office/drawing/2014/main" id="{2B471207-418E-6ACB-F920-274149E65A81}"/>
                </a:ext>
              </a:extLst>
            </p:cNvPr>
            <p:cNvSpPr/>
            <p:nvPr userDrawn="1"/>
          </p:nvSpPr>
          <p:spPr bwMode="gray">
            <a:xfrm>
              <a:off x="838225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2" name="Rechteck 691">
              <a:extLst>
                <a:ext uri="{FF2B5EF4-FFF2-40B4-BE49-F238E27FC236}">
                  <a16:creationId xmlns:a16="http://schemas.microsoft.com/office/drawing/2014/main" id="{253F4C61-E51B-A31C-437F-EEF4F8570226}"/>
                </a:ext>
              </a:extLst>
            </p:cNvPr>
            <p:cNvSpPr/>
            <p:nvPr userDrawn="1"/>
          </p:nvSpPr>
          <p:spPr bwMode="gray">
            <a:xfrm>
              <a:off x="780619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3" name="Rechteck 692">
              <a:extLst>
                <a:ext uri="{FF2B5EF4-FFF2-40B4-BE49-F238E27FC236}">
                  <a16:creationId xmlns:a16="http://schemas.microsoft.com/office/drawing/2014/main" id="{99713628-DC78-ECBF-ABBB-B42A814972AB}"/>
                </a:ext>
              </a:extLst>
            </p:cNvPr>
            <p:cNvSpPr/>
            <p:nvPr userDrawn="1"/>
          </p:nvSpPr>
          <p:spPr bwMode="gray">
            <a:xfrm>
              <a:off x="723012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4" name="Rechteck 693">
              <a:extLst>
                <a:ext uri="{FF2B5EF4-FFF2-40B4-BE49-F238E27FC236}">
                  <a16:creationId xmlns:a16="http://schemas.microsoft.com/office/drawing/2014/main" id="{A53FC6F1-B745-9578-B255-448966C69200}"/>
                </a:ext>
              </a:extLst>
            </p:cNvPr>
            <p:cNvSpPr/>
            <p:nvPr userDrawn="1"/>
          </p:nvSpPr>
          <p:spPr bwMode="gray">
            <a:xfrm>
              <a:off x="665406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5" name="Rechteck 694">
              <a:extLst>
                <a:ext uri="{FF2B5EF4-FFF2-40B4-BE49-F238E27FC236}">
                  <a16:creationId xmlns:a16="http://schemas.microsoft.com/office/drawing/2014/main" id="{181A3FA9-32F4-D64A-2409-883DF8C3C2E6}"/>
                </a:ext>
              </a:extLst>
            </p:cNvPr>
            <p:cNvSpPr/>
            <p:nvPr userDrawn="1"/>
          </p:nvSpPr>
          <p:spPr bwMode="gray">
            <a:xfrm>
              <a:off x="607800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6" name="Rechteck 695">
              <a:extLst>
                <a:ext uri="{FF2B5EF4-FFF2-40B4-BE49-F238E27FC236}">
                  <a16:creationId xmlns:a16="http://schemas.microsoft.com/office/drawing/2014/main" id="{E795399E-E0FE-97E4-F981-D839295DB860}"/>
                </a:ext>
              </a:extLst>
            </p:cNvPr>
            <p:cNvSpPr/>
            <p:nvPr userDrawn="1"/>
          </p:nvSpPr>
          <p:spPr bwMode="gray">
            <a:xfrm>
              <a:off x="550193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7" name="Rechteck 696">
              <a:extLst>
                <a:ext uri="{FF2B5EF4-FFF2-40B4-BE49-F238E27FC236}">
                  <a16:creationId xmlns:a16="http://schemas.microsoft.com/office/drawing/2014/main" id="{7894E590-844B-C908-79B4-931D5253B6D3}"/>
                </a:ext>
              </a:extLst>
            </p:cNvPr>
            <p:cNvSpPr/>
            <p:nvPr userDrawn="1"/>
          </p:nvSpPr>
          <p:spPr bwMode="gray">
            <a:xfrm>
              <a:off x="492587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8" name="Rechteck 697">
              <a:extLst>
                <a:ext uri="{FF2B5EF4-FFF2-40B4-BE49-F238E27FC236}">
                  <a16:creationId xmlns:a16="http://schemas.microsoft.com/office/drawing/2014/main" id="{280163C9-E744-D666-9E7B-41020E3AB72F}"/>
                </a:ext>
              </a:extLst>
            </p:cNvPr>
            <p:cNvSpPr/>
            <p:nvPr userDrawn="1"/>
          </p:nvSpPr>
          <p:spPr bwMode="gray">
            <a:xfrm>
              <a:off x="434980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9" name="Rechteck 698">
              <a:extLst>
                <a:ext uri="{FF2B5EF4-FFF2-40B4-BE49-F238E27FC236}">
                  <a16:creationId xmlns:a16="http://schemas.microsoft.com/office/drawing/2014/main" id="{7A31D744-7452-14D9-2D35-FEE927D1CAA3}"/>
                </a:ext>
              </a:extLst>
            </p:cNvPr>
            <p:cNvSpPr/>
            <p:nvPr userDrawn="1"/>
          </p:nvSpPr>
          <p:spPr bwMode="gray">
            <a:xfrm>
              <a:off x="377374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0" name="Rechteck 699">
              <a:extLst>
                <a:ext uri="{FF2B5EF4-FFF2-40B4-BE49-F238E27FC236}">
                  <a16:creationId xmlns:a16="http://schemas.microsoft.com/office/drawing/2014/main" id="{CA63B1FA-C6E6-8E45-40FE-D92290FFF3E1}"/>
                </a:ext>
              </a:extLst>
            </p:cNvPr>
            <p:cNvSpPr/>
            <p:nvPr userDrawn="1"/>
          </p:nvSpPr>
          <p:spPr bwMode="gray">
            <a:xfrm>
              <a:off x="319768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1" name="Rechteck 700">
              <a:extLst>
                <a:ext uri="{FF2B5EF4-FFF2-40B4-BE49-F238E27FC236}">
                  <a16:creationId xmlns:a16="http://schemas.microsoft.com/office/drawing/2014/main" id="{BF2D07C1-4C20-0357-B196-BAAD39D296A2}"/>
                </a:ext>
              </a:extLst>
            </p:cNvPr>
            <p:cNvSpPr/>
            <p:nvPr userDrawn="1"/>
          </p:nvSpPr>
          <p:spPr bwMode="gray">
            <a:xfrm>
              <a:off x="262161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2" name="Rechteck 701">
              <a:extLst>
                <a:ext uri="{FF2B5EF4-FFF2-40B4-BE49-F238E27FC236}">
                  <a16:creationId xmlns:a16="http://schemas.microsoft.com/office/drawing/2014/main" id="{D5A5E5AF-775A-9684-3A22-7ACD93A2A970}"/>
                </a:ext>
              </a:extLst>
            </p:cNvPr>
            <p:cNvSpPr/>
            <p:nvPr userDrawn="1"/>
          </p:nvSpPr>
          <p:spPr bwMode="gray">
            <a:xfrm>
              <a:off x="204555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3" name="Rechteck 702">
              <a:extLst>
                <a:ext uri="{FF2B5EF4-FFF2-40B4-BE49-F238E27FC236}">
                  <a16:creationId xmlns:a16="http://schemas.microsoft.com/office/drawing/2014/main" id="{91A254AC-1D4B-36A3-4E09-36AFBF890C99}"/>
                </a:ext>
              </a:extLst>
            </p:cNvPr>
            <p:cNvSpPr/>
            <p:nvPr userDrawn="1"/>
          </p:nvSpPr>
          <p:spPr bwMode="gray">
            <a:xfrm>
              <a:off x="146948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4" name="Rechteck 703">
              <a:extLst>
                <a:ext uri="{FF2B5EF4-FFF2-40B4-BE49-F238E27FC236}">
                  <a16:creationId xmlns:a16="http://schemas.microsoft.com/office/drawing/2014/main" id="{1A570A4E-4DC8-FA7F-7160-39B7BE708BB6}"/>
                </a:ext>
              </a:extLst>
            </p:cNvPr>
            <p:cNvSpPr/>
            <p:nvPr userDrawn="1"/>
          </p:nvSpPr>
          <p:spPr bwMode="gray">
            <a:xfrm>
              <a:off x="89342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5" name="Rechteck 704">
              <a:extLst>
                <a:ext uri="{FF2B5EF4-FFF2-40B4-BE49-F238E27FC236}">
                  <a16:creationId xmlns:a16="http://schemas.microsoft.com/office/drawing/2014/main" id="{EACC5360-6427-DBA1-924A-70DBE6463282}"/>
                </a:ext>
              </a:extLst>
            </p:cNvPr>
            <p:cNvSpPr/>
            <p:nvPr userDrawn="1"/>
          </p:nvSpPr>
          <p:spPr bwMode="gray">
            <a:xfrm>
              <a:off x="31736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6" name="Rechteck 705">
              <a:extLst>
                <a:ext uri="{FF2B5EF4-FFF2-40B4-BE49-F238E27FC236}">
                  <a16:creationId xmlns:a16="http://schemas.microsoft.com/office/drawing/2014/main" id="{4B0B4BBD-9439-34C2-C6CC-95A540CFA7CA}"/>
                </a:ext>
              </a:extLst>
            </p:cNvPr>
            <p:cNvSpPr/>
            <p:nvPr userDrawn="1"/>
          </p:nvSpPr>
          <p:spPr bwMode="gray">
            <a:xfrm>
              <a:off x="1126257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7" name="Rechteck 706">
              <a:extLst>
                <a:ext uri="{FF2B5EF4-FFF2-40B4-BE49-F238E27FC236}">
                  <a16:creationId xmlns:a16="http://schemas.microsoft.com/office/drawing/2014/main" id="{B17E2CD9-C4CA-BA75-8FB2-51C75E141960}"/>
                </a:ext>
              </a:extLst>
            </p:cNvPr>
            <p:cNvSpPr/>
            <p:nvPr userDrawn="1"/>
          </p:nvSpPr>
          <p:spPr bwMode="gray">
            <a:xfrm>
              <a:off x="1068651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8" name="Rechteck 707">
              <a:extLst>
                <a:ext uri="{FF2B5EF4-FFF2-40B4-BE49-F238E27FC236}">
                  <a16:creationId xmlns:a16="http://schemas.microsoft.com/office/drawing/2014/main" id="{C40F7164-E113-A9C5-C24B-E978B2D36785}"/>
                </a:ext>
              </a:extLst>
            </p:cNvPr>
            <p:cNvSpPr/>
            <p:nvPr userDrawn="1"/>
          </p:nvSpPr>
          <p:spPr bwMode="gray">
            <a:xfrm>
              <a:off x="1011044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9" name="Rechteck 708">
              <a:extLst>
                <a:ext uri="{FF2B5EF4-FFF2-40B4-BE49-F238E27FC236}">
                  <a16:creationId xmlns:a16="http://schemas.microsoft.com/office/drawing/2014/main" id="{DB01BB92-4FA0-7D62-F488-58A68E48A6F7}"/>
                </a:ext>
              </a:extLst>
            </p:cNvPr>
            <p:cNvSpPr/>
            <p:nvPr userDrawn="1"/>
          </p:nvSpPr>
          <p:spPr bwMode="gray">
            <a:xfrm>
              <a:off x="953438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0" name="Rechteck 709">
              <a:extLst>
                <a:ext uri="{FF2B5EF4-FFF2-40B4-BE49-F238E27FC236}">
                  <a16:creationId xmlns:a16="http://schemas.microsoft.com/office/drawing/2014/main" id="{6E4E369A-F28A-19A9-4F0C-F033838821EC}"/>
                </a:ext>
              </a:extLst>
            </p:cNvPr>
            <p:cNvSpPr/>
            <p:nvPr userDrawn="1"/>
          </p:nvSpPr>
          <p:spPr bwMode="gray">
            <a:xfrm>
              <a:off x="895832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1" name="Rechteck 710">
              <a:extLst>
                <a:ext uri="{FF2B5EF4-FFF2-40B4-BE49-F238E27FC236}">
                  <a16:creationId xmlns:a16="http://schemas.microsoft.com/office/drawing/2014/main" id="{A00CE3B3-A7C5-7CCE-530C-5475BACB67C7}"/>
                </a:ext>
              </a:extLst>
            </p:cNvPr>
            <p:cNvSpPr/>
            <p:nvPr userDrawn="1"/>
          </p:nvSpPr>
          <p:spPr bwMode="gray">
            <a:xfrm>
              <a:off x="838225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2" name="Rechteck 711">
              <a:extLst>
                <a:ext uri="{FF2B5EF4-FFF2-40B4-BE49-F238E27FC236}">
                  <a16:creationId xmlns:a16="http://schemas.microsoft.com/office/drawing/2014/main" id="{0F9031C3-372F-CD2F-3A98-877622403322}"/>
                </a:ext>
              </a:extLst>
            </p:cNvPr>
            <p:cNvSpPr/>
            <p:nvPr userDrawn="1"/>
          </p:nvSpPr>
          <p:spPr bwMode="gray">
            <a:xfrm>
              <a:off x="780619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3" name="Rechteck 712">
              <a:extLst>
                <a:ext uri="{FF2B5EF4-FFF2-40B4-BE49-F238E27FC236}">
                  <a16:creationId xmlns:a16="http://schemas.microsoft.com/office/drawing/2014/main" id="{1443E469-9FCC-DBDC-E14D-8E776F8AEB53}"/>
                </a:ext>
              </a:extLst>
            </p:cNvPr>
            <p:cNvSpPr/>
            <p:nvPr userDrawn="1"/>
          </p:nvSpPr>
          <p:spPr bwMode="gray">
            <a:xfrm>
              <a:off x="723012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4" name="Rechteck 713">
              <a:extLst>
                <a:ext uri="{FF2B5EF4-FFF2-40B4-BE49-F238E27FC236}">
                  <a16:creationId xmlns:a16="http://schemas.microsoft.com/office/drawing/2014/main" id="{5D3C61CC-ABF2-D46F-F971-CA4323D2B7CC}"/>
                </a:ext>
              </a:extLst>
            </p:cNvPr>
            <p:cNvSpPr/>
            <p:nvPr userDrawn="1"/>
          </p:nvSpPr>
          <p:spPr bwMode="gray">
            <a:xfrm>
              <a:off x="665406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5" name="Rechteck 714">
              <a:extLst>
                <a:ext uri="{FF2B5EF4-FFF2-40B4-BE49-F238E27FC236}">
                  <a16:creationId xmlns:a16="http://schemas.microsoft.com/office/drawing/2014/main" id="{320FABFA-B1D6-E117-48BB-8F9A01E3673A}"/>
                </a:ext>
              </a:extLst>
            </p:cNvPr>
            <p:cNvSpPr/>
            <p:nvPr userDrawn="1"/>
          </p:nvSpPr>
          <p:spPr bwMode="gray">
            <a:xfrm>
              <a:off x="607800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6" name="Rechteck 715">
              <a:extLst>
                <a:ext uri="{FF2B5EF4-FFF2-40B4-BE49-F238E27FC236}">
                  <a16:creationId xmlns:a16="http://schemas.microsoft.com/office/drawing/2014/main" id="{8DC80A83-EC79-45B7-15D4-FB5B673C4D19}"/>
                </a:ext>
              </a:extLst>
            </p:cNvPr>
            <p:cNvSpPr/>
            <p:nvPr userDrawn="1"/>
          </p:nvSpPr>
          <p:spPr bwMode="gray">
            <a:xfrm>
              <a:off x="550193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7" name="Rechteck 716">
              <a:extLst>
                <a:ext uri="{FF2B5EF4-FFF2-40B4-BE49-F238E27FC236}">
                  <a16:creationId xmlns:a16="http://schemas.microsoft.com/office/drawing/2014/main" id="{A577330A-F589-8E5F-CB85-02AF08786286}"/>
                </a:ext>
              </a:extLst>
            </p:cNvPr>
            <p:cNvSpPr/>
            <p:nvPr userDrawn="1"/>
          </p:nvSpPr>
          <p:spPr bwMode="gray">
            <a:xfrm>
              <a:off x="492587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8" name="Rechteck 717">
              <a:extLst>
                <a:ext uri="{FF2B5EF4-FFF2-40B4-BE49-F238E27FC236}">
                  <a16:creationId xmlns:a16="http://schemas.microsoft.com/office/drawing/2014/main" id="{D381650E-06C2-C760-AE1C-D4C3B6816408}"/>
                </a:ext>
              </a:extLst>
            </p:cNvPr>
            <p:cNvSpPr/>
            <p:nvPr userDrawn="1"/>
          </p:nvSpPr>
          <p:spPr bwMode="gray">
            <a:xfrm>
              <a:off x="434980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9" name="Rechteck 718">
              <a:extLst>
                <a:ext uri="{FF2B5EF4-FFF2-40B4-BE49-F238E27FC236}">
                  <a16:creationId xmlns:a16="http://schemas.microsoft.com/office/drawing/2014/main" id="{29141E38-3E3E-C732-BB5B-B5B46BCD8FBC}"/>
                </a:ext>
              </a:extLst>
            </p:cNvPr>
            <p:cNvSpPr/>
            <p:nvPr userDrawn="1"/>
          </p:nvSpPr>
          <p:spPr bwMode="gray">
            <a:xfrm>
              <a:off x="377374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0" name="Rechteck 719">
              <a:extLst>
                <a:ext uri="{FF2B5EF4-FFF2-40B4-BE49-F238E27FC236}">
                  <a16:creationId xmlns:a16="http://schemas.microsoft.com/office/drawing/2014/main" id="{9DE2E3C1-5583-593F-E5D8-A12AC4AB556E}"/>
                </a:ext>
              </a:extLst>
            </p:cNvPr>
            <p:cNvSpPr/>
            <p:nvPr userDrawn="1"/>
          </p:nvSpPr>
          <p:spPr bwMode="gray">
            <a:xfrm>
              <a:off x="319768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1" name="Rechteck 720">
              <a:extLst>
                <a:ext uri="{FF2B5EF4-FFF2-40B4-BE49-F238E27FC236}">
                  <a16:creationId xmlns:a16="http://schemas.microsoft.com/office/drawing/2014/main" id="{2B9C3071-5C9F-536A-CF3C-54D3AE9879EB}"/>
                </a:ext>
              </a:extLst>
            </p:cNvPr>
            <p:cNvSpPr/>
            <p:nvPr userDrawn="1"/>
          </p:nvSpPr>
          <p:spPr bwMode="gray">
            <a:xfrm>
              <a:off x="262161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2" name="Rechteck 721">
              <a:extLst>
                <a:ext uri="{FF2B5EF4-FFF2-40B4-BE49-F238E27FC236}">
                  <a16:creationId xmlns:a16="http://schemas.microsoft.com/office/drawing/2014/main" id="{F81644A7-4460-3B2E-8CC4-BE034C3DC2C5}"/>
                </a:ext>
              </a:extLst>
            </p:cNvPr>
            <p:cNvSpPr/>
            <p:nvPr userDrawn="1"/>
          </p:nvSpPr>
          <p:spPr bwMode="gray">
            <a:xfrm>
              <a:off x="204555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3" name="Rechteck 722">
              <a:extLst>
                <a:ext uri="{FF2B5EF4-FFF2-40B4-BE49-F238E27FC236}">
                  <a16:creationId xmlns:a16="http://schemas.microsoft.com/office/drawing/2014/main" id="{5E8E011A-E9F5-C3AC-322B-330773B0FA79}"/>
                </a:ext>
              </a:extLst>
            </p:cNvPr>
            <p:cNvSpPr/>
            <p:nvPr userDrawn="1"/>
          </p:nvSpPr>
          <p:spPr bwMode="gray">
            <a:xfrm>
              <a:off x="146948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4" name="Rechteck 723">
              <a:extLst>
                <a:ext uri="{FF2B5EF4-FFF2-40B4-BE49-F238E27FC236}">
                  <a16:creationId xmlns:a16="http://schemas.microsoft.com/office/drawing/2014/main" id="{3D8D594D-10FC-D95A-0577-8B7B834294EA}"/>
                </a:ext>
              </a:extLst>
            </p:cNvPr>
            <p:cNvSpPr/>
            <p:nvPr userDrawn="1"/>
          </p:nvSpPr>
          <p:spPr bwMode="gray">
            <a:xfrm>
              <a:off x="89342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5" name="Rechteck 724">
              <a:extLst>
                <a:ext uri="{FF2B5EF4-FFF2-40B4-BE49-F238E27FC236}">
                  <a16:creationId xmlns:a16="http://schemas.microsoft.com/office/drawing/2014/main" id="{A9958DA1-D625-1C0A-A683-31C5820BE976}"/>
                </a:ext>
              </a:extLst>
            </p:cNvPr>
            <p:cNvSpPr/>
            <p:nvPr userDrawn="1"/>
          </p:nvSpPr>
          <p:spPr bwMode="gray">
            <a:xfrm>
              <a:off x="31736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6" name="Rechteck 725">
              <a:extLst>
                <a:ext uri="{FF2B5EF4-FFF2-40B4-BE49-F238E27FC236}">
                  <a16:creationId xmlns:a16="http://schemas.microsoft.com/office/drawing/2014/main" id="{374F5934-6ECE-175C-DBE4-65460BD275D1}"/>
                </a:ext>
              </a:extLst>
            </p:cNvPr>
            <p:cNvSpPr/>
            <p:nvPr userDrawn="1"/>
          </p:nvSpPr>
          <p:spPr bwMode="gray">
            <a:xfrm>
              <a:off x="1126257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7" name="Rechteck 726">
              <a:extLst>
                <a:ext uri="{FF2B5EF4-FFF2-40B4-BE49-F238E27FC236}">
                  <a16:creationId xmlns:a16="http://schemas.microsoft.com/office/drawing/2014/main" id="{E9053F87-10D1-C3C3-1B42-3EF567FA8B55}"/>
                </a:ext>
              </a:extLst>
            </p:cNvPr>
            <p:cNvSpPr/>
            <p:nvPr userDrawn="1"/>
          </p:nvSpPr>
          <p:spPr bwMode="gray">
            <a:xfrm>
              <a:off x="1068651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8" name="Rechteck 727">
              <a:extLst>
                <a:ext uri="{FF2B5EF4-FFF2-40B4-BE49-F238E27FC236}">
                  <a16:creationId xmlns:a16="http://schemas.microsoft.com/office/drawing/2014/main" id="{2F093697-3051-3678-3572-2632CF70DED1}"/>
                </a:ext>
              </a:extLst>
            </p:cNvPr>
            <p:cNvSpPr/>
            <p:nvPr userDrawn="1"/>
          </p:nvSpPr>
          <p:spPr bwMode="gray">
            <a:xfrm>
              <a:off x="1011044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9" name="Rechteck 728">
              <a:extLst>
                <a:ext uri="{FF2B5EF4-FFF2-40B4-BE49-F238E27FC236}">
                  <a16:creationId xmlns:a16="http://schemas.microsoft.com/office/drawing/2014/main" id="{51895978-768E-DF20-9A71-452B78236DA7}"/>
                </a:ext>
              </a:extLst>
            </p:cNvPr>
            <p:cNvSpPr/>
            <p:nvPr userDrawn="1"/>
          </p:nvSpPr>
          <p:spPr bwMode="gray">
            <a:xfrm>
              <a:off x="953438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0" name="Rechteck 729">
              <a:extLst>
                <a:ext uri="{FF2B5EF4-FFF2-40B4-BE49-F238E27FC236}">
                  <a16:creationId xmlns:a16="http://schemas.microsoft.com/office/drawing/2014/main" id="{018A5511-9143-24B8-0E90-EAA9C6AFA187}"/>
                </a:ext>
              </a:extLst>
            </p:cNvPr>
            <p:cNvSpPr/>
            <p:nvPr userDrawn="1"/>
          </p:nvSpPr>
          <p:spPr bwMode="gray">
            <a:xfrm>
              <a:off x="895832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1" name="Rechteck 730">
              <a:extLst>
                <a:ext uri="{FF2B5EF4-FFF2-40B4-BE49-F238E27FC236}">
                  <a16:creationId xmlns:a16="http://schemas.microsoft.com/office/drawing/2014/main" id="{E7F12928-D575-00B4-7AE1-191BDF1FA947}"/>
                </a:ext>
              </a:extLst>
            </p:cNvPr>
            <p:cNvSpPr/>
            <p:nvPr userDrawn="1"/>
          </p:nvSpPr>
          <p:spPr bwMode="gray">
            <a:xfrm>
              <a:off x="838225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2" name="Rechteck 731">
              <a:extLst>
                <a:ext uri="{FF2B5EF4-FFF2-40B4-BE49-F238E27FC236}">
                  <a16:creationId xmlns:a16="http://schemas.microsoft.com/office/drawing/2014/main" id="{B605AD07-FBC4-E46F-648B-DFB26B97E23D}"/>
                </a:ext>
              </a:extLst>
            </p:cNvPr>
            <p:cNvSpPr/>
            <p:nvPr userDrawn="1"/>
          </p:nvSpPr>
          <p:spPr bwMode="gray">
            <a:xfrm>
              <a:off x="780619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3" name="Rechteck 732">
              <a:extLst>
                <a:ext uri="{FF2B5EF4-FFF2-40B4-BE49-F238E27FC236}">
                  <a16:creationId xmlns:a16="http://schemas.microsoft.com/office/drawing/2014/main" id="{1103C753-ED2B-F02B-F198-69678ECE8AF0}"/>
                </a:ext>
              </a:extLst>
            </p:cNvPr>
            <p:cNvSpPr/>
            <p:nvPr userDrawn="1"/>
          </p:nvSpPr>
          <p:spPr bwMode="gray">
            <a:xfrm>
              <a:off x="723012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4" name="Rechteck 733">
              <a:extLst>
                <a:ext uri="{FF2B5EF4-FFF2-40B4-BE49-F238E27FC236}">
                  <a16:creationId xmlns:a16="http://schemas.microsoft.com/office/drawing/2014/main" id="{D8FBA847-9A7A-7A43-CDB8-DDFB2D8979D4}"/>
                </a:ext>
              </a:extLst>
            </p:cNvPr>
            <p:cNvSpPr/>
            <p:nvPr userDrawn="1"/>
          </p:nvSpPr>
          <p:spPr bwMode="gray">
            <a:xfrm>
              <a:off x="665406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5" name="Rechteck 734">
              <a:extLst>
                <a:ext uri="{FF2B5EF4-FFF2-40B4-BE49-F238E27FC236}">
                  <a16:creationId xmlns:a16="http://schemas.microsoft.com/office/drawing/2014/main" id="{AE61CCAB-FCC0-7216-AB9E-6ECAFD48BF6F}"/>
                </a:ext>
              </a:extLst>
            </p:cNvPr>
            <p:cNvSpPr/>
            <p:nvPr userDrawn="1"/>
          </p:nvSpPr>
          <p:spPr bwMode="gray">
            <a:xfrm>
              <a:off x="607800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6" name="Rechteck 735">
              <a:extLst>
                <a:ext uri="{FF2B5EF4-FFF2-40B4-BE49-F238E27FC236}">
                  <a16:creationId xmlns:a16="http://schemas.microsoft.com/office/drawing/2014/main" id="{8CC529D3-B8C7-158E-2695-FFF7CF8D8A84}"/>
                </a:ext>
              </a:extLst>
            </p:cNvPr>
            <p:cNvSpPr/>
            <p:nvPr userDrawn="1"/>
          </p:nvSpPr>
          <p:spPr bwMode="gray">
            <a:xfrm>
              <a:off x="550193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7" name="Rechteck 736">
              <a:extLst>
                <a:ext uri="{FF2B5EF4-FFF2-40B4-BE49-F238E27FC236}">
                  <a16:creationId xmlns:a16="http://schemas.microsoft.com/office/drawing/2014/main" id="{33FD2AC1-8C1A-B152-79D0-7C24F299522F}"/>
                </a:ext>
              </a:extLst>
            </p:cNvPr>
            <p:cNvSpPr/>
            <p:nvPr userDrawn="1"/>
          </p:nvSpPr>
          <p:spPr bwMode="gray">
            <a:xfrm>
              <a:off x="492587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8" name="Rechteck 737">
              <a:extLst>
                <a:ext uri="{FF2B5EF4-FFF2-40B4-BE49-F238E27FC236}">
                  <a16:creationId xmlns:a16="http://schemas.microsoft.com/office/drawing/2014/main" id="{4BD609FC-B7F7-0390-7ED3-83FAF24FA35D}"/>
                </a:ext>
              </a:extLst>
            </p:cNvPr>
            <p:cNvSpPr/>
            <p:nvPr userDrawn="1"/>
          </p:nvSpPr>
          <p:spPr bwMode="gray">
            <a:xfrm>
              <a:off x="434980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9" name="Rechteck 738">
              <a:extLst>
                <a:ext uri="{FF2B5EF4-FFF2-40B4-BE49-F238E27FC236}">
                  <a16:creationId xmlns:a16="http://schemas.microsoft.com/office/drawing/2014/main" id="{F663EBC6-F09A-ED24-0F85-0C7AE36C9C27}"/>
                </a:ext>
              </a:extLst>
            </p:cNvPr>
            <p:cNvSpPr/>
            <p:nvPr userDrawn="1"/>
          </p:nvSpPr>
          <p:spPr bwMode="gray">
            <a:xfrm>
              <a:off x="377374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0" name="Rechteck 739">
              <a:extLst>
                <a:ext uri="{FF2B5EF4-FFF2-40B4-BE49-F238E27FC236}">
                  <a16:creationId xmlns:a16="http://schemas.microsoft.com/office/drawing/2014/main" id="{C49EFA59-778D-BF09-8B71-DA41C4252E69}"/>
                </a:ext>
              </a:extLst>
            </p:cNvPr>
            <p:cNvSpPr/>
            <p:nvPr userDrawn="1"/>
          </p:nvSpPr>
          <p:spPr bwMode="gray">
            <a:xfrm>
              <a:off x="319768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1" name="Rechteck 740">
              <a:extLst>
                <a:ext uri="{FF2B5EF4-FFF2-40B4-BE49-F238E27FC236}">
                  <a16:creationId xmlns:a16="http://schemas.microsoft.com/office/drawing/2014/main" id="{62C11425-39FE-40F6-4C69-B0C573A32808}"/>
                </a:ext>
              </a:extLst>
            </p:cNvPr>
            <p:cNvSpPr/>
            <p:nvPr userDrawn="1"/>
          </p:nvSpPr>
          <p:spPr bwMode="gray">
            <a:xfrm>
              <a:off x="262161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2" name="Rechteck 741">
              <a:extLst>
                <a:ext uri="{FF2B5EF4-FFF2-40B4-BE49-F238E27FC236}">
                  <a16:creationId xmlns:a16="http://schemas.microsoft.com/office/drawing/2014/main" id="{E8746B96-D16A-E91E-79F5-360B4DEE6D48}"/>
                </a:ext>
              </a:extLst>
            </p:cNvPr>
            <p:cNvSpPr/>
            <p:nvPr userDrawn="1"/>
          </p:nvSpPr>
          <p:spPr bwMode="gray">
            <a:xfrm>
              <a:off x="204555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3" name="Rechteck 742">
              <a:extLst>
                <a:ext uri="{FF2B5EF4-FFF2-40B4-BE49-F238E27FC236}">
                  <a16:creationId xmlns:a16="http://schemas.microsoft.com/office/drawing/2014/main" id="{6AED2833-A35C-7197-4A27-40626DAB991C}"/>
                </a:ext>
              </a:extLst>
            </p:cNvPr>
            <p:cNvSpPr/>
            <p:nvPr userDrawn="1"/>
          </p:nvSpPr>
          <p:spPr bwMode="gray">
            <a:xfrm>
              <a:off x="146948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4" name="Rechteck 743">
              <a:extLst>
                <a:ext uri="{FF2B5EF4-FFF2-40B4-BE49-F238E27FC236}">
                  <a16:creationId xmlns:a16="http://schemas.microsoft.com/office/drawing/2014/main" id="{E96FF25A-734D-1AAB-01CD-B681A0BF51C2}"/>
                </a:ext>
              </a:extLst>
            </p:cNvPr>
            <p:cNvSpPr/>
            <p:nvPr userDrawn="1"/>
          </p:nvSpPr>
          <p:spPr bwMode="gray">
            <a:xfrm>
              <a:off x="89342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5" name="Rechteck 744">
              <a:extLst>
                <a:ext uri="{FF2B5EF4-FFF2-40B4-BE49-F238E27FC236}">
                  <a16:creationId xmlns:a16="http://schemas.microsoft.com/office/drawing/2014/main" id="{AEA9EB58-A9D6-7C12-0A53-EE7AD90330E2}"/>
                </a:ext>
              </a:extLst>
            </p:cNvPr>
            <p:cNvSpPr/>
            <p:nvPr userDrawn="1"/>
          </p:nvSpPr>
          <p:spPr bwMode="gray">
            <a:xfrm>
              <a:off x="31736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6" name="Rechteck 745">
              <a:extLst>
                <a:ext uri="{FF2B5EF4-FFF2-40B4-BE49-F238E27FC236}">
                  <a16:creationId xmlns:a16="http://schemas.microsoft.com/office/drawing/2014/main" id="{4EC8FD30-3217-035A-7781-DCE5B57C873C}"/>
                </a:ext>
              </a:extLst>
            </p:cNvPr>
            <p:cNvSpPr/>
            <p:nvPr userDrawn="1"/>
          </p:nvSpPr>
          <p:spPr bwMode="gray">
            <a:xfrm>
              <a:off x="1126257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7" name="Rechteck 746">
              <a:extLst>
                <a:ext uri="{FF2B5EF4-FFF2-40B4-BE49-F238E27FC236}">
                  <a16:creationId xmlns:a16="http://schemas.microsoft.com/office/drawing/2014/main" id="{5972FDC6-E490-DD1D-701C-85649A5203A1}"/>
                </a:ext>
              </a:extLst>
            </p:cNvPr>
            <p:cNvSpPr/>
            <p:nvPr userDrawn="1"/>
          </p:nvSpPr>
          <p:spPr bwMode="gray">
            <a:xfrm>
              <a:off x="1068651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8" name="Rechteck 747">
              <a:extLst>
                <a:ext uri="{FF2B5EF4-FFF2-40B4-BE49-F238E27FC236}">
                  <a16:creationId xmlns:a16="http://schemas.microsoft.com/office/drawing/2014/main" id="{AFCA06ED-52D0-886C-C114-AAECF12FAABD}"/>
                </a:ext>
              </a:extLst>
            </p:cNvPr>
            <p:cNvSpPr/>
            <p:nvPr userDrawn="1"/>
          </p:nvSpPr>
          <p:spPr bwMode="gray">
            <a:xfrm>
              <a:off x="1011044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9" name="Rechteck 748">
              <a:extLst>
                <a:ext uri="{FF2B5EF4-FFF2-40B4-BE49-F238E27FC236}">
                  <a16:creationId xmlns:a16="http://schemas.microsoft.com/office/drawing/2014/main" id="{7401361A-7502-F5D2-106D-67E1BB513E80}"/>
                </a:ext>
              </a:extLst>
            </p:cNvPr>
            <p:cNvSpPr/>
            <p:nvPr userDrawn="1"/>
          </p:nvSpPr>
          <p:spPr bwMode="gray">
            <a:xfrm>
              <a:off x="953438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0" name="Rechteck 749">
              <a:extLst>
                <a:ext uri="{FF2B5EF4-FFF2-40B4-BE49-F238E27FC236}">
                  <a16:creationId xmlns:a16="http://schemas.microsoft.com/office/drawing/2014/main" id="{C1624EE1-76A1-9CBF-2515-3A622E9D481E}"/>
                </a:ext>
              </a:extLst>
            </p:cNvPr>
            <p:cNvSpPr/>
            <p:nvPr userDrawn="1"/>
          </p:nvSpPr>
          <p:spPr bwMode="gray">
            <a:xfrm>
              <a:off x="895832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1" name="Rechteck 750">
              <a:extLst>
                <a:ext uri="{FF2B5EF4-FFF2-40B4-BE49-F238E27FC236}">
                  <a16:creationId xmlns:a16="http://schemas.microsoft.com/office/drawing/2014/main" id="{97EF7DFF-F047-956A-254F-B2F92C38EB7D}"/>
                </a:ext>
              </a:extLst>
            </p:cNvPr>
            <p:cNvSpPr/>
            <p:nvPr userDrawn="1"/>
          </p:nvSpPr>
          <p:spPr bwMode="gray">
            <a:xfrm>
              <a:off x="838225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2" name="Rechteck 751">
              <a:extLst>
                <a:ext uri="{FF2B5EF4-FFF2-40B4-BE49-F238E27FC236}">
                  <a16:creationId xmlns:a16="http://schemas.microsoft.com/office/drawing/2014/main" id="{674D69B7-750B-62AE-9ECA-9D35102B3E8B}"/>
                </a:ext>
              </a:extLst>
            </p:cNvPr>
            <p:cNvSpPr/>
            <p:nvPr userDrawn="1"/>
          </p:nvSpPr>
          <p:spPr bwMode="gray">
            <a:xfrm>
              <a:off x="780619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3" name="Rechteck 752">
              <a:extLst>
                <a:ext uri="{FF2B5EF4-FFF2-40B4-BE49-F238E27FC236}">
                  <a16:creationId xmlns:a16="http://schemas.microsoft.com/office/drawing/2014/main" id="{B94D7D5A-1C36-7D19-4040-6EE7B76A71DA}"/>
                </a:ext>
              </a:extLst>
            </p:cNvPr>
            <p:cNvSpPr/>
            <p:nvPr userDrawn="1"/>
          </p:nvSpPr>
          <p:spPr bwMode="gray">
            <a:xfrm>
              <a:off x="723012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4" name="Rechteck 753">
              <a:extLst>
                <a:ext uri="{FF2B5EF4-FFF2-40B4-BE49-F238E27FC236}">
                  <a16:creationId xmlns:a16="http://schemas.microsoft.com/office/drawing/2014/main" id="{F1D49BBE-74A0-EB07-F3D4-FD4B10EEC616}"/>
                </a:ext>
              </a:extLst>
            </p:cNvPr>
            <p:cNvSpPr/>
            <p:nvPr userDrawn="1"/>
          </p:nvSpPr>
          <p:spPr bwMode="gray">
            <a:xfrm>
              <a:off x="665406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5" name="Rechteck 754">
              <a:extLst>
                <a:ext uri="{FF2B5EF4-FFF2-40B4-BE49-F238E27FC236}">
                  <a16:creationId xmlns:a16="http://schemas.microsoft.com/office/drawing/2014/main" id="{FBB6554D-08F0-0C92-EDAE-A798CB54A22E}"/>
                </a:ext>
              </a:extLst>
            </p:cNvPr>
            <p:cNvSpPr/>
            <p:nvPr userDrawn="1"/>
          </p:nvSpPr>
          <p:spPr bwMode="gray">
            <a:xfrm>
              <a:off x="607800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6" name="Rechteck 755">
              <a:extLst>
                <a:ext uri="{FF2B5EF4-FFF2-40B4-BE49-F238E27FC236}">
                  <a16:creationId xmlns:a16="http://schemas.microsoft.com/office/drawing/2014/main" id="{1500A330-DA56-B32F-AC26-9ABD3D722C15}"/>
                </a:ext>
              </a:extLst>
            </p:cNvPr>
            <p:cNvSpPr/>
            <p:nvPr userDrawn="1"/>
          </p:nvSpPr>
          <p:spPr bwMode="gray">
            <a:xfrm>
              <a:off x="550193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7" name="Rechteck 756">
              <a:extLst>
                <a:ext uri="{FF2B5EF4-FFF2-40B4-BE49-F238E27FC236}">
                  <a16:creationId xmlns:a16="http://schemas.microsoft.com/office/drawing/2014/main" id="{FE2F15D8-A00E-591B-3CAA-4E0CCFDC10A3}"/>
                </a:ext>
              </a:extLst>
            </p:cNvPr>
            <p:cNvSpPr/>
            <p:nvPr userDrawn="1"/>
          </p:nvSpPr>
          <p:spPr bwMode="gray">
            <a:xfrm>
              <a:off x="492587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8" name="Rechteck 757">
              <a:extLst>
                <a:ext uri="{FF2B5EF4-FFF2-40B4-BE49-F238E27FC236}">
                  <a16:creationId xmlns:a16="http://schemas.microsoft.com/office/drawing/2014/main" id="{1D0CC187-2DE9-1187-C1B2-848DD60FE640}"/>
                </a:ext>
              </a:extLst>
            </p:cNvPr>
            <p:cNvSpPr/>
            <p:nvPr userDrawn="1"/>
          </p:nvSpPr>
          <p:spPr bwMode="gray">
            <a:xfrm>
              <a:off x="434980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9" name="Rechteck 758">
              <a:extLst>
                <a:ext uri="{FF2B5EF4-FFF2-40B4-BE49-F238E27FC236}">
                  <a16:creationId xmlns:a16="http://schemas.microsoft.com/office/drawing/2014/main" id="{AD01D13E-F465-BCD7-F39D-2FEAC90BF62D}"/>
                </a:ext>
              </a:extLst>
            </p:cNvPr>
            <p:cNvSpPr/>
            <p:nvPr userDrawn="1"/>
          </p:nvSpPr>
          <p:spPr bwMode="gray">
            <a:xfrm>
              <a:off x="377374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0" name="Rechteck 759">
              <a:extLst>
                <a:ext uri="{FF2B5EF4-FFF2-40B4-BE49-F238E27FC236}">
                  <a16:creationId xmlns:a16="http://schemas.microsoft.com/office/drawing/2014/main" id="{F7A1C7C7-3B70-7F83-55A0-4D26516BF264}"/>
                </a:ext>
              </a:extLst>
            </p:cNvPr>
            <p:cNvSpPr/>
            <p:nvPr userDrawn="1"/>
          </p:nvSpPr>
          <p:spPr bwMode="gray">
            <a:xfrm>
              <a:off x="319768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1" name="Rechteck 760">
              <a:extLst>
                <a:ext uri="{FF2B5EF4-FFF2-40B4-BE49-F238E27FC236}">
                  <a16:creationId xmlns:a16="http://schemas.microsoft.com/office/drawing/2014/main" id="{47046FB1-8044-1261-59A7-6F888049F318}"/>
                </a:ext>
              </a:extLst>
            </p:cNvPr>
            <p:cNvSpPr/>
            <p:nvPr userDrawn="1"/>
          </p:nvSpPr>
          <p:spPr bwMode="gray">
            <a:xfrm>
              <a:off x="262161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2" name="Rechteck 761">
              <a:extLst>
                <a:ext uri="{FF2B5EF4-FFF2-40B4-BE49-F238E27FC236}">
                  <a16:creationId xmlns:a16="http://schemas.microsoft.com/office/drawing/2014/main" id="{19D60D94-14B9-D8A0-E8A8-53231DA36A59}"/>
                </a:ext>
              </a:extLst>
            </p:cNvPr>
            <p:cNvSpPr/>
            <p:nvPr userDrawn="1"/>
          </p:nvSpPr>
          <p:spPr bwMode="gray">
            <a:xfrm>
              <a:off x="204555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3" name="Rechteck 762">
              <a:extLst>
                <a:ext uri="{FF2B5EF4-FFF2-40B4-BE49-F238E27FC236}">
                  <a16:creationId xmlns:a16="http://schemas.microsoft.com/office/drawing/2014/main" id="{E7B701E6-624C-EFCB-73DB-4F5F09974A51}"/>
                </a:ext>
              </a:extLst>
            </p:cNvPr>
            <p:cNvSpPr/>
            <p:nvPr userDrawn="1"/>
          </p:nvSpPr>
          <p:spPr bwMode="gray">
            <a:xfrm>
              <a:off x="146948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4" name="Rechteck 763">
              <a:extLst>
                <a:ext uri="{FF2B5EF4-FFF2-40B4-BE49-F238E27FC236}">
                  <a16:creationId xmlns:a16="http://schemas.microsoft.com/office/drawing/2014/main" id="{C1B6A210-5C05-966C-472C-C7D9A1B08CBC}"/>
                </a:ext>
              </a:extLst>
            </p:cNvPr>
            <p:cNvSpPr/>
            <p:nvPr userDrawn="1"/>
          </p:nvSpPr>
          <p:spPr bwMode="gray">
            <a:xfrm>
              <a:off x="89342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5" name="Rechteck 764">
              <a:extLst>
                <a:ext uri="{FF2B5EF4-FFF2-40B4-BE49-F238E27FC236}">
                  <a16:creationId xmlns:a16="http://schemas.microsoft.com/office/drawing/2014/main" id="{3F68AA23-0081-3404-265A-6498D460C73E}"/>
                </a:ext>
              </a:extLst>
            </p:cNvPr>
            <p:cNvSpPr/>
            <p:nvPr userDrawn="1"/>
          </p:nvSpPr>
          <p:spPr bwMode="gray">
            <a:xfrm>
              <a:off x="31736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6" name="Rechteck 765">
              <a:extLst>
                <a:ext uri="{FF2B5EF4-FFF2-40B4-BE49-F238E27FC236}">
                  <a16:creationId xmlns:a16="http://schemas.microsoft.com/office/drawing/2014/main" id="{4EEAAE17-4B7B-B5BA-BB39-D630697BBDC4}"/>
                </a:ext>
              </a:extLst>
            </p:cNvPr>
            <p:cNvSpPr/>
            <p:nvPr userDrawn="1"/>
          </p:nvSpPr>
          <p:spPr bwMode="gray">
            <a:xfrm>
              <a:off x="1183864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7" name="Rechteck 766">
              <a:extLst>
                <a:ext uri="{FF2B5EF4-FFF2-40B4-BE49-F238E27FC236}">
                  <a16:creationId xmlns:a16="http://schemas.microsoft.com/office/drawing/2014/main" id="{5A75D2D2-9372-A16D-147F-4B5E8F7A0535}"/>
                </a:ext>
              </a:extLst>
            </p:cNvPr>
            <p:cNvSpPr/>
            <p:nvPr userDrawn="1"/>
          </p:nvSpPr>
          <p:spPr bwMode="gray">
            <a:xfrm>
              <a:off x="1183864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8" name="Rechteck 767">
              <a:extLst>
                <a:ext uri="{FF2B5EF4-FFF2-40B4-BE49-F238E27FC236}">
                  <a16:creationId xmlns:a16="http://schemas.microsoft.com/office/drawing/2014/main" id="{DB586407-DA7A-7A4B-3FA6-D404439CA121}"/>
                </a:ext>
              </a:extLst>
            </p:cNvPr>
            <p:cNvSpPr/>
            <p:nvPr userDrawn="1"/>
          </p:nvSpPr>
          <p:spPr bwMode="gray">
            <a:xfrm>
              <a:off x="1183864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9" name="Rechteck 768">
              <a:extLst>
                <a:ext uri="{FF2B5EF4-FFF2-40B4-BE49-F238E27FC236}">
                  <a16:creationId xmlns:a16="http://schemas.microsoft.com/office/drawing/2014/main" id="{68509614-5855-1489-6F9D-6A09D7733263}"/>
                </a:ext>
              </a:extLst>
            </p:cNvPr>
            <p:cNvSpPr/>
            <p:nvPr userDrawn="1"/>
          </p:nvSpPr>
          <p:spPr bwMode="gray">
            <a:xfrm>
              <a:off x="1183864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0" name="Rechteck 769">
              <a:extLst>
                <a:ext uri="{FF2B5EF4-FFF2-40B4-BE49-F238E27FC236}">
                  <a16:creationId xmlns:a16="http://schemas.microsoft.com/office/drawing/2014/main" id="{F983BA39-5894-CC31-43E6-DB6DDD986D8C}"/>
                </a:ext>
              </a:extLst>
            </p:cNvPr>
            <p:cNvSpPr/>
            <p:nvPr userDrawn="1"/>
          </p:nvSpPr>
          <p:spPr bwMode="gray">
            <a:xfrm>
              <a:off x="1183864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1" name="Rechteck 770">
              <a:extLst>
                <a:ext uri="{FF2B5EF4-FFF2-40B4-BE49-F238E27FC236}">
                  <a16:creationId xmlns:a16="http://schemas.microsoft.com/office/drawing/2014/main" id="{5FFACC0B-DE19-87E7-4A13-8325F7180174}"/>
                </a:ext>
              </a:extLst>
            </p:cNvPr>
            <p:cNvSpPr/>
            <p:nvPr userDrawn="1"/>
          </p:nvSpPr>
          <p:spPr bwMode="gray">
            <a:xfrm>
              <a:off x="1183864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2" name="Rechteck 771">
              <a:extLst>
                <a:ext uri="{FF2B5EF4-FFF2-40B4-BE49-F238E27FC236}">
                  <a16:creationId xmlns:a16="http://schemas.microsoft.com/office/drawing/2014/main" id="{682D6F1E-92E4-CD51-37C2-F06084603532}"/>
                </a:ext>
              </a:extLst>
            </p:cNvPr>
            <p:cNvSpPr/>
            <p:nvPr userDrawn="1"/>
          </p:nvSpPr>
          <p:spPr bwMode="gray">
            <a:xfrm>
              <a:off x="1183864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3" name="Rechteck 772">
              <a:extLst>
                <a:ext uri="{FF2B5EF4-FFF2-40B4-BE49-F238E27FC236}">
                  <a16:creationId xmlns:a16="http://schemas.microsoft.com/office/drawing/2014/main" id="{ED903198-140E-E724-074F-6752A6B7C121}"/>
                </a:ext>
              </a:extLst>
            </p:cNvPr>
            <p:cNvSpPr/>
            <p:nvPr userDrawn="1"/>
          </p:nvSpPr>
          <p:spPr bwMode="gray">
            <a:xfrm>
              <a:off x="1183864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4" name="Rechteck 773">
              <a:extLst>
                <a:ext uri="{FF2B5EF4-FFF2-40B4-BE49-F238E27FC236}">
                  <a16:creationId xmlns:a16="http://schemas.microsoft.com/office/drawing/2014/main" id="{A699F9C3-AE66-4A9F-5A4A-89DFE5DBF055}"/>
                </a:ext>
              </a:extLst>
            </p:cNvPr>
            <p:cNvSpPr/>
            <p:nvPr userDrawn="1"/>
          </p:nvSpPr>
          <p:spPr bwMode="gray">
            <a:xfrm>
              <a:off x="1183864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grpSp>
      <p:sp>
        <p:nvSpPr>
          <p:cNvPr id="275" name="Shape">
            <a:extLst>
              <a:ext uri="{FF2B5EF4-FFF2-40B4-BE49-F238E27FC236}">
                <a16:creationId xmlns:a16="http://schemas.microsoft.com/office/drawing/2014/main" id="{C0816E57-F737-4DE9-B1EF-B6C527A34756}"/>
              </a:ext>
              <a:ext uri="{C183D7F6-B498-43B3-948B-1728B52AA6E4}">
                <adec:decorative xmlns:adec="http://schemas.microsoft.com/office/drawing/2017/decorative" val="1"/>
              </a:ext>
            </a:extLst>
          </p:cNvPr>
          <p:cNvSpPr/>
          <p:nvPr userDrawn="1"/>
        </p:nvSpPr>
        <p:spPr bwMode="gray">
          <a:xfrm>
            <a:off x="839416" y="1988840"/>
            <a:ext cx="3023255" cy="3019981"/>
          </a:xfrm>
          <a:custGeom>
            <a:avLst/>
            <a:gdLst>
              <a:gd name="connsiteX0" fmla="*/ 0 w 3022600"/>
              <a:gd name="connsiteY0" fmla="*/ 0 h 3024187"/>
              <a:gd name="connsiteX1" fmla="*/ 3022600 w 3022600"/>
              <a:gd name="connsiteY1" fmla="*/ 0 h 3024187"/>
              <a:gd name="connsiteX2" fmla="*/ 2517775 w 3022600"/>
              <a:gd name="connsiteY2" fmla="*/ 2520950 h 3024187"/>
              <a:gd name="connsiteX3" fmla="*/ 0 w 3022600"/>
              <a:gd name="connsiteY3" fmla="*/ 3024187 h 3024187"/>
            </a:gdLst>
            <a:ahLst/>
            <a:cxnLst>
              <a:cxn ang="0">
                <a:pos x="connsiteX0" y="connsiteY0"/>
              </a:cxn>
              <a:cxn ang="0">
                <a:pos x="connsiteX1" y="connsiteY1"/>
              </a:cxn>
              <a:cxn ang="0">
                <a:pos x="connsiteX2" y="connsiteY2"/>
              </a:cxn>
              <a:cxn ang="0">
                <a:pos x="connsiteX3" y="connsiteY3"/>
              </a:cxn>
            </a:cxnLst>
            <a:rect l="l" t="t" r="r" b="b"/>
            <a:pathLst>
              <a:path w="3022600" h="3024187">
                <a:moveTo>
                  <a:pt x="0" y="0"/>
                </a:moveTo>
                <a:lnTo>
                  <a:pt x="3022600" y="0"/>
                </a:lnTo>
                <a:lnTo>
                  <a:pt x="2517775" y="2520950"/>
                </a:lnTo>
                <a:lnTo>
                  <a:pt x="0" y="302418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lnSpc>
                <a:spcPct val="125000"/>
              </a:lnSpc>
            </a:pPr>
            <a:endParaRPr lang="en-GB" sz="1600" dirty="0"/>
          </a:p>
        </p:txBody>
      </p:sp>
      <p:sp>
        <p:nvSpPr>
          <p:cNvPr id="274" name="Shape">
            <a:extLst>
              <a:ext uri="{FF2B5EF4-FFF2-40B4-BE49-F238E27FC236}">
                <a16:creationId xmlns:a16="http://schemas.microsoft.com/office/drawing/2014/main" id="{2EF2035B-25E2-4574-8A4A-D1A83A6485BB}"/>
              </a:ext>
              <a:ext uri="{C183D7F6-B498-43B3-948B-1728B52AA6E4}">
                <adec:decorative xmlns:adec="http://schemas.microsoft.com/office/drawing/2017/decorative" val="1"/>
              </a:ext>
            </a:extLst>
          </p:cNvPr>
          <p:cNvSpPr/>
          <p:nvPr userDrawn="1"/>
        </p:nvSpPr>
        <p:spPr bwMode="gray">
          <a:xfrm>
            <a:off x="911424" y="2059254"/>
            <a:ext cx="2887350" cy="2884222"/>
          </a:xfrm>
          <a:custGeom>
            <a:avLst/>
            <a:gdLst>
              <a:gd name="connsiteX0" fmla="*/ 0 w 3022600"/>
              <a:gd name="connsiteY0" fmla="*/ 0 h 3024187"/>
              <a:gd name="connsiteX1" fmla="*/ 3022600 w 3022600"/>
              <a:gd name="connsiteY1" fmla="*/ 0 h 3024187"/>
              <a:gd name="connsiteX2" fmla="*/ 2517775 w 3022600"/>
              <a:gd name="connsiteY2" fmla="*/ 2520950 h 3024187"/>
              <a:gd name="connsiteX3" fmla="*/ 0 w 3022600"/>
              <a:gd name="connsiteY3" fmla="*/ 3024187 h 3024187"/>
              <a:gd name="connsiteX0" fmla="*/ 0 w 3022600"/>
              <a:gd name="connsiteY0" fmla="*/ 0 h 3024187"/>
              <a:gd name="connsiteX1" fmla="*/ 3022600 w 3022600"/>
              <a:gd name="connsiteY1" fmla="*/ 0 h 3024187"/>
              <a:gd name="connsiteX2" fmla="*/ 2438006 w 3022600"/>
              <a:gd name="connsiteY2" fmla="*/ 2461027 h 3024187"/>
              <a:gd name="connsiteX3" fmla="*/ 0 w 3022600"/>
              <a:gd name="connsiteY3" fmla="*/ 3024187 h 3024187"/>
              <a:gd name="connsiteX4" fmla="*/ 0 w 3022600"/>
              <a:gd name="connsiteY4" fmla="*/ 0 h 3024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2600" h="3024187">
                <a:moveTo>
                  <a:pt x="0" y="0"/>
                </a:moveTo>
                <a:lnTo>
                  <a:pt x="3022600" y="0"/>
                </a:lnTo>
                <a:lnTo>
                  <a:pt x="2438006" y="2461027"/>
                </a:lnTo>
                <a:lnTo>
                  <a:pt x="0" y="3024187"/>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lnSpc>
                <a:spcPct val="125000"/>
              </a:lnSpc>
            </a:pPr>
            <a:endParaRPr lang="en-GB" sz="1600" dirty="0"/>
          </a:p>
        </p:txBody>
      </p:sp>
      <p:sp>
        <p:nvSpPr>
          <p:cNvPr id="255" name="Title">
            <a:extLst>
              <a:ext uri="{FF2B5EF4-FFF2-40B4-BE49-F238E27FC236}">
                <a16:creationId xmlns:a16="http://schemas.microsoft.com/office/drawing/2014/main" id="{9258FB6E-C910-44A9-A44D-172431214D36}"/>
              </a:ext>
            </a:extLst>
          </p:cNvPr>
          <p:cNvSpPr>
            <a:spLocks noGrp="1"/>
          </p:cNvSpPr>
          <p:nvPr userDrawn="1">
            <p:ph type="ctrTitle" hasCustomPrompt="1"/>
          </p:nvPr>
        </p:nvSpPr>
        <p:spPr bwMode="gray">
          <a:xfrm>
            <a:off x="1127712" y="2276840"/>
            <a:ext cx="2376000" cy="1296000"/>
          </a:xfrm>
          <a:prstGeom prst="rect">
            <a:avLst/>
          </a:prstGeom>
          <a:noFill/>
          <a:ln w="127">
            <a:noFill/>
          </a:ln>
        </p:spPr>
        <p:txBody>
          <a:bodyPr vert="horz" lIns="0" tIns="0" rIns="0" bIns="0" anchor="t">
            <a:noAutofit/>
          </a:bodyPr>
          <a:lstStyle>
            <a:lvl1pPr algn="l">
              <a:lnSpc>
                <a:spcPct val="90000"/>
              </a:lnSpc>
              <a:defRPr sz="2400" baseline="0">
                <a:solidFill>
                  <a:schemeClr val="bg1"/>
                </a:solidFill>
              </a:defRPr>
            </a:lvl1pPr>
          </a:lstStyle>
          <a:p>
            <a:r>
              <a:rPr lang="en-GB" dirty="0"/>
              <a:t>[Thank You]</a:t>
            </a:r>
          </a:p>
        </p:txBody>
      </p:sp>
      <p:sp>
        <p:nvSpPr>
          <p:cNvPr id="271" name="Subtitle">
            <a:extLst>
              <a:ext uri="{FF2B5EF4-FFF2-40B4-BE49-F238E27FC236}">
                <a16:creationId xmlns:a16="http://schemas.microsoft.com/office/drawing/2014/main" id="{266E9096-0006-85D5-E288-890B63E2FBD3}"/>
              </a:ext>
            </a:extLst>
          </p:cNvPr>
          <p:cNvSpPr>
            <a:spLocks noGrp="1"/>
          </p:cNvSpPr>
          <p:nvPr>
            <p:ph type="subTitle" idx="13" hasCustomPrompt="1"/>
          </p:nvPr>
        </p:nvSpPr>
        <p:spPr bwMode="gray">
          <a:xfrm>
            <a:off x="1125753" y="3789072"/>
            <a:ext cx="2159704" cy="288000"/>
          </a:xfrm>
          <a:prstGeom prst="rect">
            <a:avLst/>
          </a:prstGeom>
          <a:noFill/>
          <a:ln w="127">
            <a:noFill/>
          </a:ln>
        </p:spPr>
        <p:txBody>
          <a:bodyPr wrap="none" lIns="0" tIns="0" rIns="0" anchor="t"/>
          <a:lstStyle>
            <a:lvl1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1pPr>
            <a:lvl2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2pPr>
            <a:lvl3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3pPr>
            <a:lvl4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4pPr>
            <a:lvl5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5pPr>
            <a:lvl6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6pPr>
            <a:lvl7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7pPr>
            <a:lvl8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8pPr>
            <a:lvl9pPr marL="0" indent="0" algn="l">
              <a:lnSpc>
                <a:spcPct val="100000"/>
              </a:lnSpc>
              <a:spcBef>
                <a:spcPts val="0"/>
              </a:spcBef>
              <a:buNone/>
              <a:defRPr sz="1600">
                <a:solidFill>
                  <a:schemeClr val="bg2"/>
                </a:solidFill>
                <a:latin typeface="+mj-lt"/>
                <a:ea typeface="Lato Light" panose="020F0502020204030203" pitchFamily="34" charset="0"/>
                <a:cs typeface="Lato Light" panose="020F0502020204030203" pitchFamily="34" charset="0"/>
              </a:defRPr>
            </a:lvl9pPr>
          </a:lstStyle>
          <a:p>
            <a:pPr lvl="0"/>
            <a:r>
              <a:rPr lang="en-GB" dirty="0"/>
              <a:t>gfk.com</a:t>
            </a:r>
          </a:p>
        </p:txBody>
      </p:sp>
      <p:pic>
        <p:nvPicPr>
          <p:cNvPr id="273" name="Logo">
            <a:extLst>
              <a:ext uri="{FF2B5EF4-FFF2-40B4-BE49-F238E27FC236}">
                <a16:creationId xmlns:a16="http://schemas.microsoft.com/office/drawing/2014/main" id="{4A8EE29D-1748-2592-7338-8972F90EB12E}"/>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bwMode="gray">
          <a:xfrm>
            <a:off x="10128448" y="335757"/>
            <a:ext cx="1358180" cy="576000"/>
          </a:xfrm>
          <a:prstGeom prst="rect">
            <a:avLst/>
          </a:prstGeom>
        </p:spPr>
      </p:pic>
    </p:spTree>
    <p:extLst>
      <p:ext uri="{BB962C8B-B14F-4D97-AF65-F5344CB8AC3E}">
        <p14:creationId xmlns:p14="http://schemas.microsoft.com/office/powerpoint/2010/main" val="170365339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End slide with picture">
    <p:bg>
      <p:bgRef idx="1001">
        <a:schemeClr val="bg1"/>
      </p:bgRef>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02BBC633-89A1-6361-22A8-D7CF6E738849}"/>
              </a:ext>
            </a:extLst>
          </p:cNvPr>
          <p:cNvGraphicFramePr>
            <a:graphicFrameLocks noChangeAspect="1"/>
          </p:cNvGraphicFramePr>
          <p:nvPr userDrawn="1">
            <p:custDataLst>
              <p:tags r:id="rId1"/>
            </p:custDataLst>
            <p:extLst>
              <p:ext uri="{D42A27DB-BD31-4B8C-83A1-F6EECF244321}">
                <p14:modId xmlns:p14="http://schemas.microsoft.com/office/powerpoint/2010/main" val="4128950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2" name="Objekt 1" hidden="1">
                        <a:extLst>
                          <a:ext uri="{FF2B5EF4-FFF2-40B4-BE49-F238E27FC236}">
                            <a16:creationId xmlns:a16="http://schemas.microsoft.com/office/drawing/2014/main" id="{02BBC633-89A1-6361-22A8-D7CF6E7388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6" name="Picture">
            <a:extLst>
              <a:ext uri="{FF2B5EF4-FFF2-40B4-BE49-F238E27FC236}">
                <a16:creationId xmlns:a16="http://schemas.microsoft.com/office/drawing/2014/main" id="{7F971BB4-CECE-4C6B-9C8F-D4F40265C444}"/>
              </a:ext>
            </a:extLst>
          </p:cNvPr>
          <p:cNvSpPr>
            <a:spLocks noGrp="1"/>
          </p:cNvSpPr>
          <p:nvPr>
            <p:ph type="pic" sz="quarter" idx="18" hasCustomPrompt="1"/>
          </p:nvPr>
        </p:nvSpPr>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solidFill>
            <a:srgbClr val="D6D9DC"/>
          </a:solidFill>
        </p:spPr>
        <p:txBody>
          <a:bodyPr wrap="square">
            <a:noAutofit/>
          </a:bodyPr>
          <a:lstStyle>
            <a:lvl1pPr marL="0" indent="0">
              <a:buNone/>
              <a:defRPr/>
            </a:lvl1pPr>
          </a:lstStyle>
          <a:p>
            <a:r>
              <a:rPr lang="en-GB"/>
              <a:t> </a:t>
            </a:r>
            <a:endParaRPr lang="en-GB" dirty="0"/>
          </a:p>
        </p:txBody>
      </p:sp>
      <p:sp>
        <p:nvSpPr>
          <p:cNvPr id="4" name="Logo">
            <a:extLst>
              <a:ext uri="{FF2B5EF4-FFF2-40B4-BE49-F238E27FC236}">
                <a16:creationId xmlns:a16="http://schemas.microsoft.com/office/drawing/2014/main" id="{EFDF75BA-555D-4338-B380-D9FEBC0FA607}"/>
              </a:ext>
              <a:ext uri="{C183D7F6-B498-43B3-948B-1728B52AA6E4}">
                <adec:decorative xmlns:adec="http://schemas.microsoft.com/office/drawing/2017/decorative" val="1"/>
              </a:ext>
            </a:extLst>
          </p:cNvPr>
          <p:cNvSpPr>
            <a:spLocks noGrp="1" noChangeAspect="1"/>
          </p:cNvSpPr>
          <p:nvPr>
            <p:ph type="body" sz="quarter" idx="19" hasCustomPrompt="1"/>
          </p:nvPr>
        </p:nvSpPr>
        <p:spPr bwMode="gray">
          <a:xfrm>
            <a:off x="10128448" y="338138"/>
            <a:ext cx="1357714" cy="576000"/>
          </a:xfrm>
          <a:blipFill dpi="0" rotWithShape="1">
            <a:blip r:embed="rId5" cstate="print">
              <a:extLst>
                <a:ext uri="{28A0092B-C50C-407E-A947-70E740481C1C}">
                  <a14:useLocalDpi xmlns:a14="http://schemas.microsoft.com/office/drawing/2010/main" val="0"/>
                </a:ext>
              </a:extLst>
            </a:blip>
            <a:srcRect/>
            <a:stretch>
              <a:fillRect/>
            </a:stretch>
          </a:blipFill>
          <a:ln w="127">
            <a:solidFill>
              <a:schemeClr val="bg1">
                <a:alpha val="0"/>
              </a:schemeClr>
            </a:solidFill>
          </a:ln>
        </p:spPr>
        <p:txBody>
          <a:bodyPr/>
          <a:lstStyle>
            <a:lvl1pPr marL="0" indent="0">
              <a:spcBef>
                <a:spcPts val="0"/>
              </a:spcBef>
              <a:buNone/>
              <a:defRPr sz="1000">
                <a:latin typeface="+mn-lt"/>
              </a:defRPr>
            </a:lvl1pPr>
            <a:lvl2pPr marL="0" indent="0">
              <a:spcBef>
                <a:spcPts val="0"/>
              </a:spcBef>
              <a:buNone/>
              <a:defRPr sz="1000">
                <a:latin typeface="+mn-lt"/>
              </a:defRPr>
            </a:lvl2pPr>
            <a:lvl3pPr marL="0" indent="0">
              <a:spcBef>
                <a:spcPts val="0"/>
              </a:spcBef>
              <a:buNone/>
              <a:defRPr sz="1000">
                <a:latin typeface="+mn-lt"/>
              </a:defRPr>
            </a:lvl3pPr>
            <a:lvl4pPr marL="0" indent="0">
              <a:spcBef>
                <a:spcPts val="0"/>
              </a:spcBef>
              <a:buNone/>
              <a:defRPr sz="1000">
                <a:latin typeface="+mn-lt"/>
              </a:defRPr>
            </a:lvl4pPr>
            <a:lvl5pPr marL="0" indent="0">
              <a:spcBef>
                <a:spcPts val="0"/>
              </a:spcBef>
              <a:buFont typeface="Arial" panose="020B0604020202020204" pitchFamily="34" charset="0"/>
              <a:buNone/>
              <a:defRPr sz="1000" b="0">
                <a:latin typeface="+mn-lt"/>
              </a:defRPr>
            </a:lvl5pPr>
            <a:lvl6pPr marL="0" indent="0">
              <a:spcBef>
                <a:spcPts val="0"/>
              </a:spcBef>
              <a:buNone/>
              <a:defRPr sz="1000">
                <a:latin typeface="+mn-lt"/>
              </a:defRPr>
            </a:lvl6pPr>
            <a:lvl7pPr marL="0" indent="0">
              <a:spcBef>
                <a:spcPts val="0"/>
              </a:spcBef>
              <a:buNone/>
              <a:defRPr sz="1000">
                <a:latin typeface="+mn-lt"/>
              </a:defRPr>
            </a:lvl7pPr>
            <a:lvl8pPr marL="0" indent="0">
              <a:spcBef>
                <a:spcPts val="0"/>
              </a:spcBef>
              <a:buNone/>
              <a:defRPr sz="1000">
                <a:latin typeface="+mn-lt"/>
              </a:defRPr>
            </a:lvl8pPr>
            <a:lvl9pPr marL="0" indent="0">
              <a:spcBef>
                <a:spcPts val="0"/>
              </a:spcBef>
              <a:buNone/>
              <a:defRPr sz="1000">
                <a:latin typeface="+mn-lt"/>
              </a:defRPr>
            </a:lvl9pPr>
          </a:lstStyle>
          <a:p>
            <a:pPr lvl="0"/>
            <a:r>
              <a:rPr lang="en-GB"/>
              <a:t> </a:t>
            </a:r>
            <a:endParaRPr lang="en-GB" dirty="0"/>
          </a:p>
        </p:txBody>
      </p:sp>
      <p:sp>
        <p:nvSpPr>
          <p:cNvPr id="10" name="Titel 9">
            <a:extLst>
              <a:ext uri="{FF2B5EF4-FFF2-40B4-BE49-F238E27FC236}">
                <a16:creationId xmlns:a16="http://schemas.microsoft.com/office/drawing/2014/main" id="{820BDBDE-2114-847E-0C16-7EB6B85C4421}"/>
              </a:ext>
            </a:extLst>
          </p:cNvPr>
          <p:cNvSpPr>
            <a:spLocks noGrp="1"/>
          </p:cNvSpPr>
          <p:nvPr>
            <p:ph type="title" hasCustomPrompt="1"/>
          </p:nvPr>
        </p:nvSpPr>
        <p:spPr bwMode="gray">
          <a:xfrm>
            <a:off x="911424" y="2059254"/>
            <a:ext cx="2887350" cy="2884222"/>
          </a:xfrm>
          <a:custGeom>
            <a:avLst/>
            <a:gdLst>
              <a:gd name="connsiteX0" fmla="*/ 0 w 2887350"/>
              <a:gd name="connsiteY0" fmla="*/ 0 h 2884222"/>
              <a:gd name="connsiteX1" fmla="*/ 2887350 w 2887350"/>
              <a:gd name="connsiteY1" fmla="*/ 0 h 2884222"/>
              <a:gd name="connsiteX2" fmla="*/ 2328915 w 2887350"/>
              <a:gd name="connsiteY2" fmla="*/ 2347126 h 2884222"/>
              <a:gd name="connsiteX3" fmla="*/ 0 w 2887350"/>
              <a:gd name="connsiteY3" fmla="*/ 2884222 h 2884222"/>
            </a:gdLst>
            <a:ahLst/>
            <a:cxnLst>
              <a:cxn ang="0">
                <a:pos x="connsiteX0" y="connsiteY0"/>
              </a:cxn>
              <a:cxn ang="0">
                <a:pos x="connsiteX1" y="connsiteY1"/>
              </a:cxn>
              <a:cxn ang="0">
                <a:pos x="connsiteX2" y="connsiteY2"/>
              </a:cxn>
              <a:cxn ang="0">
                <a:pos x="connsiteX3" y="connsiteY3"/>
              </a:cxn>
            </a:cxnLst>
            <a:rect l="l" t="t" r="r" b="b"/>
            <a:pathLst>
              <a:path w="2887350" h="2884222">
                <a:moveTo>
                  <a:pt x="0" y="0"/>
                </a:moveTo>
                <a:lnTo>
                  <a:pt x="2887350" y="0"/>
                </a:lnTo>
                <a:lnTo>
                  <a:pt x="2328915" y="2347126"/>
                </a:lnTo>
                <a:lnTo>
                  <a:pt x="0" y="2884222"/>
                </a:lnTo>
                <a:close/>
              </a:path>
            </a:pathLst>
          </a:custGeom>
          <a:solidFill>
            <a:schemeClr val="tx1"/>
          </a:solidFill>
          <a:ln w="127">
            <a:solidFill>
              <a:schemeClr val="tx1"/>
            </a:solidFill>
          </a:ln>
        </p:spPr>
        <p:txBody>
          <a:bodyPr wrap="square" lIns="216000" tIns="180000" rIns="216000">
            <a:noAutofit/>
          </a:bodyPr>
          <a:lstStyle>
            <a:lvl1pPr marL="0" indent="0">
              <a:defRPr sz="2400">
                <a:solidFill>
                  <a:schemeClr val="bg1"/>
                </a:solidFill>
              </a:defRPr>
            </a:lvl1pPr>
          </a:lstStyle>
          <a:p>
            <a:r>
              <a:rPr lang="en-GB" dirty="0"/>
              <a:t>[Thank You]</a:t>
            </a:r>
          </a:p>
        </p:txBody>
      </p:sp>
      <p:sp>
        <p:nvSpPr>
          <p:cNvPr id="277" name="Subtitle 2">
            <a:extLst>
              <a:ext uri="{FF2B5EF4-FFF2-40B4-BE49-F238E27FC236}">
                <a16:creationId xmlns:a16="http://schemas.microsoft.com/office/drawing/2014/main" id="{ACF2BA01-68EA-4B41-8EA0-32D3161DE776}"/>
              </a:ext>
            </a:extLst>
          </p:cNvPr>
          <p:cNvSpPr>
            <a:spLocks noGrp="1"/>
          </p:cNvSpPr>
          <p:nvPr>
            <p:ph type="subTitle" idx="1" hasCustomPrompt="1"/>
          </p:nvPr>
        </p:nvSpPr>
        <p:spPr bwMode="gray">
          <a:xfrm>
            <a:off x="911424" y="3789040"/>
            <a:ext cx="2375704" cy="575960"/>
          </a:xfrm>
          <a:prstGeom prst="rect">
            <a:avLst/>
          </a:prstGeom>
          <a:noFill/>
          <a:ln w="0">
            <a:noFill/>
          </a:ln>
        </p:spPr>
        <p:txBody>
          <a:bodyPr lIns="216000" rIns="0"/>
          <a:lstStyle>
            <a:lvl1pPr marL="0" indent="0" algn="l">
              <a:lnSpc>
                <a:spcPct val="100000"/>
              </a:lnSpc>
              <a:spcBef>
                <a:spcPts val="0"/>
              </a:spcBef>
              <a:buFont typeface="Arial" panose="020B0604020202020204" pitchFamily="34" charset="0"/>
              <a:buNone/>
              <a:defRPr sz="1600" b="1">
                <a:solidFill>
                  <a:schemeClr val="bg2"/>
                </a:solidFill>
                <a:latin typeface="+mj-lt"/>
              </a:defRPr>
            </a:lvl1pPr>
            <a:lvl2pPr marL="0" indent="0" algn="l">
              <a:lnSpc>
                <a:spcPct val="100000"/>
              </a:lnSpc>
              <a:spcBef>
                <a:spcPts val="0"/>
              </a:spcBef>
              <a:buFont typeface="Arial" panose="020B0604020202020204" pitchFamily="34" charset="0"/>
              <a:buNone/>
              <a:defRPr sz="1600" b="1">
                <a:solidFill>
                  <a:schemeClr val="bg2"/>
                </a:solidFill>
                <a:latin typeface="+mj-lt"/>
              </a:defRPr>
            </a:lvl2pPr>
            <a:lvl3pPr marL="0" indent="0" algn="l">
              <a:lnSpc>
                <a:spcPct val="100000"/>
              </a:lnSpc>
              <a:spcBef>
                <a:spcPts val="0"/>
              </a:spcBef>
              <a:buFont typeface="Arial" panose="020B0604020202020204" pitchFamily="34" charset="0"/>
              <a:buNone/>
              <a:defRPr sz="1600" b="1">
                <a:solidFill>
                  <a:schemeClr val="bg2"/>
                </a:solidFill>
                <a:latin typeface="+mj-lt"/>
              </a:defRPr>
            </a:lvl3pPr>
            <a:lvl4pPr marL="0" indent="0" algn="l">
              <a:lnSpc>
                <a:spcPct val="100000"/>
              </a:lnSpc>
              <a:spcBef>
                <a:spcPts val="0"/>
              </a:spcBef>
              <a:buFont typeface="Arial" panose="020B0604020202020204" pitchFamily="34" charset="0"/>
              <a:buNone/>
              <a:defRPr sz="1600" b="1">
                <a:solidFill>
                  <a:schemeClr val="bg2"/>
                </a:solidFill>
                <a:latin typeface="+mj-lt"/>
              </a:defRPr>
            </a:lvl4pPr>
            <a:lvl5pPr marL="0" indent="0" algn="l">
              <a:lnSpc>
                <a:spcPct val="100000"/>
              </a:lnSpc>
              <a:spcBef>
                <a:spcPts val="0"/>
              </a:spcBef>
              <a:buFont typeface="Arial" panose="020B0604020202020204" pitchFamily="34" charset="0"/>
              <a:buNone/>
              <a:defRPr sz="1600" b="1">
                <a:solidFill>
                  <a:schemeClr val="bg2"/>
                </a:solidFill>
                <a:latin typeface="+mj-lt"/>
              </a:defRPr>
            </a:lvl5pPr>
            <a:lvl6pPr marL="0" indent="0" algn="l">
              <a:lnSpc>
                <a:spcPct val="100000"/>
              </a:lnSpc>
              <a:spcBef>
                <a:spcPts val="0"/>
              </a:spcBef>
              <a:buFont typeface="Arial" panose="020B0604020202020204" pitchFamily="34" charset="0"/>
              <a:buNone/>
              <a:defRPr sz="1600" b="1">
                <a:solidFill>
                  <a:schemeClr val="bg2"/>
                </a:solidFill>
                <a:latin typeface="+mj-lt"/>
              </a:defRPr>
            </a:lvl6pPr>
            <a:lvl7pPr marL="0" indent="0" algn="l">
              <a:lnSpc>
                <a:spcPct val="100000"/>
              </a:lnSpc>
              <a:spcBef>
                <a:spcPts val="0"/>
              </a:spcBef>
              <a:buFont typeface="Arial" panose="020B0604020202020204" pitchFamily="34" charset="0"/>
              <a:buNone/>
              <a:defRPr sz="1600" b="1">
                <a:solidFill>
                  <a:schemeClr val="bg2"/>
                </a:solidFill>
                <a:latin typeface="+mj-lt"/>
              </a:defRPr>
            </a:lvl7pPr>
            <a:lvl8pPr marL="0" indent="0" algn="l">
              <a:lnSpc>
                <a:spcPct val="100000"/>
              </a:lnSpc>
              <a:spcBef>
                <a:spcPts val="0"/>
              </a:spcBef>
              <a:buFont typeface="Arial" panose="020B0604020202020204" pitchFamily="34" charset="0"/>
              <a:buNone/>
              <a:defRPr sz="1600" b="1">
                <a:solidFill>
                  <a:schemeClr val="bg2"/>
                </a:solidFill>
                <a:latin typeface="+mj-lt"/>
              </a:defRPr>
            </a:lvl8pPr>
            <a:lvl9pPr marL="0" indent="0" algn="l">
              <a:lnSpc>
                <a:spcPct val="100000"/>
              </a:lnSpc>
              <a:spcBef>
                <a:spcPts val="0"/>
              </a:spcBef>
              <a:buFont typeface="Arial" panose="020B0604020202020204" pitchFamily="34" charset="0"/>
              <a:buNone/>
              <a:defRPr sz="1600" b="1">
                <a:solidFill>
                  <a:schemeClr val="bg2"/>
                </a:solidFill>
                <a:latin typeface="+mj-lt"/>
              </a:defRPr>
            </a:lvl9pPr>
          </a:lstStyle>
          <a:p>
            <a:r>
              <a:rPr lang="en-GB" dirty="0"/>
              <a:t>gfk.com</a:t>
            </a:r>
          </a:p>
        </p:txBody>
      </p:sp>
    </p:spTree>
    <p:extLst>
      <p:ext uri="{BB962C8B-B14F-4D97-AF65-F5344CB8AC3E}">
        <p14:creationId xmlns:p14="http://schemas.microsoft.com/office/powerpoint/2010/main" val="113064863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4_Headline only">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2" name="Objek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5" name="Title 4"/>
          <p:cNvSpPr>
            <a:spLocks noGrp="1"/>
          </p:cNvSpPr>
          <p:nvPr>
            <p:ph type="title" hasCustomPrompt="1"/>
          </p:nvPr>
        </p:nvSpPr>
        <p:spPr bwMode="gray"/>
        <p:txBody>
          <a:bodyPr/>
          <a:lstStyle/>
          <a:p>
            <a:r>
              <a:rPr lang="en-US" dirty="0"/>
              <a:t>Click to add headline</a:t>
            </a:r>
          </a:p>
        </p:txBody>
      </p:sp>
    </p:spTree>
    <p:custDataLst>
      <p:tags r:id="rId1"/>
    </p:custDataLst>
    <p:extLst>
      <p:ext uri="{BB962C8B-B14F-4D97-AF65-F5344CB8AC3E}">
        <p14:creationId xmlns:p14="http://schemas.microsoft.com/office/powerpoint/2010/main" val="259521787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Headline only">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Folie" r:id="rId4" imgW="359" imgH="358" progId="TCLayout.ActiveDocument.1">
                  <p:embed/>
                </p:oleObj>
              </mc:Choice>
              <mc:Fallback>
                <p:oleObj name="think-cell Folie" r:id="rId4" imgW="359" imgH="358" progId="TCLayout.ActiveDocument.1">
                  <p:embed/>
                  <p:pic>
                    <p:nvPicPr>
                      <p:cNvPr id="2" name="Objekt 1"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3" name="Textplatzhalter 2"/>
          <p:cNvSpPr>
            <a:spLocks noGrp="1"/>
          </p:cNvSpPr>
          <p:nvPr>
            <p:ph type="body" sz="quarter" idx="10" hasCustomPrompt="1"/>
          </p:nvPr>
        </p:nvSpPr>
        <p:spPr bwMode="gray">
          <a:xfrm>
            <a:off x="431213" y="1220755"/>
            <a:ext cx="11328987" cy="384340"/>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4" name="Textplatzhalter 3"/>
          <p:cNvSpPr>
            <a:spLocks noGrp="1"/>
          </p:cNvSpPr>
          <p:nvPr>
            <p:ph type="body" sz="quarter" idx="11" hasCustomPrompt="1"/>
          </p:nvPr>
        </p:nvSpPr>
        <p:spPr bwMode="gray">
          <a:xfrm>
            <a:off x="431371" y="6404736"/>
            <a:ext cx="11328400"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
        <p:nvSpPr>
          <p:cNvPr id="5" name="Title 4"/>
          <p:cNvSpPr>
            <a:spLocks noGrp="1"/>
          </p:cNvSpPr>
          <p:nvPr>
            <p:ph type="title" hasCustomPrompt="1"/>
          </p:nvPr>
        </p:nvSpPr>
        <p:spPr bwMode="gray"/>
        <p:txBody>
          <a:bodyPr/>
          <a:lstStyle/>
          <a:p>
            <a:r>
              <a:rPr lang="en-US" dirty="0"/>
              <a:t>Click to add headline</a:t>
            </a:r>
          </a:p>
        </p:txBody>
      </p:sp>
    </p:spTree>
    <p:custDataLst>
      <p:tags r:id="rId1"/>
    </p:custDataLst>
    <p:extLst>
      <p:ext uri="{BB962C8B-B14F-4D97-AF65-F5344CB8AC3E}">
        <p14:creationId xmlns:p14="http://schemas.microsoft.com/office/powerpoint/2010/main" val="195299455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One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Folie" r:id="rId3" imgW="353" imgH="353" progId="TCLayout.ActiveDocument.1">
                  <p:embed/>
                </p:oleObj>
              </mc:Choice>
              <mc:Fallback>
                <p:oleObj name="think-cell Folie" r:id="rId3" imgW="353" imgH="353" progId="TCLayout.ActiveDocument.1">
                  <p:embed/>
                  <p:pic>
                    <p:nvPicPr>
                      <p:cNvPr id="10" name="Object 9"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9" name="Content Placeholder 8"/>
          <p:cNvSpPr>
            <a:spLocks noGrp="1"/>
          </p:cNvSpPr>
          <p:nvPr>
            <p:ph sz="quarter" idx="12" hasCustomPrompt="1"/>
          </p:nvPr>
        </p:nvSpPr>
        <p:spPr>
          <a:xfrm>
            <a:off x="431213" y="1700760"/>
            <a:ext cx="11328987"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hasCustomPrompt="1"/>
          </p:nvPr>
        </p:nvSpPr>
        <p:spPr bwMode="gray"/>
        <p:txBody>
          <a:bodyPr/>
          <a:lstStyle/>
          <a:p>
            <a:r>
              <a:rPr lang="en-US" dirty="0"/>
              <a:t>Click to add headline</a:t>
            </a:r>
          </a:p>
        </p:txBody>
      </p:sp>
      <p:sp>
        <p:nvSpPr>
          <p:cNvPr id="4" name="Textplatzhalter 2"/>
          <p:cNvSpPr>
            <a:spLocks noGrp="1"/>
          </p:cNvSpPr>
          <p:nvPr>
            <p:ph type="body" sz="quarter" idx="10" hasCustomPrompt="1"/>
          </p:nvPr>
        </p:nvSpPr>
        <p:spPr bwMode="gray">
          <a:xfrm>
            <a:off x="431214" y="1220695"/>
            <a:ext cx="11329573" cy="384053"/>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5" name="Textplatzhalter 3"/>
          <p:cNvSpPr>
            <a:spLocks noGrp="1"/>
          </p:cNvSpPr>
          <p:nvPr>
            <p:ph type="body" sz="quarter" idx="11" hasCustomPrompt="1"/>
          </p:nvPr>
        </p:nvSpPr>
        <p:spPr bwMode="gray">
          <a:xfrm>
            <a:off x="431214" y="6404736"/>
            <a:ext cx="11328557"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dirty="0"/>
              <a:t>Click to add source information</a:t>
            </a:r>
          </a:p>
        </p:txBody>
      </p:sp>
    </p:spTree>
    <p:extLst>
      <p:ext uri="{BB962C8B-B14F-4D97-AF65-F5344CB8AC3E}">
        <p14:creationId xmlns:p14="http://schemas.microsoft.com/office/powerpoint/2010/main" val="28454673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2 | Petrol">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2DBAFD2A-AFFD-8CEE-84C0-6060437F5182}"/>
              </a:ext>
            </a:extLst>
          </p:cNvPr>
          <p:cNvGraphicFramePr>
            <a:graphicFrameLocks noChangeAspect="1"/>
          </p:cNvGraphicFramePr>
          <p:nvPr userDrawn="1">
            <p:custDataLst>
              <p:tags r:id="rId1"/>
            </p:custDataLst>
            <p:extLst>
              <p:ext uri="{D42A27DB-BD31-4B8C-83A1-F6EECF244321}">
                <p14:modId xmlns:p14="http://schemas.microsoft.com/office/powerpoint/2010/main" val="2273889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3" name="Objekt 2" hidden="1">
                        <a:extLst>
                          <a:ext uri="{FF2B5EF4-FFF2-40B4-BE49-F238E27FC236}">
                            <a16:creationId xmlns:a16="http://schemas.microsoft.com/office/drawing/2014/main" id="{2DBAFD2A-AFFD-8CEE-84C0-6060437F51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93" name="Gruppieren 592">
            <a:extLst>
              <a:ext uri="{FF2B5EF4-FFF2-40B4-BE49-F238E27FC236}">
                <a16:creationId xmlns:a16="http://schemas.microsoft.com/office/drawing/2014/main" id="{598AAC5A-5AD9-8002-C6B8-A19895EB8112}"/>
              </a:ext>
            </a:extLst>
          </p:cNvPr>
          <p:cNvGrpSpPr/>
          <p:nvPr userDrawn="1"/>
        </p:nvGrpSpPr>
        <p:grpSpPr>
          <a:xfrm>
            <a:off x="317360" y="1484784"/>
            <a:ext cx="11539280" cy="4626512"/>
            <a:chOff x="317360" y="1484784"/>
            <a:chExt cx="11539280" cy="4626512"/>
          </a:xfrm>
        </p:grpSpPr>
        <p:sp>
          <p:nvSpPr>
            <p:cNvPr id="594" name="Rechteck 593">
              <a:extLst>
                <a:ext uri="{FF2B5EF4-FFF2-40B4-BE49-F238E27FC236}">
                  <a16:creationId xmlns:a16="http://schemas.microsoft.com/office/drawing/2014/main" id="{9A6C7912-7B39-43B5-9288-201EB1AEC882}"/>
                </a:ext>
              </a:extLst>
            </p:cNvPr>
            <p:cNvSpPr/>
            <p:nvPr userDrawn="1"/>
          </p:nvSpPr>
          <p:spPr bwMode="gray">
            <a:xfrm>
              <a:off x="1126257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5" name="Rechteck 594">
              <a:extLst>
                <a:ext uri="{FF2B5EF4-FFF2-40B4-BE49-F238E27FC236}">
                  <a16:creationId xmlns:a16="http://schemas.microsoft.com/office/drawing/2014/main" id="{B4E52C24-2686-2370-9486-D589802F0F85}"/>
                </a:ext>
              </a:extLst>
            </p:cNvPr>
            <p:cNvSpPr/>
            <p:nvPr userDrawn="1"/>
          </p:nvSpPr>
          <p:spPr bwMode="gray">
            <a:xfrm>
              <a:off x="1068651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6" name="Rechteck 595">
              <a:extLst>
                <a:ext uri="{FF2B5EF4-FFF2-40B4-BE49-F238E27FC236}">
                  <a16:creationId xmlns:a16="http://schemas.microsoft.com/office/drawing/2014/main" id="{BF6F72EE-B557-9BB8-2E4F-FEC4B03E0265}"/>
                </a:ext>
              </a:extLst>
            </p:cNvPr>
            <p:cNvSpPr/>
            <p:nvPr userDrawn="1"/>
          </p:nvSpPr>
          <p:spPr bwMode="gray">
            <a:xfrm>
              <a:off x="1011044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7" name="Rechteck 596">
              <a:extLst>
                <a:ext uri="{FF2B5EF4-FFF2-40B4-BE49-F238E27FC236}">
                  <a16:creationId xmlns:a16="http://schemas.microsoft.com/office/drawing/2014/main" id="{81D270DC-7C1F-0E98-BFC0-B6C8CC3B48B0}"/>
                </a:ext>
              </a:extLst>
            </p:cNvPr>
            <p:cNvSpPr/>
            <p:nvPr userDrawn="1"/>
          </p:nvSpPr>
          <p:spPr bwMode="gray">
            <a:xfrm>
              <a:off x="953438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8" name="Rechteck 597">
              <a:extLst>
                <a:ext uri="{FF2B5EF4-FFF2-40B4-BE49-F238E27FC236}">
                  <a16:creationId xmlns:a16="http://schemas.microsoft.com/office/drawing/2014/main" id="{3DF70B87-02B3-0FF2-4694-46B1B66FD13B}"/>
                </a:ext>
              </a:extLst>
            </p:cNvPr>
            <p:cNvSpPr/>
            <p:nvPr userDrawn="1"/>
          </p:nvSpPr>
          <p:spPr bwMode="gray">
            <a:xfrm>
              <a:off x="895832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9" name="Rechteck 598">
              <a:extLst>
                <a:ext uri="{FF2B5EF4-FFF2-40B4-BE49-F238E27FC236}">
                  <a16:creationId xmlns:a16="http://schemas.microsoft.com/office/drawing/2014/main" id="{4639447E-0C0A-8CD8-4374-375153EF41D1}"/>
                </a:ext>
              </a:extLst>
            </p:cNvPr>
            <p:cNvSpPr/>
            <p:nvPr userDrawn="1"/>
          </p:nvSpPr>
          <p:spPr bwMode="gray">
            <a:xfrm>
              <a:off x="838225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0" name="Rechteck 599">
              <a:extLst>
                <a:ext uri="{FF2B5EF4-FFF2-40B4-BE49-F238E27FC236}">
                  <a16:creationId xmlns:a16="http://schemas.microsoft.com/office/drawing/2014/main" id="{59768567-D9EB-AD99-85BB-684AFEB785FA}"/>
                </a:ext>
              </a:extLst>
            </p:cNvPr>
            <p:cNvSpPr/>
            <p:nvPr userDrawn="1"/>
          </p:nvSpPr>
          <p:spPr bwMode="gray">
            <a:xfrm>
              <a:off x="780619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1" name="Rechteck 600">
              <a:extLst>
                <a:ext uri="{FF2B5EF4-FFF2-40B4-BE49-F238E27FC236}">
                  <a16:creationId xmlns:a16="http://schemas.microsoft.com/office/drawing/2014/main" id="{4F7DCC2D-F912-BF04-19E6-251DC351C74C}"/>
                </a:ext>
              </a:extLst>
            </p:cNvPr>
            <p:cNvSpPr/>
            <p:nvPr userDrawn="1"/>
          </p:nvSpPr>
          <p:spPr bwMode="gray">
            <a:xfrm>
              <a:off x="723012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2" name="Rechteck 601">
              <a:extLst>
                <a:ext uri="{FF2B5EF4-FFF2-40B4-BE49-F238E27FC236}">
                  <a16:creationId xmlns:a16="http://schemas.microsoft.com/office/drawing/2014/main" id="{EFD07790-7B12-76C2-0D61-10DAE65135BC}"/>
                </a:ext>
              </a:extLst>
            </p:cNvPr>
            <p:cNvSpPr/>
            <p:nvPr userDrawn="1"/>
          </p:nvSpPr>
          <p:spPr bwMode="gray">
            <a:xfrm>
              <a:off x="665406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3" name="Rechteck 602">
              <a:extLst>
                <a:ext uri="{FF2B5EF4-FFF2-40B4-BE49-F238E27FC236}">
                  <a16:creationId xmlns:a16="http://schemas.microsoft.com/office/drawing/2014/main" id="{8F90D23A-2B8A-9B69-09D1-D00BF21429D6}"/>
                </a:ext>
              </a:extLst>
            </p:cNvPr>
            <p:cNvSpPr/>
            <p:nvPr userDrawn="1"/>
          </p:nvSpPr>
          <p:spPr bwMode="gray">
            <a:xfrm>
              <a:off x="607800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4" name="Rechteck 603">
              <a:extLst>
                <a:ext uri="{FF2B5EF4-FFF2-40B4-BE49-F238E27FC236}">
                  <a16:creationId xmlns:a16="http://schemas.microsoft.com/office/drawing/2014/main" id="{60506D1A-DA1C-7E93-9FD6-4BB72F178BCA}"/>
                </a:ext>
              </a:extLst>
            </p:cNvPr>
            <p:cNvSpPr/>
            <p:nvPr userDrawn="1"/>
          </p:nvSpPr>
          <p:spPr bwMode="gray">
            <a:xfrm>
              <a:off x="550193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5" name="Rechteck 604">
              <a:extLst>
                <a:ext uri="{FF2B5EF4-FFF2-40B4-BE49-F238E27FC236}">
                  <a16:creationId xmlns:a16="http://schemas.microsoft.com/office/drawing/2014/main" id="{41A6AA1B-B77B-8601-17B0-191664E89BDB}"/>
                </a:ext>
              </a:extLst>
            </p:cNvPr>
            <p:cNvSpPr/>
            <p:nvPr userDrawn="1"/>
          </p:nvSpPr>
          <p:spPr bwMode="gray">
            <a:xfrm>
              <a:off x="492587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6" name="Rechteck 605">
              <a:extLst>
                <a:ext uri="{FF2B5EF4-FFF2-40B4-BE49-F238E27FC236}">
                  <a16:creationId xmlns:a16="http://schemas.microsoft.com/office/drawing/2014/main" id="{3A5274FF-8B57-0038-A8DE-C32E73829188}"/>
                </a:ext>
              </a:extLst>
            </p:cNvPr>
            <p:cNvSpPr/>
            <p:nvPr userDrawn="1"/>
          </p:nvSpPr>
          <p:spPr bwMode="gray">
            <a:xfrm>
              <a:off x="434980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7" name="Rechteck 606">
              <a:extLst>
                <a:ext uri="{FF2B5EF4-FFF2-40B4-BE49-F238E27FC236}">
                  <a16:creationId xmlns:a16="http://schemas.microsoft.com/office/drawing/2014/main" id="{8A9610F6-2A54-91FE-55EC-87C2791C99DE}"/>
                </a:ext>
              </a:extLst>
            </p:cNvPr>
            <p:cNvSpPr/>
            <p:nvPr userDrawn="1"/>
          </p:nvSpPr>
          <p:spPr bwMode="gray">
            <a:xfrm>
              <a:off x="377374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8" name="Rechteck 607">
              <a:extLst>
                <a:ext uri="{FF2B5EF4-FFF2-40B4-BE49-F238E27FC236}">
                  <a16:creationId xmlns:a16="http://schemas.microsoft.com/office/drawing/2014/main" id="{B0F5A61D-38A0-42E4-6068-0990C6C3B119}"/>
                </a:ext>
              </a:extLst>
            </p:cNvPr>
            <p:cNvSpPr/>
            <p:nvPr userDrawn="1"/>
          </p:nvSpPr>
          <p:spPr bwMode="gray">
            <a:xfrm>
              <a:off x="319768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9" name="Rechteck 608">
              <a:extLst>
                <a:ext uri="{FF2B5EF4-FFF2-40B4-BE49-F238E27FC236}">
                  <a16:creationId xmlns:a16="http://schemas.microsoft.com/office/drawing/2014/main" id="{6CCF4523-D4AD-221E-F915-246FF7A13F82}"/>
                </a:ext>
              </a:extLst>
            </p:cNvPr>
            <p:cNvSpPr/>
            <p:nvPr userDrawn="1"/>
          </p:nvSpPr>
          <p:spPr bwMode="gray">
            <a:xfrm>
              <a:off x="262161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0" name="Rechteck 609">
              <a:extLst>
                <a:ext uri="{FF2B5EF4-FFF2-40B4-BE49-F238E27FC236}">
                  <a16:creationId xmlns:a16="http://schemas.microsoft.com/office/drawing/2014/main" id="{4BE2EEC3-ABF0-BA5E-D472-FCF8D2855D12}"/>
                </a:ext>
              </a:extLst>
            </p:cNvPr>
            <p:cNvSpPr/>
            <p:nvPr userDrawn="1"/>
          </p:nvSpPr>
          <p:spPr bwMode="gray">
            <a:xfrm>
              <a:off x="204555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1" name="Rechteck 610">
              <a:extLst>
                <a:ext uri="{FF2B5EF4-FFF2-40B4-BE49-F238E27FC236}">
                  <a16:creationId xmlns:a16="http://schemas.microsoft.com/office/drawing/2014/main" id="{8B46A593-D830-4F92-B73D-77CDD6F8F1B6}"/>
                </a:ext>
              </a:extLst>
            </p:cNvPr>
            <p:cNvSpPr/>
            <p:nvPr userDrawn="1"/>
          </p:nvSpPr>
          <p:spPr bwMode="gray">
            <a:xfrm>
              <a:off x="146948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2" name="Rechteck 611">
              <a:extLst>
                <a:ext uri="{FF2B5EF4-FFF2-40B4-BE49-F238E27FC236}">
                  <a16:creationId xmlns:a16="http://schemas.microsoft.com/office/drawing/2014/main" id="{5FF5C11C-F9F0-1659-244A-0FBAF61939CB}"/>
                </a:ext>
              </a:extLst>
            </p:cNvPr>
            <p:cNvSpPr/>
            <p:nvPr userDrawn="1"/>
          </p:nvSpPr>
          <p:spPr bwMode="gray">
            <a:xfrm>
              <a:off x="89342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3" name="Rechteck 612">
              <a:extLst>
                <a:ext uri="{FF2B5EF4-FFF2-40B4-BE49-F238E27FC236}">
                  <a16:creationId xmlns:a16="http://schemas.microsoft.com/office/drawing/2014/main" id="{8159184C-0FC3-8791-F89A-584BCD892B95}"/>
                </a:ext>
              </a:extLst>
            </p:cNvPr>
            <p:cNvSpPr/>
            <p:nvPr userDrawn="1"/>
          </p:nvSpPr>
          <p:spPr bwMode="gray">
            <a:xfrm>
              <a:off x="31736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4" name="Rechteck 613">
              <a:extLst>
                <a:ext uri="{FF2B5EF4-FFF2-40B4-BE49-F238E27FC236}">
                  <a16:creationId xmlns:a16="http://schemas.microsoft.com/office/drawing/2014/main" id="{93834599-1C5F-1316-5A40-5CA42AFC6725}"/>
                </a:ext>
              </a:extLst>
            </p:cNvPr>
            <p:cNvSpPr/>
            <p:nvPr userDrawn="1"/>
          </p:nvSpPr>
          <p:spPr bwMode="gray">
            <a:xfrm>
              <a:off x="1126257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5" name="Rechteck 614">
              <a:extLst>
                <a:ext uri="{FF2B5EF4-FFF2-40B4-BE49-F238E27FC236}">
                  <a16:creationId xmlns:a16="http://schemas.microsoft.com/office/drawing/2014/main" id="{B7670137-3046-CC49-F5E9-F378B795D56F}"/>
                </a:ext>
              </a:extLst>
            </p:cNvPr>
            <p:cNvSpPr/>
            <p:nvPr userDrawn="1"/>
          </p:nvSpPr>
          <p:spPr bwMode="gray">
            <a:xfrm>
              <a:off x="1068651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6" name="Rechteck 615">
              <a:extLst>
                <a:ext uri="{FF2B5EF4-FFF2-40B4-BE49-F238E27FC236}">
                  <a16:creationId xmlns:a16="http://schemas.microsoft.com/office/drawing/2014/main" id="{C7C82983-390D-3413-988A-E8494474A691}"/>
                </a:ext>
              </a:extLst>
            </p:cNvPr>
            <p:cNvSpPr/>
            <p:nvPr userDrawn="1"/>
          </p:nvSpPr>
          <p:spPr bwMode="gray">
            <a:xfrm>
              <a:off x="1011044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7" name="Rechteck 616">
              <a:extLst>
                <a:ext uri="{FF2B5EF4-FFF2-40B4-BE49-F238E27FC236}">
                  <a16:creationId xmlns:a16="http://schemas.microsoft.com/office/drawing/2014/main" id="{EEB075ED-D5FD-65F9-A22C-43DCD3F097F4}"/>
                </a:ext>
              </a:extLst>
            </p:cNvPr>
            <p:cNvSpPr/>
            <p:nvPr userDrawn="1"/>
          </p:nvSpPr>
          <p:spPr bwMode="gray">
            <a:xfrm>
              <a:off x="953438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8" name="Rechteck 617">
              <a:extLst>
                <a:ext uri="{FF2B5EF4-FFF2-40B4-BE49-F238E27FC236}">
                  <a16:creationId xmlns:a16="http://schemas.microsoft.com/office/drawing/2014/main" id="{797EA9A1-A119-6F6C-B7F7-E937ABA64A85}"/>
                </a:ext>
              </a:extLst>
            </p:cNvPr>
            <p:cNvSpPr/>
            <p:nvPr userDrawn="1"/>
          </p:nvSpPr>
          <p:spPr bwMode="gray">
            <a:xfrm>
              <a:off x="895832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9" name="Rechteck 618">
              <a:extLst>
                <a:ext uri="{FF2B5EF4-FFF2-40B4-BE49-F238E27FC236}">
                  <a16:creationId xmlns:a16="http://schemas.microsoft.com/office/drawing/2014/main" id="{4CD5AD10-5327-513C-AC83-C1808CA50FC1}"/>
                </a:ext>
              </a:extLst>
            </p:cNvPr>
            <p:cNvSpPr/>
            <p:nvPr userDrawn="1"/>
          </p:nvSpPr>
          <p:spPr bwMode="gray">
            <a:xfrm>
              <a:off x="838225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0" name="Rechteck 619">
              <a:extLst>
                <a:ext uri="{FF2B5EF4-FFF2-40B4-BE49-F238E27FC236}">
                  <a16:creationId xmlns:a16="http://schemas.microsoft.com/office/drawing/2014/main" id="{546E9C88-8C63-72EE-CD9F-E33BD545181E}"/>
                </a:ext>
              </a:extLst>
            </p:cNvPr>
            <p:cNvSpPr/>
            <p:nvPr userDrawn="1"/>
          </p:nvSpPr>
          <p:spPr bwMode="gray">
            <a:xfrm>
              <a:off x="780619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1" name="Rechteck 620">
              <a:extLst>
                <a:ext uri="{FF2B5EF4-FFF2-40B4-BE49-F238E27FC236}">
                  <a16:creationId xmlns:a16="http://schemas.microsoft.com/office/drawing/2014/main" id="{9A78F7E8-88A6-3554-AB2A-5D915E38EA70}"/>
                </a:ext>
              </a:extLst>
            </p:cNvPr>
            <p:cNvSpPr/>
            <p:nvPr userDrawn="1"/>
          </p:nvSpPr>
          <p:spPr bwMode="gray">
            <a:xfrm>
              <a:off x="723012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2" name="Rechteck 621">
              <a:extLst>
                <a:ext uri="{FF2B5EF4-FFF2-40B4-BE49-F238E27FC236}">
                  <a16:creationId xmlns:a16="http://schemas.microsoft.com/office/drawing/2014/main" id="{1017378F-3C6D-B0F4-E0C1-7BD2B04F19A8}"/>
                </a:ext>
              </a:extLst>
            </p:cNvPr>
            <p:cNvSpPr/>
            <p:nvPr userDrawn="1"/>
          </p:nvSpPr>
          <p:spPr bwMode="gray">
            <a:xfrm>
              <a:off x="665406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3" name="Rechteck 622">
              <a:extLst>
                <a:ext uri="{FF2B5EF4-FFF2-40B4-BE49-F238E27FC236}">
                  <a16:creationId xmlns:a16="http://schemas.microsoft.com/office/drawing/2014/main" id="{FAC43AD4-89FE-0486-68CF-EA860B58C3F2}"/>
                </a:ext>
              </a:extLst>
            </p:cNvPr>
            <p:cNvSpPr/>
            <p:nvPr userDrawn="1"/>
          </p:nvSpPr>
          <p:spPr bwMode="gray">
            <a:xfrm>
              <a:off x="607800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4" name="Rechteck 623">
              <a:extLst>
                <a:ext uri="{FF2B5EF4-FFF2-40B4-BE49-F238E27FC236}">
                  <a16:creationId xmlns:a16="http://schemas.microsoft.com/office/drawing/2014/main" id="{97874330-9937-95FC-3233-9DF061EE48B2}"/>
                </a:ext>
              </a:extLst>
            </p:cNvPr>
            <p:cNvSpPr/>
            <p:nvPr userDrawn="1"/>
          </p:nvSpPr>
          <p:spPr bwMode="gray">
            <a:xfrm>
              <a:off x="550193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5" name="Rechteck 624">
              <a:extLst>
                <a:ext uri="{FF2B5EF4-FFF2-40B4-BE49-F238E27FC236}">
                  <a16:creationId xmlns:a16="http://schemas.microsoft.com/office/drawing/2014/main" id="{786643A3-07FC-DDF0-C022-2038DBCD3DF5}"/>
                </a:ext>
              </a:extLst>
            </p:cNvPr>
            <p:cNvSpPr/>
            <p:nvPr userDrawn="1"/>
          </p:nvSpPr>
          <p:spPr bwMode="gray">
            <a:xfrm>
              <a:off x="492587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6" name="Rechteck 625">
              <a:extLst>
                <a:ext uri="{FF2B5EF4-FFF2-40B4-BE49-F238E27FC236}">
                  <a16:creationId xmlns:a16="http://schemas.microsoft.com/office/drawing/2014/main" id="{7B71A69C-8F17-C140-8531-C06B5B97316B}"/>
                </a:ext>
              </a:extLst>
            </p:cNvPr>
            <p:cNvSpPr/>
            <p:nvPr userDrawn="1"/>
          </p:nvSpPr>
          <p:spPr bwMode="gray">
            <a:xfrm>
              <a:off x="434980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7" name="Rechteck 626">
              <a:extLst>
                <a:ext uri="{FF2B5EF4-FFF2-40B4-BE49-F238E27FC236}">
                  <a16:creationId xmlns:a16="http://schemas.microsoft.com/office/drawing/2014/main" id="{F0F74B12-9665-A603-6F9E-B3766FE0CEED}"/>
                </a:ext>
              </a:extLst>
            </p:cNvPr>
            <p:cNvSpPr/>
            <p:nvPr userDrawn="1"/>
          </p:nvSpPr>
          <p:spPr bwMode="gray">
            <a:xfrm>
              <a:off x="377374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8" name="Rechteck 627">
              <a:extLst>
                <a:ext uri="{FF2B5EF4-FFF2-40B4-BE49-F238E27FC236}">
                  <a16:creationId xmlns:a16="http://schemas.microsoft.com/office/drawing/2014/main" id="{6CE1945B-DD77-B490-7716-BD0A9BED8277}"/>
                </a:ext>
              </a:extLst>
            </p:cNvPr>
            <p:cNvSpPr/>
            <p:nvPr userDrawn="1"/>
          </p:nvSpPr>
          <p:spPr bwMode="gray">
            <a:xfrm>
              <a:off x="319768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9" name="Rechteck 628">
              <a:extLst>
                <a:ext uri="{FF2B5EF4-FFF2-40B4-BE49-F238E27FC236}">
                  <a16:creationId xmlns:a16="http://schemas.microsoft.com/office/drawing/2014/main" id="{9CE256A9-4C89-CD28-6977-0320AA2FDDAC}"/>
                </a:ext>
              </a:extLst>
            </p:cNvPr>
            <p:cNvSpPr/>
            <p:nvPr userDrawn="1"/>
          </p:nvSpPr>
          <p:spPr bwMode="gray">
            <a:xfrm>
              <a:off x="262161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0" name="Rechteck 629">
              <a:extLst>
                <a:ext uri="{FF2B5EF4-FFF2-40B4-BE49-F238E27FC236}">
                  <a16:creationId xmlns:a16="http://schemas.microsoft.com/office/drawing/2014/main" id="{FCCA9E0C-976F-DA26-1FA4-C0EC0EB1A258}"/>
                </a:ext>
              </a:extLst>
            </p:cNvPr>
            <p:cNvSpPr/>
            <p:nvPr userDrawn="1"/>
          </p:nvSpPr>
          <p:spPr bwMode="gray">
            <a:xfrm>
              <a:off x="204555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1" name="Rechteck 630">
              <a:extLst>
                <a:ext uri="{FF2B5EF4-FFF2-40B4-BE49-F238E27FC236}">
                  <a16:creationId xmlns:a16="http://schemas.microsoft.com/office/drawing/2014/main" id="{4489D103-D90A-7667-9249-05C197D80601}"/>
                </a:ext>
              </a:extLst>
            </p:cNvPr>
            <p:cNvSpPr/>
            <p:nvPr userDrawn="1"/>
          </p:nvSpPr>
          <p:spPr bwMode="gray">
            <a:xfrm>
              <a:off x="146948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2" name="Rechteck 631">
              <a:extLst>
                <a:ext uri="{FF2B5EF4-FFF2-40B4-BE49-F238E27FC236}">
                  <a16:creationId xmlns:a16="http://schemas.microsoft.com/office/drawing/2014/main" id="{CC5936ED-986D-CD67-203A-1854B7DF7717}"/>
                </a:ext>
              </a:extLst>
            </p:cNvPr>
            <p:cNvSpPr/>
            <p:nvPr userDrawn="1"/>
          </p:nvSpPr>
          <p:spPr bwMode="gray">
            <a:xfrm>
              <a:off x="89342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3" name="Rechteck 632">
              <a:extLst>
                <a:ext uri="{FF2B5EF4-FFF2-40B4-BE49-F238E27FC236}">
                  <a16:creationId xmlns:a16="http://schemas.microsoft.com/office/drawing/2014/main" id="{2361A960-E43C-BF11-EE9E-D49816AB222D}"/>
                </a:ext>
              </a:extLst>
            </p:cNvPr>
            <p:cNvSpPr/>
            <p:nvPr userDrawn="1"/>
          </p:nvSpPr>
          <p:spPr bwMode="gray">
            <a:xfrm>
              <a:off x="31736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4" name="Rechteck 633">
              <a:extLst>
                <a:ext uri="{FF2B5EF4-FFF2-40B4-BE49-F238E27FC236}">
                  <a16:creationId xmlns:a16="http://schemas.microsoft.com/office/drawing/2014/main" id="{61F68B3F-3729-1E93-8E1F-2DD5CCE7F644}"/>
                </a:ext>
              </a:extLst>
            </p:cNvPr>
            <p:cNvSpPr/>
            <p:nvPr userDrawn="1"/>
          </p:nvSpPr>
          <p:spPr bwMode="gray">
            <a:xfrm>
              <a:off x="1126257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5" name="Rechteck 634">
              <a:extLst>
                <a:ext uri="{FF2B5EF4-FFF2-40B4-BE49-F238E27FC236}">
                  <a16:creationId xmlns:a16="http://schemas.microsoft.com/office/drawing/2014/main" id="{6C4AD616-5821-6905-4D58-08FB364078E8}"/>
                </a:ext>
              </a:extLst>
            </p:cNvPr>
            <p:cNvSpPr/>
            <p:nvPr userDrawn="1"/>
          </p:nvSpPr>
          <p:spPr bwMode="gray">
            <a:xfrm>
              <a:off x="1068651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6" name="Rechteck 635">
              <a:extLst>
                <a:ext uri="{FF2B5EF4-FFF2-40B4-BE49-F238E27FC236}">
                  <a16:creationId xmlns:a16="http://schemas.microsoft.com/office/drawing/2014/main" id="{119E6CE3-2153-7AC3-DFFF-E5E468263719}"/>
                </a:ext>
              </a:extLst>
            </p:cNvPr>
            <p:cNvSpPr/>
            <p:nvPr userDrawn="1"/>
          </p:nvSpPr>
          <p:spPr bwMode="gray">
            <a:xfrm>
              <a:off x="1011044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7" name="Rechteck 636">
              <a:extLst>
                <a:ext uri="{FF2B5EF4-FFF2-40B4-BE49-F238E27FC236}">
                  <a16:creationId xmlns:a16="http://schemas.microsoft.com/office/drawing/2014/main" id="{81428415-0C3D-CFAE-1561-4DDDA52132BF}"/>
                </a:ext>
              </a:extLst>
            </p:cNvPr>
            <p:cNvSpPr/>
            <p:nvPr userDrawn="1"/>
          </p:nvSpPr>
          <p:spPr bwMode="gray">
            <a:xfrm>
              <a:off x="953438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8" name="Rechteck 637">
              <a:extLst>
                <a:ext uri="{FF2B5EF4-FFF2-40B4-BE49-F238E27FC236}">
                  <a16:creationId xmlns:a16="http://schemas.microsoft.com/office/drawing/2014/main" id="{6A0CCAAD-A37B-ACF5-0CC9-96707A2943D0}"/>
                </a:ext>
              </a:extLst>
            </p:cNvPr>
            <p:cNvSpPr/>
            <p:nvPr userDrawn="1"/>
          </p:nvSpPr>
          <p:spPr bwMode="gray">
            <a:xfrm>
              <a:off x="895832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9" name="Rechteck 638">
              <a:extLst>
                <a:ext uri="{FF2B5EF4-FFF2-40B4-BE49-F238E27FC236}">
                  <a16:creationId xmlns:a16="http://schemas.microsoft.com/office/drawing/2014/main" id="{A0A1D6E6-32C7-3964-3ECF-4BE087162C6A}"/>
                </a:ext>
              </a:extLst>
            </p:cNvPr>
            <p:cNvSpPr/>
            <p:nvPr userDrawn="1"/>
          </p:nvSpPr>
          <p:spPr bwMode="gray">
            <a:xfrm>
              <a:off x="838225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0" name="Rechteck 639">
              <a:extLst>
                <a:ext uri="{FF2B5EF4-FFF2-40B4-BE49-F238E27FC236}">
                  <a16:creationId xmlns:a16="http://schemas.microsoft.com/office/drawing/2014/main" id="{E5A31612-78DA-0A80-BED9-E2DC554D349A}"/>
                </a:ext>
              </a:extLst>
            </p:cNvPr>
            <p:cNvSpPr/>
            <p:nvPr userDrawn="1"/>
          </p:nvSpPr>
          <p:spPr bwMode="gray">
            <a:xfrm>
              <a:off x="780619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1" name="Rechteck 640">
              <a:extLst>
                <a:ext uri="{FF2B5EF4-FFF2-40B4-BE49-F238E27FC236}">
                  <a16:creationId xmlns:a16="http://schemas.microsoft.com/office/drawing/2014/main" id="{8A2AD328-EA68-FC8F-0BA7-F46B80BB952E}"/>
                </a:ext>
              </a:extLst>
            </p:cNvPr>
            <p:cNvSpPr/>
            <p:nvPr userDrawn="1"/>
          </p:nvSpPr>
          <p:spPr bwMode="gray">
            <a:xfrm>
              <a:off x="723012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2" name="Rechteck 641">
              <a:extLst>
                <a:ext uri="{FF2B5EF4-FFF2-40B4-BE49-F238E27FC236}">
                  <a16:creationId xmlns:a16="http://schemas.microsoft.com/office/drawing/2014/main" id="{614C70D5-AB8A-CFF6-7CFD-2EFC2BB2FE5F}"/>
                </a:ext>
              </a:extLst>
            </p:cNvPr>
            <p:cNvSpPr/>
            <p:nvPr userDrawn="1"/>
          </p:nvSpPr>
          <p:spPr bwMode="gray">
            <a:xfrm>
              <a:off x="665406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3" name="Rechteck 642">
              <a:extLst>
                <a:ext uri="{FF2B5EF4-FFF2-40B4-BE49-F238E27FC236}">
                  <a16:creationId xmlns:a16="http://schemas.microsoft.com/office/drawing/2014/main" id="{F06ABA43-44A4-5987-E228-FAA040820D41}"/>
                </a:ext>
              </a:extLst>
            </p:cNvPr>
            <p:cNvSpPr/>
            <p:nvPr userDrawn="1"/>
          </p:nvSpPr>
          <p:spPr bwMode="gray">
            <a:xfrm>
              <a:off x="607800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4" name="Rechteck 643">
              <a:extLst>
                <a:ext uri="{FF2B5EF4-FFF2-40B4-BE49-F238E27FC236}">
                  <a16:creationId xmlns:a16="http://schemas.microsoft.com/office/drawing/2014/main" id="{F05E31F7-974C-ACD0-2416-92CE8155BB48}"/>
                </a:ext>
              </a:extLst>
            </p:cNvPr>
            <p:cNvSpPr/>
            <p:nvPr userDrawn="1"/>
          </p:nvSpPr>
          <p:spPr bwMode="gray">
            <a:xfrm>
              <a:off x="550193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5" name="Rechteck 644">
              <a:extLst>
                <a:ext uri="{FF2B5EF4-FFF2-40B4-BE49-F238E27FC236}">
                  <a16:creationId xmlns:a16="http://schemas.microsoft.com/office/drawing/2014/main" id="{45CD9E73-654C-F867-9103-A9332D2EE6D6}"/>
                </a:ext>
              </a:extLst>
            </p:cNvPr>
            <p:cNvSpPr/>
            <p:nvPr userDrawn="1"/>
          </p:nvSpPr>
          <p:spPr bwMode="gray">
            <a:xfrm>
              <a:off x="492587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6" name="Rechteck 645">
              <a:extLst>
                <a:ext uri="{FF2B5EF4-FFF2-40B4-BE49-F238E27FC236}">
                  <a16:creationId xmlns:a16="http://schemas.microsoft.com/office/drawing/2014/main" id="{D6C58587-3860-9E15-E3C8-6AE128352672}"/>
                </a:ext>
              </a:extLst>
            </p:cNvPr>
            <p:cNvSpPr/>
            <p:nvPr userDrawn="1"/>
          </p:nvSpPr>
          <p:spPr bwMode="gray">
            <a:xfrm>
              <a:off x="434980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7" name="Rechteck 646">
              <a:extLst>
                <a:ext uri="{FF2B5EF4-FFF2-40B4-BE49-F238E27FC236}">
                  <a16:creationId xmlns:a16="http://schemas.microsoft.com/office/drawing/2014/main" id="{BE6E00AE-7AD1-B393-2179-86320D054FF0}"/>
                </a:ext>
              </a:extLst>
            </p:cNvPr>
            <p:cNvSpPr/>
            <p:nvPr userDrawn="1"/>
          </p:nvSpPr>
          <p:spPr bwMode="gray">
            <a:xfrm>
              <a:off x="377374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8" name="Rechteck 647">
              <a:extLst>
                <a:ext uri="{FF2B5EF4-FFF2-40B4-BE49-F238E27FC236}">
                  <a16:creationId xmlns:a16="http://schemas.microsoft.com/office/drawing/2014/main" id="{363D1571-2349-2FDB-BAD1-5D5E1022943D}"/>
                </a:ext>
              </a:extLst>
            </p:cNvPr>
            <p:cNvSpPr/>
            <p:nvPr userDrawn="1"/>
          </p:nvSpPr>
          <p:spPr bwMode="gray">
            <a:xfrm>
              <a:off x="319768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9" name="Rechteck 648">
              <a:extLst>
                <a:ext uri="{FF2B5EF4-FFF2-40B4-BE49-F238E27FC236}">
                  <a16:creationId xmlns:a16="http://schemas.microsoft.com/office/drawing/2014/main" id="{AA00D247-76A6-DA4D-B3F0-109F13B2105E}"/>
                </a:ext>
              </a:extLst>
            </p:cNvPr>
            <p:cNvSpPr/>
            <p:nvPr userDrawn="1"/>
          </p:nvSpPr>
          <p:spPr bwMode="gray">
            <a:xfrm>
              <a:off x="262161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0" name="Rechteck 649">
              <a:extLst>
                <a:ext uri="{FF2B5EF4-FFF2-40B4-BE49-F238E27FC236}">
                  <a16:creationId xmlns:a16="http://schemas.microsoft.com/office/drawing/2014/main" id="{891BD334-6B48-A753-BDFE-5AB6A0D0BE28}"/>
                </a:ext>
              </a:extLst>
            </p:cNvPr>
            <p:cNvSpPr/>
            <p:nvPr userDrawn="1"/>
          </p:nvSpPr>
          <p:spPr bwMode="gray">
            <a:xfrm>
              <a:off x="204555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1" name="Rechteck 650">
              <a:extLst>
                <a:ext uri="{FF2B5EF4-FFF2-40B4-BE49-F238E27FC236}">
                  <a16:creationId xmlns:a16="http://schemas.microsoft.com/office/drawing/2014/main" id="{383838E7-8B93-AC1C-B3DE-DD5DE58BA6F1}"/>
                </a:ext>
              </a:extLst>
            </p:cNvPr>
            <p:cNvSpPr/>
            <p:nvPr userDrawn="1"/>
          </p:nvSpPr>
          <p:spPr bwMode="gray">
            <a:xfrm>
              <a:off x="146948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2" name="Rechteck 651">
              <a:extLst>
                <a:ext uri="{FF2B5EF4-FFF2-40B4-BE49-F238E27FC236}">
                  <a16:creationId xmlns:a16="http://schemas.microsoft.com/office/drawing/2014/main" id="{AE704177-0308-981C-E43C-6A929ACE6C3C}"/>
                </a:ext>
              </a:extLst>
            </p:cNvPr>
            <p:cNvSpPr/>
            <p:nvPr userDrawn="1"/>
          </p:nvSpPr>
          <p:spPr bwMode="gray">
            <a:xfrm>
              <a:off x="89342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3" name="Rechteck 652">
              <a:extLst>
                <a:ext uri="{FF2B5EF4-FFF2-40B4-BE49-F238E27FC236}">
                  <a16:creationId xmlns:a16="http://schemas.microsoft.com/office/drawing/2014/main" id="{D87B48BE-4C92-6A68-A73A-F1630BC8EE7E}"/>
                </a:ext>
              </a:extLst>
            </p:cNvPr>
            <p:cNvSpPr/>
            <p:nvPr userDrawn="1"/>
          </p:nvSpPr>
          <p:spPr bwMode="gray">
            <a:xfrm>
              <a:off x="31736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4" name="Rechteck 653">
              <a:extLst>
                <a:ext uri="{FF2B5EF4-FFF2-40B4-BE49-F238E27FC236}">
                  <a16:creationId xmlns:a16="http://schemas.microsoft.com/office/drawing/2014/main" id="{5CA50CFF-31D8-AB0F-6139-41ECC28CF743}"/>
                </a:ext>
              </a:extLst>
            </p:cNvPr>
            <p:cNvSpPr/>
            <p:nvPr userDrawn="1"/>
          </p:nvSpPr>
          <p:spPr bwMode="gray">
            <a:xfrm>
              <a:off x="1126257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5" name="Rechteck 654">
              <a:extLst>
                <a:ext uri="{FF2B5EF4-FFF2-40B4-BE49-F238E27FC236}">
                  <a16:creationId xmlns:a16="http://schemas.microsoft.com/office/drawing/2014/main" id="{59531C09-A862-0E66-B412-22DF3A29A02C}"/>
                </a:ext>
              </a:extLst>
            </p:cNvPr>
            <p:cNvSpPr/>
            <p:nvPr userDrawn="1"/>
          </p:nvSpPr>
          <p:spPr bwMode="gray">
            <a:xfrm>
              <a:off x="1068651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6" name="Rechteck 655">
              <a:extLst>
                <a:ext uri="{FF2B5EF4-FFF2-40B4-BE49-F238E27FC236}">
                  <a16:creationId xmlns:a16="http://schemas.microsoft.com/office/drawing/2014/main" id="{B2C5084B-F745-1752-7993-D8592932D155}"/>
                </a:ext>
              </a:extLst>
            </p:cNvPr>
            <p:cNvSpPr/>
            <p:nvPr userDrawn="1"/>
          </p:nvSpPr>
          <p:spPr bwMode="gray">
            <a:xfrm>
              <a:off x="1011044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7" name="Rechteck 656">
              <a:extLst>
                <a:ext uri="{FF2B5EF4-FFF2-40B4-BE49-F238E27FC236}">
                  <a16:creationId xmlns:a16="http://schemas.microsoft.com/office/drawing/2014/main" id="{7F828FD5-6390-7FB3-CBA4-4566675630C6}"/>
                </a:ext>
              </a:extLst>
            </p:cNvPr>
            <p:cNvSpPr/>
            <p:nvPr userDrawn="1"/>
          </p:nvSpPr>
          <p:spPr bwMode="gray">
            <a:xfrm>
              <a:off x="953438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8" name="Rechteck 657">
              <a:extLst>
                <a:ext uri="{FF2B5EF4-FFF2-40B4-BE49-F238E27FC236}">
                  <a16:creationId xmlns:a16="http://schemas.microsoft.com/office/drawing/2014/main" id="{97B57982-6F8C-8254-A683-14E7F3B94EDE}"/>
                </a:ext>
              </a:extLst>
            </p:cNvPr>
            <p:cNvSpPr/>
            <p:nvPr userDrawn="1"/>
          </p:nvSpPr>
          <p:spPr bwMode="gray">
            <a:xfrm>
              <a:off x="895832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9" name="Rechteck 658">
              <a:extLst>
                <a:ext uri="{FF2B5EF4-FFF2-40B4-BE49-F238E27FC236}">
                  <a16:creationId xmlns:a16="http://schemas.microsoft.com/office/drawing/2014/main" id="{84F28DF9-B484-8521-9795-AEE6A570607C}"/>
                </a:ext>
              </a:extLst>
            </p:cNvPr>
            <p:cNvSpPr/>
            <p:nvPr userDrawn="1"/>
          </p:nvSpPr>
          <p:spPr bwMode="gray">
            <a:xfrm>
              <a:off x="838225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0" name="Rechteck 659">
              <a:extLst>
                <a:ext uri="{FF2B5EF4-FFF2-40B4-BE49-F238E27FC236}">
                  <a16:creationId xmlns:a16="http://schemas.microsoft.com/office/drawing/2014/main" id="{BD4DA1EF-963E-7D11-B06D-CC3991F78EB5}"/>
                </a:ext>
              </a:extLst>
            </p:cNvPr>
            <p:cNvSpPr/>
            <p:nvPr userDrawn="1"/>
          </p:nvSpPr>
          <p:spPr bwMode="gray">
            <a:xfrm>
              <a:off x="780619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1" name="Rechteck 660">
              <a:extLst>
                <a:ext uri="{FF2B5EF4-FFF2-40B4-BE49-F238E27FC236}">
                  <a16:creationId xmlns:a16="http://schemas.microsoft.com/office/drawing/2014/main" id="{282D95EA-DBFF-6A0A-F4BC-F79EFDDC1786}"/>
                </a:ext>
              </a:extLst>
            </p:cNvPr>
            <p:cNvSpPr/>
            <p:nvPr userDrawn="1"/>
          </p:nvSpPr>
          <p:spPr bwMode="gray">
            <a:xfrm>
              <a:off x="723012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2" name="Rechteck 661">
              <a:extLst>
                <a:ext uri="{FF2B5EF4-FFF2-40B4-BE49-F238E27FC236}">
                  <a16:creationId xmlns:a16="http://schemas.microsoft.com/office/drawing/2014/main" id="{2F6E8338-7A07-84FF-73D3-97FE19F63562}"/>
                </a:ext>
              </a:extLst>
            </p:cNvPr>
            <p:cNvSpPr/>
            <p:nvPr userDrawn="1"/>
          </p:nvSpPr>
          <p:spPr bwMode="gray">
            <a:xfrm>
              <a:off x="665406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3" name="Rechteck 662">
              <a:extLst>
                <a:ext uri="{FF2B5EF4-FFF2-40B4-BE49-F238E27FC236}">
                  <a16:creationId xmlns:a16="http://schemas.microsoft.com/office/drawing/2014/main" id="{BDAC5CA9-726B-0475-B673-735F2E472583}"/>
                </a:ext>
              </a:extLst>
            </p:cNvPr>
            <p:cNvSpPr/>
            <p:nvPr userDrawn="1"/>
          </p:nvSpPr>
          <p:spPr bwMode="gray">
            <a:xfrm>
              <a:off x="607800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4" name="Rechteck 663">
              <a:extLst>
                <a:ext uri="{FF2B5EF4-FFF2-40B4-BE49-F238E27FC236}">
                  <a16:creationId xmlns:a16="http://schemas.microsoft.com/office/drawing/2014/main" id="{A7838953-D5B3-A22A-0352-80BE95CD829D}"/>
                </a:ext>
              </a:extLst>
            </p:cNvPr>
            <p:cNvSpPr/>
            <p:nvPr userDrawn="1"/>
          </p:nvSpPr>
          <p:spPr bwMode="gray">
            <a:xfrm>
              <a:off x="550193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5" name="Rechteck 664">
              <a:extLst>
                <a:ext uri="{FF2B5EF4-FFF2-40B4-BE49-F238E27FC236}">
                  <a16:creationId xmlns:a16="http://schemas.microsoft.com/office/drawing/2014/main" id="{F2CDE6FB-9857-7D96-2503-AFF38C0A8C27}"/>
                </a:ext>
              </a:extLst>
            </p:cNvPr>
            <p:cNvSpPr/>
            <p:nvPr userDrawn="1"/>
          </p:nvSpPr>
          <p:spPr bwMode="gray">
            <a:xfrm>
              <a:off x="492587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6" name="Rechteck 665">
              <a:extLst>
                <a:ext uri="{FF2B5EF4-FFF2-40B4-BE49-F238E27FC236}">
                  <a16:creationId xmlns:a16="http://schemas.microsoft.com/office/drawing/2014/main" id="{65556F8D-3A0C-79B8-52AE-C913BDE8143B}"/>
                </a:ext>
              </a:extLst>
            </p:cNvPr>
            <p:cNvSpPr/>
            <p:nvPr userDrawn="1"/>
          </p:nvSpPr>
          <p:spPr bwMode="gray">
            <a:xfrm>
              <a:off x="434980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7" name="Rechteck 666">
              <a:extLst>
                <a:ext uri="{FF2B5EF4-FFF2-40B4-BE49-F238E27FC236}">
                  <a16:creationId xmlns:a16="http://schemas.microsoft.com/office/drawing/2014/main" id="{8FFE7B4D-7B6F-54B2-D0B4-E828DAFD9F41}"/>
                </a:ext>
              </a:extLst>
            </p:cNvPr>
            <p:cNvSpPr/>
            <p:nvPr userDrawn="1"/>
          </p:nvSpPr>
          <p:spPr bwMode="gray">
            <a:xfrm>
              <a:off x="377374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8" name="Rechteck 667">
              <a:extLst>
                <a:ext uri="{FF2B5EF4-FFF2-40B4-BE49-F238E27FC236}">
                  <a16:creationId xmlns:a16="http://schemas.microsoft.com/office/drawing/2014/main" id="{CBFF1EFD-6085-5E61-9ADC-FD2F20B6106A}"/>
                </a:ext>
              </a:extLst>
            </p:cNvPr>
            <p:cNvSpPr/>
            <p:nvPr userDrawn="1"/>
          </p:nvSpPr>
          <p:spPr bwMode="gray">
            <a:xfrm>
              <a:off x="319768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9" name="Rechteck 668">
              <a:extLst>
                <a:ext uri="{FF2B5EF4-FFF2-40B4-BE49-F238E27FC236}">
                  <a16:creationId xmlns:a16="http://schemas.microsoft.com/office/drawing/2014/main" id="{FD0BD573-52C7-81C8-E5CF-D0833B45A223}"/>
                </a:ext>
              </a:extLst>
            </p:cNvPr>
            <p:cNvSpPr/>
            <p:nvPr userDrawn="1"/>
          </p:nvSpPr>
          <p:spPr bwMode="gray">
            <a:xfrm>
              <a:off x="262161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0" name="Rechteck 669">
              <a:extLst>
                <a:ext uri="{FF2B5EF4-FFF2-40B4-BE49-F238E27FC236}">
                  <a16:creationId xmlns:a16="http://schemas.microsoft.com/office/drawing/2014/main" id="{782D1D8C-4C4D-6448-3FEB-703A397A3CC6}"/>
                </a:ext>
              </a:extLst>
            </p:cNvPr>
            <p:cNvSpPr/>
            <p:nvPr userDrawn="1"/>
          </p:nvSpPr>
          <p:spPr bwMode="gray">
            <a:xfrm>
              <a:off x="204555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1" name="Rechteck 670">
              <a:extLst>
                <a:ext uri="{FF2B5EF4-FFF2-40B4-BE49-F238E27FC236}">
                  <a16:creationId xmlns:a16="http://schemas.microsoft.com/office/drawing/2014/main" id="{7B63E3E0-5636-B199-C23A-95CBCC70D859}"/>
                </a:ext>
              </a:extLst>
            </p:cNvPr>
            <p:cNvSpPr/>
            <p:nvPr userDrawn="1"/>
          </p:nvSpPr>
          <p:spPr bwMode="gray">
            <a:xfrm>
              <a:off x="146948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2" name="Rechteck 671">
              <a:extLst>
                <a:ext uri="{FF2B5EF4-FFF2-40B4-BE49-F238E27FC236}">
                  <a16:creationId xmlns:a16="http://schemas.microsoft.com/office/drawing/2014/main" id="{5D8CD377-07C0-59FD-98C7-41362090C2F8}"/>
                </a:ext>
              </a:extLst>
            </p:cNvPr>
            <p:cNvSpPr/>
            <p:nvPr userDrawn="1"/>
          </p:nvSpPr>
          <p:spPr bwMode="gray">
            <a:xfrm>
              <a:off x="89342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3" name="Rechteck 672">
              <a:extLst>
                <a:ext uri="{FF2B5EF4-FFF2-40B4-BE49-F238E27FC236}">
                  <a16:creationId xmlns:a16="http://schemas.microsoft.com/office/drawing/2014/main" id="{86466632-C024-35D7-8D7D-D4A0166729FA}"/>
                </a:ext>
              </a:extLst>
            </p:cNvPr>
            <p:cNvSpPr/>
            <p:nvPr userDrawn="1"/>
          </p:nvSpPr>
          <p:spPr bwMode="gray">
            <a:xfrm>
              <a:off x="31736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4" name="Rechteck 673">
              <a:extLst>
                <a:ext uri="{FF2B5EF4-FFF2-40B4-BE49-F238E27FC236}">
                  <a16:creationId xmlns:a16="http://schemas.microsoft.com/office/drawing/2014/main" id="{8EEB4898-E16E-C1C7-89F5-4A8FF6AD2AF4}"/>
                </a:ext>
              </a:extLst>
            </p:cNvPr>
            <p:cNvSpPr/>
            <p:nvPr userDrawn="1"/>
          </p:nvSpPr>
          <p:spPr bwMode="gray">
            <a:xfrm>
              <a:off x="1126257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5" name="Rechteck 674">
              <a:extLst>
                <a:ext uri="{FF2B5EF4-FFF2-40B4-BE49-F238E27FC236}">
                  <a16:creationId xmlns:a16="http://schemas.microsoft.com/office/drawing/2014/main" id="{72C43264-B605-19EE-9EC6-8201A249E706}"/>
                </a:ext>
              </a:extLst>
            </p:cNvPr>
            <p:cNvSpPr/>
            <p:nvPr userDrawn="1"/>
          </p:nvSpPr>
          <p:spPr bwMode="gray">
            <a:xfrm>
              <a:off x="1068651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6" name="Rechteck 675">
              <a:extLst>
                <a:ext uri="{FF2B5EF4-FFF2-40B4-BE49-F238E27FC236}">
                  <a16:creationId xmlns:a16="http://schemas.microsoft.com/office/drawing/2014/main" id="{D36205A9-3D94-0561-C9E9-F5E37EBDAF8C}"/>
                </a:ext>
              </a:extLst>
            </p:cNvPr>
            <p:cNvSpPr/>
            <p:nvPr userDrawn="1"/>
          </p:nvSpPr>
          <p:spPr bwMode="gray">
            <a:xfrm>
              <a:off x="1011044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7" name="Rechteck 676">
              <a:extLst>
                <a:ext uri="{FF2B5EF4-FFF2-40B4-BE49-F238E27FC236}">
                  <a16:creationId xmlns:a16="http://schemas.microsoft.com/office/drawing/2014/main" id="{D1C290E5-4A7D-A98F-0DEB-07D5C0C6331D}"/>
                </a:ext>
              </a:extLst>
            </p:cNvPr>
            <p:cNvSpPr/>
            <p:nvPr userDrawn="1"/>
          </p:nvSpPr>
          <p:spPr bwMode="gray">
            <a:xfrm>
              <a:off x="953438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8" name="Rechteck 677">
              <a:extLst>
                <a:ext uri="{FF2B5EF4-FFF2-40B4-BE49-F238E27FC236}">
                  <a16:creationId xmlns:a16="http://schemas.microsoft.com/office/drawing/2014/main" id="{3C5D23EB-6CDF-C180-1751-736F72303EBC}"/>
                </a:ext>
              </a:extLst>
            </p:cNvPr>
            <p:cNvSpPr/>
            <p:nvPr userDrawn="1"/>
          </p:nvSpPr>
          <p:spPr bwMode="gray">
            <a:xfrm>
              <a:off x="895832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9" name="Rechteck 678">
              <a:extLst>
                <a:ext uri="{FF2B5EF4-FFF2-40B4-BE49-F238E27FC236}">
                  <a16:creationId xmlns:a16="http://schemas.microsoft.com/office/drawing/2014/main" id="{759763DD-7E92-2349-E5E8-D56CB1B3DAD1}"/>
                </a:ext>
              </a:extLst>
            </p:cNvPr>
            <p:cNvSpPr/>
            <p:nvPr userDrawn="1"/>
          </p:nvSpPr>
          <p:spPr bwMode="gray">
            <a:xfrm>
              <a:off x="838225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0" name="Rechteck 679">
              <a:extLst>
                <a:ext uri="{FF2B5EF4-FFF2-40B4-BE49-F238E27FC236}">
                  <a16:creationId xmlns:a16="http://schemas.microsoft.com/office/drawing/2014/main" id="{D72B1E55-C768-1705-013C-074933DFCA45}"/>
                </a:ext>
              </a:extLst>
            </p:cNvPr>
            <p:cNvSpPr/>
            <p:nvPr userDrawn="1"/>
          </p:nvSpPr>
          <p:spPr bwMode="gray">
            <a:xfrm>
              <a:off x="780619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1" name="Rechteck 680">
              <a:extLst>
                <a:ext uri="{FF2B5EF4-FFF2-40B4-BE49-F238E27FC236}">
                  <a16:creationId xmlns:a16="http://schemas.microsoft.com/office/drawing/2014/main" id="{3B377DA8-9E65-12D5-D9D2-30322DBE3CCA}"/>
                </a:ext>
              </a:extLst>
            </p:cNvPr>
            <p:cNvSpPr/>
            <p:nvPr userDrawn="1"/>
          </p:nvSpPr>
          <p:spPr bwMode="gray">
            <a:xfrm>
              <a:off x="723012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2" name="Rechteck 681">
              <a:extLst>
                <a:ext uri="{FF2B5EF4-FFF2-40B4-BE49-F238E27FC236}">
                  <a16:creationId xmlns:a16="http://schemas.microsoft.com/office/drawing/2014/main" id="{5C1636F3-AD20-FAD8-1A87-FB2EFEEFFBDA}"/>
                </a:ext>
              </a:extLst>
            </p:cNvPr>
            <p:cNvSpPr/>
            <p:nvPr userDrawn="1"/>
          </p:nvSpPr>
          <p:spPr bwMode="gray">
            <a:xfrm>
              <a:off x="665406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3" name="Rechteck 682">
              <a:extLst>
                <a:ext uri="{FF2B5EF4-FFF2-40B4-BE49-F238E27FC236}">
                  <a16:creationId xmlns:a16="http://schemas.microsoft.com/office/drawing/2014/main" id="{81C12471-8695-B197-E9B9-5247755AF52B}"/>
                </a:ext>
              </a:extLst>
            </p:cNvPr>
            <p:cNvSpPr/>
            <p:nvPr userDrawn="1"/>
          </p:nvSpPr>
          <p:spPr bwMode="gray">
            <a:xfrm>
              <a:off x="607800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4" name="Rechteck 683">
              <a:extLst>
                <a:ext uri="{FF2B5EF4-FFF2-40B4-BE49-F238E27FC236}">
                  <a16:creationId xmlns:a16="http://schemas.microsoft.com/office/drawing/2014/main" id="{4D1CCC77-25C9-1AE4-015A-1EE85F7C8AEC}"/>
                </a:ext>
              </a:extLst>
            </p:cNvPr>
            <p:cNvSpPr/>
            <p:nvPr userDrawn="1"/>
          </p:nvSpPr>
          <p:spPr bwMode="gray">
            <a:xfrm>
              <a:off x="550193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5" name="Rechteck 684">
              <a:extLst>
                <a:ext uri="{FF2B5EF4-FFF2-40B4-BE49-F238E27FC236}">
                  <a16:creationId xmlns:a16="http://schemas.microsoft.com/office/drawing/2014/main" id="{4EA24215-EA8C-4427-1749-8E5FA018401C}"/>
                </a:ext>
              </a:extLst>
            </p:cNvPr>
            <p:cNvSpPr/>
            <p:nvPr userDrawn="1"/>
          </p:nvSpPr>
          <p:spPr bwMode="gray">
            <a:xfrm>
              <a:off x="492587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6" name="Rechteck 685">
              <a:extLst>
                <a:ext uri="{FF2B5EF4-FFF2-40B4-BE49-F238E27FC236}">
                  <a16:creationId xmlns:a16="http://schemas.microsoft.com/office/drawing/2014/main" id="{38D83867-C513-2080-4473-12E76A3DCBB0}"/>
                </a:ext>
              </a:extLst>
            </p:cNvPr>
            <p:cNvSpPr/>
            <p:nvPr userDrawn="1"/>
          </p:nvSpPr>
          <p:spPr bwMode="gray">
            <a:xfrm>
              <a:off x="434980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7" name="Rechteck 686">
              <a:extLst>
                <a:ext uri="{FF2B5EF4-FFF2-40B4-BE49-F238E27FC236}">
                  <a16:creationId xmlns:a16="http://schemas.microsoft.com/office/drawing/2014/main" id="{929AE39E-E1CB-78D4-6B7A-3CC4349551D4}"/>
                </a:ext>
              </a:extLst>
            </p:cNvPr>
            <p:cNvSpPr/>
            <p:nvPr userDrawn="1"/>
          </p:nvSpPr>
          <p:spPr bwMode="gray">
            <a:xfrm>
              <a:off x="377374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8" name="Rechteck 687">
              <a:extLst>
                <a:ext uri="{FF2B5EF4-FFF2-40B4-BE49-F238E27FC236}">
                  <a16:creationId xmlns:a16="http://schemas.microsoft.com/office/drawing/2014/main" id="{96C7CB3C-A193-A8D2-BA75-2A4C567CB354}"/>
                </a:ext>
              </a:extLst>
            </p:cNvPr>
            <p:cNvSpPr/>
            <p:nvPr userDrawn="1"/>
          </p:nvSpPr>
          <p:spPr bwMode="gray">
            <a:xfrm>
              <a:off x="319768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9" name="Rechteck 688">
              <a:extLst>
                <a:ext uri="{FF2B5EF4-FFF2-40B4-BE49-F238E27FC236}">
                  <a16:creationId xmlns:a16="http://schemas.microsoft.com/office/drawing/2014/main" id="{2D08F3F1-AAE3-6EB2-11EA-EB4AA76B4D78}"/>
                </a:ext>
              </a:extLst>
            </p:cNvPr>
            <p:cNvSpPr/>
            <p:nvPr userDrawn="1"/>
          </p:nvSpPr>
          <p:spPr bwMode="gray">
            <a:xfrm>
              <a:off x="262161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0" name="Rechteck 689">
              <a:extLst>
                <a:ext uri="{FF2B5EF4-FFF2-40B4-BE49-F238E27FC236}">
                  <a16:creationId xmlns:a16="http://schemas.microsoft.com/office/drawing/2014/main" id="{2E5509C7-A1C6-AD32-4E19-BC1B65909709}"/>
                </a:ext>
              </a:extLst>
            </p:cNvPr>
            <p:cNvSpPr/>
            <p:nvPr userDrawn="1"/>
          </p:nvSpPr>
          <p:spPr bwMode="gray">
            <a:xfrm>
              <a:off x="204555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1" name="Rechteck 690">
              <a:extLst>
                <a:ext uri="{FF2B5EF4-FFF2-40B4-BE49-F238E27FC236}">
                  <a16:creationId xmlns:a16="http://schemas.microsoft.com/office/drawing/2014/main" id="{09F6A495-7550-480E-750B-183E5D67497B}"/>
                </a:ext>
              </a:extLst>
            </p:cNvPr>
            <p:cNvSpPr/>
            <p:nvPr userDrawn="1"/>
          </p:nvSpPr>
          <p:spPr bwMode="gray">
            <a:xfrm>
              <a:off x="146948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2" name="Rechteck 691">
              <a:extLst>
                <a:ext uri="{FF2B5EF4-FFF2-40B4-BE49-F238E27FC236}">
                  <a16:creationId xmlns:a16="http://schemas.microsoft.com/office/drawing/2014/main" id="{BBEE76EA-7D53-6271-816A-4DE74B341694}"/>
                </a:ext>
              </a:extLst>
            </p:cNvPr>
            <p:cNvSpPr/>
            <p:nvPr userDrawn="1"/>
          </p:nvSpPr>
          <p:spPr bwMode="gray">
            <a:xfrm>
              <a:off x="89342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3" name="Rechteck 692">
              <a:extLst>
                <a:ext uri="{FF2B5EF4-FFF2-40B4-BE49-F238E27FC236}">
                  <a16:creationId xmlns:a16="http://schemas.microsoft.com/office/drawing/2014/main" id="{F213176D-9D6E-B24C-2C10-CC183DD2A6C0}"/>
                </a:ext>
              </a:extLst>
            </p:cNvPr>
            <p:cNvSpPr/>
            <p:nvPr userDrawn="1"/>
          </p:nvSpPr>
          <p:spPr bwMode="gray">
            <a:xfrm>
              <a:off x="31736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4" name="Rechteck 693">
              <a:extLst>
                <a:ext uri="{FF2B5EF4-FFF2-40B4-BE49-F238E27FC236}">
                  <a16:creationId xmlns:a16="http://schemas.microsoft.com/office/drawing/2014/main" id="{7064590B-8A97-E58C-F569-D9E272ECC1B2}"/>
                </a:ext>
              </a:extLst>
            </p:cNvPr>
            <p:cNvSpPr/>
            <p:nvPr userDrawn="1"/>
          </p:nvSpPr>
          <p:spPr bwMode="gray">
            <a:xfrm>
              <a:off x="1126257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5" name="Rechteck 694">
              <a:extLst>
                <a:ext uri="{FF2B5EF4-FFF2-40B4-BE49-F238E27FC236}">
                  <a16:creationId xmlns:a16="http://schemas.microsoft.com/office/drawing/2014/main" id="{315E0949-277A-4783-AF02-44BE40809FA9}"/>
                </a:ext>
              </a:extLst>
            </p:cNvPr>
            <p:cNvSpPr/>
            <p:nvPr userDrawn="1"/>
          </p:nvSpPr>
          <p:spPr bwMode="gray">
            <a:xfrm>
              <a:off x="1068651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6" name="Rechteck 695">
              <a:extLst>
                <a:ext uri="{FF2B5EF4-FFF2-40B4-BE49-F238E27FC236}">
                  <a16:creationId xmlns:a16="http://schemas.microsoft.com/office/drawing/2014/main" id="{1903809D-98A7-9AED-EDA3-88B35CAC4CF0}"/>
                </a:ext>
              </a:extLst>
            </p:cNvPr>
            <p:cNvSpPr/>
            <p:nvPr userDrawn="1"/>
          </p:nvSpPr>
          <p:spPr bwMode="gray">
            <a:xfrm>
              <a:off x="1011044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7" name="Rechteck 696">
              <a:extLst>
                <a:ext uri="{FF2B5EF4-FFF2-40B4-BE49-F238E27FC236}">
                  <a16:creationId xmlns:a16="http://schemas.microsoft.com/office/drawing/2014/main" id="{2DBFA402-77BB-5708-D744-566FAA163375}"/>
                </a:ext>
              </a:extLst>
            </p:cNvPr>
            <p:cNvSpPr/>
            <p:nvPr userDrawn="1"/>
          </p:nvSpPr>
          <p:spPr bwMode="gray">
            <a:xfrm>
              <a:off x="953438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8" name="Rechteck 697">
              <a:extLst>
                <a:ext uri="{FF2B5EF4-FFF2-40B4-BE49-F238E27FC236}">
                  <a16:creationId xmlns:a16="http://schemas.microsoft.com/office/drawing/2014/main" id="{90550800-2BE9-1182-9F1F-F56C9847734F}"/>
                </a:ext>
              </a:extLst>
            </p:cNvPr>
            <p:cNvSpPr/>
            <p:nvPr userDrawn="1"/>
          </p:nvSpPr>
          <p:spPr bwMode="gray">
            <a:xfrm>
              <a:off x="895832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9" name="Rechteck 698">
              <a:extLst>
                <a:ext uri="{FF2B5EF4-FFF2-40B4-BE49-F238E27FC236}">
                  <a16:creationId xmlns:a16="http://schemas.microsoft.com/office/drawing/2014/main" id="{12CC2F8C-4B80-66DC-7695-2FC7DF6B0C3F}"/>
                </a:ext>
              </a:extLst>
            </p:cNvPr>
            <p:cNvSpPr/>
            <p:nvPr userDrawn="1"/>
          </p:nvSpPr>
          <p:spPr bwMode="gray">
            <a:xfrm>
              <a:off x="838225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0" name="Rechteck 699">
              <a:extLst>
                <a:ext uri="{FF2B5EF4-FFF2-40B4-BE49-F238E27FC236}">
                  <a16:creationId xmlns:a16="http://schemas.microsoft.com/office/drawing/2014/main" id="{E7BB6321-E23B-1C1F-6FC5-6FB76793A994}"/>
                </a:ext>
              </a:extLst>
            </p:cNvPr>
            <p:cNvSpPr/>
            <p:nvPr userDrawn="1"/>
          </p:nvSpPr>
          <p:spPr bwMode="gray">
            <a:xfrm>
              <a:off x="780619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1" name="Rechteck 700">
              <a:extLst>
                <a:ext uri="{FF2B5EF4-FFF2-40B4-BE49-F238E27FC236}">
                  <a16:creationId xmlns:a16="http://schemas.microsoft.com/office/drawing/2014/main" id="{B015C7F2-B9B8-EDB1-D801-4680E5BAC55B}"/>
                </a:ext>
              </a:extLst>
            </p:cNvPr>
            <p:cNvSpPr/>
            <p:nvPr userDrawn="1"/>
          </p:nvSpPr>
          <p:spPr bwMode="gray">
            <a:xfrm>
              <a:off x="723012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2" name="Rechteck 701">
              <a:extLst>
                <a:ext uri="{FF2B5EF4-FFF2-40B4-BE49-F238E27FC236}">
                  <a16:creationId xmlns:a16="http://schemas.microsoft.com/office/drawing/2014/main" id="{D167FE14-8DEE-EAC5-02D3-F13EE9754030}"/>
                </a:ext>
              </a:extLst>
            </p:cNvPr>
            <p:cNvSpPr/>
            <p:nvPr userDrawn="1"/>
          </p:nvSpPr>
          <p:spPr bwMode="gray">
            <a:xfrm>
              <a:off x="665406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3" name="Rechteck 702">
              <a:extLst>
                <a:ext uri="{FF2B5EF4-FFF2-40B4-BE49-F238E27FC236}">
                  <a16:creationId xmlns:a16="http://schemas.microsoft.com/office/drawing/2014/main" id="{24D327D3-8CF4-4643-4BBD-7B78D571A0EB}"/>
                </a:ext>
              </a:extLst>
            </p:cNvPr>
            <p:cNvSpPr/>
            <p:nvPr userDrawn="1"/>
          </p:nvSpPr>
          <p:spPr bwMode="gray">
            <a:xfrm>
              <a:off x="607800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4" name="Rechteck 703">
              <a:extLst>
                <a:ext uri="{FF2B5EF4-FFF2-40B4-BE49-F238E27FC236}">
                  <a16:creationId xmlns:a16="http://schemas.microsoft.com/office/drawing/2014/main" id="{12F991E9-14EB-E0EE-C3C5-A2B84A90B4B4}"/>
                </a:ext>
              </a:extLst>
            </p:cNvPr>
            <p:cNvSpPr/>
            <p:nvPr userDrawn="1"/>
          </p:nvSpPr>
          <p:spPr bwMode="gray">
            <a:xfrm>
              <a:off x="550193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5" name="Rechteck 704">
              <a:extLst>
                <a:ext uri="{FF2B5EF4-FFF2-40B4-BE49-F238E27FC236}">
                  <a16:creationId xmlns:a16="http://schemas.microsoft.com/office/drawing/2014/main" id="{288F7C08-FE36-1BCF-6529-58C3699C2F87}"/>
                </a:ext>
              </a:extLst>
            </p:cNvPr>
            <p:cNvSpPr/>
            <p:nvPr userDrawn="1"/>
          </p:nvSpPr>
          <p:spPr bwMode="gray">
            <a:xfrm>
              <a:off x="492587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6" name="Rechteck 705">
              <a:extLst>
                <a:ext uri="{FF2B5EF4-FFF2-40B4-BE49-F238E27FC236}">
                  <a16:creationId xmlns:a16="http://schemas.microsoft.com/office/drawing/2014/main" id="{1F42338E-EADA-A559-9FE4-98223FC2FFC9}"/>
                </a:ext>
              </a:extLst>
            </p:cNvPr>
            <p:cNvSpPr/>
            <p:nvPr userDrawn="1"/>
          </p:nvSpPr>
          <p:spPr bwMode="gray">
            <a:xfrm>
              <a:off x="434980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7" name="Rechteck 706">
              <a:extLst>
                <a:ext uri="{FF2B5EF4-FFF2-40B4-BE49-F238E27FC236}">
                  <a16:creationId xmlns:a16="http://schemas.microsoft.com/office/drawing/2014/main" id="{B4541957-E768-CCC3-3163-B860690C53CD}"/>
                </a:ext>
              </a:extLst>
            </p:cNvPr>
            <p:cNvSpPr/>
            <p:nvPr userDrawn="1"/>
          </p:nvSpPr>
          <p:spPr bwMode="gray">
            <a:xfrm>
              <a:off x="377374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8" name="Rechteck 707">
              <a:extLst>
                <a:ext uri="{FF2B5EF4-FFF2-40B4-BE49-F238E27FC236}">
                  <a16:creationId xmlns:a16="http://schemas.microsoft.com/office/drawing/2014/main" id="{45C75496-A6EB-F78A-5271-7F8EF62B5400}"/>
                </a:ext>
              </a:extLst>
            </p:cNvPr>
            <p:cNvSpPr/>
            <p:nvPr userDrawn="1"/>
          </p:nvSpPr>
          <p:spPr bwMode="gray">
            <a:xfrm>
              <a:off x="319768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9" name="Rechteck 708">
              <a:extLst>
                <a:ext uri="{FF2B5EF4-FFF2-40B4-BE49-F238E27FC236}">
                  <a16:creationId xmlns:a16="http://schemas.microsoft.com/office/drawing/2014/main" id="{D67399CE-F898-957D-F6A7-AD099D74A8B4}"/>
                </a:ext>
              </a:extLst>
            </p:cNvPr>
            <p:cNvSpPr/>
            <p:nvPr userDrawn="1"/>
          </p:nvSpPr>
          <p:spPr bwMode="gray">
            <a:xfrm>
              <a:off x="262161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0" name="Rechteck 709">
              <a:extLst>
                <a:ext uri="{FF2B5EF4-FFF2-40B4-BE49-F238E27FC236}">
                  <a16:creationId xmlns:a16="http://schemas.microsoft.com/office/drawing/2014/main" id="{2D957C8E-27FC-501E-0A61-7984B4CD5641}"/>
                </a:ext>
              </a:extLst>
            </p:cNvPr>
            <p:cNvSpPr/>
            <p:nvPr userDrawn="1"/>
          </p:nvSpPr>
          <p:spPr bwMode="gray">
            <a:xfrm>
              <a:off x="204555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1" name="Rechteck 710">
              <a:extLst>
                <a:ext uri="{FF2B5EF4-FFF2-40B4-BE49-F238E27FC236}">
                  <a16:creationId xmlns:a16="http://schemas.microsoft.com/office/drawing/2014/main" id="{81878111-D1F0-C25A-2FD1-C95BE80D5394}"/>
                </a:ext>
              </a:extLst>
            </p:cNvPr>
            <p:cNvSpPr/>
            <p:nvPr userDrawn="1"/>
          </p:nvSpPr>
          <p:spPr bwMode="gray">
            <a:xfrm>
              <a:off x="146948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2" name="Rechteck 711">
              <a:extLst>
                <a:ext uri="{FF2B5EF4-FFF2-40B4-BE49-F238E27FC236}">
                  <a16:creationId xmlns:a16="http://schemas.microsoft.com/office/drawing/2014/main" id="{B3D51024-7A1E-741F-27FB-1C5B0074B6AE}"/>
                </a:ext>
              </a:extLst>
            </p:cNvPr>
            <p:cNvSpPr/>
            <p:nvPr userDrawn="1"/>
          </p:nvSpPr>
          <p:spPr bwMode="gray">
            <a:xfrm>
              <a:off x="89342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3" name="Rechteck 712">
              <a:extLst>
                <a:ext uri="{FF2B5EF4-FFF2-40B4-BE49-F238E27FC236}">
                  <a16:creationId xmlns:a16="http://schemas.microsoft.com/office/drawing/2014/main" id="{6AB5962F-D899-501E-976E-B35AB5E887F4}"/>
                </a:ext>
              </a:extLst>
            </p:cNvPr>
            <p:cNvSpPr/>
            <p:nvPr userDrawn="1"/>
          </p:nvSpPr>
          <p:spPr bwMode="gray">
            <a:xfrm>
              <a:off x="31736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4" name="Rechteck 713">
              <a:extLst>
                <a:ext uri="{FF2B5EF4-FFF2-40B4-BE49-F238E27FC236}">
                  <a16:creationId xmlns:a16="http://schemas.microsoft.com/office/drawing/2014/main" id="{BBF67519-8E4C-B39A-6D8E-E7FF97DA230A}"/>
                </a:ext>
              </a:extLst>
            </p:cNvPr>
            <p:cNvSpPr/>
            <p:nvPr userDrawn="1"/>
          </p:nvSpPr>
          <p:spPr bwMode="gray">
            <a:xfrm>
              <a:off x="1126257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5" name="Rechteck 714">
              <a:extLst>
                <a:ext uri="{FF2B5EF4-FFF2-40B4-BE49-F238E27FC236}">
                  <a16:creationId xmlns:a16="http://schemas.microsoft.com/office/drawing/2014/main" id="{225F11FA-42D4-ADAD-6125-8C8BEB24B636}"/>
                </a:ext>
              </a:extLst>
            </p:cNvPr>
            <p:cNvSpPr/>
            <p:nvPr userDrawn="1"/>
          </p:nvSpPr>
          <p:spPr bwMode="gray">
            <a:xfrm>
              <a:off x="1068651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6" name="Rechteck 715">
              <a:extLst>
                <a:ext uri="{FF2B5EF4-FFF2-40B4-BE49-F238E27FC236}">
                  <a16:creationId xmlns:a16="http://schemas.microsoft.com/office/drawing/2014/main" id="{D8435F3F-6542-90B8-59F8-4564C7D64B40}"/>
                </a:ext>
              </a:extLst>
            </p:cNvPr>
            <p:cNvSpPr/>
            <p:nvPr userDrawn="1"/>
          </p:nvSpPr>
          <p:spPr bwMode="gray">
            <a:xfrm>
              <a:off x="1011044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7" name="Rechteck 716">
              <a:extLst>
                <a:ext uri="{FF2B5EF4-FFF2-40B4-BE49-F238E27FC236}">
                  <a16:creationId xmlns:a16="http://schemas.microsoft.com/office/drawing/2014/main" id="{98908F1A-DD3F-D888-F558-E297EEA49EC0}"/>
                </a:ext>
              </a:extLst>
            </p:cNvPr>
            <p:cNvSpPr/>
            <p:nvPr userDrawn="1"/>
          </p:nvSpPr>
          <p:spPr bwMode="gray">
            <a:xfrm>
              <a:off x="953438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8" name="Rechteck 717">
              <a:extLst>
                <a:ext uri="{FF2B5EF4-FFF2-40B4-BE49-F238E27FC236}">
                  <a16:creationId xmlns:a16="http://schemas.microsoft.com/office/drawing/2014/main" id="{566B3B17-75CF-CE97-9BE0-299F46EA5777}"/>
                </a:ext>
              </a:extLst>
            </p:cNvPr>
            <p:cNvSpPr/>
            <p:nvPr userDrawn="1"/>
          </p:nvSpPr>
          <p:spPr bwMode="gray">
            <a:xfrm>
              <a:off x="895832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9" name="Rechteck 718">
              <a:extLst>
                <a:ext uri="{FF2B5EF4-FFF2-40B4-BE49-F238E27FC236}">
                  <a16:creationId xmlns:a16="http://schemas.microsoft.com/office/drawing/2014/main" id="{AB4B39BC-1235-9F65-C2EB-C1E9D809DFF6}"/>
                </a:ext>
              </a:extLst>
            </p:cNvPr>
            <p:cNvSpPr/>
            <p:nvPr userDrawn="1"/>
          </p:nvSpPr>
          <p:spPr bwMode="gray">
            <a:xfrm>
              <a:off x="838225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0" name="Rechteck 719">
              <a:extLst>
                <a:ext uri="{FF2B5EF4-FFF2-40B4-BE49-F238E27FC236}">
                  <a16:creationId xmlns:a16="http://schemas.microsoft.com/office/drawing/2014/main" id="{8C4F22D8-47BA-25A1-7FAD-EFD39CC27CB9}"/>
                </a:ext>
              </a:extLst>
            </p:cNvPr>
            <p:cNvSpPr/>
            <p:nvPr userDrawn="1"/>
          </p:nvSpPr>
          <p:spPr bwMode="gray">
            <a:xfrm>
              <a:off x="780619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1" name="Rechteck 720">
              <a:extLst>
                <a:ext uri="{FF2B5EF4-FFF2-40B4-BE49-F238E27FC236}">
                  <a16:creationId xmlns:a16="http://schemas.microsoft.com/office/drawing/2014/main" id="{4EA2BB3A-5EEE-E64F-E1E2-F7F812BCD64C}"/>
                </a:ext>
              </a:extLst>
            </p:cNvPr>
            <p:cNvSpPr/>
            <p:nvPr userDrawn="1"/>
          </p:nvSpPr>
          <p:spPr bwMode="gray">
            <a:xfrm>
              <a:off x="723012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2" name="Rechteck 721">
              <a:extLst>
                <a:ext uri="{FF2B5EF4-FFF2-40B4-BE49-F238E27FC236}">
                  <a16:creationId xmlns:a16="http://schemas.microsoft.com/office/drawing/2014/main" id="{129CAA3C-DE2C-0EB9-2CDA-E92D365C8D2A}"/>
                </a:ext>
              </a:extLst>
            </p:cNvPr>
            <p:cNvSpPr/>
            <p:nvPr userDrawn="1"/>
          </p:nvSpPr>
          <p:spPr bwMode="gray">
            <a:xfrm>
              <a:off x="665406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3" name="Rechteck 722">
              <a:extLst>
                <a:ext uri="{FF2B5EF4-FFF2-40B4-BE49-F238E27FC236}">
                  <a16:creationId xmlns:a16="http://schemas.microsoft.com/office/drawing/2014/main" id="{7028E687-6DFD-C517-0724-65DCE4F8923B}"/>
                </a:ext>
              </a:extLst>
            </p:cNvPr>
            <p:cNvSpPr/>
            <p:nvPr userDrawn="1"/>
          </p:nvSpPr>
          <p:spPr bwMode="gray">
            <a:xfrm>
              <a:off x="607800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4" name="Rechteck 723">
              <a:extLst>
                <a:ext uri="{FF2B5EF4-FFF2-40B4-BE49-F238E27FC236}">
                  <a16:creationId xmlns:a16="http://schemas.microsoft.com/office/drawing/2014/main" id="{829BB8C1-21BA-5F19-FF06-64FEAD068817}"/>
                </a:ext>
              </a:extLst>
            </p:cNvPr>
            <p:cNvSpPr/>
            <p:nvPr userDrawn="1"/>
          </p:nvSpPr>
          <p:spPr bwMode="gray">
            <a:xfrm>
              <a:off x="550193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5" name="Rechteck 724">
              <a:extLst>
                <a:ext uri="{FF2B5EF4-FFF2-40B4-BE49-F238E27FC236}">
                  <a16:creationId xmlns:a16="http://schemas.microsoft.com/office/drawing/2014/main" id="{3577EFC8-DC90-F50D-14F5-24F07DE24029}"/>
                </a:ext>
              </a:extLst>
            </p:cNvPr>
            <p:cNvSpPr/>
            <p:nvPr userDrawn="1"/>
          </p:nvSpPr>
          <p:spPr bwMode="gray">
            <a:xfrm>
              <a:off x="492587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6" name="Rechteck 725">
              <a:extLst>
                <a:ext uri="{FF2B5EF4-FFF2-40B4-BE49-F238E27FC236}">
                  <a16:creationId xmlns:a16="http://schemas.microsoft.com/office/drawing/2014/main" id="{358FD019-C3E3-DA42-63FB-4343E790F581}"/>
                </a:ext>
              </a:extLst>
            </p:cNvPr>
            <p:cNvSpPr/>
            <p:nvPr userDrawn="1"/>
          </p:nvSpPr>
          <p:spPr bwMode="gray">
            <a:xfrm>
              <a:off x="434980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7" name="Rechteck 726">
              <a:extLst>
                <a:ext uri="{FF2B5EF4-FFF2-40B4-BE49-F238E27FC236}">
                  <a16:creationId xmlns:a16="http://schemas.microsoft.com/office/drawing/2014/main" id="{BCA8EB2F-8648-25DF-B826-B074853EF147}"/>
                </a:ext>
              </a:extLst>
            </p:cNvPr>
            <p:cNvSpPr/>
            <p:nvPr userDrawn="1"/>
          </p:nvSpPr>
          <p:spPr bwMode="gray">
            <a:xfrm>
              <a:off x="377374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8" name="Rechteck 727">
              <a:extLst>
                <a:ext uri="{FF2B5EF4-FFF2-40B4-BE49-F238E27FC236}">
                  <a16:creationId xmlns:a16="http://schemas.microsoft.com/office/drawing/2014/main" id="{F55ECAE0-0B1F-DFC9-6DCF-D956D4D2012A}"/>
                </a:ext>
              </a:extLst>
            </p:cNvPr>
            <p:cNvSpPr/>
            <p:nvPr userDrawn="1"/>
          </p:nvSpPr>
          <p:spPr bwMode="gray">
            <a:xfrm>
              <a:off x="319768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9" name="Rechteck 728">
              <a:extLst>
                <a:ext uri="{FF2B5EF4-FFF2-40B4-BE49-F238E27FC236}">
                  <a16:creationId xmlns:a16="http://schemas.microsoft.com/office/drawing/2014/main" id="{E26F383A-BA26-925F-1E24-61E905497545}"/>
                </a:ext>
              </a:extLst>
            </p:cNvPr>
            <p:cNvSpPr/>
            <p:nvPr userDrawn="1"/>
          </p:nvSpPr>
          <p:spPr bwMode="gray">
            <a:xfrm>
              <a:off x="262161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0" name="Rechteck 729">
              <a:extLst>
                <a:ext uri="{FF2B5EF4-FFF2-40B4-BE49-F238E27FC236}">
                  <a16:creationId xmlns:a16="http://schemas.microsoft.com/office/drawing/2014/main" id="{083CD46C-1B41-3271-9EEE-1F0A731DA8E3}"/>
                </a:ext>
              </a:extLst>
            </p:cNvPr>
            <p:cNvSpPr/>
            <p:nvPr userDrawn="1"/>
          </p:nvSpPr>
          <p:spPr bwMode="gray">
            <a:xfrm>
              <a:off x="204555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1" name="Rechteck 730">
              <a:extLst>
                <a:ext uri="{FF2B5EF4-FFF2-40B4-BE49-F238E27FC236}">
                  <a16:creationId xmlns:a16="http://schemas.microsoft.com/office/drawing/2014/main" id="{E9414595-80F7-1BDB-3ADC-E100F4A93F76}"/>
                </a:ext>
              </a:extLst>
            </p:cNvPr>
            <p:cNvSpPr/>
            <p:nvPr userDrawn="1"/>
          </p:nvSpPr>
          <p:spPr bwMode="gray">
            <a:xfrm>
              <a:off x="146948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2" name="Rechteck 731">
              <a:extLst>
                <a:ext uri="{FF2B5EF4-FFF2-40B4-BE49-F238E27FC236}">
                  <a16:creationId xmlns:a16="http://schemas.microsoft.com/office/drawing/2014/main" id="{168B0E0F-0F91-DA12-D6F7-67A77AB00293}"/>
                </a:ext>
              </a:extLst>
            </p:cNvPr>
            <p:cNvSpPr/>
            <p:nvPr userDrawn="1"/>
          </p:nvSpPr>
          <p:spPr bwMode="gray">
            <a:xfrm>
              <a:off x="89342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3" name="Rechteck 732">
              <a:extLst>
                <a:ext uri="{FF2B5EF4-FFF2-40B4-BE49-F238E27FC236}">
                  <a16:creationId xmlns:a16="http://schemas.microsoft.com/office/drawing/2014/main" id="{34C971AF-3A1F-27C9-D6E4-7FB1353EFD2C}"/>
                </a:ext>
              </a:extLst>
            </p:cNvPr>
            <p:cNvSpPr/>
            <p:nvPr userDrawn="1"/>
          </p:nvSpPr>
          <p:spPr bwMode="gray">
            <a:xfrm>
              <a:off x="31736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4" name="Rechteck 733">
              <a:extLst>
                <a:ext uri="{FF2B5EF4-FFF2-40B4-BE49-F238E27FC236}">
                  <a16:creationId xmlns:a16="http://schemas.microsoft.com/office/drawing/2014/main" id="{00301F45-A746-051A-DBDB-85D062599720}"/>
                </a:ext>
              </a:extLst>
            </p:cNvPr>
            <p:cNvSpPr/>
            <p:nvPr userDrawn="1"/>
          </p:nvSpPr>
          <p:spPr bwMode="gray">
            <a:xfrm>
              <a:off x="1126257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5" name="Rechteck 734">
              <a:extLst>
                <a:ext uri="{FF2B5EF4-FFF2-40B4-BE49-F238E27FC236}">
                  <a16:creationId xmlns:a16="http://schemas.microsoft.com/office/drawing/2014/main" id="{01B7F67A-81D0-E5B0-8332-7741C224E55D}"/>
                </a:ext>
              </a:extLst>
            </p:cNvPr>
            <p:cNvSpPr/>
            <p:nvPr userDrawn="1"/>
          </p:nvSpPr>
          <p:spPr bwMode="gray">
            <a:xfrm>
              <a:off x="1068651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6" name="Rechteck 735">
              <a:extLst>
                <a:ext uri="{FF2B5EF4-FFF2-40B4-BE49-F238E27FC236}">
                  <a16:creationId xmlns:a16="http://schemas.microsoft.com/office/drawing/2014/main" id="{73FB4EFC-DD94-855D-EA26-0E97E8956D55}"/>
                </a:ext>
              </a:extLst>
            </p:cNvPr>
            <p:cNvSpPr/>
            <p:nvPr userDrawn="1"/>
          </p:nvSpPr>
          <p:spPr bwMode="gray">
            <a:xfrm>
              <a:off x="1011044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7" name="Rechteck 736">
              <a:extLst>
                <a:ext uri="{FF2B5EF4-FFF2-40B4-BE49-F238E27FC236}">
                  <a16:creationId xmlns:a16="http://schemas.microsoft.com/office/drawing/2014/main" id="{9B4990C7-A470-DF64-E948-E0D76458C34E}"/>
                </a:ext>
              </a:extLst>
            </p:cNvPr>
            <p:cNvSpPr/>
            <p:nvPr userDrawn="1"/>
          </p:nvSpPr>
          <p:spPr bwMode="gray">
            <a:xfrm>
              <a:off x="953438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8" name="Rechteck 737">
              <a:extLst>
                <a:ext uri="{FF2B5EF4-FFF2-40B4-BE49-F238E27FC236}">
                  <a16:creationId xmlns:a16="http://schemas.microsoft.com/office/drawing/2014/main" id="{54A4701B-9077-80FA-90D7-D6DBBB1BB545}"/>
                </a:ext>
              </a:extLst>
            </p:cNvPr>
            <p:cNvSpPr/>
            <p:nvPr userDrawn="1"/>
          </p:nvSpPr>
          <p:spPr bwMode="gray">
            <a:xfrm>
              <a:off x="895832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9" name="Rechteck 738">
              <a:extLst>
                <a:ext uri="{FF2B5EF4-FFF2-40B4-BE49-F238E27FC236}">
                  <a16:creationId xmlns:a16="http://schemas.microsoft.com/office/drawing/2014/main" id="{0FB6A773-ADA3-3846-36BF-0B9EB6A7534F}"/>
                </a:ext>
              </a:extLst>
            </p:cNvPr>
            <p:cNvSpPr/>
            <p:nvPr userDrawn="1"/>
          </p:nvSpPr>
          <p:spPr bwMode="gray">
            <a:xfrm>
              <a:off x="838225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0" name="Rechteck 739">
              <a:extLst>
                <a:ext uri="{FF2B5EF4-FFF2-40B4-BE49-F238E27FC236}">
                  <a16:creationId xmlns:a16="http://schemas.microsoft.com/office/drawing/2014/main" id="{01EC8CC0-6EE0-B499-6AF4-8AC071A458AD}"/>
                </a:ext>
              </a:extLst>
            </p:cNvPr>
            <p:cNvSpPr/>
            <p:nvPr userDrawn="1"/>
          </p:nvSpPr>
          <p:spPr bwMode="gray">
            <a:xfrm>
              <a:off x="780619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1" name="Rechteck 740">
              <a:extLst>
                <a:ext uri="{FF2B5EF4-FFF2-40B4-BE49-F238E27FC236}">
                  <a16:creationId xmlns:a16="http://schemas.microsoft.com/office/drawing/2014/main" id="{329A7E24-1B66-EA57-1379-9B81449338BC}"/>
                </a:ext>
              </a:extLst>
            </p:cNvPr>
            <p:cNvSpPr/>
            <p:nvPr userDrawn="1"/>
          </p:nvSpPr>
          <p:spPr bwMode="gray">
            <a:xfrm>
              <a:off x="723012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2" name="Rechteck 741">
              <a:extLst>
                <a:ext uri="{FF2B5EF4-FFF2-40B4-BE49-F238E27FC236}">
                  <a16:creationId xmlns:a16="http://schemas.microsoft.com/office/drawing/2014/main" id="{A5F28040-6C26-122C-46F8-B9857498BE60}"/>
                </a:ext>
              </a:extLst>
            </p:cNvPr>
            <p:cNvSpPr/>
            <p:nvPr userDrawn="1"/>
          </p:nvSpPr>
          <p:spPr bwMode="gray">
            <a:xfrm>
              <a:off x="665406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3" name="Rechteck 742">
              <a:extLst>
                <a:ext uri="{FF2B5EF4-FFF2-40B4-BE49-F238E27FC236}">
                  <a16:creationId xmlns:a16="http://schemas.microsoft.com/office/drawing/2014/main" id="{84978782-96D6-753C-4462-F4208A4D5C98}"/>
                </a:ext>
              </a:extLst>
            </p:cNvPr>
            <p:cNvSpPr/>
            <p:nvPr userDrawn="1"/>
          </p:nvSpPr>
          <p:spPr bwMode="gray">
            <a:xfrm>
              <a:off x="607800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4" name="Rechteck 743">
              <a:extLst>
                <a:ext uri="{FF2B5EF4-FFF2-40B4-BE49-F238E27FC236}">
                  <a16:creationId xmlns:a16="http://schemas.microsoft.com/office/drawing/2014/main" id="{8196D607-49C1-DF0F-5005-AA70D061370E}"/>
                </a:ext>
              </a:extLst>
            </p:cNvPr>
            <p:cNvSpPr/>
            <p:nvPr userDrawn="1"/>
          </p:nvSpPr>
          <p:spPr bwMode="gray">
            <a:xfrm>
              <a:off x="550193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5" name="Rechteck 744">
              <a:extLst>
                <a:ext uri="{FF2B5EF4-FFF2-40B4-BE49-F238E27FC236}">
                  <a16:creationId xmlns:a16="http://schemas.microsoft.com/office/drawing/2014/main" id="{BED54895-E0DD-AE1C-A2D3-EF4D65F97295}"/>
                </a:ext>
              </a:extLst>
            </p:cNvPr>
            <p:cNvSpPr/>
            <p:nvPr userDrawn="1"/>
          </p:nvSpPr>
          <p:spPr bwMode="gray">
            <a:xfrm>
              <a:off x="492587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6" name="Rechteck 745">
              <a:extLst>
                <a:ext uri="{FF2B5EF4-FFF2-40B4-BE49-F238E27FC236}">
                  <a16:creationId xmlns:a16="http://schemas.microsoft.com/office/drawing/2014/main" id="{B7D7A7F7-192A-CB50-1D1C-63D518467619}"/>
                </a:ext>
              </a:extLst>
            </p:cNvPr>
            <p:cNvSpPr/>
            <p:nvPr userDrawn="1"/>
          </p:nvSpPr>
          <p:spPr bwMode="gray">
            <a:xfrm>
              <a:off x="434980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7" name="Rechteck 746">
              <a:extLst>
                <a:ext uri="{FF2B5EF4-FFF2-40B4-BE49-F238E27FC236}">
                  <a16:creationId xmlns:a16="http://schemas.microsoft.com/office/drawing/2014/main" id="{1B6C9F7B-51FB-5FD8-8B21-16A78579DDD2}"/>
                </a:ext>
              </a:extLst>
            </p:cNvPr>
            <p:cNvSpPr/>
            <p:nvPr userDrawn="1"/>
          </p:nvSpPr>
          <p:spPr bwMode="gray">
            <a:xfrm>
              <a:off x="377374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8" name="Rechteck 747">
              <a:extLst>
                <a:ext uri="{FF2B5EF4-FFF2-40B4-BE49-F238E27FC236}">
                  <a16:creationId xmlns:a16="http://schemas.microsoft.com/office/drawing/2014/main" id="{58C21DC8-B3AA-5896-470E-E9133E278DF6}"/>
                </a:ext>
              </a:extLst>
            </p:cNvPr>
            <p:cNvSpPr/>
            <p:nvPr userDrawn="1"/>
          </p:nvSpPr>
          <p:spPr bwMode="gray">
            <a:xfrm>
              <a:off x="319768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9" name="Rechteck 748">
              <a:extLst>
                <a:ext uri="{FF2B5EF4-FFF2-40B4-BE49-F238E27FC236}">
                  <a16:creationId xmlns:a16="http://schemas.microsoft.com/office/drawing/2014/main" id="{A2046887-6738-2ABD-48A3-C5B2C77D1F91}"/>
                </a:ext>
              </a:extLst>
            </p:cNvPr>
            <p:cNvSpPr/>
            <p:nvPr userDrawn="1"/>
          </p:nvSpPr>
          <p:spPr bwMode="gray">
            <a:xfrm>
              <a:off x="262161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0" name="Rechteck 749">
              <a:extLst>
                <a:ext uri="{FF2B5EF4-FFF2-40B4-BE49-F238E27FC236}">
                  <a16:creationId xmlns:a16="http://schemas.microsoft.com/office/drawing/2014/main" id="{2FC23CD3-852F-32F6-5A36-048091F962DD}"/>
                </a:ext>
              </a:extLst>
            </p:cNvPr>
            <p:cNvSpPr/>
            <p:nvPr userDrawn="1"/>
          </p:nvSpPr>
          <p:spPr bwMode="gray">
            <a:xfrm>
              <a:off x="204555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1" name="Rechteck 750">
              <a:extLst>
                <a:ext uri="{FF2B5EF4-FFF2-40B4-BE49-F238E27FC236}">
                  <a16:creationId xmlns:a16="http://schemas.microsoft.com/office/drawing/2014/main" id="{2ADC1ABD-0FF2-A8AF-4214-B190C9AFD925}"/>
                </a:ext>
              </a:extLst>
            </p:cNvPr>
            <p:cNvSpPr/>
            <p:nvPr userDrawn="1"/>
          </p:nvSpPr>
          <p:spPr bwMode="gray">
            <a:xfrm>
              <a:off x="146948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2" name="Rechteck 751">
              <a:extLst>
                <a:ext uri="{FF2B5EF4-FFF2-40B4-BE49-F238E27FC236}">
                  <a16:creationId xmlns:a16="http://schemas.microsoft.com/office/drawing/2014/main" id="{876C7295-7BC3-F559-9644-88BF2472BECD}"/>
                </a:ext>
              </a:extLst>
            </p:cNvPr>
            <p:cNvSpPr/>
            <p:nvPr userDrawn="1"/>
          </p:nvSpPr>
          <p:spPr bwMode="gray">
            <a:xfrm>
              <a:off x="89342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3" name="Rechteck 752">
              <a:extLst>
                <a:ext uri="{FF2B5EF4-FFF2-40B4-BE49-F238E27FC236}">
                  <a16:creationId xmlns:a16="http://schemas.microsoft.com/office/drawing/2014/main" id="{8D301BA7-88DF-0133-F5F3-FEB69701D3E6}"/>
                </a:ext>
              </a:extLst>
            </p:cNvPr>
            <p:cNvSpPr/>
            <p:nvPr userDrawn="1"/>
          </p:nvSpPr>
          <p:spPr bwMode="gray">
            <a:xfrm>
              <a:off x="31736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4" name="Rechteck 753">
              <a:extLst>
                <a:ext uri="{FF2B5EF4-FFF2-40B4-BE49-F238E27FC236}">
                  <a16:creationId xmlns:a16="http://schemas.microsoft.com/office/drawing/2014/main" id="{C03A0295-81A5-EB01-5CA0-A09F68F19784}"/>
                </a:ext>
              </a:extLst>
            </p:cNvPr>
            <p:cNvSpPr/>
            <p:nvPr userDrawn="1"/>
          </p:nvSpPr>
          <p:spPr bwMode="gray">
            <a:xfrm>
              <a:off x="1126257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5" name="Rechteck 754">
              <a:extLst>
                <a:ext uri="{FF2B5EF4-FFF2-40B4-BE49-F238E27FC236}">
                  <a16:creationId xmlns:a16="http://schemas.microsoft.com/office/drawing/2014/main" id="{32AEABEE-2E20-F4B9-4B41-341ADADF5682}"/>
                </a:ext>
              </a:extLst>
            </p:cNvPr>
            <p:cNvSpPr/>
            <p:nvPr userDrawn="1"/>
          </p:nvSpPr>
          <p:spPr bwMode="gray">
            <a:xfrm>
              <a:off x="1068651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6" name="Rechteck 755">
              <a:extLst>
                <a:ext uri="{FF2B5EF4-FFF2-40B4-BE49-F238E27FC236}">
                  <a16:creationId xmlns:a16="http://schemas.microsoft.com/office/drawing/2014/main" id="{4F30E8D3-12BA-D0E1-19B3-5F511E5E717B}"/>
                </a:ext>
              </a:extLst>
            </p:cNvPr>
            <p:cNvSpPr/>
            <p:nvPr userDrawn="1"/>
          </p:nvSpPr>
          <p:spPr bwMode="gray">
            <a:xfrm>
              <a:off x="1011044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7" name="Rechteck 756">
              <a:extLst>
                <a:ext uri="{FF2B5EF4-FFF2-40B4-BE49-F238E27FC236}">
                  <a16:creationId xmlns:a16="http://schemas.microsoft.com/office/drawing/2014/main" id="{36F57986-489F-3376-55EA-B3DFBB9A1658}"/>
                </a:ext>
              </a:extLst>
            </p:cNvPr>
            <p:cNvSpPr/>
            <p:nvPr userDrawn="1"/>
          </p:nvSpPr>
          <p:spPr bwMode="gray">
            <a:xfrm>
              <a:off x="953438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8" name="Rechteck 757">
              <a:extLst>
                <a:ext uri="{FF2B5EF4-FFF2-40B4-BE49-F238E27FC236}">
                  <a16:creationId xmlns:a16="http://schemas.microsoft.com/office/drawing/2014/main" id="{FF897E14-ED01-ED84-031B-FB4B09880FFD}"/>
                </a:ext>
              </a:extLst>
            </p:cNvPr>
            <p:cNvSpPr/>
            <p:nvPr userDrawn="1"/>
          </p:nvSpPr>
          <p:spPr bwMode="gray">
            <a:xfrm>
              <a:off x="895832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9" name="Rechteck 758">
              <a:extLst>
                <a:ext uri="{FF2B5EF4-FFF2-40B4-BE49-F238E27FC236}">
                  <a16:creationId xmlns:a16="http://schemas.microsoft.com/office/drawing/2014/main" id="{D36769E4-34B4-A6E7-D902-B1DAC0E85E51}"/>
                </a:ext>
              </a:extLst>
            </p:cNvPr>
            <p:cNvSpPr/>
            <p:nvPr userDrawn="1"/>
          </p:nvSpPr>
          <p:spPr bwMode="gray">
            <a:xfrm>
              <a:off x="838225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0" name="Rechteck 759">
              <a:extLst>
                <a:ext uri="{FF2B5EF4-FFF2-40B4-BE49-F238E27FC236}">
                  <a16:creationId xmlns:a16="http://schemas.microsoft.com/office/drawing/2014/main" id="{A5D481BB-3BAB-B6E9-834A-63CC7597374D}"/>
                </a:ext>
              </a:extLst>
            </p:cNvPr>
            <p:cNvSpPr/>
            <p:nvPr userDrawn="1"/>
          </p:nvSpPr>
          <p:spPr bwMode="gray">
            <a:xfrm>
              <a:off x="780619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1" name="Rechteck 760">
              <a:extLst>
                <a:ext uri="{FF2B5EF4-FFF2-40B4-BE49-F238E27FC236}">
                  <a16:creationId xmlns:a16="http://schemas.microsoft.com/office/drawing/2014/main" id="{E0C76091-875F-C3CB-EA96-1ACA4A747B8D}"/>
                </a:ext>
              </a:extLst>
            </p:cNvPr>
            <p:cNvSpPr/>
            <p:nvPr userDrawn="1"/>
          </p:nvSpPr>
          <p:spPr bwMode="gray">
            <a:xfrm>
              <a:off x="723012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2" name="Rechteck 761">
              <a:extLst>
                <a:ext uri="{FF2B5EF4-FFF2-40B4-BE49-F238E27FC236}">
                  <a16:creationId xmlns:a16="http://schemas.microsoft.com/office/drawing/2014/main" id="{E582FEA3-3BF7-9E35-CC8D-8677F4EF083E}"/>
                </a:ext>
              </a:extLst>
            </p:cNvPr>
            <p:cNvSpPr/>
            <p:nvPr userDrawn="1"/>
          </p:nvSpPr>
          <p:spPr bwMode="gray">
            <a:xfrm>
              <a:off x="665406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3" name="Rechteck 762">
              <a:extLst>
                <a:ext uri="{FF2B5EF4-FFF2-40B4-BE49-F238E27FC236}">
                  <a16:creationId xmlns:a16="http://schemas.microsoft.com/office/drawing/2014/main" id="{1A074261-E289-0B13-E247-503E79EE2934}"/>
                </a:ext>
              </a:extLst>
            </p:cNvPr>
            <p:cNvSpPr/>
            <p:nvPr userDrawn="1"/>
          </p:nvSpPr>
          <p:spPr bwMode="gray">
            <a:xfrm>
              <a:off x="607800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4" name="Rechteck 763">
              <a:extLst>
                <a:ext uri="{FF2B5EF4-FFF2-40B4-BE49-F238E27FC236}">
                  <a16:creationId xmlns:a16="http://schemas.microsoft.com/office/drawing/2014/main" id="{0EE25944-43D7-88D3-63F5-FB037A4852D9}"/>
                </a:ext>
              </a:extLst>
            </p:cNvPr>
            <p:cNvSpPr/>
            <p:nvPr userDrawn="1"/>
          </p:nvSpPr>
          <p:spPr bwMode="gray">
            <a:xfrm>
              <a:off x="550193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5" name="Rechteck 764">
              <a:extLst>
                <a:ext uri="{FF2B5EF4-FFF2-40B4-BE49-F238E27FC236}">
                  <a16:creationId xmlns:a16="http://schemas.microsoft.com/office/drawing/2014/main" id="{0647F3F3-1E6D-7430-B2A3-316943FA4A36}"/>
                </a:ext>
              </a:extLst>
            </p:cNvPr>
            <p:cNvSpPr/>
            <p:nvPr userDrawn="1"/>
          </p:nvSpPr>
          <p:spPr bwMode="gray">
            <a:xfrm>
              <a:off x="492587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6" name="Rechteck 765">
              <a:extLst>
                <a:ext uri="{FF2B5EF4-FFF2-40B4-BE49-F238E27FC236}">
                  <a16:creationId xmlns:a16="http://schemas.microsoft.com/office/drawing/2014/main" id="{E17FA1CE-FAF1-42BC-1746-3B95CD64065D}"/>
                </a:ext>
              </a:extLst>
            </p:cNvPr>
            <p:cNvSpPr/>
            <p:nvPr userDrawn="1"/>
          </p:nvSpPr>
          <p:spPr bwMode="gray">
            <a:xfrm>
              <a:off x="434980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7" name="Rechteck 766">
              <a:extLst>
                <a:ext uri="{FF2B5EF4-FFF2-40B4-BE49-F238E27FC236}">
                  <a16:creationId xmlns:a16="http://schemas.microsoft.com/office/drawing/2014/main" id="{75EDB93E-B3C4-6DCB-5C12-CC08C1B5FC2D}"/>
                </a:ext>
              </a:extLst>
            </p:cNvPr>
            <p:cNvSpPr/>
            <p:nvPr userDrawn="1"/>
          </p:nvSpPr>
          <p:spPr bwMode="gray">
            <a:xfrm>
              <a:off x="377374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8" name="Rechteck 767">
              <a:extLst>
                <a:ext uri="{FF2B5EF4-FFF2-40B4-BE49-F238E27FC236}">
                  <a16:creationId xmlns:a16="http://schemas.microsoft.com/office/drawing/2014/main" id="{7AB17AD0-9388-A3D7-62CD-F283155FA188}"/>
                </a:ext>
              </a:extLst>
            </p:cNvPr>
            <p:cNvSpPr/>
            <p:nvPr userDrawn="1"/>
          </p:nvSpPr>
          <p:spPr bwMode="gray">
            <a:xfrm>
              <a:off x="319768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9" name="Rechteck 768">
              <a:extLst>
                <a:ext uri="{FF2B5EF4-FFF2-40B4-BE49-F238E27FC236}">
                  <a16:creationId xmlns:a16="http://schemas.microsoft.com/office/drawing/2014/main" id="{D45898F7-F506-3FC4-C7DA-FDCDD6296B71}"/>
                </a:ext>
              </a:extLst>
            </p:cNvPr>
            <p:cNvSpPr/>
            <p:nvPr userDrawn="1"/>
          </p:nvSpPr>
          <p:spPr bwMode="gray">
            <a:xfrm>
              <a:off x="262161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0" name="Rechteck 769">
              <a:extLst>
                <a:ext uri="{FF2B5EF4-FFF2-40B4-BE49-F238E27FC236}">
                  <a16:creationId xmlns:a16="http://schemas.microsoft.com/office/drawing/2014/main" id="{B04633CD-270F-0F97-835B-8CF2162F42BD}"/>
                </a:ext>
              </a:extLst>
            </p:cNvPr>
            <p:cNvSpPr/>
            <p:nvPr userDrawn="1"/>
          </p:nvSpPr>
          <p:spPr bwMode="gray">
            <a:xfrm>
              <a:off x="204555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1" name="Rechteck 770">
              <a:extLst>
                <a:ext uri="{FF2B5EF4-FFF2-40B4-BE49-F238E27FC236}">
                  <a16:creationId xmlns:a16="http://schemas.microsoft.com/office/drawing/2014/main" id="{4B55E7EE-7AD1-C04C-259F-56CD8AD15F4D}"/>
                </a:ext>
              </a:extLst>
            </p:cNvPr>
            <p:cNvSpPr/>
            <p:nvPr userDrawn="1"/>
          </p:nvSpPr>
          <p:spPr bwMode="gray">
            <a:xfrm>
              <a:off x="146948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2" name="Rechteck 771">
              <a:extLst>
                <a:ext uri="{FF2B5EF4-FFF2-40B4-BE49-F238E27FC236}">
                  <a16:creationId xmlns:a16="http://schemas.microsoft.com/office/drawing/2014/main" id="{8BC8B5FC-CAEF-6700-7A38-9A8CADA20DED}"/>
                </a:ext>
              </a:extLst>
            </p:cNvPr>
            <p:cNvSpPr/>
            <p:nvPr userDrawn="1"/>
          </p:nvSpPr>
          <p:spPr bwMode="gray">
            <a:xfrm>
              <a:off x="89342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3" name="Rechteck 772">
              <a:extLst>
                <a:ext uri="{FF2B5EF4-FFF2-40B4-BE49-F238E27FC236}">
                  <a16:creationId xmlns:a16="http://schemas.microsoft.com/office/drawing/2014/main" id="{09128C4B-DFAF-6352-32D7-46553A6F51E2}"/>
                </a:ext>
              </a:extLst>
            </p:cNvPr>
            <p:cNvSpPr/>
            <p:nvPr userDrawn="1"/>
          </p:nvSpPr>
          <p:spPr bwMode="gray">
            <a:xfrm>
              <a:off x="31736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4" name="Rechteck 773">
              <a:extLst>
                <a:ext uri="{FF2B5EF4-FFF2-40B4-BE49-F238E27FC236}">
                  <a16:creationId xmlns:a16="http://schemas.microsoft.com/office/drawing/2014/main" id="{50A62D11-E173-46EC-B3E9-E8E1EF366C3C}"/>
                </a:ext>
              </a:extLst>
            </p:cNvPr>
            <p:cNvSpPr/>
            <p:nvPr userDrawn="1"/>
          </p:nvSpPr>
          <p:spPr bwMode="gray">
            <a:xfrm>
              <a:off x="1183864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5" name="Rechteck 774">
              <a:extLst>
                <a:ext uri="{FF2B5EF4-FFF2-40B4-BE49-F238E27FC236}">
                  <a16:creationId xmlns:a16="http://schemas.microsoft.com/office/drawing/2014/main" id="{C3650B50-9208-DBB1-A0DA-CDB3DEC20FD9}"/>
                </a:ext>
              </a:extLst>
            </p:cNvPr>
            <p:cNvSpPr/>
            <p:nvPr userDrawn="1"/>
          </p:nvSpPr>
          <p:spPr bwMode="gray">
            <a:xfrm>
              <a:off x="1183864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6" name="Rechteck 775">
              <a:extLst>
                <a:ext uri="{FF2B5EF4-FFF2-40B4-BE49-F238E27FC236}">
                  <a16:creationId xmlns:a16="http://schemas.microsoft.com/office/drawing/2014/main" id="{C08A26C0-6E12-8869-B3B4-10DFA572B79A}"/>
                </a:ext>
              </a:extLst>
            </p:cNvPr>
            <p:cNvSpPr/>
            <p:nvPr userDrawn="1"/>
          </p:nvSpPr>
          <p:spPr bwMode="gray">
            <a:xfrm>
              <a:off x="1183864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7" name="Rechteck 776">
              <a:extLst>
                <a:ext uri="{FF2B5EF4-FFF2-40B4-BE49-F238E27FC236}">
                  <a16:creationId xmlns:a16="http://schemas.microsoft.com/office/drawing/2014/main" id="{6E49D08E-546F-C138-6FD6-98AE4F4E7F22}"/>
                </a:ext>
              </a:extLst>
            </p:cNvPr>
            <p:cNvSpPr/>
            <p:nvPr userDrawn="1"/>
          </p:nvSpPr>
          <p:spPr bwMode="gray">
            <a:xfrm>
              <a:off x="1183864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8" name="Rechteck 777">
              <a:extLst>
                <a:ext uri="{FF2B5EF4-FFF2-40B4-BE49-F238E27FC236}">
                  <a16:creationId xmlns:a16="http://schemas.microsoft.com/office/drawing/2014/main" id="{29B46766-0DCE-BCB1-CD9E-1EA90F8A8F62}"/>
                </a:ext>
              </a:extLst>
            </p:cNvPr>
            <p:cNvSpPr/>
            <p:nvPr userDrawn="1"/>
          </p:nvSpPr>
          <p:spPr bwMode="gray">
            <a:xfrm>
              <a:off x="1183864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9" name="Rechteck 778">
              <a:extLst>
                <a:ext uri="{FF2B5EF4-FFF2-40B4-BE49-F238E27FC236}">
                  <a16:creationId xmlns:a16="http://schemas.microsoft.com/office/drawing/2014/main" id="{17531D5E-3100-35FA-6034-C40D7F913536}"/>
                </a:ext>
              </a:extLst>
            </p:cNvPr>
            <p:cNvSpPr/>
            <p:nvPr userDrawn="1"/>
          </p:nvSpPr>
          <p:spPr bwMode="gray">
            <a:xfrm>
              <a:off x="1183864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0" name="Rechteck 779">
              <a:extLst>
                <a:ext uri="{FF2B5EF4-FFF2-40B4-BE49-F238E27FC236}">
                  <a16:creationId xmlns:a16="http://schemas.microsoft.com/office/drawing/2014/main" id="{A262A629-40F9-B890-DB6C-2D705492B15B}"/>
                </a:ext>
              </a:extLst>
            </p:cNvPr>
            <p:cNvSpPr/>
            <p:nvPr userDrawn="1"/>
          </p:nvSpPr>
          <p:spPr bwMode="gray">
            <a:xfrm>
              <a:off x="1183864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1" name="Rechteck 780">
              <a:extLst>
                <a:ext uri="{FF2B5EF4-FFF2-40B4-BE49-F238E27FC236}">
                  <a16:creationId xmlns:a16="http://schemas.microsoft.com/office/drawing/2014/main" id="{ED7FB744-42A9-3ACD-681B-F874FC146D56}"/>
                </a:ext>
              </a:extLst>
            </p:cNvPr>
            <p:cNvSpPr/>
            <p:nvPr userDrawn="1"/>
          </p:nvSpPr>
          <p:spPr bwMode="gray">
            <a:xfrm>
              <a:off x="1183864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2" name="Rechteck 781">
              <a:extLst>
                <a:ext uri="{FF2B5EF4-FFF2-40B4-BE49-F238E27FC236}">
                  <a16:creationId xmlns:a16="http://schemas.microsoft.com/office/drawing/2014/main" id="{A9681D3B-5905-8DB2-8AE1-95FD6441503C}"/>
                </a:ext>
              </a:extLst>
            </p:cNvPr>
            <p:cNvSpPr/>
            <p:nvPr userDrawn="1"/>
          </p:nvSpPr>
          <p:spPr bwMode="gray">
            <a:xfrm>
              <a:off x="1183864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grpSp>
      <p:grpSp>
        <p:nvGrpSpPr>
          <p:cNvPr id="542" name="Gruppieren 541">
            <a:extLst>
              <a:ext uri="{FF2B5EF4-FFF2-40B4-BE49-F238E27FC236}">
                <a16:creationId xmlns:a16="http://schemas.microsoft.com/office/drawing/2014/main" id="{3592B50D-509E-E4AA-A003-A90C99398FA9}"/>
              </a:ext>
              <a:ext uri="{C183D7F6-B498-43B3-948B-1728B52AA6E4}">
                <adec:decorative xmlns:adec="http://schemas.microsoft.com/office/drawing/2017/decorative" val="1"/>
              </a:ext>
            </a:extLst>
          </p:cNvPr>
          <p:cNvGrpSpPr/>
          <p:nvPr userDrawn="1"/>
        </p:nvGrpSpPr>
        <p:grpSpPr>
          <a:xfrm>
            <a:off x="838831" y="2082829"/>
            <a:ext cx="2448000" cy="0"/>
            <a:chOff x="983432" y="2082829"/>
            <a:chExt cx="2448000" cy="0"/>
          </a:xfrm>
        </p:grpSpPr>
        <p:cxnSp>
          <p:nvCxnSpPr>
            <p:cNvPr id="543" name="Line">
              <a:extLst>
                <a:ext uri="{FF2B5EF4-FFF2-40B4-BE49-F238E27FC236}">
                  <a16:creationId xmlns:a16="http://schemas.microsoft.com/office/drawing/2014/main" id="{BEF690D7-6F61-5687-3188-36C22075CBE6}"/>
                </a:ext>
                <a:ext uri="{C183D7F6-B498-43B3-948B-1728B52AA6E4}">
                  <adec:decorative xmlns:adec="http://schemas.microsoft.com/office/drawing/2017/decorative" val="1"/>
                </a:ext>
              </a:extLst>
            </p:cNvPr>
            <p:cNvCxnSpPr>
              <a:cxnSpLocks/>
            </p:cNvCxnSpPr>
            <p:nvPr userDrawn="1"/>
          </p:nvCxnSpPr>
          <p:spPr bwMode="gray">
            <a:xfrm>
              <a:off x="983432" y="2082829"/>
              <a:ext cx="2448000" cy="0"/>
            </a:xfrm>
            <a:prstGeom prst="line">
              <a:avLst/>
            </a:prstGeom>
            <a:ln w="1047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44" name="Line">
              <a:extLst>
                <a:ext uri="{FF2B5EF4-FFF2-40B4-BE49-F238E27FC236}">
                  <a16:creationId xmlns:a16="http://schemas.microsoft.com/office/drawing/2014/main" id="{C664D753-0D17-647C-CBA4-0397F3FAFD6B}"/>
                </a:ext>
                <a:ext uri="{C183D7F6-B498-43B3-948B-1728B52AA6E4}">
                  <adec:decorative xmlns:adec="http://schemas.microsoft.com/office/drawing/2017/decorative" val="1"/>
                </a:ext>
              </a:extLst>
            </p:cNvPr>
            <p:cNvCxnSpPr>
              <a:cxnSpLocks/>
            </p:cNvCxnSpPr>
            <p:nvPr userDrawn="1"/>
          </p:nvCxnSpPr>
          <p:spPr bwMode="gray">
            <a:xfrm>
              <a:off x="1056000" y="2082829"/>
              <a:ext cx="2303696" cy="0"/>
            </a:xfrm>
            <a:prstGeom prst="line">
              <a:avLst/>
            </a:prstGeom>
            <a:ln w="38100">
              <a:solidFill>
                <a:srgbClr val="519FBC"/>
              </a:solidFill>
            </a:ln>
          </p:spPr>
          <p:style>
            <a:lnRef idx="1">
              <a:schemeClr val="accent1"/>
            </a:lnRef>
            <a:fillRef idx="0">
              <a:schemeClr val="accent1"/>
            </a:fillRef>
            <a:effectRef idx="0">
              <a:schemeClr val="accent1"/>
            </a:effectRef>
            <a:fontRef idx="minor">
              <a:schemeClr val="tx1"/>
            </a:fontRef>
          </p:style>
        </p:cxnSp>
      </p:grpSp>
      <p:sp>
        <p:nvSpPr>
          <p:cNvPr id="545" name="Shape">
            <a:extLst>
              <a:ext uri="{FF2B5EF4-FFF2-40B4-BE49-F238E27FC236}">
                <a16:creationId xmlns:a16="http://schemas.microsoft.com/office/drawing/2014/main" id="{0DC4677F-00D7-E020-7EC2-DE23D89AF6C3}"/>
              </a:ext>
              <a:ext uri="{C183D7F6-B498-43B3-948B-1728B52AA6E4}">
                <adec:decorative xmlns:adec="http://schemas.microsoft.com/office/drawing/2017/decorative" val="1"/>
              </a:ext>
            </a:extLst>
          </p:cNvPr>
          <p:cNvSpPr>
            <a:spLocks/>
          </p:cNvSpPr>
          <p:nvPr userDrawn="1"/>
        </p:nvSpPr>
        <p:spPr bwMode="gray">
          <a:xfrm>
            <a:off x="4367808" y="2061400"/>
            <a:ext cx="5775177" cy="3463099"/>
          </a:xfrm>
          <a:custGeom>
            <a:avLst/>
            <a:gdLst>
              <a:gd name="connsiteX0" fmla="*/ 0 w 8604027"/>
              <a:gd name="connsiteY0" fmla="*/ 857 h 5734812"/>
              <a:gd name="connsiteX1" fmla="*/ 8604028 w 8604027"/>
              <a:gd name="connsiteY1" fmla="*/ 0 h 5734812"/>
              <a:gd name="connsiteX2" fmla="*/ 7170039 w 8604027"/>
              <a:gd name="connsiteY2" fmla="*/ 4301966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02506 w 8604029"/>
              <a:gd name="connsiteY2" fmla="*/ 3984076 h 5734812"/>
              <a:gd name="connsiteX3" fmla="*/ 0 w 8604029"/>
              <a:gd name="connsiteY3" fmla="*/ 5734812 h 5734812"/>
              <a:gd name="connsiteX4" fmla="*/ 0 w 8604029"/>
              <a:gd name="connsiteY4" fmla="*/ 857 h 5734812"/>
              <a:gd name="connsiteX0" fmla="*/ 0 w 8604027"/>
              <a:gd name="connsiteY0" fmla="*/ 857 h 5734812"/>
              <a:gd name="connsiteX1" fmla="*/ 8604028 w 8604027"/>
              <a:gd name="connsiteY1" fmla="*/ 0 h 5734812"/>
              <a:gd name="connsiteX2" fmla="*/ 7046854 w 8604027"/>
              <a:gd name="connsiteY2" fmla="*/ 4091749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50550 w 8604029"/>
              <a:gd name="connsiteY2" fmla="*/ 4107130 h 5734812"/>
              <a:gd name="connsiteX3" fmla="*/ 0 w 8604029"/>
              <a:gd name="connsiteY3" fmla="*/ 5734812 h 5734812"/>
              <a:gd name="connsiteX4" fmla="*/ 0 w 8604029"/>
              <a:gd name="connsiteY4" fmla="*/ 857 h 5734812"/>
              <a:gd name="connsiteX0" fmla="*/ 0 w 8604028"/>
              <a:gd name="connsiteY0" fmla="*/ 857 h 5734812"/>
              <a:gd name="connsiteX1" fmla="*/ 8604028 w 8604028"/>
              <a:gd name="connsiteY1" fmla="*/ 0 h 5734812"/>
              <a:gd name="connsiteX2" fmla="*/ 6576335 w 8604028"/>
              <a:gd name="connsiteY2" fmla="*/ 3411651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98802 w 8604028"/>
              <a:gd name="connsiteY2" fmla="*/ 3812078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905914 w 8604028"/>
              <a:gd name="connsiteY2" fmla="*/ 3827884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70437 w 8604028"/>
              <a:gd name="connsiteY2" fmla="*/ 3745075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84628 w 8604028"/>
              <a:gd name="connsiteY2" fmla="*/ 3827883 h 5734812"/>
              <a:gd name="connsiteX3" fmla="*/ 0 w 8604028"/>
              <a:gd name="connsiteY3" fmla="*/ 5734812 h 5734812"/>
              <a:gd name="connsiteX4" fmla="*/ 0 w 8604028"/>
              <a:gd name="connsiteY4" fmla="*/ 857 h 5734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4028" h="5734812">
                <a:moveTo>
                  <a:pt x="0" y="857"/>
                </a:moveTo>
                <a:lnTo>
                  <a:pt x="8604028" y="0"/>
                </a:lnTo>
                <a:lnTo>
                  <a:pt x="6884628" y="3827883"/>
                </a:lnTo>
                <a:lnTo>
                  <a:pt x="0" y="5734812"/>
                </a:lnTo>
                <a:lnTo>
                  <a:pt x="0" y="857"/>
                </a:lnTo>
                <a:close/>
              </a:path>
            </a:pathLst>
          </a:custGeom>
          <a:solidFill>
            <a:schemeClr val="bg1"/>
          </a:solidFill>
          <a:ln w="76200" cap="flat">
            <a:solidFill>
              <a:schemeClr val="bg1"/>
            </a:solidFill>
            <a:prstDash val="solid"/>
            <a:miter/>
          </a:ln>
        </p:spPr>
        <p:txBody>
          <a:bodyPr rtlCol="0" anchor="ctr"/>
          <a:lstStyle/>
          <a:p>
            <a:endParaRPr lang="en-GB" dirty="0"/>
          </a:p>
        </p:txBody>
      </p:sp>
      <p:sp>
        <p:nvSpPr>
          <p:cNvPr id="546" name="Shape">
            <a:extLst>
              <a:ext uri="{FF2B5EF4-FFF2-40B4-BE49-F238E27FC236}">
                <a16:creationId xmlns:a16="http://schemas.microsoft.com/office/drawing/2014/main" id="{C74E1B5D-12AF-1CDC-D0F3-0E5760E76CDD}"/>
              </a:ext>
              <a:ext uri="{C183D7F6-B498-43B3-948B-1728B52AA6E4}">
                <adec:decorative xmlns:adec="http://schemas.microsoft.com/office/drawing/2017/decorative" val="1"/>
              </a:ext>
            </a:extLst>
          </p:cNvPr>
          <p:cNvSpPr>
            <a:spLocks/>
          </p:cNvSpPr>
          <p:nvPr userDrawn="1"/>
        </p:nvSpPr>
        <p:spPr bwMode="gray">
          <a:xfrm>
            <a:off x="4367808" y="2061400"/>
            <a:ext cx="5775177" cy="3463099"/>
          </a:xfrm>
          <a:custGeom>
            <a:avLst/>
            <a:gdLst>
              <a:gd name="connsiteX0" fmla="*/ 0 w 8604027"/>
              <a:gd name="connsiteY0" fmla="*/ 857 h 5734812"/>
              <a:gd name="connsiteX1" fmla="*/ 8604028 w 8604027"/>
              <a:gd name="connsiteY1" fmla="*/ 0 h 5734812"/>
              <a:gd name="connsiteX2" fmla="*/ 7170039 w 8604027"/>
              <a:gd name="connsiteY2" fmla="*/ 4301966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02506 w 8604029"/>
              <a:gd name="connsiteY2" fmla="*/ 3984076 h 5734812"/>
              <a:gd name="connsiteX3" fmla="*/ 0 w 8604029"/>
              <a:gd name="connsiteY3" fmla="*/ 5734812 h 5734812"/>
              <a:gd name="connsiteX4" fmla="*/ 0 w 8604029"/>
              <a:gd name="connsiteY4" fmla="*/ 857 h 5734812"/>
              <a:gd name="connsiteX0" fmla="*/ 0 w 8604027"/>
              <a:gd name="connsiteY0" fmla="*/ 857 h 5734812"/>
              <a:gd name="connsiteX1" fmla="*/ 8604028 w 8604027"/>
              <a:gd name="connsiteY1" fmla="*/ 0 h 5734812"/>
              <a:gd name="connsiteX2" fmla="*/ 7046854 w 8604027"/>
              <a:gd name="connsiteY2" fmla="*/ 4091749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50550 w 8604029"/>
              <a:gd name="connsiteY2" fmla="*/ 4107130 h 5734812"/>
              <a:gd name="connsiteX3" fmla="*/ 0 w 8604029"/>
              <a:gd name="connsiteY3" fmla="*/ 5734812 h 5734812"/>
              <a:gd name="connsiteX4" fmla="*/ 0 w 8604029"/>
              <a:gd name="connsiteY4" fmla="*/ 857 h 5734812"/>
              <a:gd name="connsiteX0" fmla="*/ 0 w 8604028"/>
              <a:gd name="connsiteY0" fmla="*/ 857 h 5734812"/>
              <a:gd name="connsiteX1" fmla="*/ 8604028 w 8604028"/>
              <a:gd name="connsiteY1" fmla="*/ 0 h 5734812"/>
              <a:gd name="connsiteX2" fmla="*/ 6576335 w 8604028"/>
              <a:gd name="connsiteY2" fmla="*/ 3411651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98802 w 8604028"/>
              <a:gd name="connsiteY2" fmla="*/ 3812078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905914 w 8604028"/>
              <a:gd name="connsiteY2" fmla="*/ 3827884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70437 w 8604028"/>
              <a:gd name="connsiteY2" fmla="*/ 3745075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84628 w 8604028"/>
              <a:gd name="connsiteY2" fmla="*/ 3827883 h 5734812"/>
              <a:gd name="connsiteX3" fmla="*/ 0 w 8604028"/>
              <a:gd name="connsiteY3" fmla="*/ 5734812 h 5734812"/>
              <a:gd name="connsiteX4" fmla="*/ 0 w 8604028"/>
              <a:gd name="connsiteY4" fmla="*/ 857 h 5734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4028" h="5734812">
                <a:moveTo>
                  <a:pt x="0" y="857"/>
                </a:moveTo>
                <a:lnTo>
                  <a:pt x="8604028" y="0"/>
                </a:lnTo>
                <a:lnTo>
                  <a:pt x="6884628" y="3827883"/>
                </a:lnTo>
                <a:lnTo>
                  <a:pt x="0" y="5734812"/>
                </a:lnTo>
                <a:lnTo>
                  <a:pt x="0" y="857"/>
                </a:lnTo>
                <a:close/>
              </a:path>
            </a:pathLst>
          </a:custGeom>
          <a:solidFill>
            <a:srgbClr val="519FBC"/>
          </a:solidFill>
          <a:ln w="9525" cap="flat">
            <a:noFill/>
            <a:prstDash val="solid"/>
            <a:miter/>
          </a:ln>
        </p:spPr>
        <p:txBody>
          <a:bodyPr rtlCol="0" anchor="ctr"/>
          <a:lstStyle/>
          <a:p>
            <a:endParaRPr lang="en-GB" dirty="0"/>
          </a:p>
        </p:txBody>
      </p:sp>
      <p:pic>
        <p:nvPicPr>
          <p:cNvPr id="547" name="Logo">
            <a:extLst>
              <a:ext uri="{FF2B5EF4-FFF2-40B4-BE49-F238E27FC236}">
                <a16:creationId xmlns:a16="http://schemas.microsoft.com/office/drawing/2014/main" id="{CCA92CE2-476A-5315-BD26-A67AB2EA0C6C}"/>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bwMode="gray">
          <a:xfrm>
            <a:off x="10128448" y="335757"/>
            <a:ext cx="1358180" cy="576000"/>
          </a:xfrm>
          <a:prstGeom prst="rect">
            <a:avLst/>
          </a:prstGeom>
        </p:spPr>
      </p:pic>
      <p:sp>
        <p:nvSpPr>
          <p:cNvPr id="548" name="Title">
            <a:extLst>
              <a:ext uri="{FF2B5EF4-FFF2-40B4-BE49-F238E27FC236}">
                <a16:creationId xmlns:a16="http://schemas.microsoft.com/office/drawing/2014/main" id="{79171480-CD40-D0DE-BBF6-E679E9CD8FC8}"/>
              </a:ext>
            </a:extLst>
          </p:cNvPr>
          <p:cNvSpPr>
            <a:spLocks noGrp="1"/>
          </p:cNvSpPr>
          <p:nvPr>
            <p:ph type="ctrTitle" hasCustomPrompt="1"/>
          </p:nvPr>
        </p:nvSpPr>
        <p:spPr bwMode="gray">
          <a:xfrm>
            <a:off x="4583809" y="2205400"/>
            <a:ext cx="4968575" cy="1367992"/>
          </a:xfrm>
          <a:prstGeom prst="rect">
            <a:avLst/>
          </a:prstGeom>
        </p:spPr>
        <p:txBody>
          <a:bodyPr vert="horz" tIns="54000" anchor="t">
            <a:noAutofit/>
          </a:bodyPr>
          <a:lstStyle>
            <a:lvl1pPr algn="l">
              <a:lnSpc>
                <a:spcPct val="90000"/>
              </a:lnSpc>
              <a:defRPr sz="3000" baseline="0">
                <a:solidFill>
                  <a:schemeClr val="tx1"/>
                </a:solidFill>
              </a:defRPr>
            </a:lvl1pPr>
          </a:lstStyle>
          <a:p>
            <a:r>
              <a:rPr lang="en-GB" dirty="0"/>
              <a:t>Insert your long title of presentation here in maximal three lines</a:t>
            </a:r>
          </a:p>
        </p:txBody>
      </p:sp>
      <p:sp>
        <p:nvSpPr>
          <p:cNvPr id="549" name="Subtitle 2">
            <a:extLst>
              <a:ext uri="{FF2B5EF4-FFF2-40B4-BE49-F238E27FC236}">
                <a16:creationId xmlns:a16="http://schemas.microsoft.com/office/drawing/2014/main" id="{FDF90E64-AD53-9879-700D-2BA43E45D10A}"/>
              </a:ext>
            </a:extLst>
          </p:cNvPr>
          <p:cNvSpPr>
            <a:spLocks noGrp="1"/>
          </p:cNvSpPr>
          <p:nvPr>
            <p:ph type="subTitle" idx="1" hasCustomPrompt="1"/>
          </p:nvPr>
        </p:nvSpPr>
        <p:spPr bwMode="gray">
          <a:xfrm>
            <a:off x="4583809" y="3789400"/>
            <a:ext cx="4392511" cy="1080000"/>
          </a:xfrm>
          <a:prstGeom prst="rect">
            <a:avLst/>
          </a:prstGeom>
        </p:spPr>
        <p:txBody>
          <a:bodyPr/>
          <a:lstStyle>
            <a:lvl1pPr marL="0" indent="0" algn="l">
              <a:lnSpc>
                <a:spcPct val="100000"/>
              </a:lnSpc>
              <a:spcBef>
                <a:spcPts val="0"/>
              </a:spcBef>
              <a:buNone/>
              <a:defRPr sz="2000" b="0">
                <a:solidFill>
                  <a:schemeClr val="tx1"/>
                </a:solidFill>
                <a:latin typeface="+mn-lt"/>
              </a:defRPr>
            </a:lvl1pPr>
            <a:lvl2pPr marL="0" indent="0" algn="l">
              <a:lnSpc>
                <a:spcPct val="100000"/>
              </a:lnSpc>
              <a:spcBef>
                <a:spcPts val="0"/>
              </a:spcBef>
              <a:buNone/>
              <a:defRPr sz="2000" b="0">
                <a:solidFill>
                  <a:schemeClr val="tx1"/>
                </a:solidFill>
                <a:latin typeface="+mn-lt"/>
              </a:defRPr>
            </a:lvl2pPr>
            <a:lvl3pPr marL="0" indent="0" algn="l">
              <a:lnSpc>
                <a:spcPct val="100000"/>
              </a:lnSpc>
              <a:spcBef>
                <a:spcPts val="0"/>
              </a:spcBef>
              <a:buNone/>
              <a:defRPr sz="2000" b="0">
                <a:solidFill>
                  <a:schemeClr val="tx1"/>
                </a:solidFill>
                <a:latin typeface="+mn-lt"/>
              </a:defRPr>
            </a:lvl3pPr>
            <a:lvl4pPr marL="0" indent="0" algn="l">
              <a:lnSpc>
                <a:spcPct val="100000"/>
              </a:lnSpc>
              <a:spcBef>
                <a:spcPts val="0"/>
              </a:spcBef>
              <a:buNone/>
              <a:defRPr sz="2000" b="0">
                <a:solidFill>
                  <a:schemeClr val="tx1"/>
                </a:solidFill>
                <a:latin typeface="+mn-lt"/>
              </a:defRPr>
            </a:lvl4pPr>
            <a:lvl5pPr marL="0" indent="0" algn="l">
              <a:lnSpc>
                <a:spcPct val="100000"/>
              </a:lnSpc>
              <a:spcBef>
                <a:spcPts val="0"/>
              </a:spcBef>
              <a:buNone/>
              <a:defRPr sz="2000" b="0">
                <a:solidFill>
                  <a:schemeClr val="tx1"/>
                </a:solidFill>
                <a:latin typeface="+mn-lt"/>
              </a:defRPr>
            </a:lvl5pPr>
            <a:lvl6pPr marL="0" indent="0" algn="l">
              <a:lnSpc>
                <a:spcPct val="100000"/>
              </a:lnSpc>
              <a:spcBef>
                <a:spcPts val="0"/>
              </a:spcBef>
              <a:buNone/>
              <a:defRPr sz="2000" b="0">
                <a:solidFill>
                  <a:schemeClr val="tx1"/>
                </a:solidFill>
                <a:latin typeface="+mn-lt"/>
              </a:defRPr>
            </a:lvl6pPr>
            <a:lvl7pPr marL="0" indent="0" algn="l">
              <a:lnSpc>
                <a:spcPct val="100000"/>
              </a:lnSpc>
              <a:spcBef>
                <a:spcPts val="0"/>
              </a:spcBef>
              <a:buNone/>
              <a:defRPr sz="2000" b="0">
                <a:solidFill>
                  <a:schemeClr val="tx1"/>
                </a:solidFill>
                <a:latin typeface="+mn-lt"/>
              </a:defRPr>
            </a:lvl7pPr>
            <a:lvl8pPr marL="0" indent="0" algn="l">
              <a:lnSpc>
                <a:spcPct val="100000"/>
              </a:lnSpc>
              <a:spcBef>
                <a:spcPts val="0"/>
              </a:spcBef>
              <a:buNone/>
              <a:defRPr sz="2000" b="0">
                <a:solidFill>
                  <a:schemeClr val="tx1"/>
                </a:solidFill>
                <a:latin typeface="+mn-lt"/>
              </a:defRPr>
            </a:lvl8pPr>
            <a:lvl9pPr marL="0" indent="0" algn="l">
              <a:lnSpc>
                <a:spcPct val="100000"/>
              </a:lnSpc>
              <a:spcBef>
                <a:spcPts val="0"/>
              </a:spcBef>
              <a:buNone/>
              <a:defRPr sz="2000" b="0">
                <a:solidFill>
                  <a:schemeClr val="tx1"/>
                </a:solidFill>
                <a:latin typeface="+mn-lt"/>
              </a:defRPr>
            </a:lvl9pPr>
          </a:lstStyle>
          <a:p>
            <a:r>
              <a:rPr lang="en-GB" dirty="0"/>
              <a:t>Insert here your subtitle</a:t>
            </a:r>
          </a:p>
        </p:txBody>
      </p:sp>
      <p:sp>
        <p:nvSpPr>
          <p:cNvPr id="550" name="Author">
            <a:extLst>
              <a:ext uri="{FF2B5EF4-FFF2-40B4-BE49-F238E27FC236}">
                <a16:creationId xmlns:a16="http://schemas.microsoft.com/office/drawing/2014/main" id="{AAEB8FFD-E1C9-7577-99D0-32A5D5D6FB7E}"/>
              </a:ext>
            </a:extLst>
          </p:cNvPr>
          <p:cNvSpPr>
            <a:spLocks noGrp="1"/>
          </p:cNvSpPr>
          <p:nvPr>
            <p:ph type="body" sz="quarter" idx="14" hasCustomPrompt="1"/>
          </p:nvPr>
        </p:nvSpPr>
        <p:spPr bwMode="gray">
          <a:xfrm>
            <a:off x="695400" y="2277400"/>
            <a:ext cx="2807728" cy="216000"/>
          </a:xfrm>
          <a:prstGeom prst="rect">
            <a:avLst/>
          </a:prstGeom>
          <a:solidFill>
            <a:schemeClr val="bg1"/>
          </a:solidFill>
          <a:ln w="127">
            <a:solidFill>
              <a:schemeClr val="bg1"/>
            </a:solidFill>
          </a:ln>
        </p:spPr>
        <p:txBody>
          <a:bodyPr wrap="square" lIns="216000" rIns="216000"/>
          <a:lstStyle>
            <a:lvl1pPr marL="0" indent="0">
              <a:lnSpc>
                <a:spcPct val="100000"/>
              </a:lnSpc>
              <a:spcBef>
                <a:spcPts val="0"/>
              </a:spcBef>
              <a:buFont typeface="Arial" panose="020B0604020202020204" pitchFamily="34" charset="0"/>
              <a:buNone/>
              <a:defRPr sz="1200" b="0">
                <a:latin typeface="+mj-lt"/>
              </a:defRPr>
            </a:lvl1pPr>
            <a:lvl2pPr marL="0" indent="0">
              <a:lnSpc>
                <a:spcPct val="100000"/>
              </a:lnSpc>
              <a:spcBef>
                <a:spcPts val="0"/>
              </a:spcBef>
              <a:buFont typeface="Arial" panose="020B0604020202020204" pitchFamily="34" charset="0"/>
              <a:buNone/>
              <a:defRPr sz="1200" b="0">
                <a:latin typeface="+mj-lt"/>
              </a:defRPr>
            </a:lvl2pPr>
            <a:lvl3pPr marL="0" indent="0">
              <a:lnSpc>
                <a:spcPct val="100000"/>
              </a:lnSpc>
              <a:spcBef>
                <a:spcPts val="0"/>
              </a:spcBef>
              <a:buFont typeface="Arial" panose="020B0604020202020204" pitchFamily="34" charset="0"/>
              <a:buNone/>
              <a:defRPr sz="1200" b="0">
                <a:latin typeface="+mj-lt"/>
              </a:defRPr>
            </a:lvl3pPr>
            <a:lvl4pPr marL="0" indent="0">
              <a:lnSpc>
                <a:spcPct val="100000"/>
              </a:lnSpc>
              <a:spcBef>
                <a:spcPts val="0"/>
              </a:spcBef>
              <a:buFont typeface="Arial" panose="020B0604020202020204" pitchFamily="34" charset="0"/>
              <a:buNone/>
              <a:defRPr sz="1200" b="0">
                <a:latin typeface="+mj-lt"/>
              </a:defRPr>
            </a:lvl4pPr>
            <a:lvl5pPr marL="0" indent="0">
              <a:lnSpc>
                <a:spcPct val="100000"/>
              </a:lnSpc>
              <a:spcBef>
                <a:spcPts val="0"/>
              </a:spcBef>
              <a:buFont typeface="Arial" panose="020B0604020202020204" pitchFamily="34" charset="0"/>
              <a:buNone/>
              <a:defRPr sz="1200" b="0">
                <a:latin typeface="+mj-lt"/>
              </a:defRPr>
            </a:lvl5pPr>
            <a:lvl6pPr marL="0" indent="0">
              <a:lnSpc>
                <a:spcPct val="100000"/>
              </a:lnSpc>
              <a:spcBef>
                <a:spcPts val="0"/>
              </a:spcBef>
              <a:buNone/>
              <a:defRPr sz="1200" b="0">
                <a:latin typeface="+mj-lt"/>
              </a:defRPr>
            </a:lvl6pPr>
            <a:lvl7pPr marL="0" indent="0">
              <a:lnSpc>
                <a:spcPct val="100000"/>
              </a:lnSpc>
              <a:spcBef>
                <a:spcPts val="0"/>
              </a:spcBef>
              <a:buNone/>
              <a:defRPr sz="1200" b="0">
                <a:latin typeface="+mj-lt"/>
              </a:defRPr>
            </a:lvl7pPr>
            <a:lvl8pPr marL="0" indent="0">
              <a:lnSpc>
                <a:spcPct val="100000"/>
              </a:lnSpc>
              <a:spcBef>
                <a:spcPts val="0"/>
              </a:spcBef>
              <a:buNone/>
              <a:defRPr sz="1200" b="0">
                <a:latin typeface="+mj-lt"/>
              </a:defRPr>
            </a:lvl8pPr>
            <a:lvl9pPr marL="0" indent="0">
              <a:lnSpc>
                <a:spcPct val="100000"/>
              </a:lnSpc>
              <a:spcBef>
                <a:spcPts val="0"/>
              </a:spcBef>
              <a:buNone/>
              <a:defRPr sz="1200" b="0">
                <a:latin typeface="+mj-lt"/>
              </a:defRPr>
            </a:lvl9pPr>
          </a:lstStyle>
          <a:p>
            <a:pPr lvl="0"/>
            <a:r>
              <a:rPr lang="en-GB" dirty="0"/>
              <a:t>First name Last name</a:t>
            </a:r>
          </a:p>
        </p:txBody>
      </p:sp>
      <p:sp>
        <p:nvSpPr>
          <p:cNvPr id="551" name="Department, Date">
            <a:extLst>
              <a:ext uri="{FF2B5EF4-FFF2-40B4-BE49-F238E27FC236}">
                <a16:creationId xmlns:a16="http://schemas.microsoft.com/office/drawing/2014/main" id="{B60B98D9-581C-5303-CCE6-F11CB97EDA8C}"/>
              </a:ext>
            </a:extLst>
          </p:cNvPr>
          <p:cNvSpPr>
            <a:spLocks noGrp="1"/>
          </p:cNvSpPr>
          <p:nvPr>
            <p:ph type="body" sz="quarter" idx="15" hasCustomPrompt="1"/>
          </p:nvPr>
        </p:nvSpPr>
        <p:spPr bwMode="gray">
          <a:xfrm>
            <a:off x="695400" y="2493400"/>
            <a:ext cx="2807728" cy="1007608"/>
          </a:xfrm>
          <a:prstGeom prst="rect">
            <a:avLst/>
          </a:prstGeom>
          <a:solidFill>
            <a:schemeClr val="bg1"/>
          </a:solidFill>
          <a:ln w="127">
            <a:solidFill>
              <a:schemeClr val="bg1"/>
            </a:solidFill>
          </a:ln>
        </p:spPr>
        <p:txBody>
          <a:bodyPr wrap="square" lIns="216000" rIns="216000"/>
          <a:lstStyle>
            <a:lvl1pPr marL="0" indent="0">
              <a:lnSpc>
                <a:spcPct val="100000"/>
              </a:lnSpc>
              <a:spcBef>
                <a:spcPts val="0"/>
              </a:spcBef>
              <a:buFont typeface="Arial" panose="020B0604020202020204" pitchFamily="34" charset="0"/>
              <a:buNone/>
              <a:defRPr sz="1200" i="1">
                <a:latin typeface="+mn-lt"/>
              </a:defRPr>
            </a:lvl1pPr>
            <a:lvl2pPr marL="0" indent="0">
              <a:lnSpc>
                <a:spcPct val="100000"/>
              </a:lnSpc>
              <a:spcBef>
                <a:spcPts val="0"/>
              </a:spcBef>
              <a:buFont typeface="Arial" panose="020B0604020202020204" pitchFamily="34" charset="0"/>
              <a:buNone/>
              <a:defRPr sz="1200" i="1">
                <a:latin typeface="+mn-lt"/>
              </a:defRPr>
            </a:lvl2pPr>
            <a:lvl3pPr marL="0" indent="0">
              <a:lnSpc>
                <a:spcPct val="100000"/>
              </a:lnSpc>
              <a:spcBef>
                <a:spcPts val="0"/>
              </a:spcBef>
              <a:buFont typeface="Arial" panose="020B0604020202020204" pitchFamily="34" charset="0"/>
              <a:buNone/>
              <a:defRPr sz="1200" i="1">
                <a:latin typeface="+mn-lt"/>
              </a:defRPr>
            </a:lvl3pPr>
            <a:lvl4pPr marL="0" indent="0">
              <a:lnSpc>
                <a:spcPct val="100000"/>
              </a:lnSpc>
              <a:spcBef>
                <a:spcPts val="0"/>
              </a:spcBef>
              <a:buFont typeface="Arial" panose="020B0604020202020204" pitchFamily="34" charset="0"/>
              <a:buNone/>
              <a:defRPr sz="1200" i="1">
                <a:latin typeface="+mn-lt"/>
              </a:defRPr>
            </a:lvl4pPr>
            <a:lvl5pPr marL="0" indent="0">
              <a:lnSpc>
                <a:spcPct val="100000"/>
              </a:lnSpc>
              <a:spcBef>
                <a:spcPts val="0"/>
              </a:spcBef>
              <a:buFont typeface="Arial" panose="020B0604020202020204" pitchFamily="34" charset="0"/>
              <a:buNone/>
              <a:defRPr sz="1200" i="1">
                <a:latin typeface="+mn-lt"/>
              </a:defRPr>
            </a:lvl5pPr>
            <a:lvl6pPr marL="0" indent="0">
              <a:lnSpc>
                <a:spcPct val="100000"/>
              </a:lnSpc>
              <a:spcBef>
                <a:spcPts val="0"/>
              </a:spcBef>
              <a:buNone/>
              <a:defRPr sz="1200" i="1">
                <a:latin typeface="+mn-lt"/>
              </a:defRPr>
            </a:lvl6pPr>
            <a:lvl7pPr marL="0" indent="0">
              <a:lnSpc>
                <a:spcPct val="100000"/>
              </a:lnSpc>
              <a:spcBef>
                <a:spcPts val="0"/>
              </a:spcBef>
              <a:buNone/>
              <a:defRPr sz="1200" i="1">
                <a:latin typeface="+mn-lt"/>
              </a:defRPr>
            </a:lvl7pPr>
            <a:lvl8pPr marL="0" indent="0">
              <a:lnSpc>
                <a:spcPct val="100000"/>
              </a:lnSpc>
              <a:spcBef>
                <a:spcPts val="0"/>
              </a:spcBef>
              <a:buNone/>
              <a:defRPr sz="1200" i="1">
                <a:latin typeface="+mn-lt"/>
              </a:defRPr>
            </a:lvl8pPr>
            <a:lvl9pPr marL="0" indent="0">
              <a:lnSpc>
                <a:spcPct val="100000"/>
              </a:lnSpc>
              <a:spcBef>
                <a:spcPts val="0"/>
              </a:spcBef>
              <a:buNone/>
              <a:defRPr sz="1200" i="1">
                <a:latin typeface="+mn-lt"/>
              </a:defRPr>
            </a:lvl9pPr>
          </a:lstStyle>
          <a:p>
            <a:pPr lvl="0"/>
            <a:r>
              <a:rPr lang="en-GB" dirty="0"/>
              <a:t>Department</a:t>
            </a:r>
            <a:br>
              <a:rPr lang="en-GB" dirty="0"/>
            </a:br>
            <a:r>
              <a:rPr lang="en-GB" dirty="0"/>
              <a:t>DD/MM/YYYY</a:t>
            </a:r>
          </a:p>
        </p:txBody>
      </p:sp>
    </p:spTree>
    <p:extLst>
      <p:ext uri="{BB962C8B-B14F-4D97-AF65-F5344CB8AC3E}">
        <p14:creationId xmlns:p14="http://schemas.microsoft.com/office/powerpoint/2010/main" val="2227898079"/>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p:bg>
      <p:bgRef idx="1001">
        <a:schemeClr val="bg1"/>
      </p:bgRef>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6F4E996-AD7C-D166-F251-57A76841E928}"/>
              </a:ext>
            </a:extLst>
          </p:cNvPr>
          <p:cNvGraphicFramePr>
            <a:graphicFrameLocks noChangeAspect="1"/>
          </p:cNvGraphicFramePr>
          <p:nvPr userDrawn="1">
            <p:custDataLst>
              <p:tags r:id="rId1"/>
            </p:custDataLst>
            <p:extLst>
              <p:ext uri="{D42A27DB-BD31-4B8C-83A1-F6EECF244321}">
                <p14:modId xmlns:p14="http://schemas.microsoft.com/office/powerpoint/2010/main" val="329944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5" name="Objekt 4" hidden="1">
                        <a:extLst>
                          <a:ext uri="{FF2B5EF4-FFF2-40B4-BE49-F238E27FC236}">
                            <a16:creationId xmlns:a16="http://schemas.microsoft.com/office/drawing/2014/main" id="{76F4E996-AD7C-D166-F251-57A76841E9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91" name="Gruppieren 590">
            <a:extLst>
              <a:ext uri="{FF2B5EF4-FFF2-40B4-BE49-F238E27FC236}">
                <a16:creationId xmlns:a16="http://schemas.microsoft.com/office/drawing/2014/main" id="{FACBA9D5-1540-F873-38ED-3512958DAA50}"/>
              </a:ext>
            </a:extLst>
          </p:cNvPr>
          <p:cNvGrpSpPr/>
          <p:nvPr userDrawn="1"/>
        </p:nvGrpSpPr>
        <p:grpSpPr>
          <a:xfrm>
            <a:off x="317360" y="1484784"/>
            <a:ext cx="11539280" cy="4626512"/>
            <a:chOff x="317360" y="1484784"/>
            <a:chExt cx="11539280" cy="4626512"/>
          </a:xfrm>
        </p:grpSpPr>
        <p:sp>
          <p:nvSpPr>
            <p:cNvPr id="592" name="Rechteck 591">
              <a:extLst>
                <a:ext uri="{FF2B5EF4-FFF2-40B4-BE49-F238E27FC236}">
                  <a16:creationId xmlns:a16="http://schemas.microsoft.com/office/drawing/2014/main" id="{2E1ED19F-B3F1-1A20-768D-6DB78CC2D360}"/>
                </a:ext>
              </a:extLst>
            </p:cNvPr>
            <p:cNvSpPr/>
            <p:nvPr userDrawn="1"/>
          </p:nvSpPr>
          <p:spPr bwMode="gray">
            <a:xfrm>
              <a:off x="1126257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3" name="Rechteck 592">
              <a:extLst>
                <a:ext uri="{FF2B5EF4-FFF2-40B4-BE49-F238E27FC236}">
                  <a16:creationId xmlns:a16="http://schemas.microsoft.com/office/drawing/2014/main" id="{7F7ABCD6-5572-1F3B-A997-78BA9D7DC437}"/>
                </a:ext>
              </a:extLst>
            </p:cNvPr>
            <p:cNvSpPr/>
            <p:nvPr userDrawn="1"/>
          </p:nvSpPr>
          <p:spPr bwMode="gray">
            <a:xfrm>
              <a:off x="1068651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4" name="Rechteck 593">
              <a:extLst>
                <a:ext uri="{FF2B5EF4-FFF2-40B4-BE49-F238E27FC236}">
                  <a16:creationId xmlns:a16="http://schemas.microsoft.com/office/drawing/2014/main" id="{9C309A33-735B-AB0E-55A2-EA1758D8C131}"/>
                </a:ext>
              </a:extLst>
            </p:cNvPr>
            <p:cNvSpPr/>
            <p:nvPr userDrawn="1"/>
          </p:nvSpPr>
          <p:spPr bwMode="gray">
            <a:xfrm>
              <a:off x="1011044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5" name="Rechteck 594">
              <a:extLst>
                <a:ext uri="{FF2B5EF4-FFF2-40B4-BE49-F238E27FC236}">
                  <a16:creationId xmlns:a16="http://schemas.microsoft.com/office/drawing/2014/main" id="{5B819136-222B-F8EB-0AF2-6A13FC0276A8}"/>
                </a:ext>
              </a:extLst>
            </p:cNvPr>
            <p:cNvSpPr/>
            <p:nvPr userDrawn="1"/>
          </p:nvSpPr>
          <p:spPr bwMode="gray">
            <a:xfrm>
              <a:off x="953438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6" name="Rechteck 595">
              <a:extLst>
                <a:ext uri="{FF2B5EF4-FFF2-40B4-BE49-F238E27FC236}">
                  <a16:creationId xmlns:a16="http://schemas.microsoft.com/office/drawing/2014/main" id="{ADD98442-98C6-C56D-A7BD-D8DF4396F904}"/>
                </a:ext>
              </a:extLst>
            </p:cNvPr>
            <p:cNvSpPr/>
            <p:nvPr userDrawn="1"/>
          </p:nvSpPr>
          <p:spPr bwMode="gray">
            <a:xfrm>
              <a:off x="895832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7" name="Rechteck 596">
              <a:extLst>
                <a:ext uri="{FF2B5EF4-FFF2-40B4-BE49-F238E27FC236}">
                  <a16:creationId xmlns:a16="http://schemas.microsoft.com/office/drawing/2014/main" id="{0987B1E6-01F7-AD4D-6E41-1FEE6AEC6514}"/>
                </a:ext>
              </a:extLst>
            </p:cNvPr>
            <p:cNvSpPr/>
            <p:nvPr userDrawn="1"/>
          </p:nvSpPr>
          <p:spPr bwMode="gray">
            <a:xfrm>
              <a:off x="838225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8" name="Rechteck 597">
              <a:extLst>
                <a:ext uri="{FF2B5EF4-FFF2-40B4-BE49-F238E27FC236}">
                  <a16:creationId xmlns:a16="http://schemas.microsoft.com/office/drawing/2014/main" id="{08E359C9-29E3-9D73-6E72-FA86841809E7}"/>
                </a:ext>
              </a:extLst>
            </p:cNvPr>
            <p:cNvSpPr/>
            <p:nvPr userDrawn="1"/>
          </p:nvSpPr>
          <p:spPr bwMode="gray">
            <a:xfrm>
              <a:off x="780619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9" name="Rechteck 598">
              <a:extLst>
                <a:ext uri="{FF2B5EF4-FFF2-40B4-BE49-F238E27FC236}">
                  <a16:creationId xmlns:a16="http://schemas.microsoft.com/office/drawing/2014/main" id="{A77CA805-16C2-4003-EDD6-AB58D2F41C2A}"/>
                </a:ext>
              </a:extLst>
            </p:cNvPr>
            <p:cNvSpPr/>
            <p:nvPr userDrawn="1"/>
          </p:nvSpPr>
          <p:spPr bwMode="gray">
            <a:xfrm>
              <a:off x="723012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0" name="Rechteck 599">
              <a:extLst>
                <a:ext uri="{FF2B5EF4-FFF2-40B4-BE49-F238E27FC236}">
                  <a16:creationId xmlns:a16="http://schemas.microsoft.com/office/drawing/2014/main" id="{93BDF181-AF4A-E003-C73F-8B330A1A28E7}"/>
                </a:ext>
              </a:extLst>
            </p:cNvPr>
            <p:cNvSpPr/>
            <p:nvPr userDrawn="1"/>
          </p:nvSpPr>
          <p:spPr bwMode="gray">
            <a:xfrm>
              <a:off x="665406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1" name="Rechteck 600">
              <a:extLst>
                <a:ext uri="{FF2B5EF4-FFF2-40B4-BE49-F238E27FC236}">
                  <a16:creationId xmlns:a16="http://schemas.microsoft.com/office/drawing/2014/main" id="{F3C9E833-8472-A741-61B6-43F8DF655EA4}"/>
                </a:ext>
              </a:extLst>
            </p:cNvPr>
            <p:cNvSpPr/>
            <p:nvPr userDrawn="1"/>
          </p:nvSpPr>
          <p:spPr bwMode="gray">
            <a:xfrm>
              <a:off x="607800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2" name="Rechteck 601">
              <a:extLst>
                <a:ext uri="{FF2B5EF4-FFF2-40B4-BE49-F238E27FC236}">
                  <a16:creationId xmlns:a16="http://schemas.microsoft.com/office/drawing/2014/main" id="{92B10999-5154-CC4D-BDF2-8429999232E1}"/>
                </a:ext>
              </a:extLst>
            </p:cNvPr>
            <p:cNvSpPr/>
            <p:nvPr userDrawn="1"/>
          </p:nvSpPr>
          <p:spPr bwMode="gray">
            <a:xfrm>
              <a:off x="550193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3" name="Rechteck 602">
              <a:extLst>
                <a:ext uri="{FF2B5EF4-FFF2-40B4-BE49-F238E27FC236}">
                  <a16:creationId xmlns:a16="http://schemas.microsoft.com/office/drawing/2014/main" id="{7039CC67-5135-306B-D4B3-D91185BCA7F6}"/>
                </a:ext>
              </a:extLst>
            </p:cNvPr>
            <p:cNvSpPr/>
            <p:nvPr userDrawn="1"/>
          </p:nvSpPr>
          <p:spPr bwMode="gray">
            <a:xfrm>
              <a:off x="492587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4" name="Rechteck 603">
              <a:extLst>
                <a:ext uri="{FF2B5EF4-FFF2-40B4-BE49-F238E27FC236}">
                  <a16:creationId xmlns:a16="http://schemas.microsoft.com/office/drawing/2014/main" id="{64239335-6054-C2ED-12FF-11DBF3A68A09}"/>
                </a:ext>
              </a:extLst>
            </p:cNvPr>
            <p:cNvSpPr/>
            <p:nvPr userDrawn="1"/>
          </p:nvSpPr>
          <p:spPr bwMode="gray">
            <a:xfrm>
              <a:off x="434980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5" name="Rechteck 604">
              <a:extLst>
                <a:ext uri="{FF2B5EF4-FFF2-40B4-BE49-F238E27FC236}">
                  <a16:creationId xmlns:a16="http://schemas.microsoft.com/office/drawing/2014/main" id="{FCB026E4-44FD-97BF-96E0-CBD26DF06224}"/>
                </a:ext>
              </a:extLst>
            </p:cNvPr>
            <p:cNvSpPr/>
            <p:nvPr userDrawn="1"/>
          </p:nvSpPr>
          <p:spPr bwMode="gray">
            <a:xfrm>
              <a:off x="377374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6" name="Rechteck 605">
              <a:extLst>
                <a:ext uri="{FF2B5EF4-FFF2-40B4-BE49-F238E27FC236}">
                  <a16:creationId xmlns:a16="http://schemas.microsoft.com/office/drawing/2014/main" id="{82EAC336-99B6-BF24-7BF4-99B54EF6491E}"/>
                </a:ext>
              </a:extLst>
            </p:cNvPr>
            <p:cNvSpPr/>
            <p:nvPr userDrawn="1"/>
          </p:nvSpPr>
          <p:spPr bwMode="gray">
            <a:xfrm>
              <a:off x="319768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7" name="Rechteck 606">
              <a:extLst>
                <a:ext uri="{FF2B5EF4-FFF2-40B4-BE49-F238E27FC236}">
                  <a16:creationId xmlns:a16="http://schemas.microsoft.com/office/drawing/2014/main" id="{5B15A62A-C76A-AF35-8E90-72E133A3A600}"/>
                </a:ext>
              </a:extLst>
            </p:cNvPr>
            <p:cNvSpPr/>
            <p:nvPr userDrawn="1"/>
          </p:nvSpPr>
          <p:spPr bwMode="gray">
            <a:xfrm>
              <a:off x="262161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8" name="Rechteck 607">
              <a:extLst>
                <a:ext uri="{FF2B5EF4-FFF2-40B4-BE49-F238E27FC236}">
                  <a16:creationId xmlns:a16="http://schemas.microsoft.com/office/drawing/2014/main" id="{D619B0CF-EC18-2383-F9CF-54108C4DE0CE}"/>
                </a:ext>
              </a:extLst>
            </p:cNvPr>
            <p:cNvSpPr/>
            <p:nvPr userDrawn="1"/>
          </p:nvSpPr>
          <p:spPr bwMode="gray">
            <a:xfrm>
              <a:off x="204555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9" name="Rechteck 608">
              <a:extLst>
                <a:ext uri="{FF2B5EF4-FFF2-40B4-BE49-F238E27FC236}">
                  <a16:creationId xmlns:a16="http://schemas.microsoft.com/office/drawing/2014/main" id="{580EA520-845B-C5A7-101F-D2F3FA1A1C80}"/>
                </a:ext>
              </a:extLst>
            </p:cNvPr>
            <p:cNvSpPr/>
            <p:nvPr userDrawn="1"/>
          </p:nvSpPr>
          <p:spPr bwMode="gray">
            <a:xfrm>
              <a:off x="146948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0" name="Rechteck 609">
              <a:extLst>
                <a:ext uri="{FF2B5EF4-FFF2-40B4-BE49-F238E27FC236}">
                  <a16:creationId xmlns:a16="http://schemas.microsoft.com/office/drawing/2014/main" id="{8E4ABB68-C30D-D096-4BD9-3BE9A34B884C}"/>
                </a:ext>
              </a:extLst>
            </p:cNvPr>
            <p:cNvSpPr/>
            <p:nvPr userDrawn="1"/>
          </p:nvSpPr>
          <p:spPr bwMode="gray">
            <a:xfrm>
              <a:off x="89342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1" name="Rechteck 610">
              <a:extLst>
                <a:ext uri="{FF2B5EF4-FFF2-40B4-BE49-F238E27FC236}">
                  <a16:creationId xmlns:a16="http://schemas.microsoft.com/office/drawing/2014/main" id="{E290AA4C-070A-C0A5-37C5-82BADFE3D362}"/>
                </a:ext>
              </a:extLst>
            </p:cNvPr>
            <p:cNvSpPr/>
            <p:nvPr userDrawn="1"/>
          </p:nvSpPr>
          <p:spPr bwMode="gray">
            <a:xfrm>
              <a:off x="31736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2" name="Rechteck 611">
              <a:extLst>
                <a:ext uri="{FF2B5EF4-FFF2-40B4-BE49-F238E27FC236}">
                  <a16:creationId xmlns:a16="http://schemas.microsoft.com/office/drawing/2014/main" id="{04946F20-14CD-09DF-A7E1-B8DFDB863ED1}"/>
                </a:ext>
              </a:extLst>
            </p:cNvPr>
            <p:cNvSpPr/>
            <p:nvPr userDrawn="1"/>
          </p:nvSpPr>
          <p:spPr bwMode="gray">
            <a:xfrm>
              <a:off x="1126257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3" name="Rechteck 612">
              <a:extLst>
                <a:ext uri="{FF2B5EF4-FFF2-40B4-BE49-F238E27FC236}">
                  <a16:creationId xmlns:a16="http://schemas.microsoft.com/office/drawing/2014/main" id="{6ED37962-D773-48CD-D041-4ADFA2974B9F}"/>
                </a:ext>
              </a:extLst>
            </p:cNvPr>
            <p:cNvSpPr/>
            <p:nvPr userDrawn="1"/>
          </p:nvSpPr>
          <p:spPr bwMode="gray">
            <a:xfrm>
              <a:off x="1068651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4" name="Rechteck 613">
              <a:extLst>
                <a:ext uri="{FF2B5EF4-FFF2-40B4-BE49-F238E27FC236}">
                  <a16:creationId xmlns:a16="http://schemas.microsoft.com/office/drawing/2014/main" id="{BB0C6AB8-AA94-0001-6BEC-972FC3765087}"/>
                </a:ext>
              </a:extLst>
            </p:cNvPr>
            <p:cNvSpPr/>
            <p:nvPr userDrawn="1"/>
          </p:nvSpPr>
          <p:spPr bwMode="gray">
            <a:xfrm>
              <a:off x="1011044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5" name="Rechteck 614">
              <a:extLst>
                <a:ext uri="{FF2B5EF4-FFF2-40B4-BE49-F238E27FC236}">
                  <a16:creationId xmlns:a16="http://schemas.microsoft.com/office/drawing/2014/main" id="{BDFF7C5A-A74B-8ED3-4D14-5FD8D11A3A81}"/>
                </a:ext>
              </a:extLst>
            </p:cNvPr>
            <p:cNvSpPr/>
            <p:nvPr userDrawn="1"/>
          </p:nvSpPr>
          <p:spPr bwMode="gray">
            <a:xfrm>
              <a:off x="953438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6" name="Rechteck 615">
              <a:extLst>
                <a:ext uri="{FF2B5EF4-FFF2-40B4-BE49-F238E27FC236}">
                  <a16:creationId xmlns:a16="http://schemas.microsoft.com/office/drawing/2014/main" id="{688C8EB8-0EE0-A8FC-403A-6DD9875C003F}"/>
                </a:ext>
              </a:extLst>
            </p:cNvPr>
            <p:cNvSpPr/>
            <p:nvPr userDrawn="1"/>
          </p:nvSpPr>
          <p:spPr bwMode="gray">
            <a:xfrm>
              <a:off x="895832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7" name="Rechteck 616">
              <a:extLst>
                <a:ext uri="{FF2B5EF4-FFF2-40B4-BE49-F238E27FC236}">
                  <a16:creationId xmlns:a16="http://schemas.microsoft.com/office/drawing/2014/main" id="{C9FD5FA7-032D-C419-BB89-AEEC69461598}"/>
                </a:ext>
              </a:extLst>
            </p:cNvPr>
            <p:cNvSpPr/>
            <p:nvPr userDrawn="1"/>
          </p:nvSpPr>
          <p:spPr bwMode="gray">
            <a:xfrm>
              <a:off x="838225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8" name="Rechteck 617">
              <a:extLst>
                <a:ext uri="{FF2B5EF4-FFF2-40B4-BE49-F238E27FC236}">
                  <a16:creationId xmlns:a16="http://schemas.microsoft.com/office/drawing/2014/main" id="{E8C0AAE1-1429-7015-9620-6A48A25F0F68}"/>
                </a:ext>
              </a:extLst>
            </p:cNvPr>
            <p:cNvSpPr/>
            <p:nvPr userDrawn="1"/>
          </p:nvSpPr>
          <p:spPr bwMode="gray">
            <a:xfrm>
              <a:off x="780619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9" name="Rechteck 618">
              <a:extLst>
                <a:ext uri="{FF2B5EF4-FFF2-40B4-BE49-F238E27FC236}">
                  <a16:creationId xmlns:a16="http://schemas.microsoft.com/office/drawing/2014/main" id="{C823B77E-82FD-3412-30AA-FB7AFA74E2AF}"/>
                </a:ext>
              </a:extLst>
            </p:cNvPr>
            <p:cNvSpPr/>
            <p:nvPr userDrawn="1"/>
          </p:nvSpPr>
          <p:spPr bwMode="gray">
            <a:xfrm>
              <a:off x="723012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0" name="Rechteck 619">
              <a:extLst>
                <a:ext uri="{FF2B5EF4-FFF2-40B4-BE49-F238E27FC236}">
                  <a16:creationId xmlns:a16="http://schemas.microsoft.com/office/drawing/2014/main" id="{8F0C8139-DD19-9109-C28C-3CB87CF8C1E2}"/>
                </a:ext>
              </a:extLst>
            </p:cNvPr>
            <p:cNvSpPr/>
            <p:nvPr userDrawn="1"/>
          </p:nvSpPr>
          <p:spPr bwMode="gray">
            <a:xfrm>
              <a:off x="665406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1" name="Rechteck 620">
              <a:extLst>
                <a:ext uri="{FF2B5EF4-FFF2-40B4-BE49-F238E27FC236}">
                  <a16:creationId xmlns:a16="http://schemas.microsoft.com/office/drawing/2014/main" id="{AD06EB72-0EEE-D69A-03A3-00BA9ACC9AAF}"/>
                </a:ext>
              </a:extLst>
            </p:cNvPr>
            <p:cNvSpPr/>
            <p:nvPr userDrawn="1"/>
          </p:nvSpPr>
          <p:spPr bwMode="gray">
            <a:xfrm>
              <a:off x="607800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2" name="Rechteck 621">
              <a:extLst>
                <a:ext uri="{FF2B5EF4-FFF2-40B4-BE49-F238E27FC236}">
                  <a16:creationId xmlns:a16="http://schemas.microsoft.com/office/drawing/2014/main" id="{CE672AD2-0157-086E-0272-CD40C269A166}"/>
                </a:ext>
              </a:extLst>
            </p:cNvPr>
            <p:cNvSpPr/>
            <p:nvPr userDrawn="1"/>
          </p:nvSpPr>
          <p:spPr bwMode="gray">
            <a:xfrm>
              <a:off x="550193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3" name="Rechteck 622">
              <a:extLst>
                <a:ext uri="{FF2B5EF4-FFF2-40B4-BE49-F238E27FC236}">
                  <a16:creationId xmlns:a16="http://schemas.microsoft.com/office/drawing/2014/main" id="{F40EB4DA-B427-B7AF-A5FC-5C857713E726}"/>
                </a:ext>
              </a:extLst>
            </p:cNvPr>
            <p:cNvSpPr/>
            <p:nvPr userDrawn="1"/>
          </p:nvSpPr>
          <p:spPr bwMode="gray">
            <a:xfrm>
              <a:off x="492587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4" name="Rechteck 623">
              <a:extLst>
                <a:ext uri="{FF2B5EF4-FFF2-40B4-BE49-F238E27FC236}">
                  <a16:creationId xmlns:a16="http://schemas.microsoft.com/office/drawing/2014/main" id="{319C3881-D709-5F10-12C3-E6060F1AC026}"/>
                </a:ext>
              </a:extLst>
            </p:cNvPr>
            <p:cNvSpPr/>
            <p:nvPr userDrawn="1"/>
          </p:nvSpPr>
          <p:spPr bwMode="gray">
            <a:xfrm>
              <a:off x="434980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5" name="Rechteck 624">
              <a:extLst>
                <a:ext uri="{FF2B5EF4-FFF2-40B4-BE49-F238E27FC236}">
                  <a16:creationId xmlns:a16="http://schemas.microsoft.com/office/drawing/2014/main" id="{B241A9E7-8C93-E479-DD72-E2D9A4A0628E}"/>
                </a:ext>
              </a:extLst>
            </p:cNvPr>
            <p:cNvSpPr/>
            <p:nvPr userDrawn="1"/>
          </p:nvSpPr>
          <p:spPr bwMode="gray">
            <a:xfrm>
              <a:off x="377374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6" name="Rechteck 625">
              <a:extLst>
                <a:ext uri="{FF2B5EF4-FFF2-40B4-BE49-F238E27FC236}">
                  <a16:creationId xmlns:a16="http://schemas.microsoft.com/office/drawing/2014/main" id="{4F44DF65-6AB4-97A6-0F3D-D4E17EAEC045}"/>
                </a:ext>
              </a:extLst>
            </p:cNvPr>
            <p:cNvSpPr/>
            <p:nvPr userDrawn="1"/>
          </p:nvSpPr>
          <p:spPr bwMode="gray">
            <a:xfrm>
              <a:off x="319768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7" name="Rechteck 626">
              <a:extLst>
                <a:ext uri="{FF2B5EF4-FFF2-40B4-BE49-F238E27FC236}">
                  <a16:creationId xmlns:a16="http://schemas.microsoft.com/office/drawing/2014/main" id="{F6C1F254-8D99-D06D-C312-B8CF0317246F}"/>
                </a:ext>
              </a:extLst>
            </p:cNvPr>
            <p:cNvSpPr/>
            <p:nvPr userDrawn="1"/>
          </p:nvSpPr>
          <p:spPr bwMode="gray">
            <a:xfrm>
              <a:off x="262161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8" name="Rechteck 627">
              <a:extLst>
                <a:ext uri="{FF2B5EF4-FFF2-40B4-BE49-F238E27FC236}">
                  <a16:creationId xmlns:a16="http://schemas.microsoft.com/office/drawing/2014/main" id="{406323E0-E3AD-07F7-DB46-A55D5B21B2EA}"/>
                </a:ext>
              </a:extLst>
            </p:cNvPr>
            <p:cNvSpPr/>
            <p:nvPr userDrawn="1"/>
          </p:nvSpPr>
          <p:spPr bwMode="gray">
            <a:xfrm>
              <a:off x="204555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9" name="Rechteck 628">
              <a:extLst>
                <a:ext uri="{FF2B5EF4-FFF2-40B4-BE49-F238E27FC236}">
                  <a16:creationId xmlns:a16="http://schemas.microsoft.com/office/drawing/2014/main" id="{F126D5DD-D73F-1E0E-DF6A-E9981CA9B0C7}"/>
                </a:ext>
              </a:extLst>
            </p:cNvPr>
            <p:cNvSpPr/>
            <p:nvPr userDrawn="1"/>
          </p:nvSpPr>
          <p:spPr bwMode="gray">
            <a:xfrm>
              <a:off x="146948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0" name="Rechteck 629">
              <a:extLst>
                <a:ext uri="{FF2B5EF4-FFF2-40B4-BE49-F238E27FC236}">
                  <a16:creationId xmlns:a16="http://schemas.microsoft.com/office/drawing/2014/main" id="{94DAD37B-5F53-17E4-D121-FEE1C0D6CF90}"/>
                </a:ext>
              </a:extLst>
            </p:cNvPr>
            <p:cNvSpPr/>
            <p:nvPr userDrawn="1"/>
          </p:nvSpPr>
          <p:spPr bwMode="gray">
            <a:xfrm>
              <a:off x="89342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1" name="Rechteck 630">
              <a:extLst>
                <a:ext uri="{FF2B5EF4-FFF2-40B4-BE49-F238E27FC236}">
                  <a16:creationId xmlns:a16="http://schemas.microsoft.com/office/drawing/2014/main" id="{06A4145E-3BCE-29B4-3F3E-7A38662BDFF1}"/>
                </a:ext>
              </a:extLst>
            </p:cNvPr>
            <p:cNvSpPr/>
            <p:nvPr userDrawn="1"/>
          </p:nvSpPr>
          <p:spPr bwMode="gray">
            <a:xfrm>
              <a:off x="31736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2" name="Rechteck 631">
              <a:extLst>
                <a:ext uri="{FF2B5EF4-FFF2-40B4-BE49-F238E27FC236}">
                  <a16:creationId xmlns:a16="http://schemas.microsoft.com/office/drawing/2014/main" id="{78795E9A-4F66-79DC-C97B-DF241031A736}"/>
                </a:ext>
              </a:extLst>
            </p:cNvPr>
            <p:cNvSpPr/>
            <p:nvPr userDrawn="1"/>
          </p:nvSpPr>
          <p:spPr bwMode="gray">
            <a:xfrm>
              <a:off x="1126257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3" name="Rechteck 632">
              <a:extLst>
                <a:ext uri="{FF2B5EF4-FFF2-40B4-BE49-F238E27FC236}">
                  <a16:creationId xmlns:a16="http://schemas.microsoft.com/office/drawing/2014/main" id="{B349D443-80F9-40B5-C8D7-F8989B179CFD}"/>
                </a:ext>
              </a:extLst>
            </p:cNvPr>
            <p:cNvSpPr/>
            <p:nvPr userDrawn="1"/>
          </p:nvSpPr>
          <p:spPr bwMode="gray">
            <a:xfrm>
              <a:off x="1068651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4" name="Rechteck 633">
              <a:extLst>
                <a:ext uri="{FF2B5EF4-FFF2-40B4-BE49-F238E27FC236}">
                  <a16:creationId xmlns:a16="http://schemas.microsoft.com/office/drawing/2014/main" id="{5AB10EEB-1538-C8F8-8329-09BE65288BD4}"/>
                </a:ext>
              </a:extLst>
            </p:cNvPr>
            <p:cNvSpPr/>
            <p:nvPr userDrawn="1"/>
          </p:nvSpPr>
          <p:spPr bwMode="gray">
            <a:xfrm>
              <a:off x="1011044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5" name="Rechteck 634">
              <a:extLst>
                <a:ext uri="{FF2B5EF4-FFF2-40B4-BE49-F238E27FC236}">
                  <a16:creationId xmlns:a16="http://schemas.microsoft.com/office/drawing/2014/main" id="{DA6FE7E3-8B15-08AB-22FD-D40093E25F28}"/>
                </a:ext>
              </a:extLst>
            </p:cNvPr>
            <p:cNvSpPr/>
            <p:nvPr userDrawn="1"/>
          </p:nvSpPr>
          <p:spPr bwMode="gray">
            <a:xfrm>
              <a:off x="953438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6" name="Rechteck 635">
              <a:extLst>
                <a:ext uri="{FF2B5EF4-FFF2-40B4-BE49-F238E27FC236}">
                  <a16:creationId xmlns:a16="http://schemas.microsoft.com/office/drawing/2014/main" id="{CEBE05B8-F223-2CBE-D3CF-C02C1A998E97}"/>
                </a:ext>
              </a:extLst>
            </p:cNvPr>
            <p:cNvSpPr/>
            <p:nvPr userDrawn="1"/>
          </p:nvSpPr>
          <p:spPr bwMode="gray">
            <a:xfrm>
              <a:off x="895832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7" name="Rechteck 636">
              <a:extLst>
                <a:ext uri="{FF2B5EF4-FFF2-40B4-BE49-F238E27FC236}">
                  <a16:creationId xmlns:a16="http://schemas.microsoft.com/office/drawing/2014/main" id="{DE3A48B7-CD82-EDE8-BA59-5273DE58613B}"/>
                </a:ext>
              </a:extLst>
            </p:cNvPr>
            <p:cNvSpPr/>
            <p:nvPr userDrawn="1"/>
          </p:nvSpPr>
          <p:spPr bwMode="gray">
            <a:xfrm>
              <a:off x="838225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8" name="Rechteck 637">
              <a:extLst>
                <a:ext uri="{FF2B5EF4-FFF2-40B4-BE49-F238E27FC236}">
                  <a16:creationId xmlns:a16="http://schemas.microsoft.com/office/drawing/2014/main" id="{7EA87F7C-4C44-D7E3-5A08-567E89C618AA}"/>
                </a:ext>
              </a:extLst>
            </p:cNvPr>
            <p:cNvSpPr/>
            <p:nvPr userDrawn="1"/>
          </p:nvSpPr>
          <p:spPr bwMode="gray">
            <a:xfrm>
              <a:off x="780619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9" name="Rechteck 638">
              <a:extLst>
                <a:ext uri="{FF2B5EF4-FFF2-40B4-BE49-F238E27FC236}">
                  <a16:creationId xmlns:a16="http://schemas.microsoft.com/office/drawing/2014/main" id="{74DC90CF-0146-867D-5CF6-E0F8904892CA}"/>
                </a:ext>
              </a:extLst>
            </p:cNvPr>
            <p:cNvSpPr/>
            <p:nvPr userDrawn="1"/>
          </p:nvSpPr>
          <p:spPr bwMode="gray">
            <a:xfrm>
              <a:off x="723012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0" name="Rechteck 639">
              <a:extLst>
                <a:ext uri="{FF2B5EF4-FFF2-40B4-BE49-F238E27FC236}">
                  <a16:creationId xmlns:a16="http://schemas.microsoft.com/office/drawing/2014/main" id="{AAB3DF34-CAB0-CA8C-92EF-86167524C638}"/>
                </a:ext>
              </a:extLst>
            </p:cNvPr>
            <p:cNvSpPr/>
            <p:nvPr userDrawn="1"/>
          </p:nvSpPr>
          <p:spPr bwMode="gray">
            <a:xfrm>
              <a:off x="665406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1" name="Rechteck 640">
              <a:extLst>
                <a:ext uri="{FF2B5EF4-FFF2-40B4-BE49-F238E27FC236}">
                  <a16:creationId xmlns:a16="http://schemas.microsoft.com/office/drawing/2014/main" id="{D282B6C7-ABC8-DE34-E122-A62BFEB7EFE4}"/>
                </a:ext>
              </a:extLst>
            </p:cNvPr>
            <p:cNvSpPr/>
            <p:nvPr userDrawn="1"/>
          </p:nvSpPr>
          <p:spPr bwMode="gray">
            <a:xfrm>
              <a:off x="607800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2" name="Rechteck 641">
              <a:extLst>
                <a:ext uri="{FF2B5EF4-FFF2-40B4-BE49-F238E27FC236}">
                  <a16:creationId xmlns:a16="http://schemas.microsoft.com/office/drawing/2014/main" id="{DF673169-DD3E-1930-83D4-98B65D70D1AA}"/>
                </a:ext>
              </a:extLst>
            </p:cNvPr>
            <p:cNvSpPr/>
            <p:nvPr userDrawn="1"/>
          </p:nvSpPr>
          <p:spPr bwMode="gray">
            <a:xfrm>
              <a:off x="550193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3" name="Rechteck 642">
              <a:extLst>
                <a:ext uri="{FF2B5EF4-FFF2-40B4-BE49-F238E27FC236}">
                  <a16:creationId xmlns:a16="http://schemas.microsoft.com/office/drawing/2014/main" id="{CD4B2529-D2AD-9890-40C6-4DB50B8AB49D}"/>
                </a:ext>
              </a:extLst>
            </p:cNvPr>
            <p:cNvSpPr/>
            <p:nvPr userDrawn="1"/>
          </p:nvSpPr>
          <p:spPr bwMode="gray">
            <a:xfrm>
              <a:off x="492587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4" name="Rechteck 643">
              <a:extLst>
                <a:ext uri="{FF2B5EF4-FFF2-40B4-BE49-F238E27FC236}">
                  <a16:creationId xmlns:a16="http://schemas.microsoft.com/office/drawing/2014/main" id="{D2DB2F91-68CA-35B5-BCB0-862E97A4FBEA}"/>
                </a:ext>
              </a:extLst>
            </p:cNvPr>
            <p:cNvSpPr/>
            <p:nvPr userDrawn="1"/>
          </p:nvSpPr>
          <p:spPr bwMode="gray">
            <a:xfrm>
              <a:off x="434980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5" name="Rechteck 644">
              <a:extLst>
                <a:ext uri="{FF2B5EF4-FFF2-40B4-BE49-F238E27FC236}">
                  <a16:creationId xmlns:a16="http://schemas.microsoft.com/office/drawing/2014/main" id="{D91B7D99-97DD-6A57-4B38-1EEB823AC6FF}"/>
                </a:ext>
              </a:extLst>
            </p:cNvPr>
            <p:cNvSpPr/>
            <p:nvPr userDrawn="1"/>
          </p:nvSpPr>
          <p:spPr bwMode="gray">
            <a:xfrm>
              <a:off x="377374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6" name="Rechteck 645">
              <a:extLst>
                <a:ext uri="{FF2B5EF4-FFF2-40B4-BE49-F238E27FC236}">
                  <a16:creationId xmlns:a16="http://schemas.microsoft.com/office/drawing/2014/main" id="{984E0E49-AF2B-1D4B-A154-659A10B7C15F}"/>
                </a:ext>
              </a:extLst>
            </p:cNvPr>
            <p:cNvSpPr/>
            <p:nvPr userDrawn="1"/>
          </p:nvSpPr>
          <p:spPr bwMode="gray">
            <a:xfrm>
              <a:off x="319768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7" name="Rechteck 646">
              <a:extLst>
                <a:ext uri="{FF2B5EF4-FFF2-40B4-BE49-F238E27FC236}">
                  <a16:creationId xmlns:a16="http://schemas.microsoft.com/office/drawing/2014/main" id="{7C8420AE-B1C4-1129-0619-253B1A02EACE}"/>
                </a:ext>
              </a:extLst>
            </p:cNvPr>
            <p:cNvSpPr/>
            <p:nvPr userDrawn="1"/>
          </p:nvSpPr>
          <p:spPr bwMode="gray">
            <a:xfrm>
              <a:off x="262161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8" name="Rechteck 647">
              <a:extLst>
                <a:ext uri="{FF2B5EF4-FFF2-40B4-BE49-F238E27FC236}">
                  <a16:creationId xmlns:a16="http://schemas.microsoft.com/office/drawing/2014/main" id="{F0DDF3EB-4097-A322-6130-5E208D1CDD65}"/>
                </a:ext>
              </a:extLst>
            </p:cNvPr>
            <p:cNvSpPr/>
            <p:nvPr userDrawn="1"/>
          </p:nvSpPr>
          <p:spPr bwMode="gray">
            <a:xfrm>
              <a:off x="204555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9" name="Rechteck 648">
              <a:extLst>
                <a:ext uri="{FF2B5EF4-FFF2-40B4-BE49-F238E27FC236}">
                  <a16:creationId xmlns:a16="http://schemas.microsoft.com/office/drawing/2014/main" id="{A6305B0B-07A2-D674-A02F-65F6F90F6A92}"/>
                </a:ext>
              </a:extLst>
            </p:cNvPr>
            <p:cNvSpPr/>
            <p:nvPr userDrawn="1"/>
          </p:nvSpPr>
          <p:spPr bwMode="gray">
            <a:xfrm>
              <a:off x="146948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0" name="Rechteck 649">
              <a:extLst>
                <a:ext uri="{FF2B5EF4-FFF2-40B4-BE49-F238E27FC236}">
                  <a16:creationId xmlns:a16="http://schemas.microsoft.com/office/drawing/2014/main" id="{646A3421-5B9C-9DD0-D2CB-7B522D696251}"/>
                </a:ext>
              </a:extLst>
            </p:cNvPr>
            <p:cNvSpPr/>
            <p:nvPr userDrawn="1"/>
          </p:nvSpPr>
          <p:spPr bwMode="gray">
            <a:xfrm>
              <a:off x="89342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1" name="Rechteck 650">
              <a:extLst>
                <a:ext uri="{FF2B5EF4-FFF2-40B4-BE49-F238E27FC236}">
                  <a16:creationId xmlns:a16="http://schemas.microsoft.com/office/drawing/2014/main" id="{7580B8B3-39D4-38BD-3E51-1E353EC988D4}"/>
                </a:ext>
              </a:extLst>
            </p:cNvPr>
            <p:cNvSpPr/>
            <p:nvPr userDrawn="1"/>
          </p:nvSpPr>
          <p:spPr bwMode="gray">
            <a:xfrm>
              <a:off x="31736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2" name="Rechteck 651">
              <a:extLst>
                <a:ext uri="{FF2B5EF4-FFF2-40B4-BE49-F238E27FC236}">
                  <a16:creationId xmlns:a16="http://schemas.microsoft.com/office/drawing/2014/main" id="{D8740F73-D8A2-FB48-983A-0FE8505216C2}"/>
                </a:ext>
              </a:extLst>
            </p:cNvPr>
            <p:cNvSpPr/>
            <p:nvPr userDrawn="1"/>
          </p:nvSpPr>
          <p:spPr bwMode="gray">
            <a:xfrm>
              <a:off x="1126257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3" name="Rechteck 652">
              <a:extLst>
                <a:ext uri="{FF2B5EF4-FFF2-40B4-BE49-F238E27FC236}">
                  <a16:creationId xmlns:a16="http://schemas.microsoft.com/office/drawing/2014/main" id="{EF8043D2-7D98-9707-50D8-0657C612DD72}"/>
                </a:ext>
              </a:extLst>
            </p:cNvPr>
            <p:cNvSpPr/>
            <p:nvPr userDrawn="1"/>
          </p:nvSpPr>
          <p:spPr bwMode="gray">
            <a:xfrm>
              <a:off x="1068651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4" name="Rechteck 653">
              <a:extLst>
                <a:ext uri="{FF2B5EF4-FFF2-40B4-BE49-F238E27FC236}">
                  <a16:creationId xmlns:a16="http://schemas.microsoft.com/office/drawing/2014/main" id="{5382A319-7B08-39F5-2AD5-57209D581619}"/>
                </a:ext>
              </a:extLst>
            </p:cNvPr>
            <p:cNvSpPr/>
            <p:nvPr userDrawn="1"/>
          </p:nvSpPr>
          <p:spPr bwMode="gray">
            <a:xfrm>
              <a:off x="1011044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5" name="Rechteck 654">
              <a:extLst>
                <a:ext uri="{FF2B5EF4-FFF2-40B4-BE49-F238E27FC236}">
                  <a16:creationId xmlns:a16="http://schemas.microsoft.com/office/drawing/2014/main" id="{7BEB8CE0-8928-9712-C694-77A019127A97}"/>
                </a:ext>
              </a:extLst>
            </p:cNvPr>
            <p:cNvSpPr/>
            <p:nvPr userDrawn="1"/>
          </p:nvSpPr>
          <p:spPr bwMode="gray">
            <a:xfrm>
              <a:off x="953438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6" name="Rechteck 655">
              <a:extLst>
                <a:ext uri="{FF2B5EF4-FFF2-40B4-BE49-F238E27FC236}">
                  <a16:creationId xmlns:a16="http://schemas.microsoft.com/office/drawing/2014/main" id="{E01370B8-7481-A189-4665-AA6F514F019E}"/>
                </a:ext>
              </a:extLst>
            </p:cNvPr>
            <p:cNvSpPr/>
            <p:nvPr userDrawn="1"/>
          </p:nvSpPr>
          <p:spPr bwMode="gray">
            <a:xfrm>
              <a:off x="895832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7" name="Rechteck 656">
              <a:extLst>
                <a:ext uri="{FF2B5EF4-FFF2-40B4-BE49-F238E27FC236}">
                  <a16:creationId xmlns:a16="http://schemas.microsoft.com/office/drawing/2014/main" id="{084ACC61-AEEB-6B28-502D-530D4AC61077}"/>
                </a:ext>
              </a:extLst>
            </p:cNvPr>
            <p:cNvSpPr/>
            <p:nvPr userDrawn="1"/>
          </p:nvSpPr>
          <p:spPr bwMode="gray">
            <a:xfrm>
              <a:off x="838225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8" name="Rechteck 657">
              <a:extLst>
                <a:ext uri="{FF2B5EF4-FFF2-40B4-BE49-F238E27FC236}">
                  <a16:creationId xmlns:a16="http://schemas.microsoft.com/office/drawing/2014/main" id="{F49164EC-9C2A-61C2-697E-335A29FD9CDD}"/>
                </a:ext>
              </a:extLst>
            </p:cNvPr>
            <p:cNvSpPr/>
            <p:nvPr userDrawn="1"/>
          </p:nvSpPr>
          <p:spPr bwMode="gray">
            <a:xfrm>
              <a:off x="780619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9" name="Rechteck 658">
              <a:extLst>
                <a:ext uri="{FF2B5EF4-FFF2-40B4-BE49-F238E27FC236}">
                  <a16:creationId xmlns:a16="http://schemas.microsoft.com/office/drawing/2014/main" id="{CB1223B9-C25C-E9E9-8BE4-EAD4DAFC9424}"/>
                </a:ext>
              </a:extLst>
            </p:cNvPr>
            <p:cNvSpPr/>
            <p:nvPr userDrawn="1"/>
          </p:nvSpPr>
          <p:spPr bwMode="gray">
            <a:xfrm>
              <a:off x="723012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0" name="Rechteck 659">
              <a:extLst>
                <a:ext uri="{FF2B5EF4-FFF2-40B4-BE49-F238E27FC236}">
                  <a16:creationId xmlns:a16="http://schemas.microsoft.com/office/drawing/2014/main" id="{4A031F4C-B3CE-492F-279F-4FF24960CF22}"/>
                </a:ext>
              </a:extLst>
            </p:cNvPr>
            <p:cNvSpPr/>
            <p:nvPr userDrawn="1"/>
          </p:nvSpPr>
          <p:spPr bwMode="gray">
            <a:xfrm>
              <a:off x="665406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1" name="Rechteck 660">
              <a:extLst>
                <a:ext uri="{FF2B5EF4-FFF2-40B4-BE49-F238E27FC236}">
                  <a16:creationId xmlns:a16="http://schemas.microsoft.com/office/drawing/2014/main" id="{6A2EF561-2421-2394-7CED-2B354601FD2E}"/>
                </a:ext>
              </a:extLst>
            </p:cNvPr>
            <p:cNvSpPr/>
            <p:nvPr userDrawn="1"/>
          </p:nvSpPr>
          <p:spPr bwMode="gray">
            <a:xfrm>
              <a:off x="607800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2" name="Rechteck 661">
              <a:extLst>
                <a:ext uri="{FF2B5EF4-FFF2-40B4-BE49-F238E27FC236}">
                  <a16:creationId xmlns:a16="http://schemas.microsoft.com/office/drawing/2014/main" id="{DBA5EA51-5D9F-8F9F-6093-9BA7F3551765}"/>
                </a:ext>
              </a:extLst>
            </p:cNvPr>
            <p:cNvSpPr/>
            <p:nvPr userDrawn="1"/>
          </p:nvSpPr>
          <p:spPr bwMode="gray">
            <a:xfrm>
              <a:off x="550193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3" name="Rechteck 662">
              <a:extLst>
                <a:ext uri="{FF2B5EF4-FFF2-40B4-BE49-F238E27FC236}">
                  <a16:creationId xmlns:a16="http://schemas.microsoft.com/office/drawing/2014/main" id="{52DFB184-4E23-1544-2537-09B8159A180A}"/>
                </a:ext>
              </a:extLst>
            </p:cNvPr>
            <p:cNvSpPr/>
            <p:nvPr userDrawn="1"/>
          </p:nvSpPr>
          <p:spPr bwMode="gray">
            <a:xfrm>
              <a:off x="492587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4" name="Rechteck 663">
              <a:extLst>
                <a:ext uri="{FF2B5EF4-FFF2-40B4-BE49-F238E27FC236}">
                  <a16:creationId xmlns:a16="http://schemas.microsoft.com/office/drawing/2014/main" id="{698B0AEF-EDC0-55E4-E6FF-E35FA1FACC11}"/>
                </a:ext>
              </a:extLst>
            </p:cNvPr>
            <p:cNvSpPr/>
            <p:nvPr userDrawn="1"/>
          </p:nvSpPr>
          <p:spPr bwMode="gray">
            <a:xfrm>
              <a:off x="434980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5" name="Rechteck 664">
              <a:extLst>
                <a:ext uri="{FF2B5EF4-FFF2-40B4-BE49-F238E27FC236}">
                  <a16:creationId xmlns:a16="http://schemas.microsoft.com/office/drawing/2014/main" id="{C6BF89CF-8DE7-EE28-5B31-F480169399F2}"/>
                </a:ext>
              </a:extLst>
            </p:cNvPr>
            <p:cNvSpPr/>
            <p:nvPr userDrawn="1"/>
          </p:nvSpPr>
          <p:spPr bwMode="gray">
            <a:xfrm>
              <a:off x="377374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6" name="Rechteck 665">
              <a:extLst>
                <a:ext uri="{FF2B5EF4-FFF2-40B4-BE49-F238E27FC236}">
                  <a16:creationId xmlns:a16="http://schemas.microsoft.com/office/drawing/2014/main" id="{2B96B8AB-3005-C1B2-CBE3-5283C9884B26}"/>
                </a:ext>
              </a:extLst>
            </p:cNvPr>
            <p:cNvSpPr/>
            <p:nvPr userDrawn="1"/>
          </p:nvSpPr>
          <p:spPr bwMode="gray">
            <a:xfrm>
              <a:off x="319768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7" name="Rechteck 666">
              <a:extLst>
                <a:ext uri="{FF2B5EF4-FFF2-40B4-BE49-F238E27FC236}">
                  <a16:creationId xmlns:a16="http://schemas.microsoft.com/office/drawing/2014/main" id="{965F581F-DD6D-9E44-26D5-76238FAC7D8B}"/>
                </a:ext>
              </a:extLst>
            </p:cNvPr>
            <p:cNvSpPr/>
            <p:nvPr userDrawn="1"/>
          </p:nvSpPr>
          <p:spPr bwMode="gray">
            <a:xfrm>
              <a:off x="262161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8" name="Rechteck 667">
              <a:extLst>
                <a:ext uri="{FF2B5EF4-FFF2-40B4-BE49-F238E27FC236}">
                  <a16:creationId xmlns:a16="http://schemas.microsoft.com/office/drawing/2014/main" id="{A2E402ED-65BF-B5DB-5D24-EBB6A605BEEE}"/>
                </a:ext>
              </a:extLst>
            </p:cNvPr>
            <p:cNvSpPr/>
            <p:nvPr userDrawn="1"/>
          </p:nvSpPr>
          <p:spPr bwMode="gray">
            <a:xfrm>
              <a:off x="204555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9" name="Rechteck 668">
              <a:extLst>
                <a:ext uri="{FF2B5EF4-FFF2-40B4-BE49-F238E27FC236}">
                  <a16:creationId xmlns:a16="http://schemas.microsoft.com/office/drawing/2014/main" id="{96B6C8C6-A483-BE9D-64B5-1F2D36B50B21}"/>
                </a:ext>
              </a:extLst>
            </p:cNvPr>
            <p:cNvSpPr/>
            <p:nvPr userDrawn="1"/>
          </p:nvSpPr>
          <p:spPr bwMode="gray">
            <a:xfrm>
              <a:off x="146948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0" name="Rechteck 669">
              <a:extLst>
                <a:ext uri="{FF2B5EF4-FFF2-40B4-BE49-F238E27FC236}">
                  <a16:creationId xmlns:a16="http://schemas.microsoft.com/office/drawing/2014/main" id="{F9D35263-3C48-E350-A82A-B9B1F1E8FBB7}"/>
                </a:ext>
              </a:extLst>
            </p:cNvPr>
            <p:cNvSpPr/>
            <p:nvPr userDrawn="1"/>
          </p:nvSpPr>
          <p:spPr bwMode="gray">
            <a:xfrm>
              <a:off x="89342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1" name="Rechteck 670">
              <a:extLst>
                <a:ext uri="{FF2B5EF4-FFF2-40B4-BE49-F238E27FC236}">
                  <a16:creationId xmlns:a16="http://schemas.microsoft.com/office/drawing/2014/main" id="{DAA93CC6-7C3F-0D6E-90CA-C212FEE843D1}"/>
                </a:ext>
              </a:extLst>
            </p:cNvPr>
            <p:cNvSpPr/>
            <p:nvPr userDrawn="1"/>
          </p:nvSpPr>
          <p:spPr bwMode="gray">
            <a:xfrm>
              <a:off x="31736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2" name="Rechteck 671">
              <a:extLst>
                <a:ext uri="{FF2B5EF4-FFF2-40B4-BE49-F238E27FC236}">
                  <a16:creationId xmlns:a16="http://schemas.microsoft.com/office/drawing/2014/main" id="{608C66C7-E01F-BC7E-0CBE-55F33189ED83}"/>
                </a:ext>
              </a:extLst>
            </p:cNvPr>
            <p:cNvSpPr/>
            <p:nvPr userDrawn="1"/>
          </p:nvSpPr>
          <p:spPr bwMode="gray">
            <a:xfrm>
              <a:off x="1126257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3" name="Rechteck 672">
              <a:extLst>
                <a:ext uri="{FF2B5EF4-FFF2-40B4-BE49-F238E27FC236}">
                  <a16:creationId xmlns:a16="http://schemas.microsoft.com/office/drawing/2014/main" id="{5CF58C74-93DC-07D6-80FA-F073ADE31B57}"/>
                </a:ext>
              </a:extLst>
            </p:cNvPr>
            <p:cNvSpPr/>
            <p:nvPr userDrawn="1"/>
          </p:nvSpPr>
          <p:spPr bwMode="gray">
            <a:xfrm>
              <a:off x="1068651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4" name="Rechteck 673">
              <a:extLst>
                <a:ext uri="{FF2B5EF4-FFF2-40B4-BE49-F238E27FC236}">
                  <a16:creationId xmlns:a16="http://schemas.microsoft.com/office/drawing/2014/main" id="{7D50977B-A394-D625-0893-E85C5A79C7B0}"/>
                </a:ext>
              </a:extLst>
            </p:cNvPr>
            <p:cNvSpPr/>
            <p:nvPr userDrawn="1"/>
          </p:nvSpPr>
          <p:spPr bwMode="gray">
            <a:xfrm>
              <a:off x="1011044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5" name="Rechteck 674">
              <a:extLst>
                <a:ext uri="{FF2B5EF4-FFF2-40B4-BE49-F238E27FC236}">
                  <a16:creationId xmlns:a16="http://schemas.microsoft.com/office/drawing/2014/main" id="{427D4A0E-4700-FC28-B11D-06D10E899A22}"/>
                </a:ext>
              </a:extLst>
            </p:cNvPr>
            <p:cNvSpPr/>
            <p:nvPr userDrawn="1"/>
          </p:nvSpPr>
          <p:spPr bwMode="gray">
            <a:xfrm>
              <a:off x="953438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6" name="Rechteck 675">
              <a:extLst>
                <a:ext uri="{FF2B5EF4-FFF2-40B4-BE49-F238E27FC236}">
                  <a16:creationId xmlns:a16="http://schemas.microsoft.com/office/drawing/2014/main" id="{37D4604B-2678-1637-589C-F8F6705E7A53}"/>
                </a:ext>
              </a:extLst>
            </p:cNvPr>
            <p:cNvSpPr/>
            <p:nvPr userDrawn="1"/>
          </p:nvSpPr>
          <p:spPr bwMode="gray">
            <a:xfrm>
              <a:off x="895832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7" name="Rechteck 676">
              <a:extLst>
                <a:ext uri="{FF2B5EF4-FFF2-40B4-BE49-F238E27FC236}">
                  <a16:creationId xmlns:a16="http://schemas.microsoft.com/office/drawing/2014/main" id="{B33F3DE0-0353-F612-858A-845F0FA0CCC2}"/>
                </a:ext>
              </a:extLst>
            </p:cNvPr>
            <p:cNvSpPr/>
            <p:nvPr userDrawn="1"/>
          </p:nvSpPr>
          <p:spPr bwMode="gray">
            <a:xfrm>
              <a:off x="838225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8" name="Rechteck 677">
              <a:extLst>
                <a:ext uri="{FF2B5EF4-FFF2-40B4-BE49-F238E27FC236}">
                  <a16:creationId xmlns:a16="http://schemas.microsoft.com/office/drawing/2014/main" id="{691BD7DA-515B-5B11-E843-2D916BD97598}"/>
                </a:ext>
              </a:extLst>
            </p:cNvPr>
            <p:cNvSpPr/>
            <p:nvPr userDrawn="1"/>
          </p:nvSpPr>
          <p:spPr bwMode="gray">
            <a:xfrm>
              <a:off x="780619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9" name="Rechteck 678">
              <a:extLst>
                <a:ext uri="{FF2B5EF4-FFF2-40B4-BE49-F238E27FC236}">
                  <a16:creationId xmlns:a16="http://schemas.microsoft.com/office/drawing/2014/main" id="{FE447532-113B-7FCE-D201-8D01C7F2766C}"/>
                </a:ext>
              </a:extLst>
            </p:cNvPr>
            <p:cNvSpPr/>
            <p:nvPr userDrawn="1"/>
          </p:nvSpPr>
          <p:spPr bwMode="gray">
            <a:xfrm>
              <a:off x="723012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0" name="Rechteck 679">
              <a:extLst>
                <a:ext uri="{FF2B5EF4-FFF2-40B4-BE49-F238E27FC236}">
                  <a16:creationId xmlns:a16="http://schemas.microsoft.com/office/drawing/2014/main" id="{7932F380-1C42-F4BF-CA30-C2BD191BF94F}"/>
                </a:ext>
              </a:extLst>
            </p:cNvPr>
            <p:cNvSpPr/>
            <p:nvPr userDrawn="1"/>
          </p:nvSpPr>
          <p:spPr bwMode="gray">
            <a:xfrm>
              <a:off x="665406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1" name="Rechteck 680">
              <a:extLst>
                <a:ext uri="{FF2B5EF4-FFF2-40B4-BE49-F238E27FC236}">
                  <a16:creationId xmlns:a16="http://schemas.microsoft.com/office/drawing/2014/main" id="{F1CDDA0C-DA0D-4170-55E4-BD2ABF43642F}"/>
                </a:ext>
              </a:extLst>
            </p:cNvPr>
            <p:cNvSpPr/>
            <p:nvPr userDrawn="1"/>
          </p:nvSpPr>
          <p:spPr bwMode="gray">
            <a:xfrm>
              <a:off x="607800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2" name="Rechteck 681">
              <a:extLst>
                <a:ext uri="{FF2B5EF4-FFF2-40B4-BE49-F238E27FC236}">
                  <a16:creationId xmlns:a16="http://schemas.microsoft.com/office/drawing/2014/main" id="{0EE83806-19D9-5E9A-80C5-7C496A0358FC}"/>
                </a:ext>
              </a:extLst>
            </p:cNvPr>
            <p:cNvSpPr/>
            <p:nvPr userDrawn="1"/>
          </p:nvSpPr>
          <p:spPr bwMode="gray">
            <a:xfrm>
              <a:off x="550193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3" name="Rechteck 682">
              <a:extLst>
                <a:ext uri="{FF2B5EF4-FFF2-40B4-BE49-F238E27FC236}">
                  <a16:creationId xmlns:a16="http://schemas.microsoft.com/office/drawing/2014/main" id="{8BD2553E-2198-66EA-0E4F-7E643BD5F873}"/>
                </a:ext>
              </a:extLst>
            </p:cNvPr>
            <p:cNvSpPr/>
            <p:nvPr userDrawn="1"/>
          </p:nvSpPr>
          <p:spPr bwMode="gray">
            <a:xfrm>
              <a:off x="492587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4" name="Rechteck 683">
              <a:extLst>
                <a:ext uri="{FF2B5EF4-FFF2-40B4-BE49-F238E27FC236}">
                  <a16:creationId xmlns:a16="http://schemas.microsoft.com/office/drawing/2014/main" id="{B1FDA446-D043-F9B6-1AB8-1269C36C1809}"/>
                </a:ext>
              </a:extLst>
            </p:cNvPr>
            <p:cNvSpPr/>
            <p:nvPr userDrawn="1"/>
          </p:nvSpPr>
          <p:spPr bwMode="gray">
            <a:xfrm>
              <a:off x="434980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5" name="Rechteck 684">
              <a:extLst>
                <a:ext uri="{FF2B5EF4-FFF2-40B4-BE49-F238E27FC236}">
                  <a16:creationId xmlns:a16="http://schemas.microsoft.com/office/drawing/2014/main" id="{C0EF851F-FAAE-10FC-A921-98380E89EE48}"/>
                </a:ext>
              </a:extLst>
            </p:cNvPr>
            <p:cNvSpPr/>
            <p:nvPr userDrawn="1"/>
          </p:nvSpPr>
          <p:spPr bwMode="gray">
            <a:xfrm>
              <a:off x="377374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6" name="Rechteck 685">
              <a:extLst>
                <a:ext uri="{FF2B5EF4-FFF2-40B4-BE49-F238E27FC236}">
                  <a16:creationId xmlns:a16="http://schemas.microsoft.com/office/drawing/2014/main" id="{3B8A9F35-1E93-1A92-D679-8F7322221ACE}"/>
                </a:ext>
              </a:extLst>
            </p:cNvPr>
            <p:cNvSpPr/>
            <p:nvPr userDrawn="1"/>
          </p:nvSpPr>
          <p:spPr bwMode="gray">
            <a:xfrm>
              <a:off x="319768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7" name="Rechteck 686">
              <a:extLst>
                <a:ext uri="{FF2B5EF4-FFF2-40B4-BE49-F238E27FC236}">
                  <a16:creationId xmlns:a16="http://schemas.microsoft.com/office/drawing/2014/main" id="{9B430A44-5702-3AAC-8E35-0A1A1A1C8DC3}"/>
                </a:ext>
              </a:extLst>
            </p:cNvPr>
            <p:cNvSpPr/>
            <p:nvPr userDrawn="1"/>
          </p:nvSpPr>
          <p:spPr bwMode="gray">
            <a:xfrm>
              <a:off x="262161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8" name="Rechteck 687">
              <a:extLst>
                <a:ext uri="{FF2B5EF4-FFF2-40B4-BE49-F238E27FC236}">
                  <a16:creationId xmlns:a16="http://schemas.microsoft.com/office/drawing/2014/main" id="{A4BE96E7-311E-60DC-C280-E9FD43A3C56A}"/>
                </a:ext>
              </a:extLst>
            </p:cNvPr>
            <p:cNvSpPr/>
            <p:nvPr userDrawn="1"/>
          </p:nvSpPr>
          <p:spPr bwMode="gray">
            <a:xfrm>
              <a:off x="204555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9" name="Rechteck 688">
              <a:extLst>
                <a:ext uri="{FF2B5EF4-FFF2-40B4-BE49-F238E27FC236}">
                  <a16:creationId xmlns:a16="http://schemas.microsoft.com/office/drawing/2014/main" id="{248AEC33-BC55-433C-F20A-C300AF0FD414}"/>
                </a:ext>
              </a:extLst>
            </p:cNvPr>
            <p:cNvSpPr/>
            <p:nvPr userDrawn="1"/>
          </p:nvSpPr>
          <p:spPr bwMode="gray">
            <a:xfrm>
              <a:off x="146948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0" name="Rechteck 689">
              <a:extLst>
                <a:ext uri="{FF2B5EF4-FFF2-40B4-BE49-F238E27FC236}">
                  <a16:creationId xmlns:a16="http://schemas.microsoft.com/office/drawing/2014/main" id="{692F9F3B-3B28-821E-67DF-293415056948}"/>
                </a:ext>
              </a:extLst>
            </p:cNvPr>
            <p:cNvSpPr/>
            <p:nvPr userDrawn="1"/>
          </p:nvSpPr>
          <p:spPr bwMode="gray">
            <a:xfrm>
              <a:off x="89342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1" name="Rechteck 690">
              <a:extLst>
                <a:ext uri="{FF2B5EF4-FFF2-40B4-BE49-F238E27FC236}">
                  <a16:creationId xmlns:a16="http://schemas.microsoft.com/office/drawing/2014/main" id="{77A7394B-9A0F-62AC-B872-083A8F46EDD8}"/>
                </a:ext>
              </a:extLst>
            </p:cNvPr>
            <p:cNvSpPr/>
            <p:nvPr userDrawn="1"/>
          </p:nvSpPr>
          <p:spPr bwMode="gray">
            <a:xfrm>
              <a:off x="31736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2" name="Rechteck 691">
              <a:extLst>
                <a:ext uri="{FF2B5EF4-FFF2-40B4-BE49-F238E27FC236}">
                  <a16:creationId xmlns:a16="http://schemas.microsoft.com/office/drawing/2014/main" id="{D507F93B-0674-B465-D4A4-0A8A7EFFF468}"/>
                </a:ext>
              </a:extLst>
            </p:cNvPr>
            <p:cNvSpPr/>
            <p:nvPr userDrawn="1"/>
          </p:nvSpPr>
          <p:spPr bwMode="gray">
            <a:xfrm>
              <a:off x="1126257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3" name="Rechteck 692">
              <a:extLst>
                <a:ext uri="{FF2B5EF4-FFF2-40B4-BE49-F238E27FC236}">
                  <a16:creationId xmlns:a16="http://schemas.microsoft.com/office/drawing/2014/main" id="{436193EE-EEA9-A738-77C9-1FFCDB1D3967}"/>
                </a:ext>
              </a:extLst>
            </p:cNvPr>
            <p:cNvSpPr/>
            <p:nvPr userDrawn="1"/>
          </p:nvSpPr>
          <p:spPr bwMode="gray">
            <a:xfrm>
              <a:off x="1068651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4" name="Rechteck 693">
              <a:extLst>
                <a:ext uri="{FF2B5EF4-FFF2-40B4-BE49-F238E27FC236}">
                  <a16:creationId xmlns:a16="http://schemas.microsoft.com/office/drawing/2014/main" id="{2639EAC9-0917-8A8A-8E40-BD99D9BA8B30}"/>
                </a:ext>
              </a:extLst>
            </p:cNvPr>
            <p:cNvSpPr/>
            <p:nvPr userDrawn="1"/>
          </p:nvSpPr>
          <p:spPr bwMode="gray">
            <a:xfrm>
              <a:off x="1011044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5" name="Rechteck 694">
              <a:extLst>
                <a:ext uri="{FF2B5EF4-FFF2-40B4-BE49-F238E27FC236}">
                  <a16:creationId xmlns:a16="http://schemas.microsoft.com/office/drawing/2014/main" id="{FD2BE3E9-6469-35C4-F776-C1D01C8854AB}"/>
                </a:ext>
              </a:extLst>
            </p:cNvPr>
            <p:cNvSpPr/>
            <p:nvPr userDrawn="1"/>
          </p:nvSpPr>
          <p:spPr bwMode="gray">
            <a:xfrm>
              <a:off x="953438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6" name="Rechteck 695">
              <a:extLst>
                <a:ext uri="{FF2B5EF4-FFF2-40B4-BE49-F238E27FC236}">
                  <a16:creationId xmlns:a16="http://schemas.microsoft.com/office/drawing/2014/main" id="{9B25980C-B898-0A52-FB40-E808F01AF7A9}"/>
                </a:ext>
              </a:extLst>
            </p:cNvPr>
            <p:cNvSpPr/>
            <p:nvPr userDrawn="1"/>
          </p:nvSpPr>
          <p:spPr bwMode="gray">
            <a:xfrm>
              <a:off x="895832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7" name="Rechteck 696">
              <a:extLst>
                <a:ext uri="{FF2B5EF4-FFF2-40B4-BE49-F238E27FC236}">
                  <a16:creationId xmlns:a16="http://schemas.microsoft.com/office/drawing/2014/main" id="{64282E5F-A7C4-5625-8988-9D59649132FE}"/>
                </a:ext>
              </a:extLst>
            </p:cNvPr>
            <p:cNvSpPr/>
            <p:nvPr userDrawn="1"/>
          </p:nvSpPr>
          <p:spPr bwMode="gray">
            <a:xfrm>
              <a:off x="838225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8" name="Rechteck 697">
              <a:extLst>
                <a:ext uri="{FF2B5EF4-FFF2-40B4-BE49-F238E27FC236}">
                  <a16:creationId xmlns:a16="http://schemas.microsoft.com/office/drawing/2014/main" id="{1DACDF36-2EC5-EEB4-0602-ACE52D92E38E}"/>
                </a:ext>
              </a:extLst>
            </p:cNvPr>
            <p:cNvSpPr/>
            <p:nvPr userDrawn="1"/>
          </p:nvSpPr>
          <p:spPr bwMode="gray">
            <a:xfrm>
              <a:off x="780619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9" name="Rechteck 698">
              <a:extLst>
                <a:ext uri="{FF2B5EF4-FFF2-40B4-BE49-F238E27FC236}">
                  <a16:creationId xmlns:a16="http://schemas.microsoft.com/office/drawing/2014/main" id="{9E68720A-396A-D32B-8603-E5B3E105C1E9}"/>
                </a:ext>
              </a:extLst>
            </p:cNvPr>
            <p:cNvSpPr/>
            <p:nvPr userDrawn="1"/>
          </p:nvSpPr>
          <p:spPr bwMode="gray">
            <a:xfrm>
              <a:off x="723012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0" name="Rechteck 699">
              <a:extLst>
                <a:ext uri="{FF2B5EF4-FFF2-40B4-BE49-F238E27FC236}">
                  <a16:creationId xmlns:a16="http://schemas.microsoft.com/office/drawing/2014/main" id="{D46D580B-8CF2-77C9-AE9A-44F7640997EB}"/>
                </a:ext>
              </a:extLst>
            </p:cNvPr>
            <p:cNvSpPr/>
            <p:nvPr userDrawn="1"/>
          </p:nvSpPr>
          <p:spPr bwMode="gray">
            <a:xfrm>
              <a:off x="665406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1" name="Rechteck 700">
              <a:extLst>
                <a:ext uri="{FF2B5EF4-FFF2-40B4-BE49-F238E27FC236}">
                  <a16:creationId xmlns:a16="http://schemas.microsoft.com/office/drawing/2014/main" id="{BA31E667-25AB-317B-7E54-3E607B958698}"/>
                </a:ext>
              </a:extLst>
            </p:cNvPr>
            <p:cNvSpPr/>
            <p:nvPr userDrawn="1"/>
          </p:nvSpPr>
          <p:spPr bwMode="gray">
            <a:xfrm>
              <a:off x="607800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2" name="Rechteck 701">
              <a:extLst>
                <a:ext uri="{FF2B5EF4-FFF2-40B4-BE49-F238E27FC236}">
                  <a16:creationId xmlns:a16="http://schemas.microsoft.com/office/drawing/2014/main" id="{BA8621CE-E486-4F30-4C10-FBFE49C79FBE}"/>
                </a:ext>
              </a:extLst>
            </p:cNvPr>
            <p:cNvSpPr/>
            <p:nvPr userDrawn="1"/>
          </p:nvSpPr>
          <p:spPr bwMode="gray">
            <a:xfrm>
              <a:off x="550193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3" name="Rechteck 702">
              <a:extLst>
                <a:ext uri="{FF2B5EF4-FFF2-40B4-BE49-F238E27FC236}">
                  <a16:creationId xmlns:a16="http://schemas.microsoft.com/office/drawing/2014/main" id="{40020DCE-3FFC-79BF-EEE2-935EF916C383}"/>
                </a:ext>
              </a:extLst>
            </p:cNvPr>
            <p:cNvSpPr/>
            <p:nvPr userDrawn="1"/>
          </p:nvSpPr>
          <p:spPr bwMode="gray">
            <a:xfrm>
              <a:off x="492587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4" name="Rechteck 703">
              <a:extLst>
                <a:ext uri="{FF2B5EF4-FFF2-40B4-BE49-F238E27FC236}">
                  <a16:creationId xmlns:a16="http://schemas.microsoft.com/office/drawing/2014/main" id="{DDEBBEC6-C100-C75B-6D8F-649E06827C40}"/>
                </a:ext>
              </a:extLst>
            </p:cNvPr>
            <p:cNvSpPr/>
            <p:nvPr userDrawn="1"/>
          </p:nvSpPr>
          <p:spPr bwMode="gray">
            <a:xfrm>
              <a:off x="434980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5" name="Rechteck 704">
              <a:extLst>
                <a:ext uri="{FF2B5EF4-FFF2-40B4-BE49-F238E27FC236}">
                  <a16:creationId xmlns:a16="http://schemas.microsoft.com/office/drawing/2014/main" id="{A7628A2A-224C-165C-6407-6DBF1C74ED9E}"/>
                </a:ext>
              </a:extLst>
            </p:cNvPr>
            <p:cNvSpPr/>
            <p:nvPr userDrawn="1"/>
          </p:nvSpPr>
          <p:spPr bwMode="gray">
            <a:xfrm>
              <a:off x="377374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6" name="Rechteck 705">
              <a:extLst>
                <a:ext uri="{FF2B5EF4-FFF2-40B4-BE49-F238E27FC236}">
                  <a16:creationId xmlns:a16="http://schemas.microsoft.com/office/drawing/2014/main" id="{9B9C2000-FB93-27C1-C22E-FB1FE43E639A}"/>
                </a:ext>
              </a:extLst>
            </p:cNvPr>
            <p:cNvSpPr/>
            <p:nvPr userDrawn="1"/>
          </p:nvSpPr>
          <p:spPr bwMode="gray">
            <a:xfrm>
              <a:off x="319768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7" name="Rechteck 706">
              <a:extLst>
                <a:ext uri="{FF2B5EF4-FFF2-40B4-BE49-F238E27FC236}">
                  <a16:creationId xmlns:a16="http://schemas.microsoft.com/office/drawing/2014/main" id="{A7A40CAF-500D-5A3D-D3D6-AD6537C789C0}"/>
                </a:ext>
              </a:extLst>
            </p:cNvPr>
            <p:cNvSpPr/>
            <p:nvPr userDrawn="1"/>
          </p:nvSpPr>
          <p:spPr bwMode="gray">
            <a:xfrm>
              <a:off x="262161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8" name="Rechteck 707">
              <a:extLst>
                <a:ext uri="{FF2B5EF4-FFF2-40B4-BE49-F238E27FC236}">
                  <a16:creationId xmlns:a16="http://schemas.microsoft.com/office/drawing/2014/main" id="{DB586457-25C5-A304-68BA-ACDC908E17EE}"/>
                </a:ext>
              </a:extLst>
            </p:cNvPr>
            <p:cNvSpPr/>
            <p:nvPr userDrawn="1"/>
          </p:nvSpPr>
          <p:spPr bwMode="gray">
            <a:xfrm>
              <a:off x="204555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9" name="Rechteck 708">
              <a:extLst>
                <a:ext uri="{FF2B5EF4-FFF2-40B4-BE49-F238E27FC236}">
                  <a16:creationId xmlns:a16="http://schemas.microsoft.com/office/drawing/2014/main" id="{FD8F337F-9A7B-CFA8-E3D7-4707E0402467}"/>
                </a:ext>
              </a:extLst>
            </p:cNvPr>
            <p:cNvSpPr/>
            <p:nvPr userDrawn="1"/>
          </p:nvSpPr>
          <p:spPr bwMode="gray">
            <a:xfrm>
              <a:off x="146948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0" name="Rechteck 709">
              <a:extLst>
                <a:ext uri="{FF2B5EF4-FFF2-40B4-BE49-F238E27FC236}">
                  <a16:creationId xmlns:a16="http://schemas.microsoft.com/office/drawing/2014/main" id="{B1CF8FAD-7814-0574-344D-8FE392B85A2F}"/>
                </a:ext>
              </a:extLst>
            </p:cNvPr>
            <p:cNvSpPr/>
            <p:nvPr userDrawn="1"/>
          </p:nvSpPr>
          <p:spPr bwMode="gray">
            <a:xfrm>
              <a:off x="89342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1" name="Rechteck 710">
              <a:extLst>
                <a:ext uri="{FF2B5EF4-FFF2-40B4-BE49-F238E27FC236}">
                  <a16:creationId xmlns:a16="http://schemas.microsoft.com/office/drawing/2014/main" id="{E45D9227-4726-9DB7-1D3D-289029A4520F}"/>
                </a:ext>
              </a:extLst>
            </p:cNvPr>
            <p:cNvSpPr/>
            <p:nvPr userDrawn="1"/>
          </p:nvSpPr>
          <p:spPr bwMode="gray">
            <a:xfrm>
              <a:off x="31736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2" name="Rechteck 711">
              <a:extLst>
                <a:ext uri="{FF2B5EF4-FFF2-40B4-BE49-F238E27FC236}">
                  <a16:creationId xmlns:a16="http://schemas.microsoft.com/office/drawing/2014/main" id="{9D947C33-BF0A-9A4E-6928-65D6DEF78D9E}"/>
                </a:ext>
              </a:extLst>
            </p:cNvPr>
            <p:cNvSpPr/>
            <p:nvPr userDrawn="1"/>
          </p:nvSpPr>
          <p:spPr bwMode="gray">
            <a:xfrm>
              <a:off x="1126257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3" name="Rechteck 712">
              <a:extLst>
                <a:ext uri="{FF2B5EF4-FFF2-40B4-BE49-F238E27FC236}">
                  <a16:creationId xmlns:a16="http://schemas.microsoft.com/office/drawing/2014/main" id="{8FC6D4C0-32DD-1A1B-4CC1-21489635CCCD}"/>
                </a:ext>
              </a:extLst>
            </p:cNvPr>
            <p:cNvSpPr/>
            <p:nvPr userDrawn="1"/>
          </p:nvSpPr>
          <p:spPr bwMode="gray">
            <a:xfrm>
              <a:off x="1068651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4" name="Rechteck 713">
              <a:extLst>
                <a:ext uri="{FF2B5EF4-FFF2-40B4-BE49-F238E27FC236}">
                  <a16:creationId xmlns:a16="http://schemas.microsoft.com/office/drawing/2014/main" id="{25DBD397-2A49-79A9-CE3D-C622D66D59DC}"/>
                </a:ext>
              </a:extLst>
            </p:cNvPr>
            <p:cNvSpPr/>
            <p:nvPr userDrawn="1"/>
          </p:nvSpPr>
          <p:spPr bwMode="gray">
            <a:xfrm>
              <a:off x="1011044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5" name="Rechteck 714">
              <a:extLst>
                <a:ext uri="{FF2B5EF4-FFF2-40B4-BE49-F238E27FC236}">
                  <a16:creationId xmlns:a16="http://schemas.microsoft.com/office/drawing/2014/main" id="{C3E85645-907E-2F79-3843-42446802E566}"/>
                </a:ext>
              </a:extLst>
            </p:cNvPr>
            <p:cNvSpPr/>
            <p:nvPr userDrawn="1"/>
          </p:nvSpPr>
          <p:spPr bwMode="gray">
            <a:xfrm>
              <a:off x="953438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6" name="Rechteck 715">
              <a:extLst>
                <a:ext uri="{FF2B5EF4-FFF2-40B4-BE49-F238E27FC236}">
                  <a16:creationId xmlns:a16="http://schemas.microsoft.com/office/drawing/2014/main" id="{06A4EF9F-1512-F90A-AA4E-ECA7DE42083D}"/>
                </a:ext>
              </a:extLst>
            </p:cNvPr>
            <p:cNvSpPr/>
            <p:nvPr userDrawn="1"/>
          </p:nvSpPr>
          <p:spPr bwMode="gray">
            <a:xfrm>
              <a:off x="895832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7" name="Rechteck 716">
              <a:extLst>
                <a:ext uri="{FF2B5EF4-FFF2-40B4-BE49-F238E27FC236}">
                  <a16:creationId xmlns:a16="http://schemas.microsoft.com/office/drawing/2014/main" id="{D4AF1218-756F-14CF-CE90-A233B2607D32}"/>
                </a:ext>
              </a:extLst>
            </p:cNvPr>
            <p:cNvSpPr/>
            <p:nvPr userDrawn="1"/>
          </p:nvSpPr>
          <p:spPr bwMode="gray">
            <a:xfrm>
              <a:off x="838225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8" name="Rechteck 717">
              <a:extLst>
                <a:ext uri="{FF2B5EF4-FFF2-40B4-BE49-F238E27FC236}">
                  <a16:creationId xmlns:a16="http://schemas.microsoft.com/office/drawing/2014/main" id="{006809CD-2B8A-8CBB-22A3-00614F28A009}"/>
                </a:ext>
              </a:extLst>
            </p:cNvPr>
            <p:cNvSpPr/>
            <p:nvPr userDrawn="1"/>
          </p:nvSpPr>
          <p:spPr bwMode="gray">
            <a:xfrm>
              <a:off x="780619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9" name="Rechteck 718">
              <a:extLst>
                <a:ext uri="{FF2B5EF4-FFF2-40B4-BE49-F238E27FC236}">
                  <a16:creationId xmlns:a16="http://schemas.microsoft.com/office/drawing/2014/main" id="{2218D21A-8C66-A8F0-0A2F-74DAE3037812}"/>
                </a:ext>
              </a:extLst>
            </p:cNvPr>
            <p:cNvSpPr/>
            <p:nvPr userDrawn="1"/>
          </p:nvSpPr>
          <p:spPr bwMode="gray">
            <a:xfrm>
              <a:off x="723012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0" name="Rechteck 719">
              <a:extLst>
                <a:ext uri="{FF2B5EF4-FFF2-40B4-BE49-F238E27FC236}">
                  <a16:creationId xmlns:a16="http://schemas.microsoft.com/office/drawing/2014/main" id="{DA8AC3CD-59A6-EFFA-19B4-A51EFEF9095E}"/>
                </a:ext>
              </a:extLst>
            </p:cNvPr>
            <p:cNvSpPr/>
            <p:nvPr userDrawn="1"/>
          </p:nvSpPr>
          <p:spPr bwMode="gray">
            <a:xfrm>
              <a:off x="665406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1" name="Rechteck 720">
              <a:extLst>
                <a:ext uri="{FF2B5EF4-FFF2-40B4-BE49-F238E27FC236}">
                  <a16:creationId xmlns:a16="http://schemas.microsoft.com/office/drawing/2014/main" id="{95A3CE54-B72E-79E8-5F71-15DB2A8FAD13}"/>
                </a:ext>
              </a:extLst>
            </p:cNvPr>
            <p:cNvSpPr/>
            <p:nvPr userDrawn="1"/>
          </p:nvSpPr>
          <p:spPr bwMode="gray">
            <a:xfrm>
              <a:off x="607800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2" name="Rechteck 721">
              <a:extLst>
                <a:ext uri="{FF2B5EF4-FFF2-40B4-BE49-F238E27FC236}">
                  <a16:creationId xmlns:a16="http://schemas.microsoft.com/office/drawing/2014/main" id="{4E39ADB2-E659-EDB4-0BA9-3329D978481E}"/>
                </a:ext>
              </a:extLst>
            </p:cNvPr>
            <p:cNvSpPr/>
            <p:nvPr userDrawn="1"/>
          </p:nvSpPr>
          <p:spPr bwMode="gray">
            <a:xfrm>
              <a:off x="550193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3" name="Rechteck 722">
              <a:extLst>
                <a:ext uri="{FF2B5EF4-FFF2-40B4-BE49-F238E27FC236}">
                  <a16:creationId xmlns:a16="http://schemas.microsoft.com/office/drawing/2014/main" id="{5DCBF9CD-E62D-4B79-29EC-E3C7471DC223}"/>
                </a:ext>
              </a:extLst>
            </p:cNvPr>
            <p:cNvSpPr/>
            <p:nvPr userDrawn="1"/>
          </p:nvSpPr>
          <p:spPr bwMode="gray">
            <a:xfrm>
              <a:off x="492587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4" name="Rechteck 723">
              <a:extLst>
                <a:ext uri="{FF2B5EF4-FFF2-40B4-BE49-F238E27FC236}">
                  <a16:creationId xmlns:a16="http://schemas.microsoft.com/office/drawing/2014/main" id="{ED6155A0-5752-7FFA-F714-E30F95E8921E}"/>
                </a:ext>
              </a:extLst>
            </p:cNvPr>
            <p:cNvSpPr/>
            <p:nvPr userDrawn="1"/>
          </p:nvSpPr>
          <p:spPr bwMode="gray">
            <a:xfrm>
              <a:off x="434980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5" name="Rechteck 724">
              <a:extLst>
                <a:ext uri="{FF2B5EF4-FFF2-40B4-BE49-F238E27FC236}">
                  <a16:creationId xmlns:a16="http://schemas.microsoft.com/office/drawing/2014/main" id="{0A994674-3494-6B86-6C76-472CA96DA46A}"/>
                </a:ext>
              </a:extLst>
            </p:cNvPr>
            <p:cNvSpPr/>
            <p:nvPr userDrawn="1"/>
          </p:nvSpPr>
          <p:spPr bwMode="gray">
            <a:xfrm>
              <a:off x="377374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6" name="Rechteck 725">
              <a:extLst>
                <a:ext uri="{FF2B5EF4-FFF2-40B4-BE49-F238E27FC236}">
                  <a16:creationId xmlns:a16="http://schemas.microsoft.com/office/drawing/2014/main" id="{0B8BD171-6765-3122-9598-750AFA30E88D}"/>
                </a:ext>
              </a:extLst>
            </p:cNvPr>
            <p:cNvSpPr/>
            <p:nvPr userDrawn="1"/>
          </p:nvSpPr>
          <p:spPr bwMode="gray">
            <a:xfrm>
              <a:off x="319768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7" name="Rechteck 726">
              <a:extLst>
                <a:ext uri="{FF2B5EF4-FFF2-40B4-BE49-F238E27FC236}">
                  <a16:creationId xmlns:a16="http://schemas.microsoft.com/office/drawing/2014/main" id="{A8BB0344-6F65-E8CC-48B0-85EFF06428BA}"/>
                </a:ext>
              </a:extLst>
            </p:cNvPr>
            <p:cNvSpPr/>
            <p:nvPr userDrawn="1"/>
          </p:nvSpPr>
          <p:spPr bwMode="gray">
            <a:xfrm>
              <a:off x="262161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8" name="Rechteck 727">
              <a:extLst>
                <a:ext uri="{FF2B5EF4-FFF2-40B4-BE49-F238E27FC236}">
                  <a16:creationId xmlns:a16="http://schemas.microsoft.com/office/drawing/2014/main" id="{AA59F2C1-34EF-8FC8-DE95-4BDB3A598D0A}"/>
                </a:ext>
              </a:extLst>
            </p:cNvPr>
            <p:cNvSpPr/>
            <p:nvPr userDrawn="1"/>
          </p:nvSpPr>
          <p:spPr bwMode="gray">
            <a:xfrm>
              <a:off x="204555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9" name="Rechteck 728">
              <a:extLst>
                <a:ext uri="{FF2B5EF4-FFF2-40B4-BE49-F238E27FC236}">
                  <a16:creationId xmlns:a16="http://schemas.microsoft.com/office/drawing/2014/main" id="{A4016017-5188-A200-7122-9FA69BBD6B42}"/>
                </a:ext>
              </a:extLst>
            </p:cNvPr>
            <p:cNvSpPr/>
            <p:nvPr userDrawn="1"/>
          </p:nvSpPr>
          <p:spPr bwMode="gray">
            <a:xfrm>
              <a:off x="146948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0" name="Rechteck 729">
              <a:extLst>
                <a:ext uri="{FF2B5EF4-FFF2-40B4-BE49-F238E27FC236}">
                  <a16:creationId xmlns:a16="http://schemas.microsoft.com/office/drawing/2014/main" id="{34D42791-4ACF-DAB1-00C2-B4193F873F56}"/>
                </a:ext>
              </a:extLst>
            </p:cNvPr>
            <p:cNvSpPr/>
            <p:nvPr userDrawn="1"/>
          </p:nvSpPr>
          <p:spPr bwMode="gray">
            <a:xfrm>
              <a:off x="89342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1" name="Rechteck 730">
              <a:extLst>
                <a:ext uri="{FF2B5EF4-FFF2-40B4-BE49-F238E27FC236}">
                  <a16:creationId xmlns:a16="http://schemas.microsoft.com/office/drawing/2014/main" id="{78467ECC-A2FD-966A-2F5A-B77A8380AC00}"/>
                </a:ext>
              </a:extLst>
            </p:cNvPr>
            <p:cNvSpPr/>
            <p:nvPr userDrawn="1"/>
          </p:nvSpPr>
          <p:spPr bwMode="gray">
            <a:xfrm>
              <a:off x="31736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2" name="Rechteck 731">
              <a:extLst>
                <a:ext uri="{FF2B5EF4-FFF2-40B4-BE49-F238E27FC236}">
                  <a16:creationId xmlns:a16="http://schemas.microsoft.com/office/drawing/2014/main" id="{64EF1CE3-96A5-019F-3C7C-FCF61FC2E606}"/>
                </a:ext>
              </a:extLst>
            </p:cNvPr>
            <p:cNvSpPr/>
            <p:nvPr userDrawn="1"/>
          </p:nvSpPr>
          <p:spPr bwMode="gray">
            <a:xfrm>
              <a:off x="1126257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3" name="Rechteck 732">
              <a:extLst>
                <a:ext uri="{FF2B5EF4-FFF2-40B4-BE49-F238E27FC236}">
                  <a16:creationId xmlns:a16="http://schemas.microsoft.com/office/drawing/2014/main" id="{58DB4380-AAB1-90B4-13A7-7645B9A54C11}"/>
                </a:ext>
              </a:extLst>
            </p:cNvPr>
            <p:cNvSpPr/>
            <p:nvPr userDrawn="1"/>
          </p:nvSpPr>
          <p:spPr bwMode="gray">
            <a:xfrm>
              <a:off x="1068651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4" name="Rechteck 733">
              <a:extLst>
                <a:ext uri="{FF2B5EF4-FFF2-40B4-BE49-F238E27FC236}">
                  <a16:creationId xmlns:a16="http://schemas.microsoft.com/office/drawing/2014/main" id="{9265CAFE-EB97-9AB3-DBC0-9C6B157DC683}"/>
                </a:ext>
              </a:extLst>
            </p:cNvPr>
            <p:cNvSpPr/>
            <p:nvPr userDrawn="1"/>
          </p:nvSpPr>
          <p:spPr bwMode="gray">
            <a:xfrm>
              <a:off x="1011044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5" name="Rechteck 734">
              <a:extLst>
                <a:ext uri="{FF2B5EF4-FFF2-40B4-BE49-F238E27FC236}">
                  <a16:creationId xmlns:a16="http://schemas.microsoft.com/office/drawing/2014/main" id="{0BFF5C84-A4AB-2C67-E231-450814EBA185}"/>
                </a:ext>
              </a:extLst>
            </p:cNvPr>
            <p:cNvSpPr/>
            <p:nvPr userDrawn="1"/>
          </p:nvSpPr>
          <p:spPr bwMode="gray">
            <a:xfrm>
              <a:off x="953438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6" name="Rechteck 735">
              <a:extLst>
                <a:ext uri="{FF2B5EF4-FFF2-40B4-BE49-F238E27FC236}">
                  <a16:creationId xmlns:a16="http://schemas.microsoft.com/office/drawing/2014/main" id="{22B9F759-DDB5-1C14-3AFD-706E64B80069}"/>
                </a:ext>
              </a:extLst>
            </p:cNvPr>
            <p:cNvSpPr/>
            <p:nvPr userDrawn="1"/>
          </p:nvSpPr>
          <p:spPr bwMode="gray">
            <a:xfrm>
              <a:off x="895832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7" name="Rechteck 736">
              <a:extLst>
                <a:ext uri="{FF2B5EF4-FFF2-40B4-BE49-F238E27FC236}">
                  <a16:creationId xmlns:a16="http://schemas.microsoft.com/office/drawing/2014/main" id="{DCAD013C-80B1-45D8-DF13-69738D1F3D56}"/>
                </a:ext>
              </a:extLst>
            </p:cNvPr>
            <p:cNvSpPr/>
            <p:nvPr userDrawn="1"/>
          </p:nvSpPr>
          <p:spPr bwMode="gray">
            <a:xfrm>
              <a:off x="838225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8" name="Rechteck 737">
              <a:extLst>
                <a:ext uri="{FF2B5EF4-FFF2-40B4-BE49-F238E27FC236}">
                  <a16:creationId xmlns:a16="http://schemas.microsoft.com/office/drawing/2014/main" id="{CFC636A0-5F55-F333-42E5-6F80C6CB9E19}"/>
                </a:ext>
              </a:extLst>
            </p:cNvPr>
            <p:cNvSpPr/>
            <p:nvPr userDrawn="1"/>
          </p:nvSpPr>
          <p:spPr bwMode="gray">
            <a:xfrm>
              <a:off x="780619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9" name="Rechteck 738">
              <a:extLst>
                <a:ext uri="{FF2B5EF4-FFF2-40B4-BE49-F238E27FC236}">
                  <a16:creationId xmlns:a16="http://schemas.microsoft.com/office/drawing/2014/main" id="{7834C4BD-7E1F-5DC0-A326-44836272FD02}"/>
                </a:ext>
              </a:extLst>
            </p:cNvPr>
            <p:cNvSpPr/>
            <p:nvPr userDrawn="1"/>
          </p:nvSpPr>
          <p:spPr bwMode="gray">
            <a:xfrm>
              <a:off x="723012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0" name="Rechteck 739">
              <a:extLst>
                <a:ext uri="{FF2B5EF4-FFF2-40B4-BE49-F238E27FC236}">
                  <a16:creationId xmlns:a16="http://schemas.microsoft.com/office/drawing/2014/main" id="{BFF1D1BA-A183-9DE8-237B-E39AFA66CA91}"/>
                </a:ext>
              </a:extLst>
            </p:cNvPr>
            <p:cNvSpPr/>
            <p:nvPr userDrawn="1"/>
          </p:nvSpPr>
          <p:spPr bwMode="gray">
            <a:xfrm>
              <a:off x="665406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1" name="Rechteck 740">
              <a:extLst>
                <a:ext uri="{FF2B5EF4-FFF2-40B4-BE49-F238E27FC236}">
                  <a16:creationId xmlns:a16="http://schemas.microsoft.com/office/drawing/2014/main" id="{B6D75390-E005-D5B7-22B7-DAE9E4B3A151}"/>
                </a:ext>
              </a:extLst>
            </p:cNvPr>
            <p:cNvSpPr/>
            <p:nvPr userDrawn="1"/>
          </p:nvSpPr>
          <p:spPr bwMode="gray">
            <a:xfrm>
              <a:off x="607800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2" name="Rechteck 741">
              <a:extLst>
                <a:ext uri="{FF2B5EF4-FFF2-40B4-BE49-F238E27FC236}">
                  <a16:creationId xmlns:a16="http://schemas.microsoft.com/office/drawing/2014/main" id="{8727940D-78FD-576E-2E94-8D5E0629BEBE}"/>
                </a:ext>
              </a:extLst>
            </p:cNvPr>
            <p:cNvSpPr/>
            <p:nvPr userDrawn="1"/>
          </p:nvSpPr>
          <p:spPr bwMode="gray">
            <a:xfrm>
              <a:off x="550193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3" name="Rechteck 742">
              <a:extLst>
                <a:ext uri="{FF2B5EF4-FFF2-40B4-BE49-F238E27FC236}">
                  <a16:creationId xmlns:a16="http://schemas.microsoft.com/office/drawing/2014/main" id="{13C8ED0E-8E43-DEB3-1173-10D158614EB8}"/>
                </a:ext>
              </a:extLst>
            </p:cNvPr>
            <p:cNvSpPr/>
            <p:nvPr userDrawn="1"/>
          </p:nvSpPr>
          <p:spPr bwMode="gray">
            <a:xfrm>
              <a:off x="492587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4" name="Rechteck 743">
              <a:extLst>
                <a:ext uri="{FF2B5EF4-FFF2-40B4-BE49-F238E27FC236}">
                  <a16:creationId xmlns:a16="http://schemas.microsoft.com/office/drawing/2014/main" id="{D46CC342-5CA5-DC06-15BF-022F3D7E79BC}"/>
                </a:ext>
              </a:extLst>
            </p:cNvPr>
            <p:cNvSpPr/>
            <p:nvPr userDrawn="1"/>
          </p:nvSpPr>
          <p:spPr bwMode="gray">
            <a:xfrm>
              <a:off x="434980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5" name="Rechteck 744">
              <a:extLst>
                <a:ext uri="{FF2B5EF4-FFF2-40B4-BE49-F238E27FC236}">
                  <a16:creationId xmlns:a16="http://schemas.microsoft.com/office/drawing/2014/main" id="{8BF86CB3-EE95-0212-9F0F-CC8755EDD6DC}"/>
                </a:ext>
              </a:extLst>
            </p:cNvPr>
            <p:cNvSpPr/>
            <p:nvPr userDrawn="1"/>
          </p:nvSpPr>
          <p:spPr bwMode="gray">
            <a:xfrm>
              <a:off x="377374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6" name="Rechteck 745">
              <a:extLst>
                <a:ext uri="{FF2B5EF4-FFF2-40B4-BE49-F238E27FC236}">
                  <a16:creationId xmlns:a16="http://schemas.microsoft.com/office/drawing/2014/main" id="{BB2341E0-77C1-8E2F-0427-EBD073140C3D}"/>
                </a:ext>
              </a:extLst>
            </p:cNvPr>
            <p:cNvSpPr/>
            <p:nvPr userDrawn="1"/>
          </p:nvSpPr>
          <p:spPr bwMode="gray">
            <a:xfrm>
              <a:off x="319768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7" name="Rechteck 746">
              <a:extLst>
                <a:ext uri="{FF2B5EF4-FFF2-40B4-BE49-F238E27FC236}">
                  <a16:creationId xmlns:a16="http://schemas.microsoft.com/office/drawing/2014/main" id="{8CA92347-196D-DFDB-8D32-72C99A193066}"/>
                </a:ext>
              </a:extLst>
            </p:cNvPr>
            <p:cNvSpPr/>
            <p:nvPr userDrawn="1"/>
          </p:nvSpPr>
          <p:spPr bwMode="gray">
            <a:xfrm>
              <a:off x="262161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8" name="Rechteck 747">
              <a:extLst>
                <a:ext uri="{FF2B5EF4-FFF2-40B4-BE49-F238E27FC236}">
                  <a16:creationId xmlns:a16="http://schemas.microsoft.com/office/drawing/2014/main" id="{00240955-6B4C-A79E-0780-E1E11B41D821}"/>
                </a:ext>
              </a:extLst>
            </p:cNvPr>
            <p:cNvSpPr/>
            <p:nvPr userDrawn="1"/>
          </p:nvSpPr>
          <p:spPr bwMode="gray">
            <a:xfrm>
              <a:off x="204555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9" name="Rechteck 748">
              <a:extLst>
                <a:ext uri="{FF2B5EF4-FFF2-40B4-BE49-F238E27FC236}">
                  <a16:creationId xmlns:a16="http://schemas.microsoft.com/office/drawing/2014/main" id="{3A2A6650-0A7C-E1D8-5410-9FDB22AAB68C}"/>
                </a:ext>
              </a:extLst>
            </p:cNvPr>
            <p:cNvSpPr/>
            <p:nvPr userDrawn="1"/>
          </p:nvSpPr>
          <p:spPr bwMode="gray">
            <a:xfrm>
              <a:off x="146948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0" name="Rechteck 749">
              <a:extLst>
                <a:ext uri="{FF2B5EF4-FFF2-40B4-BE49-F238E27FC236}">
                  <a16:creationId xmlns:a16="http://schemas.microsoft.com/office/drawing/2014/main" id="{56433D42-E992-BA20-B522-2CEE795DBFFD}"/>
                </a:ext>
              </a:extLst>
            </p:cNvPr>
            <p:cNvSpPr/>
            <p:nvPr userDrawn="1"/>
          </p:nvSpPr>
          <p:spPr bwMode="gray">
            <a:xfrm>
              <a:off x="89342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1" name="Rechteck 750">
              <a:extLst>
                <a:ext uri="{FF2B5EF4-FFF2-40B4-BE49-F238E27FC236}">
                  <a16:creationId xmlns:a16="http://schemas.microsoft.com/office/drawing/2014/main" id="{240FA81D-D1B7-8723-66BA-AC1A99951245}"/>
                </a:ext>
              </a:extLst>
            </p:cNvPr>
            <p:cNvSpPr/>
            <p:nvPr userDrawn="1"/>
          </p:nvSpPr>
          <p:spPr bwMode="gray">
            <a:xfrm>
              <a:off x="31736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2" name="Rechteck 751">
              <a:extLst>
                <a:ext uri="{FF2B5EF4-FFF2-40B4-BE49-F238E27FC236}">
                  <a16:creationId xmlns:a16="http://schemas.microsoft.com/office/drawing/2014/main" id="{2D2ADEA8-38CB-149A-1E84-B5F0ACBAE1FB}"/>
                </a:ext>
              </a:extLst>
            </p:cNvPr>
            <p:cNvSpPr/>
            <p:nvPr userDrawn="1"/>
          </p:nvSpPr>
          <p:spPr bwMode="gray">
            <a:xfrm>
              <a:off x="1126257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3" name="Rechteck 752">
              <a:extLst>
                <a:ext uri="{FF2B5EF4-FFF2-40B4-BE49-F238E27FC236}">
                  <a16:creationId xmlns:a16="http://schemas.microsoft.com/office/drawing/2014/main" id="{7327529C-69E6-0486-0764-79217A4BBB74}"/>
                </a:ext>
              </a:extLst>
            </p:cNvPr>
            <p:cNvSpPr/>
            <p:nvPr userDrawn="1"/>
          </p:nvSpPr>
          <p:spPr bwMode="gray">
            <a:xfrm>
              <a:off x="1068651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4" name="Rechteck 753">
              <a:extLst>
                <a:ext uri="{FF2B5EF4-FFF2-40B4-BE49-F238E27FC236}">
                  <a16:creationId xmlns:a16="http://schemas.microsoft.com/office/drawing/2014/main" id="{FAEF4771-F196-1E26-CDC1-68A13A664A22}"/>
                </a:ext>
              </a:extLst>
            </p:cNvPr>
            <p:cNvSpPr/>
            <p:nvPr userDrawn="1"/>
          </p:nvSpPr>
          <p:spPr bwMode="gray">
            <a:xfrm>
              <a:off x="1011044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5" name="Rechteck 754">
              <a:extLst>
                <a:ext uri="{FF2B5EF4-FFF2-40B4-BE49-F238E27FC236}">
                  <a16:creationId xmlns:a16="http://schemas.microsoft.com/office/drawing/2014/main" id="{EE82DB51-B2F6-0DA6-8778-2E7B62FC192E}"/>
                </a:ext>
              </a:extLst>
            </p:cNvPr>
            <p:cNvSpPr/>
            <p:nvPr userDrawn="1"/>
          </p:nvSpPr>
          <p:spPr bwMode="gray">
            <a:xfrm>
              <a:off x="953438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6" name="Rechteck 755">
              <a:extLst>
                <a:ext uri="{FF2B5EF4-FFF2-40B4-BE49-F238E27FC236}">
                  <a16:creationId xmlns:a16="http://schemas.microsoft.com/office/drawing/2014/main" id="{371DFA45-A7F2-2C63-728D-3DD66D6F6EF0}"/>
                </a:ext>
              </a:extLst>
            </p:cNvPr>
            <p:cNvSpPr/>
            <p:nvPr userDrawn="1"/>
          </p:nvSpPr>
          <p:spPr bwMode="gray">
            <a:xfrm>
              <a:off x="895832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7" name="Rechteck 756">
              <a:extLst>
                <a:ext uri="{FF2B5EF4-FFF2-40B4-BE49-F238E27FC236}">
                  <a16:creationId xmlns:a16="http://schemas.microsoft.com/office/drawing/2014/main" id="{0EC4A713-4815-6FFD-EC7E-A83B361FC02A}"/>
                </a:ext>
              </a:extLst>
            </p:cNvPr>
            <p:cNvSpPr/>
            <p:nvPr userDrawn="1"/>
          </p:nvSpPr>
          <p:spPr bwMode="gray">
            <a:xfrm>
              <a:off x="838225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8" name="Rechteck 757">
              <a:extLst>
                <a:ext uri="{FF2B5EF4-FFF2-40B4-BE49-F238E27FC236}">
                  <a16:creationId xmlns:a16="http://schemas.microsoft.com/office/drawing/2014/main" id="{3628EB64-7690-78D0-126D-33AA701A5E49}"/>
                </a:ext>
              </a:extLst>
            </p:cNvPr>
            <p:cNvSpPr/>
            <p:nvPr userDrawn="1"/>
          </p:nvSpPr>
          <p:spPr bwMode="gray">
            <a:xfrm>
              <a:off x="780619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9" name="Rechteck 758">
              <a:extLst>
                <a:ext uri="{FF2B5EF4-FFF2-40B4-BE49-F238E27FC236}">
                  <a16:creationId xmlns:a16="http://schemas.microsoft.com/office/drawing/2014/main" id="{EC1A7642-5614-164B-CBE7-6FCE358B72F8}"/>
                </a:ext>
              </a:extLst>
            </p:cNvPr>
            <p:cNvSpPr/>
            <p:nvPr userDrawn="1"/>
          </p:nvSpPr>
          <p:spPr bwMode="gray">
            <a:xfrm>
              <a:off x="723012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0" name="Rechteck 759">
              <a:extLst>
                <a:ext uri="{FF2B5EF4-FFF2-40B4-BE49-F238E27FC236}">
                  <a16:creationId xmlns:a16="http://schemas.microsoft.com/office/drawing/2014/main" id="{7932EB53-809C-6FB8-F1AD-ECCC69405465}"/>
                </a:ext>
              </a:extLst>
            </p:cNvPr>
            <p:cNvSpPr/>
            <p:nvPr userDrawn="1"/>
          </p:nvSpPr>
          <p:spPr bwMode="gray">
            <a:xfrm>
              <a:off x="665406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1" name="Rechteck 760">
              <a:extLst>
                <a:ext uri="{FF2B5EF4-FFF2-40B4-BE49-F238E27FC236}">
                  <a16:creationId xmlns:a16="http://schemas.microsoft.com/office/drawing/2014/main" id="{5A75E702-F979-665E-B8D1-A45CC8CB0B39}"/>
                </a:ext>
              </a:extLst>
            </p:cNvPr>
            <p:cNvSpPr/>
            <p:nvPr userDrawn="1"/>
          </p:nvSpPr>
          <p:spPr bwMode="gray">
            <a:xfrm>
              <a:off x="607800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2" name="Rechteck 761">
              <a:extLst>
                <a:ext uri="{FF2B5EF4-FFF2-40B4-BE49-F238E27FC236}">
                  <a16:creationId xmlns:a16="http://schemas.microsoft.com/office/drawing/2014/main" id="{A9705E92-28DD-F369-3730-A3C422B1810A}"/>
                </a:ext>
              </a:extLst>
            </p:cNvPr>
            <p:cNvSpPr/>
            <p:nvPr userDrawn="1"/>
          </p:nvSpPr>
          <p:spPr bwMode="gray">
            <a:xfrm>
              <a:off x="550193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3" name="Rechteck 762">
              <a:extLst>
                <a:ext uri="{FF2B5EF4-FFF2-40B4-BE49-F238E27FC236}">
                  <a16:creationId xmlns:a16="http://schemas.microsoft.com/office/drawing/2014/main" id="{C09D0151-EB64-0D37-315F-243E9A1C37D3}"/>
                </a:ext>
              </a:extLst>
            </p:cNvPr>
            <p:cNvSpPr/>
            <p:nvPr userDrawn="1"/>
          </p:nvSpPr>
          <p:spPr bwMode="gray">
            <a:xfrm>
              <a:off x="492587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4" name="Rechteck 763">
              <a:extLst>
                <a:ext uri="{FF2B5EF4-FFF2-40B4-BE49-F238E27FC236}">
                  <a16:creationId xmlns:a16="http://schemas.microsoft.com/office/drawing/2014/main" id="{692E94C6-2A12-B201-8FE9-68FE94DC4C08}"/>
                </a:ext>
              </a:extLst>
            </p:cNvPr>
            <p:cNvSpPr/>
            <p:nvPr userDrawn="1"/>
          </p:nvSpPr>
          <p:spPr bwMode="gray">
            <a:xfrm>
              <a:off x="434980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5" name="Rechteck 764">
              <a:extLst>
                <a:ext uri="{FF2B5EF4-FFF2-40B4-BE49-F238E27FC236}">
                  <a16:creationId xmlns:a16="http://schemas.microsoft.com/office/drawing/2014/main" id="{955B44DE-830A-E5CE-7140-938766BD381D}"/>
                </a:ext>
              </a:extLst>
            </p:cNvPr>
            <p:cNvSpPr/>
            <p:nvPr userDrawn="1"/>
          </p:nvSpPr>
          <p:spPr bwMode="gray">
            <a:xfrm>
              <a:off x="377374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6" name="Rechteck 765">
              <a:extLst>
                <a:ext uri="{FF2B5EF4-FFF2-40B4-BE49-F238E27FC236}">
                  <a16:creationId xmlns:a16="http://schemas.microsoft.com/office/drawing/2014/main" id="{9BFB31CE-F8CA-8B27-675F-8DFA41DD5494}"/>
                </a:ext>
              </a:extLst>
            </p:cNvPr>
            <p:cNvSpPr/>
            <p:nvPr userDrawn="1"/>
          </p:nvSpPr>
          <p:spPr bwMode="gray">
            <a:xfrm>
              <a:off x="319768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7" name="Rechteck 766">
              <a:extLst>
                <a:ext uri="{FF2B5EF4-FFF2-40B4-BE49-F238E27FC236}">
                  <a16:creationId xmlns:a16="http://schemas.microsoft.com/office/drawing/2014/main" id="{463B64C4-C15C-8568-A013-D7E0EAFDF459}"/>
                </a:ext>
              </a:extLst>
            </p:cNvPr>
            <p:cNvSpPr/>
            <p:nvPr userDrawn="1"/>
          </p:nvSpPr>
          <p:spPr bwMode="gray">
            <a:xfrm>
              <a:off x="262161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8" name="Rechteck 767">
              <a:extLst>
                <a:ext uri="{FF2B5EF4-FFF2-40B4-BE49-F238E27FC236}">
                  <a16:creationId xmlns:a16="http://schemas.microsoft.com/office/drawing/2014/main" id="{1A3E50E2-A43B-D12A-E68D-59FA79D6F128}"/>
                </a:ext>
              </a:extLst>
            </p:cNvPr>
            <p:cNvSpPr/>
            <p:nvPr userDrawn="1"/>
          </p:nvSpPr>
          <p:spPr bwMode="gray">
            <a:xfrm>
              <a:off x="204555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9" name="Rechteck 768">
              <a:extLst>
                <a:ext uri="{FF2B5EF4-FFF2-40B4-BE49-F238E27FC236}">
                  <a16:creationId xmlns:a16="http://schemas.microsoft.com/office/drawing/2014/main" id="{F3091E66-B0A5-D563-8F89-8863B938F6E9}"/>
                </a:ext>
              </a:extLst>
            </p:cNvPr>
            <p:cNvSpPr/>
            <p:nvPr userDrawn="1"/>
          </p:nvSpPr>
          <p:spPr bwMode="gray">
            <a:xfrm>
              <a:off x="146948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0" name="Rechteck 769">
              <a:extLst>
                <a:ext uri="{FF2B5EF4-FFF2-40B4-BE49-F238E27FC236}">
                  <a16:creationId xmlns:a16="http://schemas.microsoft.com/office/drawing/2014/main" id="{37DD9AE5-1038-EFDA-4AB6-418D4CFA0CAA}"/>
                </a:ext>
              </a:extLst>
            </p:cNvPr>
            <p:cNvSpPr/>
            <p:nvPr userDrawn="1"/>
          </p:nvSpPr>
          <p:spPr bwMode="gray">
            <a:xfrm>
              <a:off x="89342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1" name="Rechteck 770">
              <a:extLst>
                <a:ext uri="{FF2B5EF4-FFF2-40B4-BE49-F238E27FC236}">
                  <a16:creationId xmlns:a16="http://schemas.microsoft.com/office/drawing/2014/main" id="{9CEF40DF-AF85-810E-6EAC-DC2B2B3F02A0}"/>
                </a:ext>
              </a:extLst>
            </p:cNvPr>
            <p:cNvSpPr/>
            <p:nvPr userDrawn="1"/>
          </p:nvSpPr>
          <p:spPr bwMode="gray">
            <a:xfrm>
              <a:off x="31736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2" name="Rechteck 771">
              <a:extLst>
                <a:ext uri="{FF2B5EF4-FFF2-40B4-BE49-F238E27FC236}">
                  <a16:creationId xmlns:a16="http://schemas.microsoft.com/office/drawing/2014/main" id="{D9C48390-640A-23EB-38D3-9E7E6CCF5B02}"/>
                </a:ext>
              </a:extLst>
            </p:cNvPr>
            <p:cNvSpPr/>
            <p:nvPr userDrawn="1"/>
          </p:nvSpPr>
          <p:spPr bwMode="gray">
            <a:xfrm>
              <a:off x="1183864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3" name="Rechteck 772">
              <a:extLst>
                <a:ext uri="{FF2B5EF4-FFF2-40B4-BE49-F238E27FC236}">
                  <a16:creationId xmlns:a16="http://schemas.microsoft.com/office/drawing/2014/main" id="{1B95AD7B-6A11-F893-0189-9CEECDA3A1FB}"/>
                </a:ext>
              </a:extLst>
            </p:cNvPr>
            <p:cNvSpPr/>
            <p:nvPr userDrawn="1"/>
          </p:nvSpPr>
          <p:spPr bwMode="gray">
            <a:xfrm>
              <a:off x="1183864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4" name="Rechteck 773">
              <a:extLst>
                <a:ext uri="{FF2B5EF4-FFF2-40B4-BE49-F238E27FC236}">
                  <a16:creationId xmlns:a16="http://schemas.microsoft.com/office/drawing/2014/main" id="{1A13EAD0-7106-98E7-9C38-15B85C9C1CAE}"/>
                </a:ext>
              </a:extLst>
            </p:cNvPr>
            <p:cNvSpPr/>
            <p:nvPr userDrawn="1"/>
          </p:nvSpPr>
          <p:spPr bwMode="gray">
            <a:xfrm>
              <a:off x="1183864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5" name="Rechteck 774">
              <a:extLst>
                <a:ext uri="{FF2B5EF4-FFF2-40B4-BE49-F238E27FC236}">
                  <a16:creationId xmlns:a16="http://schemas.microsoft.com/office/drawing/2014/main" id="{96F0B0B9-171C-40AF-C56D-EF02E8378BF8}"/>
                </a:ext>
              </a:extLst>
            </p:cNvPr>
            <p:cNvSpPr/>
            <p:nvPr userDrawn="1"/>
          </p:nvSpPr>
          <p:spPr bwMode="gray">
            <a:xfrm>
              <a:off x="1183864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6" name="Rechteck 775">
              <a:extLst>
                <a:ext uri="{FF2B5EF4-FFF2-40B4-BE49-F238E27FC236}">
                  <a16:creationId xmlns:a16="http://schemas.microsoft.com/office/drawing/2014/main" id="{60606EB1-F1E7-98DA-E561-D6CE34251662}"/>
                </a:ext>
              </a:extLst>
            </p:cNvPr>
            <p:cNvSpPr/>
            <p:nvPr userDrawn="1"/>
          </p:nvSpPr>
          <p:spPr bwMode="gray">
            <a:xfrm>
              <a:off x="1183864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7" name="Rechteck 776">
              <a:extLst>
                <a:ext uri="{FF2B5EF4-FFF2-40B4-BE49-F238E27FC236}">
                  <a16:creationId xmlns:a16="http://schemas.microsoft.com/office/drawing/2014/main" id="{6A18B3EB-D084-401B-199D-878DF27F55FE}"/>
                </a:ext>
              </a:extLst>
            </p:cNvPr>
            <p:cNvSpPr/>
            <p:nvPr userDrawn="1"/>
          </p:nvSpPr>
          <p:spPr bwMode="gray">
            <a:xfrm>
              <a:off x="1183864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8" name="Rechteck 777">
              <a:extLst>
                <a:ext uri="{FF2B5EF4-FFF2-40B4-BE49-F238E27FC236}">
                  <a16:creationId xmlns:a16="http://schemas.microsoft.com/office/drawing/2014/main" id="{82A81875-10C0-2464-E1C8-24C2C8CC0973}"/>
                </a:ext>
              </a:extLst>
            </p:cNvPr>
            <p:cNvSpPr/>
            <p:nvPr userDrawn="1"/>
          </p:nvSpPr>
          <p:spPr bwMode="gray">
            <a:xfrm>
              <a:off x="1183864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9" name="Rechteck 778">
              <a:extLst>
                <a:ext uri="{FF2B5EF4-FFF2-40B4-BE49-F238E27FC236}">
                  <a16:creationId xmlns:a16="http://schemas.microsoft.com/office/drawing/2014/main" id="{994F7DCB-E2B1-FF95-8C1C-4E66E1027214}"/>
                </a:ext>
              </a:extLst>
            </p:cNvPr>
            <p:cNvSpPr/>
            <p:nvPr userDrawn="1"/>
          </p:nvSpPr>
          <p:spPr bwMode="gray">
            <a:xfrm>
              <a:off x="1183864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0" name="Rechteck 779">
              <a:extLst>
                <a:ext uri="{FF2B5EF4-FFF2-40B4-BE49-F238E27FC236}">
                  <a16:creationId xmlns:a16="http://schemas.microsoft.com/office/drawing/2014/main" id="{C565CBFB-8799-F87E-4056-88CA21CE2C4D}"/>
                </a:ext>
              </a:extLst>
            </p:cNvPr>
            <p:cNvSpPr/>
            <p:nvPr userDrawn="1"/>
          </p:nvSpPr>
          <p:spPr bwMode="gray">
            <a:xfrm>
              <a:off x="1183864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grpSp>
      <p:sp>
        <p:nvSpPr>
          <p:cNvPr id="579" name="Shape">
            <a:extLst>
              <a:ext uri="{FF2B5EF4-FFF2-40B4-BE49-F238E27FC236}">
                <a16:creationId xmlns:a16="http://schemas.microsoft.com/office/drawing/2014/main" id="{9725C881-C48E-28D4-36AA-F354AB98668E}"/>
              </a:ext>
              <a:ext uri="{C183D7F6-B498-43B3-948B-1728B52AA6E4}">
                <adec:decorative xmlns:adec="http://schemas.microsoft.com/office/drawing/2017/decorative" val="1"/>
              </a:ext>
            </a:extLst>
          </p:cNvPr>
          <p:cNvSpPr>
            <a:spLocks/>
          </p:cNvSpPr>
          <p:nvPr userDrawn="1"/>
        </p:nvSpPr>
        <p:spPr bwMode="gray">
          <a:xfrm>
            <a:off x="4367808" y="2061400"/>
            <a:ext cx="5775177" cy="3463099"/>
          </a:xfrm>
          <a:custGeom>
            <a:avLst/>
            <a:gdLst>
              <a:gd name="connsiteX0" fmla="*/ 0 w 8604027"/>
              <a:gd name="connsiteY0" fmla="*/ 857 h 5734812"/>
              <a:gd name="connsiteX1" fmla="*/ 8604028 w 8604027"/>
              <a:gd name="connsiteY1" fmla="*/ 0 h 5734812"/>
              <a:gd name="connsiteX2" fmla="*/ 7170039 w 8604027"/>
              <a:gd name="connsiteY2" fmla="*/ 4301966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02506 w 8604029"/>
              <a:gd name="connsiteY2" fmla="*/ 3984076 h 5734812"/>
              <a:gd name="connsiteX3" fmla="*/ 0 w 8604029"/>
              <a:gd name="connsiteY3" fmla="*/ 5734812 h 5734812"/>
              <a:gd name="connsiteX4" fmla="*/ 0 w 8604029"/>
              <a:gd name="connsiteY4" fmla="*/ 857 h 5734812"/>
              <a:gd name="connsiteX0" fmla="*/ 0 w 8604027"/>
              <a:gd name="connsiteY0" fmla="*/ 857 h 5734812"/>
              <a:gd name="connsiteX1" fmla="*/ 8604028 w 8604027"/>
              <a:gd name="connsiteY1" fmla="*/ 0 h 5734812"/>
              <a:gd name="connsiteX2" fmla="*/ 7046854 w 8604027"/>
              <a:gd name="connsiteY2" fmla="*/ 4091749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50550 w 8604029"/>
              <a:gd name="connsiteY2" fmla="*/ 4107130 h 5734812"/>
              <a:gd name="connsiteX3" fmla="*/ 0 w 8604029"/>
              <a:gd name="connsiteY3" fmla="*/ 5734812 h 5734812"/>
              <a:gd name="connsiteX4" fmla="*/ 0 w 8604029"/>
              <a:gd name="connsiteY4" fmla="*/ 857 h 5734812"/>
              <a:gd name="connsiteX0" fmla="*/ 0 w 8604028"/>
              <a:gd name="connsiteY0" fmla="*/ 857 h 5734812"/>
              <a:gd name="connsiteX1" fmla="*/ 8604028 w 8604028"/>
              <a:gd name="connsiteY1" fmla="*/ 0 h 5734812"/>
              <a:gd name="connsiteX2" fmla="*/ 6576335 w 8604028"/>
              <a:gd name="connsiteY2" fmla="*/ 3411651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98802 w 8604028"/>
              <a:gd name="connsiteY2" fmla="*/ 3812078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905914 w 8604028"/>
              <a:gd name="connsiteY2" fmla="*/ 3827884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70437 w 8604028"/>
              <a:gd name="connsiteY2" fmla="*/ 3745075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84628 w 8604028"/>
              <a:gd name="connsiteY2" fmla="*/ 3827883 h 5734812"/>
              <a:gd name="connsiteX3" fmla="*/ 0 w 8604028"/>
              <a:gd name="connsiteY3" fmla="*/ 5734812 h 5734812"/>
              <a:gd name="connsiteX4" fmla="*/ 0 w 8604028"/>
              <a:gd name="connsiteY4" fmla="*/ 857 h 5734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4028" h="5734812">
                <a:moveTo>
                  <a:pt x="0" y="857"/>
                </a:moveTo>
                <a:lnTo>
                  <a:pt x="8604028" y="0"/>
                </a:lnTo>
                <a:lnTo>
                  <a:pt x="6884628" y="3827883"/>
                </a:lnTo>
                <a:lnTo>
                  <a:pt x="0" y="5734812"/>
                </a:lnTo>
                <a:lnTo>
                  <a:pt x="0" y="857"/>
                </a:lnTo>
                <a:close/>
              </a:path>
            </a:pathLst>
          </a:custGeom>
          <a:solidFill>
            <a:schemeClr val="bg1"/>
          </a:solidFill>
          <a:ln w="76200" cap="flat">
            <a:solidFill>
              <a:schemeClr val="bg1"/>
            </a:solidFill>
            <a:prstDash val="solid"/>
            <a:miter/>
          </a:ln>
        </p:spPr>
        <p:txBody>
          <a:bodyPr rtlCol="0" anchor="ctr"/>
          <a:lstStyle/>
          <a:p>
            <a:endParaRPr lang="en-GB" dirty="0"/>
          </a:p>
        </p:txBody>
      </p:sp>
      <p:sp>
        <p:nvSpPr>
          <p:cNvPr id="2" name="Title"/>
          <p:cNvSpPr>
            <a:spLocks noGrp="1"/>
          </p:cNvSpPr>
          <p:nvPr userDrawn="1">
            <p:ph type="ctrTitle" hasCustomPrompt="1"/>
          </p:nvPr>
        </p:nvSpPr>
        <p:spPr bwMode="gray">
          <a:xfrm>
            <a:off x="695400" y="2565032"/>
            <a:ext cx="2952000" cy="1152000"/>
          </a:xfrm>
          <a:prstGeom prst="rect">
            <a:avLst/>
          </a:prstGeom>
          <a:solidFill>
            <a:schemeClr val="bg1"/>
          </a:solidFill>
          <a:ln w="127">
            <a:solidFill>
              <a:schemeClr val="bg1"/>
            </a:solidFill>
          </a:ln>
        </p:spPr>
        <p:txBody>
          <a:bodyPr vert="horz" lIns="216000" tIns="36000" rIns="216000" anchor="t">
            <a:noAutofit/>
          </a:bodyPr>
          <a:lstStyle>
            <a:lvl1pPr algn="l">
              <a:lnSpc>
                <a:spcPct val="90000"/>
              </a:lnSpc>
              <a:defRPr sz="2400"/>
            </a:lvl1pPr>
          </a:lstStyle>
          <a:p>
            <a:r>
              <a:rPr lang="en-GB" dirty="0"/>
              <a:t>Insert your long title here in max. three lines</a:t>
            </a:r>
          </a:p>
        </p:txBody>
      </p:sp>
      <p:sp>
        <p:nvSpPr>
          <p:cNvPr id="3" name="Subtitle 2"/>
          <p:cNvSpPr>
            <a:spLocks noGrp="1"/>
          </p:cNvSpPr>
          <p:nvPr userDrawn="1">
            <p:ph type="subTitle" idx="1" hasCustomPrompt="1"/>
          </p:nvPr>
        </p:nvSpPr>
        <p:spPr bwMode="gray">
          <a:xfrm>
            <a:off x="695400" y="3717032"/>
            <a:ext cx="2952000" cy="1058353"/>
          </a:xfrm>
          <a:prstGeom prst="rect">
            <a:avLst/>
          </a:prstGeom>
          <a:solidFill>
            <a:schemeClr val="bg1"/>
          </a:solidFill>
          <a:ln w="127">
            <a:solidFill>
              <a:schemeClr val="bg1"/>
            </a:solidFill>
          </a:ln>
        </p:spPr>
        <p:txBody>
          <a:bodyPr lIns="216000" rIns="216000"/>
          <a:lstStyle>
            <a:lvl1pPr marL="0" indent="0" algn="l">
              <a:lnSpc>
                <a:spcPct val="100000"/>
              </a:lnSpc>
              <a:spcBef>
                <a:spcPts val="0"/>
              </a:spcBef>
              <a:buFont typeface="Arial" panose="020B0604020202020204" pitchFamily="34" charset="0"/>
              <a:buNone/>
              <a:defRPr sz="1600" b="0">
                <a:latin typeface="+mn-lt"/>
              </a:defRPr>
            </a:lvl1pPr>
            <a:lvl2pPr marL="0" indent="0" algn="l">
              <a:lnSpc>
                <a:spcPct val="100000"/>
              </a:lnSpc>
              <a:spcBef>
                <a:spcPts val="0"/>
              </a:spcBef>
              <a:buFont typeface="Arial" panose="020B0604020202020204" pitchFamily="34" charset="0"/>
              <a:buNone/>
              <a:defRPr sz="1600" b="0">
                <a:latin typeface="+mn-lt"/>
              </a:defRPr>
            </a:lvl2pPr>
            <a:lvl3pPr marL="0" indent="0" algn="l">
              <a:lnSpc>
                <a:spcPct val="100000"/>
              </a:lnSpc>
              <a:spcBef>
                <a:spcPts val="0"/>
              </a:spcBef>
              <a:buFont typeface="Arial" panose="020B0604020202020204" pitchFamily="34" charset="0"/>
              <a:buNone/>
              <a:defRPr sz="1600" b="0">
                <a:latin typeface="+mn-lt"/>
              </a:defRPr>
            </a:lvl3pPr>
            <a:lvl4pPr marL="0" indent="0" algn="l">
              <a:lnSpc>
                <a:spcPct val="100000"/>
              </a:lnSpc>
              <a:spcBef>
                <a:spcPts val="0"/>
              </a:spcBef>
              <a:buFont typeface="Arial" panose="020B0604020202020204" pitchFamily="34" charset="0"/>
              <a:buNone/>
              <a:defRPr sz="1600" b="0">
                <a:latin typeface="+mn-lt"/>
              </a:defRPr>
            </a:lvl4pPr>
            <a:lvl5pPr marL="0" indent="0" algn="l">
              <a:lnSpc>
                <a:spcPct val="100000"/>
              </a:lnSpc>
              <a:spcBef>
                <a:spcPts val="0"/>
              </a:spcBef>
              <a:buFont typeface="Arial" panose="020B0604020202020204" pitchFamily="34" charset="0"/>
              <a:buNone/>
              <a:defRPr sz="1600" b="0">
                <a:latin typeface="+mn-lt"/>
              </a:defRPr>
            </a:lvl5pPr>
            <a:lvl6pPr marL="0" indent="0" algn="l">
              <a:lnSpc>
                <a:spcPct val="100000"/>
              </a:lnSpc>
              <a:spcBef>
                <a:spcPts val="0"/>
              </a:spcBef>
              <a:buFont typeface="Arial" panose="020B0604020202020204" pitchFamily="34" charset="0"/>
              <a:buNone/>
              <a:defRPr sz="1600" b="0">
                <a:latin typeface="+mn-lt"/>
              </a:defRPr>
            </a:lvl6pPr>
            <a:lvl7pPr marL="0" indent="0" algn="l">
              <a:lnSpc>
                <a:spcPct val="100000"/>
              </a:lnSpc>
              <a:spcBef>
                <a:spcPts val="0"/>
              </a:spcBef>
              <a:buFont typeface="Arial" panose="020B0604020202020204" pitchFamily="34" charset="0"/>
              <a:buNone/>
              <a:defRPr sz="1600" b="0">
                <a:latin typeface="+mn-lt"/>
              </a:defRPr>
            </a:lvl7pPr>
            <a:lvl8pPr marL="0" indent="0" algn="l">
              <a:lnSpc>
                <a:spcPct val="100000"/>
              </a:lnSpc>
              <a:spcBef>
                <a:spcPts val="0"/>
              </a:spcBef>
              <a:buFont typeface="Arial" panose="020B0604020202020204" pitchFamily="34" charset="0"/>
              <a:buNone/>
              <a:defRPr sz="1600" b="0">
                <a:latin typeface="+mn-lt"/>
              </a:defRPr>
            </a:lvl8pPr>
            <a:lvl9pPr marL="0" indent="0" algn="l">
              <a:lnSpc>
                <a:spcPct val="100000"/>
              </a:lnSpc>
              <a:spcBef>
                <a:spcPts val="0"/>
              </a:spcBef>
              <a:buFont typeface="Arial" panose="020B0604020202020204" pitchFamily="34" charset="0"/>
              <a:buNone/>
              <a:defRPr sz="1600" b="0">
                <a:latin typeface="+mn-lt"/>
              </a:defRPr>
            </a:lvl9pPr>
          </a:lstStyle>
          <a:p>
            <a:r>
              <a:rPr lang="en-GB" dirty="0"/>
              <a:t>Insert here your subtitle</a:t>
            </a:r>
          </a:p>
        </p:txBody>
      </p:sp>
      <p:sp>
        <p:nvSpPr>
          <p:cNvPr id="31" name="Author"/>
          <p:cNvSpPr>
            <a:spLocks noGrp="1"/>
          </p:cNvSpPr>
          <p:nvPr userDrawn="1">
            <p:ph type="body" sz="quarter" idx="14" hasCustomPrompt="1"/>
          </p:nvPr>
        </p:nvSpPr>
        <p:spPr bwMode="gray">
          <a:xfrm>
            <a:off x="695400" y="4869160"/>
            <a:ext cx="2952000" cy="216000"/>
          </a:xfrm>
          <a:prstGeom prst="rect">
            <a:avLst/>
          </a:prstGeom>
          <a:solidFill>
            <a:schemeClr val="bg1"/>
          </a:solidFill>
          <a:ln w="127">
            <a:solidFill>
              <a:schemeClr val="bg1"/>
            </a:solidFill>
          </a:ln>
        </p:spPr>
        <p:txBody>
          <a:bodyPr wrap="square" lIns="216000" rIns="216000" anchor="b"/>
          <a:lstStyle>
            <a:lvl1pPr marL="0" indent="0" algn="l">
              <a:lnSpc>
                <a:spcPct val="100000"/>
              </a:lnSpc>
              <a:spcBef>
                <a:spcPts val="0"/>
              </a:spcBef>
              <a:buFont typeface="Arial" panose="020B0604020202020204" pitchFamily="34" charset="0"/>
              <a:buNone/>
              <a:defRPr sz="1200" b="0">
                <a:latin typeface="+mj-lt"/>
              </a:defRPr>
            </a:lvl1pPr>
            <a:lvl2pPr marL="0" indent="0" algn="l">
              <a:lnSpc>
                <a:spcPct val="100000"/>
              </a:lnSpc>
              <a:spcBef>
                <a:spcPts val="0"/>
              </a:spcBef>
              <a:buFont typeface="Arial" panose="020B0604020202020204" pitchFamily="34" charset="0"/>
              <a:buNone/>
              <a:defRPr sz="1200" b="0">
                <a:latin typeface="+mj-lt"/>
              </a:defRPr>
            </a:lvl2pPr>
            <a:lvl3pPr marL="0" indent="0" algn="l">
              <a:lnSpc>
                <a:spcPct val="100000"/>
              </a:lnSpc>
              <a:spcBef>
                <a:spcPts val="0"/>
              </a:spcBef>
              <a:buFont typeface="Arial" panose="020B0604020202020204" pitchFamily="34" charset="0"/>
              <a:buNone/>
              <a:defRPr sz="1200" b="0">
                <a:latin typeface="+mj-lt"/>
              </a:defRPr>
            </a:lvl3pPr>
            <a:lvl4pPr marL="0" indent="0" algn="l">
              <a:lnSpc>
                <a:spcPct val="100000"/>
              </a:lnSpc>
              <a:spcBef>
                <a:spcPts val="0"/>
              </a:spcBef>
              <a:buFont typeface="Arial" panose="020B0604020202020204" pitchFamily="34" charset="0"/>
              <a:buNone/>
              <a:defRPr sz="1200" b="0">
                <a:latin typeface="+mj-lt"/>
              </a:defRPr>
            </a:lvl4pPr>
            <a:lvl5pPr marL="0" indent="0" algn="l">
              <a:lnSpc>
                <a:spcPct val="100000"/>
              </a:lnSpc>
              <a:spcBef>
                <a:spcPts val="0"/>
              </a:spcBef>
              <a:buFont typeface="Arial" panose="020B0604020202020204" pitchFamily="34" charset="0"/>
              <a:buNone/>
              <a:defRPr sz="1200" b="0">
                <a:latin typeface="+mj-lt"/>
              </a:defRPr>
            </a:lvl5pPr>
            <a:lvl6pPr marL="0" indent="0" algn="l">
              <a:lnSpc>
                <a:spcPct val="100000"/>
              </a:lnSpc>
              <a:spcBef>
                <a:spcPts val="0"/>
              </a:spcBef>
              <a:buNone/>
              <a:defRPr sz="1200" b="0">
                <a:latin typeface="+mj-lt"/>
              </a:defRPr>
            </a:lvl6pPr>
            <a:lvl7pPr marL="0" indent="0" algn="l">
              <a:lnSpc>
                <a:spcPct val="100000"/>
              </a:lnSpc>
              <a:spcBef>
                <a:spcPts val="0"/>
              </a:spcBef>
              <a:buNone/>
              <a:defRPr sz="1200" b="0">
                <a:latin typeface="+mj-lt"/>
              </a:defRPr>
            </a:lvl7pPr>
            <a:lvl8pPr marL="0" indent="0" algn="l">
              <a:lnSpc>
                <a:spcPct val="100000"/>
              </a:lnSpc>
              <a:spcBef>
                <a:spcPts val="0"/>
              </a:spcBef>
              <a:buNone/>
              <a:defRPr sz="1200" b="0">
                <a:latin typeface="+mj-lt"/>
              </a:defRPr>
            </a:lvl8pPr>
            <a:lvl9pPr marL="0" indent="0" algn="l">
              <a:lnSpc>
                <a:spcPct val="100000"/>
              </a:lnSpc>
              <a:spcBef>
                <a:spcPts val="0"/>
              </a:spcBef>
              <a:buNone/>
              <a:defRPr sz="1200" b="0">
                <a:latin typeface="+mj-lt"/>
              </a:defRPr>
            </a:lvl9pPr>
          </a:lstStyle>
          <a:p>
            <a:pPr lvl="0"/>
            <a:r>
              <a:rPr lang="en-GB" dirty="0"/>
              <a:t>First name Last name</a:t>
            </a:r>
          </a:p>
        </p:txBody>
      </p:sp>
      <p:sp>
        <p:nvSpPr>
          <p:cNvPr id="34" name="Department, Date"/>
          <p:cNvSpPr>
            <a:spLocks noGrp="1"/>
          </p:cNvSpPr>
          <p:nvPr userDrawn="1">
            <p:ph type="body" sz="quarter" idx="15" hasCustomPrompt="1"/>
          </p:nvPr>
        </p:nvSpPr>
        <p:spPr bwMode="gray">
          <a:xfrm>
            <a:off x="695400" y="5085160"/>
            <a:ext cx="2952000" cy="504000"/>
          </a:xfrm>
          <a:prstGeom prst="rect">
            <a:avLst/>
          </a:prstGeom>
          <a:solidFill>
            <a:schemeClr val="bg1"/>
          </a:solidFill>
          <a:ln w="127">
            <a:solidFill>
              <a:schemeClr val="bg1"/>
            </a:solidFill>
          </a:ln>
        </p:spPr>
        <p:txBody>
          <a:bodyPr wrap="square" lIns="216000" rIns="216000"/>
          <a:lstStyle>
            <a:lvl1pPr marL="0" indent="0">
              <a:lnSpc>
                <a:spcPct val="100000"/>
              </a:lnSpc>
              <a:spcBef>
                <a:spcPts val="0"/>
              </a:spcBef>
              <a:buFont typeface="Arial" panose="020B0604020202020204" pitchFamily="34" charset="0"/>
              <a:buNone/>
              <a:defRPr sz="1200" i="1">
                <a:latin typeface="+mn-lt"/>
              </a:defRPr>
            </a:lvl1pPr>
            <a:lvl2pPr marL="0" indent="0">
              <a:lnSpc>
                <a:spcPct val="100000"/>
              </a:lnSpc>
              <a:spcBef>
                <a:spcPts val="0"/>
              </a:spcBef>
              <a:buFont typeface="Arial" panose="020B0604020202020204" pitchFamily="34" charset="0"/>
              <a:buNone/>
              <a:defRPr sz="1200" i="1">
                <a:latin typeface="+mn-lt"/>
              </a:defRPr>
            </a:lvl2pPr>
            <a:lvl3pPr marL="0" indent="0">
              <a:lnSpc>
                <a:spcPct val="100000"/>
              </a:lnSpc>
              <a:spcBef>
                <a:spcPts val="0"/>
              </a:spcBef>
              <a:buFont typeface="Arial" panose="020B0604020202020204" pitchFamily="34" charset="0"/>
              <a:buNone/>
              <a:defRPr sz="1200" i="1">
                <a:latin typeface="+mn-lt"/>
              </a:defRPr>
            </a:lvl3pPr>
            <a:lvl4pPr marL="0" indent="0">
              <a:lnSpc>
                <a:spcPct val="100000"/>
              </a:lnSpc>
              <a:spcBef>
                <a:spcPts val="0"/>
              </a:spcBef>
              <a:buFont typeface="Arial" panose="020B0604020202020204" pitchFamily="34" charset="0"/>
              <a:buNone/>
              <a:defRPr sz="1200" i="1">
                <a:latin typeface="+mn-lt"/>
              </a:defRPr>
            </a:lvl4pPr>
            <a:lvl5pPr marL="0" indent="0">
              <a:lnSpc>
                <a:spcPct val="100000"/>
              </a:lnSpc>
              <a:spcBef>
                <a:spcPts val="0"/>
              </a:spcBef>
              <a:buFont typeface="Arial" panose="020B0604020202020204" pitchFamily="34" charset="0"/>
              <a:buNone/>
              <a:defRPr sz="1200" i="1">
                <a:latin typeface="+mn-lt"/>
              </a:defRPr>
            </a:lvl5pPr>
            <a:lvl6pPr marL="0" indent="0">
              <a:lnSpc>
                <a:spcPct val="100000"/>
              </a:lnSpc>
              <a:spcBef>
                <a:spcPts val="0"/>
              </a:spcBef>
              <a:buNone/>
              <a:defRPr sz="1200" i="1">
                <a:latin typeface="+mn-lt"/>
              </a:defRPr>
            </a:lvl6pPr>
            <a:lvl7pPr marL="0" indent="0">
              <a:lnSpc>
                <a:spcPct val="100000"/>
              </a:lnSpc>
              <a:spcBef>
                <a:spcPts val="0"/>
              </a:spcBef>
              <a:buNone/>
              <a:defRPr sz="1200" i="1">
                <a:latin typeface="+mn-lt"/>
              </a:defRPr>
            </a:lvl7pPr>
            <a:lvl8pPr marL="0" indent="0">
              <a:lnSpc>
                <a:spcPct val="100000"/>
              </a:lnSpc>
              <a:spcBef>
                <a:spcPts val="0"/>
              </a:spcBef>
              <a:buNone/>
              <a:defRPr sz="1200" i="1">
                <a:latin typeface="+mn-lt"/>
              </a:defRPr>
            </a:lvl8pPr>
            <a:lvl9pPr marL="0" indent="0">
              <a:lnSpc>
                <a:spcPct val="100000"/>
              </a:lnSpc>
              <a:spcBef>
                <a:spcPts val="0"/>
              </a:spcBef>
              <a:buNone/>
              <a:defRPr sz="1200" i="1">
                <a:latin typeface="+mn-lt"/>
              </a:defRPr>
            </a:lvl9pPr>
          </a:lstStyle>
          <a:p>
            <a:pPr lvl="0"/>
            <a:r>
              <a:rPr lang="en-GB" dirty="0"/>
              <a:t>Department</a:t>
            </a:r>
            <a:br>
              <a:rPr lang="en-GB" dirty="0"/>
            </a:br>
            <a:r>
              <a:rPr lang="en-GB" dirty="0"/>
              <a:t>DD/MM/YYYY</a:t>
            </a:r>
          </a:p>
        </p:txBody>
      </p:sp>
      <p:sp>
        <p:nvSpPr>
          <p:cNvPr id="575" name="Picture">
            <a:extLst>
              <a:ext uri="{FF2B5EF4-FFF2-40B4-BE49-F238E27FC236}">
                <a16:creationId xmlns:a16="http://schemas.microsoft.com/office/drawing/2014/main" id="{1014EE1A-723A-828F-0A95-5CEA93B1BC76}"/>
              </a:ext>
            </a:extLst>
          </p:cNvPr>
          <p:cNvSpPr>
            <a:spLocks noGrp="1"/>
          </p:cNvSpPr>
          <p:nvPr>
            <p:ph type="pic" sz="quarter" idx="13" hasCustomPrompt="1"/>
          </p:nvPr>
        </p:nvSpPr>
        <p:spPr bwMode="gray">
          <a:xfrm>
            <a:off x="4367809" y="2061400"/>
            <a:ext cx="5775177" cy="3463099"/>
          </a:xfrm>
          <a:custGeom>
            <a:avLst/>
            <a:gdLst>
              <a:gd name="connsiteX0" fmla="*/ 5775177 w 5775177"/>
              <a:gd name="connsiteY0" fmla="*/ 0 h 3463099"/>
              <a:gd name="connsiteX1" fmla="*/ 4621085 w 5775177"/>
              <a:gd name="connsiteY1" fmla="*/ 2311556 h 3463099"/>
              <a:gd name="connsiteX2" fmla="*/ 0 w 5775177"/>
              <a:gd name="connsiteY2" fmla="*/ 3463099 h 3463099"/>
              <a:gd name="connsiteX3" fmla="*/ 0 w 5775177"/>
              <a:gd name="connsiteY3" fmla="*/ 518 h 3463099"/>
            </a:gdLst>
            <a:ahLst/>
            <a:cxnLst>
              <a:cxn ang="0">
                <a:pos x="connsiteX0" y="connsiteY0"/>
              </a:cxn>
              <a:cxn ang="0">
                <a:pos x="connsiteX1" y="connsiteY1"/>
              </a:cxn>
              <a:cxn ang="0">
                <a:pos x="connsiteX2" y="connsiteY2"/>
              </a:cxn>
              <a:cxn ang="0">
                <a:pos x="connsiteX3" y="connsiteY3"/>
              </a:cxn>
            </a:cxnLst>
            <a:rect l="l" t="t" r="r" b="b"/>
            <a:pathLst>
              <a:path w="5775177" h="3463099">
                <a:moveTo>
                  <a:pt x="5775177" y="0"/>
                </a:moveTo>
                <a:lnTo>
                  <a:pt x="4621085" y="2311556"/>
                </a:lnTo>
                <a:lnTo>
                  <a:pt x="0" y="3463099"/>
                </a:lnTo>
                <a:lnTo>
                  <a:pt x="0" y="518"/>
                </a:lnTo>
                <a:close/>
              </a:path>
            </a:pathLst>
          </a:custGeom>
          <a:solidFill>
            <a:srgbClr val="FFA52F"/>
          </a:solidFill>
        </p:spPr>
        <p:txBody>
          <a:bodyPr wrap="square">
            <a:noAutofit/>
          </a:bodyPr>
          <a:lstStyle>
            <a:lvl1pPr marL="0" indent="0" algn="ctr">
              <a:buNone/>
              <a:defRPr/>
            </a:lvl1pPr>
          </a:lstStyle>
          <a:p>
            <a:r>
              <a:rPr lang="en-GB"/>
              <a:t> </a:t>
            </a:r>
            <a:endParaRPr lang="en-GB" dirty="0"/>
          </a:p>
        </p:txBody>
      </p:sp>
      <p:pic>
        <p:nvPicPr>
          <p:cNvPr id="4" name="Grafik 3" descr="Ein Bild, das Text, Schrift, Grafiken, Logo enthält.&#10;&#10;Automatisch generierte Beschreibung">
            <a:extLst>
              <a:ext uri="{FF2B5EF4-FFF2-40B4-BE49-F238E27FC236}">
                <a16:creationId xmlns:a16="http://schemas.microsoft.com/office/drawing/2014/main" id="{F29AF2F4-CB74-E2A3-0DD3-08EF5717BF2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146448" y="332656"/>
            <a:ext cx="1377259" cy="583140"/>
          </a:xfrm>
          <a:prstGeom prst="rect">
            <a:avLst/>
          </a:prstGeom>
        </p:spPr>
      </p:pic>
      <p:cxnSp>
        <p:nvCxnSpPr>
          <p:cNvPr id="6" name="Line">
            <a:extLst>
              <a:ext uri="{FF2B5EF4-FFF2-40B4-BE49-F238E27FC236}">
                <a16:creationId xmlns:a16="http://schemas.microsoft.com/office/drawing/2014/main" id="{D1EC5C3B-107F-B1B7-4458-CCEE34E431EC}"/>
              </a:ext>
              <a:ext uri="{C183D7F6-B498-43B3-948B-1728B52AA6E4}">
                <adec:decorative xmlns:adec="http://schemas.microsoft.com/office/drawing/2017/decorative" val="1"/>
              </a:ext>
            </a:extLst>
          </p:cNvPr>
          <p:cNvCxnSpPr>
            <a:cxnSpLocks/>
          </p:cNvCxnSpPr>
          <p:nvPr userDrawn="1"/>
        </p:nvCxnSpPr>
        <p:spPr bwMode="gray">
          <a:xfrm>
            <a:off x="893424" y="2041634"/>
            <a:ext cx="23040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4798418"/>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Magenta">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A12A1273-424B-4B5C-F404-80AFC304F962}"/>
              </a:ext>
            </a:extLst>
          </p:cNvPr>
          <p:cNvGraphicFramePr>
            <a:graphicFrameLocks noChangeAspect="1"/>
          </p:cNvGraphicFramePr>
          <p:nvPr userDrawn="1">
            <p:custDataLst>
              <p:tags r:id="rId1"/>
            </p:custDataLst>
            <p:extLst>
              <p:ext uri="{D42A27DB-BD31-4B8C-83A1-F6EECF244321}">
                <p14:modId xmlns:p14="http://schemas.microsoft.com/office/powerpoint/2010/main" val="2187050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3" name="Objekt 2" hidden="1">
                        <a:extLst>
                          <a:ext uri="{FF2B5EF4-FFF2-40B4-BE49-F238E27FC236}">
                            <a16:creationId xmlns:a16="http://schemas.microsoft.com/office/drawing/2014/main" id="{A12A1273-424B-4B5C-F404-80AFC304F9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95" name="Gruppieren 594">
            <a:extLst>
              <a:ext uri="{FF2B5EF4-FFF2-40B4-BE49-F238E27FC236}">
                <a16:creationId xmlns:a16="http://schemas.microsoft.com/office/drawing/2014/main" id="{2CDF1380-56CB-C441-62BB-6B8AD0BAE3A5}"/>
              </a:ext>
            </a:extLst>
          </p:cNvPr>
          <p:cNvGrpSpPr/>
          <p:nvPr userDrawn="1"/>
        </p:nvGrpSpPr>
        <p:grpSpPr>
          <a:xfrm>
            <a:off x="317360" y="1484784"/>
            <a:ext cx="11539280" cy="4626512"/>
            <a:chOff x="317360" y="1484784"/>
            <a:chExt cx="11539280" cy="4626512"/>
          </a:xfrm>
        </p:grpSpPr>
        <p:sp>
          <p:nvSpPr>
            <p:cNvPr id="596" name="Rechteck 595">
              <a:extLst>
                <a:ext uri="{FF2B5EF4-FFF2-40B4-BE49-F238E27FC236}">
                  <a16:creationId xmlns:a16="http://schemas.microsoft.com/office/drawing/2014/main" id="{57450E35-59BF-DC62-B3B2-7F66EA6C7F53}"/>
                </a:ext>
              </a:extLst>
            </p:cNvPr>
            <p:cNvSpPr/>
            <p:nvPr userDrawn="1"/>
          </p:nvSpPr>
          <p:spPr bwMode="gray">
            <a:xfrm>
              <a:off x="1126257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7" name="Rechteck 596">
              <a:extLst>
                <a:ext uri="{FF2B5EF4-FFF2-40B4-BE49-F238E27FC236}">
                  <a16:creationId xmlns:a16="http://schemas.microsoft.com/office/drawing/2014/main" id="{179B8BEA-34AF-4C36-CA9B-9B23F8CD6466}"/>
                </a:ext>
              </a:extLst>
            </p:cNvPr>
            <p:cNvSpPr/>
            <p:nvPr userDrawn="1"/>
          </p:nvSpPr>
          <p:spPr bwMode="gray">
            <a:xfrm>
              <a:off x="1068651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8" name="Rechteck 597">
              <a:extLst>
                <a:ext uri="{FF2B5EF4-FFF2-40B4-BE49-F238E27FC236}">
                  <a16:creationId xmlns:a16="http://schemas.microsoft.com/office/drawing/2014/main" id="{C207626A-B153-50D2-2E24-1F2755258F52}"/>
                </a:ext>
              </a:extLst>
            </p:cNvPr>
            <p:cNvSpPr/>
            <p:nvPr userDrawn="1"/>
          </p:nvSpPr>
          <p:spPr bwMode="gray">
            <a:xfrm>
              <a:off x="1011044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9" name="Rechteck 598">
              <a:extLst>
                <a:ext uri="{FF2B5EF4-FFF2-40B4-BE49-F238E27FC236}">
                  <a16:creationId xmlns:a16="http://schemas.microsoft.com/office/drawing/2014/main" id="{A8E16EBE-CF58-4D6E-7BB3-8359A8651A3A}"/>
                </a:ext>
              </a:extLst>
            </p:cNvPr>
            <p:cNvSpPr/>
            <p:nvPr userDrawn="1"/>
          </p:nvSpPr>
          <p:spPr bwMode="gray">
            <a:xfrm>
              <a:off x="953438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0" name="Rechteck 599">
              <a:extLst>
                <a:ext uri="{FF2B5EF4-FFF2-40B4-BE49-F238E27FC236}">
                  <a16:creationId xmlns:a16="http://schemas.microsoft.com/office/drawing/2014/main" id="{3AE48795-E95C-B406-4599-AC663555F9CE}"/>
                </a:ext>
              </a:extLst>
            </p:cNvPr>
            <p:cNvSpPr/>
            <p:nvPr userDrawn="1"/>
          </p:nvSpPr>
          <p:spPr bwMode="gray">
            <a:xfrm>
              <a:off x="895832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1" name="Rechteck 600">
              <a:extLst>
                <a:ext uri="{FF2B5EF4-FFF2-40B4-BE49-F238E27FC236}">
                  <a16:creationId xmlns:a16="http://schemas.microsoft.com/office/drawing/2014/main" id="{4D4DD1B5-268F-B38B-13E7-A2EE33AAB9E7}"/>
                </a:ext>
              </a:extLst>
            </p:cNvPr>
            <p:cNvSpPr/>
            <p:nvPr userDrawn="1"/>
          </p:nvSpPr>
          <p:spPr bwMode="gray">
            <a:xfrm>
              <a:off x="838225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2" name="Rechteck 601">
              <a:extLst>
                <a:ext uri="{FF2B5EF4-FFF2-40B4-BE49-F238E27FC236}">
                  <a16:creationId xmlns:a16="http://schemas.microsoft.com/office/drawing/2014/main" id="{485E85E7-0A1B-5784-1EEA-AFA09B2A2DB0}"/>
                </a:ext>
              </a:extLst>
            </p:cNvPr>
            <p:cNvSpPr/>
            <p:nvPr userDrawn="1"/>
          </p:nvSpPr>
          <p:spPr bwMode="gray">
            <a:xfrm>
              <a:off x="780619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3" name="Rechteck 602">
              <a:extLst>
                <a:ext uri="{FF2B5EF4-FFF2-40B4-BE49-F238E27FC236}">
                  <a16:creationId xmlns:a16="http://schemas.microsoft.com/office/drawing/2014/main" id="{63FA9EBD-5210-5753-59FD-8A381C90D4A1}"/>
                </a:ext>
              </a:extLst>
            </p:cNvPr>
            <p:cNvSpPr/>
            <p:nvPr userDrawn="1"/>
          </p:nvSpPr>
          <p:spPr bwMode="gray">
            <a:xfrm>
              <a:off x="723012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4" name="Rechteck 603">
              <a:extLst>
                <a:ext uri="{FF2B5EF4-FFF2-40B4-BE49-F238E27FC236}">
                  <a16:creationId xmlns:a16="http://schemas.microsoft.com/office/drawing/2014/main" id="{680177DF-C357-9F0C-6FCE-54BEEE4963A8}"/>
                </a:ext>
              </a:extLst>
            </p:cNvPr>
            <p:cNvSpPr/>
            <p:nvPr userDrawn="1"/>
          </p:nvSpPr>
          <p:spPr bwMode="gray">
            <a:xfrm>
              <a:off x="665406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5" name="Rechteck 604">
              <a:extLst>
                <a:ext uri="{FF2B5EF4-FFF2-40B4-BE49-F238E27FC236}">
                  <a16:creationId xmlns:a16="http://schemas.microsoft.com/office/drawing/2014/main" id="{7F998685-2B94-20EF-DD39-A480471A8ECB}"/>
                </a:ext>
              </a:extLst>
            </p:cNvPr>
            <p:cNvSpPr/>
            <p:nvPr userDrawn="1"/>
          </p:nvSpPr>
          <p:spPr bwMode="gray">
            <a:xfrm>
              <a:off x="607800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6" name="Rechteck 605">
              <a:extLst>
                <a:ext uri="{FF2B5EF4-FFF2-40B4-BE49-F238E27FC236}">
                  <a16:creationId xmlns:a16="http://schemas.microsoft.com/office/drawing/2014/main" id="{68E2C8AA-CE81-68E0-BB27-85431DE84C39}"/>
                </a:ext>
              </a:extLst>
            </p:cNvPr>
            <p:cNvSpPr/>
            <p:nvPr userDrawn="1"/>
          </p:nvSpPr>
          <p:spPr bwMode="gray">
            <a:xfrm>
              <a:off x="550193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7" name="Rechteck 606">
              <a:extLst>
                <a:ext uri="{FF2B5EF4-FFF2-40B4-BE49-F238E27FC236}">
                  <a16:creationId xmlns:a16="http://schemas.microsoft.com/office/drawing/2014/main" id="{B604C74F-6826-DADA-E174-7B11E5440DC9}"/>
                </a:ext>
              </a:extLst>
            </p:cNvPr>
            <p:cNvSpPr/>
            <p:nvPr userDrawn="1"/>
          </p:nvSpPr>
          <p:spPr bwMode="gray">
            <a:xfrm>
              <a:off x="492587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8" name="Rechteck 607">
              <a:extLst>
                <a:ext uri="{FF2B5EF4-FFF2-40B4-BE49-F238E27FC236}">
                  <a16:creationId xmlns:a16="http://schemas.microsoft.com/office/drawing/2014/main" id="{077C83B7-0C61-A6E4-4D21-A426EDFAFBE3}"/>
                </a:ext>
              </a:extLst>
            </p:cNvPr>
            <p:cNvSpPr/>
            <p:nvPr userDrawn="1"/>
          </p:nvSpPr>
          <p:spPr bwMode="gray">
            <a:xfrm>
              <a:off x="434980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9" name="Rechteck 608">
              <a:extLst>
                <a:ext uri="{FF2B5EF4-FFF2-40B4-BE49-F238E27FC236}">
                  <a16:creationId xmlns:a16="http://schemas.microsoft.com/office/drawing/2014/main" id="{4B9F5B38-1849-EAD6-E0FD-D4A5F99E0516}"/>
                </a:ext>
              </a:extLst>
            </p:cNvPr>
            <p:cNvSpPr/>
            <p:nvPr userDrawn="1"/>
          </p:nvSpPr>
          <p:spPr bwMode="gray">
            <a:xfrm>
              <a:off x="377374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0" name="Rechteck 609">
              <a:extLst>
                <a:ext uri="{FF2B5EF4-FFF2-40B4-BE49-F238E27FC236}">
                  <a16:creationId xmlns:a16="http://schemas.microsoft.com/office/drawing/2014/main" id="{19CB3F7D-D394-61A4-CE48-B60C116791EE}"/>
                </a:ext>
              </a:extLst>
            </p:cNvPr>
            <p:cNvSpPr/>
            <p:nvPr userDrawn="1"/>
          </p:nvSpPr>
          <p:spPr bwMode="gray">
            <a:xfrm>
              <a:off x="319768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1" name="Rechteck 610">
              <a:extLst>
                <a:ext uri="{FF2B5EF4-FFF2-40B4-BE49-F238E27FC236}">
                  <a16:creationId xmlns:a16="http://schemas.microsoft.com/office/drawing/2014/main" id="{44050C3C-BDC9-91D3-355C-E0C311D5440F}"/>
                </a:ext>
              </a:extLst>
            </p:cNvPr>
            <p:cNvSpPr/>
            <p:nvPr userDrawn="1"/>
          </p:nvSpPr>
          <p:spPr bwMode="gray">
            <a:xfrm>
              <a:off x="262161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2" name="Rechteck 611">
              <a:extLst>
                <a:ext uri="{FF2B5EF4-FFF2-40B4-BE49-F238E27FC236}">
                  <a16:creationId xmlns:a16="http://schemas.microsoft.com/office/drawing/2014/main" id="{FE34B3E9-0738-78AA-6550-1BA5DCF5E2BC}"/>
                </a:ext>
              </a:extLst>
            </p:cNvPr>
            <p:cNvSpPr/>
            <p:nvPr userDrawn="1"/>
          </p:nvSpPr>
          <p:spPr bwMode="gray">
            <a:xfrm>
              <a:off x="204555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3" name="Rechteck 612">
              <a:extLst>
                <a:ext uri="{FF2B5EF4-FFF2-40B4-BE49-F238E27FC236}">
                  <a16:creationId xmlns:a16="http://schemas.microsoft.com/office/drawing/2014/main" id="{338B2631-5AF8-AD65-8186-B78033904BCC}"/>
                </a:ext>
              </a:extLst>
            </p:cNvPr>
            <p:cNvSpPr/>
            <p:nvPr userDrawn="1"/>
          </p:nvSpPr>
          <p:spPr bwMode="gray">
            <a:xfrm>
              <a:off x="146948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4" name="Rechteck 613">
              <a:extLst>
                <a:ext uri="{FF2B5EF4-FFF2-40B4-BE49-F238E27FC236}">
                  <a16:creationId xmlns:a16="http://schemas.microsoft.com/office/drawing/2014/main" id="{0E82E398-2FF4-7A2B-C3BB-46F8501C13E4}"/>
                </a:ext>
              </a:extLst>
            </p:cNvPr>
            <p:cNvSpPr/>
            <p:nvPr userDrawn="1"/>
          </p:nvSpPr>
          <p:spPr bwMode="gray">
            <a:xfrm>
              <a:off x="89342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5" name="Rechteck 614">
              <a:extLst>
                <a:ext uri="{FF2B5EF4-FFF2-40B4-BE49-F238E27FC236}">
                  <a16:creationId xmlns:a16="http://schemas.microsoft.com/office/drawing/2014/main" id="{4F38BF42-E2B8-2AD7-15A2-F1AD3C1CDFB0}"/>
                </a:ext>
              </a:extLst>
            </p:cNvPr>
            <p:cNvSpPr/>
            <p:nvPr userDrawn="1"/>
          </p:nvSpPr>
          <p:spPr bwMode="gray">
            <a:xfrm>
              <a:off x="31736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6" name="Rechteck 615">
              <a:extLst>
                <a:ext uri="{FF2B5EF4-FFF2-40B4-BE49-F238E27FC236}">
                  <a16:creationId xmlns:a16="http://schemas.microsoft.com/office/drawing/2014/main" id="{56BB3959-E509-8F42-2902-78AB986BFA2F}"/>
                </a:ext>
              </a:extLst>
            </p:cNvPr>
            <p:cNvSpPr/>
            <p:nvPr userDrawn="1"/>
          </p:nvSpPr>
          <p:spPr bwMode="gray">
            <a:xfrm>
              <a:off x="1126257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7" name="Rechteck 616">
              <a:extLst>
                <a:ext uri="{FF2B5EF4-FFF2-40B4-BE49-F238E27FC236}">
                  <a16:creationId xmlns:a16="http://schemas.microsoft.com/office/drawing/2014/main" id="{35B3C77C-02A8-1B7B-CB6B-E5A13C5A2CD5}"/>
                </a:ext>
              </a:extLst>
            </p:cNvPr>
            <p:cNvSpPr/>
            <p:nvPr userDrawn="1"/>
          </p:nvSpPr>
          <p:spPr bwMode="gray">
            <a:xfrm>
              <a:off x="1068651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8" name="Rechteck 617">
              <a:extLst>
                <a:ext uri="{FF2B5EF4-FFF2-40B4-BE49-F238E27FC236}">
                  <a16:creationId xmlns:a16="http://schemas.microsoft.com/office/drawing/2014/main" id="{DA7EB4BD-6B57-4F59-AC03-961C75F3050D}"/>
                </a:ext>
              </a:extLst>
            </p:cNvPr>
            <p:cNvSpPr/>
            <p:nvPr userDrawn="1"/>
          </p:nvSpPr>
          <p:spPr bwMode="gray">
            <a:xfrm>
              <a:off x="1011044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9" name="Rechteck 618">
              <a:extLst>
                <a:ext uri="{FF2B5EF4-FFF2-40B4-BE49-F238E27FC236}">
                  <a16:creationId xmlns:a16="http://schemas.microsoft.com/office/drawing/2014/main" id="{3760875F-8937-A63B-7540-3FBCBF242992}"/>
                </a:ext>
              </a:extLst>
            </p:cNvPr>
            <p:cNvSpPr/>
            <p:nvPr userDrawn="1"/>
          </p:nvSpPr>
          <p:spPr bwMode="gray">
            <a:xfrm>
              <a:off x="953438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0" name="Rechteck 619">
              <a:extLst>
                <a:ext uri="{FF2B5EF4-FFF2-40B4-BE49-F238E27FC236}">
                  <a16:creationId xmlns:a16="http://schemas.microsoft.com/office/drawing/2014/main" id="{A37B8398-CCE8-2741-9BAC-DEE13CAA5F99}"/>
                </a:ext>
              </a:extLst>
            </p:cNvPr>
            <p:cNvSpPr/>
            <p:nvPr userDrawn="1"/>
          </p:nvSpPr>
          <p:spPr bwMode="gray">
            <a:xfrm>
              <a:off x="895832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1" name="Rechteck 620">
              <a:extLst>
                <a:ext uri="{FF2B5EF4-FFF2-40B4-BE49-F238E27FC236}">
                  <a16:creationId xmlns:a16="http://schemas.microsoft.com/office/drawing/2014/main" id="{78E13DFC-21C8-F53C-0B35-A9272B8A4DAC}"/>
                </a:ext>
              </a:extLst>
            </p:cNvPr>
            <p:cNvSpPr/>
            <p:nvPr userDrawn="1"/>
          </p:nvSpPr>
          <p:spPr bwMode="gray">
            <a:xfrm>
              <a:off x="838225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2" name="Rechteck 621">
              <a:extLst>
                <a:ext uri="{FF2B5EF4-FFF2-40B4-BE49-F238E27FC236}">
                  <a16:creationId xmlns:a16="http://schemas.microsoft.com/office/drawing/2014/main" id="{044E4A67-472A-5368-2D65-EFA532511824}"/>
                </a:ext>
              </a:extLst>
            </p:cNvPr>
            <p:cNvSpPr/>
            <p:nvPr userDrawn="1"/>
          </p:nvSpPr>
          <p:spPr bwMode="gray">
            <a:xfrm>
              <a:off x="780619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3" name="Rechteck 622">
              <a:extLst>
                <a:ext uri="{FF2B5EF4-FFF2-40B4-BE49-F238E27FC236}">
                  <a16:creationId xmlns:a16="http://schemas.microsoft.com/office/drawing/2014/main" id="{7B1774A3-6173-1C24-4751-630986D8C98C}"/>
                </a:ext>
              </a:extLst>
            </p:cNvPr>
            <p:cNvSpPr/>
            <p:nvPr userDrawn="1"/>
          </p:nvSpPr>
          <p:spPr bwMode="gray">
            <a:xfrm>
              <a:off x="723012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4" name="Rechteck 623">
              <a:extLst>
                <a:ext uri="{FF2B5EF4-FFF2-40B4-BE49-F238E27FC236}">
                  <a16:creationId xmlns:a16="http://schemas.microsoft.com/office/drawing/2014/main" id="{D5DA09DD-CC00-4978-D6A2-1A3BEF049DE9}"/>
                </a:ext>
              </a:extLst>
            </p:cNvPr>
            <p:cNvSpPr/>
            <p:nvPr userDrawn="1"/>
          </p:nvSpPr>
          <p:spPr bwMode="gray">
            <a:xfrm>
              <a:off x="665406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5" name="Rechteck 624">
              <a:extLst>
                <a:ext uri="{FF2B5EF4-FFF2-40B4-BE49-F238E27FC236}">
                  <a16:creationId xmlns:a16="http://schemas.microsoft.com/office/drawing/2014/main" id="{6F67BABF-4130-67A7-CBA9-BF03B1AEB512}"/>
                </a:ext>
              </a:extLst>
            </p:cNvPr>
            <p:cNvSpPr/>
            <p:nvPr userDrawn="1"/>
          </p:nvSpPr>
          <p:spPr bwMode="gray">
            <a:xfrm>
              <a:off x="607800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6" name="Rechteck 625">
              <a:extLst>
                <a:ext uri="{FF2B5EF4-FFF2-40B4-BE49-F238E27FC236}">
                  <a16:creationId xmlns:a16="http://schemas.microsoft.com/office/drawing/2014/main" id="{D7825AC9-58DE-3AF3-E3F8-824582B15B78}"/>
                </a:ext>
              </a:extLst>
            </p:cNvPr>
            <p:cNvSpPr/>
            <p:nvPr userDrawn="1"/>
          </p:nvSpPr>
          <p:spPr bwMode="gray">
            <a:xfrm>
              <a:off x="550193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7" name="Rechteck 626">
              <a:extLst>
                <a:ext uri="{FF2B5EF4-FFF2-40B4-BE49-F238E27FC236}">
                  <a16:creationId xmlns:a16="http://schemas.microsoft.com/office/drawing/2014/main" id="{386E1AA1-30DA-9DD6-BC19-550B19E50970}"/>
                </a:ext>
              </a:extLst>
            </p:cNvPr>
            <p:cNvSpPr/>
            <p:nvPr userDrawn="1"/>
          </p:nvSpPr>
          <p:spPr bwMode="gray">
            <a:xfrm>
              <a:off x="492587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8" name="Rechteck 627">
              <a:extLst>
                <a:ext uri="{FF2B5EF4-FFF2-40B4-BE49-F238E27FC236}">
                  <a16:creationId xmlns:a16="http://schemas.microsoft.com/office/drawing/2014/main" id="{36FA9510-D2AA-56C1-6753-6266F934F705}"/>
                </a:ext>
              </a:extLst>
            </p:cNvPr>
            <p:cNvSpPr/>
            <p:nvPr userDrawn="1"/>
          </p:nvSpPr>
          <p:spPr bwMode="gray">
            <a:xfrm>
              <a:off x="434980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9" name="Rechteck 628">
              <a:extLst>
                <a:ext uri="{FF2B5EF4-FFF2-40B4-BE49-F238E27FC236}">
                  <a16:creationId xmlns:a16="http://schemas.microsoft.com/office/drawing/2014/main" id="{839575AA-49D3-ED8A-648E-094472174E43}"/>
                </a:ext>
              </a:extLst>
            </p:cNvPr>
            <p:cNvSpPr/>
            <p:nvPr userDrawn="1"/>
          </p:nvSpPr>
          <p:spPr bwMode="gray">
            <a:xfrm>
              <a:off x="377374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0" name="Rechteck 629">
              <a:extLst>
                <a:ext uri="{FF2B5EF4-FFF2-40B4-BE49-F238E27FC236}">
                  <a16:creationId xmlns:a16="http://schemas.microsoft.com/office/drawing/2014/main" id="{0B556570-8180-7193-ED4D-5AD8482F0576}"/>
                </a:ext>
              </a:extLst>
            </p:cNvPr>
            <p:cNvSpPr/>
            <p:nvPr userDrawn="1"/>
          </p:nvSpPr>
          <p:spPr bwMode="gray">
            <a:xfrm>
              <a:off x="319768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1" name="Rechteck 630">
              <a:extLst>
                <a:ext uri="{FF2B5EF4-FFF2-40B4-BE49-F238E27FC236}">
                  <a16:creationId xmlns:a16="http://schemas.microsoft.com/office/drawing/2014/main" id="{4CD7B9C9-6A27-87BA-B990-E35B7534A3F5}"/>
                </a:ext>
              </a:extLst>
            </p:cNvPr>
            <p:cNvSpPr/>
            <p:nvPr userDrawn="1"/>
          </p:nvSpPr>
          <p:spPr bwMode="gray">
            <a:xfrm>
              <a:off x="262161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2" name="Rechteck 631">
              <a:extLst>
                <a:ext uri="{FF2B5EF4-FFF2-40B4-BE49-F238E27FC236}">
                  <a16:creationId xmlns:a16="http://schemas.microsoft.com/office/drawing/2014/main" id="{BCA46068-288D-4342-77BD-8868D00CDBA9}"/>
                </a:ext>
              </a:extLst>
            </p:cNvPr>
            <p:cNvSpPr/>
            <p:nvPr userDrawn="1"/>
          </p:nvSpPr>
          <p:spPr bwMode="gray">
            <a:xfrm>
              <a:off x="204555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3" name="Rechteck 632">
              <a:extLst>
                <a:ext uri="{FF2B5EF4-FFF2-40B4-BE49-F238E27FC236}">
                  <a16:creationId xmlns:a16="http://schemas.microsoft.com/office/drawing/2014/main" id="{3951A1C4-90A1-B3A4-C895-D4B831424330}"/>
                </a:ext>
              </a:extLst>
            </p:cNvPr>
            <p:cNvSpPr/>
            <p:nvPr userDrawn="1"/>
          </p:nvSpPr>
          <p:spPr bwMode="gray">
            <a:xfrm>
              <a:off x="146948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4" name="Rechteck 633">
              <a:extLst>
                <a:ext uri="{FF2B5EF4-FFF2-40B4-BE49-F238E27FC236}">
                  <a16:creationId xmlns:a16="http://schemas.microsoft.com/office/drawing/2014/main" id="{26EF6DCF-C671-165A-5924-CB0707B7E4BC}"/>
                </a:ext>
              </a:extLst>
            </p:cNvPr>
            <p:cNvSpPr/>
            <p:nvPr userDrawn="1"/>
          </p:nvSpPr>
          <p:spPr bwMode="gray">
            <a:xfrm>
              <a:off x="89342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5" name="Rechteck 634">
              <a:extLst>
                <a:ext uri="{FF2B5EF4-FFF2-40B4-BE49-F238E27FC236}">
                  <a16:creationId xmlns:a16="http://schemas.microsoft.com/office/drawing/2014/main" id="{4BFCF84F-6E58-4A43-BCB4-2D63541CC101}"/>
                </a:ext>
              </a:extLst>
            </p:cNvPr>
            <p:cNvSpPr/>
            <p:nvPr userDrawn="1"/>
          </p:nvSpPr>
          <p:spPr bwMode="gray">
            <a:xfrm>
              <a:off x="31736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6" name="Rechteck 635">
              <a:extLst>
                <a:ext uri="{FF2B5EF4-FFF2-40B4-BE49-F238E27FC236}">
                  <a16:creationId xmlns:a16="http://schemas.microsoft.com/office/drawing/2014/main" id="{82400076-18F9-1181-E21E-74C42D14FF2D}"/>
                </a:ext>
              </a:extLst>
            </p:cNvPr>
            <p:cNvSpPr/>
            <p:nvPr userDrawn="1"/>
          </p:nvSpPr>
          <p:spPr bwMode="gray">
            <a:xfrm>
              <a:off x="1126257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7" name="Rechteck 636">
              <a:extLst>
                <a:ext uri="{FF2B5EF4-FFF2-40B4-BE49-F238E27FC236}">
                  <a16:creationId xmlns:a16="http://schemas.microsoft.com/office/drawing/2014/main" id="{8ED6F9BC-EBE6-B216-8EB8-D0F77E947602}"/>
                </a:ext>
              </a:extLst>
            </p:cNvPr>
            <p:cNvSpPr/>
            <p:nvPr userDrawn="1"/>
          </p:nvSpPr>
          <p:spPr bwMode="gray">
            <a:xfrm>
              <a:off x="1068651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8" name="Rechteck 637">
              <a:extLst>
                <a:ext uri="{FF2B5EF4-FFF2-40B4-BE49-F238E27FC236}">
                  <a16:creationId xmlns:a16="http://schemas.microsoft.com/office/drawing/2014/main" id="{D154DF7B-42A7-CE9C-A444-574177BAF104}"/>
                </a:ext>
              </a:extLst>
            </p:cNvPr>
            <p:cNvSpPr/>
            <p:nvPr userDrawn="1"/>
          </p:nvSpPr>
          <p:spPr bwMode="gray">
            <a:xfrm>
              <a:off x="1011044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9" name="Rechteck 638">
              <a:extLst>
                <a:ext uri="{FF2B5EF4-FFF2-40B4-BE49-F238E27FC236}">
                  <a16:creationId xmlns:a16="http://schemas.microsoft.com/office/drawing/2014/main" id="{4C1777D7-340C-8A4F-5E93-AA01F46D5998}"/>
                </a:ext>
              </a:extLst>
            </p:cNvPr>
            <p:cNvSpPr/>
            <p:nvPr userDrawn="1"/>
          </p:nvSpPr>
          <p:spPr bwMode="gray">
            <a:xfrm>
              <a:off x="953438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0" name="Rechteck 639">
              <a:extLst>
                <a:ext uri="{FF2B5EF4-FFF2-40B4-BE49-F238E27FC236}">
                  <a16:creationId xmlns:a16="http://schemas.microsoft.com/office/drawing/2014/main" id="{5E721475-2C0E-3B23-9F4E-5E7D2C14BCD7}"/>
                </a:ext>
              </a:extLst>
            </p:cNvPr>
            <p:cNvSpPr/>
            <p:nvPr userDrawn="1"/>
          </p:nvSpPr>
          <p:spPr bwMode="gray">
            <a:xfrm>
              <a:off x="895832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1" name="Rechteck 640">
              <a:extLst>
                <a:ext uri="{FF2B5EF4-FFF2-40B4-BE49-F238E27FC236}">
                  <a16:creationId xmlns:a16="http://schemas.microsoft.com/office/drawing/2014/main" id="{F9353410-B4A8-3F8F-FBAD-A783F8AF73DA}"/>
                </a:ext>
              </a:extLst>
            </p:cNvPr>
            <p:cNvSpPr/>
            <p:nvPr userDrawn="1"/>
          </p:nvSpPr>
          <p:spPr bwMode="gray">
            <a:xfrm>
              <a:off x="838225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2" name="Rechteck 641">
              <a:extLst>
                <a:ext uri="{FF2B5EF4-FFF2-40B4-BE49-F238E27FC236}">
                  <a16:creationId xmlns:a16="http://schemas.microsoft.com/office/drawing/2014/main" id="{BD32E677-B1D8-F329-B974-9AADD9526FB7}"/>
                </a:ext>
              </a:extLst>
            </p:cNvPr>
            <p:cNvSpPr/>
            <p:nvPr userDrawn="1"/>
          </p:nvSpPr>
          <p:spPr bwMode="gray">
            <a:xfrm>
              <a:off x="780619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3" name="Rechteck 642">
              <a:extLst>
                <a:ext uri="{FF2B5EF4-FFF2-40B4-BE49-F238E27FC236}">
                  <a16:creationId xmlns:a16="http://schemas.microsoft.com/office/drawing/2014/main" id="{3ABBB52A-0FAF-39CC-3AA7-7E63C883E091}"/>
                </a:ext>
              </a:extLst>
            </p:cNvPr>
            <p:cNvSpPr/>
            <p:nvPr userDrawn="1"/>
          </p:nvSpPr>
          <p:spPr bwMode="gray">
            <a:xfrm>
              <a:off x="723012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4" name="Rechteck 643">
              <a:extLst>
                <a:ext uri="{FF2B5EF4-FFF2-40B4-BE49-F238E27FC236}">
                  <a16:creationId xmlns:a16="http://schemas.microsoft.com/office/drawing/2014/main" id="{A74F059D-05BF-E8FE-C914-053D40D5082E}"/>
                </a:ext>
              </a:extLst>
            </p:cNvPr>
            <p:cNvSpPr/>
            <p:nvPr userDrawn="1"/>
          </p:nvSpPr>
          <p:spPr bwMode="gray">
            <a:xfrm>
              <a:off x="665406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5" name="Rechteck 644">
              <a:extLst>
                <a:ext uri="{FF2B5EF4-FFF2-40B4-BE49-F238E27FC236}">
                  <a16:creationId xmlns:a16="http://schemas.microsoft.com/office/drawing/2014/main" id="{70F599B6-7027-CC85-6278-BED9B0E680D0}"/>
                </a:ext>
              </a:extLst>
            </p:cNvPr>
            <p:cNvSpPr/>
            <p:nvPr userDrawn="1"/>
          </p:nvSpPr>
          <p:spPr bwMode="gray">
            <a:xfrm>
              <a:off x="607800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6" name="Rechteck 645">
              <a:extLst>
                <a:ext uri="{FF2B5EF4-FFF2-40B4-BE49-F238E27FC236}">
                  <a16:creationId xmlns:a16="http://schemas.microsoft.com/office/drawing/2014/main" id="{A6DE9E4B-A45D-9C40-E58E-DF9F92456A12}"/>
                </a:ext>
              </a:extLst>
            </p:cNvPr>
            <p:cNvSpPr/>
            <p:nvPr userDrawn="1"/>
          </p:nvSpPr>
          <p:spPr bwMode="gray">
            <a:xfrm>
              <a:off x="550193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7" name="Rechteck 646">
              <a:extLst>
                <a:ext uri="{FF2B5EF4-FFF2-40B4-BE49-F238E27FC236}">
                  <a16:creationId xmlns:a16="http://schemas.microsoft.com/office/drawing/2014/main" id="{CF0C3543-084D-E389-5919-F38970FCFF66}"/>
                </a:ext>
              </a:extLst>
            </p:cNvPr>
            <p:cNvSpPr/>
            <p:nvPr userDrawn="1"/>
          </p:nvSpPr>
          <p:spPr bwMode="gray">
            <a:xfrm>
              <a:off x="492587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8" name="Rechteck 647">
              <a:extLst>
                <a:ext uri="{FF2B5EF4-FFF2-40B4-BE49-F238E27FC236}">
                  <a16:creationId xmlns:a16="http://schemas.microsoft.com/office/drawing/2014/main" id="{9C5D6F99-FAC6-5C2F-C213-5AA847DD039A}"/>
                </a:ext>
              </a:extLst>
            </p:cNvPr>
            <p:cNvSpPr/>
            <p:nvPr userDrawn="1"/>
          </p:nvSpPr>
          <p:spPr bwMode="gray">
            <a:xfrm>
              <a:off x="434980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9" name="Rechteck 648">
              <a:extLst>
                <a:ext uri="{FF2B5EF4-FFF2-40B4-BE49-F238E27FC236}">
                  <a16:creationId xmlns:a16="http://schemas.microsoft.com/office/drawing/2014/main" id="{C9A5BB3D-223F-7C5B-CF57-244A96FC42C0}"/>
                </a:ext>
              </a:extLst>
            </p:cNvPr>
            <p:cNvSpPr/>
            <p:nvPr userDrawn="1"/>
          </p:nvSpPr>
          <p:spPr bwMode="gray">
            <a:xfrm>
              <a:off x="377374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0" name="Rechteck 649">
              <a:extLst>
                <a:ext uri="{FF2B5EF4-FFF2-40B4-BE49-F238E27FC236}">
                  <a16:creationId xmlns:a16="http://schemas.microsoft.com/office/drawing/2014/main" id="{29EF94BE-57CD-F619-996A-FA0B6DB8E699}"/>
                </a:ext>
              </a:extLst>
            </p:cNvPr>
            <p:cNvSpPr/>
            <p:nvPr userDrawn="1"/>
          </p:nvSpPr>
          <p:spPr bwMode="gray">
            <a:xfrm>
              <a:off x="319768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1" name="Rechteck 650">
              <a:extLst>
                <a:ext uri="{FF2B5EF4-FFF2-40B4-BE49-F238E27FC236}">
                  <a16:creationId xmlns:a16="http://schemas.microsoft.com/office/drawing/2014/main" id="{0CAD3B4C-DE6F-7B9F-29D5-586FD271C77D}"/>
                </a:ext>
              </a:extLst>
            </p:cNvPr>
            <p:cNvSpPr/>
            <p:nvPr userDrawn="1"/>
          </p:nvSpPr>
          <p:spPr bwMode="gray">
            <a:xfrm>
              <a:off x="262161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2" name="Rechteck 651">
              <a:extLst>
                <a:ext uri="{FF2B5EF4-FFF2-40B4-BE49-F238E27FC236}">
                  <a16:creationId xmlns:a16="http://schemas.microsoft.com/office/drawing/2014/main" id="{66F00FC5-9BA6-6CEB-45C6-ACF22E92C735}"/>
                </a:ext>
              </a:extLst>
            </p:cNvPr>
            <p:cNvSpPr/>
            <p:nvPr userDrawn="1"/>
          </p:nvSpPr>
          <p:spPr bwMode="gray">
            <a:xfrm>
              <a:off x="204555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3" name="Rechteck 652">
              <a:extLst>
                <a:ext uri="{FF2B5EF4-FFF2-40B4-BE49-F238E27FC236}">
                  <a16:creationId xmlns:a16="http://schemas.microsoft.com/office/drawing/2014/main" id="{1670F31E-5D50-0958-4313-AB41B9D1063E}"/>
                </a:ext>
              </a:extLst>
            </p:cNvPr>
            <p:cNvSpPr/>
            <p:nvPr userDrawn="1"/>
          </p:nvSpPr>
          <p:spPr bwMode="gray">
            <a:xfrm>
              <a:off x="146948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4" name="Rechteck 653">
              <a:extLst>
                <a:ext uri="{FF2B5EF4-FFF2-40B4-BE49-F238E27FC236}">
                  <a16:creationId xmlns:a16="http://schemas.microsoft.com/office/drawing/2014/main" id="{C0D7427E-CA96-7FC5-FB02-F91EDFA64771}"/>
                </a:ext>
              </a:extLst>
            </p:cNvPr>
            <p:cNvSpPr/>
            <p:nvPr userDrawn="1"/>
          </p:nvSpPr>
          <p:spPr bwMode="gray">
            <a:xfrm>
              <a:off x="89342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5" name="Rechteck 654">
              <a:extLst>
                <a:ext uri="{FF2B5EF4-FFF2-40B4-BE49-F238E27FC236}">
                  <a16:creationId xmlns:a16="http://schemas.microsoft.com/office/drawing/2014/main" id="{1F952FDF-1327-826F-03D8-3DA9FA8D50C2}"/>
                </a:ext>
              </a:extLst>
            </p:cNvPr>
            <p:cNvSpPr/>
            <p:nvPr userDrawn="1"/>
          </p:nvSpPr>
          <p:spPr bwMode="gray">
            <a:xfrm>
              <a:off x="31736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6" name="Rechteck 655">
              <a:extLst>
                <a:ext uri="{FF2B5EF4-FFF2-40B4-BE49-F238E27FC236}">
                  <a16:creationId xmlns:a16="http://schemas.microsoft.com/office/drawing/2014/main" id="{F1ABA83F-417B-A1BB-41AD-687198E87B6F}"/>
                </a:ext>
              </a:extLst>
            </p:cNvPr>
            <p:cNvSpPr/>
            <p:nvPr userDrawn="1"/>
          </p:nvSpPr>
          <p:spPr bwMode="gray">
            <a:xfrm>
              <a:off x="1126257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7" name="Rechteck 656">
              <a:extLst>
                <a:ext uri="{FF2B5EF4-FFF2-40B4-BE49-F238E27FC236}">
                  <a16:creationId xmlns:a16="http://schemas.microsoft.com/office/drawing/2014/main" id="{BAC414F8-E5FA-3E35-1386-200A424EA462}"/>
                </a:ext>
              </a:extLst>
            </p:cNvPr>
            <p:cNvSpPr/>
            <p:nvPr userDrawn="1"/>
          </p:nvSpPr>
          <p:spPr bwMode="gray">
            <a:xfrm>
              <a:off x="1068651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8" name="Rechteck 657">
              <a:extLst>
                <a:ext uri="{FF2B5EF4-FFF2-40B4-BE49-F238E27FC236}">
                  <a16:creationId xmlns:a16="http://schemas.microsoft.com/office/drawing/2014/main" id="{E2FD9C42-C2D1-F8AB-4D8C-E0AC087A91DE}"/>
                </a:ext>
              </a:extLst>
            </p:cNvPr>
            <p:cNvSpPr/>
            <p:nvPr userDrawn="1"/>
          </p:nvSpPr>
          <p:spPr bwMode="gray">
            <a:xfrm>
              <a:off x="1011044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9" name="Rechteck 658">
              <a:extLst>
                <a:ext uri="{FF2B5EF4-FFF2-40B4-BE49-F238E27FC236}">
                  <a16:creationId xmlns:a16="http://schemas.microsoft.com/office/drawing/2014/main" id="{85DACA96-62BC-B813-01C5-830C90E59149}"/>
                </a:ext>
              </a:extLst>
            </p:cNvPr>
            <p:cNvSpPr/>
            <p:nvPr userDrawn="1"/>
          </p:nvSpPr>
          <p:spPr bwMode="gray">
            <a:xfrm>
              <a:off x="953438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0" name="Rechteck 659">
              <a:extLst>
                <a:ext uri="{FF2B5EF4-FFF2-40B4-BE49-F238E27FC236}">
                  <a16:creationId xmlns:a16="http://schemas.microsoft.com/office/drawing/2014/main" id="{E2A5FC50-F5DA-E8CC-C29A-5683819FD6E6}"/>
                </a:ext>
              </a:extLst>
            </p:cNvPr>
            <p:cNvSpPr/>
            <p:nvPr userDrawn="1"/>
          </p:nvSpPr>
          <p:spPr bwMode="gray">
            <a:xfrm>
              <a:off x="895832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1" name="Rechteck 660">
              <a:extLst>
                <a:ext uri="{FF2B5EF4-FFF2-40B4-BE49-F238E27FC236}">
                  <a16:creationId xmlns:a16="http://schemas.microsoft.com/office/drawing/2014/main" id="{B25E0A23-24F9-4B35-713D-CBA870675772}"/>
                </a:ext>
              </a:extLst>
            </p:cNvPr>
            <p:cNvSpPr/>
            <p:nvPr userDrawn="1"/>
          </p:nvSpPr>
          <p:spPr bwMode="gray">
            <a:xfrm>
              <a:off x="838225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2" name="Rechteck 661">
              <a:extLst>
                <a:ext uri="{FF2B5EF4-FFF2-40B4-BE49-F238E27FC236}">
                  <a16:creationId xmlns:a16="http://schemas.microsoft.com/office/drawing/2014/main" id="{1CCB2977-A7B0-6E94-19AB-74FD24FE1A28}"/>
                </a:ext>
              </a:extLst>
            </p:cNvPr>
            <p:cNvSpPr/>
            <p:nvPr userDrawn="1"/>
          </p:nvSpPr>
          <p:spPr bwMode="gray">
            <a:xfrm>
              <a:off x="780619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3" name="Rechteck 662">
              <a:extLst>
                <a:ext uri="{FF2B5EF4-FFF2-40B4-BE49-F238E27FC236}">
                  <a16:creationId xmlns:a16="http://schemas.microsoft.com/office/drawing/2014/main" id="{7C262968-4130-0D8B-1F0F-E716166FB2C8}"/>
                </a:ext>
              </a:extLst>
            </p:cNvPr>
            <p:cNvSpPr/>
            <p:nvPr userDrawn="1"/>
          </p:nvSpPr>
          <p:spPr bwMode="gray">
            <a:xfrm>
              <a:off x="723012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4" name="Rechteck 663">
              <a:extLst>
                <a:ext uri="{FF2B5EF4-FFF2-40B4-BE49-F238E27FC236}">
                  <a16:creationId xmlns:a16="http://schemas.microsoft.com/office/drawing/2014/main" id="{5AECB83A-E4D4-DB1F-95AE-3A450A3CC555}"/>
                </a:ext>
              </a:extLst>
            </p:cNvPr>
            <p:cNvSpPr/>
            <p:nvPr userDrawn="1"/>
          </p:nvSpPr>
          <p:spPr bwMode="gray">
            <a:xfrm>
              <a:off x="665406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5" name="Rechteck 664">
              <a:extLst>
                <a:ext uri="{FF2B5EF4-FFF2-40B4-BE49-F238E27FC236}">
                  <a16:creationId xmlns:a16="http://schemas.microsoft.com/office/drawing/2014/main" id="{9ACBC2DE-5D92-5BE5-05D6-60CA087C8274}"/>
                </a:ext>
              </a:extLst>
            </p:cNvPr>
            <p:cNvSpPr/>
            <p:nvPr userDrawn="1"/>
          </p:nvSpPr>
          <p:spPr bwMode="gray">
            <a:xfrm>
              <a:off x="607800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6" name="Rechteck 665">
              <a:extLst>
                <a:ext uri="{FF2B5EF4-FFF2-40B4-BE49-F238E27FC236}">
                  <a16:creationId xmlns:a16="http://schemas.microsoft.com/office/drawing/2014/main" id="{1CAF29E2-CF1C-C41F-75BF-E6E04BA12327}"/>
                </a:ext>
              </a:extLst>
            </p:cNvPr>
            <p:cNvSpPr/>
            <p:nvPr userDrawn="1"/>
          </p:nvSpPr>
          <p:spPr bwMode="gray">
            <a:xfrm>
              <a:off x="550193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7" name="Rechteck 666">
              <a:extLst>
                <a:ext uri="{FF2B5EF4-FFF2-40B4-BE49-F238E27FC236}">
                  <a16:creationId xmlns:a16="http://schemas.microsoft.com/office/drawing/2014/main" id="{80BE6291-8A0C-6F88-7B62-0BB41A0C960E}"/>
                </a:ext>
              </a:extLst>
            </p:cNvPr>
            <p:cNvSpPr/>
            <p:nvPr userDrawn="1"/>
          </p:nvSpPr>
          <p:spPr bwMode="gray">
            <a:xfrm>
              <a:off x="492587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8" name="Rechteck 667">
              <a:extLst>
                <a:ext uri="{FF2B5EF4-FFF2-40B4-BE49-F238E27FC236}">
                  <a16:creationId xmlns:a16="http://schemas.microsoft.com/office/drawing/2014/main" id="{4228B11A-C4AE-CF26-66FC-7C430A76AA4E}"/>
                </a:ext>
              </a:extLst>
            </p:cNvPr>
            <p:cNvSpPr/>
            <p:nvPr userDrawn="1"/>
          </p:nvSpPr>
          <p:spPr bwMode="gray">
            <a:xfrm>
              <a:off x="434980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9" name="Rechteck 668">
              <a:extLst>
                <a:ext uri="{FF2B5EF4-FFF2-40B4-BE49-F238E27FC236}">
                  <a16:creationId xmlns:a16="http://schemas.microsoft.com/office/drawing/2014/main" id="{7B0C6B8E-9820-2F7F-85A1-16552A252060}"/>
                </a:ext>
              </a:extLst>
            </p:cNvPr>
            <p:cNvSpPr/>
            <p:nvPr userDrawn="1"/>
          </p:nvSpPr>
          <p:spPr bwMode="gray">
            <a:xfrm>
              <a:off x="377374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0" name="Rechteck 669">
              <a:extLst>
                <a:ext uri="{FF2B5EF4-FFF2-40B4-BE49-F238E27FC236}">
                  <a16:creationId xmlns:a16="http://schemas.microsoft.com/office/drawing/2014/main" id="{4515281B-F0EA-5242-BDD1-C881DFB45AB9}"/>
                </a:ext>
              </a:extLst>
            </p:cNvPr>
            <p:cNvSpPr/>
            <p:nvPr userDrawn="1"/>
          </p:nvSpPr>
          <p:spPr bwMode="gray">
            <a:xfrm>
              <a:off x="319768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1" name="Rechteck 670">
              <a:extLst>
                <a:ext uri="{FF2B5EF4-FFF2-40B4-BE49-F238E27FC236}">
                  <a16:creationId xmlns:a16="http://schemas.microsoft.com/office/drawing/2014/main" id="{91BBB5EE-35A3-7E2D-C5D7-F3FCC1CD9851}"/>
                </a:ext>
              </a:extLst>
            </p:cNvPr>
            <p:cNvSpPr/>
            <p:nvPr userDrawn="1"/>
          </p:nvSpPr>
          <p:spPr bwMode="gray">
            <a:xfrm>
              <a:off x="262161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2" name="Rechteck 671">
              <a:extLst>
                <a:ext uri="{FF2B5EF4-FFF2-40B4-BE49-F238E27FC236}">
                  <a16:creationId xmlns:a16="http://schemas.microsoft.com/office/drawing/2014/main" id="{07950E77-1505-2658-FBEE-E92B566266D2}"/>
                </a:ext>
              </a:extLst>
            </p:cNvPr>
            <p:cNvSpPr/>
            <p:nvPr userDrawn="1"/>
          </p:nvSpPr>
          <p:spPr bwMode="gray">
            <a:xfrm>
              <a:off x="204555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3" name="Rechteck 672">
              <a:extLst>
                <a:ext uri="{FF2B5EF4-FFF2-40B4-BE49-F238E27FC236}">
                  <a16:creationId xmlns:a16="http://schemas.microsoft.com/office/drawing/2014/main" id="{B8F07B3B-B889-DBA2-7578-CB0BEF62B3CE}"/>
                </a:ext>
              </a:extLst>
            </p:cNvPr>
            <p:cNvSpPr/>
            <p:nvPr userDrawn="1"/>
          </p:nvSpPr>
          <p:spPr bwMode="gray">
            <a:xfrm>
              <a:off x="146948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4" name="Rechteck 673">
              <a:extLst>
                <a:ext uri="{FF2B5EF4-FFF2-40B4-BE49-F238E27FC236}">
                  <a16:creationId xmlns:a16="http://schemas.microsoft.com/office/drawing/2014/main" id="{F3CB31AE-57F9-1930-62E7-502E880CFAF9}"/>
                </a:ext>
              </a:extLst>
            </p:cNvPr>
            <p:cNvSpPr/>
            <p:nvPr userDrawn="1"/>
          </p:nvSpPr>
          <p:spPr bwMode="gray">
            <a:xfrm>
              <a:off x="89342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5" name="Rechteck 674">
              <a:extLst>
                <a:ext uri="{FF2B5EF4-FFF2-40B4-BE49-F238E27FC236}">
                  <a16:creationId xmlns:a16="http://schemas.microsoft.com/office/drawing/2014/main" id="{C7FA50CD-A009-9A35-33D4-EA6656384128}"/>
                </a:ext>
              </a:extLst>
            </p:cNvPr>
            <p:cNvSpPr/>
            <p:nvPr userDrawn="1"/>
          </p:nvSpPr>
          <p:spPr bwMode="gray">
            <a:xfrm>
              <a:off x="31736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6" name="Rechteck 675">
              <a:extLst>
                <a:ext uri="{FF2B5EF4-FFF2-40B4-BE49-F238E27FC236}">
                  <a16:creationId xmlns:a16="http://schemas.microsoft.com/office/drawing/2014/main" id="{A919A646-14C8-4014-C09F-D20B05E6E198}"/>
                </a:ext>
              </a:extLst>
            </p:cNvPr>
            <p:cNvSpPr/>
            <p:nvPr userDrawn="1"/>
          </p:nvSpPr>
          <p:spPr bwMode="gray">
            <a:xfrm>
              <a:off x="1126257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7" name="Rechteck 676">
              <a:extLst>
                <a:ext uri="{FF2B5EF4-FFF2-40B4-BE49-F238E27FC236}">
                  <a16:creationId xmlns:a16="http://schemas.microsoft.com/office/drawing/2014/main" id="{DC64FD7B-DC04-8978-CFBA-32EB1A0AE7C0}"/>
                </a:ext>
              </a:extLst>
            </p:cNvPr>
            <p:cNvSpPr/>
            <p:nvPr userDrawn="1"/>
          </p:nvSpPr>
          <p:spPr bwMode="gray">
            <a:xfrm>
              <a:off x="1068651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8" name="Rechteck 677">
              <a:extLst>
                <a:ext uri="{FF2B5EF4-FFF2-40B4-BE49-F238E27FC236}">
                  <a16:creationId xmlns:a16="http://schemas.microsoft.com/office/drawing/2014/main" id="{1047BEF4-CD5E-0ABF-4171-EA2614F4A660}"/>
                </a:ext>
              </a:extLst>
            </p:cNvPr>
            <p:cNvSpPr/>
            <p:nvPr userDrawn="1"/>
          </p:nvSpPr>
          <p:spPr bwMode="gray">
            <a:xfrm>
              <a:off x="1011044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9" name="Rechteck 678">
              <a:extLst>
                <a:ext uri="{FF2B5EF4-FFF2-40B4-BE49-F238E27FC236}">
                  <a16:creationId xmlns:a16="http://schemas.microsoft.com/office/drawing/2014/main" id="{40DBA58E-09F9-8D5E-FF89-CCB7A9DD474B}"/>
                </a:ext>
              </a:extLst>
            </p:cNvPr>
            <p:cNvSpPr/>
            <p:nvPr userDrawn="1"/>
          </p:nvSpPr>
          <p:spPr bwMode="gray">
            <a:xfrm>
              <a:off x="953438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0" name="Rechteck 679">
              <a:extLst>
                <a:ext uri="{FF2B5EF4-FFF2-40B4-BE49-F238E27FC236}">
                  <a16:creationId xmlns:a16="http://schemas.microsoft.com/office/drawing/2014/main" id="{D154E357-4CCB-A83C-F214-06A459D7E5D9}"/>
                </a:ext>
              </a:extLst>
            </p:cNvPr>
            <p:cNvSpPr/>
            <p:nvPr userDrawn="1"/>
          </p:nvSpPr>
          <p:spPr bwMode="gray">
            <a:xfrm>
              <a:off x="895832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1" name="Rechteck 680">
              <a:extLst>
                <a:ext uri="{FF2B5EF4-FFF2-40B4-BE49-F238E27FC236}">
                  <a16:creationId xmlns:a16="http://schemas.microsoft.com/office/drawing/2014/main" id="{C54D5686-674C-15FF-E4C8-D31BE23C21ED}"/>
                </a:ext>
              </a:extLst>
            </p:cNvPr>
            <p:cNvSpPr/>
            <p:nvPr userDrawn="1"/>
          </p:nvSpPr>
          <p:spPr bwMode="gray">
            <a:xfrm>
              <a:off x="838225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2" name="Rechteck 681">
              <a:extLst>
                <a:ext uri="{FF2B5EF4-FFF2-40B4-BE49-F238E27FC236}">
                  <a16:creationId xmlns:a16="http://schemas.microsoft.com/office/drawing/2014/main" id="{E7CF2046-D741-4DAB-BB7E-276B4A947DC8}"/>
                </a:ext>
              </a:extLst>
            </p:cNvPr>
            <p:cNvSpPr/>
            <p:nvPr userDrawn="1"/>
          </p:nvSpPr>
          <p:spPr bwMode="gray">
            <a:xfrm>
              <a:off x="780619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3" name="Rechteck 682">
              <a:extLst>
                <a:ext uri="{FF2B5EF4-FFF2-40B4-BE49-F238E27FC236}">
                  <a16:creationId xmlns:a16="http://schemas.microsoft.com/office/drawing/2014/main" id="{50C728C3-8918-3B03-3FB6-509619DAF8E5}"/>
                </a:ext>
              </a:extLst>
            </p:cNvPr>
            <p:cNvSpPr/>
            <p:nvPr userDrawn="1"/>
          </p:nvSpPr>
          <p:spPr bwMode="gray">
            <a:xfrm>
              <a:off x="723012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4" name="Rechteck 683">
              <a:extLst>
                <a:ext uri="{FF2B5EF4-FFF2-40B4-BE49-F238E27FC236}">
                  <a16:creationId xmlns:a16="http://schemas.microsoft.com/office/drawing/2014/main" id="{3D9F05DD-B944-89DF-E282-85A9CE1AEE1E}"/>
                </a:ext>
              </a:extLst>
            </p:cNvPr>
            <p:cNvSpPr/>
            <p:nvPr userDrawn="1"/>
          </p:nvSpPr>
          <p:spPr bwMode="gray">
            <a:xfrm>
              <a:off x="665406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5" name="Rechteck 684">
              <a:extLst>
                <a:ext uri="{FF2B5EF4-FFF2-40B4-BE49-F238E27FC236}">
                  <a16:creationId xmlns:a16="http://schemas.microsoft.com/office/drawing/2014/main" id="{6405A895-68D4-FF83-63D2-341B1E42CC4A}"/>
                </a:ext>
              </a:extLst>
            </p:cNvPr>
            <p:cNvSpPr/>
            <p:nvPr userDrawn="1"/>
          </p:nvSpPr>
          <p:spPr bwMode="gray">
            <a:xfrm>
              <a:off x="607800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6" name="Rechteck 685">
              <a:extLst>
                <a:ext uri="{FF2B5EF4-FFF2-40B4-BE49-F238E27FC236}">
                  <a16:creationId xmlns:a16="http://schemas.microsoft.com/office/drawing/2014/main" id="{C6E17171-BBF6-C2EC-BD5B-5674F2DFF96C}"/>
                </a:ext>
              </a:extLst>
            </p:cNvPr>
            <p:cNvSpPr/>
            <p:nvPr userDrawn="1"/>
          </p:nvSpPr>
          <p:spPr bwMode="gray">
            <a:xfrm>
              <a:off x="550193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7" name="Rechteck 686">
              <a:extLst>
                <a:ext uri="{FF2B5EF4-FFF2-40B4-BE49-F238E27FC236}">
                  <a16:creationId xmlns:a16="http://schemas.microsoft.com/office/drawing/2014/main" id="{EF215066-0DD3-88B4-65F9-E347E777F596}"/>
                </a:ext>
              </a:extLst>
            </p:cNvPr>
            <p:cNvSpPr/>
            <p:nvPr userDrawn="1"/>
          </p:nvSpPr>
          <p:spPr bwMode="gray">
            <a:xfrm>
              <a:off x="492587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8" name="Rechteck 687">
              <a:extLst>
                <a:ext uri="{FF2B5EF4-FFF2-40B4-BE49-F238E27FC236}">
                  <a16:creationId xmlns:a16="http://schemas.microsoft.com/office/drawing/2014/main" id="{2BB7F436-5FC9-3DAF-24DA-7A3D9C1668A9}"/>
                </a:ext>
              </a:extLst>
            </p:cNvPr>
            <p:cNvSpPr/>
            <p:nvPr userDrawn="1"/>
          </p:nvSpPr>
          <p:spPr bwMode="gray">
            <a:xfrm>
              <a:off x="434980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9" name="Rechteck 688">
              <a:extLst>
                <a:ext uri="{FF2B5EF4-FFF2-40B4-BE49-F238E27FC236}">
                  <a16:creationId xmlns:a16="http://schemas.microsoft.com/office/drawing/2014/main" id="{187BF125-0BBE-02ED-2ACA-2000741E111B}"/>
                </a:ext>
              </a:extLst>
            </p:cNvPr>
            <p:cNvSpPr/>
            <p:nvPr userDrawn="1"/>
          </p:nvSpPr>
          <p:spPr bwMode="gray">
            <a:xfrm>
              <a:off x="377374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0" name="Rechteck 689">
              <a:extLst>
                <a:ext uri="{FF2B5EF4-FFF2-40B4-BE49-F238E27FC236}">
                  <a16:creationId xmlns:a16="http://schemas.microsoft.com/office/drawing/2014/main" id="{108DC7F4-B591-8142-3525-D4AE8E561A37}"/>
                </a:ext>
              </a:extLst>
            </p:cNvPr>
            <p:cNvSpPr/>
            <p:nvPr userDrawn="1"/>
          </p:nvSpPr>
          <p:spPr bwMode="gray">
            <a:xfrm>
              <a:off x="319768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1" name="Rechteck 690">
              <a:extLst>
                <a:ext uri="{FF2B5EF4-FFF2-40B4-BE49-F238E27FC236}">
                  <a16:creationId xmlns:a16="http://schemas.microsoft.com/office/drawing/2014/main" id="{4AEDE410-669D-EEED-A5DB-A42D648409FD}"/>
                </a:ext>
              </a:extLst>
            </p:cNvPr>
            <p:cNvSpPr/>
            <p:nvPr userDrawn="1"/>
          </p:nvSpPr>
          <p:spPr bwMode="gray">
            <a:xfrm>
              <a:off x="262161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2" name="Rechteck 691">
              <a:extLst>
                <a:ext uri="{FF2B5EF4-FFF2-40B4-BE49-F238E27FC236}">
                  <a16:creationId xmlns:a16="http://schemas.microsoft.com/office/drawing/2014/main" id="{40D69257-5814-26FB-AEDB-39AB4126C82B}"/>
                </a:ext>
              </a:extLst>
            </p:cNvPr>
            <p:cNvSpPr/>
            <p:nvPr userDrawn="1"/>
          </p:nvSpPr>
          <p:spPr bwMode="gray">
            <a:xfrm>
              <a:off x="204555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3" name="Rechteck 692">
              <a:extLst>
                <a:ext uri="{FF2B5EF4-FFF2-40B4-BE49-F238E27FC236}">
                  <a16:creationId xmlns:a16="http://schemas.microsoft.com/office/drawing/2014/main" id="{A394CA40-DD39-C460-4DE3-8790DF7F77F7}"/>
                </a:ext>
              </a:extLst>
            </p:cNvPr>
            <p:cNvSpPr/>
            <p:nvPr userDrawn="1"/>
          </p:nvSpPr>
          <p:spPr bwMode="gray">
            <a:xfrm>
              <a:off x="146948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4" name="Rechteck 693">
              <a:extLst>
                <a:ext uri="{FF2B5EF4-FFF2-40B4-BE49-F238E27FC236}">
                  <a16:creationId xmlns:a16="http://schemas.microsoft.com/office/drawing/2014/main" id="{ECFAD6E6-DE32-87E0-6449-A08215EB664C}"/>
                </a:ext>
              </a:extLst>
            </p:cNvPr>
            <p:cNvSpPr/>
            <p:nvPr userDrawn="1"/>
          </p:nvSpPr>
          <p:spPr bwMode="gray">
            <a:xfrm>
              <a:off x="89342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5" name="Rechteck 694">
              <a:extLst>
                <a:ext uri="{FF2B5EF4-FFF2-40B4-BE49-F238E27FC236}">
                  <a16:creationId xmlns:a16="http://schemas.microsoft.com/office/drawing/2014/main" id="{885BA83C-5744-8E09-2D18-15589903E0FF}"/>
                </a:ext>
              </a:extLst>
            </p:cNvPr>
            <p:cNvSpPr/>
            <p:nvPr userDrawn="1"/>
          </p:nvSpPr>
          <p:spPr bwMode="gray">
            <a:xfrm>
              <a:off x="31736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6" name="Rechteck 695">
              <a:extLst>
                <a:ext uri="{FF2B5EF4-FFF2-40B4-BE49-F238E27FC236}">
                  <a16:creationId xmlns:a16="http://schemas.microsoft.com/office/drawing/2014/main" id="{D6AE1E43-B718-62DF-11CE-5BF14483A86B}"/>
                </a:ext>
              </a:extLst>
            </p:cNvPr>
            <p:cNvSpPr/>
            <p:nvPr userDrawn="1"/>
          </p:nvSpPr>
          <p:spPr bwMode="gray">
            <a:xfrm>
              <a:off x="1126257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7" name="Rechteck 696">
              <a:extLst>
                <a:ext uri="{FF2B5EF4-FFF2-40B4-BE49-F238E27FC236}">
                  <a16:creationId xmlns:a16="http://schemas.microsoft.com/office/drawing/2014/main" id="{7A855A49-33B1-9A8B-BF40-1C28D3158B43}"/>
                </a:ext>
              </a:extLst>
            </p:cNvPr>
            <p:cNvSpPr/>
            <p:nvPr userDrawn="1"/>
          </p:nvSpPr>
          <p:spPr bwMode="gray">
            <a:xfrm>
              <a:off x="1068651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8" name="Rechteck 697">
              <a:extLst>
                <a:ext uri="{FF2B5EF4-FFF2-40B4-BE49-F238E27FC236}">
                  <a16:creationId xmlns:a16="http://schemas.microsoft.com/office/drawing/2014/main" id="{2CCCD5EE-86B8-E064-0E6F-2460E4363D95}"/>
                </a:ext>
              </a:extLst>
            </p:cNvPr>
            <p:cNvSpPr/>
            <p:nvPr userDrawn="1"/>
          </p:nvSpPr>
          <p:spPr bwMode="gray">
            <a:xfrm>
              <a:off x="1011044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9" name="Rechteck 698">
              <a:extLst>
                <a:ext uri="{FF2B5EF4-FFF2-40B4-BE49-F238E27FC236}">
                  <a16:creationId xmlns:a16="http://schemas.microsoft.com/office/drawing/2014/main" id="{839A2237-698A-6AC3-200E-F0689BEA8F3A}"/>
                </a:ext>
              </a:extLst>
            </p:cNvPr>
            <p:cNvSpPr/>
            <p:nvPr userDrawn="1"/>
          </p:nvSpPr>
          <p:spPr bwMode="gray">
            <a:xfrm>
              <a:off x="953438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0" name="Rechteck 699">
              <a:extLst>
                <a:ext uri="{FF2B5EF4-FFF2-40B4-BE49-F238E27FC236}">
                  <a16:creationId xmlns:a16="http://schemas.microsoft.com/office/drawing/2014/main" id="{2DE42D5C-CDBA-4694-F398-6AD7550AA83B}"/>
                </a:ext>
              </a:extLst>
            </p:cNvPr>
            <p:cNvSpPr/>
            <p:nvPr userDrawn="1"/>
          </p:nvSpPr>
          <p:spPr bwMode="gray">
            <a:xfrm>
              <a:off x="895832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1" name="Rechteck 700">
              <a:extLst>
                <a:ext uri="{FF2B5EF4-FFF2-40B4-BE49-F238E27FC236}">
                  <a16:creationId xmlns:a16="http://schemas.microsoft.com/office/drawing/2014/main" id="{08D051B7-CB42-D5C8-FEDD-501772491EA8}"/>
                </a:ext>
              </a:extLst>
            </p:cNvPr>
            <p:cNvSpPr/>
            <p:nvPr userDrawn="1"/>
          </p:nvSpPr>
          <p:spPr bwMode="gray">
            <a:xfrm>
              <a:off x="838225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2" name="Rechteck 701">
              <a:extLst>
                <a:ext uri="{FF2B5EF4-FFF2-40B4-BE49-F238E27FC236}">
                  <a16:creationId xmlns:a16="http://schemas.microsoft.com/office/drawing/2014/main" id="{EFBF0877-DFE4-D29E-9C60-02448101EDAE}"/>
                </a:ext>
              </a:extLst>
            </p:cNvPr>
            <p:cNvSpPr/>
            <p:nvPr userDrawn="1"/>
          </p:nvSpPr>
          <p:spPr bwMode="gray">
            <a:xfrm>
              <a:off x="780619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3" name="Rechteck 702">
              <a:extLst>
                <a:ext uri="{FF2B5EF4-FFF2-40B4-BE49-F238E27FC236}">
                  <a16:creationId xmlns:a16="http://schemas.microsoft.com/office/drawing/2014/main" id="{D8FA2F9B-BEB8-2A98-7BAF-75BC32757EB7}"/>
                </a:ext>
              </a:extLst>
            </p:cNvPr>
            <p:cNvSpPr/>
            <p:nvPr userDrawn="1"/>
          </p:nvSpPr>
          <p:spPr bwMode="gray">
            <a:xfrm>
              <a:off x="723012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4" name="Rechteck 703">
              <a:extLst>
                <a:ext uri="{FF2B5EF4-FFF2-40B4-BE49-F238E27FC236}">
                  <a16:creationId xmlns:a16="http://schemas.microsoft.com/office/drawing/2014/main" id="{A5B62914-155C-B6E4-1816-1EA9A69FABF7}"/>
                </a:ext>
              </a:extLst>
            </p:cNvPr>
            <p:cNvSpPr/>
            <p:nvPr userDrawn="1"/>
          </p:nvSpPr>
          <p:spPr bwMode="gray">
            <a:xfrm>
              <a:off x="665406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5" name="Rechteck 704">
              <a:extLst>
                <a:ext uri="{FF2B5EF4-FFF2-40B4-BE49-F238E27FC236}">
                  <a16:creationId xmlns:a16="http://schemas.microsoft.com/office/drawing/2014/main" id="{A6149FDF-2E78-CDB8-2B51-42285DCC657D}"/>
                </a:ext>
              </a:extLst>
            </p:cNvPr>
            <p:cNvSpPr/>
            <p:nvPr userDrawn="1"/>
          </p:nvSpPr>
          <p:spPr bwMode="gray">
            <a:xfrm>
              <a:off x="607800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6" name="Rechteck 705">
              <a:extLst>
                <a:ext uri="{FF2B5EF4-FFF2-40B4-BE49-F238E27FC236}">
                  <a16:creationId xmlns:a16="http://schemas.microsoft.com/office/drawing/2014/main" id="{7A3D4E9F-DDF1-EFC9-2A16-5541FA1CCD61}"/>
                </a:ext>
              </a:extLst>
            </p:cNvPr>
            <p:cNvSpPr/>
            <p:nvPr userDrawn="1"/>
          </p:nvSpPr>
          <p:spPr bwMode="gray">
            <a:xfrm>
              <a:off x="550193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7" name="Rechteck 706">
              <a:extLst>
                <a:ext uri="{FF2B5EF4-FFF2-40B4-BE49-F238E27FC236}">
                  <a16:creationId xmlns:a16="http://schemas.microsoft.com/office/drawing/2014/main" id="{D96050D1-4106-1E1F-4CB0-FCA52B1AD1EF}"/>
                </a:ext>
              </a:extLst>
            </p:cNvPr>
            <p:cNvSpPr/>
            <p:nvPr userDrawn="1"/>
          </p:nvSpPr>
          <p:spPr bwMode="gray">
            <a:xfrm>
              <a:off x="492587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8" name="Rechteck 707">
              <a:extLst>
                <a:ext uri="{FF2B5EF4-FFF2-40B4-BE49-F238E27FC236}">
                  <a16:creationId xmlns:a16="http://schemas.microsoft.com/office/drawing/2014/main" id="{44D4D474-4925-F5AC-D34D-87FB536C2C24}"/>
                </a:ext>
              </a:extLst>
            </p:cNvPr>
            <p:cNvSpPr/>
            <p:nvPr userDrawn="1"/>
          </p:nvSpPr>
          <p:spPr bwMode="gray">
            <a:xfrm>
              <a:off x="434980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9" name="Rechteck 708">
              <a:extLst>
                <a:ext uri="{FF2B5EF4-FFF2-40B4-BE49-F238E27FC236}">
                  <a16:creationId xmlns:a16="http://schemas.microsoft.com/office/drawing/2014/main" id="{3A0FD992-01BD-FC6D-D21F-D88363E315D8}"/>
                </a:ext>
              </a:extLst>
            </p:cNvPr>
            <p:cNvSpPr/>
            <p:nvPr userDrawn="1"/>
          </p:nvSpPr>
          <p:spPr bwMode="gray">
            <a:xfrm>
              <a:off x="377374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0" name="Rechteck 709">
              <a:extLst>
                <a:ext uri="{FF2B5EF4-FFF2-40B4-BE49-F238E27FC236}">
                  <a16:creationId xmlns:a16="http://schemas.microsoft.com/office/drawing/2014/main" id="{14405D7B-EFA5-0DC4-6DDD-BA2268F80D8E}"/>
                </a:ext>
              </a:extLst>
            </p:cNvPr>
            <p:cNvSpPr/>
            <p:nvPr userDrawn="1"/>
          </p:nvSpPr>
          <p:spPr bwMode="gray">
            <a:xfrm>
              <a:off x="319768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1" name="Rechteck 710">
              <a:extLst>
                <a:ext uri="{FF2B5EF4-FFF2-40B4-BE49-F238E27FC236}">
                  <a16:creationId xmlns:a16="http://schemas.microsoft.com/office/drawing/2014/main" id="{D3051C54-558E-969A-799F-E579264117A6}"/>
                </a:ext>
              </a:extLst>
            </p:cNvPr>
            <p:cNvSpPr/>
            <p:nvPr userDrawn="1"/>
          </p:nvSpPr>
          <p:spPr bwMode="gray">
            <a:xfrm>
              <a:off x="262161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2" name="Rechteck 711">
              <a:extLst>
                <a:ext uri="{FF2B5EF4-FFF2-40B4-BE49-F238E27FC236}">
                  <a16:creationId xmlns:a16="http://schemas.microsoft.com/office/drawing/2014/main" id="{538B7CA8-C38D-F90E-D27D-9B8AD16810E3}"/>
                </a:ext>
              </a:extLst>
            </p:cNvPr>
            <p:cNvSpPr/>
            <p:nvPr userDrawn="1"/>
          </p:nvSpPr>
          <p:spPr bwMode="gray">
            <a:xfrm>
              <a:off x="204555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3" name="Rechteck 712">
              <a:extLst>
                <a:ext uri="{FF2B5EF4-FFF2-40B4-BE49-F238E27FC236}">
                  <a16:creationId xmlns:a16="http://schemas.microsoft.com/office/drawing/2014/main" id="{088BEF0E-2480-F893-08F5-5F82662B2AE5}"/>
                </a:ext>
              </a:extLst>
            </p:cNvPr>
            <p:cNvSpPr/>
            <p:nvPr userDrawn="1"/>
          </p:nvSpPr>
          <p:spPr bwMode="gray">
            <a:xfrm>
              <a:off x="146948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4" name="Rechteck 713">
              <a:extLst>
                <a:ext uri="{FF2B5EF4-FFF2-40B4-BE49-F238E27FC236}">
                  <a16:creationId xmlns:a16="http://schemas.microsoft.com/office/drawing/2014/main" id="{5F6874AB-90D3-45EF-81D5-17B34D70915E}"/>
                </a:ext>
              </a:extLst>
            </p:cNvPr>
            <p:cNvSpPr/>
            <p:nvPr userDrawn="1"/>
          </p:nvSpPr>
          <p:spPr bwMode="gray">
            <a:xfrm>
              <a:off x="89342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5" name="Rechteck 714">
              <a:extLst>
                <a:ext uri="{FF2B5EF4-FFF2-40B4-BE49-F238E27FC236}">
                  <a16:creationId xmlns:a16="http://schemas.microsoft.com/office/drawing/2014/main" id="{E53E99BD-6D4F-2C79-AB72-B4B1F61F419E}"/>
                </a:ext>
              </a:extLst>
            </p:cNvPr>
            <p:cNvSpPr/>
            <p:nvPr userDrawn="1"/>
          </p:nvSpPr>
          <p:spPr bwMode="gray">
            <a:xfrm>
              <a:off x="31736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6" name="Rechteck 715">
              <a:extLst>
                <a:ext uri="{FF2B5EF4-FFF2-40B4-BE49-F238E27FC236}">
                  <a16:creationId xmlns:a16="http://schemas.microsoft.com/office/drawing/2014/main" id="{38491A87-920F-5530-5598-C6848EA60DB7}"/>
                </a:ext>
              </a:extLst>
            </p:cNvPr>
            <p:cNvSpPr/>
            <p:nvPr userDrawn="1"/>
          </p:nvSpPr>
          <p:spPr bwMode="gray">
            <a:xfrm>
              <a:off x="1126257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7" name="Rechteck 716">
              <a:extLst>
                <a:ext uri="{FF2B5EF4-FFF2-40B4-BE49-F238E27FC236}">
                  <a16:creationId xmlns:a16="http://schemas.microsoft.com/office/drawing/2014/main" id="{7894266D-3166-F163-D5F1-F47CB304F95B}"/>
                </a:ext>
              </a:extLst>
            </p:cNvPr>
            <p:cNvSpPr/>
            <p:nvPr userDrawn="1"/>
          </p:nvSpPr>
          <p:spPr bwMode="gray">
            <a:xfrm>
              <a:off x="1068651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8" name="Rechteck 717">
              <a:extLst>
                <a:ext uri="{FF2B5EF4-FFF2-40B4-BE49-F238E27FC236}">
                  <a16:creationId xmlns:a16="http://schemas.microsoft.com/office/drawing/2014/main" id="{D37C443B-EE23-6B98-8A91-5D49EC030F31}"/>
                </a:ext>
              </a:extLst>
            </p:cNvPr>
            <p:cNvSpPr/>
            <p:nvPr userDrawn="1"/>
          </p:nvSpPr>
          <p:spPr bwMode="gray">
            <a:xfrm>
              <a:off x="1011044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9" name="Rechteck 718">
              <a:extLst>
                <a:ext uri="{FF2B5EF4-FFF2-40B4-BE49-F238E27FC236}">
                  <a16:creationId xmlns:a16="http://schemas.microsoft.com/office/drawing/2014/main" id="{C1A018C7-2A91-88A4-8DA0-E6847F9B93F9}"/>
                </a:ext>
              </a:extLst>
            </p:cNvPr>
            <p:cNvSpPr/>
            <p:nvPr userDrawn="1"/>
          </p:nvSpPr>
          <p:spPr bwMode="gray">
            <a:xfrm>
              <a:off x="953438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0" name="Rechteck 719">
              <a:extLst>
                <a:ext uri="{FF2B5EF4-FFF2-40B4-BE49-F238E27FC236}">
                  <a16:creationId xmlns:a16="http://schemas.microsoft.com/office/drawing/2014/main" id="{6B137857-3FD1-2035-859B-549B8F4E3DFC}"/>
                </a:ext>
              </a:extLst>
            </p:cNvPr>
            <p:cNvSpPr/>
            <p:nvPr userDrawn="1"/>
          </p:nvSpPr>
          <p:spPr bwMode="gray">
            <a:xfrm>
              <a:off x="895832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1" name="Rechteck 720">
              <a:extLst>
                <a:ext uri="{FF2B5EF4-FFF2-40B4-BE49-F238E27FC236}">
                  <a16:creationId xmlns:a16="http://schemas.microsoft.com/office/drawing/2014/main" id="{20761F8A-7EBC-19EC-46E2-E9908BAD417B}"/>
                </a:ext>
              </a:extLst>
            </p:cNvPr>
            <p:cNvSpPr/>
            <p:nvPr userDrawn="1"/>
          </p:nvSpPr>
          <p:spPr bwMode="gray">
            <a:xfrm>
              <a:off x="838225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2" name="Rechteck 721">
              <a:extLst>
                <a:ext uri="{FF2B5EF4-FFF2-40B4-BE49-F238E27FC236}">
                  <a16:creationId xmlns:a16="http://schemas.microsoft.com/office/drawing/2014/main" id="{80AE10C6-E3F9-7526-15F4-05FAE072F32C}"/>
                </a:ext>
              </a:extLst>
            </p:cNvPr>
            <p:cNvSpPr/>
            <p:nvPr userDrawn="1"/>
          </p:nvSpPr>
          <p:spPr bwMode="gray">
            <a:xfrm>
              <a:off x="780619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3" name="Rechteck 722">
              <a:extLst>
                <a:ext uri="{FF2B5EF4-FFF2-40B4-BE49-F238E27FC236}">
                  <a16:creationId xmlns:a16="http://schemas.microsoft.com/office/drawing/2014/main" id="{71B2E786-4BA5-DE88-4E93-C8DDF956BF48}"/>
                </a:ext>
              </a:extLst>
            </p:cNvPr>
            <p:cNvSpPr/>
            <p:nvPr userDrawn="1"/>
          </p:nvSpPr>
          <p:spPr bwMode="gray">
            <a:xfrm>
              <a:off x="723012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4" name="Rechteck 723">
              <a:extLst>
                <a:ext uri="{FF2B5EF4-FFF2-40B4-BE49-F238E27FC236}">
                  <a16:creationId xmlns:a16="http://schemas.microsoft.com/office/drawing/2014/main" id="{CA54E93E-124F-EA7C-6CE8-F3403C2FADBF}"/>
                </a:ext>
              </a:extLst>
            </p:cNvPr>
            <p:cNvSpPr/>
            <p:nvPr userDrawn="1"/>
          </p:nvSpPr>
          <p:spPr bwMode="gray">
            <a:xfrm>
              <a:off x="665406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5" name="Rechteck 724">
              <a:extLst>
                <a:ext uri="{FF2B5EF4-FFF2-40B4-BE49-F238E27FC236}">
                  <a16:creationId xmlns:a16="http://schemas.microsoft.com/office/drawing/2014/main" id="{200DF3AB-7EEC-424D-6395-4B9BE36C842B}"/>
                </a:ext>
              </a:extLst>
            </p:cNvPr>
            <p:cNvSpPr/>
            <p:nvPr userDrawn="1"/>
          </p:nvSpPr>
          <p:spPr bwMode="gray">
            <a:xfrm>
              <a:off x="607800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6" name="Rechteck 725">
              <a:extLst>
                <a:ext uri="{FF2B5EF4-FFF2-40B4-BE49-F238E27FC236}">
                  <a16:creationId xmlns:a16="http://schemas.microsoft.com/office/drawing/2014/main" id="{F6564F97-8E27-BF3D-186D-E53D989394B3}"/>
                </a:ext>
              </a:extLst>
            </p:cNvPr>
            <p:cNvSpPr/>
            <p:nvPr userDrawn="1"/>
          </p:nvSpPr>
          <p:spPr bwMode="gray">
            <a:xfrm>
              <a:off x="550193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7" name="Rechteck 726">
              <a:extLst>
                <a:ext uri="{FF2B5EF4-FFF2-40B4-BE49-F238E27FC236}">
                  <a16:creationId xmlns:a16="http://schemas.microsoft.com/office/drawing/2014/main" id="{A173284E-D6A5-3780-FBFA-3742C5A40C35}"/>
                </a:ext>
              </a:extLst>
            </p:cNvPr>
            <p:cNvSpPr/>
            <p:nvPr userDrawn="1"/>
          </p:nvSpPr>
          <p:spPr bwMode="gray">
            <a:xfrm>
              <a:off x="492587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8" name="Rechteck 727">
              <a:extLst>
                <a:ext uri="{FF2B5EF4-FFF2-40B4-BE49-F238E27FC236}">
                  <a16:creationId xmlns:a16="http://schemas.microsoft.com/office/drawing/2014/main" id="{2B59DDEE-F1CC-1939-0A75-6040AE599823}"/>
                </a:ext>
              </a:extLst>
            </p:cNvPr>
            <p:cNvSpPr/>
            <p:nvPr userDrawn="1"/>
          </p:nvSpPr>
          <p:spPr bwMode="gray">
            <a:xfrm>
              <a:off x="434980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9" name="Rechteck 728">
              <a:extLst>
                <a:ext uri="{FF2B5EF4-FFF2-40B4-BE49-F238E27FC236}">
                  <a16:creationId xmlns:a16="http://schemas.microsoft.com/office/drawing/2014/main" id="{559C252B-C216-F2F3-948A-D8316F811644}"/>
                </a:ext>
              </a:extLst>
            </p:cNvPr>
            <p:cNvSpPr/>
            <p:nvPr userDrawn="1"/>
          </p:nvSpPr>
          <p:spPr bwMode="gray">
            <a:xfrm>
              <a:off x="377374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0" name="Rechteck 729">
              <a:extLst>
                <a:ext uri="{FF2B5EF4-FFF2-40B4-BE49-F238E27FC236}">
                  <a16:creationId xmlns:a16="http://schemas.microsoft.com/office/drawing/2014/main" id="{39CD628D-F89F-DF61-943C-B87A4FBB89C7}"/>
                </a:ext>
              </a:extLst>
            </p:cNvPr>
            <p:cNvSpPr/>
            <p:nvPr userDrawn="1"/>
          </p:nvSpPr>
          <p:spPr bwMode="gray">
            <a:xfrm>
              <a:off x="319768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1" name="Rechteck 730">
              <a:extLst>
                <a:ext uri="{FF2B5EF4-FFF2-40B4-BE49-F238E27FC236}">
                  <a16:creationId xmlns:a16="http://schemas.microsoft.com/office/drawing/2014/main" id="{E04CC576-2864-4D55-46B8-EA54FB5EFCD5}"/>
                </a:ext>
              </a:extLst>
            </p:cNvPr>
            <p:cNvSpPr/>
            <p:nvPr userDrawn="1"/>
          </p:nvSpPr>
          <p:spPr bwMode="gray">
            <a:xfrm>
              <a:off x="262161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2" name="Rechteck 731">
              <a:extLst>
                <a:ext uri="{FF2B5EF4-FFF2-40B4-BE49-F238E27FC236}">
                  <a16:creationId xmlns:a16="http://schemas.microsoft.com/office/drawing/2014/main" id="{0E13CFB1-DFFC-FDBA-CAF5-D983C2362A4F}"/>
                </a:ext>
              </a:extLst>
            </p:cNvPr>
            <p:cNvSpPr/>
            <p:nvPr userDrawn="1"/>
          </p:nvSpPr>
          <p:spPr bwMode="gray">
            <a:xfrm>
              <a:off x="204555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3" name="Rechteck 732">
              <a:extLst>
                <a:ext uri="{FF2B5EF4-FFF2-40B4-BE49-F238E27FC236}">
                  <a16:creationId xmlns:a16="http://schemas.microsoft.com/office/drawing/2014/main" id="{A26A2C27-EC25-0B41-8F83-20CD10473790}"/>
                </a:ext>
              </a:extLst>
            </p:cNvPr>
            <p:cNvSpPr/>
            <p:nvPr userDrawn="1"/>
          </p:nvSpPr>
          <p:spPr bwMode="gray">
            <a:xfrm>
              <a:off x="146948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4" name="Rechteck 733">
              <a:extLst>
                <a:ext uri="{FF2B5EF4-FFF2-40B4-BE49-F238E27FC236}">
                  <a16:creationId xmlns:a16="http://schemas.microsoft.com/office/drawing/2014/main" id="{D1B547CD-34FC-8AC3-8476-3A0508CF6116}"/>
                </a:ext>
              </a:extLst>
            </p:cNvPr>
            <p:cNvSpPr/>
            <p:nvPr userDrawn="1"/>
          </p:nvSpPr>
          <p:spPr bwMode="gray">
            <a:xfrm>
              <a:off x="89342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5" name="Rechteck 734">
              <a:extLst>
                <a:ext uri="{FF2B5EF4-FFF2-40B4-BE49-F238E27FC236}">
                  <a16:creationId xmlns:a16="http://schemas.microsoft.com/office/drawing/2014/main" id="{C8277C31-17B4-66CE-F32D-1685C3E7ABA0}"/>
                </a:ext>
              </a:extLst>
            </p:cNvPr>
            <p:cNvSpPr/>
            <p:nvPr userDrawn="1"/>
          </p:nvSpPr>
          <p:spPr bwMode="gray">
            <a:xfrm>
              <a:off x="31736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6" name="Rechteck 735">
              <a:extLst>
                <a:ext uri="{FF2B5EF4-FFF2-40B4-BE49-F238E27FC236}">
                  <a16:creationId xmlns:a16="http://schemas.microsoft.com/office/drawing/2014/main" id="{7BA1A5A3-2BEB-504C-5A6B-CE2F5D833864}"/>
                </a:ext>
              </a:extLst>
            </p:cNvPr>
            <p:cNvSpPr/>
            <p:nvPr userDrawn="1"/>
          </p:nvSpPr>
          <p:spPr bwMode="gray">
            <a:xfrm>
              <a:off x="1126257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7" name="Rechteck 736">
              <a:extLst>
                <a:ext uri="{FF2B5EF4-FFF2-40B4-BE49-F238E27FC236}">
                  <a16:creationId xmlns:a16="http://schemas.microsoft.com/office/drawing/2014/main" id="{91460C36-774F-F2A3-ED6B-9E03B9334DE8}"/>
                </a:ext>
              </a:extLst>
            </p:cNvPr>
            <p:cNvSpPr/>
            <p:nvPr userDrawn="1"/>
          </p:nvSpPr>
          <p:spPr bwMode="gray">
            <a:xfrm>
              <a:off x="1068651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8" name="Rechteck 737">
              <a:extLst>
                <a:ext uri="{FF2B5EF4-FFF2-40B4-BE49-F238E27FC236}">
                  <a16:creationId xmlns:a16="http://schemas.microsoft.com/office/drawing/2014/main" id="{555EF7C9-6979-30B9-EC2E-3082DC9CD691}"/>
                </a:ext>
              </a:extLst>
            </p:cNvPr>
            <p:cNvSpPr/>
            <p:nvPr userDrawn="1"/>
          </p:nvSpPr>
          <p:spPr bwMode="gray">
            <a:xfrm>
              <a:off x="1011044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9" name="Rechteck 738">
              <a:extLst>
                <a:ext uri="{FF2B5EF4-FFF2-40B4-BE49-F238E27FC236}">
                  <a16:creationId xmlns:a16="http://schemas.microsoft.com/office/drawing/2014/main" id="{ACB9DA70-14D8-6035-EE82-94D4FEC9728D}"/>
                </a:ext>
              </a:extLst>
            </p:cNvPr>
            <p:cNvSpPr/>
            <p:nvPr userDrawn="1"/>
          </p:nvSpPr>
          <p:spPr bwMode="gray">
            <a:xfrm>
              <a:off x="953438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0" name="Rechteck 739">
              <a:extLst>
                <a:ext uri="{FF2B5EF4-FFF2-40B4-BE49-F238E27FC236}">
                  <a16:creationId xmlns:a16="http://schemas.microsoft.com/office/drawing/2014/main" id="{B8894396-805A-AC34-4FBD-E79C77390529}"/>
                </a:ext>
              </a:extLst>
            </p:cNvPr>
            <p:cNvSpPr/>
            <p:nvPr userDrawn="1"/>
          </p:nvSpPr>
          <p:spPr bwMode="gray">
            <a:xfrm>
              <a:off x="895832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1" name="Rechteck 740">
              <a:extLst>
                <a:ext uri="{FF2B5EF4-FFF2-40B4-BE49-F238E27FC236}">
                  <a16:creationId xmlns:a16="http://schemas.microsoft.com/office/drawing/2014/main" id="{FA820CD6-A1CE-D9E3-92E5-B88356F2E355}"/>
                </a:ext>
              </a:extLst>
            </p:cNvPr>
            <p:cNvSpPr/>
            <p:nvPr userDrawn="1"/>
          </p:nvSpPr>
          <p:spPr bwMode="gray">
            <a:xfrm>
              <a:off x="838225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2" name="Rechteck 741">
              <a:extLst>
                <a:ext uri="{FF2B5EF4-FFF2-40B4-BE49-F238E27FC236}">
                  <a16:creationId xmlns:a16="http://schemas.microsoft.com/office/drawing/2014/main" id="{55A5F9E9-99EE-F746-31E9-E8F28AF9FC65}"/>
                </a:ext>
              </a:extLst>
            </p:cNvPr>
            <p:cNvSpPr/>
            <p:nvPr userDrawn="1"/>
          </p:nvSpPr>
          <p:spPr bwMode="gray">
            <a:xfrm>
              <a:off x="780619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3" name="Rechteck 742">
              <a:extLst>
                <a:ext uri="{FF2B5EF4-FFF2-40B4-BE49-F238E27FC236}">
                  <a16:creationId xmlns:a16="http://schemas.microsoft.com/office/drawing/2014/main" id="{C0E2C640-67F2-9CA1-A9F1-7392BEC708E2}"/>
                </a:ext>
              </a:extLst>
            </p:cNvPr>
            <p:cNvSpPr/>
            <p:nvPr userDrawn="1"/>
          </p:nvSpPr>
          <p:spPr bwMode="gray">
            <a:xfrm>
              <a:off x="723012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4" name="Rechteck 743">
              <a:extLst>
                <a:ext uri="{FF2B5EF4-FFF2-40B4-BE49-F238E27FC236}">
                  <a16:creationId xmlns:a16="http://schemas.microsoft.com/office/drawing/2014/main" id="{F887F251-67DA-86FE-211E-4400C82524EC}"/>
                </a:ext>
              </a:extLst>
            </p:cNvPr>
            <p:cNvSpPr/>
            <p:nvPr userDrawn="1"/>
          </p:nvSpPr>
          <p:spPr bwMode="gray">
            <a:xfrm>
              <a:off x="665406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5" name="Rechteck 744">
              <a:extLst>
                <a:ext uri="{FF2B5EF4-FFF2-40B4-BE49-F238E27FC236}">
                  <a16:creationId xmlns:a16="http://schemas.microsoft.com/office/drawing/2014/main" id="{0C57C643-D247-B9EE-EB49-ADA84E1F98CE}"/>
                </a:ext>
              </a:extLst>
            </p:cNvPr>
            <p:cNvSpPr/>
            <p:nvPr userDrawn="1"/>
          </p:nvSpPr>
          <p:spPr bwMode="gray">
            <a:xfrm>
              <a:off x="607800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6" name="Rechteck 745">
              <a:extLst>
                <a:ext uri="{FF2B5EF4-FFF2-40B4-BE49-F238E27FC236}">
                  <a16:creationId xmlns:a16="http://schemas.microsoft.com/office/drawing/2014/main" id="{614002DF-8E0E-38E5-7241-30D38FDE062D}"/>
                </a:ext>
              </a:extLst>
            </p:cNvPr>
            <p:cNvSpPr/>
            <p:nvPr userDrawn="1"/>
          </p:nvSpPr>
          <p:spPr bwMode="gray">
            <a:xfrm>
              <a:off x="550193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7" name="Rechteck 746">
              <a:extLst>
                <a:ext uri="{FF2B5EF4-FFF2-40B4-BE49-F238E27FC236}">
                  <a16:creationId xmlns:a16="http://schemas.microsoft.com/office/drawing/2014/main" id="{35DD3BCA-5AA6-297B-9620-01ABB6873F60}"/>
                </a:ext>
              </a:extLst>
            </p:cNvPr>
            <p:cNvSpPr/>
            <p:nvPr userDrawn="1"/>
          </p:nvSpPr>
          <p:spPr bwMode="gray">
            <a:xfrm>
              <a:off x="492587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8" name="Rechteck 747">
              <a:extLst>
                <a:ext uri="{FF2B5EF4-FFF2-40B4-BE49-F238E27FC236}">
                  <a16:creationId xmlns:a16="http://schemas.microsoft.com/office/drawing/2014/main" id="{9653A8BD-3271-3F53-E95E-7E7E4DCF1F33}"/>
                </a:ext>
              </a:extLst>
            </p:cNvPr>
            <p:cNvSpPr/>
            <p:nvPr userDrawn="1"/>
          </p:nvSpPr>
          <p:spPr bwMode="gray">
            <a:xfrm>
              <a:off x="434980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9" name="Rechteck 748">
              <a:extLst>
                <a:ext uri="{FF2B5EF4-FFF2-40B4-BE49-F238E27FC236}">
                  <a16:creationId xmlns:a16="http://schemas.microsoft.com/office/drawing/2014/main" id="{2C58E5A5-E015-186E-04EA-FDD526282F7F}"/>
                </a:ext>
              </a:extLst>
            </p:cNvPr>
            <p:cNvSpPr/>
            <p:nvPr userDrawn="1"/>
          </p:nvSpPr>
          <p:spPr bwMode="gray">
            <a:xfrm>
              <a:off x="377374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0" name="Rechteck 749">
              <a:extLst>
                <a:ext uri="{FF2B5EF4-FFF2-40B4-BE49-F238E27FC236}">
                  <a16:creationId xmlns:a16="http://schemas.microsoft.com/office/drawing/2014/main" id="{85C2314E-F696-6015-9110-4F4952266571}"/>
                </a:ext>
              </a:extLst>
            </p:cNvPr>
            <p:cNvSpPr/>
            <p:nvPr userDrawn="1"/>
          </p:nvSpPr>
          <p:spPr bwMode="gray">
            <a:xfrm>
              <a:off x="319768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1" name="Rechteck 750">
              <a:extLst>
                <a:ext uri="{FF2B5EF4-FFF2-40B4-BE49-F238E27FC236}">
                  <a16:creationId xmlns:a16="http://schemas.microsoft.com/office/drawing/2014/main" id="{92318C51-7765-FD00-2606-63C7D817A4C8}"/>
                </a:ext>
              </a:extLst>
            </p:cNvPr>
            <p:cNvSpPr/>
            <p:nvPr userDrawn="1"/>
          </p:nvSpPr>
          <p:spPr bwMode="gray">
            <a:xfrm>
              <a:off x="262161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2" name="Rechteck 751">
              <a:extLst>
                <a:ext uri="{FF2B5EF4-FFF2-40B4-BE49-F238E27FC236}">
                  <a16:creationId xmlns:a16="http://schemas.microsoft.com/office/drawing/2014/main" id="{6F4FBB76-9048-534C-6828-4BC1B4A70E34}"/>
                </a:ext>
              </a:extLst>
            </p:cNvPr>
            <p:cNvSpPr/>
            <p:nvPr userDrawn="1"/>
          </p:nvSpPr>
          <p:spPr bwMode="gray">
            <a:xfrm>
              <a:off x="204555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3" name="Rechteck 752">
              <a:extLst>
                <a:ext uri="{FF2B5EF4-FFF2-40B4-BE49-F238E27FC236}">
                  <a16:creationId xmlns:a16="http://schemas.microsoft.com/office/drawing/2014/main" id="{DB379BD7-0ABD-6B12-E6A2-3ABE82055916}"/>
                </a:ext>
              </a:extLst>
            </p:cNvPr>
            <p:cNvSpPr/>
            <p:nvPr userDrawn="1"/>
          </p:nvSpPr>
          <p:spPr bwMode="gray">
            <a:xfrm>
              <a:off x="146948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4" name="Rechteck 753">
              <a:extLst>
                <a:ext uri="{FF2B5EF4-FFF2-40B4-BE49-F238E27FC236}">
                  <a16:creationId xmlns:a16="http://schemas.microsoft.com/office/drawing/2014/main" id="{F739147A-60FC-D015-FC42-1CDFA8A0703B}"/>
                </a:ext>
              </a:extLst>
            </p:cNvPr>
            <p:cNvSpPr/>
            <p:nvPr userDrawn="1"/>
          </p:nvSpPr>
          <p:spPr bwMode="gray">
            <a:xfrm>
              <a:off x="89342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5" name="Rechteck 754">
              <a:extLst>
                <a:ext uri="{FF2B5EF4-FFF2-40B4-BE49-F238E27FC236}">
                  <a16:creationId xmlns:a16="http://schemas.microsoft.com/office/drawing/2014/main" id="{32B26F5F-82E5-0B80-CE4E-63BE1E245A5B}"/>
                </a:ext>
              </a:extLst>
            </p:cNvPr>
            <p:cNvSpPr/>
            <p:nvPr userDrawn="1"/>
          </p:nvSpPr>
          <p:spPr bwMode="gray">
            <a:xfrm>
              <a:off x="31736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6" name="Rechteck 755">
              <a:extLst>
                <a:ext uri="{FF2B5EF4-FFF2-40B4-BE49-F238E27FC236}">
                  <a16:creationId xmlns:a16="http://schemas.microsoft.com/office/drawing/2014/main" id="{00E43CA4-F794-FFDB-7B1B-F29AA0CA6AAC}"/>
                </a:ext>
              </a:extLst>
            </p:cNvPr>
            <p:cNvSpPr/>
            <p:nvPr userDrawn="1"/>
          </p:nvSpPr>
          <p:spPr bwMode="gray">
            <a:xfrm>
              <a:off x="1126257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7" name="Rechteck 756">
              <a:extLst>
                <a:ext uri="{FF2B5EF4-FFF2-40B4-BE49-F238E27FC236}">
                  <a16:creationId xmlns:a16="http://schemas.microsoft.com/office/drawing/2014/main" id="{CBE23FAD-397E-83F9-607A-01A7AFF8DD40}"/>
                </a:ext>
              </a:extLst>
            </p:cNvPr>
            <p:cNvSpPr/>
            <p:nvPr userDrawn="1"/>
          </p:nvSpPr>
          <p:spPr bwMode="gray">
            <a:xfrm>
              <a:off x="1068651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8" name="Rechteck 757">
              <a:extLst>
                <a:ext uri="{FF2B5EF4-FFF2-40B4-BE49-F238E27FC236}">
                  <a16:creationId xmlns:a16="http://schemas.microsoft.com/office/drawing/2014/main" id="{3BF5BB13-3A93-9A16-7724-6AA699B2DCDF}"/>
                </a:ext>
              </a:extLst>
            </p:cNvPr>
            <p:cNvSpPr/>
            <p:nvPr userDrawn="1"/>
          </p:nvSpPr>
          <p:spPr bwMode="gray">
            <a:xfrm>
              <a:off x="1011044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9" name="Rechteck 758">
              <a:extLst>
                <a:ext uri="{FF2B5EF4-FFF2-40B4-BE49-F238E27FC236}">
                  <a16:creationId xmlns:a16="http://schemas.microsoft.com/office/drawing/2014/main" id="{4ED17F19-251B-8BAA-346C-E60B48838898}"/>
                </a:ext>
              </a:extLst>
            </p:cNvPr>
            <p:cNvSpPr/>
            <p:nvPr userDrawn="1"/>
          </p:nvSpPr>
          <p:spPr bwMode="gray">
            <a:xfrm>
              <a:off x="953438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0" name="Rechteck 759">
              <a:extLst>
                <a:ext uri="{FF2B5EF4-FFF2-40B4-BE49-F238E27FC236}">
                  <a16:creationId xmlns:a16="http://schemas.microsoft.com/office/drawing/2014/main" id="{62AFAA44-AE58-52FE-6037-68669DFB7594}"/>
                </a:ext>
              </a:extLst>
            </p:cNvPr>
            <p:cNvSpPr/>
            <p:nvPr userDrawn="1"/>
          </p:nvSpPr>
          <p:spPr bwMode="gray">
            <a:xfrm>
              <a:off x="895832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1" name="Rechteck 760">
              <a:extLst>
                <a:ext uri="{FF2B5EF4-FFF2-40B4-BE49-F238E27FC236}">
                  <a16:creationId xmlns:a16="http://schemas.microsoft.com/office/drawing/2014/main" id="{CBBE803C-0F58-7BCE-35C1-AB4B385C201C}"/>
                </a:ext>
              </a:extLst>
            </p:cNvPr>
            <p:cNvSpPr/>
            <p:nvPr userDrawn="1"/>
          </p:nvSpPr>
          <p:spPr bwMode="gray">
            <a:xfrm>
              <a:off x="838225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2" name="Rechteck 761">
              <a:extLst>
                <a:ext uri="{FF2B5EF4-FFF2-40B4-BE49-F238E27FC236}">
                  <a16:creationId xmlns:a16="http://schemas.microsoft.com/office/drawing/2014/main" id="{B21BC56D-4481-DD58-BEB8-E76BCAC6A599}"/>
                </a:ext>
              </a:extLst>
            </p:cNvPr>
            <p:cNvSpPr/>
            <p:nvPr userDrawn="1"/>
          </p:nvSpPr>
          <p:spPr bwMode="gray">
            <a:xfrm>
              <a:off x="780619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3" name="Rechteck 762">
              <a:extLst>
                <a:ext uri="{FF2B5EF4-FFF2-40B4-BE49-F238E27FC236}">
                  <a16:creationId xmlns:a16="http://schemas.microsoft.com/office/drawing/2014/main" id="{6482F971-EB85-B5AB-2FB7-EC7A806B3E79}"/>
                </a:ext>
              </a:extLst>
            </p:cNvPr>
            <p:cNvSpPr/>
            <p:nvPr userDrawn="1"/>
          </p:nvSpPr>
          <p:spPr bwMode="gray">
            <a:xfrm>
              <a:off x="723012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4" name="Rechteck 763">
              <a:extLst>
                <a:ext uri="{FF2B5EF4-FFF2-40B4-BE49-F238E27FC236}">
                  <a16:creationId xmlns:a16="http://schemas.microsoft.com/office/drawing/2014/main" id="{017F2FD2-3EEB-4038-7BAF-F9783B0617C7}"/>
                </a:ext>
              </a:extLst>
            </p:cNvPr>
            <p:cNvSpPr/>
            <p:nvPr userDrawn="1"/>
          </p:nvSpPr>
          <p:spPr bwMode="gray">
            <a:xfrm>
              <a:off x="665406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5" name="Rechteck 764">
              <a:extLst>
                <a:ext uri="{FF2B5EF4-FFF2-40B4-BE49-F238E27FC236}">
                  <a16:creationId xmlns:a16="http://schemas.microsoft.com/office/drawing/2014/main" id="{45CD61B6-82BA-5769-362C-A2FDCC6F2703}"/>
                </a:ext>
              </a:extLst>
            </p:cNvPr>
            <p:cNvSpPr/>
            <p:nvPr userDrawn="1"/>
          </p:nvSpPr>
          <p:spPr bwMode="gray">
            <a:xfrm>
              <a:off x="607800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6" name="Rechteck 765">
              <a:extLst>
                <a:ext uri="{FF2B5EF4-FFF2-40B4-BE49-F238E27FC236}">
                  <a16:creationId xmlns:a16="http://schemas.microsoft.com/office/drawing/2014/main" id="{44748873-2925-9CFF-2827-4D236038F27C}"/>
                </a:ext>
              </a:extLst>
            </p:cNvPr>
            <p:cNvSpPr/>
            <p:nvPr userDrawn="1"/>
          </p:nvSpPr>
          <p:spPr bwMode="gray">
            <a:xfrm>
              <a:off x="550193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7" name="Rechteck 766">
              <a:extLst>
                <a:ext uri="{FF2B5EF4-FFF2-40B4-BE49-F238E27FC236}">
                  <a16:creationId xmlns:a16="http://schemas.microsoft.com/office/drawing/2014/main" id="{8BFE5B1C-594E-B043-BC3F-70F7CB484846}"/>
                </a:ext>
              </a:extLst>
            </p:cNvPr>
            <p:cNvSpPr/>
            <p:nvPr userDrawn="1"/>
          </p:nvSpPr>
          <p:spPr bwMode="gray">
            <a:xfrm>
              <a:off x="492587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8" name="Rechteck 767">
              <a:extLst>
                <a:ext uri="{FF2B5EF4-FFF2-40B4-BE49-F238E27FC236}">
                  <a16:creationId xmlns:a16="http://schemas.microsoft.com/office/drawing/2014/main" id="{0EB16FBD-E362-B885-DADD-0AA54A43C10E}"/>
                </a:ext>
              </a:extLst>
            </p:cNvPr>
            <p:cNvSpPr/>
            <p:nvPr userDrawn="1"/>
          </p:nvSpPr>
          <p:spPr bwMode="gray">
            <a:xfrm>
              <a:off x="434980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9" name="Rechteck 768">
              <a:extLst>
                <a:ext uri="{FF2B5EF4-FFF2-40B4-BE49-F238E27FC236}">
                  <a16:creationId xmlns:a16="http://schemas.microsoft.com/office/drawing/2014/main" id="{746EC133-5431-AB2F-0704-E0610112E2F9}"/>
                </a:ext>
              </a:extLst>
            </p:cNvPr>
            <p:cNvSpPr/>
            <p:nvPr userDrawn="1"/>
          </p:nvSpPr>
          <p:spPr bwMode="gray">
            <a:xfrm>
              <a:off x="377374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0" name="Rechteck 769">
              <a:extLst>
                <a:ext uri="{FF2B5EF4-FFF2-40B4-BE49-F238E27FC236}">
                  <a16:creationId xmlns:a16="http://schemas.microsoft.com/office/drawing/2014/main" id="{A1F91567-8AB0-00A3-9A48-97E4F29763EC}"/>
                </a:ext>
              </a:extLst>
            </p:cNvPr>
            <p:cNvSpPr/>
            <p:nvPr userDrawn="1"/>
          </p:nvSpPr>
          <p:spPr bwMode="gray">
            <a:xfrm>
              <a:off x="319768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1" name="Rechteck 770">
              <a:extLst>
                <a:ext uri="{FF2B5EF4-FFF2-40B4-BE49-F238E27FC236}">
                  <a16:creationId xmlns:a16="http://schemas.microsoft.com/office/drawing/2014/main" id="{B97C7ACF-C7E6-8114-8D47-9FB72024A625}"/>
                </a:ext>
              </a:extLst>
            </p:cNvPr>
            <p:cNvSpPr/>
            <p:nvPr userDrawn="1"/>
          </p:nvSpPr>
          <p:spPr bwMode="gray">
            <a:xfrm>
              <a:off x="262161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2" name="Rechteck 771">
              <a:extLst>
                <a:ext uri="{FF2B5EF4-FFF2-40B4-BE49-F238E27FC236}">
                  <a16:creationId xmlns:a16="http://schemas.microsoft.com/office/drawing/2014/main" id="{C629A43D-B4FE-BBB9-1F2F-641AA8123BFA}"/>
                </a:ext>
              </a:extLst>
            </p:cNvPr>
            <p:cNvSpPr/>
            <p:nvPr userDrawn="1"/>
          </p:nvSpPr>
          <p:spPr bwMode="gray">
            <a:xfrm>
              <a:off x="204555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3" name="Rechteck 772">
              <a:extLst>
                <a:ext uri="{FF2B5EF4-FFF2-40B4-BE49-F238E27FC236}">
                  <a16:creationId xmlns:a16="http://schemas.microsoft.com/office/drawing/2014/main" id="{3C593A7A-2397-B5CC-616C-A59E8B4E188B}"/>
                </a:ext>
              </a:extLst>
            </p:cNvPr>
            <p:cNvSpPr/>
            <p:nvPr userDrawn="1"/>
          </p:nvSpPr>
          <p:spPr bwMode="gray">
            <a:xfrm>
              <a:off x="146948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4" name="Rechteck 773">
              <a:extLst>
                <a:ext uri="{FF2B5EF4-FFF2-40B4-BE49-F238E27FC236}">
                  <a16:creationId xmlns:a16="http://schemas.microsoft.com/office/drawing/2014/main" id="{45B83485-3E82-029C-0E78-CA0B93851329}"/>
                </a:ext>
              </a:extLst>
            </p:cNvPr>
            <p:cNvSpPr/>
            <p:nvPr userDrawn="1"/>
          </p:nvSpPr>
          <p:spPr bwMode="gray">
            <a:xfrm>
              <a:off x="89342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5" name="Rechteck 774">
              <a:extLst>
                <a:ext uri="{FF2B5EF4-FFF2-40B4-BE49-F238E27FC236}">
                  <a16:creationId xmlns:a16="http://schemas.microsoft.com/office/drawing/2014/main" id="{E1F46FAD-552F-80A0-65A2-31C474169671}"/>
                </a:ext>
              </a:extLst>
            </p:cNvPr>
            <p:cNvSpPr/>
            <p:nvPr userDrawn="1"/>
          </p:nvSpPr>
          <p:spPr bwMode="gray">
            <a:xfrm>
              <a:off x="31736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6" name="Rechteck 775">
              <a:extLst>
                <a:ext uri="{FF2B5EF4-FFF2-40B4-BE49-F238E27FC236}">
                  <a16:creationId xmlns:a16="http://schemas.microsoft.com/office/drawing/2014/main" id="{F7B7402D-4FA8-A417-1714-664CBBF459BB}"/>
                </a:ext>
              </a:extLst>
            </p:cNvPr>
            <p:cNvSpPr/>
            <p:nvPr userDrawn="1"/>
          </p:nvSpPr>
          <p:spPr bwMode="gray">
            <a:xfrm>
              <a:off x="1183864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7" name="Rechteck 776">
              <a:extLst>
                <a:ext uri="{FF2B5EF4-FFF2-40B4-BE49-F238E27FC236}">
                  <a16:creationId xmlns:a16="http://schemas.microsoft.com/office/drawing/2014/main" id="{1DDCE34A-DEEE-CDDD-CCF2-C75B0728DFE4}"/>
                </a:ext>
              </a:extLst>
            </p:cNvPr>
            <p:cNvSpPr/>
            <p:nvPr userDrawn="1"/>
          </p:nvSpPr>
          <p:spPr bwMode="gray">
            <a:xfrm>
              <a:off x="1183864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8" name="Rechteck 777">
              <a:extLst>
                <a:ext uri="{FF2B5EF4-FFF2-40B4-BE49-F238E27FC236}">
                  <a16:creationId xmlns:a16="http://schemas.microsoft.com/office/drawing/2014/main" id="{AA8E2BD9-4689-FF77-3759-CA0633D32F93}"/>
                </a:ext>
              </a:extLst>
            </p:cNvPr>
            <p:cNvSpPr/>
            <p:nvPr userDrawn="1"/>
          </p:nvSpPr>
          <p:spPr bwMode="gray">
            <a:xfrm>
              <a:off x="1183864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9" name="Rechteck 778">
              <a:extLst>
                <a:ext uri="{FF2B5EF4-FFF2-40B4-BE49-F238E27FC236}">
                  <a16:creationId xmlns:a16="http://schemas.microsoft.com/office/drawing/2014/main" id="{0BA198B4-63D5-5188-25B8-68FCC1FBA19D}"/>
                </a:ext>
              </a:extLst>
            </p:cNvPr>
            <p:cNvSpPr/>
            <p:nvPr userDrawn="1"/>
          </p:nvSpPr>
          <p:spPr bwMode="gray">
            <a:xfrm>
              <a:off x="1183864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0" name="Rechteck 779">
              <a:extLst>
                <a:ext uri="{FF2B5EF4-FFF2-40B4-BE49-F238E27FC236}">
                  <a16:creationId xmlns:a16="http://schemas.microsoft.com/office/drawing/2014/main" id="{8A19EF65-2CCE-8C4B-74C2-1C694C7AD6BD}"/>
                </a:ext>
              </a:extLst>
            </p:cNvPr>
            <p:cNvSpPr/>
            <p:nvPr userDrawn="1"/>
          </p:nvSpPr>
          <p:spPr bwMode="gray">
            <a:xfrm>
              <a:off x="1183864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1" name="Rechteck 780">
              <a:extLst>
                <a:ext uri="{FF2B5EF4-FFF2-40B4-BE49-F238E27FC236}">
                  <a16:creationId xmlns:a16="http://schemas.microsoft.com/office/drawing/2014/main" id="{1964D5B3-00AD-7675-1B53-BEF714F02F23}"/>
                </a:ext>
              </a:extLst>
            </p:cNvPr>
            <p:cNvSpPr/>
            <p:nvPr userDrawn="1"/>
          </p:nvSpPr>
          <p:spPr bwMode="gray">
            <a:xfrm>
              <a:off x="1183864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2" name="Rechteck 781">
              <a:extLst>
                <a:ext uri="{FF2B5EF4-FFF2-40B4-BE49-F238E27FC236}">
                  <a16:creationId xmlns:a16="http://schemas.microsoft.com/office/drawing/2014/main" id="{DA24335F-AFC5-57F6-9D7D-4770CD89830C}"/>
                </a:ext>
              </a:extLst>
            </p:cNvPr>
            <p:cNvSpPr/>
            <p:nvPr userDrawn="1"/>
          </p:nvSpPr>
          <p:spPr bwMode="gray">
            <a:xfrm>
              <a:off x="1183864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3" name="Rechteck 782">
              <a:extLst>
                <a:ext uri="{FF2B5EF4-FFF2-40B4-BE49-F238E27FC236}">
                  <a16:creationId xmlns:a16="http://schemas.microsoft.com/office/drawing/2014/main" id="{D14F546B-CD24-1F74-462B-10BE703C7E2E}"/>
                </a:ext>
              </a:extLst>
            </p:cNvPr>
            <p:cNvSpPr/>
            <p:nvPr userDrawn="1"/>
          </p:nvSpPr>
          <p:spPr bwMode="gray">
            <a:xfrm>
              <a:off x="1183864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4" name="Rechteck 783">
              <a:extLst>
                <a:ext uri="{FF2B5EF4-FFF2-40B4-BE49-F238E27FC236}">
                  <a16:creationId xmlns:a16="http://schemas.microsoft.com/office/drawing/2014/main" id="{14C72AFE-E5EB-233A-2ECC-08E836943BD0}"/>
                </a:ext>
              </a:extLst>
            </p:cNvPr>
            <p:cNvSpPr/>
            <p:nvPr userDrawn="1"/>
          </p:nvSpPr>
          <p:spPr bwMode="gray">
            <a:xfrm>
              <a:off x="1183864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grpSp>
      <p:pic>
        <p:nvPicPr>
          <p:cNvPr id="391" name="Logo">
            <a:extLst>
              <a:ext uri="{FF2B5EF4-FFF2-40B4-BE49-F238E27FC236}">
                <a16:creationId xmlns:a16="http://schemas.microsoft.com/office/drawing/2014/main" id="{189AA4E2-F69B-B109-85F0-901CA503F826}"/>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bwMode="gray">
          <a:xfrm>
            <a:off x="10128448" y="335757"/>
            <a:ext cx="1358180" cy="576000"/>
          </a:xfrm>
          <a:prstGeom prst="rect">
            <a:avLst/>
          </a:prstGeom>
        </p:spPr>
      </p:pic>
      <p:grpSp>
        <p:nvGrpSpPr>
          <p:cNvPr id="392" name="Gruppieren 391">
            <a:extLst>
              <a:ext uri="{FF2B5EF4-FFF2-40B4-BE49-F238E27FC236}">
                <a16:creationId xmlns:a16="http://schemas.microsoft.com/office/drawing/2014/main" id="{701F0DA0-628B-0B40-98E7-97AB8CD4A4D9}"/>
              </a:ext>
              <a:ext uri="{C183D7F6-B498-43B3-948B-1728B52AA6E4}">
                <adec:decorative xmlns:adec="http://schemas.microsoft.com/office/drawing/2017/decorative" val="1"/>
              </a:ext>
            </a:extLst>
          </p:cNvPr>
          <p:cNvGrpSpPr/>
          <p:nvPr userDrawn="1"/>
        </p:nvGrpSpPr>
        <p:grpSpPr>
          <a:xfrm>
            <a:off x="839160" y="2082829"/>
            <a:ext cx="2448000" cy="0"/>
            <a:chOff x="983432" y="2082829"/>
            <a:chExt cx="2448000" cy="0"/>
          </a:xfrm>
        </p:grpSpPr>
        <p:cxnSp>
          <p:nvCxnSpPr>
            <p:cNvPr id="393" name="Line">
              <a:extLst>
                <a:ext uri="{FF2B5EF4-FFF2-40B4-BE49-F238E27FC236}">
                  <a16:creationId xmlns:a16="http://schemas.microsoft.com/office/drawing/2014/main" id="{48F79076-DD72-4841-D656-08D5F11BC781}"/>
                </a:ext>
                <a:ext uri="{C183D7F6-B498-43B3-948B-1728B52AA6E4}">
                  <adec:decorative xmlns:adec="http://schemas.microsoft.com/office/drawing/2017/decorative" val="1"/>
                </a:ext>
              </a:extLst>
            </p:cNvPr>
            <p:cNvCxnSpPr>
              <a:cxnSpLocks/>
            </p:cNvCxnSpPr>
            <p:nvPr userDrawn="1"/>
          </p:nvCxnSpPr>
          <p:spPr bwMode="gray">
            <a:xfrm>
              <a:off x="983432" y="2082829"/>
              <a:ext cx="2448000" cy="0"/>
            </a:xfrm>
            <a:prstGeom prst="line">
              <a:avLst/>
            </a:prstGeom>
            <a:ln w="1047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4" name="Line">
              <a:extLst>
                <a:ext uri="{FF2B5EF4-FFF2-40B4-BE49-F238E27FC236}">
                  <a16:creationId xmlns:a16="http://schemas.microsoft.com/office/drawing/2014/main" id="{177C427B-5B00-95DD-C64E-A6DCB40DFDEA}"/>
                </a:ext>
                <a:ext uri="{C183D7F6-B498-43B3-948B-1728B52AA6E4}">
                  <adec:decorative xmlns:adec="http://schemas.microsoft.com/office/drawing/2017/decorative" val="1"/>
                </a:ext>
              </a:extLst>
            </p:cNvPr>
            <p:cNvCxnSpPr>
              <a:cxnSpLocks/>
            </p:cNvCxnSpPr>
            <p:nvPr userDrawn="1"/>
          </p:nvCxnSpPr>
          <p:spPr bwMode="gray">
            <a:xfrm>
              <a:off x="1056000" y="2082829"/>
              <a:ext cx="2303696"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400" name="Shape">
            <a:extLst>
              <a:ext uri="{FF2B5EF4-FFF2-40B4-BE49-F238E27FC236}">
                <a16:creationId xmlns:a16="http://schemas.microsoft.com/office/drawing/2014/main" id="{6C190A2C-5CF4-F4F1-FEBA-00847E6DD6D5}"/>
              </a:ext>
              <a:ext uri="{C183D7F6-B498-43B3-948B-1728B52AA6E4}">
                <adec:decorative xmlns:adec="http://schemas.microsoft.com/office/drawing/2017/decorative" val="1"/>
              </a:ext>
            </a:extLst>
          </p:cNvPr>
          <p:cNvSpPr>
            <a:spLocks/>
          </p:cNvSpPr>
          <p:nvPr userDrawn="1"/>
        </p:nvSpPr>
        <p:spPr bwMode="gray">
          <a:xfrm>
            <a:off x="4367808" y="2061400"/>
            <a:ext cx="5775177" cy="3463099"/>
          </a:xfrm>
          <a:custGeom>
            <a:avLst/>
            <a:gdLst>
              <a:gd name="connsiteX0" fmla="*/ 0 w 8604027"/>
              <a:gd name="connsiteY0" fmla="*/ 857 h 5734812"/>
              <a:gd name="connsiteX1" fmla="*/ 8604028 w 8604027"/>
              <a:gd name="connsiteY1" fmla="*/ 0 h 5734812"/>
              <a:gd name="connsiteX2" fmla="*/ 7170039 w 8604027"/>
              <a:gd name="connsiteY2" fmla="*/ 4301966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02506 w 8604029"/>
              <a:gd name="connsiteY2" fmla="*/ 3984076 h 5734812"/>
              <a:gd name="connsiteX3" fmla="*/ 0 w 8604029"/>
              <a:gd name="connsiteY3" fmla="*/ 5734812 h 5734812"/>
              <a:gd name="connsiteX4" fmla="*/ 0 w 8604029"/>
              <a:gd name="connsiteY4" fmla="*/ 857 h 5734812"/>
              <a:gd name="connsiteX0" fmla="*/ 0 w 8604027"/>
              <a:gd name="connsiteY0" fmla="*/ 857 h 5734812"/>
              <a:gd name="connsiteX1" fmla="*/ 8604028 w 8604027"/>
              <a:gd name="connsiteY1" fmla="*/ 0 h 5734812"/>
              <a:gd name="connsiteX2" fmla="*/ 7046854 w 8604027"/>
              <a:gd name="connsiteY2" fmla="*/ 4091749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50550 w 8604029"/>
              <a:gd name="connsiteY2" fmla="*/ 4107130 h 5734812"/>
              <a:gd name="connsiteX3" fmla="*/ 0 w 8604029"/>
              <a:gd name="connsiteY3" fmla="*/ 5734812 h 5734812"/>
              <a:gd name="connsiteX4" fmla="*/ 0 w 8604029"/>
              <a:gd name="connsiteY4" fmla="*/ 857 h 5734812"/>
              <a:gd name="connsiteX0" fmla="*/ 0 w 8604028"/>
              <a:gd name="connsiteY0" fmla="*/ 857 h 5734812"/>
              <a:gd name="connsiteX1" fmla="*/ 8604028 w 8604028"/>
              <a:gd name="connsiteY1" fmla="*/ 0 h 5734812"/>
              <a:gd name="connsiteX2" fmla="*/ 6576335 w 8604028"/>
              <a:gd name="connsiteY2" fmla="*/ 3411651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98802 w 8604028"/>
              <a:gd name="connsiteY2" fmla="*/ 3812078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905914 w 8604028"/>
              <a:gd name="connsiteY2" fmla="*/ 3827884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70437 w 8604028"/>
              <a:gd name="connsiteY2" fmla="*/ 3745075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84628 w 8604028"/>
              <a:gd name="connsiteY2" fmla="*/ 3827883 h 5734812"/>
              <a:gd name="connsiteX3" fmla="*/ 0 w 8604028"/>
              <a:gd name="connsiteY3" fmla="*/ 5734812 h 5734812"/>
              <a:gd name="connsiteX4" fmla="*/ 0 w 8604028"/>
              <a:gd name="connsiteY4" fmla="*/ 857 h 5734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4028" h="5734812">
                <a:moveTo>
                  <a:pt x="0" y="857"/>
                </a:moveTo>
                <a:lnTo>
                  <a:pt x="8604028" y="0"/>
                </a:lnTo>
                <a:lnTo>
                  <a:pt x="6884628" y="3827883"/>
                </a:lnTo>
                <a:lnTo>
                  <a:pt x="0" y="5734812"/>
                </a:lnTo>
                <a:lnTo>
                  <a:pt x="0" y="857"/>
                </a:lnTo>
                <a:close/>
              </a:path>
            </a:pathLst>
          </a:custGeom>
          <a:solidFill>
            <a:schemeClr val="bg1"/>
          </a:solidFill>
          <a:ln w="76200" cap="flat">
            <a:solidFill>
              <a:schemeClr val="bg1"/>
            </a:solidFill>
            <a:prstDash val="solid"/>
            <a:miter/>
          </a:ln>
        </p:spPr>
        <p:txBody>
          <a:bodyPr rtlCol="0" anchor="ctr"/>
          <a:lstStyle/>
          <a:p>
            <a:endParaRPr lang="en-GB" dirty="0"/>
          </a:p>
        </p:txBody>
      </p:sp>
      <p:sp>
        <p:nvSpPr>
          <p:cNvPr id="395" name="Title">
            <a:extLst>
              <a:ext uri="{FF2B5EF4-FFF2-40B4-BE49-F238E27FC236}">
                <a16:creationId xmlns:a16="http://schemas.microsoft.com/office/drawing/2014/main" id="{563ACDD7-4CAB-D04C-4575-B18CE6AE09F8}"/>
              </a:ext>
            </a:extLst>
          </p:cNvPr>
          <p:cNvSpPr>
            <a:spLocks noGrp="1"/>
          </p:cNvSpPr>
          <p:nvPr>
            <p:ph type="ctrTitle" hasCustomPrompt="1"/>
          </p:nvPr>
        </p:nvSpPr>
        <p:spPr bwMode="gray">
          <a:xfrm>
            <a:off x="695728" y="2565032"/>
            <a:ext cx="2952000" cy="1152000"/>
          </a:xfrm>
          <a:prstGeom prst="rect">
            <a:avLst/>
          </a:prstGeom>
          <a:solidFill>
            <a:schemeClr val="bg1"/>
          </a:solidFill>
          <a:ln w="127">
            <a:solidFill>
              <a:schemeClr val="bg1"/>
            </a:solidFill>
          </a:ln>
        </p:spPr>
        <p:txBody>
          <a:bodyPr vert="horz" lIns="216000" tIns="36000" rIns="216000" anchor="t">
            <a:noAutofit/>
          </a:bodyPr>
          <a:lstStyle>
            <a:lvl1pPr algn="l">
              <a:lnSpc>
                <a:spcPct val="90000"/>
              </a:lnSpc>
              <a:defRPr sz="2400"/>
            </a:lvl1pPr>
          </a:lstStyle>
          <a:p>
            <a:r>
              <a:rPr lang="en-GB" dirty="0"/>
              <a:t>Insert your long title here in max. three lines</a:t>
            </a:r>
          </a:p>
        </p:txBody>
      </p:sp>
      <p:sp>
        <p:nvSpPr>
          <p:cNvPr id="396" name="Subtitle 2">
            <a:extLst>
              <a:ext uri="{FF2B5EF4-FFF2-40B4-BE49-F238E27FC236}">
                <a16:creationId xmlns:a16="http://schemas.microsoft.com/office/drawing/2014/main" id="{A1C44B46-2A54-7005-61AA-44280E3A6EF1}"/>
              </a:ext>
            </a:extLst>
          </p:cNvPr>
          <p:cNvSpPr>
            <a:spLocks noGrp="1"/>
          </p:cNvSpPr>
          <p:nvPr>
            <p:ph type="subTitle" idx="1" hasCustomPrompt="1"/>
          </p:nvPr>
        </p:nvSpPr>
        <p:spPr bwMode="gray">
          <a:xfrm>
            <a:off x="695728" y="3717032"/>
            <a:ext cx="2952000" cy="1058353"/>
          </a:xfrm>
          <a:prstGeom prst="rect">
            <a:avLst/>
          </a:prstGeom>
          <a:solidFill>
            <a:schemeClr val="bg1"/>
          </a:solidFill>
          <a:ln w="127">
            <a:solidFill>
              <a:schemeClr val="bg1"/>
            </a:solidFill>
          </a:ln>
        </p:spPr>
        <p:txBody>
          <a:bodyPr lIns="216000" rIns="216000"/>
          <a:lstStyle>
            <a:lvl1pPr marL="0" indent="0" algn="l">
              <a:lnSpc>
                <a:spcPct val="100000"/>
              </a:lnSpc>
              <a:spcBef>
                <a:spcPts val="0"/>
              </a:spcBef>
              <a:buFont typeface="Arial" panose="020B0604020202020204" pitchFamily="34" charset="0"/>
              <a:buNone/>
              <a:defRPr sz="1600" b="0">
                <a:latin typeface="+mn-lt"/>
              </a:defRPr>
            </a:lvl1pPr>
            <a:lvl2pPr marL="0" indent="0" algn="l">
              <a:lnSpc>
                <a:spcPct val="100000"/>
              </a:lnSpc>
              <a:spcBef>
                <a:spcPts val="0"/>
              </a:spcBef>
              <a:buFont typeface="Arial" panose="020B0604020202020204" pitchFamily="34" charset="0"/>
              <a:buNone/>
              <a:defRPr sz="1600" b="0">
                <a:latin typeface="+mn-lt"/>
              </a:defRPr>
            </a:lvl2pPr>
            <a:lvl3pPr marL="0" indent="0" algn="l">
              <a:lnSpc>
                <a:spcPct val="100000"/>
              </a:lnSpc>
              <a:spcBef>
                <a:spcPts val="0"/>
              </a:spcBef>
              <a:buFont typeface="Arial" panose="020B0604020202020204" pitchFamily="34" charset="0"/>
              <a:buNone/>
              <a:defRPr sz="1600" b="0">
                <a:latin typeface="+mn-lt"/>
              </a:defRPr>
            </a:lvl3pPr>
            <a:lvl4pPr marL="0" indent="0" algn="l">
              <a:lnSpc>
                <a:spcPct val="100000"/>
              </a:lnSpc>
              <a:spcBef>
                <a:spcPts val="0"/>
              </a:spcBef>
              <a:buFont typeface="Arial" panose="020B0604020202020204" pitchFamily="34" charset="0"/>
              <a:buNone/>
              <a:defRPr sz="1600" b="0">
                <a:latin typeface="+mn-lt"/>
              </a:defRPr>
            </a:lvl4pPr>
            <a:lvl5pPr marL="0" indent="0" algn="l">
              <a:lnSpc>
                <a:spcPct val="100000"/>
              </a:lnSpc>
              <a:spcBef>
                <a:spcPts val="0"/>
              </a:spcBef>
              <a:buFont typeface="Arial" panose="020B0604020202020204" pitchFamily="34" charset="0"/>
              <a:buNone/>
              <a:defRPr sz="1600" b="0">
                <a:latin typeface="+mn-lt"/>
              </a:defRPr>
            </a:lvl5pPr>
            <a:lvl6pPr marL="0" indent="0" algn="l">
              <a:lnSpc>
                <a:spcPct val="100000"/>
              </a:lnSpc>
              <a:spcBef>
                <a:spcPts val="0"/>
              </a:spcBef>
              <a:buFont typeface="Arial" panose="020B0604020202020204" pitchFamily="34" charset="0"/>
              <a:buNone/>
              <a:defRPr sz="1600" b="0">
                <a:latin typeface="+mn-lt"/>
              </a:defRPr>
            </a:lvl6pPr>
            <a:lvl7pPr marL="0" indent="0" algn="l">
              <a:lnSpc>
                <a:spcPct val="100000"/>
              </a:lnSpc>
              <a:spcBef>
                <a:spcPts val="0"/>
              </a:spcBef>
              <a:buFont typeface="Arial" panose="020B0604020202020204" pitchFamily="34" charset="0"/>
              <a:buNone/>
              <a:defRPr sz="1600" b="0">
                <a:latin typeface="+mn-lt"/>
              </a:defRPr>
            </a:lvl7pPr>
            <a:lvl8pPr marL="0" indent="0" algn="l">
              <a:lnSpc>
                <a:spcPct val="100000"/>
              </a:lnSpc>
              <a:spcBef>
                <a:spcPts val="0"/>
              </a:spcBef>
              <a:buFont typeface="Arial" panose="020B0604020202020204" pitchFamily="34" charset="0"/>
              <a:buNone/>
              <a:defRPr sz="1600" b="0">
                <a:latin typeface="+mn-lt"/>
              </a:defRPr>
            </a:lvl8pPr>
            <a:lvl9pPr marL="0" indent="0" algn="l">
              <a:lnSpc>
                <a:spcPct val="100000"/>
              </a:lnSpc>
              <a:spcBef>
                <a:spcPts val="0"/>
              </a:spcBef>
              <a:buFont typeface="Arial" panose="020B0604020202020204" pitchFamily="34" charset="0"/>
              <a:buNone/>
              <a:defRPr sz="1600" b="0">
                <a:latin typeface="+mn-lt"/>
              </a:defRPr>
            </a:lvl9pPr>
          </a:lstStyle>
          <a:p>
            <a:r>
              <a:rPr lang="en-GB" dirty="0"/>
              <a:t>Insert here your subtitle</a:t>
            </a:r>
          </a:p>
        </p:txBody>
      </p:sp>
      <p:sp>
        <p:nvSpPr>
          <p:cNvPr id="397" name="Author">
            <a:extLst>
              <a:ext uri="{FF2B5EF4-FFF2-40B4-BE49-F238E27FC236}">
                <a16:creationId xmlns:a16="http://schemas.microsoft.com/office/drawing/2014/main" id="{2046D7C3-DEE4-FEC0-1342-5EEBC1C3C071}"/>
              </a:ext>
            </a:extLst>
          </p:cNvPr>
          <p:cNvSpPr>
            <a:spLocks noGrp="1"/>
          </p:cNvSpPr>
          <p:nvPr>
            <p:ph type="body" sz="quarter" idx="14" hasCustomPrompt="1"/>
          </p:nvPr>
        </p:nvSpPr>
        <p:spPr bwMode="gray">
          <a:xfrm>
            <a:off x="695728" y="4869160"/>
            <a:ext cx="2952000" cy="216000"/>
          </a:xfrm>
          <a:prstGeom prst="rect">
            <a:avLst/>
          </a:prstGeom>
          <a:solidFill>
            <a:schemeClr val="bg1"/>
          </a:solidFill>
          <a:ln w="127">
            <a:solidFill>
              <a:schemeClr val="bg1"/>
            </a:solidFill>
          </a:ln>
        </p:spPr>
        <p:txBody>
          <a:bodyPr wrap="square" lIns="216000" rIns="216000" anchor="b"/>
          <a:lstStyle>
            <a:lvl1pPr marL="0" indent="0" algn="l">
              <a:lnSpc>
                <a:spcPct val="100000"/>
              </a:lnSpc>
              <a:spcBef>
                <a:spcPts val="0"/>
              </a:spcBef>
              <a:buFont typeface="Arial" panose="020B0604020202020204" pitchFamily="34" charset="0"/>
              <a:buNone/>
              <a:defRPr sz="1200" b="0">
                <a:latin typeface="+mj-lt"/>
              </a:defRPr>
            </a:lvl1pPr>
            <a:lvl2pPr marL="0" indent="0" algn="l">
              <a:lnSpc>
                <a:spcPct val="100000"/>
              </a:lnSpc>
              <a:spcBef>
                <a:spcPts val="0"/>
              </a:spcBef>
              <a:buFont typeface="Arial" panose="020B0604020202020204" pitchFamily="34" charset="0"/>
              <a:buNone/>
              <a:defRPr sz="1200" b="0">
                <a:latin typeface="+mj-lt"/>
              </a:defRPr>
            </a:lvl2pPr>
            <a:lvl3pPr marL="0" indent="0" algn="l">
              <a:lnSpc>
                <a:spcPct val="100000"/>
              </a:lnSpc>
              <a:spcBef>
                <a:spcPts val="0"/>
              </a:spcBef>
              <a:buFont typeface="Arial" panose="020B0604020202020204" pitchFamily="34" charset="0"/>
              <a:buNone/>
              <a:defRPr sz="1200" b="0">
                <a:latin typeface="+mj-lt"/>
              </a:defRPr>
            </a:lvl3pPr>
            <a:lvl4pPr marL="0" indent="0" algn="l">
              <a:lnSpc>
                <a:spcPct val="100000"/>
              </a:lnSpc>
              <a:spcBef>
                <a:spcPts val="0"/>
              </a:spcBef>
              <a:buFont typeface="Arial" panose="020B0604020202020204" pitchFamily="34" charset="0"/>
              <a:buNone/>
              <a:defRPr sz="1200" b="0">
                <a:latin typeface="+mj-lt"/>
              </a:defRPr>
            </a:lvl4pPr>
            <a:lvl5pPr marL="0" indent="0" algn="l">
              <a:lnSpc>
                <a:spcPct val="100000"/>
              </a:lnSpc>
              <a:spcBef>
                <a:spcPts val="0"/>
              </a:spcBef>
              <a:buFont typeface="Arial" panose="020B0604020202020204" pitchFamily="34" charset="0"/>
              <a:buNone/>
              <a:defRPr sz="1200" b="0">
                <a:latin typeface="+mj-lt"/>
              </a:defRPr>
            </a:lvl5pPr>
            <a:lvl6pPr marL="0" indent="0" algn="l">
              <a:lnSpc>
                <a:spcPct val="100000"/>
              </a:lnSpc>
              <a:spcBef>
                <a:spcPts val="0"/>
              </a:spcBef>
              <a:buNone/>
              <a:defRPr sz="1200" b="0">
                <a:latin typeface="+mj-lt"/>
              </a:defRPr>
            </a:lvl6pPr>
            <a:lvl7pPr marL="0" indent="0" algn="l">
              <a:lnSpc>
                <a:spcPct val="100000"/>
              </a:lnSpc>
              <a:spcBef>
                <a:spcPts val="0"/>
              </a:spcBef>
              <a:buNone/>
              <a:defRPr sz="1200" b="0">
                <a:latin typeface="+mj-lt"/>
              </a:defRPr>
            </a:lvl7pPr>
            <a:lvl8pPr marL="0" indent="0" algn="l">
              <a:lnSpc>
                <a:spcPct val="100000"/>
              </a:lnSpc>
              <a:spcBef>
                <a:spcPts val="0"/>
              </a:spcBef>
              <a:buNone/>
              <a:defRPr sz="1200" b="0">
                <a:latin typeface="+mj-lt"/>
              </a:defRPr>
            </a:lvl8pPr>
            <a:lvl9pPr marL="0" indent="0" algn="l">
              <a:lnSpc>
                <a:spcPct val="100000"/>
              </a:lnSpc>
              <a:spcBef>
                <a:spcPts val="0"/>
              </a:spcBef>
              <a:buNone/>
              <a:defRPr sz="1200" b="0">
                <a:latin typeface="+mj-lt"/>
              </a:defRPr>
            </a:lvl9pPr>
          </a:lstStyle>
          <a:p>
            <a:pPr lvl="0"/>
            <a:r>
              <a:rPr lang="en-GB" dirty="0"/>
              <a:t>First name Last name</a:t>
            </a:r>
          </a:p>
        </p:txBody>
      </p:sp>
      <p:sp>
        <p:nvSpPr>
          <p:cNvPr id="398" name="Department, Date">
            <a:extLst>
              <a:ext uri="{FF2B5EF4-FFF2-40B4-BE49-F238E27FC236}">
                <a16:creationId xmlns:a16="http://schemas.microsoft.com/office/drawing/2014/main" id="{2BBB8A8B-C5D0-C27F-7D76-13F119AE813E}"/>
              </a:ext>
            </a:extLst>
          </p:cNvPr>
          <p:cNvSpPr>
            <a:spLocks noGrp="1"/>
          </p:cNvSpPr>
          <p:nvPr>
            <p:ph type="body" sz="quarter" idx="15" hasCustomPrompt="1"/>
          </p:nvPr>
        </p:nvSpPr>
        <p:spPr bwMode="gray">
          <a:xfrm>
            <a:off x="695728" y="5085160"/>
            <a:ext cx="2952000" cy="504000"/>
          </a:xfrm>
          <a:prstGeom prst="rect">
            <a:avLst/>
          </a:prstGeom>
          <a:solidFill>
            <a:schemeClr val="bg1"/>
          </a:solidFill>
          <a:ln w="127">
            <a:solidFill>
              <a:schemeClr val="bg1"/>
            </a:solidFill>
          </a:ln>
        </p:spPr>
        <p:txBody>
          <a:bodyPr wrap="square" lIns="216000" rIns="216000"/>
          <a:lstStyle>
            <a:lvl1pPr marL="0" indent="0">
              <a:lnSpc>
                <a:spcPct val="100000"/>
              </a:lnSpc>
              <a:spcBef>
                <a:spcPts val="0"/>
              </a:spcBef>
              <a:buFont typeface="Arial" panose="020B0604020202020204" pitchFamily="34" charset="0"/>
              <a:buNone/>
              <a:defRPr sz="1200" i="1">
                <a:latin typeface="+mn-lt"/>
              </a:defRPr>
            </a:lvl1pPr>
            <a:lvl2pPr marL="0" indent="0">
              <a:lnSpc>
                <a:spcPct val="100000"/>
              </a:lnSpc>
              <a:spcBef>
                <a:spcPts val="0"/>
              </a:spcBef>
              <a:buFont typeface="Arial" panose="020B0604020202020204" pitchFamily="34" charset="0"/>
              <a:buNone/>
              <a:defRPr sz="1200" i="1">
                <a:latin typeface="+mn-lt"/>
              </a:defRPr>
            </a:lvl2pPr>
            <a:lvl3pPr marL="0" indent="0">
              <a:lnSpc>
                <a:spcPct val="100000"/>
              </a:lnSpc>
              <a:spcBef>
                <a:spcPts val="0"/>
              </a:spcBef>
              <a:buFont typeface="Arial" panose="020B0604020202020204" pitchFamily="34" charset="0"/>
              <a:buNone/>
              <a:defRPr sz="1200" i="1">
                <a:latin typeface="+mn-lt"/>
              </a:defRPr>
            </a:lvl3pPr>
            <a:lvl4pPr marL="0" indent="0">
              <a:lnSpc>
                <a:spcPct val="100000"/>
              </a:lnSpc>
              <a:spcBef>
                <a:spcPts val="0"/>
              </a:spcBef>
              <a:buFont typeface="Arial" panose="020B0604020202020204" pitchFamily="34" charset="0"/>
              <a:buNone/>
              <a:defRPr sz="1200" i="1">
                <a:latin typeface="+mn-lt"/>
              </a:defRPr>
            </a:lvl4pPr>
            <a:lvl5pPr marL="0" indent="0">
              <a:lnSpc>
                <a:spcPct val="100000"/>
              </a:lnSpc>
              <a:spcBef>
                <a:spcPts val="0"/>
              </a:spcBef>
              <a:buFont typeface="Arial" panose="020B0604020202020204" pitchFamily="34" charset="0"/>
              <a:buNone/>
              <a:defRPr sz="1200" i="1">
                <a:latin typeface="+mn-lt"/>
              </a:defRPr>
            </a:lvl5pPr>
            <a:lvl6pPr marL="0" indent="0">
              <a:lnSpc>
                <a:spcPct val="100000"/>
              </a:lnSpc>
              <a:spcBef>
                <a:spcPts val="0"/>
              </a:spcBef>
              <a:buNone/>
              <a:defRPr sz="1200" i="1">
                <a:latin typeface="+mn-lt"/>
              </a:defRPr>
            </a:lvl6pPr>
            <a:lvl7pPr marL="0" indent="0">
              <a:lnSpc>
                <a:spcPct val="100000"/>
              </a:lnSpc>
              <a:spcBef>
                <a:spcPts val="0"/>
              </a:spcBef>
              <a:buNone/>
              <a:defRPr sz="1200" i="1">
                <a:latin typeface="+mn-lt"/>
              </a:defRPr>
            </a:lvl7pPr>
            <a:lvl8pPr marL="0" indent="0">
              <a:lnSpc>
                <a:spcPct val="100000"/>
              </a:lnSpc>
              <a:spcBef>
                <a:spcPts val="0"/>
              </a:spcBef>
              <a:buNone/>
              <a:defRPr sz="1200" i="1">
                <a:latin typeface="+mn-lt"/>
              </a:defRPr>
            </a:lvl8pPr>
            <a:lvl9pPr marL="0" indent="0">
              <a:lnSpc>
                <a:spcPct val="100000"/>
              </a:lnSpc>
              <a:spcBef>
                <a:spcPts val="0"/>
              </a:spcBef>
              <a:buNone/>
              <a:defRPr sz="1200" i="1">
                <a:latin typeface="+mn-lt"/>
              </a:defRPr>
            </a:lvl9pPr>
          </a:lstStyle>
          <a:p>
            <a:pPr lvl="0"/>
            <a:r>
              <a:rPr lang="en-GB" dirty="0"/>
              <a:t>Department</a:t>
            </a:r>
            <a:br>
              <a:rPr lang="en-GB" dirty="0"/>
            </a:br>
            <a:r>
              <a:rPr lang="en-GB" dirty="0"/>
              <a:t>DD/MM/YYYY</a:t>
            </a:r>
          </a:p>
        </p:txBody>
      </p:sp>
      <p:sp>
        <p:nvSpPr>
          <p:cNvPr id="399" name="Picture">
            <a:extLst>
              <a:ext uri="{FF2B5EF4-FFF2-40B4-BE49-F238E27FC236}">
                <a16:creationId xmlns:a16="http://schemas.microsoft.com/office/drawing/2014/main" id="{F7C72FB3-FFDE-F443-540E-3F4FBD0EEC75}"/>
              </a:ext>
            </a:extLst>
          </p:cNvPr>
          <p:cNvSpPr>
            <a:spLocks noGrp="1"/>
          </p:cNvSpPr>
          <p:nvPr>
            <p:ph type="pic" sz="quarter" idx="13" hasCustomPrompt="1"/>
          </p:nvPr>
        </p:nvSpPr>
        <p:spPr bwMode="gray">
          <a:xfrm>
            <a:off x="4367809" y="2061400"/>
            <a:ext cx="5775177" cy="3463099"/>
          </a:xfrm>
          <a:custGeom>
            <a:avLst/>
            <a:gdLst>
              <a:gd name="connsiteX0" fmla="*/ 5775177 w 5775177"/>
              <a:gd name="connsiteY0" fmla="*/ 0 h 3463099"/>
              <a:gd name="connsiteX1" fmla="*/ 4621085 w 5775177"/>
              <a:gd name="connsiteY1" fmla="*/ 2311556 h 3463099"/>
              <a:gd name="connsiteX2" fmla="*/ 0 w 5775177"/>
              <a:gd name="connsiteY2" fmla="*/ 3463099 h 3463099"/>
              <a:gd name="connsiteX3" fmla="*/ 0 w 5775177"/>
              <a:gd name="connsiteY3" fmla="*/ 518 h 3463099"/>
            </a:gdLst>
            <a:ahLst/>
            <a:cxnLst>
              <a:cxn ang="0">
                <a:pos x="connsiteX0" y="connsiteY0"/>
              </a:cxn>
              <a:cxn ang="0">
                <a:pos x="connsiteX1" y="connsiteY1"/>
              </a:cxn>
              <a:cxn ang="0">
                <a:pos x="connsiteX2" y="connsiteY2"/>
              </a:cxn>
              <a:cxn ang="0">
                <a:pos x="connsiteX3" y="connsiteY3"/>
              </a:cxn>
            </a:cxnLst>
            <a:rect l="l" t="t" r="r" b="b"/>
            <a:pathLst>
              <a:path w="5775177" h="3463099">
                <a:moveTo>
                  <a:pt x="5775177" y="0"/>
                </a:moveTo>
                <a:lnTo>
                  <a:pt x="4621085" y="2311556"/>
                </a:lnTo>
                <a:lnTo>
                  <a:pt x="0" y="3463099"/>
                </a:lnTo>
                <a:lnTo>
                  <a:pt x="0" y="518"/>
                </a:lnTo>
                <a:close/>
              </a:path>
            </a:pathLst>
          </a:custGeom>
          <a:solidFill>
            <a:schemeClr val="accent5"/>
          </a:solidFill>
        </p:spPr>
        <p:txBody>
          <a:bodyPr wrap="square">
            <a:noAutofit/>
          </a:bodyPr>
          <a:lstStyle>
            <a:lvl1pPr marL="0" indent="0" algn="ctr">
              <a:buNone/>
              <a:defRPr/>
            </a:lvl1pPr>
          </a:lstStyle>
          <a:p>
            <a:r>
              <a:rPr lang="en-GB"/>
              <a:t> </a:t>
            </a:r>
            <a:endParaRPr lang="en-GB" dirty="0"/>
          </a:p>
        </p:txBody>
      </p:sp>
    </p:spTree>
    <p:extLst>
      <p:ext uri="{BB962C8B-B14F-4D97-AF65-F5344CB8AC3E}">
        <p14:creationId xmlns:p14="http://schemas.microsoft.com/office/powerpoint/2010/main" val="2305183537"/>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with picture | Purple">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8DDE3C4-8204-7061-3383-8F9AF5C88708}"/>
              </a:ext>
            </a:extLst>
          </p:cNvPr>
          <p:cNvGraphicFramePr>
            <a:graphicFrameLocks noChangeAspect="1"/>
          </p:cNvGraphicFramePr>
          <p:nvPr userDrawn="1">
            <p:custDataLst>
              <p:tags r:id="rId1"/>
            </p:custDataLst>
            <p:extLst>
              <p:ext uri="{D42A27DB-BD31-4B8C-83A1-F6EECF244321}">
                <p14:modId xmlns:p14="http://schemas.microsoft.com/office/powerpoint/2010/main" val="2973521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3" name="Objekt 2" hidden="1">
                        <a:extLst>
                          <a:ext uri="{FF2B5EF4-FFF2-40B4-BE49-F238E27FC236}">
                            <a16:creationId xmlns:a16="http://schemas.microsoft.com/office/drawing/2014/main" id="{B8DDE3C4-8204-7061-3383-8F9AF5C887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595" name="Gruppieren 594">
            <a:extLst>
              <a:ext uri="{FF2B5EF4-FFF2-40B4-BE49-F238E27FC236}">
                <a16:creationId xmlns:a16="http://schemas.microsoft.com/office/drawing/2014/main" id="{939961D4-BB14-B695-95E3-8030942D4F68}"/>
              </a:ext>
            </a:extLst>
          </p:cNvPr>
          <p:cNvGrpSpPr/>
          <p:nvPr userDrawn="1"/>
        </p:nvGrpSpPr>
        <p:grpSpPr>
          <a:xfrm>
            <a:off x="317360" y="1484784"/>
            <a:ext cx="11539280" cy="4626512"/>
            <a:chOff x="317360" y="1484784"/>
            <a:chExt cx="11539280" cy="4626512"/>
          </a:xfrm>
        </p:grpSpPr>
        <p:sp>
          <p:nvSpPr>
            <p:cNvPr id="596" name="Rechteck 595">
              <a:extLst>
                <a:ext uri="{FF2B5EF4-FFF2-40B4-BE49-F238E27FC236}">
                  <a16:creationId xmlns:a16="http://schemas.microsoft.com/office/drawing/2014/main" id="{E492F1E0-49D2-7856-8688-23CEDFB7CE35}"/>
                </a:ext>
              </a:extLst>
            </p:cNvPr>
            <p:cNvSpPr/>
            <p:nvPr userDrawn="1"/>
          </p:nvSpPr>
          <p:spPr bwMode="gray">
            <a:xfrm>
              <a:off x="1126257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7" name="Rechteck 596">
              <a:extLst>
                <a:ext uri="{FF2B5EF4-FFF2-40B4-BE49-F238E27FC236}">
                  <a16:creationId xmlns:a16="http://schemas.microsoft.com/office/drawing/2014/main" id="{8704A1AA-1A7F-0D19-F324-50AF97D3C8D4}"/>
                </a:ext>
              </a:extLst>
            </p:cNvPr>
            <p:cNvSpPr/>
            <p:nvPr userDrawn="1"/>
          </p:nvSpPr>
          <p:spPr bwMode="gray">
            <a:xfrm>
              <a:off x="1068651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8" name="Rechteck 597">
              <a:extLst>
                <a:ext uri="{FF2B5EF4-FFF2-40B4-BE49-F238E27FC236}">
                  <a16:creationId xmlns:a16="http://schemas.microsoft.com/office/drawing/2014/main" id="{7B29536E-98CE-E40E-736D-34428A5E3879}"/>
                </a:ext>
              </a:extLst>
            </p:cNvPr>
            <p:cNvSpPr/>
            <p:nvPr userDrawn="1"/>
          </p:nvSpPr>
          <p:spPr bwMode="gray">
            <a:xfrm>
              <a:off x="1011044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599" name="Rechteck 598">
              <a:extLst>
                <a:ext uri="{FF2B5EF4-FFF2-40B4-BE49-F238E27FC236}">
                  <a16:creationId xmlns:a16="http://schemas.microsoft.com/office/drawing/2014/main" id="{EC4187C4-BDBD-73BD-41FF-53B6DD3ADC6B}"/>
                </a:ext>
              </a:extLst>
            </p:cNvPr>
            <p:cNvSpPr/>
            <p:nvPr userDrawn="1"/>
          </p:nvSpPr>
          <p:spPr bwMode="gray">
            <a:xfrm>
              <a:off x="953438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0" name="Rechteck 599">
              <a:extLst>
                <a:ext uri="{FF2B5EF4-FFF2-40B4-BE49-F238E27FC236}">
                  <a16:creationId xmlns:a16="http://schemas.microsoft.com/office/drawing/2014/main" id="{451DFB31-B26A-6309-2E76-EF1B9AA0E5BB}"/>
                </a:ext>
              </a:extLst>
            </p:cNvPr>
            <p:cNvSpPr/>
            <p:nvPr userDrawn="1"/>
          </p:nvSpPr>
          <p:spPr bwMode="gray">
            <a:xfrm>
              <a:off x="895832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1" name="Rechteck 600">
              <a:extLst>
                <a:ext uri="{FF2B5EF4-FFF2-40B4-BE49-F238E27FC236}">
                  <a16:creationId xmlns:a16="http://schemas.microsoft.com/office/drawing/2014/main" id="{5552DE8A-1D99-8BF5-17D7-5062E83235B2}"/>
                </a:ext>
              </a:extLst>
            </p:cNvPr>
            <p:cNvSpPr/>
            <p:nvPr userDrawn="1"/>
          </p:nvSpPr>
          <p:spPr bwMode="gray">
            <a:xfrm>
              <a:off x="838225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2" name="Rechteck 601">
              <a:extLst>
                <a:ext uri="{FF2B5EF4-FFF2-40B4-BE49-F238E27FC236}">
                  <a16:creationId xmlns:a16="http://schemas.microsoft.com/office/drawing/2014/main" id="{780505B3-6781-E362-570A-65C9965CC26B}"/>
                </a:ext>
              </a:extLst>
            </p:cNvPr>
            <p:cNvSpPr/>
            <p:nvPr userDrawn="1"/>
          </p:nvSpPr>
          <p:spPr bwMode="gray">
            <a:xfrm>
              <a:off x="780619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3" name="Rechteck 602">
              <a:extLst>
                <a:ext uri="{FF2B5EF4-FFF2-40B4-BE49-F238E27FC236}">
                  <a16:creationId xmlns:a16="http://schemas.microsoft.com/office/drawing/2014/main" id="{F49B613E-1BB7-CE2F-A304-E5C99E059A0F}"/>
                </a:ext>
              </a:extLst>
            </p:cNvPr>
            <p:cNvSpPr/>
            <p:nvPr userDrawn="1"/>
          </p:nvSpPr>
          <p:spPr bwMode="gray">
            <a:xfrm>
              <a:off x="723012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4" name="Rechteck 603">
              <a:extLst>
                <a:ext uri="{FF2B5EF4-FFF2-40B4-BE49-F238E27FC236}">
                  <a16:creationId xmlns:a16="http://schemas.microsoft.com/office/drawing/2014/main" id="{22BC273F-1E27-7D0F-541B-52B370E08B5C}"/>
                </a:ext>
              </a:extLst>
            </p:cNvPr>
            <p:cNvSpPr/>
            <p:nvPr userDrawn="1"/>
          </p:nvSpPr>
          <p:spPr bwMode="gray">
            <a:xfrm>
              <a:off x="665406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5" name="Rechteck 604">
              <a:extLst>
                <a:ext uri="{FF2B5EF4-FFF2-40B4-BE49-F238E27FC236}">
                  <a16:creationId xmlns:a16="http://schemas.microsoft.com/office/drawing/2014/main" id="{D3A3C09B-2F9A-0436-73C0-ADB42FD68F7C}"/>
                </a:ext>
              </a:extLst>
            </p:cNvPr>
            <p:cNvSpPr/>
            <p:nvPr userDrawn="1"/>
          </p:nvSpPr>
          <p:spPr bwMode="gray">
            <a:xfrm>
              <a:off x="607800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6" name="Rechteck 605">
              <a:extLst>
                <a:ext uri="{FF2B5EF4-FFF2-40B4-BE49-F238E27FC236}">
                  <a16:creationId xmlns:a16="http://schemas.microsoft.com/office/drawing/2014/main" id="{162A8B49-C92A-3F7E-2FB6-CCBC9CF3F448}"/>
                </a:ext>
              </a:extLst>
            </p:cNvPr>
            <p:cNvSpPr/>
            <p:nvPr userDrawn="1"/>
          </p:nvSpPr>
          <p:spPr bwMode="gray">
            <a:xfrm>
              <a:off x="550193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7" name="Rechteck 606">
              <a:extLst>
                <a:ext uri="{FF2B5EF4-FFF2-40B4-BE49-F238E27FC236}">
                  <a16:creationId xmlns:a16="http://schemas.microsoft.com/office/drawing/2014/main" id="{C52E83EF-0EEA-4E7F-9387-030F74B5C483}"/>
                </a:ext>
              </a:extLst>
            </p:cNvPr>
            <p:cNvSpPr/>
            <p:nvPr userDrawn="1"/>
          </p:nvSpPr>
          <p:spPr bwMode="gray">
            <a:xfrm>
              <a:off x="492587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8" name="Rechteck 607">
              <a:extLst>
                <a:ext uri="{FF2B5EF4-FFF2-40B4-BE49-F238E27FC236}">
                  <a16:creationId xmlns:a16="http://schemas.microsoft.com/office/drawing/2014/main" id="{AE6FF4EF-5054-4199-8E6D-ECBA9F1ADDC2}"/>
                </a:ext>
              </a:extLst>
            </p:cNvPr>
            <p:cNvSpPr/>
            <p:nvPr userDrawn="1"/>
          </p:nvSpPr>
          <p:spPr bwMode="gray">
            <a:xfrm>
              <a:off x="434980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09" name="Rechteck 608">
              <a:extLst>
                <a:ext uri="{FF2B5EF4-FFF2-40B4-BE49-F238E27FC236}">
                  <a16:creationId xmlns:a16="http://schemas.microsoft.com/office/drawing/2014/main" id="{AE21E1BE-EF1B-80CD-F139-F8586D590939}"/>
                </a:ext>
              </a:extLst>
            </p:cNvPr>
            <p:cNvSpPr/>
            <p:nvPr userDrawn="1"/>
          </p:nvSpPr>
          <p:spPr bwMode="gray">
            <a:xfrm>
              <a:off x="377374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0" name="Rechteck 609">
              <a:extLst>
                <a:ext uri="{FF2B5EF4-FFF2-40B4-BE49-F238E27FC236}">
                  <a16:creationId xmlns:a16="http://schemas.microsoft.com/office/drawing/2014/main" id="{94B589FE-8416-8393-7DA8-8AB1C05A4ED7}"/>
                </a:ext>
              </a:extLst>
            </p:cNvPr>
            <p:cNvSpPr/>
            <p:nvPr userDrawn="1"/>
          </p:nvSpPr>
          <p:spPr bwMode="gray">
            <a:xfrm>
              <a:off x="319768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1" name="Rechteck 610">
              <a:extLst>
                <a:ext uri="{FF2B5EF4-FFF2-40B4-BE49-F238E27FC236}">
                  <a16:creationId xmlns:a16="http://schemas.microsoft.com/office/drawing/2014/main" id="{D0282754-D14B-B7E0-48B6-174276C5D284}"/>
                </a:ext>
              </a:extLst>
            </p:cNvPr>
            <p:cNvSpPr/>
            <p:nvPr userDrawn="1"/>
          </p:nvSpPr>
          <p:spPr bwMode="gray">
            <a:xfrm>
              <a:off x="2621616"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2" name="Rechteck 611">
              <a:extLst>
                <a:ext uri="{FF2B5EF4-FFF2-40B4-BE49-F238E27FC236}">
                  <a16:creationId xmlns:a16="http://schemas.microsoft.com/office/drawing/2014/main" id="{009A2BE9-CCA7-DDC0-1C8C-B322A93566BD}"/>
                </a:ext>
              </a:extLst>
            </p:cNvPr>
            <p:cNvSpPr/>
            <p:nvPr userDrawn="1"/>
          </p:nvSpPr>
          <p:spPr bwMode="gray">
            <a:xfrm>
              <a:off x="2045552"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3" name="Rechteck 612">
              <a:extLst>
                <a:ext uri="{FF2B5EF4-FFF2-40B4-BE49-F238E27FC236}">
                  <a16:creationId xmlns:a16="http://schemas.microsoft.com/office/drawing/2014/main" id="{E5BFBFC2-A2A0-4C40-BD06-3F7D66689B25}"/>
                </a:ext>
              </a:extLst>
            </p:cNvPr>
            <p:cNvSpPr/>
            <p:nvPr userDrawn="1"/>
          </p:nvSpPr>
          <p:spPr bwMode="gray">
            <a:xfrm>
              <a:off x="1469488"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4" name="Rechteck 613">
              <a:extLst>
                <a:ext uri="{FF2B5EF4-FFF2-40B4-BE49-F238E27FC236}">
                  <a16:creationId xmlns:a16="http://schemas.microsoft.com/office/drawing/2014/main" id="{9C6D0251-28A6-B419-21DE-6E0ACF81C919}"/>
                </a:ext>
              </a:extLst>
            </p:cNvPr>
            <p:cNvSpPr/>
            <p:nvPr userDrawn="1"/>
          </p:nvSpPr>
          <p:spPr bwMode="gray">
            <a:xfrm>
              <a:off x="893424"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5" name="Rechteck 614">
              <a:extLst>
                <a:ext uri="{FF2B5EF4-FFF2-40B4-BE49-F238E27FC236}">
                  <a16:creationId xmlns:a16="http://schemas.microsoft.com/office/drawing/2014/main" id="{1EBC05D9-A63F-48DB-68C0-9C4F1864A796}"/>
                </a:ext>
              </a:extLst>
            </p:cNvPr>
            <p:cNvSpPr/>
            <p:nvPr userDrawn="1"/>
          </p:nvSpPr>
          <p:spPr bwMode="gray">
            <a:xfrm>
              <a:off x="31736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6" name="Rechteck 615">
              <a:extLst>
                <a:ext uri="{FF2B5EF4-FFF2-40B4-BE49-F238E27FC236}">
                  <a16:creationId xmlns:a16="http://schemas.microsoft.com/office/drawing/2014/main" id="{794A7827-84BF-05D9-DD13-CA9C8B044306}"/>
                </a:ext>
              </a:extLst>
            </p:cNvPr>
            <p:cNvSpPr/>
            <p:nvPr userDrawn="1"/>
          </p:nvSpPr>
          <p:spPr bwMode="gray">
            <a:xfrm>
              <a:off x="1126257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7" name="Rechteck 616">
              <a:extLst>
                <a:ext uri="{FF2B5EF4-FFF2-40B4-BE49-F238E27FC236}">
                  <a16:creationId xmlns:a16="http://schemas.microsoft.com/office/drawing/2014/main" id="{EEE13BD8-BCF8-299D-9D26-FD503DD564AE}"/>
                </a:ext>
              </a:extLst>
            </p:cNvPr>
            <p:cNvSpPr/>
            <p:nvPr userDrawn="1"/>
          </p:nvSpPr>
          <p:spPr bwMode="gray">
            <a:xfrm>
              <a:off x="1068651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8" name="Rechteck 617">
              <a:extLst>
                <a:ext uri="{FF2B5EF4-FFF2-40B4-BE49-F238E27FC236}">
                  <a16:creationId xmlns:a16="http://schemas.microsoft.com/office/drawing/2014/main" id="{84ACF3E5-333C-2847-B39E-E17B5BAA84B7}"/>
                </a:ext>
              </a:extLst>
            </p:cNvPr>
            <p:cNvSpPr/>
            <p:nvPr userDrawn="1"/>
          </p:nvSpPr>
          <p:spPr bwMode="gray">
            <a:xfrm>
              <a:off x="1011044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19" name="Rechteck 618">
              <a:extLst>
                <a:ext uri="{FF2B5EF4-FFF2-40B4-BE49-F238E27FC236}">
                  <a16:creationId xmlns:a16="http://schemas.microsoft.com/office/drawing/2014/main" id="{6BC077A5-97F1-8649-44C4-D39D3E7D4BDD}"/>
                </a:ext>
              </a:extLst>
            </p:cNvPr>
            <p:cNvSpPr/>
            <p:nvPr userDrawn="1"/>
          </p:nvSpPr>
          <p:spPr bwMode="gray">
            <a:xfrm>
              <a:off x="953438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0" name="Rechteck 619">
              <a:extLst>
                <a:ext uri="{FF2B5EF4-FFF2-40B4-BE49-F238E27FC236}">
                  <a16:creationId xmlns:a16="http://schemas.microsoft.com/office/drawing/2014/main" id="{F95D8E2D-C6F0-5893-DF21-5D718C363DE4}"/>
                </a:ext>
              </a:extLst>
            </p:cNvPr>
            <p:cNvSpPr/>
            <p:nvPr userDrawn="1"/>
          </p:nvSpPr>
          <p:spPr bwMode="gray">
            <a:xfrm>
              <a:off x="895832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1" name="Rechteck 620">
              <a:extLst>
                <a:ext uri="{FF2B5EF4-FFF2-40B4-BE49-F238E27FC236}">
                  <a16:creationId xmlns:a16="http://schemas.microsoft.com/office/drawing/2014/main" id="{206B3B12-2107-54B3-9026-606C04334BE3}"/>
                </a:ext>
              </a:extLst>
            </p:cNvPr>
            <p:cNvSpPr/>
            <p:nvPr userDrawn="1"/>
          </p:nvSpPr>
          <p:spPr bwMode="gray">
            <a:xfrm>
              <a:off x="838225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2" name="Rechteck 621">
              <a:extLst>
                <a:ext uri="{FF2B5EF4-FFF2-40B4-BE49-F238E27FC236}">
                  <a16:creationId xmlns:a16="http://schemas.microsoft.com/office/drawing/2014/main" id="{140A08C7-AB05-4EA2-A6CB-73D0E3C5E2BF}"/>
                </a:ext>
              </a:extLst>
            </p:cNvPr>
            <p:cNvSpPr/>
            <p:nvPr userDrawn="1"/>
          </p:nvSpPr>
          <p:spPr bwMode="gray">
            <a:xfrm>
              <a:off x="780619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3" name="Rechteck 622">
              <a:extLst>
                <a:ext uri="{FF2B5EF4-FFF2-40B4-BE49-F238E27FC236}">
                  <a16:creationId xmlns:a16="http://schemas.microsoft.com/office/drawing/2014/main" id="{1BB5F940-8610-E989-425C-EDC6615286E0}"/>
                </a:ext>
              </a:extLst>
            </p:cNvPr>
            <p:cNvSpPr/>
            <p:nvPr userDrawn="1"/>
          </p:nvSpPr>
          <p:spPr bwMode="gray">
            <a:xfrm>
              <a:off x="723012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4" name="Rechteck 623">
              <a:extLst>
                <a:ext uri="{FF2B5EF4-FFF2-40B4-BE49-F238E27FC236}">
                  <a16:creationId xmlns:a16="http://schemas.microsoft.com/office/drawing/2014/main" id="{296F8B04-C5EF-70BB-4784-9FED0EE31E4D}"/>
                </a:ext>
              </a:extLst>
            </p:cNvPr>
            <p:cNvSpPr/>
            <p:nvPr userDrawn="1"/>
          </p:nvSpPr>
          <p:spPr bwMode="gray">
            <a:xfrm>
              <a:off x="665406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5" name="Rechteck 624">
              <a:extLst>
                <a:ext uri="{FF2B5EF4-FFF2-40B4-BE49-F238E27FC236}">
                  <a16:creationId xmlns:a16="http://schemas.microsoft.com/office/drawing/2014/main" id="{A560F38D-B556-07C0-D372-5DD77EB9D01B}"/>
                </a:ext>
              </a:extLst>
            </p:cNvPr>
            <p:cNvSpPr/>
            <p:nvPr userDrawn="1"/>
          </p:nvSpPr>
          <p:spPr bwMode="gray">
            <a:xfrm>
              <a:off x="607800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6" name="Rechteck 625">
              <a:extLst>
                <a:ext uri="{FF2B5EF4-FFF2-40B4-BE49-F238E27FC236}">
                  <a16:creationId xmlns:a16="http://schemas.microsoft.com/office/drawing/2014/main" id="{BCEB2EF0-E3D3-AAD0-1199-FE16AD50A5AA}"/>
                </a:ext>
              </a:extLst>
            </p:cNvPr>
            <p:cNvSpPr/>
            <p:nvPr userDrawn="1"/>
          </p:nvSpPr>
          <p:spPr bwMode="gray">
            <a:xfrm>
              <a:off x="550193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7" name="Rechteck 626">
              <a:extLst>
                <a:ext uri="{FF2B5EF4-FFF2-40B4-BE49-F238E27FC236}">
                  <a16:creationId xmlns:a16="http://schemas.microsoft.com/office/drawing/2014/main" id="{395443FA-D762-5887-B658-E2ACC7C4DF28}"/>
                </a:ext>
              </a:extLst>
            </p:cNvPr>
            <p:cNvSpPr/>
            <p:nvPr userDrawn="1"/>
          </p:nvSpPr>
          <p:spPr bwMode="gray">
            <a:xfrm>
              <a:off x="492587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8" name="Rechteck 627">
              <a:extLst>
                <a:ext uri="{FF2B5EF4-FFF2-40B4-BE49-F238E27FC236}">
                  <a16:creationId xmlns:a16="http://schemas.microsoft.com/office/drawing/2014/main" id="{118F0D79-5B1D-8371-E5FA-3F325C857199}"/>
                </a:ext>
              </a:extLst>
            </p:cNvPr>
            <p:cNvSpPr/>
            <p:nvPr userDrawn="1"/>
          </p:nvSpPr>
          <p:spPr bwMode="gray">
            <a:xfrm>
              <a:off x="434980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29" name="Rechteck 628">
              <a:extLst>
                <a:ext uri="{FF2B5EF4-FFF2-40B4-BE49-F238E27FC236}">
                  <a16:creationId xmlns:a16="http://schemas.microsoft.com/office/drawing/2014/main" id="{D95B3FB6-03A9-04F4-7005-145906A6F913}"/>
                </a:ext>
              </a:extLst>
            </p:cNvPr>
            <p:cNvSpPr/>
            <p:nvPr userDrawn="1"/>
          </p:nvSpPr>
          <p:spPr bwMode="gray">
            <a:xfrm>
              <a:off x="377374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0" name="Rechteck 629">
              <a:extLst>
                <a:ext uri="{FF2B5EF4-FFF2-40B4-BE49-F238E27FC236}">
                  <a16:creationId xmlns:a16="http://schemas.microsoft.com/office/drawing/2014/main" id="{3671FA43-9AE3-28E3-F89B-6CFCC2F985F2}"/>
                </a:ext>
              </a:extLst>
            </p:cNvPr>
            <p:cNvSpPr/>
            <p:nvPr userDrawn="1"/>
          </p:nvSpPr>
          <p:spPr bwMode="gray">
            <a:xfrm>
              <a:off x="319768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1" name="Rechteck 630">
              <a:extLst>
                <a:ext uri="{FF2B5EF4-FFF2-40B4-BE49-F238E27FC236}">
                  <a16:creationId xmlns:a16="http://schemas.microsoft.com/office/drawing/2014/main" id="{53FF5D0E-56CD-66EB-1D01-8F4042C2AFD0}"/>
                </a:ext>
              </a:extLst>
            </p:cNvPr>
            <p:cNvSpPr/>
            <p:nvPr userDrawn="1"/>
          </p:nvSpPr>
          <p:spPr bwMode="gray">
            <a:xfrm>
              <a:off x="2621616"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2" name="Rechteck 631">
              <a:extLst>
                <a:ext uri="{FF2B5EF4-FFF2-40B4-BE49-F238E27FC236}">
                  <a16:creationId xmlns:a16="http://schemas.microsoft.com/office/drawing/2014/main" id="{431D5C86-5F83-268E-1E97-ABA89540E719}"/>
                </a:ext>
              </a:extLst>
            </p:cNvPr>
            <p:cNvSpPr/>
            <p:nvPr userDrawn="1"/>
          </p:nvSpPr>
          <p:spPr bwMode="gray">
            <a:xfrm>
              <a:off x="2045552"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3" name="Rechteck 632">
              <a:extLst>
                <a:ext uri="{FF2B5EF4-FFF2-40B4-BE49-F238E27FC236}">
                  <a16:creationId xmlns:a16="http://schemas.microsoft.com/office/drawing/2014/main" id="{B8EA9DF9-E9AD-BF8A-0CE6-0EDBDA80D7BA}"/>
                </a:ext>
              </a:extLst>
            </p:cNvPr>
            <p:cNvSpPr/>
            <p:nvPr userDrawn="1"/>
          </p:nvSpPr>
          <p:spPr bwMode="gray">
            <a:xfrm>
              <a:off x="1469488"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4" name="Rechteck 633">
              <a:extLst>
                <a:ext uri="{FF2B5EF4-FFF2-40B4-BE49-F238E27FC236}">
                  <a16:creationId xmlns:a16="http://schemas.microsoft.com/office/drawing/2014/main" id="{6D97D6F1-5B59-752E-D961-FC6EE9CFE22A}"/>
                </a:ext>
              </a:extLst>
            </p:cNvPr>
            <p:cNvSpPr/>
            <p:nvPr userDrawn="1"/>
          </p:nvSpPr>
          <p:spPr bwMode="gray">
            <a:xfrm>
              <a:off x="893424"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5" name="Rechteck 634">
              <a:extLst>
                <a:ext uri="{FF2B5EF4-FFF2-40B4-BE49-F238E27FC236}">
                  <a16:creationId xmlns:a16="http://schemas.microsoft.com/office/drawing/2014/main" id="{A1226D9C-BE6D-DE6C-EA21-FE9680647E7F}"/>
                </a:ext>
              </a:extLst>
            </p:cNvPr>
            <p:cNvSpPr/>
            <p:nvPr userDrawn="1"/>
          </p:nvSpPr>
          <p:spPr bwMode="gray">
            <a:xfrm>
              <a:off x="31736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6" name="Rechteck 635">
              <a:extLst>
                <a:ext uri="{FF2B5EF4-FFF2-40B4-BE49-F238E27FC236}">
                  <a16:creationId xmlns:a16="http://schemas.microsoft.com/office/drawing/2014/main" id="{64CBCC03-655E-CECB-0C8E-C253E198F5C0}"/>
                </a:ext>
              </a:extLst>
            </p:cNvPr>
            <p:cNvSpPr/>
            <p:nvPr userDrawn="1"/>
          </p:nvSpPr>
          <p:spPr bwMode="gray">
            <a:xfrm>
              <a:off x="1126257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7" name="Rechteck 636">
              <a:extLst>
                <a:ext uri="{FF2B5EF4-FFF2-40B4-BE49-F238E27FC236}">
                  <a16:creationId xmlns:a16="http://schemas.microsoft.com/office/drawing/2014/main" id="{A63D9178-5C98-D890-3CCF-5AA4A6D53157}"/>
                </a:ext>
              </a:extLst>
            </p:cNvPr>
            <p:cNvSpPr/>
            <p:nvPr userDrawn="1"/>
          </p:nvSpPr>
          <p:spPr bwMode="gray">
            <a:xfrm>
              <a:off x="1068651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8" name="Rechteck 637">
              <a:extLst>
                <a:ext uri="{FF2B5EF4-FFF2-40B4-BE49-F238E27FC236}">
                  <a16:creationId xmlns:a16="http://schemas.microsoft.com/office/drawing/2014/main" id="{60D90287-3F2E-12B8-2767-DA4DEBB3B4E7}"/>
                </a:ext>
              </a:extLst>
            </p:cNvPr>
            <p:cNvSpPr/>
            <p:nvPr userDrawn="1"/>
          </p:nvSpPr>
          <p:spPr bwMode="gray">
            <a:xfrm>
              <a:off x="1011044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39" name="Rechteck 638">
              <a:extLst>
                <a:ext uri="{FF2B5EF4-FFF2-40B4-BE49-F238E27FC236}">
                  <a16:creationId xmlns:a16="http://schemas.microsoft.com/office/drawing/2014/main" id="{6BB77FDB-3ADE-1F61-3897-CF8090FDAD77}"/>
                </a:ext>
              </a:extLst>
            </p:cNvPr>
            <p:cNvSpPr/>
            <p:nvPr userDrawn="1"/>
          </p:nvSpPr>
          <p:spPr bwMode="gray">
            <a:xfrm>
              <a:off x="953438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0" name="Rechteck 639">
              <a:extLst>
                <a:ext uri="{FF2B5EF4-FFF2-40B4-BE49-F238E27FC236}">
                  <a16:creationId xmlns:a16="http://schemas.microsoft.com/office/drawing/2014/main" id="{A349204E-E8F6-8E07-B8E4-A8B3D101B908}"/>
                </a:ext>
              </a:extLst>
            </p:cNvPr>
            <p:cNvSpPr/>
            <p:nvPr userDrawn="1"/>
          </p:nvSpPr>
          <p:spPr bwMode="gray">
            <a:xfrm>
              <a:off x="895832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1" name="Rechteck 640">
              <a:extLst>
                <a:ext uri="{FF2B5EF4-FFF2-40B4-BE49-F238E27FC236}">
                  <a16:creationId xmlns:a16="http://schemas.microsoft.com/office/drawing/2014/main" id="{0E3E8794-0B90-CAC4-C045-37A634AD529B}"/>
                </a:ext>
              </a:extLst>
            </p:cNvPr>
            <p:cNvSpPr/>
            <p:nvPr userDrawn="1"/>
          </p:nvSpPr>
          <p:spPr bwMode="gray">
            <a:xfrm>
              <a:off x="838225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2" name="Rechteck 641">
              <a:extLst>
                <a:ext uri="{FF2B5EF4-FFF2-40B4-BE49-F238E27FC236}">
                  <a16:creationId xmlns:a16="http://schemas.microsoft.com/office/drawing/2014/main" id="{02D942D6-C1A9-73ED-12A6-ED3C70AEFF5D}"/>
                </a:ext>
              </a:extLst>
            </p:cNvPr>
            <p:cNvSpPr/>
            <p:nvPr userDrawn="1"/>
          </p:nvSpPr>
          <p:spPr bwMode="gray">
            <a:xfrm>
              <a:off x="780619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3" name="Rechteck 642">
              <a:extLst>
                <a:ext uri="{FF2B5EF4-FFF2-40B4-BE49-F238E27FC236}">
                  <a16:creationId xmlns:a16="http://schemas.microsoft.com/office/drawing/2014/main" id="{FA1583CE-79C5-4207-47D0-E7AA3552CAF2}"/>
                </a:ext>
              </a:extLst>
            </p:cNvPr>
            <p:cNvSpPr/>
            <p:nvPr userDrawn="1"/>
          </p:nvSpPr>
          <p:spPr bwMode="gray">
            <a:xfrm>
              <a:off x="723012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4" name="Rechteck 643">
              <a:extLst>
                <a:ext uri="{FF2B5EF4-FFF2-40B4-BE49-F238E27FC236}">
                  <a16:creationId xmlns:a16="http://schemas.microsoft.com/office/drawing/2014/main" id="{581546B3-1B80-7385-AE71-3887DACB9979}"/>
                </a:ext>
              </a:extLst>
            </p:cNvPr>
            <p:cNvSpPr/>
            <p:nvPr userDrawn="1"/>
          </p:nvSpPr>
          <p:spPr bwMode="gray">
            <a:xfrm>
              <a:off x="665406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5" name="Rechteck 644">
              <a:extLst>
                <a:ext uri="{FF2B5EF4-FFF2-40B4-BE49-F238E27FC236}">
                  <a16:creationId xmlns:a16="http://schemas.microsoft.com/office/drawing/2014/main" id="{4C74DC45-D977-B1F4-4153-81362364D196}"/>
                </a:ext>
              </a:extLst>
            </p:cNvPr>
            <p:cNvSpPr/>
            <p:nvPr userDrawn="1"/>
          </p:nvSpPr>
          <p:spPr bwMode="gray">
            <a:xfrm>
              <a:off x="607800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6" name="Rechteck 645">
              <a:extLst>
                <a:ext uri="{FF2B5EF4-FFF2-40B4-BE49-F238E27FC236}">
                  <a16:creationId xmlns:a16="http://schemas.microsoft.com/office/drawing/2014/main" id="{7FCC88D7-63AB-9456-A12B-7F2FA69E6564}"/>
                </a:ext>
              </a:extLst>
            </p:cNvPr>
            <p:cNvSpPr/>
            <p:nvPr userDrawn="1"/>
          </p:nvSpPr>
          <p:spPr bwMode="gray">
            <a:xfrm>
              <a:off x="550193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7" name="Rechteck 646">
              <a:extLst>
                <a:ext uri="{FF2B5EF4-FFF2-40B4-BE49-F238E27FC236}">
                  <a16:creationId xmlns:a16="http://schemas.microsoft.com/office/drawing/2014/main" id="{B7C45509-F937-AE57-9B81-32EE917FA06F}"/>
                </a:ext>
              </a:extLst>
            </p:cNvPr>
            <p:cNvSpPr/>
            <p:nvPr userDrawn="1"/>
          </p:nvSpPr>
          <p:spPr bwMode="gray">
            <a:xfrm>
              <a:off x="492587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8" name="Rechteck 647">
              <a:extLst>
                <a:ext uri="{FF2B5EF4-FFF2-40B4-BE49-F238E27FC236}">
                  <a16:creationId xmlns:a16="http://schemas.microsoft.com/office/drawing/2014/main" id="{47EDCF39-B792-AB48-5D59-13D914F82AFF}"/>
                </a:ext>
              </a:extLst>
            </p:cNvPr>
            <p:cNvSpPr/>
            <p:nvPr userDrawn="1"/>
          </p:nvSpPr>
          <p:spPr bwMode="gray">
            <a:xfrm>
              <a:off x="434980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49" name="Rechteck 648">
              <a:extLst>
                <a:ext uri="{FF2B5EF4-FFF2-40B4-BE49-F238E27FC236}">
                  <a16:creationId xmlns:a16="http://schemas.microsoft.com/office/drawing/2014/main" id="{463EA683-6952-86DB-12B3-107994C7B116}"/>
                </a:ext>
              </a:extLst>
            </p:cNvPr>
            <p:cNvSpPr/>
            <p:nvPr userDrawn="1"/>
          </p:nvSpPr>
          <p:spPr bwMode="gray">
            <a:xfrm>
              <a:off x="377374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0" name="Rechteck 649">
              <a:extLst>
                <a:ext uri="{FF2B5EF4-FFF2-40B4-BE49-F238E27FC236}">
                  <a16:creationId xmlns:a16="http://schemas.microsoft.com/office/drawing/2014/main" id="{FFA85C69-0CA9-0DA0-D962-5D0382E57B9C}"/>
                </a:ext>
              </a:extLst>
            </p:cNvPr>
            <p:cNvSpPr/>
            <p:nvPr userDrawn="1"/>
          </p:nvSpPr>
          <p:spPr bwMode="gray">
            <a:xfrm>
              <a:off x="319768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1" name="Rechteck 650">
              <a:extLst>
                <a:ext uri="{FF2B5EF4-FFF2-40B4-BE49-F238E27FC236}">
                  <a16:creationId xmlns:a16="http://schemas.microsoft.com/office/drawing/2014/main" id="{3BFAFEBF-7087-5916-7D97-5A17621E96E3}"/>
                </a:ext>
              </a:extLst>
            </p:cNvPr>
            <p:cNvSpPr/>
            <p:nvPr userDrawn="1"/>
          </p:nvSpPr>
          <p:spPr bwMode="gray">
            <a:xfrm>
              <a:off x="2621616"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2" name="Rechteck 651">
              <a:extLst>
                <a:ext uri="{FF2B5EF4-FFF2-40B4-BE49-F238E27FC236}">
                  <a16:creationId xmlns:a16="http://schemas.microsoft.com/office/drawing/2014/main" id="{1BE77380-8266-F827-C50C-FF95443E75BB}"/>
                </a:ext>
              </a:extLst>
            </p:cNvPr>
            <p:cNvSpPr/>
            <p:nvPr userDrawn="1"/>
          </p:nvSpPr>
          <p:spPr bwMode="gray">
            <a:xfrm>
              <a:off x="2045552"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3" name="Rechteck 652">
              <a:extLst>
                <a:ext uri="{FF2B5EF4-FFF2-40B4-BE49-F238E27FC236}">
                  <a16:creationId xmlns:a16="http://schemas.microsoft.com/office/drawing/2014/main" id="{5BA8CA17-B96D-2D06-6504-9F2E526FDB19}"/>
                </a:ext>
              </a:extLst>
            </p:cNvPr>
            <p:cNvSpPr/>
            <p:nvPr userDrawn="1"/>
          </p:nvSpPr>
          <p:spPr bwMode="gray">
            <a:xfrm>
              <a:off x="1469488"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4" name="Rechteck 653">
              <a:extLst>
                <a:ext uri="{FF2B5EF4-FFF2-40B4-BE49-F238E27FC236}">
                  <a16:creationId xmlns:a16="http://schemas.microsoft.com/office/drawing/2014/main" id="{F3E73BDD-D38A-81A5-E774-C3683B1AB234}"/>
                </a:ext>
              </a:extLst>
            </p:cNvPr>
            <p:cNvSpPr/>
            <p:nvPr userDrawn="1"/>
          </p:nvSpPr>
          <p:spPr bwMode="gray">
            <a:xfrm>
              <a:off x="893424"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5" name="Rechteck 654">
              <a:extLst>
                <a:ext uri="{FF2B5EF4-FFF2-40B4-BE49-F238E27FC236}">
                  <a16:creationId xmlns:a16="http://schemas.microsoft.com/office/drawing/2014/main" id="{9332C494-B746-9E69-A5B6-D7999D2F3F47}"/>
                </a:ext>
              </a:extLst>
            </p:cNvPr>
            <p:cNvSpPr/>
            <p:nvPr userDrawn="1"/>
          </p:nvSpPr>
          <p:spPr bwMode="gray">
            <a:xfrm>
              <a:off x="31736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6" name="Rechteck 655">
              <a:extLst>
                <a:ext uri="{FF2B5EF4-FFF2-40B4-BE49-F238E27FC236}">
                  <a16:creationId xmlns:a16="http://schemas.microsoft.com/office/drawing/2014/main" id="{DF7B677A-261D-09AD-7C61-E89E425D0B6C}"/>
                </a:ext>
              </a:extLst>
            </p:cNvPr>
            <p:cNvSpPr/>
            <p:nvPr userDrawn="1"/>
          </p:nvSpPr>
          <p:spPr bwMode="gray">
            <a:xfrm>
              <a:off x="1126257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7" name="Rechteck 656">
              <a:extLst>
                <a:ext uri="{FF2B5EF4-FFF2-40B4-BE49-F238E27FC236}">
                  <a16:creationId xmlns:a16="http://schemas.microsoft.com/office/drawing/2014/main" id="{B4E1B679-E2FF-A237-A730-31AA97CC5952}"/>
                </a:ext>
              </a:extLst>
            </p:cNvPr>
            <p:cNvSpPr/>
            <p:nvPr userDrawn="1"/>
          </p:nvSpPr>
          <p:spPr bwMode="gray">
            <a:xfrm>
              <a:off x="1068651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8" name="Rechteck 657">
              <a:extLst>
                <a:ext uri="{FF2B5EF4-FFF2-40B4-BE49-F238E27FC236}">
                  <a16:creationId xmlns:a16="http://schemas.microsoft.com/office/drawing/2014/main" id="{CA1EFAFF-C5EB-1324-F802-CD3E5949C668}"/>
                </a:ext>
              </a:extLst>
            </p:cNvPr>
            <p:cNvSpPr/>
            <p:nvPr userDrawn="1"/>
          </p:nvSpPr>
          <p:spPr bwMode="gray">
            <a:xfrm>
              <a:off x="1011044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59" name="Rechteck 658">
              <a:extLst>
                <a:ext uri="{FF2B5EF4-FFF2-40B4-BE49-F238E27FC236}">
                  <a16:creationId xmlns:a16="http://schemas.microsoft.com/office/drawing/2014/main" id="{82C8220E-2A20-44DC-5ADA-8F837493BC90}"/>
                </a:ext>
              </a:extLst>
            </p:cNvPr>
            <p:cNvSpPr/>
            <p:nvPr userDrawn="1"/>
          </p:nvSpPr>
          <p:spPr bwMode="gray">
            <a:xfrm>
              <a:off x="953438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0" name="Rechteck 659">
              <a:extLst>
                <a:ext uri="{FF2B5EF4-FFF2-40B4-BE49-F238E27FC236}">
                  <a16:creationId xmlns:a16="http://schemas.microsoft.com/office/drawing/2014/main" id="{9598A980-6027-7AF3-180C-EB83DF178130}"/>
                </a:ext>
              </a:extLst>
            </p:cNvPr>
            <p:cNvSpPr/>
            <p:nvPr userDrawn="1"/>
          </p:nvSpPr>
          <p:spPr bwMode="gray">
            <a:xfrm>
              <a:off x="895832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1" name="Rechteck 660">
              <a:extLst>
                <a:ext uri="{FF2B5EF4-FFF2-40B4-BE49-F238E27FC236}">
                  <a16:creationId xmlns:a16="http://schemas.microsoft.com/office/drawing/2014/main" id="{0807272C-3969-E0B3-E96B-48406B02FFD4}"/>
                </a:ext>
              </a:extLst>
            </p:cNvPr>
            <p:cNvSpPr/>
            <p:nvPr userDrawn="1"/>
          </p:nvSpPr>
          <p:spPr bwMode="gray">
            <a:xfrm>
              <a:off x="838225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2" name="Rechteck 661">
              <a:extLst>
                <a:ext uri="{FF2B5EF4-FFF2-40B4-BE49-F238E27FC236}">
                  <a16:creationId xmlns:a16="http://schemas.microsoft.com/office/drawing/2014/main" id="{419D1081-2D94-B648-7F95-9FF7226E752A}"/>
                </a:ext>
              </a:extLst>
            </p:cNvPr>
            <p:cNvSpPr/>
            <p:nvPr userDrawn="1"/>
          </p:nvSpPr>
          <p:spPr bwMode="gray">
            <a:xfrm>
              <a:off x="780619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3" name="Rechteck 662">
              <a:extLst>
                <a:ext uri="{FF2B5EF4-FFF2-40B4-BE49-F238E27FC236}">
                  <a16:creationId xmlns:a16="http://schemas.microsoft.com/office/drawing/2014/main" id="{46151713-29C2-D282-ABAB-FE81AF577D0E}"/>
                </a:ext>
              </a:extLst>
            </p:cNvPr>
            <p:cNvSpPr/>
            <p:nvPr userDrawn="1"/>
          </p:nvSpPr>
          <p:spPr bwMode="gray">
            <a:xfrm>
              <a:off x="723012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4" name="Rechteck 663">
              <a:extLst>
                <a:ext uri="{FF2B5EF4-FFF2-40B4-BE49-F238E27FC236}">
                  <a16:creationId xmlns:a16="http://schemas.microsoft.com/office/drawing/2014/main" id="{3194304F-8685-2232-5A79-5137DFEFDD66}"/>
                </a:ext>
              </a:extLst>
            </p:cNvPr>
            <p:cNvSpPr/>
            <p:nvPr userDrawn="1"/>
          </p:nvSpPr>
          <p:spPr bwMode="gray">
            <a:xfrm>
              <a:off x="665406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5" name="Rechteck 664">
              <a:extLst>
                <a:ext uri="{FF2B5EF4-FFF2-40B4-BE49-F238E27FC236}">
                  <a16:creationId xmlns:a16="http://schemas.microsoft.com/office/drawing/2014/main" id="{D35C785F-4063-143A-34E2-118895526F22}"/>
                </a:ext>
              </a:extLst>
            </p:cNvPr>
            <p:cNvSpPr/>
            <p:nvPr userDrawn="1"/>
          </p:nvSpPr>
          <p:spPr bwMode="gray">
            <a:xfrm>
              <a:off x="607800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6" name="Rechteck 665">
              <a:extLst>
                <a:ext uri="{FF2B5EF4-FFF2-40B4-BE49-F238E27FC236}">
                  <a16:creationId xmlns:a16="http://schemas.microsoft.com/office/drawing/2014/main" id="{B07B0011-6AF6-017B-EB37-5A0CEE6B7B66}"/>
                </a:ext>
              </a:extLst>
            </p:cNvPr>
            <p:cNvSpPr/>
            <p:nvPr userDrawn="1"/>
          </p:nvSpPr>
          <p:spPr bwMode="gray">
            <a:xfrm>
              <a:off x="550193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7" name="Rechteck 666">
              <a:extLst>
                <a:ext uri="{FF2B5EF4-FFF2-40B4-BE49-F238E27FC236}">
                  <a16:creationId xmlns:a16="http://schemas.microsoft.com/office/drawing/2014/main" id="{07F5F325-281F-8D8C-05C8-8FEA2D874362}"/>
                </a:ext>
              </a:extLst>
            </p:cNvPr>
            <p:cNvSpPr/>
            <p:nvPr userDrawn="1"/>
          </p:nvSpPr>
          <p:spPr bwMode="gray">
            <a:xfrm>
              <a:off x="492587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8" name="Rechteck 667">
              <a:extLst>
                <a:ext uri="{FF2B5EF4-FFF2-40B4-BE49-F238E27FC236}">
                  <a16:creationId xmlns:a16="http://schemas.microsoft.com/office/drawing/2014/main" id="{725BBC3B-BE28-C2BF-E985-01C14442BEB1}"/>
                </a:ext>
              </a:extLst>
            </p:cNvPr>
            <p:cNvSpPr/>
            <p:nvPr userDrawn="1"/>
          </p:nvSpPr>
          <p:spPr bwMode="gray">
            <a:xfrm>
              <a:off x="434980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69" name="Rechteck 668">
              <a:extLst>
                <a:ext uri="{FF2B5EF4-FFF2-40B4-BE49-F238E27FC236}">
                  <a16:creationId xmlns:a16="http://schemas.microsoft.com/office/drawing/2014/main" id="{E70D0CB2-B809-5ACB-075B-CA6034576E3B}"/>
                </a:ext>
              </a:extLst>
            </p:cNvPr>
            <p:cNvSpPr/>
            <p:nvPr userDrawn="1"/>
          </p:nvSpPr>
          <p:spPr bwMode="gray">
            <a:xfrm>
              <a:off x="377374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0" name="Rechteck 669">
              <a:extLst>
                <a:ext uri="{FF2B5EF4-FFF2-40B4-BE49-F238E27FC236}">
                  <a16:creationId xmlns:a16="http://schemas.microsoft.com/office/drawing/2014/main" id="{F69D1ADC-CD70-4103-09C2-A556837BB57A}"/>
                </a:ext>
              </a:extLst>
            </p:cNvPr>
            <p:cNvSpPr/>
            <p:nvPr userDrawn="1"/>
          </p:nvSpPr>
          <p:spPr bwMode="gray">
            <a:xfrm>
              <a:off x="319768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1" name="Rechteck 670">
              <a:extLst>
                <a:ext uri="{FF2B5EF4-FFF2-40B4-BE49-F238E27FC236}">
                  <a16:creationId xmlns:a16="http://schemas.microsoft.com/office/drawing/2014/main" id="{96FA6A16-8156-131D-CFAB-18AFCCD39400}"/>
                </a:ext>
              </a:extLst>
            </p:cNvPr>
            <p:cNvSpPr/>
            <p:nvPr userDrawn="1"/>
          </p:nvSpPr>
          <p:spPr bwMode="gray">
            <a:xfrm>
              <a:off x="2621616"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2" name="Rechteck 671">
              <a:extLst>
                <a:ext uri="{FF2B5EF4-FFF2-40B4-BE49-F238E27FC236}">
                  <a16:creationId xmlns:a16="http://schemas.microsoft.com/office/drawing/2014/main" id="{53B0C222-20E8-210A-3EB9-C84820243784}"/>
                </a:ext>
              </a:extLst>
            </p:cNvPr>
            <p:cNvSpPr/>
            <p:nvPr userDrawn="1"/>
          </p:nvSpPr>
          <p:spPr bwMode="gray">
            <a:xfrm>
              <a:off x="2045552"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3" name="Rechteck 672">
              <a:extLst>
                <a:ext uri="{FF2B5EF4-FFF2-40B4-BE49-F238E27FC236}">
                  <a16:creationId xmlns:a16="http://schemas.microsoft.com/office/drawing/2014/main" id="{025D7DF0-B578-DC5C-9297-123A3ACF4822}"/>
                </a:ext>
              </a:extLst>
            </p:cNvPr>
            <p:cNvSpPr/>
            <p:nvPr userDrawn="1"/>
          </p:nvSpPr>
          <p:spPr bwMode="gray">
            <a:xfrm>
              <a:off x="1469488"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4" name="Rechteck 673">
              <a:extLst>
                <a:ext uri="{FF2B5EF4-FFF2-40B4-BE49-F238E27FC236}">
                  <a16:creationId xmlns:a16="http://schemas.microsoft.com/office/drawing/2014/main" id="{57B358A9-8AD6-5207-99FF-514C2A2525B1}"/>
                </a:ext>
              </a:extLst>
            </p:cNvPr>
            <p:cNvSpPr/>
            <p:nvPr userDrawn="1"/>
          </p:nvSpPr>
          <p:spPr bwMode="gray">
            <a:xfrm>
              <a:off x="893424"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5" name="Rechteck 674">
              <a:extLst>
                <a:ext uri="{FF2B5EF4-FFF2-40B4-BE49-F238E27FC236}">
                  <a16:creationId xmlns:a16="http://schemas.microsoft.com/office/drawing/2014/main" id="{D0193752-5864-2E4B-9F39-D3139FC31C44}"/>
                </a:ext>
              </a:extLst>
            </p:cNvPr>
            <p:cNvSpPr/>
            <p:nvPr userDrawn="1"/>
          </p:nvSpPr>
          <p:spPr bwMode="gray">
            <a:xfrm>
              <a:off x="31736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6" name="Rechteck 675">
              <a:extLst>
                <a:ext uri="{FF2B5EF4-FFF2-40B4-BE49-F238E27FC236}">
                  <a16:creationId xmlns:a16="http://schemas.microsoft.com/office/drawing/2014/main" id="{8C9EC265-2C88-C44F-A647-3254CCBAA757}"/>
                </a:ext>
              </a:extLst>
            </p:cNvPr>
            <p:cNvSpPr/>
            <p:nvPr userDrawn="1"/>
          </p:nvSpPr>
          <p:spPr bwMode="gray">
            <a:xfrm>
              <a:off x="1126257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7" name="Rechteck 676">
              <a:extLst>
                <a:ext uri="{FF2B5EF4-FFF2-40B4-BE49-F238E27FC236}">
                  <a16:creationId xmlns:a16="http://schemas.microsoft.com/office/drawing/2014/main" id="{B9715C15-481A-2FB7-770A-2FD8AAF6A0CD}"/>
                </a:ext>
              </a:extLst>
            </p:cNvPr>
            <p:cNvSpPr/>
            <p:nvPr userDrawn="1"/>
          </p:nvSpPr>
          <p:spPr bwMode="gray">
            <a:xfrm>
              <a:off x="1068651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8" name="Rechteck 677">
              <a:extLst>
                <a:ext uri="{FF2B5EF4-FFF2-40B4-BE49-F238E27FC236}">
                  <a16:creationId xmlns:a16="http://schemas.microsoft.com/office/drawing/2014/main" id="{DFDECC3A-1958-FEB7-AD42-6784C23AC6F7}"/>
                </a:ext>
              </a:extLst>
            </p:cNvPr>
            <p:cNvSpPr/>
            <p:nvPr userDrawn="1"/>
          </p:nvSpPr>
          <p:spPr bwMode="gray">
            <a:xfrm>
              <a:off x="1011044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79" name="Rechteck 678">
              <a:extLst>
                <a:ext uri="{FF2B5EF4-FFF2-40B4-BE49-F238E27FC236}">
                  <a16:creationId xmlns:a16="http://schemas.microsoft.com/office/drawing/2014/main" id="{D8F513C0-E63B-6252-4207-2C456B125509}"/>
                </a:ext>
              </a:extLst>
            </p:cNvPr>
            <p:cNvSpPr/>
            <p:nvPr userDrawn="1"/>
          </p:nvSpPr>
          <p:spPr bwMode="gray">
            <a:xfrm>
              <a:off x="953438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0" name="Rechteck 679">
              <a:extLst>
                <a:ext uri="{FF2B5EF4-FFF2-40B4-BE49-F238E27FC236}">
                  <a16:creationId xmlns:a16="http://schemas.microsoft.com/office/drawing/2014/main" id="{46B63FC2-4C80-CE78-8948-D45B9D94ABEC}"/>
                </a:ext>
              </a:extLst>
            </p:cNvPr>
            <p:cNvSpPr/>
            <p:nvPr userDrawn="1"/>
          </p:nvSpPr>
          <p:spPr bwMode="gray">
            <a:xfrm>
              <a:off x="895832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1" name="Rechteck 680">
              <a:extLst>
                <a:ext uri="{FF2B5EF4-FFF2-40B4-BE49-F238E27FC236}">
                  <a16:creationId xmlns:a16="http://schemas.microsoft.com/office/drawing/2014/main" id="{82E68FF8-95E0-30D1-2D29-B76B26E89919}"/>
                </a:ext>
              </a:extLst>
            </p:cNvPr>
            <p:cNvSpPr/>
            <p:nvPr userDrawn="1"/>
          </p:nvSpPr>
          <p:spPr bwMode="gray">
            <a:xfrm>
              <a:off x="838225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2" name="Rechteck 681">
              <a:extLst>
                <a:ext uri="{FF2B5EF4-FFF2-40B4-BE49-F238E27FC236}">
                  <a16:creationId xmlns:a16="http://schemas.microsoft.com/office/drawing/2014/main" id="{1A8062F3-3A32-20CD-61ED-C5FEB60B5C93}"/>
                </a:ext>
              </a:extLst>
            </p:cNvPr>
            <p:cNvSpPr/>
            <p:nvPr userDrawn="1"/>
          </p:nvSpPr>
          <p:spPr bwMode="gray">
            <a:xfrm>
              <a:off x="780619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3" name="Rechteck 682">
              <a:extLst>
                <a:ext uri="{FF2B5EF4-FFF2-40B4-BE49-F238E27FC236}">
                  <a16:creationId xmlns:a16="http://schemas.microsoft.com/office/drawing/2014/main" id="{01B35D75-0197-AF22-E84E-D65C2A4C5884}"/>
                </a:ext>
              </a:extLst>
            </p:cNvPr>
            <p:cNvSpPr/>
            <p:nvPr userDrawn="1"/>
          </p:nvSpPr>
          <p:spPr bwMode="gray">
            <a:xfrm>
              <a:off x="723012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4" name="Rechteck 683">
              <a:extLst>
                <a:ext uri="{FF2B5EF4-FFF2-40B4-BE49-F238E27FC236}">
                  <a16:creationId xmlns:a16="http://schemas.microsoft.com/office/drawing/2014/main" id="{429EF493-3A1F-F9EF-7605-6E9A1AC55F84}"/>
                </a:ext>
              </a:extLst>
            </p:cNvPr>
            <p:cNvSpPr/>
            <p:nvPr userDrawn="1"/>
          </p:nvSpPr>
          <p:spPr bwMode="gray">
            <a:xfrm>
              <a:off x="665406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5" name="Rechteck 684">
              <a:extLst>
                <a:ext uri="{FF2B5EF4-FFF2-40B4-BE49-F238E27FC236}">
                  <a16:creationId xmlns:a16="http://schemas.microsoft.com/office/drawing/2014/main" id="{DE9FD1C5-991A-C34D-79C1-3C295757F3A7}"/>
                </a:ext>
              </a:extLst>
            </p:cNvPr>
            <p:cNvSpPr/>
            <p:nvPr userDrawn="1"/>
          </p:nvSpPr>
          <p:spPr bwMode="gray">
            <a:xfrm>
              <a:off x="607800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6" name="Rechteck 685">
              <a:extLst>
                <a:ext uri="{FF2B5EF4-FFF2-40B4-BE49-F238E27FC236}">
                  <a16:creationId xmlns:a16="http://schemas.microsoft.com/office/drawing/2014/main" id="{FD16DC80-BAE8-1568-272F-8F9C4CCF4977}"/>
                </a:ext>
              </a:extLst>
            </p:cNvPr>
            <p:cNvSpPr/>
            <p:nvPr userDrawn="1"/>
          </p:nvSpPr>
          <p:spPr bwMode="gray">
            <a:xfrm>
              <a:off x="550193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7" name="Rechteck 686">
              <a:extLst>
                <a:ext uri="{FF2B5EF4-FFF2-40B4-BE49-F238E27FC236}">
                  <a16:creationId xmlns:a16="http://schemas.microsoft.com/office/drawing/2014/main" id="{BA6955F0-E821-4965-75B9-EB73D8E31192}"/>
                </a:ext>
              </a:extLst>
            </p:cNvPr>
            <p:cNvSpPr/>
            <p:nvPr userDrawn="1"/>
          </p:nvSpPr>
          <p:spPr bwMode="gray">
            <a:xfrm>
              <a:off x="492587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8" name="Rechteck 687">
              <a:extLst>
                <a:ext uri="{FF2B5EF4-FFF2-40B4-BE49-F238E27FC236}">
                  <a16:creationId xmlns:a16="http://schemas.microsoft.com/office/drawing/2014/main" id="{71D0A235-C797-BA99-12EB-BB61F9B5E30B}"/>
                </a:ext>
              </a:extLst>
            </p:cNvPr>
            <p:cNvSpPr/>
            <p:nvPr userDrawn="1"/>
          </p:nvSpPr>
          <p:spPr bwMode="gray">
            <a:xfrm>
              <a:off x="434980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89" name="Rechteck 688">
              <a:extLst>
                <a:ext uri="{FF2B5EF4-FFF2-40B4-BE49-F238E27FC236}">
                  <a16:creationId xmlns:a16="http://schemas.microsoft.com/office/drawing/2014/main" id="{14315AEF-89A0-57A2-1BAF-F1DBCF38A580}"/>
                </a:ext>
              </a:extLst>
            </p:cNvPr>
            <p:cNvSpPr/>
            <p:nvPr userDrawn="1"/>
          </p:nvSpPr>
          <p:spPr bwMode="gray">
            <a:xfrm>
              <a:off x="377374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0" name="Rechteck 689">
              <a:extLst>
                <a:ext uri="{FF2B5EF4-FFF2-40B4-BE49-F238E27FC236}">
                  <a16:creationId xmlns:a16="http://schemas.microsoft.com/office/drawing/2014/main" id="{DF0D7CC7-E032-AC97-840E-FD60C8055024}"/>
                </a:ext>
              </a:extLst>
            </p:cNvPr>
            <p:cNvSpPr/>
            <p:nvPr userDrawn="1"/>
          </p:nvSpPr>
          <p:spPr bwMode="gray">
            <a:xfrm>
              <a:off x="319768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1" name="Rechteck 690">
              <a:extLst>
                <a:ext uri="{FF2B5EF4-FFF2-40B4-BE49-F238E27FC236}">
                  <a16:creationId xmlns:a16="http://schemas.microsoft.com/office/drawing/2014/main" id="{EF5E68C3-C0C0-E77B-A100-70DED0DC46C3}"/>
                </a:ext>
              </a:extLst>
            </p:cNvPr>
            <p:cNvSpPr/>
            <p:nvPr userDrawn="1"/>
          </p:nvSpPr>
          <p:spPr bwMode="gray">
            <a:xfrm>
              <a:off x="2621616"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2" name="Rechteck 691">
              <a:extLst>
                <a:ext uri="{FF2B5EF4-FFF2-40B4-BE49-F238E27FC236}">
                  <a16:creationId xmlns:a16="http://schemas.microsoft.com/office/drawing/2014/main" id="{2A9E081B-C29C-B8C7-1BF8-F2EDAFB918C0}"/>
                </a:ext>
              </a:extLst>
            </p:cNvPr>
            <p:cNvSpPr/>
            <p:nvPr userDrawn="1"/>
          </p:nvSpPr>
          <p:spPr bwMode="gray">
            <a:xfrm>
              <a:off x="2045552"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3" name="Rechteck 692">
              <a:extLst>
                <a:ext uri="{FF2B5EF4-FFF2-40B4-BE49-F238E27FC236}">
                  <a16:creationId xmlns:a16="http://schemas.microsoft.com/office/drawing/2014/main" id="{312DCBD5-AEC0-AC41-21CE-829C50D7A668}"/>
                </a:ext>
              </a:extLst>
            </p:cNvPr>
            <p:cNvSpPr/>
            <p:nvPr userDrawn="1"/>
          </p:nvSpPr>
          <p:spPr bwMode="gray">
            <a:xfrm>
              <a:off x="1469488"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4" name="Rechteck 693">
              <a:extLst>
                <a:ext uri="{FF2B5EF4-FFF2-40B4-BE49-F238E27FC236}">
                  <a16:creationId xmlns:a16="http://schemas.microsoft.com/office/drawing/2014/main" id="{85C7324F-03F7-07C0-7C88-CA7513564E0E}"/>
                </a:ext>
              </a:extLst>
            </p:cNvPr>
            <p:cNvSpPr/>
            <p:nvPr userDrawn="1"/>
          </p:nvSpPr>
          <p:spPr bwMode="gray">
            <a:xfrm>
              <a:off x="893424"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5" name="Rechteck 694">
              <a:extLst>
                <a:ext uri="{FF2B5EF4-FFF2-40B4-BE49-F238E27FC236}">
                  <a16:creationId xmlns:a16="http://schemas.microsoft.com/office/drawing/2014/main" id="{EC45F2CF-8FB0-81FF-E233-A9C98817B662}"/>
                </a:ext>
              </a:extLst>
            </p:cNvPr>
            <p:cNvSpPr/>
            <p:nvPr userDrawn="1"/>
          </p:nvSpPr>
          <p:spPr bwMode="gray">
            <a:xfrm>
              <a:off x="31736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6" name="Rechteck 695">
              <a:extLst>
                <a:ext uri="{FF2B5EF4-FFF2-40B4-BE49-F238E27FC236}">
                  <a16:creationId xmlns:a16="http://schemas.microsoft.com/office/drawing/2014/main" id="{E311795C-F4C4-AECB-BFAB-79B0C19B54EE}"/>
                </a:ext>
              </a:extLst>
            </p:cNvPr>
            <p:cNvSpPr/>
            <p:nvPr userDrawn="1"/>
          </p:nvSpPr>
          <p:spPr bwMode="gray">
            <a:xfrm>
              <a:off x="1126257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7" name="Rechteck 696">
              <a:extLst>
                <a:ext uri="{FF2B5EF4-FFF2-40B4-BE49-F238E27FC236}">
                  <a16:creationId xmlns:a16="http://schemas.microsoft.com/office/drawing/2014/main" id="{1844BC78-8809-099D-5F8C-134C47E99370}"/>
                </a:ext>
              </a:extLst>
            </p:cNvPr>
            <p:cNvSpPr/>
            <p:nvPr userDrawn="1"/>
          </p:nvSpPr>
          <p:spPr bwMode="gray">
            <a:xfrm>
              <a:off x="1068651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8" name="Rechteck 697">
              <a:extLst>
                <a:ext uri="{FF2B5EF4-FFF2-40B4-BE49-F238E27FC236}">
                  <a16:creationId xmlns:a16="http://schemas.microsoft.com/office/drawing/2014/main" id="{1AD8BC0E-73FF-5FC3-82FD-DC1E87AB02DD}"/>
                </a:ext>
              </a:extLst>
            </p:cNvPr>
            <p:cNvSpPr/>
            <p:nvPr userDrawn="1"/>
          </p:nvSpPr>
          <p:spPr bwMode="gray">
            <a:xfrm>
              <a:off x="1011044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699" name="Rechteck 698">
              <a:extLst>
                <a:ext uri="{FF2B5EF4-FFF2-40B4-BE49-F238E27FC236}">
                  <a16:creationId xmlns:a16="http://schemas.microsoft.com/office/drawing/2014/main" id="{C5CCB73B-4DFF-5B62-3E73-8092723D429B}"/>
                </a:ext>
              </a:extLst>
            </p:cNvPr>
            <p:cNvSpPr/>
            <p:nvPr userDrawn="1"/>
          </p:nvSpPr>
          <p:spPr bwMode="gray">
            <a:xfrm>
              <a:off x="953438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0" name="Rechteck 699">
              <a:extLst>
                <a:ext uri="{FF2B5EF4-FFF2-40B4-BE49-F238E27FC236}">
                  <a16:creationId xmlns:a16="http://schemas.microsoft.com/office/drawing/2014/main" id="{76E31459-B4E8-C377-3671-2A3E828CF522}"/>
                </a:ext>
              </a:extLst>
            </p:cNvPr>
            <p:cNvSpPr/>
            <p:nvPr userDrawn="1"/>
          </p:nvSpPr>
          <p:spPr bwMode="gray">
            <a:xfrm>
              <a:off x="895832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1" name="Rechteck 700">
              <a:extLst>
                <a:ext uri="{FF2B5EF4-FFF2-40B4-BE49-F238E27FC236}">
                  <a16:creationId xmlns:a16="http://schemas.microsoft.com/office/drawing/2014/main" id="{7BA49C90-7A71-BD2E-B994-89E6CD4E5B32}"/>
                </a:ext>
              </a:extLst>
            </p:cNvPr>
            <p:cNvSpPr/>
            <p:nvPr userDrawn="1"/>
          </p:nvSpPr>
          <p:spPr bwMode="gray">
            <a:xfrm>
              <a:off x="838225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2" name="Rechteck 701">
              <a:extLst>
                <a:ext uri="{FF2B5EF4-FFF2-40B4-BE49-F238E27FC236}">
                  <a16:creationId xmlns:a16="http://schemas.microsoft.com/office/drawing/2014/main" id="{BB714581-FA85-E210-75EF-ACE43B24297A}"/>
                </a:ext>
              </a:extLst>
            </p:cNvPr>
            <p:cNvSpPr/>
            <p:nvPr userDrawn="1"/>
          </p:nvSpPr>
          <p:spPr bwMode="gray">
            <a:xfrm>
              <a:off x="780619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3" name="Rechteck 702">
              <a:extLst>
                <a:ext uri="{FF2B5EF4-FFF2-40B4-BE49-F238E27FC236}">
                  <a16:creationId xmlns:a16="http://schemas.microsoft.com/office/drawing/2014/main" id="{CBF97942-C1DA-08CE-634A-9FF5A5990AF6}"/>
                </a:ext>
              </a:extLst>
            </p:cNvPr>
            <p:cNvSpPr/>
            <p:nvPr userDrawn="1"/>
          </p:nvSpPr>
          <p:spPr bwMode="gray">
            <a:xfrm>
              <a:off x="723012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4" name="Rechteck 703">
              <a:extLst>
                <a:ext uri="{FF2B5EF4-FFF2-40B4-BE49-F238E27FC236}">
                  <a16:creationId xmlns:a16="http://schemas.microsoft.com/office/drawing/2014/main" id="{4AA7E59D-50F1-6FDA-3788-65A9E90F5067}"/>
                </a:ext>
              </a:extLst>
            </p:cNvPr>
            <p:cNvSpPr/>
            <p:nvPr userDrawn="1"/>
          </p:nvSpPr>
          <p:spPr bwMode="gray">
            <a:xfrm>
              <a:off x="665406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5" name="Rechteck 704">
              <a:extLst>
                <a:ext uri="{FF2B5EF4-FFF2-40B4-BE49-F238E27FC236}">
                  <a16:creationId xmlns:a16="http://schemas.microsoft.com/office/drawing/2014/main" id="{6AED30BC-899A-7525-D54A-21814E2F76F7}"/>
                </a:ext>
              </a:extLst>
            </p:cNvPr>
            <p:cNvSpPr/>
            <p:nvPr userDrawn="1"/>
          </p:nvSpPr>
          <p:spPr bwMode="gray">
            <a:xfrm>
              <a:off x="607800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6" name="Rechteck 705">
              <a:extLst>
                <a:ext uri="{FF2B5EF4-FFF2-40B4-BE49-F238E27FC236}">
                  <a16:creationId xmlns:a16="http://schemas.microsoft.com/office/drawing/2014/main" id="{02B04685-EC65-9BE7-0386-F332F78073AE}"/>
                </a:ext>
              </a:extLst>
            </p:cNvPr>
            <p:cNvSpPr/>
            <p:nvPr userDrawn="1"/>
          </p:nvSpPr>
          <p:spPr bwMode="gray">
            <a:xfrm>
              <a:off x="550193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7" name="Rechteck 706">
              <a:extLst>
                <a:ext uri="{FF2B5EF4-FFF2-40B4-BE49-F238E27FC236}">
                  <a16:creationId xmlns:a16="http://schemas.microsoft.com/office/drawing/2014/main" id="{EA4D47BD-238E-9C9D-A13F-8D01F2D69D4B}"/>
                </a:ext>
              </a:extLst>
            </p:cNvPr>
            <p:cNvSpPr/>
            <p:nvPr userDrawn="1"/>
          </p:nvSpPr>
          <p:spPr bwMode="gray">
            <a:xfrm>
              <a:off x="492587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8" name="Rechteck 707">
              <a:extLst>
                <a:ext uri="{FF2B5EF4-FFF2-40B4-BE49-F238E27FC236}">
                  <a16:creationId xmlns:a16="http://schemas.microsoft.com/office/drawing/2014/main" id="{A8C7EF28-15A8-8C71-4C07-64D937E5E1A5}"/>
                </a:ext>
              </a:extLst>
            </p:cNvPr>
            <p:cNvSpPr/>
            <p:nvPr userDrawn="1"/>
          </p:nvSpPr>
          <p:spPr bwMode="gray">
            <a:xfrm>
              <a:off x="434980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09" name="Rechteck 708">
              <a:extLst>
                <a:ext uri="{FF2B5EF4-FFF2-40B4-BE49-F238E27FC236}">
                  <a16:creationId xmlns:a16="http://schemas.microsoft.com/office/drawing/2014/main" id="{C1B06AFB-685C-F8AF-60A2-10895F58046D}"/>
                </a:ext>
              </a:extLst>
            </p:cNvPr>
            <p:cNvSpPr/>
            <p:nvPr userDrawn="1"/>
          </p:nvSpPr>
          <p:spPr bwMode="gray">
            <a:xfrm>
              <a:off x="377374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0" name="Rechteck 709">
              <a:extLst>
                <a:ext uri="{FF2B5EF4-FFF2-40B4-BE49-F238E27FC236}">
                  <a16:creationId xmlns:a16="http://schemas.microsoft.com/office/drawing/2014/main" id="{A0907AA1-50AD-547F-09D9-1BDBF1A3DF30}"/>
                </a:ext>
              </a:extLst>
            </p:cNvPr>
            <p:cNvSpPr/>
            <p:nvPr userDrawn="1"/>
          </p:nvSpPr>
          <p:spPr bwMode="gray">
            <a:xfrm>
              <a:off x="319768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1" name="Rechteck 710">
              <a:extLst>
                <a:ext uri="{FF2B5EF4-FFF2-40B4-BE49-F238E27FC236}">
                  <a16:creationId xmlns:a16="http://schemas.microsoft.com/office/drawing/2014/main" id="{EE59B82C-B9EC-3F9C-207B-91FC0C6EE0C6}"/>
                </a:ext>
              </a:extLst>
            </p:cNvPr>
            <p:cNvSpPr/>
            <p:nvPr userDrawn="1"/>
          </p:nvSpPr>
          <p:spPr bwMode="gray">
            <a:xfrm>
              <a:off x="2621616"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2" name="Rechteck 711">
              <a:extLst>
                <a:ext uri="{FF2B5EF4-FFF2-40B4-BE49-F238E27FC236}">
                  <a16:creationId xmlns:a16="http://schemas.microsoft.com/office/drawing/2014/main" id="{9F51EE4A-A381-6447-6311-6579EE7B7C2F}"/>
                </a:ext>
              </a:extLst>
            </p:cNvPr>
            <p:cNvSpPr/>
            <p:nvPr userDrawn="1"/>
          </p:nvSpPr>
          <p:spPr bwMode="gray">
            <a:xfrm>
              <a:off x="2045552"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3" name="Rechteck 712">
              <a:extLst>
                <a:ext uri="{FF2B5EF4-FFF2-40B4-BE49-F238E27FC236}">
                  <a16:creationId xmlns:a16="http://schemas.microsoft.com/office/drawing/2014/main" id="{934474EB-C414-2C6E-A779-BA1921B1646B}"/>
                </a:ext>
              </a:extLst>
            </p:cNvPr>
            <p:cNvSpPr/>
            <p:nvPr userDrawn="1"/>
          </p:nvSpPr>
          <p:spPr bwMode="gray">
            <a:xfrm>
              <a:off x="1469488"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4" name="Rechteck 713">
              <a:extLst>
                <a:ext uri="{FF2B5EF4-FFF2-40B4-BE49-F238E27FC236}">
                  <a16:creationId xmlns:a16="http://schemas.microsoft.com/office/drawing/2014/main" id="{0F13FA9C-CD65-84AE-C827-9F16BDEA0C99}"/>
                </a:ext>
              </a:extLst>
            </p:cNvPr>
            <p:cNvSpPr/>
            <p:nvPr userDrawn="1"/>
          </p:nvSpPr>
          <p:spPr bwMode="gray">
            <a:xfrm>
              <a:off x="893424"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5" name="Rechteck 714">
              <a:extLst>
                <a:ext uri="{FF2B5EF4-FFF2-40B4-BE49-F238E27FC236}">
                  <a16:creationId xmlns:a16="http://schemas.microsoft.com/office/drawing/2014/main" id="{830FF5EE-2AED-B42D-FE0B-E745AFD77C72}"/>
                </a:ext>
              </a:extLst>
            </p:cNvPr>
            <p:cNvSpPr/>
            <p:nvPr userDrawn="1"/>
          </p:nvSpPr>
          <p:spPr bwMode="gray">
            <a:xfrm>
              <a:off x="31736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6" name="Rechteck 715">
              <a:extLst>
                <a:ext uri="{FF2B5EF4-FFF2-40B4-BE49-F238E27FC236}">
                  <a16:creationId xmlns:a16="http://schemas.microsoft.com/office/drawing/2014/main" id="{1E63E335-BFAE-E42F-0728-E615191A17C6}"/>
                </a:ext>
              </a:extLst>
            </p:cNvPr>
            <p:cNvSpPr/>
            <p:nvPr userDrawn="1"/>
          </p:nvSpPr>
          <p:spPr bwMode="gray">
            <a:xfrm>
              <a:off x="1126257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7" name="Rechteck 716">
              <a:extLst>
                <a:ext uri="{FF2B5EF4-FFF2-40B4-BE49-F238E27FC236}">
                  <a16:creationId xmlns:a16="http://schemas.microsoft.com/office/drawing/2014/main" id="{D922EE03-FAFA-80BB-8183-B70797F4C8DB}"/>
                </a:ext>
              </a:extLst>
            </p:cNvPr>
            <p:cNvSpPr/>
            <p:nvPr userDrawn="1"/>
          </p:nvSpPr>
          <p:spPr bwMode="gray">
            <a:xfrm>
              <a:off x="1068651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8" name="Rechteck 717">
              <a:extLst>
                <a:ext uri="{FF2B5EF4-FFF2-40B4-BE49-F238E27FC236}">
                  <a16:creationId xmlns:a16="http://schemas.microsoft.com/office/drawing/2014/main" id="{2E15F58B-70B2-C436-38C9-F3C7832E6796}"/>
                </a:ext>
              </a:extLst>
            </p:cNvPr>
            <p:cNvSpPr/>
            <p:nvPr userDrawn="1"/>
          </p:nvSpPr>
          <p:spPr bwMode="gray">
            <a:xfrm>
              <a:off x="1011044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19" name="Rechteck 718">
              <a:extLst>
                <a:ext uri="{FF2B5EF4-FFF2-40B4-BE49-F238E27FC236}">
                  <a16:creationId xmlns:a16="http://schemas.microsoft.com/office/drawing/2014/main" id="{603416F4-6AA4-598D-3096-C8B79F77BC4F}"/>
                </a:ext>
              </a:extLst>
            </p:cNvPr>
            <p:cNvSpPr/>
            <p:nvPr userDrawn="1"/>
          </p:nvSpPr>
          <p:spPr bwMode="gray">
            <a:xfrm>
              <a:off x="953438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0" name="Rechteck 719">
              <a:extLst>
                <a:ext uri="{FF2B5EF4-FFF2-40B4-BE49-F238E27FC236}">
                  <a16:creationId xmlns:a16="http://schemas.microsoft.com/office/drawing/2014/main" id="{7583A150-A970-FC7B-371D-C88BADC9F8A5}"/>
                </a:ext>
              </a:extLst>
            </p:cNvPr>
            <p:cNvSpPr/>
            <p:nvPr userDrawn="1"/>
          </p:nvSpPr>
          <p:spPr bwMode="gray">
            <a:xfrm>
              <a:off x="895832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1" name="Rechteck 720">
              <a:extLst>
                <a:ext uri="{FF2B5EF4-FFF2-40B4-BE49-F238E27FC236}">
                  <a16:creationId xmlns:a16="http://schemas.microsoft.com/office/drawing/2014/main" id="{AB13C481-EE83-72F1-A9FD-BA4FBD288C7B}"/>
                </a:ext>
              </a:extLst>
            </p:cNvPr>
            <p:cNvSpPr/>
            <p:nvPr userDrawn="1"/>
          </p:nvSpPr>
          <p:spPr bwMode="gray">
            <a:xfrm>
              <a:off x="838225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2" name="Rechteck 721">
              <a:extLst>
                <a:ext uri="{FF2B5EF4-FFF2-40B4-BE49-F238E27FC236}">
                  <a16:creationId xmlns:a16="http://schemas.microsoft.com/office/drawing/2014/main" id="{72A993EF-A2AC-3EE8-F939-120993FCCB7E}"/>
                </a:ext>
              </a:extLst>
            </p:cNvPr>
            <p:cNvSpPr/>
            <p:nvPr userDrawn="1"/>
          </p:nvSpPr>
          <p:spPr bwMode="gray">
            <a:xfrm>
              <a:off x="780619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3" name="Rechteck 722">
              <a:extLst>
                <a:ext uri="{FF2B5EF4-FFF2-40B4-BE49-F238E27FC236}">
                  <a16:creationId xmlns:a16="http://schemas.microsoft.com/office/drawing/2014/main" id="{165C2892-0F6B-3AE2-3948-23409316D3B8}"/>
                </a:ext>
              </a:extLst>
            </p:cNvPr>
            <p:cNvSpPr/>
            <p:nvPr userDrawn="1"/>
          </p:nvSpPr>
          <p:spPr bwMode="gray">
            <a:xfrm>
              <a:off x="723012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4" name="Rechteck 723">
              <a:extLst>
                <a:ext uri="{FF2B5EF4-FFF2-40B4-BE49-F238E27FC236}">
                  <a16:creationId xmlns:a16="http://schemas.microsoft.com/office/drawing/2014/main" id="{39DEFB63-CF59-AF4C-9C36-8A9822550E86}"/>
                </a:ext>
              </a:extLst>
            </p:cNvPr>
            <p:cNvSpPr/>
            <p:nvPr userDrawn="1"/>
          </p:nvSpPr>
          <p:spPr bwMode="gray">
            <a:xfrm>
              <a:off x="665406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5" name="Rechteck 724">
              <a:extLst>
                <a:ext uri="{FF2B5EF4-FFF2-40B4-BE49-F238E27FC236}">
                  <a16:creationId xmlns:a16="http://schemas.microsoft.com/office/drawing/2014/main" id="{A4230A2A-34EC-C162-1611-2A7E1A04B1E5}"/>
                </a:ext>
              </a:extLst>
            </p:cNvPr>
            <p:cNvSpPr/>
            <p:nvPr userDrawn="1"/>
          </p:nvSpPr>
          <p:spPr bwMode="gray">
            <a:xfrm>
              <a:off x="607800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6" name="Rechteck 725">
              <a:extLst>
                <a:ext uri="{FF2B5EF4-FFF2-40B4-BE49-F238E27FC236}">
                  <a16:creationId xmlns:a16="http://schemas.microsoft.com/office/drawing/2014/main" id="{8EEFC442-086F-E77E-1902-A5711EDC831D}"/>
                </a:ext>
              </a:extLst>
            </p:cNvPr>
            <p:cNvSpPr/>
            <p:nvPr userDrawn="1"/>
          </p:nvSpPr>
          <p:spPr bwMode="gray">
            <a:xfrm>
              <a:off x="550193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7" name="Rechteck 726">
              <a:extLst>
                <a:ext uri="{FF2B5EF4-FFF2-40B4-BE49-F238E27FC236}">
                  <a16:creationId xmlns:a16="http://schemas.microsoft.com/office/drawing/2014/main" id="{73E0A429-4251-85D1-CA75-8A76BF1AC0A4}"/>
                </a:ext>
              </a:extLst>
            </p:cNvPr>
            <p:cNvSpPr/>
            <p:nvPr userDrawn="1"/>
          </p:nvSpPr>
          <p:spPr bwMode="gray">
            <a:xfrm>
              <a:off x="492587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8" name="Rechteck 727">
              <a:extLst>
                <a:ext uri="{FF2B5EF4-FFF2-40B4-BE49-F238E27FC236}">
                  <a16:creationId xmlns:a16="http://schemas.microsoft.com/office/drawing/2014/main" id="{9FAE570A-F1A1-5B14-BC89-3A730CD8FFD3}"/>
                </a:ext>
              </a:extLst>
            </p:cNvPr>
            <p:cNvSpPr/>
            <p:nvPr userDrawn="1"/>
          </p:nvSpPr>
          <p:spPr bwMode="gray">
            <a:xfrm>
              <a:off x="434980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29" name="Rechteck 728">
              <a:extLst>
                <a:ext uri="{FF2B5EF4-FFF2-40B4-BE49-F238E27FC236}">
                  <a16:creationId xmlns:a16="http://schemas.microsoft.com/office/drawing/2014/main" id="{E233D119-2E4E-83C8-5A53-BC982F3A3B56}"/>
                </a:ext>
              </a:extLst>
            </p:cNvPr>
            <p:cNvSpPr/>
            <p:nvPr userDrawn="1"/>
          </p:nvSpPr>
          <p:spPr bwMode="gray">
            <a:xfrm>
              <a:off x="377374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0" name="Rechteck 729">
              <a:extLst>
                <a:ext uri="{FF2B5EF4-FFF2-40B4-BE49-F238E27FC236}">
                  <a16:creationId xmlns:a16="http://schemas.microsoft.com/office/drawing/2014/main" id="{B2D8DF3F-40B0-A1C7-4F97-0CE4A404494D}"/>
                </a:ext>
              </a:extLst>
            </p:cNvPr>
            <p:cNvSpPr/>
            <p:nvPr userDrawn="1"/>
          </p:nvSpPr>
          <p:spPr bwMode="gray">
            <a:xfrm>
              <a:off x="319768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1" name="Rechteck 730">
              <a:extLst>
                <a:ext uri="{FF2B5EF4-FFF2-40B4-BE49-F238E27FC236}">
                  <a16:creationId xmlns:a16="http://schemas.microsoft.com/office/drawing/2014/main" id="{3671D9CC-DC0F-A472-4F6B-FE356FFF1E8E}"/>
                </a:ext>
              </a:extLst>
            </p:cNvPr>
            <p:cNvSpPr/>
            <p:nvPr userDrawn="1"/>
          </p:nvSpPr>
          <p:spPr bwMode="gray">
            <a:xfrm>
              <a:off x="2621616"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2" name="Rechteck 731">
              <a:extLst>
                <a:ext uri="{FF2B5EF4-FFF2-40B4-BE49-F238E27FC236}">
                  <a16:creationId xmlns:a16="http://schemas.microsoft.com/office/drawing/2014/main" id="{D4A692C8-1CD7-86CE-AC8B-6D536068FCCD}"/>
                </a:ext>
              </a:extLst>
            </p:cNvPr>
            <p:cNvSpPr/>
            <p:nvPr userDrawn="1"/>
          </p:nvSpPr>
          <p:spPr bwMode="gray">
            <a:xfrm>
              <a:off x="2045552"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3" name="Rechteck 732">
              <a:extLst>
                <a:ext uri="{FF2B5EF4-FFF2-40B4-BE49-F238E27FC236}">
                  <a16:creationId xmlns:a16="http://schemas.microsoft.com/office/drawing/2014/main" id="{B4C626CF-A716-96A1-6692-8DC04E238592}"/>
                </a:ext>
              </a:extLst>
            </p:cNvPr>
            <p:cNvSpPr/>
            <p:nvPr userDrawn="1"/>
          </p:nvSpPr>
          <p:spPr bwMode="gray">
            <a:xfrm>
              <a:off x="1469488"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4" name="Rechteck 733">
              <a:extLst>
                <a:ext uri="{FF2B5EF4-FFF2-40B4-BE49-F238E27FC236}">
                  <a16:creationId xmlns:a16="http://schemas.microsoft.com/office/drawing/2014/main" id="{DFEDBD2C-B798-780B-44A2-75A0AACE0C22}"/>
                </a:ext>
              </a:extLst>
            </p:cNvPr>
            <p:cNvSpPr/>
            <p:nvPr userDrawn="1"/>
          </p:nvSpPr>
          <p:spPr bwMode="gray">
            <a:xfrm>
              <a:off x="893424"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5" name="Rechteck 734">
              <a:extLst>
                <a:ext uri="{FF2B5EF4-FFF2-40B4-BE49-F238E27FC236}">
                  <a16:creationId xmlns:a16="http://schemas.microsoft.com/office/drawing/2014/main" id="{1E03CC3E-BA37-4461-3E8B-F7F9787AF6AA}"/>
                </a:ext>
              </a:extLst>
            </p:cNvPr>
            <p:cNvSpPr/>
            <p:nvPr userDrawn="1"/>
          </p:nvSpPr>
          <p:spPr bwMode="gray">
            <a:xfrm>
              <a:off x="31736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6" name="Rechteck 735">
              <a:extLst>
                <a:ext uri="{FF2B5EF4-FFF2-40B4-BE49-F238E27FC236}">
                  <a16:creationId xmlns:a16="http://schemas.microsoft.com/office/drawing/2014/main" id="{BC24A0A2-A451-E230-8DCC-11E55B014583}"/>
                </a:ext>
              </a:extLst>
            </p:cNvPr>
            <p:cNvSpPr/>
            <p:nvPr userDrawn="1"/>
          </p:nvSpPr>
          <p:spPr bwMode="gray">
            <a:xfrm>
              <a:off x="1126257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7" name="Rechteck 736">
              <a:extLst>
                <a:ext uri="{FF2B5EF4-FFF2-40B4-BE49-F238E27FC236}">
                  <a16:creationId xmlns:a16="http://schemas.microsoft.com/office/drawing/2014/main" id="{2D11A192-F4D7-2345-B006-46E7056E6625}"/>
                </a:ext>
              </a:extLst>
            </p:cNvPr>
            <p:cNvSpPr/>
            <p:nvPr userDrawn="1"/>
          </p:nvSpPr>
          <p:spPr bwMode="gray">
            <a:xfrm>
              <a:off x="1068651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8" name="Rechteck 737">
              <a:extLst>
                <a:ext uri="{FF2B5EF4-FFF2-40B4-BE49-F238E27FC236}">
                  <a16:creationId xmlns:a16="http://schemas.microsoft.com/office/drawing/2014/main" id="{ECE30256-7F40-282F-DC66-9D9E8C536A69}"/>
                </a:ext>
              </a:extLst>
            </p:cNvPr>
            <p:cNvSpPr/>
            <p:nvPr userDrawn="1"/>
          </p:nvSpPr>
          <p:spPr bwMode="gray">
            <a:xfrm>
              <a:off x="1011044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39" name="Rechteck 738">
              <a:extLst>
                <a:ext uri="{FF2B5EF4-FFF2-40B4-BE49-F238E27FC236}">
                  <a16:creationId xmlns:a16="http://schemas.microsoft.com/office/drawing/2014/main" id="{9BE795B8-843E-5F67-BB58-DACC78CACB6A}"/>
                </a:ext>
              </a:extLst>
            </p:cNvPr>
            <p:cNvSpPr/>
            <p:nvPr userDrawn="1"/>
          </p:nvSpPr>
          <p:spPr bwMode="gray">
            <a:xfrm>
              <a:off x="953438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0" name="Rechteck 739">
              <a:extLst>
                <a:ext uri="{FF2B5EF4-FFF2-40B4-BE49-F238E27FC236}">
                  <a16:creationId xmlns:a16="http://schemas.microsoft.com/office/drawing/2014/main" id="{0E31861E-611B-FDDB-ABDF-CCE9040677B2}"/>
                </a:ext>
              </a:extLst>
            </p:cNvPr>
            <p:cNvSpPr/>
            <p:nvPr userDrawn="1"/>
          </p:nvSpPr>
          <p:spPr bwMode="gray">
            <a:xfrm>
              <a:off x="895832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1" name="Rechteck 740">
              <a:extLst>
                <a:ext uri="{FF2B5EF4-FFF2-40B4-BE49-F238E27FC236}">
                  <a16:creationId xmlns:a16="http://schemas.microsoft.com/office/drawing/2014/main" id="{11911541-CA40-58EE-E3FD-E0003C9EC362}"/>
                </a:ext>
              </a:extLst>
            </p:cNvPr>
            <p:cNvSpPr/>
            <p:nvPr userDrawn="1"/>
          </p:nvSpPr>
          <p:spPr bwMode="gray">
            <a:xfrm>
              <a:off x="838225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2" name="Rechteck 741">
              <a:extLst>
                <a:ext uri="{FF2B5EF4-FFF2-40B4-BE49-F238E27FC236}">
                  <a16:creationId xmlns:a16="http://schemas.microsoft.com/office/drawing/2014/main" id="{6C68FACD-4D89-1CC6-8DB0-502955405AC6}"/>
                </a:ext>
              </a:extLst>
            </p:cNvPr>
            <p:cNvSpPr/>
            <p:nvPr userDrawn="1"/>
          </p:nvSpPr>
          <p:spPr bwMode="gray">
            <a:xfrm>
              <a:off x="780619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3" name="Rechteck 742">
              <a:extLst>
                <a:ext uri="{FF2B5EF4-FFF2-40B4-BE49-F238E27FC236}">
                  <a16:creationId xmlns:a16="http://schemas.microsoft.com/office/drawing/2014/main" id="{0876E247-FF6B-E150-62AD-7D3877DE48BD}"/>
                </a:ext>
              </a:extLst>
            </p:cNvPr>
            <p:cNvSpPr/>
            <p:nvPr userDrawn="1"/>
          </p:nvSpPr>
          <p:spPr bwMode="gray">
            <a:xfrm>
              <a:off x="723012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4" name="Rechteck 743">
              <a:extLst>
                <a:ext uri="{FF2B5EF4-FFF2-40B4-BE49-F238E27FC236}">
                  <a16:creationId xmlns:a16="http://schemas.microsoft.com/office/drawing/2014/main" id="{99CB9D68-DAD6-67E1-52CA-AB209C184A35}"/>
                </a:ext>
              </a:extLst>
            </p:cNvPr>
            <p:cNvSpPr/>
            <p:nvPr userDrawn="1"/>
          </p:nvSpPr>
          <p:spPr bwMode="gray">
            <a:xfrm>
              <a:off x="665406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5" name="Rechteck 744">
              <a:extLst>
                <a:ext uri="{FF2B5EF4-FFF2-40B4-BE49-F238E27FC236}">
                  <a16:creationId xmlns:a16="http://schemas.microsoft.com/office/drawing/2014/main" id="{36E0A7F2-5B00-E469-EE5C-F5D4C4274664}"/>
                </a:ext>
              </a:extLst>
            </p:cNvPr>
            <p:cNvSpPr/>
            <p:nvPr userDrawn="1"/>
          </p:nvSpPr>
          <p:spPr bwMode="gray">
            <a:xfrm>
              <a:off x="607800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6" name="Rechteck 745">
              <a:extLst>
                <a:ext uri="{FF2B5EF4-FFF2-40B4-BE49-F238E27FC236}">
                  <a16:creationId xmlns:a16="http://schemas.microsoft.com/office/drawing/2014/main" id="{2D2BED5B-5823-59ED-93C1-4EA0BB825407}"/>
                </a:ext>
              </a:extLst>
            </p:cNvPr>
            <p:cNvSpPr/>
            <p:nvPr userDrawn="1"/>
          </p:nvSpPr>
          <p:spPr bwMode="gray">
            <a:xfrm>
              <a:off x="550193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7" name="Rechteck 746">
              <a:extLst>
                <a:ext uri="{FF2B5EF4-FFF2-40B4-BE49-F238E27FC236}">
                  <a16:creationId xmlns:a16="http://schemas.microsoft.com/office/drawing/2014/main" id="{8E81C081-44F4-2D99-73E5-65759E0DEA9D}"/>
                </a:ext>
              </a:extLst>
            </p:cNvPr>
            <p:cNvSpPr/>
            <p:nvPr userDrawn="1"/>
          </p:nvSpPr>
          <p:spPr bwMode="gray">
            <a:xfrm>
              <a:off x="492587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8" name="Rechteck 747">
              <a:extLst>
                <a:ext uri="{FF2B5EF4-FFF2-40B4-BE49-F238E27FC236}">
                  <a16:creationId xmlns:a16="http://schemas.microsoft.com/office/drawing/2014/main" id="{8C42C0D8-A725-6A94-4FBE-9A52C9CE3776}"/>
                </a:ext>
              </a:extLst>
            </p:cNvPr>
            <p:cNvSpPr/>
            <p:nvPr userDrawn="1"/>
          </p:nvSpPr>
          <p:spPr bwMode="gray">
            <a:xfrm>
              <a:off x="434980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49" name="Rechteck 748">
              <a:extLst>
                <a:ext uri="{FF2B5EF4-FFF2-40B4-BE49-F238E27FC236}">
                  <a16:creationId xmlns:a16="http://schemas.microsoft.com/office/drawing/2014/main" id="{3A9FA064-B9CD-365F-BA34-410C773EB015}"/>
                </a:ext>
              </a:extLst>
            </p:cNvPr>
            <p:cNvSpPr/>
            <p:nvPr userDrawn="1"/>
          </p:nvSpPr>
          <p:spPr bwMode="gray">
            <a:xfrm>
              <a:off x="377374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0" name="Rechteck 749">
              <a:extLst>
                <a:ext uri="{FF2B5EF4-FFF2-40B4-BE49-F238E27FC236}">
                  <a16:creationId xmlns:a16="http://schemas.microsoft.com/office/drawing/2014/main" id="{43CD646A-AEC9-A657-5940-D58A2F6273B5}"/>
                </a:ext>
              </a:extLst>
            </p:cNvPr>
            <p:cNvSpPr/>
            <p:nvPr userDrawn="1"/>
          </p:nvSpPr>
          <p:spPr bwMode="gray">
            <a:xfrm>
              <a:off x="319768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1" name="Rechteck 750">
              <a:extLst>
                <a:ext uri="{FF2B5EF4-FFF2-40B4-BE49-F238E27FC236}">
                  <a16:creationId xmlns:a16="http://schemas.microsoft.com/office/drawing/2014/main" id="{17F2BA8A-1165-C0B2-11D6-7ECED13EDE39}"/>
                </a:ext>
              </a:extLst>
            </p:cNvPr>
            <p:cNvSpPr/>
            <p:nvPr userDrawn="1"/>
          </p:nvSpPr>
          <p:spPr bwMode="gray">
            <a:xfrm>
              <a:off x="2621616"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2" name="Rechteck 751">
              <a:extLst>
                <a:ext uri="{FF2B5EF4-FFF2-40B4-BE49-F238E27FC236}">
                  <a16:creationId xmlns:a16="http://schemas.microsoft.com/office/drawing/2014/main" id="{8DB1110D-E41B-C74C-950E-E35AF1D9A2E0}"/>
                </a:ext>
              </a:extLst>
            </p:cNvPr>
            <p:cNvSpPr/>
            <p:nvPr userDrawn="1"/>
          </p:nvSpPr>
          <p:spPr bwMode="gray">
            <a:xfrm>
              <a:off x="2045552"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3" name="Rechteck 752">
              <a:extLst>
                <a:ext uri="{FF2B5EF4-FFF2-40B4-BE49-F238E27FC236}">
                  <a16:creationId xmlns:a16="http://schemas.microsoft.com/office/drawing/2014/main" id="{2CCEE49E-9E2A-8E5F-2234-30B5AF34B91E}"/>
                </a:ext>
              </a:extLst>
            </p:cNvPr>
            <p:cNvSpPr/>
            <p:nvPr userDrawn="1"/>
          </p:nvSpPr>
          <p:spPr bwMode="gray">
            <a:xfrm>
              <a:off x="1469488"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4" name="Rechteck 753">
              <a:extLst>
                <a:ext uri="{FF2B5EF4-FFF2-40B4-BE49-F238E27FC236}">
                  <a16:creationId xmlns:a16="http://schemas.microsoft.com/office/drawing/2014/main" id="{3812999F-AE69-247B-D211-B7B1957EA4E3}"/>
                </a:ext>
              </a:extLst>
            </p:cNvPr>
            <p:cNvSpPr/>
            <p:nvPr userDrawn="1"/>
          </p:nvSpPr>
          <p:spPr bwMode="gray">
            <a:xfrm>
              <a:off x="893424"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5" name="Rechteck 754">
              <a:extLst>
                <a:ext uri="{FF2B5EF4-FFF2-40B4-BE49-F238E27FC236}">
                  <a16:creationId xmlns:a16="http://schemas.microsoft.com/office/drawing/2014/main" id="{6C4821A3-DC2D-8228-DAFB-698D2206BC81}"/>
                </a:ext>
              </a:extLst>
            </p:cNvPr>
            <p:cNvSpPr/>
            <p:nvPr userDrawn="1"/>
          </p:nvSpPr>
          <p:spPr bwMode="gray">
            <a:xfrm>
              <a:off x="31736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6" name="Rechteck 755">
              <a:extLst>
                <a:ext uri="{FF2B5EF4-FFF2-40B4-BE49-F238E27FC236}">
                  <a16:creationId xmlns:a16="http://schemas.microsoft.com/office/drawing/2014/main" id="{A2FEE517-7285-E39F-9299-1E8F537E5161}"/>
                </a:ext>
              </a:extLst>
            </p:cNvPr>
            <p:cNvSpPr/>
            <p:nvPr userDrawn="1"/>
          </p:nvSpPr>
          <p:spPr bwMode="gray">
            <a:xfrm>
              <a:off x="1126257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7" name="Rechteck 756">
              <a:extLst>
                <a:ext uri="{FF2B5EF4-FFF2-40B4-BE49-F238E27FC236}">
                  <a16:creationId xmlns:a16="http://schemas.microsoft.com/office/drawing/2014/main" id="{5AB8A4EE-264B-DD2F-7377-892DA7A2B041}"/>
                </a:ext>
              </a:extLst>
            </p:cNvPr>
            <p:cNvSpPr/>
            <p:nvPr userDrawn="1"/>
          </p:nvSpPr>
          <p:spPr bwMode="gray">
            <a:xfrm>
              <a:off x="1068651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8" name="Rechteck 757">
              <a:extLst>
                <a:ext uri="{FF2B5EF4-FFF2-40B4-BE49-F238E27FC236}">
                  <a16:creationId xmlns:a16="http://schemas.microsoft.com/office/drawing/2014/main" id="{63A1524B-8768-7C35-01F8-A1D351975B1E}"/>
                </a:ext>
              </a:extLst>
            </p:cNvPr>
            <p:cNvSpPr/>
            <p:nvPr userDrawn="1"/>
          </p:nvSpPr>
          <p:spPr bwMode="gray">
            <a:xfrm>
              <a:off x="1011044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59" name="Rechteck 758">
              <a:extLst>
                <a:ext uri="{FF2B5EF4-FFF2-40B4-BE49-F238E27FC236}">
                  <a16:creationId xmlns:a16="http://schemas.microsoft.com/office/drawing/2014/main" id="{34007513-C466-FA34-D1D0-C71E508FF16B}"/>
                </a:ext>
              </a:extLst>
            </p:cNvPr>
            <p:cNvSpPr/>
            <p:nvPr userDrawn="1"/>
          </p:nvSpPr>
          <p:spPr bwMode="gray">
            <a:xfrm>
              <a:off x="953438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0" name="Rechteck 759">
              <a:extLst>
                <a:ext uri="{FF2B5EF4-FFF2-40B4-BE49-F238E27FC236}">
                  <a16:creationId xmlns:a16="http://schemas.microsoft.com/office/drawing/2014/main" id="{6E5315B8-A7AA-0596-A3EF-0859761C87E7}"/>
                </a:ext>
              </a:extLst>
            </p:cNvPr>
            <p:cNvSpPr/>
            <p:nvPr userDrawn="1"/>
          </p:nvSpPr>
          <p:spPr bwMode="gray">
            <a:xfrm>
              <a:off x="895832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1" name="Rechteck 760">
              <a:extLst>
                <a:ext uri="{FF2B5EF4-FFF2-40B4-BE49-F238E27FC236}">
                  <a16:creationId xmlns:a16="http://schemas.microsoft.com/office/drawing/2014/main" id="{7E019C33-5388-14DB-3481-84303A085A04}"/>
                </a:ext>
              </a:extLst>
            </p:cNvPr>
            <p:cNvSpPr/>
            <p:nvPr userDrawn="1"/>
          </p:nvSpPr>
          <p:spPr bwMode="gray">
            <a:xfrm>
              <a:off x="838225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2" name="Rechteck 761">
              <a:extLst>
                <a:ext uri="{FF2B5EF4-FFF2-40B4-BE49-F238E27FC236}">
                  <a16:creationId xmlns:a16="http://schemas.microsoft.com/office/drawing/2014/main" id="{2E4F25FB-350B-187C-5E24-329504A8340E}"/>
                </a:ext>
              </a:extLst>
            </p:cNvPr>
            <p:cNvSpPr/>
            <p:nvPr userDrawn="1"/>
          </p:nvSpPr>
          <p:spPr bwMode="gray">
            <a:xfrm>
              <a:off x="780619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3" name="Rechteck 762">
              <a:extLst>
                <a:ext uri="{FF2B5EF4-FFF2-40B4-BE49-F238E27FC236}">
                  <a16:creationId xmlns:a16="http://schemas.microsoft.com/office/drawing/2014/main" id="{7EB50DFF-96AB-F05F-9C03-45A1ACF0C672}"/>
                </a:ext>
              </a:extLst>
            </p:cNvPr>
            <p:cNvSpPr/>
            <p:nvPr userDrawn="1"/>
          </p:nvSpPr>
          <p:spPr bwMode="gray">
            <a:xfrm>
              <a:off x="723012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4" name="Rechteck 763">
              <a:extLst>
                <a:ext uri="{FF2B5EF4-FFF2-40B4-BE49-F238E27FC236}">
                  <a16:creationId xmlns:a16="http://schemas.microsoft.com/office/drawing/2014/main" id="{6AF9740A-7E91-8EF5-AC28-81711A842262}"/>
                </a:ext>
              </a:extLst>
            </p:cNvPr>
            <p:cNvSpPr/>
            <p:nvPr userDrawn="1"/>
          </p:nvSpPr>
          <p:spPr bwMode="gray">
            <a:xfrm>
              <a:off x="665406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5" name="Rechteck 764">
              <a:extLst>
                <a:ext uri="{FF2B5EF4-FFF2-40B4-BE49-F238E27FC236}">
                  <a16:creationId xmlns:a16="http://schemas.microsoft.com/office/drawing/2014/main" id="{024022CE-1308-043C-830A-14A963938D09}"/>
                </a:ext>
              </a:extLst>
            </p:cNvPr>
            <p:cNvSpPr/>
            <p:nvPr userDrawn="1"/>
          </p:nvSpPr>
          <p:spPr bwMode="gray">
            <a:xfrm>
              <a:off x="607800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6" name="Rechteck 765">
              <a:extLst>
                <a:ext uri="{FF2B5EF4-FFF2-40B4-BE49-F238E27FC236}">
                  <a16:creationId xmlns:a16="http://schemas.microsoft.com/office/drawing/2014/main" id="{12938792-DA5D-C163-320A-4385A1D4EC12}"/>
                </a:ext>
              </a:extLst>
            </p:cNvPr>
            <p:cNvSpPr/>
            <p:nvPr userDrawn="1"/>
          </p:nvSpPr>
          <p:spPr bwMode="gray">
            <a:xfrm>
              <a:off x="550193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7" name="Rechteck 766">
              <a:extLst>
                <a:ext uri="{FF2B5EF4-FFF2-40B4-BE49-F238E27FC236}">
                  <a16:creationId xmlns:a16="http://schemas.microsoft.com/office/drawing/2014/main" id="{B39D2965-A34C-9AC2-C0E5-8A373BF0A434}"/>
                </a:ext>
              </a:extLst>
            </p:cNvPr>
            <p:cNvSpPr/>
            <p:nvPr userDrawn="1"/>
          </p:nvSpPr>
          <p:spPr bwMode="gray">
            <a:xfrm>
              <a:off x="492587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8" name="Rechteck 767">
              <a:extLst>
                <a:ext uri="{FF2B5EF4-FFF2-40B4-BE49-F238E27FC236}">
                  <a16:creationId xmlns:a16="http://schemas.microsoft.com/office/drawing/2014/main" id="{EDB28DC5-71F8-2C60-6D9F-3CD3902B280F}"/>
                </a:ext>
              </a:extLst>
            </p:cNvPr>
            <p:cNvSpPr/>
            <p:nvPr userDrawn="1"/>
          </p:nvSpPr>
          <p:spPr bwMode="gray">
            <a:xfrm>
              <a:off x="434980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69" name="Rechteck 768">
              <a:extLst>
                <a:ext uri="{FF2B5EF4-FFF2-40B4-BE49-F238E27FC236}">
                  <a16:creationId xmlns:a16="http://schemas.microsoft.com/office/drawing/2014/main" id="{654804C1-7155-2EA0-4A0E-2071B13E85A2}"/>
                </a:ext>
              </a:extLst>
            </p:cNvPr>
            <p:cNvSpPr/>
            <p:nvPr userDrawn="1"/>
          </p:nvSpPr>
          <p:spPr bwMode="gray">
            <a:xfrm>
              <a:off x="377374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0" name="Rechteck 769">
              <a:extLst>
                <a:ext uri="{FF2B5EF4-FFF2-40B4-BE49-F238E27FC236}">
                  <a16:creationId xmlns:a16="http://schemas.microsoft.com/office/drawing/2014/main" id="{63A678C1-91FC-94D9-9C0D-0B4E7B684D46}"/>
                </a:ext>
              </a:extLst>
            </p:cNvPr>
            <p:cNvSpPr/>
            <p:nvPr userDrawn="1"/>
          </p:nvSpPr>
          <p:spPr bwMode="gray">
            <a:xfrm>
              <a:off x="319768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1" name="Rechteck 770">
              <a:extLst>
                <a:ext uri="{FF2B5EF4-FFF2-40B4-BE49-F238E27FC236}">
                  <a16:creationId xmlns:a16="http://schemas.microsoft.com/office/drawing/2014/main" id="{D2C8BA6C-BC16-9685-DC6F-8452DDA2D8F0}"/>
                </a:ext>
              </a:extLst>
            </p:cNvPr>
            <p:cNvSpPr/>
            <p:nvPr userDrawn="1"/>
          </p:nvSpPr>
          <p:spPr bwMode="gray">
            <a:xfrm>
              <a:off x="2621616"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2" name="Rechteck 771">
              <a:extLst>
                <a:ext uri="{FF2B5EF4-FFF2-40B4-BE49-F238E27FC236}">
                  <a16:creationId xmlns:a16="http://schemas.microsoft.com/office/drawing/2014/main" id="{1014DD1C-DFA7-1BE8-EF2A-6AE6C6D5CD8A}"/>
                </a:ext>
              </a:extLst>
            </p:cNvPr>
            <p:cNvSpPr/>
            <p:nvPr userDrawn="1"/>
          </p:nvSpPr>
          <p:spPr bwMode="gray">
            <a:xfrm>
              <a:off x="2045552"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3" name="Rechteck 772">
              <a:extLst>
                <a:ext uri="{FF2B5EF4-FFF2-40B4-BE49-F238E27FC236}">
                  <a16:creationId xmlns:a16="http://schemas.microsoft.com/office/drawing/2014/main" id="{30B7275F-E722-01F1-BA49-47DDAF2976F7}"/>
                </a:ext>
              </a:extLst>
            </p:cNvPr>
            <p:cNvSpPr/>
            <p:nvPr userDrawn="1"/>
          </p:nvSpPr>
          <p:spPr bwMode="gray">
            <a:xfrm>
              <a:off x="1469488"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4" name="Rechteck 773">
              <a:extLst>
                <a:ext uri="{FF2B5EF4-FFF2-40B4-BE49-F238E27FC236}">
                  <a16:creationId xmlns:a16="http://schemas.microsoft.com/office/drawing/2014/main" id="{3EF33796-3647-819C-D063-9613D7A04CBB}"/>
                </a:ext>
              </a:extLst>
            </p:cNvPr>
            <p:cNvSpPr/>
            <p:nvPr userDrawn="1"/>
          </p:nvSpPr>
          <p:spPr bwMode="gray">
            <a:xfrm>
              <a:off x="893424"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5" name="Rechteck 774">
              <a:extLst>
                <a:ext uri="{FF2B5EF4-FFF2-40B4-BE49-F238E27FC236}">
                  <a16:creationId xmlns:a16="http://schemas.microsoft.com/office/drawing/2014/main" id="{F0C30081-640E-D634-4A76-278D49513771}"/>
                </a:ext>
              </a:extLst>
            </p:cNvPr>
            <p:cNvSpPr/>
            <p:nvPr userDrawn="1"/>
          </p:nvSpPr>
          <p:spPr bwMode="gray">
            <a:xfrm>
              <a:off x="31736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6" name="Rechteck 775">
              <a:extLst>
                <a:ext uri="{FF2B5EF4-FFF2-40B4-BE49-F238E27FC236}">
                  <a16:creationId xmlns:a16="http://schemas.microsoft.com/office/drawing/2014/main" id="{D2176598-5C05-2974-42F3-5085ACBFFE94}"/>
                </a:ext>
              </a:extLst>
            </p:cNvPr>
            <p:cNvSpPr/>
            <p:nvPr userDrawn="1"/>
          </p:nvSpPr>
          <p:spPr bwMode="gray">
            <a:xfrm>
              <a:off x="11838640" y="148478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7" name="Rechteck 776">
              <a:extLst>
                <a:ext uri="{FF2B5EF4-FFF2-40B4-BE49-F238E27FC236}">
                  <a16:creationId xmlns:a16="http://schemas.microsoft.com/office/drawing/2014/main" id="{8F868BA6-58A1-8847-FFAB-2C494216CB5E}"/>
                </a:ext>
              </a:extLst>
            </p:cNvPr>
            <p:cNvSpPr/>
            <p:nvPr userDrawn="1"/>
          </p:nvSpPr>
          <p:spPr bwMode="gray">
            <a:xfrm>
              <a:off x="11838640" y="206084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8" name="Rechteck 777">
              <a:extLst>
                <a:ext uri="{FF2B5EF4-FFF2-40B4-BE49-F238E27FC236}">
                  <a16:creationId xmlns:a16="http://schemas.microsoft.com/office/drawing/2014/main" id="{3BE13758-1238-586C-AF47-6A5313AD6F07}"/>
                </a:ext>
              </a:extLst>
            </p:cNvPr>
            <p:cNvSpPr/>
            <p:nvPr userDrawn="1"/>
          </p:nvSpPr>
          <p:spPr bwMode="gray">
            <a:xfrm>
              <a:off x="11838640" y="263691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79" name="Rechteck 778">
              <a:extLst>
                <a:ext uri="{FF2B5EF4-FFF2-40B4-BE49-F238E27FC236}">
                  <a16:creationId xmlns:a16="http://schemas.microsoft.com/office/drawing/2014/main" id="{E36CEDE1-FF9A-E850-B09F-860528FD8766}"/>
                </a:ext>
              </a:extLst>
            </p:cNvPr>
            <p:cNvSpPr/>
            <p:nvPr userDrawn="1"/>
          </p:nvSpPr>
          <p:spPr bwMode="gray">
            <a:xfrm>
              <a:off x="11838640" y="321297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0" name="Rechteck 779">
              <a:extLst>
                <a:ext uri="{FF2B5EF4-FFF2-40B4-BE49-F238E27FC236}">
                  <a16:creationId xmlns:a16="http://schemas.microsoft.com/office/drawing/2014/main" id="{1A04CC6C-5E7A-B15C-D856-5F3FBB17FEB4}"/>
                </a:ext>
              </a:extLst>
            </p:cNvPr>
            <p:cNvSpPr/>
            <p:nvPr userDrawn="1"/>
          </p:nvSpPr>
          <p:spPr bwMode="gray">
            <a:xfrm>
              <a:off x="11838640" y="3789040"/>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1" name="Rechteck 780">
              <a:extLst>
                <a:ext uri="{FF2B5EF4-FFF2-40B4-BE49-F238E27FC236}">
                  <a16:creationId xmlns:a16="http://schemas.microsoft.com/office/drawing/2014/main" id="{526F886C-CB0C-1A21-ADE1-88ADCCC4B91F}"/>
                </a:ext>
              </a:extLst>
            </p:cNvPr>
            <p:cNvSpPr/>
            <p:nvPr userDrawn="1"/>
          </p:nvSpPr>
          <p:spPr bwMode="gray">
            <a:xfrm>
              <a:off x="11838640" y="4365104"/>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2" name="Rechteck 781">
              <a:extLst>
                <a:ext uri="{FF2B5EF4-FFF2-40B4-BE49-F238E27FC236}">
                  <a16:creationId xmlns:a16="http://schemas.microsoft.com/office/drawing/2014/main" id="{5B9B50AC-91AA-E7E6-37A1-6770C4E3A836}"/>
                </a:ext>
              </a:extLst>
            </p:cNvPr>
            <p:cNvSpPr/>
            <p:nvPr userDrawn="1"/>
          </p:nvSpPr>
          <p:spPr bwMode="gray">
            <a:xfrm>
              <a:off x="11838640" y="4941168"/>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3" name="Rechteck 782">
              <a:extLst>
                <a:ext uri="{FF2B5EF4-FFF2-40B4-BE49-F238E27FC236}">
                  <a16:creationId xmlns:a16="http://schemas.microsoft.com/office/drawing/2014/main" id="{BC6AC35B-ACDD-6BB6-5ACB-0D013C58CDB6}"/>
                </a:ext>
              </a:extLst>
            </p:cNvPr>
            <p:cNvSpPr/>
            <p:nvPr userDrawn="1"/>
          </p:nvSpPr>
          <p:spPr bwMode="gray">
            <a:xfrm>
              <a:off x="11838640" y="5517232"/>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sp>
          <p:nvSpPr>
            <p:cNvPr id="784" name="Rechteck 783">
              <a:extLst>
                <a:ext uri="{FF2B5EF4-FFF2-40B4-BE49-F238E27FC236}">
                  <a16:creationId xmlns:a16="http://schemas.microsoft.com/office/drawing/2014/main" id="{99C8FF31-35C2-2AB2-64F0-C6677C14E007}"/>
                </a:ext>
              </a:extLst>
            </p:cNvPr>
            <p:cNvSpPr/>
            <p:nvPr userDrawn="1"/>
          </p:nvSpPr>
          <p:spPr bwMode="gray">
            <a:xfrm>
              <a:off x="11838640" y="6093296"/>
              <a:ext cx="18000" cy="18000"/>
            </a:xfrm>
            <a:prstGeom prst="rect">
              <a:avLst/>
            </a:prstGeom>
            <a:solidFill>
              <a:srgbClr val="9FA7AD"/>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GB" sz="1600" dirty="0"/>
            </a:p>
          </p:txBody>
        </p:sp>
      </p:grpSp>
      <p:pic>
        <p:nvPicPr>
          <p:cNvPr id="391" name="Logo">
            <a:extLst>
              <a:ext uri="{FF2B5EF4-FFF2-40B4-BE49-F238E27FC236}">
                <a16:creationId xmlns:a16="http://schemas.microsoft.com/office/drawing/2014/main" id="{D8FEE713-70E1-73EC-EB6B-2FDFAE574248}"/>
              </a:ext>
              <a:ext uri="{C183D7F6-B498-43B3-948B-1728B52AA6E4}">
                <adec:decorative xmlns:adec="http://schemas.microsoft.com/office/drawing/2017/decorative" val="1"/>
              </a:ext>
            </a:extLst>
          </p:cNvPr>
          <p:cNvPicPr>
            <a:picLocks noChangeAspect="1"/>
          </p:cNvPicPr>
          <p:nvPr userDrawn="1"/>
        </p:nvPicPr>
        <p:blipFill>
          <a:blip r:embed="rId5"/>
          <a:stretch>
            <a:fillRect/>
          </a:stretch>
        </p:blipFill>
        <p:spPr bwMode="gray">
          <a:xfrm>
            <a:off x="10128448" y="335757"/>
            <a:ext cx="1358180" cy="576000"/>
          </a:xfrm>
          <a:prstGeom prst="rect">
            <a:avLst/>
          </a:prstGeom>
        </p:spPr>
      </p:pic>
      <p:grpSp>
        <p:nvGrpSpPr>
          <p:cNvPr id="392" name="Gruppieren 391">
            <a:extLst>
              <a:ext uri="{FF2B5EF4-FFF2-40B4-BE49-F238E27FC236}">
                <a16:creationId xmlns:a16="http://schemas.microsoft.com/office/drawing/2014/main" id="{5B7F50F2-7C8C-DDC5-B6A7-54D39F7E90AA}"/>
              </a:ext>
              <a:ext uri="{C183D7F6-B498-43B3-948B-1728B52AA6E4}">
                <adec:decorative xmlns:adec="http://schemas.microsoft.com/office/drawing/2017/decorative" val="1"/>
              </a:ext>
            </a:extLst>
          </p:cNvPr>
          <p:cNvGrpSpPr/>
          <p:nvPr userDrawn="1"/>
        </p:nvGrpSpPr>
        <p:grpSpPr>
          <a:xfrm>
            <a:off x="838832" y="2082829"/>
            <a:ext cx="2448000" cy="0"/>
            <a:chOff x="983432" y="2082829"/>
            <a:chExt cx="2448000" cy="0"/>
          </a:xfrm>
        </p:grpSpPr>
        <p:cxnSp>
          <p:nvCxnSpPr>
            <p:cNvPr id="393" name="Line">
              <a:extLst>
                <a:ext uri="{FF2B5EF4-FFF2-40B4-BE49-F238E27FC236}">
                  <a16:creationId xmlns:a16="http://schemas.microsoft.com/office/drawing/2014/main" id="{8336875D-DCBC-B0C9-8BAC-7209E2C7DA78}"/>
                </a:ext>
                <a:ext uri="{C183D7F6-B498-43B3-948B-1728B52AA6E4}">
                  <adec:decorative xmlns:adec="http://schemas.microsoft.com/office/drawing/2017/decorative" val="1"/>
                </a:ext>
              </a:extLst>
            </p:cNvPr>
            <p:cNvCxnSpPr>
              <a:cxnSpLocks/>
            </p:cNvCxnSpPr>
            <p:nvPr userDrawn="1"/>
          </p:nvCxnSpPr>
          <p:spPr bwMode="gray">
            <a:xfrm>
              <a:off x="983432" y="2082829"/>
              <a:ext cx="2448000" cy="0"/>
            </a:xfrm>
            <a:prstGeom prst="line">
              <a:avLst/>
            </a:prstGeom>
            <a:ln w="1047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4" name="Line">
              <a:extLst>
                <a:ext uri="{FF2B5EF4-FFF2-40B4-BE49-F238E27FC236}">
                  <a16:creationId xmlns:a16="http://schemas.microsoft.com/office/drawing/2014/main" id="{C5B65A3C-D4A0-7D55-7C7B-1C159A9B0194}"/>
                </a:ext>
                <a:ext uri="{C183D7F6-B498-43B3-948B-1728B52AA6E4}">
                  <adec:decorative xmlns:adec="http://schemas.microsoft.com/office/drawing/2017/decorative" val="1"/>
                </a:ext>
              </a:extLst>
            </p:cNvPr>
            <p:cNvCxnSpPr>
              <a:cxnSpLocks/>
            </p:cNvCxnSpPr>
            <p:nvPr userDrawn="1"/>
          </p:nvCxnSpPr>
          <p:spPr bwMode="gray">
            <a:xfrm>
              <a:off x="1056000" y="2082829"/>
              <a:ext cx="2303696" cy="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400" name="Shape">
            <a:extLst>
              <a:ext uri="{FF2B5EF4-FFF2-40B4-BE49-F238E27FC236}">
                <a16:creationId xmlns:a16="http://schemas.microsoft.com/office/drawing/2014/main" id="{632B8A72-93DF-9461-E2C5-7C80BFADDB53}"/>
              </a:ext>
              <a:ext uri="{C183D7F6-B498-43B3-948B-1728B52AA6E4}">
                <adec:decorative xmlns:adec="http://schemas.microsoft.com/office/drawing/2017/decorative" val="1"/>
              </a:ext>
            </a:extLst>
          </p:cNvPr>
          <p:cNvSpPr>
            <a:spLocks/>
          </p:cNvSpPr>
          <p:nvPr userDrawn="1"/>
        </p:nvSpPr>
        <p:spPr bwMode="gray">
          <a:xfrm>
            <a:off x="4367808" y="2061400"/>
            <a:ext cx="5775177" cy="3463099"/>
          </a:xfrm>
          <a:custGeom>
            <a:avLst/>
            <a:gdLst>
              <a:gd name="connsiteX0" fmla="*/ 0 w 8604027"/>
              <a:gd name="connsiteY0" fmla="*/ 857 h 5734812"/>
              <a:gd name="connsiteX1" fmla="*/ 8604028 w 8604027"/>
              <a:gd name="connsiteY1" fmla="*/ 0 h 5734812"/>
              <a:gd name="connsiteX2" fmla="*/ 7170039 w 8604027"/>
              <a:gd name="connsiteY2" fmla="*/ 4301966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02506 w 8604029"/>
              <a:gd name="connsiteY2" fmla="*/ 3984076 h 5734812"/>
              <a:gd name="connsiteX3" fmla="*/ 0 w 8604029"/>
              <a:gd name="connsiteY3" fmla="*/ 5734812 h 5734812"/>
              <a:gd name="connsiteX4" fmla="*/ 0 w 8604029"/>
              <a:gd name="connsiteY4" fmla="*/ 857 h 5734812"/>
              <a:gd name="connsiteX0" fmla="*/ 0 w 8604027"/>
              <a:gd name="connsiteY0" fmla="*/ 857 h 5734812"/>
              <a:gd name="connsiteX1" fmla="*/ 8604028 w 8604027"/>
              <a:gd name="connsiteY1" fmla="*/ 0 h 5734812"/>
              <a:gd name="connsiteX2" fmla="*/ 7046854 w 8604027"/>
              <a:gd name="connsiteY2" fmla="*/ 4091749 h 5734812"/>
              <a:gd name="connsiteX3" fmla="*/ 0 w 8604027"/>
              <a:gd name="connsiteY3" fmla="*/ 5734812 h 5734812"/>
              <a:gd name="connsiteX4" fmla="*/ 0 w 8604027"/>
              <a:gd name="connsiteY4" fmla="*/ 857 h 5734812"/>
              <a:gd name="connsiteX0" fmla="*/ 0 w 8604029"/>
              <a:gd name="connsiteY0" fmla="*/ 857 h 5734812"/>
              <a:gd name="connsiteX1" fmla="*/ 8604028 w 8604029"/>
              <a:gd name="connsiteY1" fmla="*/ 0 h 5734812"/>
              <a:gd name="connsiteX2" fmla="*/ 7050550 w 8604029"/>
              <a:gd name="connsiteY2" fmla="*/ 4107130 h 5734812"/>
              <a:gd name="connsiteX3" fmla="*/ 0 w 8604029"/>
              <a:gd name="connsiteY3" fmla="*/ 5734812 h 5734812"/>
              <a:gd name="connsiteX4" fmla="*/ 0 w 8604029"/>
              <a:gd name="connsiteY4" fmla="*/ 857 h 5734812"/>
              <a:gd name="connsiteX0" fmla="*/ 0 w 8604028"/>
              <a:gd name="connsiteY0" fmla="*/ 857 h 5734812"/>
              <a:gd name="connsiteX1" fmla="*/ 8604028 w 8604028"/>
              <a:gd name="connsiteY1" fmla="*/ 0 h 5734812"/>
              <a:gd name="connsiteX2" fmla="*/ 6576335 w 8604028"/>
              <a:gd name="connsiteY2" fmla="*/ 3411651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98802 w 8604028"/>
              <a:gd name="connsiteY2" fmla="*/ 3812078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905914 w 8604028"/>
              <a:gd name="connsiteY2" fmla="*/ 3827884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70437 w 8604028"/>
              <a:gd name="connsiteY2" fmla="*/ 3745075 h 5734812"/>
              <a:gd name="connsiteX3" fmla="*/ 0 w 8604028"/>
              <a:gd name="connsiteY3" fmla="*/ 5734812 h 5734812"/>
              <a:gd name="connsiteX4" fmla="*/ 0 w 8604028"/>
              <a:gd name="connsiteY4" fmla="*/ 857 h 5734812"/>
              <a:gd name="connsiteX0" fmla="*/ 0 w 8604028"/>
              <a:gd name="connsiteY0" fmla="*/ 857 h 5734812"/>
              <a:gd name="connsiteX1" fmla="*/ 8604028 w 8604028"/>
              <a:gd name="connsiteY1" fmla="*/ 0 h 5734812"/>
              <a:gd name="connsiteX2" fmla="*/ 6884628 w 8604028"/>
              <a:gd name="connsiteY2" fmla="*/ 3827883 h 5734812"/>
              <a:gd name="connsiteX3" fmla="*/ 0 w 8604028"/>
              <a:gd name="connsiteY3" fmla="*/ 5734812 h 5734812"/>
              <a:gd name="connsiteX4" fmla="*/ 0 w 8604028"/>
              <a:gd name="connsiteY4" fmla="*/ 857 h 57348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04028" h="5734812">
                <a:moveTo>
                  <a:pt x="0" y="857"/>
                </a:moveTo>
                <a:lnTo>
                  <a:pt x="8604028" y="0"/>
                </a:lnTo>
                <a:lnTo>
                  <a:pt x="6884628" y="3827883"/>
                </a:lnTo>
                <a:lnTo>
                  <a:pt x="0" y="5734812"/>
                </a:lnTo>
                <a:lnTo>
                  <a:pt x="0" y="857"/>
                </a:lnTo>
                <a:close/>
              </a:path>
            </a:pathLst>
          </a:custGeom>
          <a:solidFill>
            <a:schemeClr val="bg1"/>
          </a:solidFill>
          <a:ln w="76200" cap="flat">
            <a:solidFill>
              <a:schemeClr val="bg1"/>
            </a:solidFill>
            <a:prstDash val="solid"/>
            <a:miter/>
          </a:ln>
        </p:spPr>
        <p:txBody>
          <a:bodyPr rtlCol="0" anchor="ctr"/>
          <a:lstStyle/>
          <a:p>
            <a:endParaRPr lang="en-GB" dirty="0"/>
          </a:p>
        </p:txBody>
      </p:sp>
      <p:sp>
        <p:nvSpPr>
          <p:cNvPr id="395" name="Title">
            <a:extLst>
              <a:ext uri="{FF2B5EF4-FFF2-40B4-BE49-F238E27FC236}">
                <a16:creationId xmlns:a16="http://schemas.microsoft.com/office/drawing/2014/main" id="{B34D1F30-6B3B-2F44-24BC-0516B7F64603}"/>
              </a:ext>
            </a:extLst>
          </p:cNvPr>
          <p:cNvSpPr>
            <a:spLocks noGrp="1"/>
          </p:cNvSpPr>
          <p:nvPr>
            <p:ph type="ctrTitle" hasCustomPrompt="1"/>
          </p:nvPr>
        </p:nvSpPr>
        <p:spPr bwMode="gray">
          <a:xfrm>
            <a:off x="695400" y="2565032"/>
            <a:ext cx="2952000" cy="1152000"/>
          </a:xfrm>
          <a:prstGeom prst="rect">
            <a:avLst/>
          </a:prstGeom>
          <a:solidFill>
            <a:schemeClr val="bg1"/>
          </a:solidFill>
          <a:ln w="127">
            <a:solidFill>
              <a:schemeClr val="bg1"/>
            </a:solidFill>
          </a:ln>
        </p:spPr>
        <p:txBody>
          <a:bodyPr vert="horz" lIns="216000" tIns="36000" rIns="216000" anchor="t">
            <a:noAutofit/>
          </a:bodyPr>
          <a:lstStyle>
            <a:lvl1pPr algn="l">
              <a:lnSpc>
                <a:spcPct val="90000"/>
              </a:lnSpc>
              <a:defRPr sz="2400"/>
            </a:lvl1pPr>
          </a:lstStyle>
          <a:p>
            <a:r>
              <a:rPr lang="en-GB" dirty="0"/>
              <a:t>Insert your long title here in max. three lines</a:t>
            </a:r>
          </a:p>
        </p:txBody>
      </p:sp>
      <p:sp>
        <p:nvSpPr>
          <p:cNvPr id="396" name="Subtitle 2">
            <a:extLst>
              <a:ext uri="{FF2B5EF4-FFF2-40B4-BE49-F238E27FC236}">
                <a16:creationId xmlns:a16="http://schemas.microsoft.com/office/drawing/2014/main" id="{EA7DFA36-4B5D-27C2-3144-4753A43661F7}"/>
              </a:ext>
            </a:extLst>
          </p:cNvPr>
          <p:cNvSpPr>
            <a:spLocks noGrp="1"/>
          </p:cNvSpPr>
          <p:nvPr>
            <p:ph type="subTitle" idx="1" hasCustomPrompt="1"/>
          </p:nvPr>
        </p:nvSpPr>
        <p:spPr bwMode="gray">
          <a:xfrm>
            <a:off x="695400" y="3717032"/>
            <a:ext cx="2952000" cy="1058353"/>
          </a:xfrm>
          <a:prstGeom prst="rect">
            <a:avLst/>
          </a:prstGeom>
          <a:solidFill>
            <a:schemeClr val="bg1"/>
          </a:solidFill>
          <a:ln w="127">
            <a:solidFill>
              <a:schemeClr val="bg1"/>
            </a:solidFill>
          </a:ln>
        </p:spPr>
        <p:txBody>
          <a:bodyPr lIns="216000" rIns="216000"/>
          <a:lstStyle>
            <a:lvl1pPr marL="0" indent="0" algn="l">
              <a:lnSpc>
                <a:spcPct val="100000"/>
              </a:lnSpc>
              <a:spcBef>
                <a:spcPts val="0"/>
              </a:spcBef>
              <a:buFont typeface="Arial" panose="020B0604020202020204" pitchFamily="34" charset="0"/>
              <a:buNone/>
              <a:defRPr sz="1600" b="0">
                <a:latin typeface="+mn-lt"/>
              </a:defRPr>
            </a:lvl1pPr>
            <a:lvl2pPr marL="0" indent="0" algn="l">
              <a:lnSpc>
                <a:spcPct val="100000"/>
              </a:lnSpc>
              <a:spcBef>
                <a:spcPts val="0"/>
              </a:spcBef>
              <a:buFont typeface="Arial" panose="020B0604020202020204" pitchFamily="34" charset="0"/>
              <a:buNone/>
              <a:defRPr sz="1600" b="0">
                <a:latin typeface="+mn-lt"/>
              </a:defRPr>
            </a:lvl2pPr>
            <a:lvl3pPr marL="0" indent="0" algn="l">
              <a:lnSpc>
                <a:spcPct val="100000"/>
              </a:lnSpc>
              <a:spcBef>
                <a:spcPts val="0"/>
              </a:spcBef>
              <a:buFont typeface="Arial" panose="020B0604020202020204" pitchFamily="34" charset="0"/>
              <a:buNone/>
              <a:defRPr sz="1600" b="0">
                <a:latin typeface="+mn-lt"/>
              </a:defRPr>
            </a:lvl3pPr>
            <a:lvl4pPr marL="0" indent="0" algn="l">
              <a:lnSpc>
                <a:spcPct val="100000"/>
              </a:lnSpc>
              <a:spcBef>
                <a:spcPts val="0"/>
              </a:spcBef>
              <a:buFont typeface="Arial" panose="020B0604020202020204" pitchFamily="34" charset="0"/>
              <a:buNone/>
              <a:defRPr sz="1600" b="0">
                <a:latin typeface="+mn-lt"/>
              </a:defRPr>
            </a:lvl4pPr>
            <a:lvl5pPr marL="0" indent="0" algn="l">
              <a:lnSpc>
                <a:spcPct val="100000"/>
              </a:lnSpc>
              <a:spcBef>
                <a:spcPts val="0"/>
              </a:spcBef>
              <a:buFont typeface="Arial" panose="020B0604020202020204" pitchFamily="34" charset="0"/>
              <a:buNone/>
              <a:defRPr sz="1600" b="0">
                <a:latin typeface="+mn-lt"/>
              </a:defRPr>
            </a:lvl5pPr>
            <a:lvl6pPr marL="0" indent="0" algn="l">
              <a:lnSpc>
                <a:spcPct val="100000"/>
              </a:lnSpc>
              <a:spcBef>
                <a:spcPts val="0"/>
              </a:spcBef>
              <a:buFont typeface="Arial" panose="020B0604020202020204" pitchFamily="34" charset="0"/>
              <a:buNone/>
              <a:defRPr sz="1600" b="0">
                <a:latin typeface="+mn-lt"/>
              </a:defRPr>
            </a:lvl6pPr>
            <a:lvl7pPr marL="0" indent="0" algn="l">
              <a:lnSpc>
                <a:spcPct val="100000"/>
              </a:lnSpc>
              <a:spcBef>
                <a:spcPts val="0"/>
              </a:spcBef>
              <a:buFont typeface="Arial" panose="020B0604020202020204" pitchFamily="34" charset="0"/>
              <a:buNone/>
              <a:defRPr sz="1600" b="0">
                <a:latin typeface="+mn-lt"/>
              </a:defRPr>
            </a:lvl7pPr>
            <a:lvl8pPr marL="0" indent="0" algn="l">
              <a:lnSpc>
                <a:spcPct val="100000"/>
              </a:lnSpc>
              <a:spcBef>
                <a:spcPts val="0"/>
              </a:spcBef>
              <a:buFont typeface="Arial" panose="020B0604020202020204" pitchFamily="34" charset="0"/>
              <a:buNone/>
              <a:defRPr sz="1600" b="0">
                <a:latin typeface="+mn-lt"/>
              </a:defRPr>
            </a:lvl8pPr>
            <a:lvl9pPr marL="0" indent="0" algn="l">
              <a:lnSpc>
                <a:spcPct val="100000"/>
              </a:lnSpc>
              <a:spcBef>
                <a:spcPts val="0"/>
              </a:spcBef>
              <a:buFont typeface="Arial" panose="020B0604020202020204" pitchFamily="34" charset="0"/>
              <a:buNone/>
              <a:defRPr sz="1600" b="0">
                <a:latin typeface="+mn-lt"/>
              </a:defRPr>
            </a:lvl9pPr>
          </a:lstStyle>
          <a:p>
            <a:r>
              <a:rPr lang="en-GB" dirty="0"/>
              <a:t>Insert here your subtitle</a:t>
            </a:r>
          </a:p>
        </p:txBody>
      </p:sp>
      <p:sp>
        <p:nvSpPr>
          <p:cNvPr id="397" name="Author">
            <a:extLst>
              <a:ext uri="{FF2B5EF4-FFF2-40B4-BE49-F238E27FC236}">
                <a16:creationId xmlns:a16="http://schemas.microsoft.com/office/drawing/2014/main" id="{FB7223E8-C662-E621-886F-AF217EA79B01}"/>
              </a:ext>
            </a:extLst>
          </p:cNvPr>
          <p:cNvSpPr>
            <a:spLocks noGrp="1"/>
          </p:cNvSpPr>
          <p:nvPr>
            <p:ph type="body" sz="quarter" idx="14" hasCustomPrompt="1"/>
          </p:nvPr>
        </p:nvSpPr>
        <p:spPr bwMode="gray">
          <a:xfrm>
            <a:off x="695400" y="4869160"/>
            <a:ext cx="2952000" cy="216000"/>
          </a:xfrm>
          <a:prstGeom prst="rect">
            <a:avLst/>
          </a:prstGeom>
          <a:solidFill>
            <a:schemeClr val="bg1"/>
          </a:solidFill>
          <a:ln w="127">
            <a:solidFill>
              <a:schemeClr val="bg1"/>
            </a:solidFill>
          </a:ln>
        </p:spPr>
        <p:txBody>
          <a:bodyPr wrap="square" lIns="216000" rIns="216000" anchor="b"/>
          <a:lstStyle>
            <a:lvl1pPr marL="0" indent="0" algn="l">
              <a:lnSpc>
                <a:spcPct val="100000"/>
              </a:lnSpc>
              <a:spcBef>
                <a:spcPts val="0"/>
              </a:spcBef>
              <a:buFont typeface="Arial" panose="020B0604020202020204" pitchFamily="34" charset="0"/>
              <a:buNone/>
              <a:defRPr sz="1200" b="0">
                <a:latin typeface="+mj-lt"/>
              </a:defRPr>
            </a:lvl1pPr>
            <a:lvl2pPr marL="0" indent="0" algn="l">
              <a:lnSpc>
                <a:spcPct val="100000"/>
              </a:lnSpc>
              <a:spcBef>
                <a:spcPts val="0"/>
              </a:spcBef>
              <a:buFont typeface="Arial" panose="020B0604020202020204" pitchFamily="34" charset="0"/>
              <a:buNone/>
              <a:defRPr sz="1200" b="0">
                <a:latin typeface="+mj-lt"/>
              </a:defRPr>
            </a:lvl2pPr>
            <a:lvl3pPr marL="0" indent="0" algn="l">
              <a:lnSpc>
                <a:spcPct val="100000"/>
              </a:lnSpc>
              <a:spcBef>
                <a:spcPts val="0"/>
              </a:spcBef>
              <a:buFont typeface="Arial" panose="020B0604020202020204" pitchFamily="34" charset="0"/>
              <a:buNone/>
              <a:defRPr sz="1200" b="0">
                <a:latin typeface="+mj-lt"/>
              </a:defRPr>
            </a:lvl3pPr>
            <a:lvl4pPr marL="0" indent="0" algn="l">
              <a:lnSpc>
                <a:spcPct val="100000"/>
              </a:lnSpc>
              <a:spcBef>
                <a:spcPts val="0"/>
              </a:spcBef>
              <a:buFont typeface="Arial" panose="020B0604020202020204" pitchFamily="34" charset="0"/>
              <a:buNone/>
              <a:defRPr sz="1200" b="0">
                <a:latin typeface="+mj-lt"/>
              </a:defRPr>
            </a:lvl4pPr>
            <a:lvl5pPr marL="0" indent="0" algn="l">
              <a:lnSpc>
                <a:spcPct val="100000"/>
              </a:lnSpc>
              <a:spcBef>
                <a:spcPts val="0"/>
              </a:spcBef>
              <a:buFont typeface="Arial" panose="020B0604020202020204" pitchFamily="34" charset="0"/>
              <a:buNone/>
              <a:defRPr sz="1200" b="0">
                <a:latin typeface="+mj-lt"/>
              </a:defRPr>
            </a:lvl5pPr>
            <a:lvl6pPr marL="0" indent="0" algn="l">
              <a:lnSpc>
                <a:spcPct val="100000"/>
              </a:lnSpc>
              <a:spcBef>
                <a:spcPts val="0"/>
              </a:spcBef>
              <a:buNone/>
              <a:defRPr sz="1200" b="0">
                <a:latin typeface="+mj-lt"/>
              </a:defRPr>
            </a:lvl6pPr>
            <a:lvl7pPr marL="0" indent="0" algn="l">
              <a:lnSpc>
                <a:spcPct val="100000"/>
              </a:lnSpc>
              <a:spcBef>
                <a:spcPts val="0"/>
              </a:spcBef>
              <a:buNone/>
              <a:defRPr sz="1200" b="0">
                <a:latin typeface="+mj-lt"/>
              </a:defRPr>
            </a:lvl7pPr>
            <a:lvl8pPr marL="0" indent="0" algn="l">
              <a:lnSpc>
                <a:spcPct val="100000"/>
              </a:lnSpc>
              <a:spcBef>
                <a:spcPts val="0"/>
              </a:spcBef>
              <a:buNone/>
              <a:defRPr sz="1200" b="0">
                <a:latin typeface="+mj-lt"/>
              </a:defRPr>
            </a:lvl8pPr>
            <a:lvl9pPr marL="0" indent="0" algn="l">
              <a:lnSpc>
                <a:spcPct val="100000"/>
              </a:lnSpc>
              <a:spcBef>
                <a:spcPts val="0"/>
              </a:spcBef>
              <a:buNone/>
              <a:defRPr sz="1200" b="0">
                <a:latin typeface="+mj-lt"/>
              </a:defRPr>
            </a:lvl9pPr>
          </a:lstStyle>
          <a:p>
            <a:pPr lvl="0"/>
            <a:r>
              <a:rPr lang="en-GB" dirty="0"/>
              <a:t>First name Last name</a:t>
            </a:r>
          </a:p>
        </p:txBody>
      </p:sp>
      <p:sp>
        <p:nvSpPr>
          <p:cNvPr id="398" name="Department, Date">
            <a:extLst>
              <a:ext uri="{FF2B5EF4-FFF2-40B4-BE49-F238E27FC236}">
                <a16:creationId xmlns:a16="http://schemas.microsoft.com/office/drawing/2014/main" id="{A86E7518-EA24-1988-A194-33889DDFCEE6}"/>
              </a:ext>
            </a:extLst>
          </p:cNvPr>
          <p:cNvSpPr>
            <a:spLocks noGrp="1"/>
          </p:cNvSpPr>
          <p:nvPr>
            <p:ph type="body" sz="quarter" idx="15" hasCustomPrompt="1"/>
          </p:nvPr>
        </p:nvSpPr>
        <p:spPr bwMode="gray">
          <a:xfrm>
            <a:off x="695400" y="5085160"/>
            <a:ext cx="2952000" cy="504000"/>
          </a:xfrm>
          <a:prstGeom prst="rect">
            <a:avLst/>
          </a:prstGeom>
          <a:solidFill>
            <a:schemeClr val="bg1"/>
          </a:solidFill>
          <a:ln w="127">
            <a:solidFill>
              <a:schemeClr val="bg1"/>
            </a:solidFill>
          </a:ln>
        </p:spPr>
        <p:txBody>
          <a:bodyPr wrap="square" lIns="216000" rIns="216000"/>
          <a:lstStyle>
            <a:lvl1pPr marL="0" indent="0">
              <a:lnSpc>
                <a:spcPct val="100000"/>
              </a:lnSpc>
              <a:spcBef>
                <a:spcPts val="0"/>
              </a:spcBef>
              <a:buFont typeface="Arial" panose="020B0604020202020204" pitchFamily="34" charset="0"/>
              <a:buNone/>
              <a:defRPr sz="1200" i="1">
                <a:latin typeface="+mn-lt"/>
              </a:defRPr>
            </a:lvl1pPr>
            <a:lvl2pPr marL="0" indent="0">
              <a:lnSpc>
                <a:spcPct val="100000"/>
              </a:lnSpc>
              <a:spcBef>
                <a:spcPts val="0"/>
              </a:spcBef>
              <a:buFont typeface="Arial" panose="020B0604020202020204" pitchFamily="34" charset="0"/>
              <a:buNone/>
              <a:defRPr sz="1200" i="1">
                <a:latin typeface="+mn-lt"/>
              </a:defRPr>
            </a:lvl2pPr>
            <a:lvl3pPr marL="0" indent="0">
              <a:lnSpc>
                <a:spcPct val="100000"/>
              </a:lnSpc>
              <a:spcBef>
                <a:spcPts val="0"/>
              </a:spcBef>
              <a:buFont typeface="Arial" panose="020B0604020202020204" pitchFamily="34" charset="0"/>
              <a:buNone/>
              <a:defRPr sz="1200" i="1">
                <a:latin typeface="+mn-lt"/>
              </a:defRPr>
            </a:lvl3pPr>
            <a:lvl4pPr marL="0" indent="0">
              <a:lnSpc>
                <a:spcPct val="100000"/>
              </a:lnSpc>
              <a:spcBef>
                <a:spcPts val="0"/>
              </a:spcBef>
              <a:buFont typeface="Arial" panose="020B0604020202020204" pitchFamily="34" charset="0"/>
              <a:buNone/>
              <a:defRPr sz="1200" i="1">
                <a:latin typeface="+mn-lt"/>
              </a:defRPr>
            </a:lvl4pPr>
            <a:lvl5pPr marL="0" indent="0">
              <a:lnSpc>
                <a:spcPct val="100000"/>
              </a:lnSpc>
              <a:spcBef>
                <a:spcPts val="0"/>
              </a:spcBef>
              <a:buFont typeface="Arial" panose="020B0604020202020204" pitchFamily="34" charset="0"/>
              <a:buNone/>
              <a:defRPr sz="1200" i="1">
                <a:latin typeface="+mn-lt"/>
              </a:defRPr>
            </a:lvl5pPr>
            <a:lvl6pPr marL="0" indent="0">
              <a:lnSpc>
                <a:spcPct val="100000"/>
              </a:lnSpc>
              <a:spcBef>
                <a:spcPts val="0"/>
              </a:spcBef>
              <a:buNone/>
              <a:defRPr sz="1200" i="1">
                <a:latin typeface="+mn-lt"/>
              </a:defRPr>
            </a:lvl6pPr>
            <a:lvl7pPr marL="0" indent="0">
              <a:lnSpc>
                <a:spcPct val="100000"/>
              </a:lnSpc>
              <a:spcBef>
                <a:spcPts val="0"/>
              </a:spcBef>
              <a:buNone/>
              <a:defRPr sz="1200" i="1">
                <a:latin typeface="+mn-lt"/>
              </a:defRPr>
            </a:lvl7pPr>
            <a:lvl8pPr marL="0" indent="0">
              <a:lnSpc>
                <a:spcPct val="100000"/>
              </a:lnSpc>
              <a:spcBef>
                <a:spcPts val="0"/>
              </a:spcBef>
              <a:buNone/>
              <a:defRPr sz="1200" i="1">
                <a:latin typeface="+mn-lt"/>
              </a:defRPr>
            </a:lvl8pPr>
            <a:lvl9pPr marL="0" indent="0">
              <a:lnSpc>
                <a:spcPct val="100000"/>
              </a:lnSpc>
              <a:spcBef>
                <a:spcPts val="0"/>
              </a:spcBef>
              <a:buNone/>
              <a:defRPr sz="1200" i="1">
                <a:latin typeface="+mn-lt"/>
              </a:defRPr>
            </a:lvl9pPr>
          </a:lstStyle>
          <a:p>
            <a:pPr lvl="0"/>
            <a:r>
              <a:rPr lang="en-GB" dirty="0"/>
              <a:t>Department</a:t>
            </a:r>
            <a:br>
              <a:rPr lang="en-GB" dirty="0"/>
            </a:br>
            <a:r>
              <a:rPr lang="en-GB" dirty="0"/>
              <a:t>DD/MM/YYYY</a:t>
            </a:r>
          </a:p>
        </p:txBody>
      </p:sp>
      <p:sp>
        <p:nvSpPr>
          <p:cNvPr id="399" name="Picture">
            <a:extLst>
              <a:ext uri="{FF2B5EF4-FFF2-40B4-BE49-F238E27FC236}">
                <a16:creationId xmlns:a16="http://schemas.microsoft.com/office/drawing/2014/main" id="{348164E4-2450-9DF3-99B4-C1D70D36C747}"/>
              </a:ext>
            </a:extLst>
          </p:cNvPr>
          <p:cNvSpPr>
            <a:spLocks noGrp="1"/>
          </p:cNvSpPr>
          <p:nvPr>
            <p:ph type="pic" sz="quarter" idx="13" hasCustomPrompt="1"/>
          </p:nvPr>
        </p:nvSpPr>
        <p:spPr bwMode="gray">
          <a:xfrm>
            <a:off x="4367809" y="2061400"/>
            <a:ext cx="5775177" cy="3463099"/>
          </a:xfrm>
          <a:custGeom>
            <a:avLst/>
            <a:gdLst>
              <a:gd name="connsiteX0" fmla="*/ 5775177 w 5775177"/>
              <a:gd name="connsiteY0" fmla="*/ 0 h 3463099"/>
              <a:gd name="connsiteX1" fmla="*/ 4621085 w 5775177"/>
              <a:gd name="connsiteY1" fmla="*/ 2311556 h 3463099"/>
              <a:gd name="connsiteX2" fmla="*/ 0 w 5775177"/>
              <a:gd name="connsiteY2" fmla="*/ 3463099 h 3463099"/>
              <a:gd name="connsiteX3" fmla="*/ 0 w 5775177"/>
              <a:gd name="connsiteY3" fmla="*/ 518 h 3463099"/>
            </a:gdLst>
            <a:ahLst/>
            <a:cxnLst>
              <a:cxn ang="0">
                <a:pos x="connsiteX0" y="connsiteY0"/>
              </a:cxn>
              <a:cxn ang="0">
                <a:pos x="connsiteX1" y="connsiteY1"/>
              </a:cxn>
              <a:cxn ang="0">
                <a:pos x="connsiteX2" y="connsiteY2"/>
              </a:cxn>
              <a:cxn ang="0">
                <a:pos x="connsiteX3" y="connsiteY3"/>
              </a:cxn>
            </a:cxnLst>
            <a:rect l="l" t="t" r="r" b="b"/>
            <a:pathLst>
              <a:path w="5775177" h="3463099">
                <a:moveTo>
                  <a:pt x="5775177" y="0"/>
                </a:moveTo>
                <a:lnTo>
                  <a:pt x="4621085" y="2311556"/>
                </a:lnTo>
                <a:lnTo>
                  <a:pt x="0" y="3463099"/>
                </a:lnTo>
                <a:lnTo>
                  <a:pt x="0" y="518"/>
                </a:lnTo>
                <a:close/>
              </a:path>
            </a:pathLst>
          </a:custGeom>
          <a:solidFill>
            <a:schemeClr val="accent6"/>
          </a:solidFill>
        </p:spPr>
        <p:txBody>
          <a:bodyPr wrap="square">
            <a:noAutofit/>
          </a:bodyPr>
          <a:lstStyle>
            <a:lvl1pPr marL="0" indent="0" algn="ctr">
              <a:buNone/>
              <a:defRPr/>
            </a:lvl1pPr>
          </a:lstStyle>
          <a:p>
            <a:r>
              <a:rPr lang="en-GB"/>
              <a:t> </a:t>
            </a:r>
            <a:endParaRPr lang="en-GB" dirty="0"/>
          </a:p>
        </p:txBody>
      </p:sp>
    </p:spTree>
    <p:extLst>
      <p:ext uri="{BB962C8B-B14F-4D97-AF65-F5344CB8AC3E}">
        <p14:creationId xmlns:p14="http://schemas.microsoft.com/office/powerpoint/2010/main" val="2581414831"/>
      </p:ext>
    </p:extLst>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ags" Target="../tags/tag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2.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5814B27-CA8C-EB6E-E9F3-02F7F24C0A7E}"/>
              </a:ext>
            </a:extLst>
          </p:cNvPr>
          <p:cNvGraphicFramePr>
            <a:graphicFrameLocks noChangeAspect="1"/>
          </p:cNvGraphicFramePr>
          <p:nvPr userDrawn="1">
            <p:custDataLst>
              <p:tags r:id="rId61"/>
            </p:custDataLst>
            <p:extLst>
              <p:ext uri="{D42A27DB-BD31-4B8C-83A1-F6EECF244321}">
                <p14:modId xmlns:p14="http://schemas.microsoft.com/office/powerpoint/2010/main" val="379812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2" imgW="408" imgH="408" progId="TCLayout.ActiveDocument.1">
                  <p:embed/>
                </p:oleObj>
              </mc:Choice>
              <mc:Fallback>
                <p:oleObj name="think-cell Folie" r:id="rId62" imgW="408" imgH="408" progId="TCLayout.ActiveDocument.1">
                  <p:embed/>
                  <p:pic>
                    <p:nvPicPr>
                      <p:cNvPr id="4" name="Objekt 3" hidden="1">
                        <a:extLst>
                          <a:ext uri="{FF2B5EF4-FFF2-40B4-BE49-F238E27FC236}">
                            <a16:creationId xmlns:a16="http://schemas.microsoft.com/office/drawing/2014/main" id="{15814B27-CA8C-EB6E-E9F3-02F7F24C0A7E}"/>
                          </a:ext>
                        </a:extLst>
                      </p:cNvPr>
                      <p:cNvPicPr/>
                      <p:nvPr/>
                    </p:nvPicPr>
                    <p:blipFill>
                      <a:blip r:embed="rId63"/>
                      <a:stretch>
                        <a:fillRect/>
                      </a:stretch>
                    </p:blipFill>
                    <p:spPr>
                      <a:xfrm>
                        <a:off x="1588" y="1588"/>
                        <a:ext cx="1588" cy="1588"/>
                      </a:xfrm>
                      <a:prstGeom prst="rect">
                        <a:avLst/>
                      </a:prstGeom>
                    </p:spPr>
                  </p:pic>
                </p:oleObj>
              </mc:Fallback>
            </mc:AlternateContent>
          </a:graphicData>
        </a:graphic>
      </p:graphicFrame>
      <p:sp>
        <p:nvSpPr>
          <p:cNvPr id="2" name="No">
            <a:extLst>
              <a:ext uri="{FF2B5EF4-FFF2-40B4-BE49-F238E27FC236}">
                <a16:creationId xmlns:a16="http://schemas.microsoft.com/office/drawing/2014/main" id="{BE1708DE-6099-5FD9-C750-7BE438A93879}"/>
              </a:ext>
              <a:ext uri="{C183D7F6-B498-43B3-948B-1728B52AA6E4}">
                <adec:decorative xmlns:adec="http://schemas.microsoft.com/office/drawing/2017/decorative" val="1"/>
              </a:ext>
            </a:extLst>
          </p:cNvPr>
          <p:cNvSpPr/>
          <p:nvPr userDrawn="1"/>
        </p:nvSpPr>
        <p:spPr>
          <a:xfrm>
            <a:off x="11352584" y="6525344"/>
            <a:ext cx="504056" cy="1440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r"/>
            <a:fld id="{6406CC8F-3850-4EAA-BC31-CAF984364F05}" type="slidenum">
              <a:rPr lang="de-DE" sz="900" smtClean="0">
                <a:solidFill>
                  <a:schemeClr val="tx1"/>
                </a:solidFill>
              </a:rPr>
              <a:t>‹Nº›</a:t>
            </a:fld>
            <a:endParaRPr lang="de-DE" sz="900" dirty="0">
              <a:solidFill>
                <a:schemeClr val="tx1"/>
              </a:solidFill>
            </a:endParaRPr>
          </a:p>
        </p:txBody>
      </p:sp>
      <p:sp>
        <p:nvSpPr>
          <p:cNvPr id="48" name="Title">
            <a:extLst>
              <a:ext uri="{FF2B5EF4-FFF2-40B4-BE49-F238E27FC236}">
                <a16:creationId xmlns:a16="http://schemas.microsoft.com/office/drawing/2014/main" id="{A14BC77E-A3CA-C648-81BE-615FA97935B2}"/>
              </a:ext>
            </a:extLst>
          </p:cNvPr>
          <p:cNvSpPr>
            <a:spLocks noGrp="1"/>
          </p:cNvSpPr>
          <p:nvPr>
            <p:ph type="title"/>
          </p:nvPr>
        </p:nvSpPr>
        <p:spPr bwMode="gray">
          <a:xfrm>
            <a:off x="335360" y="260648"/>
            <a:ext cx="8640959" cy="369332"/>
          </a:xfrm>
          <a:prstGeom prst="rect">
            <a:avLst/>
          </a:prstGeom>
        </p:spPr>
        <p:txBody>
          <a:bodyPr vert="horz" wrap="square" lIns="0" tIns="0" rIns="0" bIns="0" rtlCol="0" anchor="t">
            <a:spAutoFit/>
          </a:bodyPr>
          <a:lstStyle/>
          <a:p>
            <a:r>
              <a:rPr lang="en-GB" dirty="0"/>
              <a:t>Insert your headline in </a:t>
            </a:r>
            <a:r>
              <a:rPr lang="en-GB" dirty="0" err="1"/>
              <a:t>Lato</a:t>
            </a:r>
            <a:r>
              <a:rPr lang="en-GB" dirty="0"/>
              <a:t> Heavy 24 </a:t>
            </a:r>
            <a:r>
              <a:rPr lang="en-GB" dirty="0" err="1"/>
              <a:t>pt</a:t>
            </a:r>
            <a:r>
              <a:rPr lang="en-GB" dirty="0"/>
              <a:t> here</a:t>
            </a:r>
          </a:p>
        </p:txBody>
      </p:sp>
      <p:sp>
        <p:nvSpPr>
          <p:cNvPr id="49" name="Content">
            <a:extLst>
              <a:ext uri="{FF2B5EF4-FFF2-40B4-BE49-F238E27FC236}">
                <a16:creationId xmlns:a16="http://schemas.microsoft.com/office/drawing/2014/main" id="{7CB38B8D-13E9-EA42-A995-D2944436FF69}"/>
              </a:ext>
            </a:extLst>
          </p:cNvPr>
          <p:cNvSpPr>
            <a:spLocks noGrp="1"/>
          </p:cNvSpPr>
          <p:nvPr>
            <p:ph type="body" idx="1"/>
          </p:nvPr>
        </p:nvSpPr>
        <p:spPr bwMode="gray">
          <a:xfrm>
            <a:off x="335361" y="2060575"/>
            <a:ext cx="11521280" cy="4032250"/>
          </a:xfrm>
          <a:prstGeom prst="rect">
            <a:avLst/>
          </a:prstGeom>
        </p:spPr>
        <p:txBody>
          <a:bodyPr vert="horz" lIns="0" tIns="0" rIns="0" bIns="0" rtlCol="0">
            <a:noAutofit/>
          </a:bodyPr>
          <a:lstStyle/>
          <a:p>
            <a:pPr lvl="0"/>
            <a:r>
              <a:rPr lang="en-US" dirty="0"/>
              <a:t>Insert your copy in </a:t>
            </a:r>
            <a:r>
              <a:rPr lang="en-US" dirty="0" err="1"/>
              <a:t>Lato</a:t>
            </a:r>
            <a:r>
              <a:rPr lang="en-US" dirty="0"/>
              <a:t> 16 </a:t>
            </a:r>
            <a:r>
              <a:rPr lang="en-US" dirty="0" err="1"/>
              <a:t>pt</a:t>
            </a:r>
            <a:r>
              <a:rPr lang="en-US" dirty="0"/>
              <a:t> or 12 </a:t>
            </a:r>
            <a:r>
              <a:rPr lang="en-US" dirty="0" err="1"/>
              <a:t>pt</a:t>
            </a:r>
            <a:r>
              <a:rPr lang="en-US" dirty="0"/>
              <a:t> here | Use the function “Increase List level” for text levels on Tab HOME</a:t>
            </a:r>
            <a:endParaRPr lang="en-GB" dirty="0"/>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44" name="copyright">
            <a:extLst>
              <a:ext uri="{FF2B5EF4-FFF2-40B4-BE49-F238E27FC236}">
                <a16:creationId xmlns:a16="http://schemas.microsoft.com/office/drawing/2014/main" id="{B95F1AF8-9A7D-2D40-AF44-05D7111CC51E}"/>
              </a:ext>
              <a:ext uri="{C183D7F6-B498-43B3-948B-1728B52AA6E4}">
                <adec:decorative xmlns:adec="http://schemas.microsoft.com/office/drawing/2017/decorative" val="1"/>
              </a:ext>
            </a:extLst>
          </p:cNvPr>
          <p:cNvSpPr txBox="1"/>
          <p:nvPr userDrawn="1"/>
        </p:nvSpPr>
        <p:spPr bwMode="gray">
          <a:xfrm>
            <a:off x="10776576" y="6525000"/>
            <a:ext cx="504000" cy="144000"/>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GB" sz="900" dirty="0">
                <a:solidFill>
                  <a:schemeClr val="tx1"/>
                </a:solidFill>
              </a:rPr>
              <a:t>© GfK</a:t>
            </a:r>
          </a:p>
        </p:txBody>
      </p:sp>
      <p:sp>
        <p:nvSpPr>
          <p:cNvPr id="45" name="Date Placeholder 27">
            <a:extLst>
              <a:ext uri="{FF2B5EF4-FFF2-40B4-BE49-F238E27FC236}">
                <a16:creationId xmlns:a16="http://schemas.microsoft.com/office/drawing/2014/main" id="{3AA4ADB9-8EF9-8848-9108-683F87BC144B}"/>
              </a:ext>
              <a:ext uri="{C183D7F6-B498-43B3-948B-1728B52AA6E4}">
                <adec:decorative xmlns:adec="http://schemas.microsoft.com/office/drawing/2017/decorative" val="1"/>
              </a:ext>
            </a:extLst>
          </p:cNvPr>
          <p:cNvSpPr>
            <a:spLocks noGrp="1"/>
          </p:cNvSpPr>
          <p:nvPr>
            <p:ph type="dt" sz="half" idx="2"/>
          </p:nvPr>
        </p:nvSpPr>
        <p:spPr bwMode="gray">
          <a:xfrm>
            <a:off x="335360" y="6525000"/>
            <a:ext cx="1152128" cy="144000"/>
          </a:xfrm>
          <a:prstGeom prst="rect">
            <a:avLst/>
          </a:prstGeom>
        </p:spPr>
        <p:txBody>
          <a:bodyPr vert="horz" wrap="none" lIns="0" tIns="0" rIns="0" bIns="0" rtlCol="0" anchor="b" anchorCtr="0"/>
          <a:lstStyle>
            <a:lvl1pPr algn="l">
              <a:defRPr sz="900">
                <a:solidFill>
                  <a:schemeClr val="tx1"/>
                </a:solidFill>
              </a:defRPr>
            </a:lvl1pPr>
          </a:lstStyle>
          <a:p>
            <a:r>
              <a:rPr lang="en-US"/>
              <a:t>7/26/2022</a:t>
            </a:r>
            <a:endParaRPr lang="en-GB" dirty="0"/>
          </a:p>
        </p:txBody>
      </p:sp>
      <p:sp>
        <p:nvSpPr>
          <p:cNvPr id="6" name="Footer">
            <a:extLst>
              <a:ext uri="{FF2B5EF4-FFF2-40B4-BE49-F238E27FC236}">
                <a16:creationId xmlns:a16="http://schemas.microsoft.com/office/drawing/2014/main" id="{E43D1D2F-C94F-E5E5-9E82-AFE333CFFE07}"/>
              </a:ext>
              <a:ext uri="{C183D7F6-B498-43B3-948B-1728B52AA6E4}">
                <adec:decorative xmlns:adec="http://schemas.microsoft.com/office/drawing/2017/decorative" val="1"/>
              </a:ext>
            </a:extLst>
          </p:cNvPr>
          <p:cNvSpPr>
            <a:spLocks noGrp="1"/>
          </p:cNvSpPr>
          <p:nvPr userDrawn="1">
            <p:ph type="ftr" sz="quarter" idx="3"/>
          </p:nvPr>
        </p:nvSpPr>
        <p:spPr>
          <a:xfrm>
            <a:off x="552000" y="6957393"/>
            <a:ext cx="10584560" cy="72007"/>
          </a:xfrm>
          <a:prstGeom prst="rect">
            <a:avLst/>
          </a:prstGeom>
          <a:ln>
            <a:solidFill>
              <a:schemeClr val="bg1">
                <a:alpha val="0"/>
              </a:schemeClr>
            </a:solidFill>
          </a:ln>
        </p:spPr>
        <p:txBody>
          <a:bodyPr vert="horz" lIns="0" tIns="0" rIns="0" bIns="0" rtlCol="0" anchor="ctr"/>
          <a:lstStyle>
            <a:lvl1pPr algn="l">
              <a:defRPr sz="100">
                <a:solidFill>
                  <a:schemeClr val="tx1">
                    <a:tint val="75000"/>
                    <a:alpha val="0"/>
                  </a:schemeClr>
                </a:solidFill>
              </a:defRPr>
            </a:lvl1pPr>
          </a:lstStyle>
          <a:p>
            <a:r>
              <a:rPr lang="de-DE"/>
              <a:t>Der Konsument nach Corona und Consumer Voice</a:t>
            </a:r>
            <a:endParaRPr lang="de-DE" dirty="0"/>
          </a:p>
        </p:txBody>
      </p:sp>
      <p:sp>
        <p:nvSpPr>
          <p:cNvPr id="7" name="No">
            <a:extLst>
              <a:ext uri="{FF2B5EF4-FFF2-40B4-BE49-F238E27FC236}">
                <a16:creationId xmlns:a16="http://schemas.microsoft.com/office/drawing/2014/main" id="{DF883388-204C-EF6A-0E4E-0DBDCD4BDDA5}"/>
              </a:ext>
              <a:ext uri="{C183D7F6-B498-43B3-948B-1728B52AA6E4}">
                <adec:decorative xmlns:adec="http://schemas.microsoft.com/office/drawing/2017/decorative" val="1"/>
              </a:ext>
            </a:extLst>
          </p:cNvPr>
          <p:cNvSpPr>
            <a:spLocks noGrp="1"/>
          </p:cNvSpPr>
          <p:nvPr userDrawn="1">
            <p:ph type="sldNum" sz="quarter" idx="4"/>
          </p:nvPr>
        </p:nvSpPr>
        <p:spPr>
          <a:xfrm>
            <a:off x="11208568" y="6957393"/>
            <a:ext cx="432048" cy="72008"/>
          </a:xfrm>
          <a:prstGeom prst="rect">
            <a:avLst/>
          </a:prstGeom>
          <a:ln>
            <a:solidFill>
              <a:schemeClr val="bg1">
                <a:alpha val="0"/>
              </a:schemeClr>
            </a:solidFill>
          </a:ln>
        </p:spPr>
        <p:txBody>
          <a:bodyPr vert="horz" lIns="0" tIns="0" rIns="0" bIns="0" rtlCol="0" anchor="ctr"/>
          <a:lstStyle>
            <a:lvl1pPr algn="r">
              <a:defRPr sz="100">
                <a:solidFill>
                  <a:schemeClr val="tx1">
                    <a:tint val="75000"/>
                    <a:alpha val="0"/>
                  </a:schemeClr>
                </a:solidFill>
              </a:defRPr>
            </a:lvl1pPr>
          </a:lstStyle>
          <a:p>
            <a:fld id="{CAEA825B-D749-4F0A-886E-8D45A39EAF2A}" type="slidenum">
              <a:rPr lang="de-DE" smtClean="0"/>
              <a:pPr/>
              <a:t>‹Nº›</a:t>
            </a:fld>
            <a:endParaRPr lang="de-DE" dirty="0"/>
          </a:p>
        </p:txBody>
      </p:sp>
      <p:sp>
        <p:nvSpPr>
          <p:cNvPr id="640" name="client logo" hidden="1">
            <a:extLst>
              <a:ext uri="{FF2B5EF4-FFF2-40B4-BE49-F238E27FC236}">
                <a16:creationId xmlns:a16="http://schemas.microsoft.com/office/drawing/2014/main" id="{FE3648E0-24F0-7AB5-BF8B-38C5AED2AAB0}"/>
              </a:ext>
            </a:extLst>
          </p:cNvPr>
          <p:cNvSpPr/>
          <p:nvPr userDrawn="1"/>
        </p:nvSpPr>
        <p:spPr>
          <a:xfrm>
            <a:off x="8976320" y="333000"/>
            <a:ext cx="1728192" cy="575720"/>
          </a:xfrm>
          <a:prstGeom prst="rect">
            <a:avLst/>
          </a:prstGeom>
          <a:solidFill>
            <a:srgbClr val="B3B5B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lnSpc>
                <a:spcPct val="100000"/>
              </a:lnSpc>
            </a:pPr>
            <a:r>
              <a:rPr lang="en-US" sz="1000" b="1" dirty="0">
                <a:solidFill>
                  <a:srgbClr val="676A6D"/>
                </a:solidFill>
              </a:rPr>
              <a:t>Client logo</a:t>
            </a:r>
          </a:p>
          <a:p>
            <a:pPr algn="ctr">
              <a:lnSpc>
                <a:spcPct val="100000"/>
              </a:lnSpc>
            </a:pPr>
            <a:r>
              <a:rPr lang="en-US" sz="700" dirty="0">
                <a:solidFill>
                  <a:srgbClr val="676A6D"/>
                </a:solidFill>
              </a:rPr>
              <a:t>Remove this and the line (on the right) from slide master if not needed</a:t>
            </a:r>
          </a:p>
        </p:txBody>
      </p:sp>
      <p:cxnSp>
        <p:nvCxnSpPr>
          <p:cNvPr id="641" name="Straight Connector 49" hidden="1">
            <a:extLst>
              <a:ext uri="{FF2B5EF4-FFF2-40B4-BE49-F238E27FC236}">
                <a16:creationId xmlns:a16="http://schemas.microsoft.com/office/drawing/2014/main" id="{5EEB094E-97CC-87E9-FDE7-499A1C43C038}"/>
              </a:ext>
            </a:extLst>
          </p:cNvPr>
          <p:cNvCxnSpPr>
            <a:cxnSpLocks/>
          </p:cNvCxnSpPr>
          <p:nvPr userDrawn="1"/>
        </p:nvCxnSpPr>
        <p:spPr>
          <a:xfrm>
            <a:off x="10992544" y="332656"/>
            <a:ext cx="0" cy="57606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3" name="Grafik 2" descr="Ein Bild, das Text, Schrift, Grafiken, Logo enthält.&#10;&#10;Automatisch generierte Beschreibung">
            <a:extLst>
              <a:ext uri="{FF2B5EF4-FFF2-40B4-BE49-F238E27FC236}">
                <a16:creationId xmlns:a16="http://schemas.microsoft.com/office/drawing/2014/main" id="{9C33773F-9242-01FF-6B37-04BA45BB3288}"/>
              </a:ext>
            </a:extLst>
          </p:cNvPr>
          <p:cNvPicPr>
            <a:picLocks noChangeAspect="1"/>
          </p:cNvPicPr>
          <p:nvPr userDrawn="1"/>
        </p:nvPicPr>
        <p:blipFill>
          <a:blip r:embed="rId64" cstate="print">
            <a:extLst>
              <a:ext uri="{28A0092B-C50C-407E-A947-70E740481C1C}">
                <a14:useLocalDpi xmlns:a14="http://schemas.microsoft.com/office/drawing/2010/main" val="0"/>
              </a:ext>
            </a:extLst>
          </a:blip>
          <a:stretch>
            <a:fillRect/>
          </a:stretch>
        </p:blipFill>
        <p:spPr>
          <a:xfrm>
            <a:off x="10541525" y="332656"/>
            <a:ext cx="1334085" cy="564860"/>
          </a:xfrm>
          <a:prstGeom prst="rect">
            <a:avLst/>
          </a:prstGeom>
        </p:spPr>
      </p:pic>
    </p:spTree>
    <p:extLst>
      <p:ext uri="{BB962C8B-B14F-4D97-AF65-F5344CB8AC3E}">
        <p14:creationId xmlns:p14="http://schemas.microsoft.com/office/powerpoint/2010/main" val="3262029566"/>
      </p:ext>
    </p:extLst>
  </p:cSld>
  <p:clrMap bg1="lt1" tx1="dk1" bg2="lt2" tx2="dk2" accent1="accent1" accent2="accent2" accent3="accent3" accent4="accent4" accent5="accent5" accent6="accent6" hlink="hlink" folHlink="folHlink"/>
  <p:sldLayoutIdLst>
    <p:sldLayoutId id="2147483682" r:id="rId1"/>
    <p:sldLayoutId id="2147483669"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723" r:id="rId11"/>
    <p:sldLayoutId id="2147483697" r:id="rId12"/>
    <p:sldLayoutId id="2147483698" r:id="rId13"/>
    <p:sldLayoutId id="2147483724" r:id="rId14"/>
    <p:sldLayoutId id="2147483666" r:id="rId15"/>
    <p:sldLayoutId id="2147483707" r:id="rId16"/>
    <p:sldLayoutId id="2147483662" r:id="rId17"/>
    <p:sldLayoutId id="2147483700" r:id="rId18"/>
    <p:sldLayoutId id="2147483701" r:id="rId19"/>
    <p:sldLayoutId id="2147483702" r:id="rId20"/>
    <p:sldLayoutId id="2147483703" r:id="rId21"/>
    <p:sldLayoutId id="2147483704" r:id="rId22"/>
    <p:sldLayoutId id="2147483705" r:id="rId23"/>
    <p:sldLayoutId id="2147483706" r:id="rId24"/>
    <p:sldLayoutId id="2147483668" r:id="rId25"/>
    <p:sldLayoutId id="2147483650" r:id="rId26"/>
    <p:sldLayoutId id="2147483660" r:id="rId27"/>
    <p:sldLayoutId id="2147483708" r:id="rId28"/>
    <p:sldLayoutId id="2147483664" r:id="rId29"/>
    <p:sldLayoutId id="2147483710" r:id="rId30"/>
    <p:sldLayoutId id="2147483661" r:id="rId31"/>
    <p:sldLayoutId id="2147483711" r:id="rId32"/>
    <p:sldLayoutId id="2147483712" r:id="rId33"/>
    <p:sldLayoutId id="2147483714" r:id="rId34"/>
    <p:sldLayoutId id="2147483713" r:id="rId35"/>
    <p:sldLayoutId id="2147483670" r:id="rId36"/>
    <p:sldLayoutId id="2147483671" r:id="rId37"/>
    <p:sldLayoutId id="2147483674" r:id="rId38"/>
    <p:sldLayoutId id="2147483675" r:id="rId39"/>
    <p:sldLayoutId id="2147483673" r:id="rId40"/>
    <p:sldLayoutId id="2147483677" r:id="rId41"/>
    <p:sldLayoutId id="2147483676" r:id="rId42"/>
    <p:sldLayoutId id="2147483683" r:id="rId43"/>
    <p:sldLayoutId id="2147483684" r:id="rId44"/>
    <p:sldLayoutId id="2147483721" r:id="rId45"/>
    <p:sldLayoutId id="2147483722" r:id="rId46"/>
    <p:sldLayoutId id="2147483681" r:id="rId47"/>
    <p:sldLayoutId id="2147483678" r:id="rId48"/>
    <p:sldLayoutId id="2147483679" r:id="rId49"/>
    <p:sldLayoutId id="2147483686" r:id="rId50"/>
    <p:sldLayoutId id="2147483687" r:id="rId51"/>
    <p:sldLayoutId id="2147483688" r:id="rId52"/>
    <p:sldLayoutId id="2147483715" r:id="rId53"/>
    <p:sldLayoutId id="2147483716" r:id="rId54"/>
    <p:sldLayoutId id="2147483717" r:id="rId55"/>
    <p:sldLayoutId id="2147483718" r:id="rId56"/>
    <p:sldLayoutId id="2147483725" r:id="rId57"/>
    <p:sldLayoutId id="2147483726" r:id="rId58"/>
    <p:sldLayoutId id="2147483727" r:id="rId59"/>
  </p:sldLayoutIdLst>
  <p:hf sldNum="0" hdr="0" ftr="0"/>
  <p:txStyles>
    <p:titleStyle>
      <a:lvl1pPr algn="l" defTabSz="914400" rtl="0" eaLnBrk="1" latinLnBrk="0" hangingPunct="1">
        <a:lnSpc>
          <a:spcPct val="100000"/>
        </a:lnSpc>
        <a:spcBef>
          <a:spcPct val="0"/>
        </a:spcBef>
        <a:buNone/>
        <a:defRPr sz="2400" b="0" kern="1200">
          <a:solidFill>
            <a:schemeClr val="tx1"/>
          </a:solidFill>
          <a:latin typeface="+mj-lt"/>
          <a:ea typeface="+mj-ea"/>
          <a:cs typeface="+mj-cs"/>
        </a:defRPr>
      </a:lvl1pPr>
    </p:titleStyle>
    <p:bodyStyle>
      <a:lvl1pPr marL="266700" indent="-266700" algn="l" defTabSz="914400" rtl="0" eaLnBrk="1" latinLnBrk="0" hangingPunct="1">
        <a:lnSpc>
          <a:spcPct val="100000"/>
        </a:lnSpc>
        <a:spcBef>
          <a:spcPts val="1000"/>
        </a:spcBef>
        <a:buClrTx/>
        <a:buSzPct val="80000"/>
        <a:buFont typeface="Wingdings" panose="05000000000000000000" pitchFamily="2" charset="2"/>
        <a:buChar char="n"/>
        <a:defRPr sz="1600" kern="1200">
          <a:solidFill>
            <a:schemeClr val="tx1"/>
          </a:solidFill>
          <a:latin typeface="+mn-lt"/>
          <a:ea typeface="+mn-ea"/>
          <a:cs typeface="+mn-cs"/>
        </a:defRPr>
      </a:lvl1pPr>
      <a:lvl2pPr marL="542925" indent="-276225" algn="l" defTabSz="914400" rtl="0" eaLnBrk="1" latinLnBrk="0" hangingPunct="1">
        <a:lnSpc>
          <a:spcPct val="100000"/>
        </a:lnSpc>
        <a:spcBef>
          <a:spcPts val="1000"/>
        </a:spcBef>
        <a:buClrTx/>
        <a:buSzPct val="80000"/>
        <a:buFont typeface="Wingdings" panose="05000000000000000000" pitchFamily="2" charset="2"/>
        <a:buChar char=""/>
        <a:defRPr sz="1600" kern="1200">
          <a:solidFill>
            <a:schemeClr val="tx1"/>
          </a:solidFill>
          <a:latin typeface="+mn-lt"/>
          <a:ea typeface="+mn-ea"/>
          <a:cs typeface="+mn-cs"/>
        </a:defRPr>
      </a:lvl2pPr>
      <a:lvl3pPr marL="809625" indent="-266700" algn="l" defTabSz="914400" rtl="0" eaLnBrk="1" latinLnBrk="0" hangingPunct="1">
        <a:lnSpc>
          <a:spcPct val="100000"/>
        </a:lnSpc>
        <a:spcBef>
          <a:spcPts val="1000"/>
        </a:spcBef>
        <a:buClrTx/>
        <a:buSzPct val="100000"/>
        <a:buFont typeface="Courier New" panose="02070309020205020404" pitchFamily="49" charset="0"/>
        <a:buChar char="o"/>
        <a:defRPr sz="1600" kern="1200">
          <a:solidFill>
            <a:schemeClr val="tx1"/>
          </a:solidFill>
          <a:latin typeface="+mn-lt"/>
          <a:ea typeface="+mn-ea"/>
          <a:cs typeface="+mn-cs"/>
        </a:defRPr>
      </a:lvl3pPr>
      <a:lvl4pPr marL="0" indent="0" algn="l" defTabSz="914400" rtl="0" eaLnBrk="1" latinLnBrk="0" hangingPunct="1">
        <a:lnSpc>
          <a:spcPct val="100000"/>
        </a:lnSpc>
        <a:spcBef>
          <a:spcPts val="1000"/>
        </a:spcBef>
        <a:buClrTx/>
        <a:buSzPct val="80000"/>
        <a:buFont typeface="Wingdings" panose="05000000000000000000" pitchFamily="2" charset="2"/>
        <a:buNone/>
        <a:defRPr sz="1600" kern="1200">
          <a:solidFill>
            <a:schemeClr val="tx1"/>
          </a:solidFill>
          <a:latin typeface="+mn-lt"/>
          <a:ea typeface="+mn-ea"/>
          <a:cs typeface="+mn-cs"/>
        </a:defRPr>
      </a:lvl4pPr>
      <a:lvl5pPr marL="0" indent="0" algn="l" defTabSz="914400" rtl="0" eaLnBrk="1" latinLnBrk="0" hangingPunct="1">
        <a:lnSpc>
          <a:spcPct val="100000"/>
        </a:lnSpc>
        <a:spcBef>
          <a:spcPts val="1000"/>
        </a:spcBef>
        <a:buClrTx/>
        <a:buFont typeface="Wingdings 2" panose="05020102010507070707" pitchFamily="18" charset="2"/>
        <a:buNone/>
        <a:defRPr sz="1200" b="0" kern="1200">
          <a:solidFill>
            <a:schemeClr val="tx1"/>
          </a:solidFill>
          <a:latin typeface="+mn-lt"/>
          <a:ea typeface="+mn-ea"/>
          <a:cs typeface="+mn-cs"/>
        </a:defRPr>
      </a:lvl5pPr>
      <a:lvl6pPr marL="266700" indent="-266700" algn="l" defTabSz="914400" rtl="0" eaLnBrk="1" latinLnBrk="0" hangingPunct="1">
        <a:lnSpc>
          <a:spcPct val="100000"/>
        </a:lnSpc>
        <a:spcBef>
          <a:spcPts val="600"/>
        </a:spcBef>
        <a:buClrTx/>
        <a:buSzPct val="80000"/>
        <a:buFont typeface="Wingdings" panose="05000000000000000000" pitchFamily="2" charset="2"/>
        <a:buChar char="n"/>
        <a:defRPr sz="1200" b="0" kern="1200">
          <a:solidFill>
            <a:schemeClr val="tx1"/>
          </a:solidFill>
          <a:latin typeface="+mn-lt"/>
          <a:ea typeface="+mn-ea"/>
          <a:cs typeface="+mn-cs"/>
        </a:defRPr>
      </a:lvl6pPr>
      <a:lvl7pPr marL="542925" indent="-276225" algn="l" defTabSz="914400" rtl="0" eaLnBrk="1" latinLnBrk="0" hangingPunct="1">
        <a:lnSpc>
          <a:spcPct val="100000"/>
        </a:lnSpc>
        <a:spcBef>
          <a:spcPts val="600"/>
        </a:spcBef>
        <a:buClrTx/>
        <a:buSzPct val="80000"/>
        <a:buFont typeface="Wingdings" panose="05000000000000000000" pitchFamily="2" charset="2"/>
        <a:buChar char="o"/>
        <a:defRPr sz="1200" b="0" kern="1200">
          <a:solidFill>
            <a:schemeClr val="tx1"/>
          </a:solidFill>
          <a:latin typeface="+mn-lt"/>
          <a:ea typeface="+mn-ea"/>
          <a:cs typeface="+mn-cs"/>
        </a:defRPr>
      </a:lvl7pPr>
      <a:lvl8pPr marL="809625" indent="-266700" algn="l" defTabSz="914400" rtl="0" eaLnBrk="1" latinLnBrk="0" hangingPunct="1">
        <a:lnSpc>
          <a:spcPct val="100000"/>
        </a:lnSpc>
        <a:spcBef>
          <a:spcPts val="600"/>
        </a:spcBef>
        <a:buClrTx/>
        <a:buSzPct val="100000"/>
        <a:buFont typeface="Courier New" panose="02070309020205020404" pitchFamily="49" charset="0"/>
        <a:buChar char="o"/>
        <a:defRPr sz="1200" b="0" kern="1200">
          <a:solidFill>
            <a:schemeClr val="tx1"/>
          </a:solidFill>
          <a:latin typeface="+mn-lt"/>
          <a:ea typeface="+mn-ea"/>
          <a:cs typeface="+mn-cs"/>
        </a:defRPr>
      </a:lvl8pPr>
      <a:lvl9pPr marL="803275" indent="-268288" algn="l" defTabSz="914400" rtl="0" eaLnBrk="1" latinLnBrk="0" hangingPunct="1">
        <a:lnSpc>
          <a:spcPct val="100000"/>
        </a:lnSpc>
        <a:spcBef>
          <a:spcPts val="600"/>
        </a:spcBef>
        <a:buClrTx/>
        <a:buSzPct val="100000"/>
        <a:buFont typeface="Courier New" panose="02070309020205020404" pitchFamily="49" charset="0"/>
        <a:buChar char="o"/>
        <a:defRPr sz="1200" b="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17" Type="http://schemas.openxmlformats.org/officeDocument/2006/relationships/tags" Target="../tags/tag656.xml"/><Relationship Id="rId21" Type="http://schemas.openxmlformats.org/officeDocument/2006/relationships/tags" Target="../tags/tag560.xml"/><Relationship Id="rId42" Type="http://schemas.openxmlformats.org/officeDocument/2006/relationships/tags" Target="../tags/tag581.xml"/><Relationship Id="rId63" Type="http://schemas.openxmlformats.org/officeDocument/2006/relationships/tags" Target="../tags/tag602.xml"/><Relationship Id="rId84" Type="http://schemas.openxmlformats.org/officeDocument/2006/relationships/tags" Target="../tags/tag623.xml"/><Relationship Id="rId138" Type="http://schemas.openxmlformats.org/officeDocument/2006/relationships/tags" Target="../tags/tag677.xml"/><Relationship Id="rId159" Type="http://schemas.openxmlformats.org/officeDocument/2006/relationships/oleObject" Target="../embeddings/oleObject62.bin"/><Relationship Id="rId107" Type="http://schemas.openxmlformats.org/officeDocument/2006/relationships/tags" Target="../tags/tag646.xml"/><Relationship Id="rId11" Type="http://schemas.openxmlformats.org/officeDocument/2006/relationships/tags" Target="../tags/tag550.xml"/><Relationship Id="rId32" Type="http://schemas.openxmlformats.org/officeDocument/2006/relationships/tags" Target="../tags/tag571.xml"/><Relationship Id="rId53" Type="http://schemas.openxmlformats.org/officeDocument/2006/relationships/tags" Target="../tags/tag592.xml"/><Relationship Id="rId74" Type="http://schemas.openxmlformats.org/officeDocument/2006/relationships/tags" Target="../tags/tag613.xml"/><Relationship Id="rId128" Type="http://schemas.openxmlformats.org/officeDocument/2006/relationships/tags" Target="../tags/tag667.xml"/><Relationship Id="rId149" Type="http://schemas.openxmlformats.org/officeDocument/2006/relationships/tags" Target="../tags/tag688.xml"/><Relationship Id="rId5" Type="http://schemas.openxmlformats.org/officeDocument/2006/relationships/tags" Target="../tags/tag544.xml"/><Relationship Id="rId95" Type="http://schemas.openxmlformats.org/officeDocument/2006/relationships/tags" Target="../tags/tag634.xml"/><Relationship Id="rId160" Type="http://schemas.openxmlformats.org/officeDocument/2006/relationships/image" Target="../media/image14.emf"/><Relationship Id="rId22" Type="http://schemas.openxmlformats.org/officeDocument/2006/relationships/tags" Target="../tags/tag561.xml"/><Relationship Id="rId43" Type="http://schemas.openxmlformats.org/officeDocument/2006/relationships/tags" Target="../tags/tag582.xml"/><Relationship Id="rId64" Type="http://schemas.openxmlformats.org/officeDocument/2006/relationships/tags" Target="../tags/tag603.xml"/><Relationship Id="rId118" Type="http://schemas.openxmlformats.org/officeDocument/2006/relationships/tags" Target="../tags/tag657.xml"/><Relationship Id="rId139" Type="http://schemas.openxmlformats.org/officeDocument/2006/relationships/tags" Target="../tags/tag678.xml"/><Relationship Id="rId80" Type="http://schemas.openxmlformats.org/officeDocument/2006/relationships/tags" Target="../tags/tag619.xml"/><Relationship Id="rId85" Type="http://schemas.openxmlformats.org/officeDocument/2006/relationships/tags" Target="../tags/tag624.xml"/><Relationship Id="rId150" Type="http://schemas.openxmlformats.org/officeDocument/2006/relationships/tags" Target="../tags/tag689.xml"/><Relationship Id="rId155" Type="http://schemas.openxmlformats.org/officeDocument/2006/relationships/tags" Target="../tags/tag694.xml"/><Relationship Id="rId12" Type="http://schemas.openxmlformats.org/officeDocument/2006/relationships/tags" Target="../tags/tag551.xml"/><Relationship Id="rId17" Type="http://schemas.openxmlformats.org/officeDocument/2006/relationships/tags" Target="../tags/tag556.xml"/><Relationship Id="rId33" Type="http://schemas.openxmlformats.org/officeDocument/2006/relationships/tags" Target="../tags/tag572.xml"/><Relationship Id="rId38" Type="http://schemas.openxmlformats.org/officeDocument/2006/relationships/tags" Target="../tags/tag577.xml"/><Relationship Id="rId59" Type="http://schemas.openxmlformats.org/officeDocument/2006/relationships/tags" Target="../tags/tag598.xml"/><Relationship Id="rId103" Type="http://schemas.openxmlformats.org/officeDocument/2006/relationships/tags" Target="../tags/tag642.xml"/><Relationship Id="rId108" Type="http://schemas.openxmlformats.org/officeDocument/2006/relationships/tags" Target="../tags/tag647.xml"/><Relationship Id="rId124" Type="http://schemas.openxmlformats.org/officeDocument/2006/relationships/tags" Target="../tags/tag663.xml"/><Relationship Id="rId129" Type="http://schemas.openxmlformats.org/officeDocument/2006/relationships/tags" Target="../tags/tag668.xml"/><Relationship Id="rId54" Type="http://schemas.openxmlformats.org/officeDocument/2006/relationships/tags" Target="../tags/tag593.xml"/><Relationship Id="rId70" Type="http://schemas.openxmlformats.org/officeDocument/2006/relationships/tags" Target="../tags/tag609.xml"/><Relationship Id="rId75" Type="http://schemas.openxmlformats.org/officeDocument/2006/relationships/tags" Target="../tags/tag614.xml"/><Relationship Id="rId91" Type="http://schemas.openxmlformats.org/officeDocument/2006/relationships/tags" Target="../tags/tag630.xml"/><Relationship Id="rId96" Type="http://schemas.openxmlformats.org/officeDocument/2006/relationships/tags" Target="../tags/tag635.xml"/><Relationship Id="rId140" Type="http://schemas.openxmlformats.org/officeDocument/2006/relationships/tags" Target="../tags/tag679.xml"/><Relationship Id="rId145" Type="http://schemas.openxmlformats.org/officeDocument/2006/relationships/tags" Target="../tags/tag684.xml"/><Relationship Id="rId1" Type="http://schemas.openxmlformats.org/officeDocument/2006/relationships/tags" Target="../tags/tag540.xml"/><Relationship Id="rId6" Type="http://schemas.openxmlformats.org/officeDocument/2006/relationships/tags" Target="../tags/tag545.xml"/><Relationship Id="rId23" Type="http://schemas.openxmlformats.org/officeDocument/2006/relationships/tags" Target="../tags/tag562.xml"/><Relationship Id="rId28" Type="http://schemas.openxmlformats.org/officeDocument/2006/relationships/tags" Target="../tags/tag567.xml"/><Relationship Id="rId49" Type="http://schemas.openxmlformats.org/officeDocument/2006/relationships/tags" Target="../tags/tag588.xml"/><Relationship Id="rId114" Type="http://schemas.openxmlformats.org/officeDocument/2006/relationships/tags" Target="../tags/tag653.xml"/><Relationship Id="rId119" Type="http://schemas.openxmlformats.org/officeDocument/2006/relationships/tags" Target="../tags/tag658.xml"/><Relationship Id="rId44" Type="http://schemas.openxmlformats.org/officeDocument/2006/relationships/tags" Target="../tags/tag583.xml"/><Relationship Id="rId60" Type="http://schemas.openxmlformats.org/officeDocument/2006/relationships/tags" Target="../tags/tag599.xml"/><Relationship Id="rId65" Type="http://schemas.openxmlformats.org/officeDocument/2006/relationships/tags" Target="../tags/tag604.xml"/><Relationship Id="rId81" Type="http://schemas.openxmlformats.org/officeDocument/2006/relationships/tags" Target="../tags/tag620.xml"/><Relationship Id="rId86" Type="http://schemas.openxmlformats.org/officeDocument/2006/relationships/tags" Target="../tags/tag625.xml"/><Relationship Id="rId130" Type="http://schemas.openxmlformats.org/officeDocument/2006/relationships/tags" Target="../tags/tag669.xml"/><Relationship Id="rId135" Type="http://schemas.openxmlformats.org/officeDocument/2006/relationships/tags" Target="../tags/tag674.xml"/><Relationship Id="rId151" Type="http://schemas.openxmlformats.org/officeDocument/2006/relationships/tags" Target="../tags/tag690.xml"/><Relationship Id="rId156" Type="http://schemas.openxmlformats.org/officeDocument/2006/relationships/tags" Target="../tags/tag695.xml"/><Relationship Id="rId13" Type="http://schemas.openxmlformats.org/officeDocument/2006/relationships/tags" Target="../tags/tag552.xml"/><Relationship Id="rId18" Type="http://schemas.openxmlformats.org/officeDocument/2006/relationships/tags" Target="../tags/tag557.xml"/><Relationship Id="rId39" Type="http://schemas.openxmlformats.org/officeDocument/2006/relationships/tags" Target="../tags/tag578.xml"/><Relationship Id="rId109" Type="http://schemas.openxmlformats.org/officeDocument/2006/relationships/tags" Target="../tags/tag648.xml"/><Relationship Id="rId34" Type="http://schemas.openxmlformats.org/officeDocument/2006/relationships/tags" Target="../tags/tag573.xml"/><Relationship Id="rId50" Type="http://schemas.openxmlformats.org/officeDocument/2006/relationships/tags" Target="../tags/tag589.xml"/><Relationship Id="rId55" Type="http://schemas.openxmlformats.org/officeDocument/2006/relationships/tags" Target="../tags/tag594.xml"/><Relationship Id="rId76" Type="http://schemas.openxmlformats.org/officeDocument/2006/relationships/tags" Target="../tags/tag615.xml"/><Relationship Id="rId97" Type="http://schemas.openxmlformats.org/officeDocument/2006/relationships/tags" Target="../tags/tag636.xml"/><Relationship Id="rId104" Type="http://schemas.openxmlformats.org/officeDocument/2006/relationships/tags" Target="../tags/tag643.xml"/><Relationship Id="rId120" Type="http://schemas.openxmlformats.org/officeDocument/2006/relationships/tags" Target="../tags/tag659.xml"/><Relationship Id="rId125" Type="http://schemas.openxmlformats.org/officeDocument/2006/relationships/tags" Target="../tags/tag664.xml"/><Relationship Id="rId141" Type="http://schemas.openxmlformats.org/officeDocument/2006/relationships/tags" Target="../tags/tag680.xml"/><Relationship Id="rId146" Type="http://schemas.openxmlformats.org/officeDocument/2006/relationships/tags" Target="../tags/tag685.xml"/><Relationship Id="rId7" Type="http://schemas.openxmlformats.org/officeDocument/2006/relationships/tags" Target="../tags/tag546.xml"/><Relationship Id="rId71" Type="http://schemas.openxmlformats.org/officeDocument/2006/relationships/tags" Target="../tags/tag610.xml"/><Relationship Id="rId92" Type="http://schemas.openxmlformats.org/officeDocument/2006/relationships/tags" Target="../tags/tag631.xml"/><Relationship Id="rId2" Type="http://schemas.openxmlformats.org/officeDocument/2006/relationships/tags" Target="../tags/tag541.xml"/><Relationship Id="rId29" Type="http://schemas.openxmlformats.org/officeDocument/2006/relationships/tags" Target="../tags/tag568.xml"/><Relationship Id="rId24" Type="http://schemas.openxmlformats.org/officeDocument/2006/relationships/tags" Target="../tags/tag563.xml"/><Relationship Id="rId40" Type="http://schemas.openxmlformats.org/officeDocument/2006/relationships/tags" Target="../tags/tag579.xml"/><Relationship Id="rId45" Type="http://schemas.openxmlformats.org/officeDocument/2006/relationships/tags" Target="../tags/tag584.xml"/><Relationship Id="rId66" Type="http://schemas.openxmlformats.org/officeDocument/2006/relationships/tags" Target="../tags/tag605.xml"/><Relationship Id="rId87" Type="http://schemas.openxmlformats.org/officeDocument/2006/relationships/tags" Target="../tags/tag626.xml"/><Relationship Id="rId110" Type="http://schemas.openxmlformats.org/officeDocument/2006/relationships/tags" Target="../tags/tag649.xml"/><Relationship Id="rId115" Type="http://schemas.openxmlformats.org/officeDocument/2006/relationships/tags" Target="../tags/tag654.xml"/><Relationship Id="rId131" Type="http://schemas.openxmlformats.org/officeDocument/2006/relationships/tags" Target="../tags/tag670.xml"/><Relationship Id="rId136" Type="http://schemas.openxmlformats.org/officeDocument/2006/relationships/tags" Target="../tags/tag675.xml"/><Relationship Id="rId157" Type="http://schemas.openxmlformats.org/officeDocument/2006/relationships/slideLayout" Target="../slideLayouts/slideLayout58.xml"/><Relationship Id="rId61" Type="http://schemas.openxmlformats.org/officeDocument/2006/relationships/tags" Target="../tags/tag600.xml"/><Relationship Id="rId82" Type="http://schemas.openxmlformats.org/officeDocument/2006/relationships/tags" Target="../tags/tag621.xml"/><Relationship Id="rId152" Type="http://schemas.openxmlformats.org/officeDocument/2006/relationships/tags" Target="../tags/tag691.xml"/><Relationship Id="rId19" Type="http://schemas.openxmlformats.org/officeDocument/2006/relationships/tags" Target="../tags/tag558.xml"/><Relationship Id="rId14" Type="http://schemas.openxmlformats.org/officeDocument/2006/relationships/tags" Target="../tags/tag553.xml"/><Relationship Id="rId30" Type="http://schemas.openxmlformats.org/officeDocument/2006/relationships/tags" Target="../tags/tag569.xml"/><Relationship Id="rId35" Type="http://schemas.openxmlformats.org/officeDocument/2006/relationships/tags" Target="../tags/tag574.xml"/><Relationship Id="rId56" Type="http://schemas.openxmlformats.org/officeDocument/2006/relationships/tags" Target="../tags/tag595.xml"/><Relationship Id="rId77" Type="http://schemas.openxmlformats.org/officeDocument/2006/relationships/tags" Target="../tags/tag616.xml"/><Relationship Id="rId100" Type="http://schemas.openxmlformats.org/officeDocument/2006/relationships/tags" Target="../tags/tag639.xml"/><Relationship Id="rId105" Type="http://schemas.openxmlformats.org/officeDocument/2006/relationships/tags" Target="../tags/tag644.xml"/><Relationship Id="rId126" Type="http://schemas.openxmlformats.org/officeDocument/2006/relationships/tags" Target="../tags/tag665.xml"/><Relationship Id="rId147" Type="http://schemas.openxmlformats.org/officeDocument/2006/relationships/tags" Target="../tags/tag686.xml"/><Relationship Id="rId8" Type="http://schemas.openxmlformats.org/officeDocument/2006/relationships/tags" Target="../tags/tag547.xml"/><Relationship Id="rId51" Type="http://schemas.openxmlformats.org/officeDocument/2006/relationships/tags" Target="../tags/tag590.xml"/><Relationship Id="rId72" Type="http://schemas.openxmlformats.org/officeDocument/2006/relationships/tags" Target="../tags/tag611.xml"/><Relationship Id="rId93" Type="http://schemas.openxmlformats.org/officeDocument/2006/relationships/tags" Target="../tags/tag632.xml"/><Relationship Id="rId98" Type="http://schemas.openxmlformats.org/officeDocument/2006/relationships/tags" Target="../tags/tag637.xml"/><Relationship Id="rId121" Type="http://schemas.openxmlformats.org/officeDocument/2006/relationships/tags" Target="../tags/tag660.xml"/><Relationship Id="rId142" Type="http://schemas.openxmlformats.org/officeDocument/2006/relationships/tags" Target="../tags/tag681.xml"/><Relationship Id="rId3" Type="http://schemas.openxmlformats.org/officeDocument/2006/relationships/tags" Target="../tags/tag542.xml"/><Relationship Id="rId25" Type="http://schemas.openxmlformats.org/officeDocument/2006/relationships/tags" Target="../tags/tag564.xml"/><Relationship Id="rId46" Type="http://schemas.openxmlformats.org/officeDocument/2006/relationships/tags" Target="../tags/tag585.xml"/><Relationship Id="rId67" Type="http://schemas.openxmlformats.org/officeDocument/2006/relationships/tags" Target="../tags/tag606.xml"/><Relationship Id="rId116" Type="http://schemas.openxmlformats.org/officeDocument/2006/relationships/tags" Target="../tags/tag655.xml"/><Relationship Id="rId137" Type="http://schemas.openxmlformats.org/officeDocument/2006/relationships/tags" Target="../tags/tag676.xml"/><Relationship Id="rId158" Type="http://schemas.openxmlformats.org/officeDocument/2006/relationships/notesSlide" Target="../notesSlides/notesSlide4.xml"/><Relationship Id="rId20" Type="http://schemas.openxmlformats.org/officeDocument/2006/relationships/tags" Target="../tags/tag559.xml"/><Relationship Id="rId41" Type="http://schemas.openxmlformats.org/officeDocument/2006/relationships/tags" Target="../tags/tag580.xml"/><Relationship Id="rId62" Type="http://schemas.openxmlformats.org/officeDocument/2006/relationships/tags" Target="../tags/tag601.xml"/><Relationship Id="rId83" Type="http://schemas.openxmlformats.org/officeDocument/2006/relationships/tags" Target="../tags/tag622.xml"/><Relationship Id="rId88" Type="http://schemas.openxmlformats.org/officeDocument/2006/relationships/tags" Target="../tags/tag627.xml"/><Relationship Id="rId111" Type="http://schemas.openxmlformats.org/officeDocument/2006/relationships/tags" Target="../tags/tag650.xml"/><Relationship Id="rId132" Type="http://schemas.openxmlformats.org/officeDocument/2006/relationships/tags" Target="../tags/tag671.xml"/><Relationship Id="rId153" Type="http://schemas.openxmlformats.org/officeDocument/2006/relationships/tags" Target="../tags/tag692.xml"/><Relationship Id="rId15" Type="http://schemas.openxmlformats.org/officeDocument/2006/relationships/tags" Target="../tags/tag554.xml"/><Relationship Id="rId36" Type="http://schemas.openxmlformats.org/officeDocument/2006/relationships/tags" Target="../tags/tag575.xml"/><Relationship Id="rId57" Type="http://schemas.openxmlformats.org/officeDocument/2006/relationships/tags" Target="../tags/tag596.xml"/><Relationship Id="rId106" Type="http://schemas.openxmlformats.org/officeDocument/2006/relationships/tags" Target="../tags/tag645.xml"/><Relationship Id="rId127" Type="http://schemas.openxmlformats.org/officeDocument/2006/relationships/tags" Target="../tags/tag666.xml"/><Relationship Id="rId10" Type="http://schemas.openxmlformats.org/officeDocument/2006/relationships/tags" Target="../tags/tag549.xml"/><Relationship Id="rId31" Type="http://schemas.openxmlformats.org/officeDocument/2006/relationships/tags" Target="../tags/tag570.xml"/><Relationship Id="rId52" Type="http://schemas.openxmlformats.org/officeDocument/2006/relationships/tags" Target="../tags/tag591.xml"/><Relationship Id="rId73" Type="http://schemas.openxmlformats.org/officeDocument/2006/relationships/tags" Target="../tags/tag612.xml"/><Relationship Id="rId78" Type="http://schemas.openxmlformats.org/officeDocument/2006/relationships/tags" Target="../tags/tag617.xml"/><Relationship Id="rId94" Type="http://schemas.openxmlformats.org/officeDocument/2006/relationships/tags" Target="../tags/tag633.xml"/><Relationship Id="rId99" Type="http://schemas.openxmlformats.org/officeDocument/2006/relationships/tags" Target="../tags/tag638.xml"/><Relationship Id="rId101" Type="http://schemas.openxmlformats.org/officeDocument/2006/relationships/tags" Target="../tags/tag640.xml"/><Relationship Id="rId122" Type="http://schemas.openxmlformats.org/officeDocument/2006/relationships/tags" Target="../tags/tag661.xml"/><Relationship Id="rId143" Type="http://schemas.openxmlformats.org/officeDocument/2006/relationships/tags" Target="../tags/tag682.xml"/><Relationship Id="rId148" Type="http://schemas.openxmlformats.org/officeDocument/2006/relationships/tags" Target="../tags/tag687.xml"/><Relationship Id="rId4" Type="http://schemas.openxmlformats.org/officeDocument/2006/relationships/tags" Target="../tags/tag543.xml"/><Relationship Id="rId9" Type="http://schemas.openxmlformats.org/officeDocument/2006/relationships/tags" Target="../tags/tag548.xml"/><Relationship Id="rId26" Type="http://schemas.openxmlformats.org/officeDocument/2006/relationships/tags" Target="../tags/tag565.xml"/><Relationship Id="rId47" Type="http://schemas.openxmlformats.org/officeDocument/2006/relationships/tags" Target="../tags/tag586.xml"/><Relationship Id="rId68" Type="http://schemas.openxmlformats.org/officeDocument/2006/relationships/tags" Target="../tags/tag607.xml"/><Relationship Id="rId89" Type="http://schemas.openxmlformats.org/officeDocument/2006/relationships/tags" Target="../tags/tag628.xml"/><Relationship Id="rId112" Type="http://schemas.openxmlformats.org/officeDocument/2006/relationships/tags" Target="../tags/tag651.xml"/><Relationship Id="rId133" Type="http://schemas.openxmlformats.org/officeDocument/2006/relationships/tags" Target="../tags/tag672.xml"/><Relationship Id="rId154" Type="http://schemas.openxmlformats.org/officeDocument/2006/relationships/tags" Target="../tags/tag693.xml"/><Relationship Id="rId16" Type="http://schemas.openxmlformats.org/officeDocument/2006/relationships/tags" Target="../tags/tag555.xml"/><Relationship Id="rId37" Type="http://schemas.openxmlformats.org/officeDocument/2006/relationships/tags" Target="../tags/tag576.xml"/><Relationship Id="rId58" Type="http://schemas.openxmlformats.org/officeDocument/2006/relationships/tags" Target="../tags/tag597.xml"/><Relationship Id="rId79" Type="http://schemas.openxmlformats.org/officeDocument/2006/relationships/tags" Target="../tags/tag618.xml"/><Relationship Id="rId102" Type="http://schemas.openxmlformats.org/officeDocument/2006/relationships/tags" Target="../tags/tag641.xml"/><Relationship Id="rId123" Type="http://schemas.openxmlformats.org/officeDocument/2006/relationships/tags" Target="../tags/tag662.xml"/><Relationship Id="rId144" Type="http://schemas.openxmlformats.org/officeDocument/2006/relationships/tags" Target="../tags/tag683.xml"/><Relationship Id="rId90" Type="http://schemas.openxmlformats.org/officeDocument/2006/relationships/tags" Target="../tags/tag629.xml"/><Relationship Id="rId27" Type="http://schemas.openxmlformats.org/officeDocument/2006/relationships/tags" Target="../tags/tag566.xml"/><Relationship Id="rId48" Type="http://schemas.openxmlformats.org/officeDocument/2006/relationships/tags" Target="../tags/tag587.xml"/><Relationship Id="rId69" Type="http://schemas.openxmlformats.org/officeDocument/2006/relationships/tags" Target="../tags/tag608.xml"/><Relationship Id="rId113" Type="http://schemas.openxmlformats.org/officeDocument/2006/relationships/tags" Target="../tags/tag652.xml"/><Relationship Id="rId134" Type="http://schemas.openxmlformats.org/officeDocument/2006/relationships/tags" Target="../tags/tag673.xml"/></Relationships>
</file>

<file path=ppt/slides/_rels/slide11.xml.rels><?xml version="1.0" encoding="UTF-8" standalone="yes"?>
<Relationships xmlns="http://schemas.openxmlformats.org/package/2006/relationships"><Relationship Id="rId117" Type="http://schemas.openxmlformats.org/officeDocument/2006/relationships/tags" Target="../tags/tag812.xml"/><Relationship Id="rId21" Type="http://schemas.openxmlformats.org/officeDocument/2006/relationships/tags" Target="../tags/tag716.xml"/><Relationship Id="rId42" Type="http://schemas.openxmlformats.org/officeDocument/2006/relationships/tags" Target="../tags/tag737.xml"/><Relationship Id="rId63" Type="http://schemas.openxmlformats.org/officeDocument/2006/relationships/tags" Target="../tags/tag758.xml"/><Relationship Id="rId84" Type="http://schemas.openxmlformats.org/officeDocument/2006/relationships/tags" Target="../tags/tag779.xml"/><Relationship Id="rId138" Type="http://schemas.openxmlformats.org/officeDocument/2006/relationships/tags" Target="../tags/tag833.xml"/><Relationship Id="rId107" Type="http://schemas.openxmlformats.org/officeDocument/2006/relationships/tags" Target="../tags/tag802.xml"/><Relationship Id="rId11" Type="http://schemas.openxmlformats.org/officeDocument/2006/relationships/tags" Target="../tags/tag706.xml"/><Relationship Id="rId32" Type="http://schemas.openxmlformats.org/officeDocument/2006/relationships/tags" Target="../tags/tag727.xml"/><Relationship Id="rId53" Type="http://schemas.openxmlformats.org/officeDocument/2006/relationships/tags" Target="../tags/tag748.xml"/><Relationship Id="rId74" Type="http://schemas.openxmlformats.org/officeDocument/2006/relationships/tags" Target="../tags/tag769.xml"/><Relationship Id="rId128" Type="http://schemas.openxmlformats.org/officeDocument/2006/relationships/tags" Target="../tags/tag823.xml"/><Relationship Id="rId149" Type="http://schemas.openxmlformats.org/officeDocument/2006/relationships/tags" Target="../tags/tag844.xml"/><Relationship Id="rId5" Type="http://schemas.openxmlformats.org/officeDocument/2006/relationships/tags" Target="../tags/tag700.xml"/><Relationship Id="rId95" Type="http://schemas.openxmlformats.org/officeDocument/2006/relationships/tags" Target="../tags/tag790.xml"/><Relationship Id="rId22" Type="http://schemas.openxmlformats.org/officeDocument/2006/relationships/tags" Target="../tags/tag717.xml"/><Relationship Id="rId27" Type="http://schemas.openxmlformats.org/officeDocument/2006/relationships/tags" Target="../tags/tag722.xml"/><Relationship Id="rId43" Type="http://schemas.openxmlformats.org/officeDocument/2006/relationships/tags" Target="../tags/tag738.xml"/><Relationship Id="rId48" Type="http://schemas.openxmlformats.org/officeDocument/2006/relationships/tags" Target="../tags/tag743.xml"/><Relationship Id="rId64" Type="http://schemas.openxmlformats.org/officeDocument/2006/relationships/tags" Target="../tags/tag759.xml"/><Relationship Id="rId69" Type="http://schemas.openxmlformats.org/officeDocument/2006/relationships/tags" Target="../tags/tag764.xml"/><Relationship Id="rId113" Type="http://schemas.openxmlformats.org/officeDocument/2006/relationships/tags" Target="../tags/tag808.xml"/><Relationship Id="rId118" Type="http://schemas.openxmlformats.org/officeDocument/2006/relationships/tags" Target="../tags/tag813.xml"/><Relationship Id="rId134" Type="http://schemas.openxmlformats.org/officeDocument/2006/relationships/tags" Target="../tags/tag829.xml"/><Relationship Id="rId139" Type="http://schemas.openxmlformats.org/officeDocument/2006/relationships/tags" Target="../tags/tag834.xml"/><Relationship Id="rId80" Type="http://schemas.openxmlformats.org/officeDocument/2006/relationships/tags" Target="../tags/tag775.xml"/><Relationship Id="rId85" Type="http://schemas.openxmlformats.org/officeDocument/2006/relationships/tags" Target="../tags/tag780.xml"/><Relationship Id="rId150" Type="http://schemas.openxmlformats.org/officeDocument/2006/relationships/tags" Target="../tags/tag845.xml"/><Relationship Id="rId155" Type="http://schemas.openxmlformats.org/officeDocument/2006/relationships/oleObject" Target="../embeddings/oleObject63.bin"/><Relationship Id="rId12" Type="http://schemas.openxmlformats.org/officeDocument/2006/relationships/tags" Target="../tags/tag707.xml"/><Relationship Id="rId17" Type="http://schemas.openxmlformats.org/officeDocument/2006/relationships/tags" Target="../tags/tag712.xml"/><Relationship Id="rId33" Type="http://schemas.openxmlformats.org/officeDocument/2006/relationships/tags" Target="../tags/tag728.xml"/><Relationship Id="rId38" Type="http://schemas.openxmlformats.org/officeDocument/2006/relationships/tags" Target="../tags/tag733.xml"/><Relationship Id="rId59" Type="http://schemas.openxmlformats.org/officeDocument/2006/relationships/tags" Target="../tags/tag754.xml"/><Relationship Id="rId103" Type="http://schemas.openxmlformats.org/officeDocument/2006/relationships/tags" Target="../tags/tag798.xml"/><Relationship Id="rId108" Type="http://schemas.openxmlformats.org/officeDocument/2006/relationships/tags" Target="../tags/tag803.xml"/><Relationship Id="rId124" Type="http://schemas.openxmlformats.org/officeDocument/2006/relationships/tags" Target="../tags/tag819.xml"/><Relationship Id="rId129" Type="http://schemas.openxmlformats.org/officeDocument/2006/relationships/tags" Target="../tags/tag824.xml"/><Relationship Id="rId54" Type="http://schemas.openxmlformats.org/officeDocument/2006/relationships/tags" Target="../tags/tag749.xml"/><Relationship Id="rId70" Type="http://schemas.openxmlformats.org/officeDocument/2006/relationships/tags" Target="../tags/tag765.xml"/><Relationship Id="rId75" Type="http://schemas.openxmlformats.org/officeDocument/2006/relationships/tags" Target="../tags/tag770.xml"/><Relationship Id="rId91" Type="http://schemas.openxmlformats.org/officeDocument/2006/relationships/tags" Target="../tags/tag786.xml"/><Relationship Id="rId96" Type="http://schemas.openxmlformats.org/officeDocument/2006/relationships/tags" Target="../tags/tag791.xml"/><Relationship Id="rId140" Type="http://schemas.openxmlformats.org/officeDocument/2006/relationships/tags" Target="../tags/tag835.xml"/><Relationship Id="rId145" Type="http://schemas.openxmlformats.org/officeDocument/2006/relationships/tags" Target="../tags/tag840.xml"/><Relationship Id="rId1" Type="http://schemas.openxmlformats.org/officeDocument/2006/relationships/tags" Target="../tags/tag696.xml"/><Relationship Id="rId6" Type="http://schemas.openxmlformats.org/officeDocument/2006/relationships/tags" Target="../tags/tag701.xml"/><Relationship Id="rId23" Type="http://schemas.openxmlformats.org/officeDocument/2006/relationships/tags" Target="../tags/tag718.xml"/><Relationship Id="rId28" Type="http://schemas.openxmlformats.org/officeDocument/2006/relationships/tags" Target="../tags/tag723.xml"/><Relationship Id="rId49" Type="http://schemas.openxmlformats.org/officeDocument/2006/relationships/tags" Target="../tags/tag744.xml"/><Relationship Id="rId114" Type="http://schemas.openxmlformats.org/officeDocument/2006/relationships/tags" Target="../tags/tag809.xml"/><Relationship Id="rId119" Type="http://schemas.openxmlformats.org/officeDocument/2006/relationships/tags" Target="../tags/tag814.xml"/><Relationship Id="rId44" Type="http://schemas.openxmlformats.org/officeDocument/2006/relationships/tags" Target="../tags/tag739.xml"/><Relationship Id="rId60" Type="http://schemas.openxmlformats.org/officeDocument/2006/relationships/tags" Target="../tags/tag755.xml"/><Relationship Id="rId65" Type="http://schemas.openxmlformats.org/officeDocument/2006/relationships/tags" Target="../tags/tag760.xml"/><Relationship Id="rId81" Type="http://schemas.openxmlformats.org/officeDocument/2006/relationships/tags" Target="../tags/tag776.xml"/><Relationship Id="rId86" Type="http://schemas.openxmlformats.org/officeDocument/2006/relationships/tags" Target="../tags/tag781.xml"/><Relationship Id="rId130" Type="http://schemas.openxmlformats.org/officeDocument/2006/relationships/tags" Target="../tags/tag825.xml"/><Relationship Id="rId135" Type="http://schemas.openxmlformats.org/officeDocument/2006/relationships/tags" Target="../tags/tag830.xml"/><Relationship Id="rId151" Type="http://schemas.openxmlformats.org/officeDocument/2006/relationships/tags" Target="../tags/tag846.xml"/><Relationship Id="rId156" Type="http://schemas.openxmlformats.org/officeDocument/2006/relationships/image" Target="../media/image14.emf"/><Relationship Id="rId13" Type="http://schemas.openxmlformats.org/officeDocument/2006/relationships/tags" Target="../tags/tag708.xml"/><Relationship Id="rId18" Type="http://schemas.openxmlformats.org/officeDocument/2006/relationships/tags" Target="../tags/tag713.xml"/><Relationship Id="rId39" Type="http://schemas.openxmlformats.org/officeDocument/2006/relationships/tags" Target="../tags/tag734.xml"/><Relationship Id="rId109" Type="http://schemas.openxmlformats.org/officeDocument/2006/relationships/tags" Target="../tags/tag804.xml"/><Relationship Id="rId34" Type="http://schemas.openxmlformats.org/officeDocument/2006/relationships/tags" Target="../tags/tag729.xml"/><Relationship Id="rId50" Type="http://schemas.openxmlformats.org/officeDocument/2006/relationships/tags" Target="../tags/tag745.xml"/><Relationship Id="rId55" Type="http://schemas.openxmlformats.org/officeDocument/2006/relationships/tags" Target="../tags/tag750.xml"/><Relationship Id="rId76" Type="http://schemas.openxmlformats.org/officeDocument/2006/relationships/tags" Target="../tags/tag771.xml"/><Relationship Id="rId97" Type="http://schemas.openxmlformats.org/officeDocument/2006/relationships/tags" Target="../tags/tag792.xml"/><Relationship Id="rId104" Type="http://schemas.openxmlformats.org/officeDocument/2006/relationships/tags" Target="../tags/tag799.xml"/><Relationship Id="rId120" Type="http://schemas.openxmlformats.org/officeDocument/2006/relationships/tags" Target="../tags/tag815.xml"/><Relationship Id="rId125" Type="http://schemas.openxmlformats.org/officeDocument/2006/relationships/tags" Target="../tags/tag820.xml"/><Relationship Id="rId141" Type="http://schemas.openxmlformats.org/officeDocument/2006/relationships/tags" Target="../tags/tag836.xml"/><Relationship Id="rId146" Type="http://schemas.openxmlformats.org/officeDocument/2006/relationships/tags" Target="../tags/tag841.xml"/><Relationship Id="rId7" Type="http://schemas.openxmlformats.org/officeDocument/2006/relationships/tags" Target="../tags/tag702.xml"/><Relationship Id="rId71" Type="http://schemas.openxmlformats.org/officeDocument/2006/relationships/tags" Target="../tags/tag766.xml"/><Relationship Id="rId92" Type="http://schemas.openxmlformats.org/officeDocument/2006/relationships/tags" Target="../tags/tag787.xml"/><Relationship Id="rId2" Type="http://schemas.openxmlformats.org/officeDocument/2006/relationships/tags" Target="../tags/tag697.xml"/><Relationship Id="rId29" Type="http://schemas.openxmlformats.org/officeDocument/2006/relationships/tags" Target="../tags/tag724.xml"/><Relationship Id="rId24" Type="http://schemas.openxmlformats.org/officeDocument/2006/relationships/tags" Target="../tags/tag719.xml"/><Relationship Id="rId40" Type="http://schemas.openxmlformats.org/officeDocument/2006/relationships/tags" Target="../tags/tag735.xml"/><Relationship Id="rId45" Type="http://schemas.openxmlformats.org/officeDocument/2006/relationships/tags" Target="../tags/tag740.xml"/><Relationship Id="rId66" Type="http://schemas.openxmlformats.org/officeDocument/2006/relationships/tags" Target="../tags/tag761.xml"/><Relationship Id="rId87" Type="http://schemas.openxmlformats.org/officeDocument/2006/relationships/tags" Target="../tags/tag782.xml"/><Relationship Id="rId110" Type="http://schemas.openxmlformats.org/officeDocument/2006/relationships/tags" Target="../tags/tag805.xml"/><Relationship Id="rId115" Type="http://schemas.openxmlformats.org/officeDocument/2006/relationships/tags" Target="../tags/tag810.xml"/><Relationship Id="rId131" Type="http://schemas.openxmlformats.org/officeDocument/2006/relationships/tags" Target="../tags/tag826.xml"/><Relationship Id="rId136" Type="http://schemas.openxmlformats.org/officeDocument/2006/relationships/tags" Target="../tags/tag831.xml"/><Relationship Id="rId61" Type="http://schemas.openxmlformats.org/officeDocument/2006/relationships/tags" Target="../tags/tag756.xml"/><Relationship Id="rId82" Type="http://schemas.openxmlformats.org/officeDocument/2006/relationships/tags" Target="../tags/tag777.xml"/><Relationship Id="rId152" Type="http://schemas.openxmlformats.org/officeDocument/2006/relationships/tags" Target="../tags/tag847.xml"/><Relationship Id="rId19" Type="http://schemas.openxmlformats.org/officeDocument/2006/relationships/tags" Target="../tags/tag714.xml"/><Relationship Id="rId14" Type="http://schemas.openxmlformats.org/officeDocument/2006/relationships/tags" Target="../tags/tag709.xml"/><Relationship Id="rId30" Type="http://schemas.openxmlformats.org/officeDocument/2006/relationships/tags" Target="../tags/tag725.xml"/><Relationship Id="rId35" Type="http://schemas.openxmlformats.org/officeDocument/2006/relationships/tags" Target="../tags/tag730.xml"/><Relationship Id="rId56" Type="http://schemas.openxmlformats.org/officeDocument/2006/relationships/tags" Target="../tags/tag751.xml"/><Relationship Id="rId77" Type="http://schemas.openxmlformats.org/officeDocument/2006/relationships/tags" Target="../tags/tag772.xml"/><Relationship Id="rId100" Type="http://schemas.openxmlformats.org/officeDocument/2006/relationships/tags" Target="../tags/tag795.xml"/><Relationship Id="rId105" Type="http://schemas.openxmlformats.org/officeDocument/2006/relationships/tags" Target="../tags/tag800.xml"/><Relationship Id="rId126" Type="http://schemas.openxmlformats.org/officeDocument/2006/relationships/tags" Target="../tags/tag821.xml"/><Relationship Id="rId147" Type="http://schemas.openxmlformats.org/officeDocument/2006/relationships/tags" Target="../tags/tag842.xml"/><Relationship Id="rId8" Type="http://schemas.openxmlformats.org/officeDocument/2006/relationships/tags" Target="../tags/tag703.xml"/><Relationship Id="rId51" Type="http://schemas.openxmlformats.org/officeDocument/2006/relationships/tags" Target="../tags/tag746.xml"/><Relationship Id="rId72" Type="http://schemas.openxmlformats.org/officeDocument/2006/relationships/tags" Target="../tags/tag767.xml"/><Relationship Id="rId93" Type="http://schemas.openxmlformats.org/officeDocument/2006/relationships/tags" Target="../tags/tag788.xml"/><Relationship Id="rId98" Type="http://schemas.openxmlformats.org/officeDocument/2006/relationships/tags" Target="../tags/tag793.xml"/><Relationship Id="rId121" Type="http://schemas.openxmlformats.org/officeDocument/2006/relationships/tags" Target="../tags/tag816.xml"/><Relationship Id="rId142" Type="http://schemas.openxmlformats.org/officeDocument/2006/relationships/tags" Target="../tags/tag837.xml"/><Relationship Id="rId3" Type="http://schemas.openxmlformats.org/officeDocument/2006/relationships/tags" Target="../tags/tag698.xml"/><Relationship Id="rId25" Type="http://schemas.openxmlformats.org/officeDocument/2006/relationships/tags" Target="../tags/tag720.xml"/><Relationship Id="rId46" Type="http://schemas.openxmlformats.org/officeDocument/2006/relationships/tags" Target="../tags/tag741.xml"/><Relationship Id="rId67" Type="http://schemas.openxmlformats.org/officeDocument/2006/relationships/tags" Target="../tags/tag762.xml"/><Relationship Id="rId116" Type="http://schemas.openxmlformats.org/officeDocument/2006/relationships/tags" Target="../tags/tag811.xml"/><Relationship Id="rId137" Type="http://schemas.openxmlformats.org/officeDocument/2006/relationships/tags" Target="../tags/tag832.xml"/><Relationship Id="rId20" Type="http://schemas.openxmlformats.org/officeDocument/2006/relationships/tags" Target="../tags/tag715.xml"/><Relationship Id="rId41" Type="http://schemas.openxmlformats.org/officeDocument/2006/relationships/tags" Target="../tags/tag736.xml"/><Relationship Id="rId62" Type="http://schemas.openxmlformats.org/officeDocument/2006/relationships/tags" Target="../tags/tag757.xml"/><Relationship Id="rId83" Type="http://schemas.openxmlformats.org/officeDocument/2006/relationships/tags" Target="../tags/tag778.xml"/><Relationship Id="rId88" Type="http://schemas.openxmlformats.org/officeDocument/2006/relationships/tags" Target="../tags/tag783.xml"/><Relationship Id="rId111" Type="http://schemas.openxmlformats.org/officeDocument/2006/relationships/tags" Target="../tags/tag806.xml"/><Relationship Id="rId132" Type="http://schemas.openxmlformats.org/officeDocument/2006/relationships/tags" Target="../tags/tag827.xml"/><Relationship Id="rId153" Type="http://schemas.openxmlformats.org/officeDocument/2006/relationships/slideLayout" Target="../slideLayouts/slideLayout58.xml"/><Relationship Id="rId15" Type="http://schemas.openxmlformats.org/officeDocument/2006/relationships/tags" Target="../tags/tag710.xml"/><Relationship Id="rId36" Type="http://schemas.openxmlformats.org/officeDocument/2006/relationships/tags" Target="../tags/tag731.xml"/><Relationship Id="rId57" Type="http://schemas.openxmlformats.org/officeDocument/2006/relationships/tags" Target="../tags/tag752.xml"/><Relationship Id="rId106" Type="http://schemas.openxmlformats.org/officeDocument/2006/relationships/tags" Target="../tags/tag801.xml"/><Relationship Id="rId127" Type="http://schemas.openxmlformats.org/officeDocument/2006/relationships/tags" Target="../tags/tag822.xml"/><Relationship Id="rId10" Type="http://schemas.openxmlformats.org/officeDocument/2006/relationships/tags" Target="../tags/tag705.xml"/><Relationship Id="rId31" Type="http://schemas.openxmlformats.org/officeDocument/2006/relationships/tags" Target="../tags/tag726.xml"/><Relationship Id="rId52" Type="http://schemas.openxmlformats.org/officeDocument/2006/relationships/tags" Target="../tags/tag747.xml"/><Relationship Id="rId73" Type="http://schemas.openxmlformats.org/officeDocument/2006/relationships/tags" Target="../tags/tag768.xml"/><Relationship Id="rId78" Type="http://schemas.openxmlformats.org/officeDocument/2006/relationships/tags" Target="../tags/tag773.xml"/><Relationship Id="rId94" Type="http://schemas.openxmlformats.org/officeDocument/2006/relationships/tags" Target="../tags/tag789.xml"/><Relationship Id="rId99" Type="http://schemas.openxmlformats.org/officeDocument/2006/relationships/tags" Target="../tags/tag794.xml"/><Relationship Id="rId101" Type="http://schemas.openxmlformats.org/officeDocument/2006/relationships/tags" Target="../tags/tag796.xml"/><Relationship Id="rId122" Type="http://schemas.openxmlformats.org/officeDocument/2006/relationships/tags" Target="../tags/tag817.xml"/><Relationship Id="rId143" Type="http://schemas.openxmlformats.org/officeDocument/2006/relationships/tags" Target="../tags/tag838.xml"/><Relationship Id="rId148" Type="http://schemas.openxmlformats.org/officeDocument/2006/relationships/tags" Target="../tags/tag843.xml"/><Relationship Id="rId4" Type="http://schemas.openxmlformats.org/officeDocument/2006/relationships/tags" Target="../tags/tag699.xml"/><Relationship Id="rId9" Type="http://schemas.openxmlformats.org/officeDocument/2006/relationships/tags" Target="../tags/tag704.xml"/><Relationship Id="rId26" Type="http://schemas.openxmlformats.org/officeDocument/2006/relationships/tags" Target="../tags/tag721.xml"/><Relationship Id="rId47" Type="http://schemas.openxmlformats.org/officeDocument/2006/relationships/tags" Target="../tags/tag742.xml"/><Relationship Id="rId68" Type="http://schemas.openxmlformats.org/officeDocument/2006/relationships/tags" Target="../tags/tag763.xml"/><Relationship Id="rId89" Type="http://schemas.openxmlformats.org/officeDocument/2006/relationships/tags" Target="../tags/tag784.xml"/><Relationship Id="rId112" Type="http://schemas.openxmlformats.org/officeDocument/2006/relationships/tags" Target="../tags/tag807.xml"/><Relationship Id="rId133" Type="http://schemas.openxmlformats.org/officeDocument/2006/relationships/tags" Target="../tags/tag828.xml"/><Relationship Id="rId154" Type="http://schemas.openxmlformats.org/officeDocument/2006/relationships/notesSlide" Target="../notesSlides/notesSlide5.xml"/><Relationship Id="rId16" Type="http://schemas.openxmlformats.org/officeDocument/2006/relationships/tags" Target="../tags/tag711.xml"/><Relationship Id="rId37" Type="http://schemas.openxmlformats.org/officeDocument/2006/relationships/tags" Target="../tags/tag732.xml"/><Relationship Id="rId58" Type="http://schemas.openxmlformats.org/officeDocument/2006/relationships/tags" Target="../tags/tag753.xml"/><Relationship Id="rId79" Type="http://schemas.openxmlformats.org/officeDocument/2006/relationships/tags" Target="../tags/tag774.xml"/><Relationship Id="rId102" Type="http://schemas.openxmlformats.org/officeDocument/2006/relationships/tags" Target="../tags/tag797.xml"/><Relationship Id="rId123" Type="http://schemas.openxmlformats.org/officeDocument/2006/relationships/tags" Target="../tags/tag818.xml"/><Relationship Id="rId144" Type="http://schemas.openxmlformats.org/officeDocument/2006/relationships/tags" Target="../tags/tag839.xml"/><Relationship Id="rId90" Type="http://schemas.openxmlformats.org/officeDocument/2006/relationships/tags" Target="../tags/tag785.xml"/></Relationships>
</file>

<file path=ppt/slides/_rels/slide12.xml.rels><?xml version="1.0" encoding="UTF-8" standalone="yes"?>
<Relationships xmlns="http://schemas.openxmlformats.org/package/2006/relationships"><Relationship Id="rId117" Type="http://schemas.openxmlformats.org/officeDocument/2006/relationships/tags" Target="../tags/tag964.xml"/><Relationship Id="rId21" Type="http://schemas.openxmlformats.org/officeDocument/2006/relationships/tags" Target="../tags/tag868.xml"/><Relationship Id="rId42" Type="http://schemas.openxmlformats.org/officeDocument/2006/relationships/tags" Target="../tags/tag889.xml"/><Relationship Id="rId63" Type="http://schemas.openxmlformats.org/officeDocument/2006/relationships/tags" Target="../tags/tag910.xml"/><Relationship Id="rId84" Type="http://schemas.openxmlformats.org/officeDocument/2006/relationships/tags" Target="../tags/tag931.xml"/><Relationship Id="rId138" Type="http://schemas.openxmlformats.org/officeDocument/2006/relationships/tags" Target="../tags/tag985.xml"/><Relationship Id="rId107" Type="http://schemas.openxmlformats.org/officeDocument/2006/relationships/tags" Target="../tags/tag954.xml"/><Relationship Id="rId11" Type="http://schemas.openxmlformats.org/officeDocument/2006/relationships/tags" Target="../tags/tag858.xml"/><Relationship Id="rId32" Type="http://schemas.openxmlformats.org/officeDocument/2006/relationships/tags" Target="../tags/tag879.xml"/><Relationship Id="rId53" Type="http://schemas.openxmlformats.org/officeDocument/2006/relationships/tags" Target="../tags/tag900.xml"/><Relationship Id="rId74" Type="http://schemas.openxmlformats.org/officeDocument/2006/relationships/tags" Target="../tags/tag921.xml"/><Relationship Id="rId128" Type="http://schemas.openxmlformats.org/officeDocument/2006/relationships/tags" Target="../tags/tag975.xml"/><Relationship Id="rId149" Type="http://schemas.openxmlformats.org/officeDocument/2006/relationships/tags" Target="../tags/tag996.xml"/><Relationship Id="rId5" Type="http://schemas.openxmlformats.org/officeDocument/2006/relationships/tags" Target="../tags/tag852.xml"/><Relationship Id="rId95" Type="http://schemas.openxmlformats.org/officeDocument/2006/relationships/tags" Target="../tags/tag942.xml"/><Relationship Id="rId22" Type="http://schemas.openxmlformats.org/officeDocument/2006/relationships/tags" Target="../tags/tag869.xml"/><Relationship Id="rId27" Type="http://schemas.openxmlformats.org/officeDocument/2006/relationships/tags" Target="../tags/tag874.xml"/><Relationship Id="rId43" Type="http://schemas.openxmlformats.org/officeDocument/2006/relationships/tags" Target="../tags/tag890.xml"/><Relationship Id="rId48" Type="http://schemas.openxmlformats.org/officeDocument/2006/relationships/tags" Target="../tags/tag895.xml"/><Relationship Id="rId64" Type="http://schemas.openxmlformats.org/officeDocument/2006/relationships/tags" Target="../tags/tag911.xml"/><Relationship Id="rId69" Type="http://schemas.openxmlformats.org/officeDocument/2006/relationships/tags" Target="../tags/tag916.xml"/><Relationship Id="rId113" Type="http://schemas.openxmlformats.org/officeDocument/2006/relationships/tags" Target="../tags/tag960.xml"/><Relationship Id="rId118" Type="http://schemas.openxmlformats.org/officeDocument/2006/relationships/tags" Target="../tags/tag965.xml"/><Relationship Id="rId134" Type="http://schemas.openxmlformats.org/officeDocument/2006/relationships/tags" Target="../tags/tag981.xml"/><Relationship Id="rId139" Type="http://schemas.openxmlformats.org/officeDocument/2006/relationships/tags" Target="../tags/tag986.xml"/><Relationship Id="rId80" Type="http://schemas.openxmlformats.org/officeDocument/2006/relationships/tags" Target="../tags/tag927.xml"/><Relationship Id="rId85" Type="http://schemas.openxmlformats.org/officeDocument/2006/relationships/tags" Target="../tags/tag932.xml"/><Relationship Id="rId150" Type="http://schemas.openxmlformats.org/officeDocument/2006/relationships/tags" Target="../tags/tag997.xml"/><Relationship Id="rId155" Type="http://schemas.openxmlformats.org/officeDocument/2006/relationships/image" Target="../media/image14.emf"/><Relationship Id="rId12" Type="http://schemas.openxmlformats.org/officeDocument/2006/relationships/tags" Target="../tags/tag859.xml"/><Relationship Id="rId17" Type="http://schemas.openxmlformats.org/officeDocument/2006/relationships/tags" Target="../tags/tag864.xml"/><Relationship Id="rId33" Type="http://schemas.openxmlformats.org/officeDocument/2006/relationships/tags" Target="../tags/tag880.xml"/><Relationship Id="rId38" Type="http://schemas.openxmlformats.org/officeDocument/2006/relationships/tags" Target="../tags/tag885.xml"/><Relationship Id="rId59" Type="http://schemas.openxmlformats.org/officeDocument/2006/relationships/tags" Target="../tags/tag906.xml"/><Relationship Id="rId103" Type="http://schemas.openxmlformats.org/officeDocument/2006/relationships/tags" Target="../tags/tag950.xml"/><Relationship Id="rId108" Type="http://schemas.openxmlformats.org/officeDocument/2006/relationships/tags" Target="../tags/tag955.xml"/><Relationship Id="rId124" Type="http://schemas.openxmlformats.org/officeDocument/2006/relationships/tags" Target="../tags/tag971.xml"/><Relationship Id="rId129" Type="http://schemas.openxmlformats.org/officeDocument/2006/relationships/tags" Target="../tags/tag976.xml"/><Relationship Id="rId54" Type="http://schemas.openxmlformats.org/officeDocument/2006/relationships/tags" Target="../tags/tag901.xml"/><Relationship Id="rId70" Type="http://schemas.openxmlformats.org/officeDocument/2006/relationships/tags" Target="../tags/tag917.xml"/><Relationship Id="rId75" Type="http://schemas.openxmlformats.org/officeDocument/2006/relationships/tags" Target="../tags/tag922.xml"/><Relationship Id="rId91" Type="http://schemas.openxmlformats.org/officeDocument/2006/relationships/tags" Target="../tags/tag938.xml"/><Relationship Id="rId96" Type="http://schemas.openxmlformats.org/officeDocument/2006/relationships/tags" Target="../tags/tag943.xml"/><Relationship Id="rId140" Type="http://schemas.openxmlformats.org/officeDocument/2006/relationships/tags" Target="../tags/tag987.xml"/><Relationship Id="rId145" Type="http://schemas.openxmlformats.org/officeDocument/2006/relationships/tags" Target="../tags/tag992.xml"/><Relationship Id="rId1" Type="http://schemas.openxmlformats.org/officeDocument/2006/relationships/tags" Target="../tags/tag848.xml"/><Relationship Id="rId6" Type="http://schemas.openxmlformats.org/officeDocument/2006/relationships/tags" Target="../tags/tag853.xml"/><Relationship Id="rId23" Type="http://schemas.openxmlformats.org/officeDocument/2006/relationships/tags" Target="../tags/tag870.xml"/><Relationship Id="rId28" Type="http://schemas.openxmlformats.org/officeDocument/2006/relationships/tags" Target="../tags/tag875.xml"/><Relationship Id="rId49" Type="http://schemas.openxmlformats.org/officeDocument/2006/relationships/tags" Target="../tags/tag896.xml"/><Relationship Id="rId114" Type="http://schemas.openxmlformats.org/officeDocument/2006/relationships/tags" Target="../tags/tag961.xml"/><Relationship Id="rId119" Type="http://schemas.openxmlformats.org/officeDocument/2006/relationships/tags" Target="../tags/tag966.xml"/><Relationship Id="rId44" Type="http://schemas.openxmlformats.org/officeDocument/2006/relationships/tags" Target="../tags/tag891.xml"/><Relationship Id="rId60" Type="http://schemas.openxmlformats.org/officeDocument/2006/relationships/tags" Target="../tags/tag907.xml"/><Relationship Id="rId65" Type="http://schemas.openxmlformats.org/officeDocument/2006/relationships/tags" Target="../tags/tag912.xml"/><Relationship Id="rId81" Type="http://schemas.openxmlformats.org/officeDocument/2006/relationships/tags" Target="../tags/tag928.xml"/><Relationship Id="rId86" Type="http://schemas.openxmlformats.org/officeDocument/2006/relationships/tags" Target="../tags/tag933.xml"/><Relationship Id="rId130" Type="http://schemas.openxmlformats.org/officeDocument/2006/relationships/tags" Target="../tags/tag977.xml"/><Relationship Id="rId135" Type="http://schemas.openxmlformats.org/officeDocument/2006/relationships/tags" Target="../tags/tag982.xml"/><Relationship Id="rId151" Type="http://schemas.openxmlformats.org/officeDocument/2006/relationships/tags" Target="../tags/tag998.xml"/><Relationship Id="rId13" Type="http://schemas.openxmlformats.org/officeDocument/2006/relationships/tags" Target="../tags/tag860.xml"/><Relationship Id="rId18" Type="http://schemas.openxmlformats.org/officeDocument/2006/relationships/tags" Target="../tags/tag865.xml"/><Relationship Id="rId39" Type="http://schemas.openxmlformats.org/officeDocument/2006/relationships/tags" Target="../tags/tag886.xml"/><Relationship Id="rId109" Type="http://schemas.openxmlformats.org/officeDocument/2006/relationships/tags" Target="../tags/tag956.xml"/><Relationship Id="rId34" Type="http://schemas.openxmlformats.org/officeDocument/2006/relationships/tags" Target="../tags/tag881.xml"/><Relationship Id="rId50" Type="http://schemas.openxmlformats.org/officeDocument/2006/relationships/tags" Target="../tags/tag897.xml"/><Relationship Id="rId55" Type="http://schemas.openxmlformats.org/officeDocument/2006/relationships/tags" Target="../tags/tag902.xml"/><Relationship Id="rId76" Type="http://schemas.openxmlformats.org/officeDocument/2006/relationships/tags" Target="../tags/tag923.xml"/><Relationship Id="rId97" Type="http://schemas.openxmlformats.org/officeDocument/2006/relationships/tags" Target="../tags/tag944.xml"/><Relationship Id="rId104" Type="http://schemas.openxmlformats.org/officeDocument/2006/relationships/tags" Target="../tags/tag951.xml"/><Relationship Id="rId120" Type="http://schemas.openxmlformats.org/officeDocument/2006/relationships/tags" Target="../tags/tag967.xml"/><Relationship Id="rId125" Type="http://schemas.openxmlformats.org/officeDocument/2006/relationships/tags" Target="../tags/tag972.xml"/><Relationship Id="rId141" Type="http://schemas.openxmlformats.org/officeDocument/2006/relationships/tags" Target="../tags/tag988.xml"/><Relationship Id="rId146" Type="http://schemas.openxmlformats.org/officeDocument/2006/relationships/tags" Target="../tags/tag993.xml"/><Relationship Id="rId7" Type="http://schemas.openxmlformats.org/officeDocument/2006/relationships/tags" Target="../tags/tag854.xml"/><Relationship Id="rId71" Type="http://schemas.openxmlformats.org/officeDocument/2006/relationships/tags" Target="../tags/tag918.xml"/><Relationship Id="rId92" Type="http://schemas.openxmlformats.org/officeDocument/2006/relationships/tags" Target="../tags/tag939.xml"/><Relationship Id="rId2" Type="http://schemas.openxmlformats.org/officeDocument/2006/relationships/tags" Target="../tags/tag849.xml"/><Relationship Id="rId29" Type="http://schemas.openxmlformats.org/officeDocument/2006/relationships/tags" Target="../tags/tag876.xml"/><Relationship Id="rId24" Type="http://schemas.openxmlformats.org/officeDocument/2006/relationships/tags" Target="../tags/tag871.xml"/><Relationship Id="rId40" Type="http://schemas.openxmlformats.org/officeDocument/2006/relationships/tags" Target="../tags/tag887.xml"/><Relationship Id="rId45" Type="http://schemas.openxmlformats.org/officeDocument/2006/relationships/tags" Target="../tags/tag892.xml"/><Relationship Id="rId66" Type="http://schemas.openxmlformats.org/officeDocument/2006/relationships/tags" Target="../tags/tag913.xml"/><Relationship Id="rId87" Type="http://schemas.openxmlformats.org/officeDocument/2006/relationships/tags" Target="../tags/tag934.xml"/><Relationship Id="rId110" Type="http://schemas.openxmlformats.org/officeDocument/2006/relationships/tags" Target="../tags/tag957.xml"/><Relationship Id="rId115" Type="http://schemas.openxmlformats.org/officeDocument/2006/relationships/tags" Target="../tags/tag962.xml"/><Relationship Id="rId131" Type="http://schemas.openxmlformats.org/officeDocument/2006/relationships/tags" Target="../tags/tag978.xml"/><Relationship Id="rId136" Type="http://schemas.openxmlformats.org/officeDocument/2006/relationships/tags" Target="../tags/tag983.xml"/><Relationship Id="rId61" Type="http://schemas.openxmlformats.org/officeDocument/2006/relationships/tags" Target="../tags/tag908.xml"/><Relationship Id="rId82" Type="http://schemas.openxmlformats.org/officeDocument/2006/relationships/tags" Target="../tags/tag929.xml"/><Relationship Id="rId152" Type="http://schemas.openxmlformats.org/officeDocument/2006/relationships/slideLayout" Target="../slideLayouts/slideLayout58.xml"/><Relationship Id="rId19" Type="http://schemas.openxmlformats.org/officeDocument/2006/relationships/tags" Target="../tags/tag866.xml"/><Relationship Id="rId14" Type="http://schemas.openxmlformats.org/officeDocument/2006/relationships/tags" Target="../tags/tag861.xml"/><Relationship Id="rId30" Type="http://schemas.openxmlformats.org/officeDocument/2006/relationships/tags" Target="../tags/tag877.xml"/><Relationship Id="rId35" Type="http://schemas.openxmlformats.org/officeDocument/2006/relationships/tags" Target="../tags/tag882.xml"/><Relationship Id="rId56" Type="http://schemas.openxmlformats.org/officeDocument/2006/relationships/tags" Target="../tags/tag903.xml"/><Relationship Id="rId77" Type="http://schemas.openxmlformats.org/officeDocument/2006/relationships/tags" Target="../tags/tag924.xml"/><Relationship Id="rId100" Type="http://schemas.openxmlformats.org/officeDocument/2006/relationships/tags" Target="../tags/tag947.xml"/><Relationship Id="rId105" Type="http://schemas.openxmlformats.org/officeDocument/2006/relationships/tags" Target="../tags/tag952.xml"/><Relationship Id="rId126" Type="http://schemas.openxmlformats.org/officeDocument/2006/relationships/tags" Target="../tags/tag973.xml"/><Relationship Id="rId147" Type="http://schemas.openxmlformats.org/officeDocument/2006/relationships/tags" Target="../tags/tag994.xml"/><Relationship Id="rId8" Type="http://schemas.openxmlformats.org/officeDocument/2006/relationships/tags" Target="../tags/tag855.xml"/><Relationship Id="rId51" Type="http://schemas.openxmlformats.org/officeDocument/2006/relationships/tags" Target="../tags/tag898.xml"/><Relationship Id="rId72" Type="http://schemas.openxmlformats.org/officeDocument/2006/relationships/tags" Target="../tags/tag919.xml"/><Relationship Id="rId93" Type="http://schemas.openxmlformats.org/officeDocument/2006/relationships/tags" Target="../tags/tag940.xml"/><Relationship Id="rId98" Type="http://schemas.openxmlformats.org/officeDocument/2006/relationships/tags" Target="../tags/tag945.xml"/><Relationship Id="rId121" Type="http://schemas.openxmlformats.org/officeDocument/2006/relationships/tags" Target="../tags/tag968.xml"/><Relationship Id="rId142" Type="http://schemas.openxmlformats.org/officeDocument/2006/relationships/tags" Target="../tags/tag989.xml"/><Relationship Id="rId3" Type="http://schemas.openxmlformats.org/officeDocument/2006/relationships/tags" Target="../tags/tag850.xml"/><Relationship Id="rId25" Type="http://schemas.openxmlformats.org/officeDocument/2006/relationships/tags" Target="../tags/tag872.xml"/><Relationship Id="rId46" Type="http://schemas.openxmlformats.org/officeDocument/2006/relationships/tags" Target="../tags/tag893.xml"/><Relationship Id="rId67" Type="http://schemas.openxmlformats.org/officeDocument/2006/relationships/tags" Target="../tags/tag914.xml"/><Relationship Id="rId116" Type="http://schemas.openxmlformats.org/officeDocument/2006/relationships/tags" Target="../tags/tag963.xml"/><Relationship Id="rId137" Type="http://schemas.openxmlformats.org/officeDocument/2006/relationships/tags" Target="../tags/tag984.xml"/><Relationship Id="rId20" Type="http://schemas.openxmlformats.org/officeDocument/2006/relationships/tags" Target="../tags/tag867.xml"/><Relationship Id="rId41" Type="http://schemas.openxmlformats.org/officeDocument/2006/relationships/tags" Target="../tags/tag888.xml"/><Relationship Id="rId62" Type="http://schemas.openxmlformats.org/officeDocument/2006/relationships/tags" Target="../tags/tag909.xml"/><Relationship Id="rId83" Type="http://schemas.openxmlformats.org/officeDocument/2006/relationships/tags" Target="../tags/tag930.xml"/><Relationship Id="rId88" Type="http://schemas.openxmlformats.org/officeDocument/2006/relationships/tags" Target="../tags/tag935.xml"/><Relationship Id="rId111" Type="http://schemas.openxmlformats.org/officeDocument/2006/relationships/tags" Target="../tags/tag958.xml"/><Relationship Id="rId132" Type="http://schemas.openxmlformats.org/officeDocument/2006/relationships/tags" Target="../tags/tag979.xml"/><Relationship Id="rId153" Type="http://schemas.openxmlformats.org/officeDocument/2006/relationships/notesSlide" Target="../notesSlides/notesSlide6.xml"/><Relationship Id="rId15" Type="http://schemas.openxmlformats.org/officeDocument/2006/relationships/tags" Target="../tags/tag862.xml"/><Relationship Id="rId36" Type="http://schemas.openxmlformats.org/officeDocument/2006/relationships/tags" Target="../tags/tag883.xml"/><Relationship Id="rId57" Type="http://schemas.openxmlformats.org/officeDocument/2006/relationships/tags" Target="../tags/tag904.xml"/><Relationship Id="rId106" Type="http://schemas.openxmlformats.org/officeDocument/2006/relationships/tags" Target="../tags/tag953.xml"/><Relationship Id="rId127" Type="http://schemas.openxmlformats.org/officeDocument/2006/relationships/tags" Target="../tags/tag974.xml"/><Relationship Id="rId10" Type="http://schemas.openxmlformats.org/officeDocument/2006/relationships/tags" Target="../tags/tag857.xml"/><Relationship Id="rId31" Type="http://schemas.openxmlformats.org/officeDocument/2006/relationships/tags" Target="../tags/tag878.xml"/><Relationship Id="rId52" Type="http://schemas.openxmlformats.org/officeDocument/2006/relationships/tags" Target="../tags/tag899.xml"/><Relationship Id="rId73" Type="http://schemas.openxmlformats.org/officeDocument/2006/relationships/tags" Target="../tags/tag920.xml"/><Relationship Id="rId78" Type="http://schemas.openxmlformats.org/officeDocument/2006/relationships/tags" Target="../tags/tag925.xml"/><Relationship Id="rId94" Type="http://schemas.openxmlformats.org/officeDocument/2006/relationships/tags" Target="../tags/tag941.xml"/><Relationship Id="rId99" Type="http://schemas.openxmlformats.org/officeDocument/2006/relationships/tags" Target="../tags/tag946.xml"/><Relationship Id="rId101" Type="http://schemas.openxmlformats.org/officeDocument/2006/relationships/tags" Target="../tags/tag948.xml"/><Relationship Id="rId122" Type="http://schemas.openxmlformats.org/officeDocument/2006/relationships/tags" Target="../tags/tag969.xml"/><Relationship Id="rId143" Type="http://schemas.openxmlformats.org/officeDocument/2006/relationships/tags" Target="../tags/tag990.xml"/><Relationship Id="rId148" Type="http://schemas.openxmlformats.org/officeDocument/2006/relationships/tags" Target="../tags/tag995.xml"/><Relationship Id="rId4" Type="http://schemas.openxmlformats.org/officeDocument/2006/relationships/tags" Target="../tags/tag851.xml"/><Relationship Id="rId9" Type="http://schemas.openxmlformats.org/officeDocument/2006/relationships/tags" Target="../tags/tag856.xml"/><Relationship Id="rId26" Type="http://schemas.openxmlformats.org/officeDocument/2006/relationships/tags" Target="../tags/tag873.xml"/><Relationship Id="rId47" Type="http://schemas.openxmlformats.org/officeDocument/2006/relationships/tags" Target="../tags/tag894.xml"/><Relationship Id="rId68" Type="http://schemas.openxmlformats.org/officeDocument/2006/relationships/tags" Target="../tags/tag915.xml"/><Relationship Id="rId89" Type="http://schemas.openxmlformats.org/officeDocument/2006/relationships/tags" Target="../tags/tag936.xml"/><Relationship Id="rId112" Type="http://schemas.openxmlformats.org/officeDocument/2006/relationships/tags" Target="../tags/tag959.xml"/><Relationship Id="rId133" Type="http://schemas.openxmlformats.org/officeDocument/2006/relationships/tags" Target="../tags/tag980.xml"/><Relationship Id="rId154" Type="http://schemas.openxmlformats.org/officeDocument/2006/relationships/oleObject" Target="../embeddings/oleObject63.bin"/><Relationship Id="rId16" Type="http://schemas.openxmlformats.org/officeDocument/2006/relationships/tags" Target="../tags/tag863.xml"/><Relationship Id="rId37" Type="http://schemas.openxmlformats.org/officeDocument/2006/relationships/tags" Target="../tags/tag884.xml"/><Relationship Id="rId58" Type="http://schemas.openxmlformats.org/officeDocument/2006/relationships/tags" Target="../tags/tag905.xml"/><Relationship Id="rId79" Type="http://schemas.openxmlformats.org/officeDocument/2006/relationships/tags" Target="../tags/tag926.xml"/><Relationship Id="rId102" Type="http://schemas.openxmlformats.org/officeDocument/2006/relationships/tags" Target="../tags/tag949.xml"/><Relationship Id="rId123" Type="http://schemas.openxmlformats.org/officeDocument/2006/relationships/tags" Target="../tags/tag970.xml"/><Relationship Id="rId144" Type="http://schemas.openxmlformats.org/officeDocument/2006/relationships/tags" Target="../tags/tag991.xml"/><Relationship Id="rId90" Type="http://schemas.openxmlformats.org/officeDocument/2006/relationships/tags" Target="../tags/tag93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8" Type="http://schemas.openxmlformats.org/officeDocument/2006/relationships/tags" Target="../tags/tag1006.xml"/><Relationship Id="rId13" Type="http://schemas.openxmlformats.org/officeDocument/2006/relationships/tags" Target="../tags/tag1011.xml"/><Relationship Id="rId18" Type="http://schemas.openxmlformats.org/officeDocument/2006/relationships/slideLayout" Target="../slideLayouts/slideLayout58.xml"/><Relationship Id="rId26" Type="http://schemas.openxmlformats.org/officeDocument/2006/relationships/image" Target="../media/image19.jpeg"/><Relationship Id="rId3" Type="http://schemas.openxmlformats.org/officeDocument/2006/relationships/tags" Target="../tags/tag1001.xml"/><Relationship Id="rId21" Type="http://schemas.openxmlformats.org/officeDocument/2006/relationships/image" Target="../media/image14.emf"/><Relationship Id="rId7" Type="http://schemas.openxmlformats.org/officeDocument/2006/relationships/tags" Target="../tags/tag1005.xml"/><Relationship Id="rId12" Type="http://schemas.openxmlformats.org/officeDocument/2006/relationships/tags" Target="../tags/tag1010.xml"/><Relationship Id="rId17" Type="http://schemas.openxmlformats.org/officeDocument/2006/relationships/tags" Target="../tags/tag1015.xml"/><Relationship Id="rId25" Type="http://schemas.openxmlformats.org/officeDocument/2006/relationships/image" Target="../media/image18.jpeg"/><Relationship Id="rId2" Type="http://schemas.openxmlformats.org/officeDocument/2006/relationships/tags" Target="../tags/tag1000.xml"/><Relationship Id="rId16" Type="http://schemas.openxmlformats.org/officeDocument/2006/relationships/tags" Target="../tags/tag1014.xml"/><Relationship Id="rId20" Type="http://schemas.openxmlformats.org/officeDocument/2006/relationships/oleObject" Target="../embeddings/oleObject64.bin"/><Relationship Id="rId1" Type="http://schemas.openxmlformats.org/officeDocument/2006/relationships/tags" Target="../tags/tag999.xml"/><Relationship Id="rId6" Type="http://schemas.openxmlformats.org/officeDocument/2006/relationships/tags" Target="../tags/tag1004.xml"/><Relationship Id="rId11" Type="http://schemas.openxmlformats.org/officeDocument/2006/relationships/tags" Target="../tags/tag1009.xml"/><Relationship Id="rId24" Type="http://schemas.openxmlformats.org/officeDocument/2006/relationships/image" Target="../media/image17.jpeg"/><Relationship Id="rId5" Type="http://schemas.openxmlformats.org/officeDocument/2006/relationships/tags" Target="../tags/tag1003.xml"/><Relationship Id="rId15" Type="http://schemas.openxmlformats.org/officeDocument/2006/relationships/tags" Target="../tags/tag1013.xml"/><Relationship Id="rId23" Type="http://schemas.openxmlformats.org/officeDocument/2006/relationships/image" Target="../media/image16.jpeg"/><Relationship Id="rId10" Type="http://schemas.openxmlformats.org/officeDocument/2006/relationships/tags" Target="../tags/tag1008.xml"/><Relationship Id="rId19" Type="http://schemas.openxmlformats.org/officeDocument/2006/relationships/notesSlide" Target="../notesSlides/notesSlide7.xml"/><Relationship Id="rId4" Type="http://schemas.openxmlformats.org/officeDocument/2006/relationships/tags" Target="../tags/tag1002.xml"/><Relationship Id="rId9" Type="http://schemas.openxmlformats.org/officeDocument/2006/relationships/tags" Target="../tags/tag1007.xml"/><Relationship Id="rId14" Type="http://schemas.openxmlformats.org/officeDocument/2006/relationships/tags" Target="../tags/tag1012.xml"/><Relationship Id="rId22" Type="http://schemas.openxmlformats.org/officeDocument/2006/relationships/image" Target="../media/image15.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52.xml"/><Relationship Id="rId4" Type="http://schemas.openxmlformats.org/officeDocument/2006/relationships/hyperlink" Target="mailto:%20antonieta.marti@gfk.com" TargetMode="Externa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5.xml"/><Relationship Id="rId1" Type="http://schemas.openxmlformats.org/officeDocument/2006/relationships/tags" Target="../tags/tag62.xml"/></Relationships>
</file>

<file path=ppt/slides/_rels/slide3.xml.rels><?xml version="1.0" encoding="UTF-8" standalone="yes"?>
<Relationships xmlns="http://schemas.openxmlformats.org/package/2006/relationships"><Relationship Id="rId8" Type="http://schemas.openxmlformats.org/officeDocument/2006/relationships/tags" Target="../tags/tag70.xml"/><Relationship Id="rId13" Type="http://schemas.openxmlformats.org/officeDocument/2006/relationships/tags" Target="../tags/tag75.xml"/><Relationship Id="rId18" Type="http://schemas.openxmlformats.org/officeDocument/2006/relationships/tags" Target="../tags/tag80.xml"/><Relationship Id="rId3" Type="http://schemas.openxmlformats.org/officeDocument/2006/relationships/tags" Target="../tags/tag65.xml"/><Relationship Id="rId21" Type="http://schemas.openxmlformats.org/officeDocument/2006/relationships/slideLayout" Target="../slideLayouts/slideLayout57.xml"/><Relationship Id="rId7" Type="http://schemas.openxmlformats.org/officeDocument/2006/relationships/tags" Target="../tags/tag69.xml"/><Relationship Id="rId12" Type="http://schemas.openxmlformats.org/officeDocument/2006/relationships/tags" Target="../tags/tag74.xml"/><Relationship Id="rId17" Type="http://schemas.openxmlformats.org/officeDocument/2006/relationships/tags" Target="../tags/tag79.xml"/><Relationship Id="rId2" Type="http://schemas.openxmlformats.org/officeDocument/2006/relationships/tags" Target="../tags/tag64.xml"/><Relationship Id="rId16" Type="http://schemas.openxmlformats.org/officeDocument/2006/relationships/tags" Target="../tags/tag78.xml"/><Relationship Id="rId20" Type="http://schemas.openxmlformats.org/officeDocument/2006/relationships/tags" Target="../tags/tag82.xml"/><Relationship Id="rId1" Type="http://schemas.openxmlformats.org/officeDocument/2006/relationships/tags" Target="../tags/tag63.xml"/><Relationship Id="rId6" Type="http://schemas.openxmlformats.org/officeDocument/2006/relationships/tags" Target="../tags/tag68.xml"/><Relationship Id="rId11" Type="http://schemas.openxmlformats.org/officeDocument/2006/relationships/tags" Target="../tags/tag73.xml"/><Relationship Id="rId24" Type="http://schemas.openxmlformats.org/officeDocument/2006/relationships/chart" Target="../charts/chart1.xml"/><Relationship Id="rId5" Type="http://schemas.openxmlformats.org/officeDocument/2006/relationships/tags" Target="../tags/tag67.xml"/><Relationship Id="rId15" Type="http://schemas.openxmlformats.org/officeDocument/2006/relationships/tags" Target="../tags/tag77.xml"/><Relationship Id="rId23" Type="http://schemas.openxmlformats.org/officeDocument/2006/relationships/image" Target="../media/image14.emf"/><Relationship Id="rId10" Type="http://schemas.openxmlformats.org/officeDocument/2006/relationships/tags" Target="../tags/tag72.xml"/><Relationship Id="rId19" Type="http://schemas.openxmlformats.org/officeDocument/2006/relationships/tags" Target="../tags/tag81.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oleObject" Target="../embeddings/oleObject59.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117" Type="http://schemas.openxmlformats.org/officeDocument/2006/relationships/tags" Target="../tags/tag199.xml"/><Relationship Id="rId21" Type="http://schemas.openxmlformats.org/officeDocument/2006/relationships/tags" Target="../tags/tag103.xml"/><Relationship Id="rId42" Type="http://schemas.openxmlformats.org/officeDocument/2006/relationships/tags" Target="../tags/tag124.xml"/><Relationship Id="rId63" Type="http://schemas.openxmlformats.org/officeDocument/2006/relationships/tags" Target="../tags/tag145.xml"/><Relationship Id="rId84" Type="http://schemas.openxmlformats.org/officeDocument/2006/relationships/tags" Target="../tags/tag166.xml"/><Relationship Id="rId138" Type="http://schemas.openxmlformats.org/officeDocument/2006/relationships/tags" Target="../tags/tag220.xml"/><Relationship Id="rId107" Type="http://schemas.openxmlformats.org/officeDocument/2006/relationships/tags" Target="../tags/tag189.xml"/><Relationship Id="rId11" Type="http://schemas.openxmlformats.org/officeDocument/2006/relationships/tags" Target="../tags/tag93.xml"/><Relationship Id="rId32" Type="http://schemas.openxmlformats.org/officeDocument/2006/relationships/tags" Target="../tags/tag114.xml"/><Relationship Id="rId53" Type="http://schemas.openxmlformats.org/officeDocument/2006/relationships/tags" Target="../tags/tag135.xml"/><Relationship Id="rId74" Type="http://schemas.openxmlformats.org/officeDocument/2006/relationships/tags" Target="../tags/tag156.xml"/><Relationship Id="rId128" Type="http://schemas.openxmlformats.org/officeDocument/2006/relationships/tags" Target="../tags/tag210.xml"/><Relationship Id="rId149" Type="http://schemas.openxmlformats.org/officeDocument/2006/relationships/tags" Target="../tags/tag231.xml"/><Relationship Id="rId5" Type="http://schemas.openxmlformats.org/officeDocument/2006/relationships/tags" Target="../tags/tag87.xml"/><Relationship Id="rId95" Type="http://schemas.openxmlformats.org/officeDocument/2006/relationships/tags" Target="../tags/tag177.xml"/><Relationship Id="rId22" Type="http://schemas.openxmlformats.org/officeDocument/2006/relationships/tags" Target="../tags/tag104.xml"/><Relationship Id="rId43" Type="http://schemas.openxmlformats.org/officeDocument/2006/relationships/tags" Target="../tags/tag125.xml"/><Relationship Id="rId64" Type="http://schemas.openxmlformats.org/officeDocument/2006/relationships/tags" Target="../tags/tag146.xml"/><Relationship Id="rId118" Type="http://schemas.openxmlformats.org/officeDocument/2006/relationships/tags" Target="../tags/tag200.xml"/><Relationship Id="rId139" Type="http://schemas.openxmlformats.org/officeDocument/2006/relationships/tags" Target="../tags/tag221.xml"/><Relationship Id="rId80" Type="http://schemas.openxmlformats.org/officeDocument/2006/relationships/tags" Target="../tags/tag162.xml"/><Relationship Id="rId85" Type="http://schemas.openxmlformats.org/officeDocument/2006/relationships/tags" Target="../tags/tag167.xml"/><Relationship Id="rId150" Type="http://schemas.openxmlformats.org/officeDocument/2006/relationships/tags" Target="../tags/tag232.xml"/><Relationship Id="rId155" Type="http://schemas.openxmlformats.org/officeDocument/2006/relationships/slideLayout" Target="../slideLayouts/slideLayout58.xml"/><Relationship Id="rId12" Type="http://schemas.openxmlformats.org/officeDocument/2006/relationships/tags" Target="../tags/tag94.xml"/><Relationship Id="rId17" Type="http://schemas.openxmlformats.org/officeDocument/2006/relationships/tags" Target="../tags/tag99.xml"/><Relationship Id="rId33" Type="http://schemas.openxmlformats.org/officeDocument/2006/relationships/tags" Target="../tags/tag115.xml"/><Relationship Id="rId38" Type="http://schemas.openxmlformats.org/officeDocument/2006/relationships/tags" Target="../tags/tag120.xml"/><Relationship Id="rId59" Type="http://schemas.openxmlformats.org/officeDocument/2006/relationships/tags" Target="../tags/tag141.xml"/><Relationship Id="rId103" Type="http://schemas.openxmlformats.org/officeDocument/2006/relationships/tags" Target="../tags/tag185.xml"/><Relationship Id="rId108" Type="http://schemas.openxmlformats.org/officeDocument/2006/relationships/tags" Target="../tags/tag190.xml"/><Relationship Id="rId124" Type="http://schemas.openxmlformats.org/officeDocument/2006/relationships/tags" Target="../tags/tag206.xml"/><Relationship Id="rId129" Type="http://schemas.openxmlformats.org/officeDocument/2006/relationships/tags" Target="../tags/tag211.xml"/><Relationship Id="rId54" Type="http://schemas.openxmlformats.org/officeDocument/2006/relationships/tags" Target="../tags/tag136.xml"/><Relationship Id="rId70" Type="http://schemas.openxmlformats.org/officeDocument/2006/relationships/tags" Target="../tags/tag152.xml"/><Relationship Id="rId75" Type="http://schemas.openxmlformats.org/officeDocument/2006/relationships/tags" Target="../tags/tag157.xml"/><Relationship Id="rId91" Type="http://schemas.openxmlformats.org/officeDocument/2006/relationships/tags" Target="../tags/tag173.xml"/><Relationship Id="rId96" Type="http://schemas.openxmlformats.org/officeDocument/2006/relationships/tags" Target="../tags/tag178.xml"/><Relationship Id="rId140" Type="http://schemas.openxmlformats.org/officeDocument/2006/relationships/tags" Target="../tags/tag222.xml"/><Relationship Id="rId145" Type="http://schemas.openxmlformats.org/officeDocument/2006/relationships/tags" Target="../tags/tag227.xml"/><Relationship Id="rId1" Type="http://schemas.openxmlformats.org/officeDocument/2006/relationships/tags" Target="../tags/tag83.xml"/><Relationship Id="rId6" Type="http://schemas.openxmlformats.org/officeDocument/2006/relationships/tags" Target="../tags/tag88.xml"/><Relationship Id="rId23" Type="http://schemas.openxmlformats.org/officeDocument/2006/relationships/tags" Target="../tags/tag105.xml"/><Relationship Id="rId28" Type="http://schemas.openxmlformats.org/officeDocument/2006/relationships/tags" Target="../tags/tag110.xml"/><Relationship Id="rId49" Type="http://schemas.openxmlformats.org/officeDocument/2006/relationships/tags" Target="../tags/tag131.xml"/><Relationship Id="rId114" Type="http://schemas.openxmlformats.org/officeDocument/2006/relationships/tags" Target="../tags/tag196.xml"/><Relationship Id="rId119" Type="http://schemas.openxmlformats.org/officeDocument/2006/relationships/tags" Target="../tags/tag201.xml"/><Relationship Id="rId44" Type="http://schemas.openxmlformats.org/officeDocument/2006/relationships/tags" Target="../tags/tag126.xml"/><Relationship Id="rId60" Type="http://schemas.openxmlformats.org/officeDocument/2006/relationships/tags" Target="../tags/tag142.xml"/><Relationship Id="rId65" Type="http://schemas.openxmlformats.org/officeDocument/2006/relationships/tags" Target="../tags/tag147.xml"/><Relationship Id="rId81" Type="http://schemas.openxmlformats.org/officeDocument/2006/relationships/tags" Target="../tags/tag163.xml"/><Relationship Id="rId86" Type="http://schemas.openxmlformats.org/officeDocument/2006/relationships/tags" Target="../tags/tag168.xml"/><Relationship Id="rId130" Type="http://schemas.openxmlformats.org/officeDocument/2006/relationships/tags" Target="../tags/tag212.xml"/><Relationship Id="rId135" Type="http://schemas.openxmlformats.org/officeDocument/2006/relationships/tags" Target="../tags/tag217.xml"/><Relationship Id="rId151" Type="http://schemas.openxmlformats.org/officeDocument/2006/relationships/tags" Target="../tags/tag233.xml"/><Relationship Id="rId156" Type="http://schemas.openxmlformats.org/officeDocument/2006/relationships/notesSlide" Target="../notesSlides/notesSlide1.xml"/><Relationship Id="rId13" Type="http://schemas.openxmlformats.org/officeDocument/2006/relationships/tags" Target="../tags/tag95.xml"/><Relationship Id="rId18" Type="http://schemas.openxmlformats.org/officeDocument/2006/relationships/tags" Target="../tags/tag100.xml"/><Relationship Id="rId39" Type="http://schemas.openxmlformats.org/officeDocument/2006/relationships/tags" Target="../tags/tag121.xml"/><Relationship Id="rId109" Type="http://schemas.openxmlformats.org/officeDocument/2006/relationships/tags" Target="../tags/tag191.xml"/><Relationship Id="rId34" Type="http://schemas.openxmlformats.org/officeDocument/2006/relationships/tags" Target="../tags/tag116.xml"/><Relationship Id="rId50" Type="http://schemas.openxmlformats.org/officeDocument/2006/relationships/tags" Target="../tags/tag132.xml"/><Relationship Id="rId55" Type="http://schemas.openxmlformats.org/officeDocument/2006/relationships/tags" Target="../tags/tag137.xml"/><Relationship Id="rId76" Type="http://schemas.openxmlformats.org/officeDocument/2006/relationships/tags" Target="../tags/tag158.xml"/><Relationship Id="rId97" Type="http://schemas.openxmlformats.org/officeDocument/2006/relationships/tags" Target="../tags/tag179.xml"/><Relationship Id="rId104" Type="http://schemas.openxmlformats.org/officeDocument/2006/relationships/tags" Target="../tags/tag186.xml"/><Relationship Id="rId120" Type="http://schemas.openxmlformats.org/officeDocument/2006/relationships/tags" Target="../tags/tag202.xml"/><Relationship Id="rId125" Type="http://schemas.openxmlformats.org/officeDocument/2006/relationships/tags" Target="../tags/tag207.xml"/><Relationship Id="rId141" Type="http://schemas.openxmlformats.org/officeDocument/2006/relationships/tags" Target="../tags/tag223.xml"/><Relationship Id="rId146" Type="http://schemas.openxmlformats.org/officeDocument/2006/relationships/tags" Target="../tags/tag228.xml"/><Relationship Id="rId7" Type="http://schemas.openxmlformats.org/officeDocument/2006/relationships/tags" Target="../tags/tag89.xml"/><Relationship Id="rId71" Type="http://schemas.openxmlformats.org/officeDocument/2006/relationships/tags" Target="../tags/tag153.xml"/><Relationship Id="rId92" Type="http://schemas.openxmlformats.org/officeDocument/2006/relationships/tags" Target="../tags/tag174.xml"/><Relationship Id="rId2" Type="http://schemas.openxmlformats.org/officeDocument/2006/relationships/tags" Target="../tags/tag84.xml"/><Relationship Id="rId29" Type="http://schemas.openxmlformats.org/officeDocument/2006/relationships/tags" Target="../tags/tag111.xml"/><Relationship Id="rId24" Type="http://schemas.openxmlformats.org/officeDocument/2006/relationships/tags" Target="../tags/tag106.xml"/><Relationship Id="rId40" Type="http://schemas.openxmlformats.org/officeDocument/2006/relationships/tags" Target="../tags/tag122.xml"/><Relationship Id="rId45" Type="http://schemas.openxmlformats.org/officeDocument/2006/relationships/tags" Target="../tags/tag127.xml"/><Relationship Id="rId66" Type="http://schemas.openxmlformats.org/officeDocument/2006/relationships/tags" Target="../tags/tag148.xml"/><Relationship Id="rId87" Type="http://schemas.openxmlformats.org/officeDocument/2006/relationships/tags" Target="../tags/tag169.xml"/><Relationship Id="rId110" Type="http://schemas.openxmlformats.org/officeDocument/2006/relationships/tags" Target="../tags/tag192.xml"/><Relationship Id="rId115" Type="http://schemas.openxmlformats.org/officeDocument/2006/relationships/tags" Target="../tags/tag197.xml"/><Relationship Id="rId131" Type="http://schemas.openxmlformats.org/officeDocument/2006/relationships/tags" Target="../tags/tag213.xml"/><Relationship Id="rId136" Type="http://schemas.openxmlformats.org/officeDocument/2006/relationships/tags" Target="../tags/tag218.xml"/><Relationship Id="rId157" Type="http://schemas.openxmlformats.org/officeDocument/2006/relationships/oleObject" Target="../embeddings/oleObject60.bin"/><Relationship Id="rId61" Type="http://schemas.openxmlformats.org/officeDocument/2006/relationships/tags" Target="../tags/tag143.xml"/><Relationship Id="rId82" Type="http://schemas.openxmlformats.org/officeDocument/2006/relationships/tags" Target="../tags/tag164.xml"/><Relationship Id="rId152" Type="http://schemas.openxmlformats.org/officeDocument/2006/relationships/tags" Target="../tags/tag234.xml"/><Relationship Id="rId19" Type="http://schemas.openxmlformats.org/officeDocument/2006/relationships/tags" Target="../tags/tag101.xml"/><Relationship Id="rId14" Type="http://schemas.openxmlformats.org/officeDocument/2006/relationships/tags" Target="../tags/tag96.xml"/><Relationship Id="rId30" Type="http://schemas.openxmlformats.org/officeDocument/2006/relationships/tags" Target="../tags/tag112.xml"/><Relationship Id="rId35" Type="http://schemas.openxmlformats.org/officeDocument/2006/relationships/tags" Target="../tags/tag117.xml"/><Relationship Id="rId56" Type="http://schemas.openxmlformats.org/officeDocument/2006/relationships/tags" Target="../tags/tag138.xml"/><Relationship Id="rId77" Type="http://schemas.openxmlformats.org/officeDocument/2006/relationships/tags" Target="../tags/tag159.xml"/><Relationship Id="rId100" Type="http://schemas.openxmlformats.org/officeDocument/2006/relationships/tags" Target="../tags/tag182.xml"/><Relationship Id="rId105" Type="http://schemas.openxmlformats.org/officeDocument/2006/relationships/tags" Target="../tags/tag187.xml"/><Relationship Id="rId126" Type="http://schemas.openxmlformats.org/officeDocument/2006/relationships/tags" Target="../tags/tag208.xml"/><Relationship Id="rId147" Type="http://schemas.openxmlformats.org/officeDocument/2006/relationships/tags" Target="../tags/tag229.xml"/><Relationship Id="rId8" Type="http://schemas.openxmlformats.org/officeDocument/2006/relationships/tags" Target="../tags/tag90.xml"/><Relationship Id="rId51" Type="http://schemas.openxmlformats.org/officeDocument/2006/relationships/tags" Target="../tags/tag133.xml"/><Relationship Id="rId72" Type="http://schemas.openxmlformats.org/officeDocument/2006/relationships/tags" Target="../tags/tag154.xml"/><Relationship Id="rId93" Type="http://schemas.openxmlformats.org/officeDocument/2006/relationships/tags" Target="../tags/tag175.xml"/><Relationship Id="rId98" Type="http://schemas.openxmlformats.org/officeDocument/2006/relationships/tags" Target="../tags/tag180.xml"/><Relationship Id="rId121" Type="http://schemas.openxmlformats.org/officeDocument/2006/relationships/tags" Target="../tags/tag203.xml"/><Relationship Id="rId142" Type="http://schemas.openxmlformats.org/officeDocument/2006/relationships/tags" Target="../tags/tag224.xml"/><Relationship Id="rId3" Type="http://schemas.openxmlformats.org/officeDocument/2006/relationships/tags" Target="../tags/tag85.xml"/><Relationship Id="rId25" Type="http://schemas.openxmlformats.org/officeDocument/2006/relationships/tags" Target="../tags/tag107.xml"/><Relationship Id="rId46" Type="http://schemas.openxmlformats.org/officeDocument/2006/relationships/tags" Target="../tags/tag128.xml"/><Relationship Id="rId67" Type="http://schemas.openxmlformats.org/officeDocument/2006/relationships/tags" Target="../tags/tag149.xml"/><Relationship Id="rId116" Type="http://schemas.openxmlformats.org/officeDocument/2006/relationships/tags" Target="../tags/tag198.xml"/><Relationship Id="rId137" Type="http://schemas.openxmlformats.org/officeDocument/2006/relationships/tags" Target="../tags/tag219.xml"/><Relationship Id="rId158" Type="http://schemas.openxmlformats.org/officeDocument/2006/relationships/image" Target="../media/image14.emf"/><Relationship Id="rId20" Type="http://schemas.openxmlformats.org/officeDocument/2006/relationships/tags" Target="../tags/tag102.xml"/><Relationship Id="rId41" Type="http://schemas.openxmlformats.org/officeDocument/2006/relationships/tags" Target="../tags/tag123.xml"/><Relationship Id="rId62" Type="http://schemas.openxmlformats.org/officeDocument/2006/relationships/tags" Target="../tags/tag144.xml"/><Relationship Id="rId83" Type="http://schemas.openxmlformats.org/officeDocument/2006/relationships/tags" Target="../tags/tag165.xml"/><Relationship Id="rId88" Type="http://schemas.openxmlformats.org/officeDocument/2006/relationships/tags" Target="../tags/tag170.xml"/><Relationship Id="rId111" Type="http://schemas.openxmlformats.org/officeDocument/2006/relationships/tags" Target="../tags/tag193.xml"/><Relationship Id="rId132" Type="http://schemas.openxmlformats.org/officeDocument/2006/relationships/tags" Target="../tags/tag214.xml"/><Relationship Id="rId153" Type="http://schemas.openxmlformats.org/officeDocument/2006/relationships/tags" Target="../tags/tag235.xml"/><Relationship Id="rId15" Type="http://schemas.openxmlformats.org/officeDocument/2006/relationships/tags" Target="../tags/tag97.xml"/><Relationship Id="rId36" Type="http://schemas.openxmlformats.org/officeDocument/2006/relationships/tags" Target="../tags/tag118.xml"/><Relationship Id="rId57" Type="http://schemas.openxmlformats.org/officeDocument/2006/relationships/tags" Target="../tags/tag139.xml"/><Relationship Id="rId106" Type="http://schemas.openxmlformats.org/officeDocument/2006/relationships/tags" Target="../tags/tag188.xml"/><Relationship Id="rId127" Type="http://schemas.openxmlformats.org/officeDocument/2006/relationships/tags" Target="../tags/tag209.xml"/><Relationship Id="rId10" Type="http://schemas.openxmlformats.org/officeDocument/2006/relationships/tags" Target="../tags/tag92.xml"/><Relationship Id="rId31" Type="http://schemas.openxmlformats.org/officeDocument/2006/relationships/tags" Target="../tags/tag113.xml"/><Relationship Id="rId52" Type="http://schemas.openxmlformats.org/officeDocument/2006/relationships/tags" Target="../tags/tag134.xml"/><Relationship Id="rId73" Type="http://schemas.openxmlformats.org/officeDocument/2006/relationships/tags" Target="../tags/tag155.xml"/><Relationship Id="rId78" Type="http://schemas.openxmlformats.org/officeDocument/2006/relationships/tags" Target="../tags/tag160.xml"/><Relationship Id="rId94" Type="http://schemas.openxmlformats.org/officeDocument/2006/relationships/tags" Target="../tags/tag176.xml"/><Relationship Id="rId99" Type="http://schemas.openxmlformats.org/officeDocument/2006/relationships/tags" Target="../tags/tag181.xml"/><Relationship Id="rId101" Type="http://schemas.openxmlformats.org/officeDocument/2006/relationships/tags" Target="../tags/tag183.xml"/><Relationship Id="rId122" Type="http://schemas.openxmlformats.org/officeDocument/2006/relationships/tags" Target="../tags/tag204.xml"/><Relationship Id="rId143" Type="http://schemas.openxmlformats.org/officeDocument/2006/relationships/tags" Target="../tags/tag225.xml"/><Relationship Id="rId148" Type="http://schemas.openxmlformats.org/officeDocument/2006/relationships/tags" Target="../tags/tag230.xml"/><Relationship Id="rId4" Type="http://schemas.openxmlformats.org/officeDocument/2006/relationships/tags" Target="../tags/tag86.xml"/><Relationship Id="rId9" Type="http://schemas.openxmlformats.org/officeDocument/2006/relationships/tags" Target="../tags/tag91.xml"/><Relationship Id="rId26" Type="http://schemas.openxmlformats.org/officeDocument/2006/relationships/tags" Target="../tags/tag108.xml"/><Relationship Id="rId47" Type="http://schemas.openxmlformats.org/officeDocument/2006/relationships/tags" Target="../tags/tag129.xml"/><Relationship Id="rId68" Type="http://schemas.openxmlformats.org/officeDocument/2006/relationships/tags" Target="../tags/tag150.xml"/><Relationship Id="rId89" Type="http://schemas.openxmlformats.org/officeDocument/2006/relationships/tags" Target="../tags/tag171.xml"/><Relationship Id="rId112" Type="http://schemas.openxmlformats.org/officeDocument/2006/relationships/tags" Target="../tags/tag194.xml"/><Relationship Id="rId133" Type="http://schemas.openxmlformats.org/officeDocument/2006/relationships/tags" Target="../tags/tag215.xml"/><Relationship Id="rId154" Type="http://schemas.openxmlformats.org/officeDocument/2006/relationships/tags" Target="../tags/tag236.xml"/><Relationship Id="rId16" Type="http://schemas.openxmlformats.org/officeDocument/2006/relationships/tags" Target="../tags/tag98.xml"/><Relationship Id="rId37" Type="http://schemas.openxmlformats.org/officeDocument/2006/relationships/tags" Target="../tags/tag119.xml"/><Relationship Id="rId58" Type="http://schemas.openxmlformats.org/officeDocument/2006/relationships/tags" Target="../tags/tag140.xml"/><Relationship Id="rId79" Type="http://schemas.openxmlformats.org/officeDocument/2006/relationships/tags" Target="../tags/tag161.xml"/><Relationship Id="rId102" Type="http://schemas.openxmlformats.org/officeDocument/2006/relationships/tags" Target="../tags/tag184.xml"/><Relationship Id="rId123" Type="http://schemas.openxmlformats.org/officeDocument/2006/relationships/tags" Target="../tags/tag205.xml"/><Relationship Id="rId144" Type="http://schemas.openxmlformats.org/officeDocument/2006/relationships/tags" Target="../tags/tag226.xml"/><Relationship Id="rId90" Type="http://schemas.openxmlformats.org/officeDocument/2006/relationships/tags" Target="../tags/tag172.xml"/><Relationship Id="rId27" Type="http://schemas.openxmlformats.org/officeDocument/2006/relationships/tags" Target="../tags/tag109.xml"/><Relationship Id="rId48" Type="http://schemas.openxmlformats.org/officeDocument/2006/relationships/tags" Target="../tags/tag130.xml"/><Relationship Id="rId69" Type="http://schemas.openxmlformats.org/officeDocument/2006/relationships/tags" Target="../tags/tag151.xml"/><Relationship Id="rId113" Type="http://schemas.openxmlformats.org/officeDocument/2006/relationships/tags" Target="../tags/tag195.xml"/><Relationship Id="rId134" Type="http://schemas.openxmlformats.org/officeDocument/2006/relationships/tags" Target="../tags/tag216.xml"/></Relationships>
</file>

<file path=ppt/slides/_rels/slide7.xml.rels><?xml version="1.0" encoding="UTF-8" standalone="yes"?>
<Relationships xmlns="http://schemas.openxmlformats.org/package/2006/relationships"><Relationship Id="rId117" Type="http://schemas.openxmlformats.org/officeDocument/2006/relationships/tags" Target="../tags/tag353.xml"/><Relationship Id="rId21" Type="http://schemas.openxmlformats.org/officeDocument/2006/relationships/tags" Target="../tags/tag257.xml"/><Relationship Id="rId42" Type="http://schemas.openxmlformats.org/officeDocument/2006/relationships/tags" Target="../tags/tag278.xml"/><Relationship Id="rId63" Type="http://schemas.openxmlformats.org/officeDocument/2006/relationships/tags" Target="../tags/tag299.xml"/><Relationship Id="rId84" Type="http://schemas.openxmlformats.org/officeDocument/2006/relationships/tags" Target="../tags/tag320.xml"/><Relationship Id="rId138" Type="http://schemas.openxmlformats.org/officeDocument/2006/relationships/tags" Target="../tags/tag374.xml"/><Relationship Id="rId107" Type="http://schemas.openxmlformats.org/officeDocument/2006/relationships/tags" Target="../tags/tag343.xml"/><Relationship Id="rId11" Type="http://schemas.openxmlformats.org/officeDocument/2006/relationships/tags" Target="../tags/tag247.xml"/><Relationship Id="rId32" Type="http://schemas.openxmlformats.org/officeDocument/2006/relationships/tags" Target="../tags/tag268.xml"/><Relationship Id="rId53" Type="http://schemas.openxmlformats.org/officeDocument/2006/relationships/tags" Target="../tags/tag289.xml"/><Relationship Id="rId74" Type="http://schemas.openxmlformats.org/officeDocument/2006/relationships/tags" Target="../tags/tag310.xml"/><Relationship Id="rId128" Type="http://schemas.openxmlformats.org/officeDocument/2006/relationships/tags" Target="../tags/tag364.xml"/><Relationship Id="rId149" Type="http://schemas.openxmlformats.org/officeDocument/2006/relationships/tags" Target="../tags/tag385.xml"/><Relationship Id="rId5" Type="http://schemas.openxmlformats.org/officeDocument/2006/relationships/tags" Target="../tags/tag241.xml"/><Relationship Id="rId95" Type="http://schemas.openxmlformats.org/officeDocument/2006/relationships/tags" Target="../tags/tag331.xml"/><Relationship Id="rId22" Type="http://schemas.openxmlformats.org/officeDocument/2006/relationships/tags" Target="../tags/tag258.xml"/><Relationship Id="rId27" Type="http://schemas.openxmlformats.org/officeDocument/2006/relationships/tags" Target="../tags/tag263.xml"/><Relationship Id="rId43" Type="http://schemas.openxmlformats.org/officeDocument/2006/relationships/tags" Target="../tags/tag279.xml"/><Relationship Id="rId48" Type="http://schemas.openxmlformats.org/officeDocument/2006/relationships/tags" Target="../tags/tag284.xml"/><Relationship Id="rId64" Type="http://schemas.openxmlformats.org/officeDocument/2006/relationships/tags" Target="../tags/tag300.xml"/><Relationship Id="rId69" Type="http://schemas.openxmlformats.org/officeDocument/2006/relationships/tags" Target="../tags/tag305.xml"/><Relationship Id="rId113" Type="http://schemas.openxmlformats.org/officeDocument/2006/relationships/tags" Target="../tags/tag349.xml"/><Relationship Id="rId118" Type="http://schemas.openxmlformats.org/officeDocument/2006/relationships/tags" Target="../tags/tag354.xml"/><Relationship Id="rId134" Type="http://schemas.openxmlformats.org/officeDocument/2006/relationships/tags" Target="../tags/tag370.xml"/><Relationship Id="rId139" Type="http://schemas.openxmlformats.org/officeDocument/2006/relationships/tags" Target="../tags/tag375.xml"/><Relationship Id="rId80" Type="http://schemas.openxmlformats.org/officeDocument/2006/relationships/tags" Target="../tags/tag316.xml"/><Relationship Id="rId85" Type="http://schemas.openxmlformats.org/officeDocument/2006/relationships/tags" Target="../tags/tag321.xml"/><Relationship Id="rId150" Type="http://schemas.openxmlformats.org/officeDocument/2006/relationships/tags" Target="../tags/tag386.xml"/><Relationship Id="rId155" Type="http://schemas.openxmlformats.org/officeDocument/2006/relationships/oleObject" Target="../embeddings/oleObject61.bin"/><Relationship Id="rId12" Type="http://schemas.openxmlformats.org/officeDocument/2006/relationships/tags" Target="../tags/tag248.xml"/><Relationship Id="rId17" Type="http://schemas.openxmlformats.org/officeDocument/2006/relationships/tags" Target="../tags/tag253.xml"/><Relationship Id="rId33" Type="http://schemas.openxmlformats.org/officeDocument/2006/relationships/tags" Target="../tags/tag269.xml"/><Relationship Id="rId38" Type="http://schemas.openxmlformats.org/officeDocument/2006/relationships/tags" Target="../tags/tag274.xml"/><Relationship Id="rId59" Type="http://schemas.openxmlformats.org/officeDocument/2006/relationships/tags" Target="../tags/tag295.xml"/><Relationship Id="rId103" Type="http://schemas.openxmlformats.org/officeDocument/2006/relationships/tags" Target="../tags/tag339.xml"/><Relationship Id="rId108" Type="http://schemas.openxmlformats.org/officeDocument/2006/relationships/tags" Target="../tags/tag344.xml"/><Relationship Id="rId124" Type="http://schemas.openxmlformats.org/officeDocument/2006/relationships/tags" Target="../tags/tag360.xml"/><Relationship Id="rId129" Type="http://schemas.openxmlformats.org/officeDocument/2006/relationships/tags" Target="../tags/tag365.xml"/><Relationship Id="rId54" Type="http://schemas.openxmlformats.org/officeDocument/2006/relationships/tags" Target="../tags/tag290.xml"/><Relationship Id="rId70" Type="http://schemas.openxmlformats.org/officeDocument/2006/relationships/tags" Target="../tags/tag306.xml"/><Relationship Id="rId75" Type="http://schemas.openxmlformats.org/officeDocument/2006/relationships/tags" Target="../tags/tag311.xml"/><Relationship Id="rId91" Type="http://schemas.openxmlformats.org/officeDocument/2006/relationships/tags" Target="../tags/tag327.xml"/><Relationship Id="rId96" Type="http://schemas.openxmlformats.org/officeDocument/2006/relationships/tags" Target="../tags/tag332.xml"/><Relationship Id="rId140" Type="http://schemas.openxmlformats.org/officeDocument/2006/relationships/tags" Target="../tags/tag376.xml"/><Relationship Id="rId145" Type="http://schemas.openxmlformats.org/officeDocument/2006/relationships/tags" Target="../tags/tag381.xml"/><Relationship Id="rId1" Type="http://schemas.openxmlformats.org/officeDocument/2006/relationships/tags" Target="../tags/tag237.xml"/><Relationship Id="rId6" Type="http://schemas.openxmlformats.org/officeDocument/2006/relationships/tags" Target="../tags/tag242.xml"/><Relationship Id="rId23" Type="http://schemas.openxmlformats.org/officeDocument/2006/relationships/tags" Target="../tags/tag259.xml"/><Relationship Id="rId28" Type="http://schemas.openxmlformats.org/officeDocument/2006/relationships/tags" Target="../tags/tag264.xml"/><Relationship Id="rId49" Type="http://schemas.openxmlformats.org/officeDocument/2006/relationships/tags" Target="../tags/tag285.xml"/><Relationship Id="rId114" Type="http://schemas.openxmlformats.org/officeDocument/2006/relationships/tags" Target="../tags/tag350.xml"/><Relationship Id="rId119" Type="http://schemas.openxmlformats.org/officeDocument/2006/relationships/tags" Target="../tags/tag355.xml"/><Relationship Id="rId44" Type="http://schemas.openxmlformats.org/officeDocument/2006/relationships/tags" Target="../tags/tag280.xml"/><Relationship Id="rId60" Type="http://schemas.openxmlformats.org/officeDocument/2006/relationships/tags" Target="../tags/tag296.xml"/><Relationship Id="rId65" Type="http://schemas.openxmlformats.org/officeDocument/2006/relationships/tags" Target="../tags/tag301.xml"/><Relationship Id="rId81" Type="http://schemas.openxmlformats.org/officeDocument/2006/relationships/tags" Target="../tags/tag317.xml"/><Relationship Id="rId86" Type="http://schemas.openxmlformats.org/officeDocument/2006/relationships/tags" Target="../tags/tag322.xml"/><Relationship Id="rId130" Type="http://schemas.openxmlformats.org/officeDocument/2006/relationships/tags" Target="../tags/tag366.xml"/><Relationship Id="rId135" Type="http://schemas.openxmlformats.org/officeDocument/2006/relationships/tags" Target="../tags/tag371.xml"/><Relationship Id="rId151" Type="http://schemas.openxmlformats.org/officeDocument/2006/relationships/tags" Target="../tags/tag387.xml"/><Relationship Id="rId156" Type="http://schemas.openxmlformats.org/officeDocument/2006/relationships/image" Target="../media/image14.emf"/><Relationship Id="rId13" Type="http://schemas.openxmlformats.org/officeDocument/2006/relationships/tags" Target="../tags/tag249.xml"/><Relationship Id="rId18" Type="http://schemas.openxmlformats.org/officeDocument/2006/relationships/tags" Target="../tags/tag254.xml"/><Relationship Id="rId39" Type="http://schemas.openxmlformats.org/officeDocument/2006/relationships/tags" Target="../tags/tag275.xml"/><Relationship Id="rId109" Type="http://schemas.openxmlformats.org/officeDocument/2006/relationships/tags" Target="../tags/tag345.xml"/><Relationship Id="rId34" Type="http://schemas.openxmlformats.org/officeDocument/2006/relationships/tags" Target="../tags/tag270.xml"/><Relationship Id="rId50" Type="http://schemas.openxmlformats.org/officeDocument/2006/relationships/tags" Target="../tags/tag286.xml"/><Relationship Id="rId55" Type="http://schemas.openxmlformats.org/officeDocument/2006/relationships/tags" Target="../tags/tag291.xml"/><Relationship Id="rId76" Type="http://schemas.openxmlformats.org/officeDocument/2006/relationships/tags" Target="../tags/tag312.xml"/><Relationship Id="rId97" Type="http://schemas.openxmlformats.org/officeDocument/2006/relationships/tags" Target="../tags/tag333.xml"/><Relationship Id="rId104" Type="http://schemas.openxmlformats.org/officeDocument/2006/relationships/tags" Target="../tags/tag340.xml"/><Relationship Id="rId120" Type="http://schemas.openxmlformats.org/officeDocument/2006/relationships/tags" Target="../tags/tag356.xml"/><Relationship Id="rId125" Type="http://schemas.openxmlformats.org/officeDocument/2006/relationships/tags" Target="../tags/tag361.xml"/><Relationship Id="rId141" Type="http://schemas.openxmlformats.org/officeDocument/2006/relationships/tags" Target="../tags/tag377.xml"/><Relationship Id="rId146" Type="http://schemas.openxmlformats.org/officeDocument/2006/relationships/tags" Target="../tags/tag382.xml"/><Relationship Id="rId7" Type="http://schemas.openxmlformats.org/officeDocument/2006/relationships/tags" Target="../tags/tag243.xml"/><Relationship Id="rId71" Type="http://schemas.openxmlformats.org/officeDocument/2006/relationships/tags" Target="../tags/tag307.xml"/><Relationship Id="rId92" Type="http://schemas.openxmlformats.org/officeDocument/2006/relationships/tags" Target="../tags/tag328.xml"/><Relationship Id="rId2" Type="http://schemas.openxmlformats.org/officeDocument/2006/relationships/tags" Target="../tags/tag238.xml"/><Relationship Id="rId29" Type="http://schemas.openxmlformats.org/officeDocument/2006/relationships/tags" Target="../tags/tag265.xml"/><Relationship Id="rId24" Type="http://schemas.openxmlformats.org/officeDocument/2006/relationships/tags" Target="../tags/tag260.xml"/><Relationship Id="rId40" Type="http://schemas.openxmlformats.org/officeDocument/2006/relationships/tags" Target="../tags/tag276.xml"/><Relationship Id="rId45" Type="http://schemas.openxmlformats.org/officeDocument/2006/relationships/tags" Target="../tags/tag281.xml"/><Relationship Id="rId66" Type="http://schemas.openxmlformats.org/officeDocument/2006/relationships/tags" Target="../tags/tag302.xml"/><Relationship Id="rId87" Type="http://schemas.openxmlformats.org/officeDocument/2006/relationships/tags" Target="../tags/tag323.xml"/><Relationship Id="rId110" Type="http://schemas.openxmlformats.org/officeDocument/2006/relationships/tags" Target="../tags/tag346.xml"/><Relationship Id="rId115" Type="http://schemas.openxmlformats.org/officeDocument/2006/relationships/tags" Target="../tags/tag351.xml"/><Relationship Id="rId131" Type="http://schemas.openxmlformats.org/officeDocument/2006/relationships/tags" Target="../tags/tag367.xml"/><Relationship Id="rId136" Type="http://schemas.openxmlformats.org/officeDocument/2006/relationships/tags" Target="../tags/tag372.xml"/><Relationship Id="rId61" Type="http://schemas.openxmlformats.org/officeDocument/2006/relationships/tags" Target="../tags/tag297.xml"/><Relationship Id="rId82" Type="http://schemas.openxmlformats.org/officeDocument/2006/relationships/tags" Target="../tags/tag318.xml"/><Relationship Id="rId152" Type="http://schemas.openxmlformats.org/officeDocument/2006/relationships/tags" Target="../tags/tag388.xml"/><Relationship Id="rId19" Type="http://schemas.openxmlformats.org/officeDocument/2006/relationships/tags" Target="../tags/tag255.xml"/><Relationship Id="rId14" Type="http://schemas.openxmlformats.org/officeDocument/2006/relationships/tags" Target="../tags/tag250.xml"/><Relationship Id="rId30" Type="http://schemas.openxmlformats.org/officeDocument/2006/relationships/tags" Target="../tags/tag266.xml"/><Relationship Id="rId35" Type="http://schemas.openxmlformats.org/officeDocument/2006/relationships/tags" Target="../tags/tag271.xml"/><Relationship Id="rId56" Type="http://schemas.openxmlformats.org/officeDocument/2006/relationships/tags" Target="../tags/tag292.xml"/><Relationship Id="rId77" Type="http://schemas.openxmlformats.org/officeDocument/2006/relationships/tags" Target="../tags/tag313.xml"/><Relationship Id="rId100" Type="http://schemas.openxmlformats.org/officeDocument/2006/relationships/tags" Target="../tags/tag336.xml"/><Relationship Id="rId105" Type="http://schemas.openxmlformats.org/officeDocument/2006/relationships/tags" Target="../tags/tag341.xml"/><Relationship Id="rId126" Type="http://schemas.openxmlformats.org/officeDocument/2006/relationships/tags" Target="../tags/tag362.xml"/><Relationship Id="rId147" Type="http://schemas.openxmlformats.org/officeDocument/2006/relationships/tags" Target="../tags/tag383.xml"/><Relationship Id="rId8" Type="http://schemas.openxmlformats.org/officeDocument/2006/relationships/tags" Target="../tags/tag244.xml"/><Relationship Id="rId51" Type="http://schemas.openxmlformats.org/officeDocument/2006/relationships/tags" Target="../tags/tag287.xml"/><Relationship Id="rId72" Type="http://schemas.openxmlformats.org/officeDocument/2006/relationships/tags" Target="../tags/tag308.xml"/><Relationship Id="rId93" Type="http://schemas.openxmlformats.org/officeDocument/2006/relationships/tags" Target="../tags/tag329.xml"/><Relationship Id="rId98" Type="http://schemas.openxmlformats.org/officeDocument/2006/relationships/tags" Target="../tags/tag334.xml"/><Relationship Id="rId121" Type="http://schemas.openxmlformats.org/officeDocument/2006/relationships/tags" Target="../tags/tag357.xml"/><Relationship Id="rId142" Type="http://schemas.openxmlformats.org/officeDocument/2006/relationships/tags" Target="../tags/tag378.xml"/><Relationship Id="rId3" Type="http://schemas.openxmlformats.org/officeDocument/2006/relationships/tags" Target="../tags/tag239.xml"/><Relationship Id="rId25" Type="http://schemas.openxmlformats.org/officeDocument/2006/relationships/tags" Target="../tags/tag261.xml"/><Relationship Id="rId46" Type="http://schemas.openxmlformats.org/officeDocument/2006/relationships/tags" Target="../tags/tag282.xml"/><Relationship Id="rId67" Type="http://schemas.openxmlformats.org/officeDocument/2006/relationships/tags" Target="../tags/tag303.xml"/><Relationship Id="rId116" Type="http://schemas.openxmlformats.org/officeDocument/2006/relationships/tags" Target="../tags/tag352.xml"/><Relationship Id="rId137" Type="http://schemas.openxmlformats.org/officeDocument/2006/relationships/tags" Target="../tags/tag373.xml"/><Relationship Id="rId20" Type="http://schemas.openxmlformats.org/officeDocument/2006/relationships/tags" Target="../tags/tag256.xml"/><Relationship Id="rId41" Type="http://schemas.openxmlformats.org/officeDocument/2006/relationships/tags" Target="../tags/tag277.xml"/><Relationship Id="rId62" Type="http://schemas.openxmlformats.org/officeDocument/2006/relationships/tags" Target="../tags/tag298.xml"/><Relationship Id="rId83" Type="http://schemas.openxmlformats.org/officeDocument/2006/relationships/tags" Target="../tags/tag319.xml"/><Relationship Id="rId88" Type="http://schemas.openxmlformats.org/officeDocument/2006/relationships/tags" Target="../tags/tag324.xml"/><Relationship Id="rId111" Type="http://schemas.openxmlformats.org/officeDocument/2006/relationships/tags" Target="../tags/tag347.xml"/><Relationship Id="rId132" Type="http://schemas.openxmlformats.org/officeDocument/2006/relationships/tags" Target="../tags/tag368.xml"/><Relationship Id="rId153" Type="http://schemas.openxmlformats.org/officeDocument/2006/relationships/slideLayout" Target="../slideLayouts/slideLayout58.xml"/><Relationship Id="rId15" Type="http://schemas.openxmlformats.org/officeDocument/2006/relationships/tags" Target="../tags/tag251.xml"/><Relationship Id="rId36" Type="http://schemas.openxmlformats.org/officeDocument/2006/relationships/tags" Target="../tags/tag272.xml"/><Relationship Id="rId57" Type="http://schemas.openxmlformats.org/officeDocument/2006/relationships/tags" Target="../tags/tag293.xml"/><Relationship Id="rId106" Type="http://schemas.openxmlformats.org/officeDocument/2006/relationships/tags" Target="../tags/tag342.xml"/><Relationship Id="rId127" Type="http://schemas.openxmlformats.org/officeDocument/2006/relationships/tags" Target="../tags/tag363.xml"/><Relationship Id="rId10" Type="http://schemas.openxmlformats.org/officeDocument/2006/relationships/tags" Target="../tags/tag246.xml"/><Relationship Id="rId31" Type="http://schemas.openxmlformats.org/officeDocument/2006/relationships/tags" Target="../tags/tag267.xml"/><Relationship Id="rId52" Type="http://schemas.openxmlformats.org/officeDocument/2006/relationships/tags" Target="../tags/tag288.xml"/><Relationship Id="rId73" Type="http://schemas.openxmlformats.org/officeDocument/2006/relationships/tags" Target="../tags/tag309.xml"/><Relationship Id="rId78" Type="http://schemas.openxmlformats.org/officeDocument/2006/relationships/tags" Target="../tags/tag314.xml"/><Relationship Id="rId94" Type="http://schemas.openxmlformats.org/officeDocument/2006/relationships/tags" Target="../tags/tag330.xml"/><Relationship Id="rId99" Type="http://schemas.openxmlformats.org/officeDocument/2006/relationships/tags" Target="../tags/tag335.xml"/><Relationship Id="rId101" Type="http://schemas.openxmlformats.org/officeDocument/2006/relationships/tags" Target="../tags/tag337.xml"/><Relationship Id="rId122" Type="http://schemas.openxmlformats.org/officeDocument/2006/relationships/tags" Target="../tags/tag358.xml"/><Relationship Id="rId143" Type="http://schemas.openxmlformats.org/officeDocument/2006/relationships/tags" Target="../tags/tag379.xml"/><Relationship Id="rId148" Type="http://schemas.openxmlformats.org/officeDocument/2006/relationships/tags" Target="../tags/tag384.xml"/><Relationship Id="rId4" Type="http://schemas.openxmlformats.org/officeDocument/2006/relationships/tags" Target="../tags/tag240.xml"/><Relationship Id="rId9" Type="http://schemas.openxmlformats.org/officeDocument/2006/relationships/tags" Target="../tags/tag245.xml"/><Relationship Id="rId26" Type="http://schemas.openxmlformats.org/officeDocument/2006/relationships/tags" Target="../tags/tag262.xml"/><Relationship Id="rId47" Type="http://schemas.openxmlformats.org/officeDocument/2006/relationships/tags" Target="../tags/tag283.xml"/><Relationship Id="rId68" Type="http://schemas.openxmlformats.org/officeDocument/2006/relationships/tags" Target="../tags/tag304.xml"/><Relationship Id="rId89" Type="http://schemas.openxmlformats.org/officeDocument/2006/relationships/tags" Target="../tags/tag325.xml"/><Relationship Id="rId112" Type="http://schemas.openxmlformats.org/officeDocument/2006/relationships/tags" Target="../tags/tag348.xml"/><Relationship Id="rId133" Type="http://schemas.openxmlformats.org/officeDocument/2006/relationships/tags" Target="../tags/tag369.xml"/><Relationship Id="rId154" Type="http://schemas.openxmlformats.org/officeDocument/2006/relationships/notesSlide" Target="../notesSlides/notesSlide2.xml"/><Relationship Id="rId16" Type="http://schemas.openxmlformats.org/officeDocument/2006/relationships/tags" Target="../tags/tag252.xml"/><Relationship Id="rId37" Type="http://schemas.openxmlformats.org/officeDocument/2006/relationships/tags" Target="../tags/tag273.xml"/><Relationship Id="rId58" Type="http://schemas.openxmlformats.org/officeDocument/2006/relationships/tags" Target="../tags/tag294.xml"/><Relationship Id="rId79" Type="http://schemas.openxmlformats.org/officeDocument/2006/relationships/tags" Target="../tags/tag315.xml"/><Relationship Id="rId102" Type="http://schemas.openxmlformats.org/officeDocument/2006/relationships/tags" Target="../tags/tag338.xml"/><Relationship Id="rId123" Type="http://schemas.openxmlformats.org/officeDocument/2006/relationships/tags" Target="../tags/tag359.xml"/><Relationship Id="rId144" Type="http://schemas.openxmlformats.org/officeDocument/2006/relationships/tags" Target="../tags/tag380.xml"/><Relationship Id="rId90" Type="http://schemas.openxmlformats.org/officeDocument/2006/relationships/tags" Target="../tags/tag326.xml"/></Relationships>
</file>

<file path=ppt/slides/_rels/slide8.xml.rels><?xml version="1.0" encoding="UTF-8" standalone="yes"?>
<Relationships xmlns="http://schemas.openxmlformats.org/package/2006/relationships"><Relationship Id="rId117" Type="http://schemas.openxmlformats.org/officeDocument/2006/relationships/tags" Target="../tags/tag505.xml"/><Relationship Id="rId21" Type="http://schemas.openxmlformats.org/officeDocument/2006/relationships/tags" Target="../tags/tag409.xml"/><Relationship Id="rId42" Type="http://schemas.openxmlformats.org/officeDocument/2006/relationships/tags" Target="../tags/tag430.xml"/><Relationship Id="rId63" Type="http://schemas.openxmlformats.org/officeDocument/2006/relationships/tags" Target="../tags/tag451.xml"/><Relationship Id="rId84" Type="http://schemas.openxmlformats.org/officeDocument/2006/relationships/tags" Target="../tags/tag472.xml"/><Relationship Id="rId138" Type="http://schemas.openxmlformats.org/officeDocument/2006/relationships/tags" Target="../tags/tag526.xml"/><Relationship Id="rId107" Type="http://schemas.openxmlformats.org/officeDocument/2006/relationships/tags" Target="../tags/tag495.xml"/><Relationship Id="rId11" Type="http://schemas.openxmlformats.org/officeDocument/2006/relationships/tags" Target="../tags/tag399.xml"/><Relationship Id="rId32" Type="http://schemas.openxmlformats.org/officeDocument/2006/relationships/tags" Target="../tags/tag420.xml"/><Relationship Id="rId53" Type="http://schemas.openxmlformats.org/officeDocument/2006/relationships/tags" Target="../tags/tag441.xml"/><Relationship Id="rId74" Type="http://schemas.openxmlformats.org/officeDocument/2006/relationships/tags" Target="../tags/tag462.xml"/><Relationship Id="rId128" Type="http://schemas.openxmlformats.org/officeDocument/2006/relationships/tags" Target="../tags/tag516.xml"/><Relationship Id="rId149" Type="http://schemas.openxmlformats.org/officeDocument/2006/relationships/tags" Target="../tags/tag537.xml"/><Relationship Id="rId5" Type="http://schemas.openxmlformats.org/officeDocument/2006/relationships/tags" Target="../tags/tag393.xml"/><Relationship Id="rId95" Type="http://schemas.openxmlformats.org/officeDocument/2006/relationships/tags" Target="../tags/tag483.xml"/><Relationship Id="rId22" Type="http://schemas.openxmlformats.org/officeDocument/2006/relationships/tags" Target="../tags/tag410.xml"/><Relationship Id="rId27" Type="http://schemas.openxmlformats.org/officeDocument/2006/relationships/tags" Target="../tags/tag415.xml"/><Relationship Id="rId43" Type="http://schemas.openxmlformats.org/officeDocument/2006/relationships/tags" Target="../tags/tag431.xml"/><Relationship Id="rId48" Type="http://schemas.openxmlformats.org/officeDocument/2006/relationships/tags" Target="../tags/tag436.xml"/><Relationship Id="rId64" Type="http://schemas.openxmlformats.org/officeDocument/2006/relationships/tags" Target="../tags/tag452.xml"/><Relationship Id="rId69" Type="http://schemas.openxmlformats.org/officeDocument/2006/relationships/tags" Target="../tags/tag457.xml"/><Relationship Id="rId113" Type="http://schemas.openxmlformats.org/officeDocument/2006/relationships/tags" Target="../tags/tag501.xml"/><Relationship Id="rId118" Type="http://schemas.openxmlformats.org/officeDocument/2006/relationships/tags" Target="../tags/tag506.xml"/><Relationship Id="rId134" Type="http://schemas.openxmlformats.org/officeDocument/2006/relationships/tags" Target="../tags/tag522.xml"/><Relationship Id="rId139" Type="http://schemas.openxmlformats.org/officeDocument/2006/relationships/tags" Target="../tags/tag527.xml"/><Relationship Id="rId80" Type="http://schemas.openxmlformats.org/officeDocument/2006/relationships/tags" Target="../tags/tag468.xml"/><Relationship Id="rId85" Type="http://schemas.openxmlformats.org/officeDocument/2006/relationships/tags" Target="../tags/tag473.xml"/><Relationship Id="rId150" Type="http://schemas.openxmlformats.org/officeDocument/2006/relationships/tags" Target="../tags/tag538.xml"/><Relationship Id="rId155" Type="http://schemas.openxmlformats.org/officeDocument/2006/relationships/image" Target="../media/image14.emf"/><Relationship Id="rId12" Type="http://schemas.openxmlformats.org/officeDocument/2006/relationships/tags" Target="../tags/tag400.xml"/><Relationship Id="rId17" Type="http://schemas.openxmlformats.org/officeDocument/2006/relationships/tags" Target="../tags/tag405.xml"/><Relationship Id="rId33" Type="http://schemas.openxmlformats.org/officeDocument/2006/relationships/tags" Target="../tags/tag421.xml"/><Relationship Id="rId38" Type="http://schemas.openxmlformats.org/officeDocument/2006/relationships/tags" Target="../tags/tag426.xml"/><Relationship Id="rId59" Type="http://schemas.openxmlformats.org/officeDocument/2006/relationships/tags" Target="../tags/tag447.xml"/><Relationship Id="rId103" Type="http://schemas.openxmlformats.org/officeDocument/2006/relationships/tags" Target="../tags/tag491.xml"/><Relationship Id="rId108" Type="http://schemas.openxmlformats.org/officeDocument/2006/relationships/tags" Target="../tags/tag496.xml"/><Relationship Id="rId124" Type="http://schemas.openxmlformats.org/officeDocument/2006/relationships/tags" Target="../tags/tag512.xml"/><Relationship Id="rId129" Type="http://schemas.openxmlformats.org/officeDocument/2006/relationships/tags" Target="../tags/tag517.xml"/><Relationship Id="rId54" Type="http://schemas.openxmlformats.org/officeDocument/2006/relationships/tags" Target="../tags/tag442.xml"/><Relationship Id="rId70" Type="http://schemas.openxmlformats.org/officeDocument/2006/relationships/tags" Target="../tags/tag458.xml"/><Relationship Id="rId75" Type="http://schemas.openxmlformats.org/officeDocument/2006/relationships/tags" Target="../tags/tag463.xml"/><Relationship Id="rId91" Type="http://schemas.openxmlformats.org/officeDocument/2006/relationships/tags" Target="../tags/tag479.xml"/><Relationship Id="rId96" Type="http://schemas.openxmlformats.org/officeDocument/2006/relationships/tags" Target="../tags/tag484.xml"/><Relationship Id="rId140" Type="http://schemas.openxmlformats.org/officeDocument/2006/relationships/tags" Target="../tags/tag528.xml"/><Relationship Id="rId145" Type="http://schemas.openxmlformats.org/officeDocument/2006/relationships/tags" Target="../tags/tag533.xml"/><Relationship Id="rId1" Type="http://schemas.openxmlformats.org/officeDocument/2006/relationships/tags" Target="../tags/tag389.xml"/><Relationship Id="rId6" Type="http://schemas.openxmlformats.org/officeDocument/2006/relationships/tags" Target="../tags/tag394.xml"/><Relationship Id="rId23" Type="http://schemas.openxmlformats.org/officeDocument/2006/relationships/tags" Target="../tags/tag411.xml"/><Relationship Id="rId28" Type="http://schemas.openxmlformats.org/officeDocument/2006/relationships/tags" Target="../tags/tag416.xml"/><Relationship Id="rId49" Type="http://schemas.openxmlformats.org/officeDocument/2006/relationships/tags" Target="../tags/tag437.xml"/><Relationship Id="rId114" Type="http://schemas.openxmlformats.org/officeDocument/2006/relationships/tags" Target="../tags/tag502.xml"/><Relationship Id="rId119" Type="http://schemas.openxmlformats.org/officeDocument/2006/relationships/tags" Target="../tags/tag507.xml"/><Relationship Id="rId44" Type="http://schemas.openxmlformats.org/officeDocument/2006/relationships/tags" Target="../tags/tag432.xml"/><Relationship Id="rId60" Type="http://schemas.openxmlformats.org/officeDocument/2006/relationships/tags" Target="../tags/tag448.xml"/><Relationship Id="rId65" Type="http://schemas.openxmlformats.org/officeDocument/2006/relationships/tags" Target="../tags/tag453.xml"/><Relationship Id="rId81" Type="http://schemas.openxmlformats.org/officeDocument/2006/relationships/tags" Target="../tags/tag469.xml"/><Relationship Id="rId86" Type="http://schemas.openxmlformats.org/officeDocument/2006/relationships/tags" Target="../tags/tag474.xml"/><Relationship Id="rId130" Type="http://schemas.openxmlformats.org/officeDocument/2006/relationships/tags" Target="../tags/tag518.xml"/><Relationship Id="rId135" Type="http://schemas.openxmlformats.org/officeDocument/2006/relationships/tags" Target="../tags/tag523.xml"/><Relationship Id="rId151" Type="http://schemas.openxmlformats.org/officeDocument/2006/relationships/tags" Target="../tags/tag539.xml"/><Relationship Id="rId13" Type="http://schemas.openxmlformats.org/officeDocument/2006/relationships/tags" Target="../tags/tag401.xml"/><Relationship Id="rId18" Type="http://schemas.openxmlformats.org/officeDocument/2006/relationships/tags" Target="../tags/tag406.xml"/><Relationship Id="rId39" Type="http://schemas.openxmlformats.org/officeDocument/2006/relationships/tags" Target="../tags/tag427.xml"/><Relationship Id="rId109" Type="http://schemas.openxmlformats.org/officeDocument/2006/relationships/tags" Target="../tags/tag497.xml"/><Relationship Id="rId34" Type="http://schemas.openxmlformats.org/officeDocument/2006/relationships/tags" Target="../tags/tag422.xml"/><Relationship Id="rId50" Type="http://schemas.openxmlformats.org/officeDocument/2006/relationships/tags" Target="../tags/tag438.xml"/><Relationship Id="rId55" Type="http://schemas.openxmlformats.org/officeDocument/2006/relationships/tags" Target="../tags/tag443.xml"/><Relationship Id="rId76" Type="http://schemas.openxmlformats.org/officeDocument/2006/relationships/tags" Target="../tags/tag464.xml"/><Relationship Id="rId97" Type="http://schemas.openxmlformats.org/officeDocument/2006/relationships/tags" Target="../tags/tag485.xml"/><Relationship Id="rId104" Type="http://schemas.openxmlformats.org/officeDocument/2006/relationships/tags" Target="../tags/tag492.xml"/><Relationship Id="rId120" Type="http://schemas.openxmlformats.org/officeDocument/2006/relationships/tags" Target="../tags/tag508.xml"/><Relationship Id="rId125" Type="http://schemas.openxmlformats.org/officeDocument/2006/relationships/tags" Target="../tags/tag513.xml"/><Relationship Id="rId141" Type="http://schemas.openxmlformats.org/officeDocument/2006/relationships/tags" Target="../tags/tag529.xml"/><Relationship Id="rId146" Type="http://schemas.openxmlformats.org/officeDocument/2006/relationships/tags" Target="../tags/tag534.xml"/><Relationship Id="rId7" Type="http://schemas.openxmlformats.org/officeDocument/2006/relationships/tags" Target="../tags/tag395.xml"/><Relationship Id="rId71" Type="http://schemas.openxmlformats.org/officeDocument/2006/relationships/tags" Target="../tags/tag459.xml"/><Relationship Id="rId92" Type="http://schemas.openxmlformats.org/officeDocument/2006/relationships/tags" Target="../tags/tag480.xml"/><Relationship Id="rId2" Type="http://schemas.openxmlformats.org/officeDocument/2006/relationships/tags" Target="../tags/tag390.xml"/><Relationship Id="rId29" Type="http://schemas.openxmlformats.org/officeDocument/2006/relationships/tags" Target="../tags/tag417.xml"/><Relationship Id="rId24" Type="http://schemas.openxmlformats.org/officeDocument/2006/relationships/tags" Target="../tags/tag412.xml"/><Relationship Id="rId40" Type="http://schemas.openxmlformats.org/officeDocument/2006/relationships/tags" Target="../tags/tag428.xml"/><Relationship Id="rId45" Type="http://schemas.openxmlformats.org/officeDocument/2006/relationships/tags" Target="../tags/tag433.xml"/><Relationship Id="rId66" Type="http://schemas.openxmlformats.org/officeDocument/2006/relationships/tags" Target="../tags/tag454.xml"/><Relationship Id="rId87" Type="http://schemas.openxmlformats.org/officeDocument/2006/relationships/tags" Target="../tags/tag475.xml"/><Relationship Id="rId110" Type="http://schemas.openxmlformats.org/officeDocument/2006/relationships/tags" Target="../tags/tag498.xml"/><Relationship Id="rId115" Type="http://schemas.openxmlformats.org/officeDocument/2006/relationships/tags" Target="../tags/tag503.xml"/><Relationship Id="rId131" Type="http://schemas.openxmlformats.org/officeDocument/2006/relationships/tags" Target="../tags/tag519.xml"/><Relationship Id="rId136" Type="http://schemas.openxmlformats.org/officeDocument/2006/relationships/tags" Target="../tags/tag524.xml"/><Relationship Id="rId61" Type="http://schemas.openxmlformats.org/officeDocument/2006/relationships/tags" Target="../tags/tag449.xml"/><Relationship Id="rId82" Type="http://schemas.openxmlformats.org/officeDocument/2006/relationships/tags" Target="../tags/tag470.xml"/><Relationship Id="rId152" Type="http://schemas.openxmlformats.org/officeDocument/2006/relationships/slideLayout" Target="../slideLayouts/slideLayout58.xml"/><Relationship Id="rId19" Type="http://schemas.openxmlformats.org/officeDocument/2006/relationships/tags" Target="../tags/tag407.xml"/><Relationship Id="rId14" Type="http://schemas.openxmlformats.org/officeDocument/2006/relationships/tags" Target="../tags/tag402.xml"/><Relationship Id="rId30" Type="http://schemas.openxmlformats.org/officeDocument/2006/relationships/tags" Target="../tags/tag418.xml"/><Relationship Id="rId35" Type="http://schemas.openxmlformats.org/officeDocument/2006/relationships/tags" Target="../tags/tag423.xml"/><Relationship Id="rId56" Type="http://schemas.openxmlformats.org/officeDocument/2006/relationships/tags" Target="../tags/tag444.xml"/><Relationship Id="rId77" Type="http://schemas.openxmlformats.org/officeDocument/2006/relationships/tags" Target="../tags/tag465.xml"/><Relationship Id="rId100" Type="http://schemas.openxmlformats.org/officeDocument/2006/relationships/tags" Target="../tags/tag488.xml"/><Relationship Id="rId105" Type="http://schemas.openxmlformats.org/officeDocument/2006/relationships/tags" Target="../tags/tag493.xml"/><Relationship Id="rId126" Type="http://schemas.openxmlformats.org/officeDocument/2006/relationships/tags" Target="../tags/tag514.xml"/><Relationship Id="rId147" Type="http://schemas.openxmlformats.org/officeDocument/2006/relationships/tags" Target="../tags/tag535.xml"/><Relationship Id="rId8" Type="http://schemas.openxmlformats.org/officeDocument/2006/relationships/tags" Target="../tags/tag396.xml"/><Relationship Id="rId51" Type="http://schemas.openxmlformats.org/officeDocument/2006/relationships/tags" Target="../tags/tag439.xml"/><Relationship Id="rId72" Type="http://schemas.openxmlformats.org/officeDocument/2006/relationships/tags" Target="../tags/tag460.xml"/><Relationship Id="rId93" Type="http://schemas.openxmlformats.org/officeDocument/2006/relationships/tags" Target="../tags/tag481.xml"/><Relationship Id="rId98" Type="http://schemas.openxmlformats.org/officeDocument/2006/relationships/tags" Target="../tags/tag486.xml"/><Relationship Id="rId121" Type="http://schemas.openxmlformats.org/officeDocument/2006/relationships/tags" Target="../tags/tag509.xml"/><Relationship Id="rId142" Type="http://schemas.openxmlformats.org/officeDocument/2006/relationships/tags" Target="../tags/tag530.xml"/><Relationship Id="rId3" Type="http://schemas.openxmlformats.org/officeDocument/2006/relationships/tags" Target="../tags/tag391.xml"/><Relationship Id="rId25" Type="http://schemas.openxmlformats.org/officeDocument/2006/relationships/tags" Target="../tags/tag413.xml"/><Relationship Id="rId46" Type="http://schemas.openxmlformats.org/officeDocument/2006/relationships/tags" Target="../tags/tag434.xml"/><Relationship Id="rId67" Type="http://schemas.openxmlformats.org/officeDocument/2006/relationships/tags" Target="../tags/tag455.xml"/><Relationship Id="rId116" Type="http://schemas.openxmlformats.org/officeDocument/2006/relationships/tags" Target="../tags/tag504.xml"/><Relationship Id="rId137" Type="http://schemas.openxmlformats.org/officeDocument/2006/relationships/tags" Target="../tags/tag525.xml"/><Relationship Id="rId20" Type="http://schemas.openxmlformats.org/officeDocument/2006/relationships/tags" Target="../tags/tag408.xml"/><Relationship Id="rId41" Type="http://schemas.openxmlformats.org/officeDocument/2006/relationships/tags" Target="../tags/tag429.xml"/><Relationship Id="rId62" Type="http://schemas.openxmlformats.org/officeDocument/2006/relationships/tags" Target="../tags/tag450.xml"/><Relationship Id="rId83" Type="http://schemas.openxmlformats.org/officeDocument/2006/relationships/tags" Target="../tags/tag471.xml"/><Relationship Id="rId88" Type="http://schemas.openxmlformats.org/officeDocument/2006/relationships/tags" Target="../tags/tag476.xml"/><Relationship Id="rId111" Type="http://schemas.openxmlformats.org/officeDocument/2006/relationships/tags" Target="../tags/tag499.xml"/><Relationship Id="rId132" Type="http://schemas.openxmlformats.org/officeDocument/2006/relationships/tags" Target="../tags/tag520.xml"/><Relationship Id="rId153" Type="http://schemas.openxmlformats.org/officeDocument/2006/relationships/notesSlide" Target="../notesSlides/notesSlide3.xml"/><Relationship Id="rId15" Type="http://schemas.openxmlformats.org/officeDocument/2006/relationships/tags" Target="../tags/tag403.xml"/><Relationship Id="rId36" Type="http://schemas.openxmlformats.org/officeDocument/2006/relationships/tags" Target="../tags/tag424.xml"/><Relationship Id="rId57" Type="http://schemas.openxmlformats.org/officeDocument/2006/relationships/tags" Target="../tags/tag445.xml"/><Relationship Id="rId106" Type="http://schemas.openxmlformats.org/officeDocument/2006/relationships/tags" Target="../tags/tag494.xml"/><Relationship Id="rId127" Type="http://schemas.openxmlformats.org/officeDocument/2006/relationships/tags" Target="../tags/tag515.xml"/><Relationship Id="rId10" Type="http://schemas.openxmlformats.org/officeDocument/2006/relationships/tags" Target="../tags/tag398.xml"/><Relationship Id="rId31" Type="http://schemas.openxmlformats.org/officeDocument/2006/relationships/tags" Target="../tags/tag419.xml"/><Relationship Id="rId52" Type="http://schemas.openxmlformats.org/officeDocument/2006/relationships/tags" Target="../tags/tag440.xml"/><Relationship Id="rId73" Type="http://schemas.openxmlformats.org/officeDocument/2006/relationships/tags" Target="../tags/tag461.xml"/><Relationship Id="rId78" Type="http://schemas.openxmlformats.org/officeDocument/2006/relationships/tags" Target="../tags/tag466.xml"/><Relationship Id="rId94" Type="http://schemas.openxmlformats.org/officeDocument/2006/relationships/tags" Target="../tags/tag482.xml"/><Relationship Id="rId99" Type="http://schemas.openxmlformats.org/officeDocument/2006/relationships/tags" Target="../tags/tag487.xml"/><Relationship Id="rId101" Type="http://schemas.openxmlformats.org/officeDocument/2006/relationships/tags" Target="../tags/tag489.xml"/><Relationship Id="rId122" Type="http://schemas.openxmlformats.org/officeDocument/2006/relationships/tags" Target="../tags/tag510.xml"/><Relationship Id="rId143" Type="http://schemas.openxmlformats.org/officeDocument/2006/relationships/tags" Target="../tags/tag531.xml"/><Relationship Id="rId148" Type="http://schemas.openxmlformats.org/officeDocument/2006/relationships/tags" Target="../tags/tag536.xml"/><Relationship Id="rId4" Type="http://schemas.openxmlformats.org/officeDocument/2006/relationships/tags" Target="../tags/tag392.xml"/><Relationship Id="rId9" Type="http://schemas.openxmlformats.org/officeDocument/2006/relationships/tags" Target="../tags/tag397.xml"/><Relationship Id="rId26" Type="http://schemas.openxmlformats.org/officeDocument/2006/relationships/tags" Target="../tags/tag414.xml"/><Relationship Id="rId47" Type="http://schemas.openxmlformats.org/officeDocument/2006/relationships/tags" Target="../tags/tag435.xml"/><Relationship Id="rId68" Type="http://schemas.openxmlformats.org/officeDocument/2006/relationships/tags" Target="../tags/tag456.xml"/><Relationship Id="rId89" Type="http://schemas.openxmlformats.org/officeDocument/2006/relationships/tags" Target="../tags/tag477.xml"/><Relationship Id="rId112" Type="http://schemas.openxmlformats.org/officeDocument/2006/relationships/tags" Target="../tags/tag500.xml"/><Relationship Id="rId133" Type="http://schemas.openxmlformats.org/officeDocument/2006/relationships/tags" Target="../tags/tag521.xml"/><Relationship Id="rId154" Type="http://schemas.openxmlformats.org/officeDocument/2006/relationships/oleObject" Target="../embeddings/oleObject61.bin"/><Relationship Id="rId16" Type="http://schemas.openxmlformats.org/officeDocument/2006/relationships/tags" Target="../tags/tag404.xml"/><Relationship Id="rId37" Type="http://schemas.openxmlformats.org/officeDocument/2006/relationships/tags" Target="../tags/tag425.xml"/><Relationship Id="rId58" Type="http://schemas.openxmlformats.org/officeDocument/2006/relationships/tags" Target="../tags/tag446.xml"/><Relationship Id="rId79" Type="http://schemas.openxmlformats.org/officeDocument/2006/relationships/tags" Target="../tags/tag467.xml"/><Relationship Id="rId102" Type="http://schemas.openxmlformats.org/officeDocument/2006/relationships/tags" Target="../tags/tag490.xml"/><Relationship Id="rId123" Type="http://schemas.openxmlformats.org/officeDocument/2006/relationships/tags" Target="../tags/tag511.xml"/><Relationship Id="rId144" Type="http://schemas.openxmlformats.org/officeDocument/2006/relationships/tags" Target="../tags/tag532.xml"/><Relationship Id="rId90" Type="http://schemas.openxmlformats.org/officeDocument/2006/relationships/tags" Target="../tags/tag47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95400" y="2276872"/>
            <a:ext cx="3312368" cy="1152000"/>
          </a:xfrm>
        </p:spPr>
        <p:txBody>
          <a:bodyPr wrap="square" anchor="t">
            <a:normAutofit/>
          </a:bodyPr>
          <a:lstStyle/>
          <a:p>
            <a:r>
              <a:rPr lang="es-ES_tradnl" sz="2800"/>
              <a:t>GfK Euro Clima</a:t>
            </a:r>
            <a:br>
              <a:rPr lang="es-ES_tradnl" sz="2800"/>
            </a:br>
            <a:r>
              <a:rPr lang="es-ES_tradnl" sz="2000" i="1"/>
              <a:t>powered by NIM</a:t>
            </a:r>
            <a:endParaRPr lang="es-ES_tradnl" sz="2800" i="1"/>
          </a:p>
        </p:txBody>
      </p:sp>
      <p:sp>
        <p:nvSpPr>
          <p:cNvPr id="6" name="Subtitle 5"/>
          <p:cNvSpPr>
            <a:spLocks noGrp="1"/>
          </p:cNvSpPr>
          <p:nvPr>
            <p:ph type="subTitle" idx="1"/>
          </p:nvPr>
        </p:nvSpPr>
        <p:spPr>
          <a:xfrm>
            <a:off x="695400" y="3717032"/>
            <a:ext cx="2952000" cy="1058353"/>
          </a:xfrm>
        </p:spPr>
        <p:txBody>
          <a:bodyPr>
            <a:normAutofit/>
          </a:bodyPr>
          <a:lstStyle/>
          <a:p>
            <a:pPr>
              <a:spcAft>
                <a:spcPts val="600"/>
              </a:spcAft>
            </a:pPr>
            <a:r>
              <a:rPr lang="es-ES_tradnl"/>
              <a:t>Noviembre y Diciembre 2023</a:t>
            </a:r>
          </a:p>
        </p:txBody>
      </p:sp>
      <p:sp>
        <p:nvSpPr>
          <p:cNvPr id="7" name="Text Placeholder 6"/>
          <p:cNvSpPr>
            <a:spLocks noGrp="1"/>
          </p:cNvSpPr>
          <p:nvPr>
            <p:ph type="body" sz="quarter" idx="14"/>
          </p:nvPr>
        </p:nvSpPr>
        <p:spPr>
          <a:xfrm>
            <a:off x="695400" y="4509120"/>
            <a:ext cx="2952000" cy="216000"/>
          </a:xfrm>
        </p:spPr>
        <p:txBody>
          <a:bodyPr wrap="square" anchor="b">
            <a:normAutofit/>
          </a:bodyPr>
          <a:lstStyle/>
          <a:p>
            <a:pPr>
              <a:spcAft>
                <a:spcPts val="600"/>
              </a:spcAft>
            </a:pPr>
            <a:r>
              <a:rPr lang="es-ES_tradnl"/>
              <a:t>Rolf Bürkl</a:t>
            </a:r>
          </a:p>
        </p:txBody>
      </p:sp>
      <p:sp>
        <p:nvSpPr>
          <p:cNvPr id="2" name="Date Placeholder 1"/>
          <p:cNvSpPr>
            <a:spLocks noGrp="1"/>
          </p:cNvSpPr>
          <p:nvPr>
            <p:ph type="dt" sz="half" idx="4294967295"/>
          </p:nvPr>
        </p:nvSpPr>
        <p:spPr>
          <a:xfrm>
            <a:off x="0" y="0"/>
            <a:ext cx="0" cy="0"/>
          </a:xfrm>
          <a:prstGeom prst="rect">
            <a:avLst/>
          </a:prstGeom>
        </p:spPr>
        <p:txBody>
          <a:bodyPr vert="horz" wrap="none" lIns="0" tIns="0" rIns="0" bIns="0" rtlCol="0" anchor="b" anchorCtr="0"/>
          <a:lstStyle>
            <a:defPPr>
              <a:defRPr lang="en-US"/>
            </a:defPPr>
            <a:lvl1pPr marL="0" algn="r"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3EA3BA3C-82AC-45BA-9659-DD8E28BB5C16}" type="datetime5">
              <a:rPr lang="en-US" smtClean="0"/>
              <a:pPr>
                <a:spcAft>
                  <a:spcPts val="600"/>
                </a:spcAft>
              </a:pPr>
              <a:t>25-Jan-24</a:t>
            </a:fld>
            <a:endParaRPr lang="en-US"/>
          </a:p>
        </p:txBody>
      </p:sp>
      <p:sp>
        <p:nvSpPr>
          <p:cNvPr id="3" name="Footer Placeholder 2"/>
          <p:cNvSpPr>
            <a:spLocks noGrp="1"/>
          </p:cNvSpPr>
          <p:nvPr>
            <p:ph type="ftr" sz="quarter" idx="4294967295"/>
          </p:nvPr>
        </p:nvSpPr>
        <p:spPr>
          <a:xfrm>
            <a:off x="0" y="0"/>
            <a:ext cx="0" cy="0"/>
          </a:xfrm>
          <a:prstGeom prst="rect">
            <a:avLst/>
          </a:prstGeom>
        </p:spPr>
        <p:txBody>
          <a:bodyPr vert="horz" lIns="0" tIns="0" rIns="0" bIns="0" rtlCol="0" anchor="b" anchorCtr="0"/>
          <a:lstStyle>
            <a:defPPr>
              <a:defRPr lang="en-US"/>
            </a:defPPr>
            <a:lvl1pPr marL="0" indent="0" algn="l" defTabSz="914400" rtl="0" eaLnBrk="1" latinLnBrk="0" hangingPunct="1">
              <a:buClr>
                <a:schemeClr val="tx2"/>
              </a:buClr>
              <a:buFont typeface="Wingdings" panose="05000000000000000000" pitchFamily="2" charset="2"/>
              <a:buNone/>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r>
              <a:rPr lang="en-US"/>
              <a:t>Title of presentation (Insert / Header &amp; Footer / Apply to All)</a:t>
            </a:r>
          </a:p>
        </p:txBody>
      </p:sp>
      <p:sp>
        <p:nvSpPr>
          <p:cNvPr id="4" name="Slide Number Placeholder 3"/>
          <p:cNvSpPr>
            <a:spLocks noGrp="1"/>
          </p:cNvSpPr>
          <p:nvPr>
            <p:ph type="sldNum" sz="quarter" idx="4294967295"/>
          </p:nvPr>
        </p:nvSpPr>
        <p:spPr>
          <a:xfrm>
            <a:off x="0" y="0"/>
            <a:ext cx="0" cy="0"/>
          </a:xfrm>
          <a:prstGeom prst="rect">
            <a:avLst/>
          </a:prstGeom>
        </p:spPr>
        <p:txBody>
          <a:bodyPr vert="horz" lIns="0" tIns="0" rIns="0" bIns="0" rtlCol="0" anchor="b" anchorCtr="0"/>
          <a:lstStyle>
            <a:defPPr>
              <a:defRPr lang="en-US"/>
            </a:defPPr>
            <a:lvl1pPr marL="0" algn="r"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600"/>
              </a:spcAft>
            </a:pPr>
            <a:fld id="{8E3B25F7-8D1F-44B5-B485-EE3C438CFD7B}" type="slidenum">
              <a:rPr lang="en-US" smtClean="0"/>
              <a:pPr>
                <a:spcAft>
                  <a:spcPts val="600"/>
                </a:spcAft>
              </a:pPr>
              <a:t>1</a:t>
            </a:fld>
            <a:endParaRPr lang="en-US"/>
          </a:p>
        </p:txBody>
      </p:sp>
      <p:pic>
        <p:nvPicPr>
          <p:cNvPr id="9" name="Bildplatzhalter 11" descr="Ein Bild, das Gebäude, draußen, Person enthält.&#10;&#10;Automatisch generierte Beschreibung">
            <a:extLst>
              <a:ext uri="{FF2B5EF4-FFF2-40B4-BE49-F238E27FC236}">
                <a16:creationId xmlns:a16="http://schemas.microsoft.com/office/drawing/2014/main" id="{2480ECCC-D709-4A57-970E-8E2EDCB752C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10165"/>
          <a:stretch/>
        </p:blipFill>
        <p:spPr>
          <a:xfrm>
            <a:off x="4367808" y="2126061"/>
            <a:ext cx="5775177" cy="3463099"/>
          </a:xfrm>
          <a:custGeom>
            <a:avLst/>
            <a:gdLst>
              <a:gd name="connsiteX0" fmla="*/ 5775177 w 5775177"/>
              <a:gd name="connsiteY0" fmla="*/ 0 h 3463099"/>
              <a:gd name="connsiteX1" fmla="*/ 4621085 w 5775177"/>
              <a:gd name="connsiteY1" fmla="*/ 2311556 h 3463099"/>
              <a:gd name="connsiteX2" fmla="*/ 0 w 5775177"/>
              <a:gd name="connsiteY2" fmla="*/ 3463099 h 3463099"/>
              <a:gd name="connsiteX3" fmla="*/ 0 w 5775177"/>
              <a:gd name="connsiteY3" fmla="*/ 518 h 3463099"/>
            </a:gdLst>
            <a:ahLst/>
            <a:cxnLst>
              <a:cxn ang="0">
                <a:pos x="connsiteX0" y="connsiteY0"/>
              </a:cxn>
              <a:cxn ang="0">
                <a:pos x="connsiteX1" y="connsiteY1"/>
              </a:cxn>
              <a:cxn ang="0">
                <a:pos x="connsiteX2" y="connsiteY2"/>
              </a:cxn>
              <a:cxn ang="0">
                <a:pos x="connsiteX3" y="connsiteY3"/>
              </a:cxn>
            </a:cxnLst>
            <a:rect l="l" t="t" r="r" b="b"/>
            <a:pathLst>
              <a:path w="5775177" h="3463099">
                <a:moveTo>
                  <a:pt x="5775177" y="0"/>
                </a:moveTo>
                <a:lnTo>
                  <a:pt x="4621085" y="2311556"/>
                </a:lnTo>
                <a:lnTo>
                  <a:pt x="0" y="3463099"/>
                </a:lnTo>
                <a:lnTo>
                  <a:pt x="0" y="518"/>
                </a:lnTo>
                <a:close/>
              </a:path>
            </a:pathLst>
          </a:custGeom>
          <a:noFill/>
        </p:spPr>
      </p:pic>
      <p:pic>
        <p:nvPicPr>
          <p:cNvPr id="8" name="Picture 14" descr="A white letter on a black background&#10;&#10;Description automatically generated">
            <a:extLst>
              <a:ext uri="{FF2B5EF4-FFF2-40B4-BE49-F238E27FC236}">
                <a16:creationId xmlns:a16="http://schemas.microsoft.com/office/drawing/2014/main" id="{9E7CAB21-2571-99FE-1F20-1AD1A69B1FC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28513" y="5084952"/>
            <a:ext cx="1728208" cy="296728"/>
          </a:xfrm>
          <a:prstGeom prst="rect">
            <a:avLst/>
          </a:prstGeom>
        </p:spPr>
      </p:pic>
      <p:sp>
        <p:nvSpPr>
          <p:cNvPr id="10" name="Textfeld 9">
            <a:extLst>
              <a:ext uri="{FF2B5EF4-FFF2-40B4-BE49-F238E27FC236}">
                <a16:creationId xmlns:a16="http://schemas.microsoft.com/office/drawing/2014/main" id="{6578122B-D247-42D4-1545-757EF71A78C1}"/>
              </a:ext>
            </a:extLst>
          </p:cNvPr>
          <p:cNvSpPr txBox="1"/>
          <p:nvPr/>
        </p:nvSpPr>
        <p:spPr>
          <a:xfrm>
            <a:off x="911424" y="4725144"/>
            <a:ext cx="3312368" cy="914400"/>
          </a:xfrm>
          <a:prstGeom prst="rect">
            <a:avLst/>
          </a:prstGeom>
          <a:noFill/>
        </p:spPr>
        <p:txBody>
          <a:bodyPr wrap="none" lIns="0" tIns="0" rIns="0" bIns="0" rtlCol="0">
            <a:noAutofit/>
          </a:bodyPr>
          <a:lstStyle/>
          <a:p>
            <a:pPr algn="l">
              <a:buSzPct val="80000"/>
            </a:pPr>
            <a:r>
              <a:rPr lang="es-ES_tradnl" sz="1200" i="1"/>
              <a:t>Head of Consumer Climate</a:t>
            </a:r>
          </a:p>
          <a:p>
            <a:pPr algn="l">
              <a:buSzPct val="80000"/>
            </a:pPr>
            <a:r>
              <a:rPr lang="es-ES_tradnl" sz="1200" i="1"/>
              <a:t>Nuremberg Institute for Market Decisions,</a:t>
            </a:r>
          </a:p>
          <a:p>
            <a:pPr algn="l">
              <a:buSzPct val="80000"/>
            </a:pPr>
            <a:r>
              <a:rPr lang="es-ES_tradnl" sz="1200" i="1"/>
              <a:t>Founder of GfK</a:t>
            </a:r>
          </a:p>
        </p:txBody>
      </p:sp>
      <p:sp>
        <p:nvSpPr>
          <p:cNvPr id="13" name="Text Placeholder 6">
            <a:extLst>
              <a:ext uri="{FF2B5EF4-FFF2-40B4-BE49-F238E27FC236}">
                <a16:creationId xmlns:a16="http://schemas.microsoft.com/office/drawing/2014/main" id="{C8C64B3E-3739-BD89-9F47-CA1C04B10B01}"/>
              </a:ext>
            </a:extLst>
          </p:cNvPr>
          <p:cNvSpPr txBox="1">
            <a:spLocks/>
          </p:cNvSpPr>
          <p:nvPr/>
        </p:nvSpPr>
        <p:spPr bwMode="gray">
          <a:xfrm>
            <a:off x="695400" y="5373296"/>
            <a:ext cx="2952000" cy="216000"/>
          </a:xfrm>
          <a:prstGeom prst="rect">
            <a:avLst/>
          </a:prstGeom>
          <a:solidFill>
            <a:schemeClr val="bg1"/>
          </a:solidFill>
          <a:ln w="127">
            <a:solidFill>
              <a:schemeClr val="bg1"/>
            </a:solidFill>
          </a:ln>
        </p:spPr>
        <p:txBody>
          <a:bodyPr vert="horz" wrap="square" lIns="216000" tIns="0" rIns="216000" bIns="0" rtlCol="0" anchor="b">
            <a:normAutofit/>
          </a:bodyPr>
          <a:lstStyle>
            <a:lvl1pPr marL="0" indent="0" algn="l" defTabSz="914400" rtl="0" eaLnBrk="1" latinLnBrk="0" hangingPunct="1">
              <a:lnSpc>
                <a:spcPct val="100000"/>
              </a:lnSpc>
              <a:spcBef>
                <a:spcPts val="0"/>
              </a:spcBef>
              <a:buClrTx/>
              <a:buSzPct val="80000"/>
              <a:buFont typeface="Arial" panose="020B0604020202020204" pitchFamily="34" charset="0"/>
              <a:buNone/>
              <a:defRPr sz="1200" b="0" kern="1200">
                <a:solidFill>
                  <a:schemeClr val="tx1"/>
                </a:solidFill>
                <a:latin typeface="+mj-lt"/>
                <a:ea typeface="+mn-ea"/>
                <a:cs typeface="+mn-cs"/>
              </a:defRPr>
            </a:lvl1pPr>
            <a:lvl2pPr marL="0" indent="0" algn="l" defTabSz="914400" rtl="0" eaLnBrk="1" latinLnBrk="0" hangingPunct="1">
              <a:lnSpc>
                <a:spcPct val="100000"/>
              </a:lnSpc>
              <a:spcBef>
                <a:spcPts val="0"/>
              </a:spcBef>
              <a:buClrTx/>
              <a:buSzPct val="80000"/>
              <a:buFont typeface="Arial" panose="020B0604020202020204" pitchFamily="34" charset="0"/>
              <a:buNone/>
              <a:defRPr sz="1200" b="0" kern="1200">
                <a:solidFill>
                  <a:schemeClr val="tx1"/>
                </a:solidFill>
                <a:latin typeface="+mj-lt"/>
                <a:ea typeface="+mn-ea"/>
                <a:cs typeface="+mn-cs"/>
              </a:defRPr>
            </a:lvl2pPr>
            <a:lvl3pPr marL="0" indent="0" algn="l" defTabSz="914400" rtl="0" eaLnBrk="1" latinLnBrk="0" hangingPunct="1">
              <a:lnSpc>
                <a:spcPct val="100000"/>
              </a:lnSpc>
              <a:spcBef>
                <a:spcPts val="0"/>
              </a:spcBef>
              <a:buClrTx/>
              <a:buSzPct val="100000"/>
              <a:buFont typeface="Arial" panose="020B0604020202020204" pitchFamily="34" charset="0"/>
              <a:buNone/>
              <a:defRPr sz="1200" b="0" kern="1200">
                <a:solidFill>
                  <a:schemeClr val="tx1"/>
                </a:solidFill>
                <a:latin typeface="+mj-lt"/>
                <a:ea typeface="+mn-ea"/>
                <a:cs typeface="+mn-cs"/>
              </a:defRPr>
            </a:lvl3pPr>
            <a:lvl4pPr marL="0" indent="0" algn="l" defTabSz="914400" rtl="0" eaLnBrk="1" latinLnBrk="0" hangingPunct="1">
              <a:lnSpc>
                <a:spcPct val="100000"/>
              </a:lnSpc>
              <a:spcBef>
                <a:spcPts val="0"/>
              </a:spcBef>
              <a:buClrTx/>
              <a:buSzPct val="80000"/>
              <a:buFont typeface="Arial" panose="020B0604020202020204" pitchFamily="34" charset="0"/>
              <a:buNone/>
              <a:defRPr sz="1200" b="0" kern="1200">
                <a:solidFill>
                  <a:schemeClr val="tx1"/>
                </a:solidFill>
                <a:latin typeface="+mj-lt"/>
                <a:ea typeface="+mn-ea"/>
                <a:cs typeface="+mn-cs"/>
              </a:defRPr>
            </a:lvl4pPr>
            <a:lvl5pPr marL="0" indent="0" algn="l" defTabSz="914400" rtl="0" eaLnBrk="1" latinLnBrk="0" hangingPunct="1">
              <a:lnSpc>
                <a:spcPct val="100000"/>
              </a:lnSpc>
              <a:spcBef>
                <a:spcPts val="0"/>
              </a:spcBef>
              <a:buClrTx/>
              <a:buFont typeface="Arial" panose="020B0604020202020204" pitchFamily="34" charset="0"/>
              <a:buNone/>
              <a:defRPr sz="1200" b="0" kern="1200">
                <a:solidFill>
                  <a:schemeClr val="tx1"/>
                </a:solidFill>
                <a:latin typeface="+mj-lt"/>
                <a:ea typeface="+mn-ea"/>
                <a:cs typeface="+mn-cs"/>
              </a:defRPr>
            </a:lvl5pPr>
            <a:lvl6pPr marL="0" indent="0" algn="l" defTabSz="914400" rtl="0" eaLnBrk="1" latinLnBrk="0" hangingPunct="1">
              <a:lnSpc>
                <a:spcPct val="100000"/>
              </a:lnSpc>
              <a:spcBef>
                <a:spcPts val="0"/>
              </a:spcBef>
              <a:buClrTx/>
              <a:buSzPct val="80000"/>
              <a:buFont typeface="Wingdings" panose="05000000000000000000" pitchFamily="2" charset="2"/>
              <a:buNone/>
              <a:defRPr sz="1200" b="0" kern="1200">
                <a:solidFill>
                  <a:schemeClr val="tx1"/>
                </a:solidFill>
                <a:latin typeface="+mj-lt"/>
                <a:ea typeface="+mn-ea"/>
                <a:cs typeface="+mn-cs"/>
              </a:defRPr>
            </a:lvl6pPr>
            <a:lvl7pPr marL="0" indent="0" algn="l" defTabSz="914400" rtl="0" eaLnBrk="1" latinLnBrk="0" hangingPunct="1">
              <a:lnSpc>
                <a:spcPct val="100000"/>
              </a:lnSpc>
              <a:spcBef>
                <a:spcPts val="0"/>
              </a:spcBef>
              <a:buClrTx/>
              <a:buSzPct val="80000"/>
              <a:buFont typeface="Wingdings" panose="05000000000000000000" pitchFamily="2" charset="2"/>
              <a:buNone/>
              <a:defRPr sz="1200" b="0" kern="1200">
                <a:solidFill>
                  <a:schemeClr val="tx1"/>
                </a:solidFill>
                <a:latin typeface="+mj-lt"/>
                <a:ea typeface="+mn-ea"/>
                <a:cs typeface="+mn-cs"/>
              </a:defRPr>
            </a:lvl7pPr>
            <a:lvl8pPr marL="0" indent="0" algn="l" defTabSz="914400" rtl="0" eaLnBrk="1" latinLnBrk="0" hangingPunct="1">
              <a:lnSpc>
                <a:spcPct val="100000"/>
              </a:lnSpc>
              <a:spcBef>
                <a:spcPts val="0"/>
              </a:spcBef>
              <a:buClrTx/>
              <a:buSzPct val="100000"/>
              <a:buFont typeface="Courier New" panose="02070309020205020404" pitchFamily="49" charset="0"/>
              <a:buNone/>
              <a:defRPr sz="1200" b="0" kern="1200">
                <a:solidFill>
                  <a:schemeClr val="tx1"/>
                </a:solidFill>
                <a:latin typeface="+mj-lt"/>
                <a:ea typeface="+mn-ea"/>
                <a:cs typeface="+mn-cs"/>
              </a:defRPr>
            </a:lvl8pPr>
            <a:lvl9pPr marL="0" indent="0" algn="l" defTabSz="914400" rtl="0" eaLnBrk="1" latinLnBrk="0" hangingPunct="1">
              <a:lnSpc>
                <a:spcPct val="100000"/>
              </a:lnSpc>
              <a:spcBef>
                <a:spcPts val="0"/>
              </a:spcBef>
              <a:buClrTx/>
              <a:buSzPct val="100000"/>
              <a:buFont typeface="Courier New" panose="02070309020205020404" pitchFamily="49" charset="0"/>
              <a:buNone/>
              <a:defRPr sz="1200" b="0" kern="1200">
                <a:solidFill>
                  <a:schemeClr val="tx1"/>
                </a:solidFill>
                <a:latin typeface="+mj-lt"/>
                <a:ea typeface="+mn-ea"/>
                <a:cs typeface="+mn-cs"/>
              </a:defRPr>
            </a:lvl9pPr>
          </a:lstStyle>
          <a:p>
            <a:pPr>
              <a:spcAft>
                <a:spcPts val="600"/>
              </a:spcAft>
            </a:pPr>
            <a:r>
              <a:rPr lang="en-US" dirty="0"/>
              <a:t>Antonieta Martín</a:t>
            </a:r>
          </a:p>
        </p:txBody>
      </p:sp>
      <p:sp>
        <p:nvSpPr>
          <p:cNvPr id="14" name="Text Placeholder 7">
            <a:extLst>
              <a:ext uri="{FF2B5EF4-FFF2-40B4-BE49-F238E27FC236}">
                <a16:creationId xmlns:a16="http://schemas.microsoft.com/office/drawing/2014/main" id="{59CE5851-1E97-B774-3557-24D329045A2F}"/>
              </a:ext>
            </a:extLst>
          </p:cNvPr>
          <p:cNvSpPr txBox="1">
            <a:spLocks/>
          </p:cNvSpPr>
          <p:nvPr/>
        </p:nvSpPr>
        <p:spPr bwMode="gray">
          <a:xfrm>
            <a:off x="695400" y="5589296"/>
            <a:ext cx="2952000" cy="504000"/>
          </a:xfrm>
          <a:prstGeom prst="rect">
            <a:avLst/>
          </a:prstGeom>
          <a:solidFill>
            <a:schemeClr val="bg1"/>
          </a:solidFill>
          <a:ln w="127">
            <a:solidFill>
              <a:schemeClr val="bg1"/>
            </a:solidFill>
          </a:ln>
        </p:spPr>
        <p:txBody>
          <a:bodyPr vert="horz" wrap="square" lIns="216000" tIns="0" rIns="216000" bIns="0" rtlCol="0">
            <a:normAutofit/>
          </a:bodyPr>
          <a:lstStyle>
            <a:lvl1pPr marL="0" indent="0" algn="l" defTabSz="914400" rtl="0" eaLnBrk="1" latinLnBrk="0" hangingPunct="1">
              <a:lnSpc>
                <a:spcPct val="100000"/>
              </a:lnSpc>
              <a:spcBef>
                <a:spcPts val="0"/>
              </a:spcBef>
              <a:buClrTx/>
              <a:buSzPct val="80000"/>
              <a:buFont typeface="Arial" panose="020B0604020202020204" pitchFamily="34" charset="0"/>
              <a:buNone/>
              <a:defRPr sz="1200" i="1" kern="1200">
                <a:solidFill>
                  <a:schemeClr val="tx1"/>
                </a:solidFill>
                <a:latin typeface="+mn-lt"/>
                <a:ea typeface="+mn-ea"/>
                <a:cs typeface="+mn-cs"/>
              </a:defRPr>
            </a:lvl1pPr>
            <a:lvl2pPr marL="0" indent="0" algn="l" defTabSz="914400" rtl="0" eaLnBrk="1" latinLnBrk="0" hangingPunct="1">
              <a:lnSpc>
                <a:spcPct val="100000"/>
              </a:lnSpc>
              <a:spcBef>
                <a:spcPts val="0"/>
              </a:spcBef>
              <a:buClrTx/>
              <a:buSzPct val="80000"/>
              <a:buFont typeface="Arial" panose="020B0604020202020204" pitchFamily="34" charset="0"/>
              <a:buNone/>
              <a:defRPr sz="1200" i="1" kern="1200">
                <a:solidFill>
                  <a:schemeClr val="tx1"/>
                </a:solidFill>
                <a:latin typeface="+mn-lt"/>
                <a:ea typeface="+mn-ea"/>
                <a:cs typeface="+mn-cs"/>
              </a:defRPr>
            </a:lvl2pPr>
            <a:lvl3pPr marL="0" indent="0" algn="l" defTabSz="914400" rtl="0" eaLnBrk="1" latinLnBrk="0" hangingPunct="1">
              <a:lnSpc>
                <a:spcPct val="100000"/>
              </a:lnSpc>
              <a:spcBef>
                <a:spcPts val="0"/>
              </a:spcBef>
              <a:buClrTx/>
              <a:buSzPct val="100000"/>
              <a:buFont typeface="Arial" panose="020B0604020202020204" pitchFamily="34" charset="0"/>
              <a:buNone/>
              <a:defRPr sz="1200" i="1" kern="1200">
                <a:solidFill>
                  <a:schemeClr val="tx1"/>
                </a:solidFill>
                <a:latin typeface="+mn-lt"/>
                <a:ea typeface="+mn-ea"/>
                <a:cs typeface="+mn-cs"/>
              </a:defRPr>
            </a:lvl3pPr>
            <a:lvl4pPr marL="0" indent="0" algn="l" defTabSz="914400" rtl="0" eaLnBrk="1" latinLnBrk="0" hangingPunct="1">
              <a:lnSpc>
                <a:spcPct val="100000"/>
              </a:lnSpc>
              <a:spcBef>
                <a:spcPts val="0"/>
              </a:spcBef>
              <a:buClrTx/>
              <a:buSzPct val="80000"/>
              <a:buFont typeface="Arial" panose="020B0604020202020204" pitchFamily="34" charset="0"/>
              <a:buNone/>
              <a:defRPr sz="1200" i="1" kern="1200">
                <a:solidFill>
                  <a:schemeClr val="tx1"/>
                </a:solidFill>
                <a:latin typeface="+mn-lt"/>
                <a:ea typeface="+mn-ea"/>
                <a:cs typeface="+mn-cs"/>
              </a:defRPr>
            </a:lvl4pPr>
            <a:lvl5pPr marL="0" indent="0" algn="l" defTabSz="914400" rtl="0" eaLnBrk="1" latinLnBrk="0" hangingPunct="1">
              <a:lnSpc>
                <a:spcPct val="100000"/>
              </a:lnSpc>
              <a:spcBef>
                <a:spcPts val="0"/>
              </a:spcBef>
              <a:buClrTx/>
              <a:buFont typeface="Arial" panose="020B0604020202020204" pitchFamily="34" charset="0"/>
              <a:buNone/>
              <a:defRPr sz="1200" b="0" i="1" kern="1200">
                <a:solidFill>
                  <a:schemeClr val="tx1"/>
                </a:solidFill>
                <a:latin typeface="+mn-lt"/>
                <a:ea typeface="+mn-ea"/>
                <a:cs typeface="+mn-cs"/>
              </a:defRPr>
            </a:lvl5pPr>
            <a:lvl6pPr marL="0" indent="0" algn="l" defTabSz="914400" rtl="0" eaLnBrk="1" latinLnBrk="0" hangingPunct="1">
              <a:lnSpc>
                <a:spcPct val="100000"/>
              </a:lnSpc>
              <a:spcBef>
                <a:spcPts val="0"/>
              </a:spcBef>
              <a:buClrTx/>
              <a:buSzPct val="80000"/>
              <a:buFont typeface="Wingdings" panose="05000000000000000000" pitchFamily="2" charset="2"/>
              <a:buNone/>
              <a:defRPr sz="1200" b="0" i="1" kern="1200">
                <a:solidFill>
                  <a:schemeClr val="tx1"/>
                </a:solidFill>
                <a:latin typeface="+mn-lt"/>
                <a:ea typeface="+mn-ea"/>
                <a:cs typeface="+mn-cs"/>
              </a:defRPr>
            </a:lvl6pPr>
            <a:lvl7pPr marL="0" indent="0" algn="l" defTabSz="914400" rtl="0" eaLnBrk="1" latinLnBrk="0" hangingPunct="1">
              <a:lnSpc>
                <a:spcPct val="100000"/>
              </a:lnSpc>
              <a:spcBef>
                <a:spcPts val="0"/>
              </a:spcBef>
              <a:buClrTx/>
              <a:buSzPct val="80000"/>
              <a:buFont typeface="Wingdings" panose="05000000000000000000" pitchFamily="2" charset="2"/>
              <a:buNone/>
              <a:defRPr sz="1200" b="0" i="1" kern="1200">
                <a:solidFill>
                  <a:schemeClr val="tx1"/>
                </a:solidFill>
                <a:latin typeface="+mn-lt"/>
                <a:ea typeface="+mn-ea"/>
                <a:cs typeface="+mn-cs"/>
              </a:defRPr>
            </a:lvl7pPr>
            <a:lvl8pPr marL="0" indent="0" algn="l" defTabSz="914400" rtl="0" eaLnBrk="1" latinLnBrk="0" hangingPunct="1">
              <a:lnSpc>
                <a:spcPct val="100000"/>
              </a:lnSpc>
              <a:spcBef>
                <a:spcPts val="0"/>
              </a:spcBef>
              <a:buClrTx/>
              <a:buSzPct val="100000"/>
              <a:buFont typeface="Courier New" panose="02070309020205020404" pitchFamily="49" charset="0"/>
              <a:buNone/>
              <a:defRPr sz="1200" b="0" i="1" kern="1200">
                <a:solidFill>
                  <a:schemeClr val="tx1"/>
                </a:solidFill>
                <a:latin typeface="+mn-lt"/>
                <a:ea typeface="+mn-ea"/>
                <a:cs typeface="+mn-cs"/>
              </a:defRPr>
            </a:lvl8pPr>
            <a:lvl9pPr marL="0" indent="0" algn="l" defTabSz="914400" rtl="0" eaLnBrk="1" latinLnBrk="0" hangingPunct="1">
              <a:lnSpc>
                <a:spcPct val="100000"/>
              </a:lnSpc>
              <a:spcBef>
                <a:spcPts val="0"/>
              </a:spcBef>
              <a:buClrTx/>
              <a:buSzPct val="100000"/>
              <a:buFont typeface="Courier New" panose="02070309020205020404" pitchFamily="49" charset="0"/>
              <a:buNone/>
              <a:defRPr sz="1200" b="0" i="1" kern="1200">
                <a:solidFill>
                  <a:schemeClr val="tx1"/>
                </a:solidFill>
                <a:latin typeface="+mn-lt"/>
                <a:ea typeface="+mn-ea"/>
                <a:cs typeface="+mn-cs"/>
              </a:defRPr>
            </a:lvl9pPr>
          </a:lstStyle>
          <a:p>
            <a:pPr>
              <a:spcAft>
                <a:spcPts val="600"/>
              </a:spcAft>
            </a:pPr>
            <a:r>
              <a:rPr lang="es-ES_tradnl"/>
              <a:t>Directora de Comunicación España GfK</a:t>
            </a:r>
          </a:p>
        </p:txBody>
      </p:sp>
    </p:spTree>
    <p:extLst>
      <p:ext uri="{BB962C8B-B14F-4D97-AF65-F5344CB8AC3E}">
        <p14:creationId xmlns:p14="http://schemas.microsoft.com/office/powerpoint/2010/main" val="4782657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7" name="Objekt 216"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Folie" r:id="rId159" imgW="270" imgH="270" progId="TCLayout.ActiveDocument.1">
                  <p:embed/>
                </p:oleObj>
              </mc:Choice>
              <mc:Fallback>
                <p:oleObj name="think-cell Folie" r:id="rId159" imgW="270" imgH="270" progId="TCLayout.ActiveDocument.1">
                  <p:embed/>
                  <p:pic>
                    <p:nvPicPr>
                      <p:cNvPr id="217" name="Objekt 216" hidden="1"/>
                      <p:cNvPicPr/>
                      <p:nvPr/>
                    </p:nvPicPr>
                    <p:blipFill>
                      <a:blip r:embed="rId160"/>
                      <a:stretch>
                        <a:fillRect/>
                      </a:stretch>
                    </p:blipFill>
                    <p:spPr>
                      <a:xfrm>
                        <a:off x="2118" y="2118"/>
                        <a:ext cx="2116" cy="2116"/>
                      </a:xfrm>
                      <a:prstGeom prst="rect">
                        <a:avLst/>
                      </a:prstGeom>
                    </p:spPr>
                  </p:pic>
                </p:oleObj>
              </mc:Fallback>
            </mc:AlternateContent>
          </a:graphicData>
        </a:graphic>
      </p:graphicFrame>
      <p:sp>
        <p:nvSpPr>
          <p:cNvPr id="475" name="Rechteck 474"/>
          <p:cNvSpPr/>
          <p:nvPr>
            <p:custDataLst>
              <p:tags r:id="rId3"/>
            </p:custDataLst>
          </p:nvPr>
        </p:nvSpPr>
        <p:spPr bwMode="gray">
          <a:xfrm>
            <a:off x="995816" y="3151384"/>
            <a:ext cx="2062684" cy="4800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0960" rIns="0" bIns="60960" numCol="1" spcCol="0" rtlCol="0" fromWordArt="0" anchor="ctr" anchorCtr="0" forceAA="0" compatLnSpc="1">
            <a:prstTxWarp prst="textNoShape">
              <a:avLst/>
            </a:prstTxWarp>
            <a:noAutofit/>
          </a:bodyPr>
          <a:lstStyle/>
          <a:p>
            <a:pPr>
              <a:spcBef>
                <a:spcPts val="400"/>
              </a:spcBef>
            </a:pPr>
            <a:r>
              <a:rPr lang="de-DE" sz="1400" b="1" dirty="0">
                <a:solidFill>
                  <a:schemeClr val="tx1"/>
                </a:solidFill>
                <a:cs typeface="Arial" pitchFamily="34" charset="0"/>
              </a:rPr>
              <a:t>Total UE: </a:t>
            </a:r>
            <a:r>
              <a:rPr lang="de-DE" sz="1400" b="1" dirty="0">
                <a:solidFill>
                  <a:srgbClr val="CBA6AB"/>
                </a:solidFill>
                <a:cs typeface="Arial" pitchFamily="34" charset="0"/>
              </a:rPr>
              <a:t>-8 </a:t>
            </a:r>
            <a:r>
              <a:rPr lang="de-DE" sz="1400" b="1" dirty="0">
                <a:solidFill>
                  <a:schemeClr val="tx1"/>
                </a:solidFill>
                <a:cs typeface="Arial" pitchFamily="34" charset="0"/>
              </a:rPr>
              <a:t>(+4      )  </a:t>
            </a:r>
          </a:p>
        </p:txBody>
      </p:sp>
      <p:grpSp>
        <p:nvGrpSpPr>
          <p:cNvPr id="5" name="Group 4"/>
          <p:cNvGrpSpPr/>
          <p:nvPr/>
        </p:nvGrpSpPr>
        <p:grpSpPr>
          <a:xfrm>
            <a:off x="2885872" y="629980"/>
            <a:ext cx="8258657" cy="5925538"/>
            <a:chOff x="2159732" y="484981"/>
            <a:chExt cx="6193993" cy="4444153"/>
          </a:xfrm>
        </p:grpSpPr>
        <p:grpSp>
          <p:nvGrpSpPr>
            <p:cNvPr id="906" name="Gruppieren 905"/>
            <p:cNvGrpSpPr/>
            <p:nvPr>
              <p:custDataLst>
                <p:tags r:id="rId85"/>
              </p:custDataLst>
            </p:nvPr>
          </p:nvGrpSpPr>
          <p:grpSpPr bwMode="gray">
            <a:xfrm>
              <a:off x="2475494" y="484981"/>
              <a:ext cx="5878231" cy="4392000"/>
              <a:chOff x="2475494" y="484981"/>
              <a:chExt cx="5878231" cy="4392000"/>
            </a:xfrm>
          </p:grpSpPr>
          <p:sp>
            <p:nvSpPr>
              <p:cNvPr id="757" name="Freeform 65"/>
              <p:cNvSpPr>
                <a:spLocks/>
              </p:cNvSpPr>
              <p:nvPr>
                <p:custDataLst>
                  <p:tags r:id="rId126"/>
                </p:custDataLst>
              </p:nvPr>
            </p:nvSpPr>
            <p:spPr bwMode="gray">
              <a:xfrm>
                <a:off x="5352957" y="4203300"/>
                <a:ext cx="219644" cy="183710"/>
              </a:xfrm>
              <a:custGeom>
                <a:avLst/>
                <a:gdLst>
                  <a:gd name="T0" fmla="*/ 36 w 47"/>
                  <a:gd name="T1" fmla="*/ 2 h 40"/>
                  <a:gd name="T2" fmla="*/ 34 w 47"/>
                  <a:gd name="T3" fmla="*/ 0 h 40"/>
                  <a:gd name="T4" fmla="*/ 30 w 47"/>
                  <a:gd name="T5" fmla="*/ 1 h 40"/>
                  <a:gd name="T6" fmla="*/ 28 w 47"/>
                  <a:gd name="T7" fmla="*/ 1 h 40"/>
                  <a:gd name="T8" fmla="*/ 23 w 47"/>
                  <a:gd name="T9" fmla="*/ 2 h 40"/>
                  <a:gd name="T10" fmla="*/ 20 w 47"/>
                  <a:gd name="T11" fmla="*/ 3 h 40"/>
                  <a:gd name="T12" fmla="*/ 16 w 47"/>
                  <a:gd name="T13" fmla="*/ 5 h 40"/>
                  <a:gd name="T14" fmla="*/ 14 w 47"/>
                  <a:gd name="T15" fmla="*/ 6 h 40"/>
                  <a:gd name="T16" fmla="*/ 11 w 47"/>
                  <a:gd name="T17" fmla="*/ 5 h 40"/>
                  <a:gd name="T18" fmla="*/ 7 w 47"/>
                  <a:gd name="T19" fmla="*/ 8 h 40"/>
                  <a:gd name="T20" fmla="*/ 5 w 47"/>
                  <a:gd name="T21" fmla="*/ 13 h 40"/>
                  <a:gd name="T22" fmla="*/ 2 w 47"/>
                  <a:gd name="T23" fmla="*/ 17 h 40"/>
                  <a:gd name="T24" fmla="*/ 3 w 47"/>
                  <a:gd name="T25" fmla="*/ 21 h 40"/>
                  <a:gd name="T26" fmla="*/ 1 w 47"/>
                  <a:gd name="T27" fmla="*/ 24 h 40"/>
                  <a:gd name="T28" fmla="*/ 3 w 47"/>
                  <a:gd name="T29" fmla="*/ 28 h 40"/>
                  <a:gd name="T30" fmla="*/ 4 w 47"/>
                  <a:gd name="T31" fmla="*/ 32 h 40"/>
                  <a:gd name="T32" fmla="*/ 6 w 47"/>
                  <a:gd name="T33" fmla="*/ 36 h 40"/>
                  <a:gd name="T34" fmla="*/ 8 w 47"/>
                  <a:gd name="T35" fmla="*/ 39 h 40"/>
                  <a:gd name="T36" fmla="*/ 14 w 47"/>
                  <a:gd name="T37" fmla="*/ 40 h 40"/>
                  <a:gd name="T38" fmla="*/ 22 w 47"/>
                  <a:gd name="T39" fmla="*/ 39 h 40"/>
                  <a:gd name="T40" fmla="*/ 27 w 47"/>
                  <a:gd name="T41" fmla="*/ 36 h 40"/>
                  <a:gd name="T42" fmla="*/ 33 w 47"/>
                  <a:gd name="T43" fmla="*/ 33 h 40"/>
                  <a:gd name="T44" fmla="*/ 38 w 47"/>
                  <a:gd name="T45" fmla="*/ 32 h 40"/>
                  <a:gd name="T46" fmla="*/ 44 w 47"/>
                  <a:gd name="T47" fmla="*/ 30 h 40"/>
                  <a:gd name="T48" fmla="*/ 47 w 47"/>
                  <a:gd name="T49" fmla="*/ 26 h 40"/>
                  <a:gd name="T50" fmla="*/ 47 w 47"/>
                  <a:gd name="T51" fmla="*/ 17 h 40"/>
                  <a:gd name="T52" fmla="*/ 46 w 47"/>
                  <a:gd name="T53" fmla="*/ 10 h 40"/>
                  <a:gd name="T54" fmla="*/ 41 w 47"/>
                  <a:gd name="T55" fmla="*/ 8 h 40"/>
                  <a:gd name="T56" fmla="*/ 36 w 47"/>
                  <a:gd name="T57"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7" h="40">
                    <a:moveTo>
                      <a:pt x="36" y="2"/>
                    </a:moveTo>
                    <a:cubicBezTo>
                      <a:pt x="36" y="2"/>
                      <a:pt x="36" y="0"/>
                      <a:pt x="34" y="0"/>
                    </a:cubicBezTo>
                    <a:cubicBezTo>
                      <a:pt x="33" y="0"/>
                      <a:pt x="32" y="0"/>
                      <a:pt x="30" y="1"/>
                    </a:cubicBezTo>
                    <a:cubicBezTo>
                      <a:pt x="29" y="2"/>
                      <a:pt x="29" y="1"/>
                      <a:pt x="28" y="1"/>
                    </a:cubicBezTo>
                    <a:cubicBezTo>
                      <a:pt x="27" y="0"/>
                      <a:pt x="24" y="1"/>
                      <a:pt x="23" y="2"/>
                    </a:cubicBezTo>
                    <a:cubicBezTo>
                      <a:pt x="22" y="3"/>
                      <a:pt x="21" y="3"/>
                      <a:pt x="20" y="3"/>
                    </a:cubicBezTo>
                    <a:cubicBezTo>
                      <a:pt x="19" y="2"/>
                      <a:pt x="17" y="3"/>
                      <a:pt x="16" y="5"/>
                    </a:cubicBezTo>
                    <a:cubicBezTo>
                      <a:pt x="15" y="6"/>
                      <a:pt x="14" y="8"/>
                      <a:pt x="14" y="6"/>
                    </a:cubicBezTo>
                    <a:cubicBezTo>
                      <a:pt x="13" y="5"/>
                      <a:pt x="12" y="4"/>
                      <a:pt x="11" y="5"/>
                    </a:cubicBezTo>
                    <a:cubicBezTo>
                      <a:pt x="10" y="6"/>
                      <a:pt x="8" y="8"/>
                      <a:pt x="7" y="8"/>
                    </a:cubicBezTo>
                    <a:cubicBezTo>
                      <a:pt x="6" y="8"/>
                      <a:pt x="6" y="11"/>
                      <a:pt x="5" y="13"/>
                    </a:cubicBezTo>
                    <a:cubicBezTo>
                      <a:pt x="4" y="15"/>
                      <a:pt x="2" y="16"/>
                      <a:pt x="2" y="17"/>
                    </a:cubicBezTo>
                    <a:cubicBezTo>
                      <a:pt x="1" y="19"/>
                      <a:pt x="3" y="20"/>
                      <a:pt x="3" y="21"/>
                    </a:cubicBezTo>
                    <a:cubicBezTo>
                      <a:pt x="2" y="22"/>
                      <a:pt x="0" y="23"/>
                      <a:pt x="1" y="24"/>
                    </a:cubicBezTo>
                    <a:cubicBezTo>
                      <a:pt x="2" y="25"/>
                      <a:pt x="4" y="26"/>
                      <a:pt x="3" y="28"/>
                    </a:cubicBezTo>
                    <a:cubicBezTo>
                      <a:pt x="2" y="29"/>
                      <a:pt x="3" y="31"/>
                      <a:pt x="4" y="32"/>
                    </a:cubicBezTo>
                    <a:cubicBezTo>
                      <a:pt x="5" y="33"/>
                      <a:pt x="6" y="35"/>
                      <a:pt x="6" y="36"/>
                    </a:cubicBezTo>
                    <a:cubicBezTo>
                      <a:pt x="6" y="38"/>
                      <a:pt x="6" y="40"/>
                      <a:pt x="8" y="39"/>
                    </a:cubicBezTo>
                    <a:cubicBezTo>
                      <a:pt x="9" y="39"/>
                      <a:pt x="13" y="40"/>
                      <a:pt x="14" y="40"/>
                    </a:cubicBezTo>
                    <a:cubicBezTo>
                      <a:pt x="15" y="40"/>
                      <a:pt x="20" y="39"/>
                      <a:pt x="22" y="39"/>
                    </a:cubicBezTo>
                    <a:cubicBezTo>
                      <a:pt x="24" y="39"/>
                      <a:pt x="26" y="38"/>
                      <a:pt x="27" y="36"/>
                    </a:cubicBezTo>
                    <a:cubicBezTo>
                      <a:pt x="29" y="34"/>
                      <a:pt x="31" y="33"/>
                      <a:pt x="33" y="33"/>
                    </a:cubicBezTo>
                    <a:cubicBezTo>
                      <a:pt x="34" y="33"/>
                      <a:pt x="36" y="33"/>
                      <a:pt x="38" y="32"/>
                    </a:cubicBezTo>
                    <a:cubicBezTo>
                      <a:pt x="40" y="32"/>
                      <a:pt x="44" y="32"/>
                      <a:pt x="44" y="30"/>
                    </a:cubicBezTo>
                    <a:cubicBezTo>
                      <a:pt x="45" y="28"/>
                      <a:pt x="47" y="26"/>
                      <a:pt x="47" y="26"/>
                    </a:cubicBezTo>
                    <a:cubicBezTo>
                      <a:pt x="47" y="26"/>
                      <a:pt x="47" y="19"/>
                      <a:pt x="47" y="17"/>
                    </a:cubicBezTo>
                    <a:cubicBezTo>
                      <a:pt x="47" y="14"/>
                      <a:pt x="46" y="12"/>
                      <a:pt x="46" y="10"/>
                    </a:cubicBezTo>
                    <a:cubicBezTo>
                      <a:pt x="45" y="7"/>
                      <a:pt x="43" y="9"/>
                      <a:pt x="41" y="8"/>
                    </a:cubicBezTo>
                    <a:cubicBezTo>
                      <a:pt x="39" y="6"/>
                      <a:pt x="36" y="2"/>
                      <a:pt x="36" y="2"/>
                    </a:cubicBez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58" name="Freeform 66"/>
              <p:cNvSpPr>
                <a:spLocks/>
              </p:cNvSpPr>
              <p:nvPr>
                <p:custDataLst>
                  <p:tags r:id="rId127"/>
                </p:custDataLst>
              </p:nvPr>
            </p:nvSpPr>
            <p:spPr bwMode="gray">
              <a:xfrm>
                <a:off x="5258104" y="4162702"/>
                <a:ext cx="163122" cy="357609"/>
              </a:xfrm>
              <a:custGeom>
                <a:avLst/>
                <a:gdLst>
                  <a:gd name="T0" fmla="*/ 1 w 34"/>
                  <a:gd name="T1" fmla="*/ 23 h 86"/>
                  <a:gd name="T2" fmla="*/ 2 w 34"/>
                  <a:gd name="T3" fmla="*/ 24 h 86"/>
                  <a:gd name="T4" fmla="*/ 5 w 34"/>
                  <a:gd name="T5" fmla="*/ 27 h 86"/>
                  <a:gd name="T6" fmla="*/ 4 w 34"/>
                  <a:gd name="T7" fmla="*/ 33 h 86"/>
                  <a:gd name="T8" fmla="*/ 3 w 34"/>
                  <a:gd name="T9" fmla="*/ 37 h 86"/>
                  <a:gd name="T10" fmla="*/ 4 w 34"/>
                  <a:gd name="T11" fmla="*/ 39 h 86"/>
                  <a:gd name="T12" fmla="*/ 3 w 34"/>
                  <a:gd name="T13" fmla="*/ 44 h 86"/>
                  <a:gd name="T14" fmla="*/ 5 w 34"/>
                  <a:gd name="T15" fmla="*/ 47 h 86"/>
                  <a:gd name="T16" fmla="*/ 3 w 34"/>
                  <a:gd name="T17" fmla="*/ 49 h 86"/>
                  <a:gd name="T18" fmla="*/ 1 w 34"/>
                  <a:gd name="T19" fmla="*/ 54 h 86"/>
                  <a:gd name="T20" fmla="*/ 1 w 34"/>
                  <a:gd name="T21" fmla="*/ 57 h 86"/>
                  <a:gd name="T22" fmla="*/ 4 w 34"/>
                  <a:gd name="T23" fmla="*/ 61 h 86"/>
                  <a:gd name="T24" fmla="*/ 4 w 34"/>
                  <a:gd name="T25" fmla="*/ 63 h 86"/>
                  <a:gd name="T26" fmla="*/ 2 w 34"/>
                  <a:gd name="T27" fmla="*/ 63 h 86"/>
                  <a:gd name="T28" fmla="*/ 3 w 34"/>
                  <a:gd name="T29" fmla="*/ 67 h 86"/>
                  <a:gd name="T30" fmla="*/ 7 w 34"/>
                  <a:gd name="T31" fmla="*/ 70 h 86"/>
                  <a:gd name="T32" fmla="*/ 11 w 34"/>
                  <a:gd name="T33" fmla="*/ 72 h 86"/>
                  <a:gd name="T34" fmla="*/ 15 w 34"/>
                  <a:gd name="T35" fmla="*/ 79 h 86"/>
                  <a:gd name="T36" fmla="*/ 16 w 34"/>
                  <a:gd name="T37" fmla="*/ 84 h 86"/>
                  <a:gd name="T38" fmla="*/ 20 w 34"/>
                  <a:gd name="T39" fmla="*/ 83 h 86"/>
                  <a:gd name="T40" fmla="*/ 21 w 34"/>
                  <a:gd name="T41" fmla="*/ 77 h 86"/>
                  <a:gd name="T42" fmla="*/ 23 w 34"/>
                  <a:gd name="T43" fmla="*/ 72 h 86"/>
                  <a:gd name="T44" fmla="*/ 27 w 34"/>
                  <a:gd name="T45" fmla="*/ 71 h 86"/>
                  <a:gd name="T46" fmla="*/ 29 w 34"/>
                  <a:gd name="T47" fmla="*/ 64 h 86"/>
                  <a:gd name="T48" fmla="*/ 33 w 34"/>
                  <a:gd name="T49" fmla="*/ 59 h 86"/>
                  <a:gd name="T50" fmla="*/ 33 w 34"/>
                  <a:gd name="T51" fmla="*/ 52 h 86"/>
                  <a:gd name="T52" fmla="*/ 32 w 34"/>
                  <a:gd name="T53" fmla="*/ 50 h 86"/>
                  <a:gd name="T54" fmla="*/ 32 w 34"/>
                  <a:gd name="T55" fmla="*/ 50 h 86"/>
                  <a:gd name="T56" fmla="*/ 32 w 34"/>
                  <a:gd name="T57" fmla="*/ 50 h 86"/>
                  <a:gd name="T58" fmla="*/ 29 w 34"/>
                  <a:gd name="T59" fmla="*/ 49 h 86"/>
                  <a:gd name="T60" fmla="*/ 27 w 34"/>
                  <a:gd name="T61" fmla="*/ 46 h 86"/>
                  <a:gd name="T62" fmla="*/ 25 w 34"/>
                  <a:gd name="T63" fmla="*/ 42 h 86"/>
                  <a:gd name="T64" fmla="*/ 24 w 34"/>
                  <a:gd name="T65" fmla="*/ 38 h 86"/>
                  <a:gd name="T66" fmla="*/ 22 w 34"/>
                  <a:gd name="T67" fmla="*/ 34 h 86"/>
                  <a:gd name="T68" fmla="*/ 24 w 34"/>
                  <a:gd name="T69" fmla="*/ 31 h 86"/>
                  <a:gd name="T70" fmla="*/ 23 w 34"/>
                  <a:gd name="T71" fmla="*/ 27 h 86"/>
                  <a:gd name="T72" fmla="*/ 24 w 34"/>
                  <a:gd name="T73" fmla="*/ 25 h 86"/>
                  <a:gd name="T74" fmla="*/ 23 w 34"/>
                  <a:gd name="T75" fmla="*/ 16 h 86"/>
                  <a:gd name="T76" fmla="*/ 19 w 34"/>
                  <a:gd name="T77" fmla="*/ 12 h 86"/>
                  <a:gd name="T78" fmla="*/ 17 w 34"/>
                  <a:gd name="T79" fmla="*/ 9 h 86"/>
                  <a:gd name="T80" fmla="*/ 15 w 34"/>
                  <a:gd name="T81" fmla="*/ 5 h 86"/>
                  <a:gd name="T82" fmla="*/ 14 w 34"/>
                  <a:gd name="T83" fmla="*/ 2 h 86"/>
                  <a:gd name="T84" fmla="*/ 12 w 34"/>
                  <a:gd name="T85" fmla="*/ 6 h 86"/>
                  <a:gd name="T86" fmla="*/ 8 w 34"/>
                  <a:gd name="T87" fmla="*/ 4 h 86"/>
                  <a:gd name="T88" fmla="*/ 5 w 34"/>
                  <a:gd name="T89" fmla="*/ 3 h 86"/>
                  <a:gd name="T90" fmla="*/ 2 w 34"/>
                  <a:gd name="T91" fmla="*/ 10 h 86"/>
                  <a:gd name="T92" fmla="*/ 1 w 34"/>
                  <a:gd name="T93" fmla="*/ 19 h 86"/>
                  <a:gd name="T94" fmla="*/ 1 w 34"/>
                  <a:gd name="T95" fmla="*/ 23 h 86"/>
                  <a:gd name="connsiteX0" fmla="*/ 131 w 9673"/>
                  <a:gd name="connsiteY0" fmla="*/ 2506 h 9486"/>
                  <a:gd name="connsiteX1" fmla="*/ 425 w 9673"/>
                  <a:gd name="connsiteY1" fmla="*/ 2623 h 9486"/>
                  <a:gd name="connsiteX2" fmla="*/ 1308 w 9673"/>
                  <a:gd name="connsiteY2" fmla="*/ 2972 h 9486"/>
                  <a:gd name="connsiteX3" fmla="*/ 1013 w 9673"/>
                  <a:gd name="connsiteY3" fmla="*/ 3669 h 9486"/>
                  <a:gd name="connsiteX4" fmla="*/ 719 w 9673"/>
                  <a:gd name="connsiteY4" fmla="*/ 4134 h 9486"/>
                  <a:gd name="connsiteX5" fmla="*/ 1013 w 9673"/>
                  <a:gd name="connsiteY5" fmla="*/ 4367 h 9486"/>
                  <a:gd name="connsiteX6" fmla="*/ 719 w 9673"/>
                  <a:gd name="connsiteY6" fmla="*/ 4948 h 9486"/>
                  <a:gd name="connsiteX7" fmla="*/ 1308 w 9673"/>
                  <a:gd name="connsiteY7" fmla="*/ 5297 h 9486"/>
                  <a:gd name="connsiteX8" fmla="*/ 719 w 9673"/>
                  <a:gd name="connsiteY8" fmla="*/ 5530 h 9486"/>
                  <a:gd name="connsiteX9" fmla="*/ 131 w 9673"/>
                  <a:gd name="connsiteY9" fmla="*/ 6111 h 9486"/>
                  <a:gd name="connsiteX10" fmla="*/ 131 w 9673"/>
                  <a:gd name="connsiteY10" fmla="*/ 6460 h 9486"/>
                  <a:gd name="connsiteX11" fmla="*/ 1013 w 9673"/>
                  <a:gd name="connsiteY11" fmla="*/ 6925 h 9486"/>
                  <a:gd name="connsiteX12" fmla="*/ 1013 w 9673"/>
                  <a:gd name="connsiteY12" fmla="*/ 7158 h 9486"/>
                  <a:gd name="connsiteX13" fmla="*/ 425 w 9673"/>
                  <a:gd name="connsiteY13" fmla="*/ 7158 h 9486"/>
                  <a:gd name="connsiteX14" fmla="*/ 719 w 9673"/>
                  <a:gd name="connsiteY14" fmla="*/ 7623 h 9486"/>
                  <a:gd name="connsiteX15" fmla="*/ 1896 w 9673"/>
                  <a:gd name="connsiteY15" fmla="*/ 7972 h 9486"/>
                  <a:gd name="connsiteX16" fmla="*/ 3072 w 9673"/>
                  <a:gd name="connsiteY16" fmla="*/ 8204 h 9486"/>
                  <a:gd name="connsiteX17" fmla="*/ 4249 w 9673"/>
                  <a:gd name="connsiteY17" fmla="*/ 9018 h 9486"/>
                  <a:gd name="connsiteX18" fmla="*/ 5719 w 9673"/>
                  <a:gd name="connsiteY18" fmla="*/ 9483 h 9486"/>
                  <a:gd name="connsiteX19" fmla="*/ 6013 w 9673"/>
                  <a:gd name="connsiteY19" fmla="*/ 8785 h 9486"/>
                  <a:gd name="connsiteX20" fmla="*/ 6602 w 9673"/>
                  <a:gd name="connsiteY20" fmla="*/ 8204 h 9486"/>
                  <a:gd name="connsiteX21" fmla="*/ 7778 w 9673"/>
                  <a:gd name="connsiteY21" fmla="*/ 8088 h 9486"/>
                  <a:gd name="connsiteX22" fmla="*/ 8366 w 9673"/>
                  <a:gd name="connsiteY22" fmla="*/ 7274 h 9486"/>
                  <a:gd name="connsiteX23" fmla="*/ 9543 w 9673"/>
                  <a:gd name="connsiteY23" fmla="*/ 6692 h 9486"/>
                  <a:gd name="connsiteX24" fmla="*/ 9543 w 9673"/>
                  <a:gd name="connsiteY24" fmla="*/ 5879 h 9486"/>
                  <a:gd name="connsiteX25" fmla="*/ 9249 w 9673"/>
                  <a:gd name="connsiteY25" fmla="*/ 5646 h 9486"/>
                  <a:gd name="connsiteX26" fmla="*/ 9249 w 9673"/>
                  <a:gd name="connsiteY26" fmla="*/ 5646 h 9486"/>
                  <a:gd name="connsiteX27" fmla="*/ 9249 w 9673"/>
                  <a:gd name="connsiteY27" fmla="*/ 5646 h 9486"/>
                  <a:gd name="connsiteX28" fmla="*/ 8366 w 9673"/>
                  <a:gd name="connsiteY28" fmla="*/ 5530 h 9486"/>
                  <a:gd name="connsiteX29" fmla="*/ 7778 w 9673"/>
                  <a:gd name="connsiteY29" fmla="*/ 5181 h 9486"/>
                  <a:gd name="connsiteX30" fmla="*/ 7190 w 9673"/>
                  <a:gd name="connsiteY30" fmla="*/ 4716 h 9486"/>
                  <a:gd name="connsiteX31" fmla="*/ 6896 w 9673"/>
                  <a:gd name="connsiteY31" fmla="*/ 4251 h 9486"/>
                  <a:gd name="connsiteX32" fmla="*/ 6308 w 9673"/>
                  <a:gd name="connsiteY32" fmla="*/ 3785 h 9486"/>
                  <a:gd name="connsiteX33" fmla="*/ 6896 w 9673"/>
                  <a:gd name="connsiteY33" fmla="*/ 3437 h 9486"/>
                  <a:gd name="connsiteX34" fmla="*/ 6602 w 9673"/>
                  <a:gd name="connsiteY34" fmla="*/ 2972 h 9486"/>
                  <a:gd name="connsiteX35" fmla="*/ 6896 w 9673"/>
                  <a:gd name="connsiteY35" fmla="*/ 2739 h 9486"/>
                  <a:gd name="connsiteX36" fmla="*/ 6602 w 9673"/>
                  <a:gd name="connsiteY36" fmla="*/ 1692 h 9486"/>
                  <a:gd name="connsiteX37" fmla="*/ 5425 w 9673"/>
                  <a:gd name="connsiteY37" fmla="*/ 1227 h 9486"/>
                  <a:gd name="connsiteX38" fmla="*/ 4837 w 9673"/>
                  <a:gd name="connsiteY38" fmla="*/ 879 h 9486"/>
                  <a:gd name="connsiteX39" fmla="*/ 4249 w 9673"/>
                  <a:gd name="connsiteY39" fmla="*/ 413 h 9486"/>
                  <a:gd name="connsiteX40" fmla="*/ 3955 w 9673"/>
                  <a:gd name="connsiteY40" fmla="*/ 65 h 9486"/>
                  <a:gd name="connsiteX41" fmla="*/ 3366 w 9673"/>
                  <a:gd name="connsiteY41" fmla="*/ 530 h 9486"/>
                  <a:gd name="connsiteX42" fmla="*/ 2190 w 9673"/>
                  <a:gd name="connsiteY42" fmla="*/ 297 h 9486"/>
                  <a:gd name="connsiteX43" fmla="*/ 1308 w 9673"/>
                  <a:gd name="connsiteY43" fmla="*/ 181 h 9486"/>
                  <a:gd name="connsiteX44" fmla="*/ 425 w 9673"/>
                  <a:gd name="connsiteY44" fmla="*/ 995 h 9486"/>
                  <a:gd name="connsiteX45" fmla="*/ 131 w 9673"/>
                  <a:gd name="connsiteY45" fmla="*/ 2041 h 9486"/>
                  <a:gd name="connsiteX46" fmla="*/ 131 w 9673"/>
                  <a:gd name="connsiteY46" fmla="*/ 2506 h 9486"/>
                  <a:gd name="connsiteX0" fmla="*/ 135 w 10001"/>
                  <a:gd name="connsiteY0" fmla="*/ 2642 h 9534"/>
                  <a:gd name="connsiteX1" fmla="*/ 439 w 10001"/>
                  <a:gd name="connsiteY1" fmla="*/ 2765 h 9534"/>
                  <a:gd name="connsiteX2" fmla="*/ 1352 w 10001"/>
                  <a:gd name="connsiteY2" fmla="*/ 3133 h 9534"/>
                  <a:gd name="connsiteX3" fmla="*/ 1047 w 10001"/>
                  <a:gd name="connsiteY3" fmla="*/ 3868 h 9534"/>
                  <a:gd name="connsiteX4" fmla="*/ 743 w 10001"/>
                  <a:gd name="connsiteY4" fmla="*/ 4358 h 9534"/>
                  <a:gd name="connsiteX5" fmla="*/ 1047 w 10001"/>
                  <a:gd name="connsiteY5" fmla="*/ 4604 h 9534"/>
                  <a:gd name="connsiteX6" fmla="*/ 743 w 10001"/>
                  <a:gd name="connsiteY6" fmla="*/ 5216 h 9534"/>
                  <a:gd name="connsiteX7" fmla="*/ 1352 w 10001"/>
                  <a:gd name="connsiteY7" fmla="*/ 5584 h 9534"/>
                  <a:gd name="connsiteX8" fmla="*/ 743 w 10001"/>
                  <a:gd name="connsiteY8" fmla="*/ 5830 h 9534"/>
                  <a:gd name="connsiteX9" fmla="*/ 135 w 10001"/>
                  <a:gd name="connsiteY9" fmla="*/ 6442 h 9534"/>
                  <a:gd name="connsiteX10" fmla="*/ 135 w 10001"/>
                  <a:gd name="connsiteY10" fmla="*/ 6810 h 9534"/>
                  <a:gd name="connsiteX11" fmla="*/ 1047 w 10001"/>
                  <a:gd name="connsiteY11" fmla="*/ 7300 h 9534"/>
                  <a:gd name="connsiteX12" fmla="*/ 1047 w 10001"/>
                  <a:gd name="connsiteY12" fmla="*/ 7546 h 9534"/>
                  <a:gd name="connsiteX13" fmla="*/ 439 w 10001"/>
                  <a:gd name="connsiteY13" fmla="*/ 7546 h 9534"/>
                  <a:gd name="connsiteX14" fmla="*/ 743 w 10001"/>
                  <a:gd name="connsiteY14" fmla="*/ 8036 h 9534"/>
                  <a:gd name="connsiteX15" fmla="*/ 1960 w 10001"/>
                  <a:gd name="connsiteY15" fmla="*/ 8404 h 9534"/>
                  <a:gd name="connsiteX16" fmla="*/ 3176 w 10001"/>
                  <a:gd name="connsiteY16" fmla="*/ 8649 h 9534"/>
                  <a:gd name="connsiteX17" fmla="*/ 4393 w 10001"/>
                  <a:gd name="connsiteY17" fmla="*/ 9507 h 9534"/>
                  <a:gd name="connsiteX18" fmla="*/ 6216 w 10001"/>
                  <a:gd name="connsiteY18" fmla="*/ 9261 h 9534"/>
                  <a:gd name="connsiteX19" fmla="*/ 6825 w 10001"/>
                  <a:gd name="connsiteY19" fmla="*/ 8649 h 9534"/>
                  <a:gd name="connsiteX20" fmla="*/ 8041 w 10001"/>
                  <a:gd name="connsiteY20" fmla="*/ 8526 h 9534"/>
                  <a:gd name="connsiteX21" fmla="*/ 8649 w 10001"/>
                  <a:gd name="connsiteY21" fmla="*/ 7668 h 9534"/>
                  <a:gd name="connsiteX22" fmla="*/ 9866 w 10001"/>
                  <a:gd name="connsiteY22" fmla="*/ 7055 h 9534"/>
                  <a:gd name="connsiteX23" fmla="*/ 9866 w 10001"/>
                  <a:gd name="connsiteY23" fmla="*/ 6198 h 9534"/>
                  <a:gd name="connsiteX24" fmla="*/ 9562 w 10001"/>
                  <a:gd name="connsiteY24" fmla="*/ 5952 h 9534"/>
                  <a:gd name="connsiteX25" fmla="*/ 9562 w 10001"/>
                  <a:gd name="connsiteY25" fmla="*/ 5952 h 9534"/>
                  <a:gd name="connsiteX26" fmla="*/ 9562 w 10001"/>
                  <a:gd name="connsiteY26" fmla="*/ 5952 h 9534"/>
                  <a:gd name="connsiteX27" fmla="*/ 8649 w 10001"/>
                  <a:gd name="connsiteY27" fmla="*/ 5830 h 9534"/>
                  <a:gd name="connsiteX28" fmla="*/ 8041 w 10001"/>
                  <a:gd name="connsiteY28" fmla="*/ 5462 h 9534"/>
                  <a:gd name="connsiteX29" fmla="*/ 7433 w 10001"/>
                  <a:gd name="connsiteY29" fmla="*/ 4972 h 9534"/>
                  <a:gd name="connsiteX30" fmla="*/ 7129 w 10001"/>
                  <a:gd name="connsiteY30" fmla="*/ 4481 h 9534"/>
                  <a:gd name="connsiteX31" fmla="*/ 6521 w 10001"/>
                  <a:gd name="connsiteY31" fmla="*/ 3990 h 9534"/>
                  <a:gd name="connsiteX32" fmla="*/ 7129 w 10001"/>
                  <a:gd name="connsiteY32" fmla="*/ 3623 h 9534"/>
                  <a:gd name="connsiteX33" fmla="*/ 6825 w 10001"/>
                  <a:gd name="connsiteY33" fmla="*/ 3133 h 9534"/>
                  <a:gd name="connsiteX34" fmla="*/ 7129 w 10001"/>
                  <a:gd name="connsiteY34" fmla="*/ 2887 h 9534"/>
                  <a:gd name="connsiteX35" fmla="*/ 6825 w 10001"/>
                  <a:gd name="connsiteY35" fmla="*/ 1784 h 9534"/>
                  <a:gd name="connsiteX36" fmla="*/ 5608 w 10001"/>
                  <a:gd name="connsiteY36" fmla="*/ 1293 h 9534"/>
                  <a:gd name="connsiteX37" fmla="*/ 5001 w 10001"/>
                  <a:gd name="connsiteY37" fmla="*/ 927 h 9534"/>
                  <a:gd name="connsiteX38" fmla="*/ 4393 w 10001"/>
                  <a:gd name="connsiteY38" fmla="*/ 435 h 9534"/>
                  <a:gd name="connsiteX39" fmla="*/ 4089 w 10001"/>
                  <a:gd name="connsiteY39" fmla="*/ 69 h 9534"/>
                  <a:gd name="connsiteX40" fmla="*/ 3480 w 10001"/>
                  <a:gd name="connsiteY40" fmla="*/ 559 h 9534"/>
                  <a:gd name="connsiteX41" fmla="*/ 2264 w 10001"/>
                  <a:gd name="connsiteY41" fmla="*/ 313 h 9534"/>
                  <a:gd name="connsiteX42" fmla="*/ 1352 w 10001"/>
                  <a:gd name="connsiteY42" fmla="*/ 191 h 9534"/>
                  <a:gd name="connsiteX43" fmla="*/ 439 w 10001"/>
                  <a:gd name="connsiteY43" fmla="*/ 1049 h 9534"/>
                  <a:gd name="connsiteX44" fmla="*/ 135 w 10001"/>
                  <a:gd name="connsiteY44" fmla="*/ 2152 h 9534"/>
                  <a:gd name="connsiteX45" fmla="*/ 135 w 10001"/>
                  <a:gd name="connsiteY45" fmla="*/ 2642 h 9534"/>
                  <a:gd name="connsiteX0" fmla="*/ 135 w 10696"/>
                  <a:gd name="connsiteY0" fmla="*/ 2771 h 10000"/>
                  <a:gd name="connsiteX1" fmla="*/ 439 w 10696"/>
                  <a:gd name="connsiteY1" fmla="*/ 2900 h 10000"/>
                  <a:gd name="connsiteX2" fmla="*/ 1352 w 10696"/>
                  <a:gd name="connsiteY2" fmla="*/ 3286 h 10000"/>
                  <a:gd name="connsiteX3" fmla="*/ 1047 w 10696"/>
                  <a:gd name="connsiteY3" fmla="*/ 4057 h 10000"/>
                  <a:gd name="connsiteX4" fmla="*/ 743 w 10696"/>
                  <a:gd name="connsiteY4" fmla="*/ 4571 h 10000"/>
                  <a:gd name="connsiteX5" fmla="*/ 1047 w 10696"/>
                  <a:gd name="connsiteY5" fmla="*/ 4829 h 10000"/>
                  <a:gd name="connsiteX6" fmla="*/ 743 w 10696"/>
                  <a:gd name="connsiteY6" fmla="*/ 5471 h 10000"/>
                  <a:gd name="connsiteX7" fmla="*/ 1352 w 10696"/>
                  <a:gd name="connsiteY7" fmla="*/ 5857 h 10000"/>
                  <a:gd name="connsiteX8" fmla="*/ 743 w 10696"/>
                  <a:gd name="connsiteY8" fmla="*/ 6115 h 10000"/>
                  <a:gd name="connsiteX9" fmla="*/ 135 w 10696"/>
                  <a:gd name="connsiteY9" fmla="*/ 6757 h 10000"/>
                  <a:gd name="connsiteX10" fmla="*/ 135 w 10696"/>
                  <a:gd name="connsiteY10" fmla="*/ 7143 h 10000"/>
                  <a:gd name="connsiteX11" fmla="*/ 1047 w 10696"/>
                  <a:gd name="connsiteY11" fmla="*/ 7657 h 10000"/>
                  <a:gd name="connsiteX12" fmla="*/ 1047 w 10696"/>
                  <a:gd name="connsiteY12" fmla="*/ 7915 h 10000"/>
                  <a:gd name="connsiteX13" fmla="*/ 439 w 10696"/>
                  <a:gd name="connsiteY13" fmla="*/ 7915 h 10000"/>
                  <a:gd name="connsiteX14" fmla="*/ 743 w 10696"/>
                  <a:gd name="connsiteY14" fmla="*/ 8429 h 10000"/>
                  <a:gd name="connsiteX15" fmla="*/ 1960 w 10696"/>
                  <a:gd name="connsiteY15" fmla="*/ 8815 h 10000"/>
                  <a:gd name="connsiteX16" fmla="*/ 3176 w 10696"/>
                  <a:gd name="connsiteY16" fmla="*/ 9072 h 10000"/>
                  <a:gd name="connsiteX17" fmla="*/ 4393 w 10696"/>
                  <a:gd name="connsiteY17" fmla="*/ 9972 h 10000"/>
                  <a:gd name="connsiteX18" fmla="*/ 6215 w 10696"/>
                  <a:gd name="connsiteY18" fmla="*/ 9714 h 10000"/>
                  <a:gd name="connsiteX19" fmla="*/ 6824 w 10696"/>
                  <a:gd name="connsiteY19" fmla="*/ 9072 h 10000"/>
                  <a:gd name="connsiteX20" fmla="*/ 8040 w 10696"/>
                  <a:gd name="connsiteY20" fmla="*/ 8943 h 10000"/>
                  <a:gd name="connsiteX21" fmla="*/ 8648 w 10696"/>
                  <a:gd name="connsiteY21" fmla="*/ 8043 h 10000"/>
                  <a:gd name="connsiteX22" fmla="*/ 9865 w 10696"/>
                  <a:gd name="connsiteY22" fmla="*/ 7400 h 10000"/>
                  <a:gd name="connsiteX23" fmla="*/ 9865 w 10696"/>
                  <a:gd name="connsiteY23" fmla="*/ 6501 h 10000"/>
                  <a:gd name="connsiteX24" fmla="*/ 9561 w 10696"/>
                  <a:gd name="connsiteY24" fmla="*/ 6243 h 10000"/>
                  <a:gd name="connsiteX25" fmla="*/ 9561 w 10696"/>
                  <a:gd name="connsiteY25" fmla="*/ 6243 h 10000"/>
                  <a:gd name="connsiteX26" fmla="*/ 9561 w 10696"/>
                  <a:gd name="connsiteY26" fmla="*/ 6243 h 10000"/>
                  <a:gd name="connsiteX27" fmla="*/ 10647 w 10696"/>
                  <a:gd name="connsiteY27" fmla="*/ 5871 h 10000"/>
                  <a:gd name="connsiteX28" fmla="*/ 8040 w 10696"/>
                  <a:gd name="connsiteY28" fmla="*/ 5729 h 10000"/>
                  <a:gd name="connsiteX29" fmla="*/ 7432 w 10696"/>
                  <a:gd name="connsiteY29" fmla="*/ 5215 h 10000"/>
                  <a:gd name="connsiteX30" fmla="*/ 7128 w 10696"/>
                  <a:gd name="connsiteY30" fmla="*/ 4700 h 10000"/>
                  <a:gd name="connsiteX31" fmla="*/ 6520 w 10696"/>
                  <a:gd name="connsiteY31" fmla="*/ 4185 h 10000"/>
                  <a:gd name="connsiteX32" fmla="*/ 7128 w 10696"/>
                  <a:gd name="connsiteY32" fmla="*/ 3800 h 10000"/>
                  <a:gd name="connsiteX33" fmla="*/ 6824 w 10696"/>
                  <a:gd name="connsiteY33" fmla="*/ 3286 h 10000"/>
                  <a:gd name="connsiteX34" fmla="*/ 7128 w 10696"/>
                  <a:gd name="connsiteY34" fmla="*/ 3028 h 10000"/>
                  <a:gd name="connsiteX35" fmla="*/ 6824 w 10696"/>
                  <a:gd name="connsiteY35" fmla="*/ 1871 h 10000"/>
                  <a:gd name="connsiteX36" fmla="*/ 5607 w 10696"/>
                  <a:gd name="connsiteY36" fmla="*/ 1356 h 10000"/>
                  <a:gd name="connsiteX37" fmla="*/ 5000 w 10696"/>
                  <a:gd name="connsiteY37" fmla="*/ 972 h 10000"/>
                  <a:gd name="connsiteX38" fmla="*/ 4393 w 10696"/>
                  <a:gd name="connsiteY38" fmla="*/ 456 h 10000"/>
                  <a:gd name="connsiteX39" fmla="*/ 4089 w 10696"/>
                  <a:gd name="connsiteY39" fmla="*/ 72 h 10000"/>
                  <a:gd name="connsiteX40" fmla="*/ 3480 w 10696"/>
                  <a:gd name="connsiteY40" fmla="*/ 586 h 10000"/>
                  <a:gd name="connsiteX41" fmla="*/ 2264 w 10696"/>
                  <a:gd name="connsiteY41" fmla="*/ 328 h 10000"/>
                  <a:gd name="connsiteX42" fmla="*/ 1352 w 10696"/>
                  <a:gd name="connsiteY42" fmla="*/ 200 h 10000"/>
                  <a:gd name="connsiteX43" fmla="*/ 439 w 10696"/>
                  <a:gd name="connsiteY43" fmla="*/ 1100 h 10000"/>
                  <a:gd name="connsiteX44" fmla="*/ 135 w 10696"/>
                  <a:gd name="connsiteY44" fmla="*/ 2257 h 10000"/>
                  <a:gd name="connsiteX45" fmla="*/ 135 w 10696"/>
                  <a:gd name="connsiteY45" fmla="*/ 2771 h 10000"/>
                  <a:gd name="connsiteX0" fmla="*/ 135 w 10696"/>
                  <a:gd name="connsiteY0" fmla="*/ 2771 h 10000"/>
                  <a:gd name="connsiteX1" fmla="*/ 439 w 10696"/>
                  <a:gd name="connsiteY1" fmla="*/ 2900 h 10000"/>
                  <a:gd name="connsiteX2" fmla="*/ 1352 w 10696"/>
                  <a:gd name="connsiteY2" fmla="*/ 3286 h 10000"/>
                  <a:gd name="connsiteX3" fmla="*/ 1047 w 10696"/>
                  <a:gd name="connsiteY3" fmla="*/ 4057 h 10000"/>
                  <a:gd name="connsiteX4" fmla="*/ 743 w 10696"/>
                  <a:gd name="connsiteY4" fmla="*/ 4571 h 10000"/>
                  <a:gd name="connsiteX5" fmla="*/ 1047 w 10696"/>
                  <a:gd name="connsiteY5" fmla="*/ 4829 h 10000"/>
                  <a:gd name="connsiteX6" fmla="*/ 743 w 10696"/>
                  <a:gd name="connsiteY6" fmla="*/ 5471 h 10000"/>
                  <a:gd name="connsiteX7" fmla="*/ 1352 w 10696"/>
                  <a:gd name="connsiteY7" fmla="*/ 5857 h 10000"/>
                  <a:gd name="connsiteX8" fmla="*/ 743 w 10696"/>
                  <a:gd name="connsiteY8" fmla="*/ 6115 h 10000"/>
                  <a:gd name="connsiteX9" fmla="*/ 135 w 10696"/>
                  <a:gd name="connsiteY9" fmla="*/ 6757 h 10000"/>
                  <a:gd name="connsiteX10" fmla="*/ 135 w 10696"/>
                  <a:gd name="connsiteY10" fmla="*/ 7143 h 10000"/>
                  <a:gd name="connsiteX11" fmla="*/ 1047 w 10696"/>
                  <a:gd name="connsiteY11" fmla="*/ 7657 h 10000"/>
                  <a:gd name="connsiteX12" fmla="*/ 1047 w 10696"/>
                  <a:gd name="connsiteY12" fmla="*/ 7915 h 10000"/>
                  <a:gd name="connsiteX13" fmla="*/ 439 w 10696"/>
                  <a:gd name="connsiteY13" fmla="*/ 7915 h 10000"/>
                  <a:gd name="connsiteX14" fmla="*/ 743 w 10696"/>
                  <a:gd name="connsiteY14" fmla="*/ 8429 h 10000"/>
                  <a:gd name="connsiteX15" fmla="*/ 1960 w 10696"/>
                  <a:gd name="connsiteY15" fmla="*/ 8815 h 10000"/>
                  <a:gd name="connsiteX16" fmla="*/ 3176 w 10696"/>
                  <a:gd name="connsiteY16" fmla="*/ 9072 h 10000"/>
                  <a:gd name="connsiteX17" fmla="*/ 4393 w 10696"/>
                  <a:gd name="connsiteY17" fmla="*/ 9972 h 10000"/>
                  <a:gd name="connsiteX18" fmla="*/ 6215 w 10696"/>
                  <a:gd name="connsiteY18" fmla="*/ 9714 h 10000"/>
                  <a:gd name="connsiteX19" fmla="*/ 6824 w 10696"/>
                  <a:gd name="connsiteY19" fmla="*/ 9072 h 10000"/>
                  <a:gd name="connsiteX20" fmla="*/ 8040 w 10696"/>
                  <a:gd name="connsiteY20" fmla="*/ 8943 h 10000"/>
                  <a:gd name="connsiteX21" fmla="*/ 8648 w 10696"/>
                  <a:gd name="connsiteY21" fmla="*/ 8043 h 10000"/>
                  <a:gd name="connsiteX22" fmla="*/ 9865 w 10696"/>
                  <a:gd name="connsiteY22" fmla="*/ 7400 h 10000"/>
                  <a:gd name="connsiteX23" fmla="*/ 9865 w 10696"/>
                  <a:gd name="connsiteY23" fmla="*/ 6501 h 10000"/>
                  <a:gd name="connsiteX24" fmla="*/ 9561 w 10696"/>
                  <a:gd name="connsiteY24" fmla="*/ 6243 h 10000"/>
                  <a:gd name="connsiteX25" fmla="*/ 9561 w 10696"/>
                  <a:gd name="connsiteY25" fmla="*/ 6243 h 10000"/>
                  <a:gd name="connsiteX26" fmla="*/ 9561 w 10696"/>
                  <a:gd name="connsiteY26" fmla="*/ 6243 h 10000"/>
                  <a:gd name="connsiteX27" fmla="*/ 10647 w 10696"/>
                  <a:gd name="connsiteY27" fmla="*/ 5871 h 10000"/>
                  <a:gd name="connsiteX28" fmla="*/ 9183 w 10696"/>
                  <a:gd name="connsiteY28" fmla="*/ 5485 h 10000"/>
                  <a:gd name="connsiteX29" fmla="*/ 7432 w 10696"/>
                  <a:gd name="connsiteY29" fmla="*/ 5215 h 10000"/>
                  <a:gd name="connsiteX30" fmla="*/ 7128 w 10696"/>
                  <a:gd name="connsiteY30" fmla="*/ 4700 h 10000"/>
                  <a:gd name="connsiteX31" fmla="*/ 6520 w 10696"/>
                  <a:gd name="connsiteY31" fmla="*/ 4185 h 10000"/>
                  <a:gd name="connsiteX32" fmla="*/ 7128 w 10696"/>
                  <a:gd name="connsiteY32" fmla="*/ 3800 h 10000"/>
                  <a:gd name="connsiteX33" fmla="*/ 6824 w 10696"/>
                  <a:gd name="connsiteY33" fmla="*/ 3286 h 10000"/>
                  <a:gd name="connsiteX34" fmla="*/ 7128 w 10696"/>
                  <a:gd name="connsiteY34" fmla="*/ 3028 h 10000"/>
                  <a:gd name="connsiteX35" fmla="*/ 6824 w 10696"/>
                  <a:gd name="connsiteY35" fmla="*/ 1871 h 10000"/>
                  <a:gd name="connsiteX36" fmla="*/ 5607 w 10696"/>
                  <a:gd name="connsiteY36" fmla="*/ 1356 h 10000"/>
                  <a:gd name="connsiteX37" fmla="*/ 5000 w 10696"/>
                  <a:gd name="connsiteY37" fmla="*/ 972 h 10000"/>
                  <a:gd name="connsiteX38" fmla="*/ 4393 w 10696"/>
                  <a:gd name="connsiteY38" fmla="*/ 456 h 10000"/>
                  <a:gd name="connsiteX39" fmla="*/ 4089 w 10696"/>
                  <a:gd name="connsiteY39" fmla="*/ 72 h 10000"/>
                  <a:gd name="connsiteX40" fmla="*/ 3480 w 10696"/>
                  <a:gd name="connsiteY40" fmla="*/ 586 h 10000"/>
                  <a:gd name="connsiteX41" fmla="*/ 2264 w 10696"/>
                  <a:gd name="connsiteY41" fmla="*/ 328 h 10000"/>
                  <a:gd name="connsiteX42" fmla="*/ 1352 w 10696"/>
                  <a:gd name="connsiteY42" fmla="*/ 200 h 10000"/>
                  <a:gd name="connsiteX43" fmla="*/ 439 w 10696"/>
                  <a:gd name="connsiteY43" fmla="*/ 1100 h 10000"/>
                  <a:gd name="connsiteX44" fmla="*/ 135 w 10696"/>
                  <a:gd name="connsiteY44" fmla="*/ 2257 h 10000"/>
                  <a:gd name="connsiteX45" fmla="*/ 135 w 10696"/>
                  <a:gd name="connsiteY45" fmla="*/ 2771 h 10000"/>
                  <a:gd name="connsiteX0" fmla="*/ 135 w 10696"/>
                  <a:gd name="connsiteY0" fmla="*/ 2771 h 10000"/>
                  <a:gd name="connsiteX1" fmla="*/ 439 w 10696"/>
                  <a:gd name="connsiteY1" fmla="*/ 2900 h 10000"/>
                  <a:gd name="connsiteX2" fmla="*/ 1352 w 10696"/>
                  <a:gd name="connsiteY2" fmla="*/ 3286 h 10000"/>
                  <a:gd name="connsiteX3" fmla="*/ 1047 w 10696"/>
                  <a:gd name="connsiteY3" fmla="*/ 4057 h 10000"/>
                  <a:gd name="connsiteX4" fmla="*/ 743 w 10696"/>
                  <a:gd name="connsiteY4" fmla="*/ 4571 h 10000"/>
                  <a:gd name="connsiteX5" fmla="*/ 1047 w 10696"/>
                  <a:gd name="connsiteY5" fmla="*/ 4829 h 10000"/>
                  <a:gd name="connsiteX6" fmla="*/ 743 w 10696"/>
                  <a:gd name="connsiteY6" fmla="*/ 5471 h 10000"/>
                  <a:gd name="connsiteX7" fmla="*/ 1352 w 10696"/>
                  <a:gd name="connsiteY7" fmla="*/ 5857 h 10000"/>
                  <a:gd name="connsiteX8" fmla="*/ 743 w 10696"/>
                  <a:gd name="connsiteY8" fmla="*/ 6115 h 10000"/>
                  <a:gd name="connsiteX9" fmla="*/ 135 w 10696"/>
                  <a:gd name="connsiteY9" fmla="*/ 6757 h 10000"/>
                  <a:gd name="connsiteX10" fmla="*/ 135 w 10696"/>
                  <a:gd name="connsiteY10" fmla="*/ 7143 h 10000"/>
                  <a:gd name="connsiteX11" fmla="*/ 1047 w 10696"/>
                  <a:gd name="connsiteY11" fmla="*/ 7657 h 10000"/>
                  <a:gd name="connsiteX12" fmla="*/ 1047 w 10696"/>
                  <a:gd name="connsiteY12" fmla="*/ 7915 h 10000"/>
                  <a:gd name="connsiteX13" fmla="*/ 439 w 10696"/>
                  <a:gd name="connsiteY13" fmla="*/ 7915 h 10000"/>
                  <a:gd name="connsiteX14" fmla="*/ 743 w 10696"/>
                  <a:gd name="connsiteY14" fmla="*/ 8429 h 10000"/>
                  <a:gd name="connsiteX15" fmla="*/ 1960 w 10696"/>
                  <a:gd name="connsiteY15" fmla="*/ 8815 h 10000"/>
                  <a:gd name="connsiteX16" fmla="*/ 3176 w 10696"/>
                  <a:gd name="connsiteY16" fmla="*/ 9072 h 10000"/>
                  <a:gd name="connsiteX17" fmla="*/ 4393 w 10696"/>
                  <a:gd name="connsiteY17" fmla="*/ 9972 h 10000"/>
                  <a:gd name="connsiteX18" fmla="*/ 6215 w 10696"/>
                  <a:gd name="connsiteY18" fmla="*/ 9714 h 10000"/>
                  <a:gd name="connsiteX19" fmla="*/ 6824 w 10696"/>
                  <a:gd name="connsiteY19" fmla="*/ 9072 h 10000"/>
                  <a:gd name="connsiteX20" fmla="*/ 8040 w 10696"/>
                  <a:gd name="connsiteY20" fmla="*/ 8943 h 10000"/>
                  <a:gd name="connsiteX21" fmla="*/ 8648 w 10696"/>
                  <a:gd name="connsiteY21" fmla="*/ 8043 h 10000"/>
                  <a:gd name="connsiteX22" fmla="*/ 9865 w 10696"/>
                  <a:gd name="connsiteY22" fmla="*/ 7400 h 10000"/>
                  <a:gd name="connsiteX23" fmla="*/ 9865 w 10696"/>
                  <a:gd name="connsiteY23" fmla="*/ 6501 h 10000"/>
                  <a:gd name="connsiteX24" fmla="*/ 9561 w 10696"/>
                  <a:gd name="connsiteY24" fmla="*/ 6243 h 10000"/>
                  <a:gd name="connsiteX25" fmla="*/ 9561 w 10696"/>
                  <a:gd name="connsiteY25" fmla="*/ 6243 h 10000"/>
                  <a:gd name="connsiteX26" fmla="*/ 9561 w 10696"/>
                  <a:gd name="connsiteY26" fmla="*/ 6243 h 10000"/>
                  <a:gd name="connsiteX27" fmla="*/ 10647 w 10696"/>
                  <a:gd name="connsiteY27" fmla="*/ 5871 h 10000"/>
                  <a:gd name="connsiteX28" fmla="*/ 9183 w 10696"/>
                  <a:gd name="connsiteY28" fmla="*/ 5485 h 10000"/>
                  <a:gd name="connsiteX29" fmla="*/ 8717 w 10696"/>
                  <a:gd name="connsiteY29" fmla="*/ 5154 h 10000"/>
                  <a:gd name="connsiteX30" fmla="*/ 7128 w 10696"/>
                  <a:gd name="connsiteY30" fmla="*/ 4700 h 10000"/>
                  <a:gd name="connsiteX31" fmla="*/ 6520 w 10696"/>
                  <a:gd name="connsiteY31" fmla="*/ 4185 h 10000"/>
                  <a:gd name="connsiteX32" fmla="*/ 7128 w 10696"/>
                  <a:gd name="connsiteY32" fmla="*/ 3800 h 10000"/>
                  <a:gd name="connsiteX33" fmla="*/ 6824 w 10696"/>
                  <a:gd name="connsiteY33" fmla="*/ 3286 h 10000"/>
                  <a:gd name="connsiteX34" fmla="*/ 7128 w 10696"/>
                  <a:gd name="connsiteY34" fmla="*/ 3028 h 10000"/>
                  <a:gd name="connsiteX35" fmla="*/ 6824 w 10696"/>
                  <a:gd name="connsiteY35" fmla="*/ 1871 h 10000"/>
                  <a:gd name="connsiteX36" fmla="*/ 5607 w 10696"/>
                  <a:gd name="connsiteY36" fmla="*/ 1356 h 10000"/>
                  <a:gd name="connsiteX37" fmla="*/ 5000 w 10696"/>
                  <a:gd name="connsiteY37" fmla="*/ 972 h 10000"/>
                  <a:gd name="connsiteX38" fmla="*/ 4393 w 10696"/>
                  <a:gd name="connsiteY38" fmla="*/ 456 h 10000"/>
                  <a:gd name="connsiteX39" fmla="*/ 4089 w 10696"/>
                  <a:gd name="connsiteY39" fmla="*/ 72 h 10000"/>
                  <a:gd name="connsiteX40" fmla="*/ 3480 w 10696"/>
                  <a:gd name="connsiteY40" fmla="*/ 586 h 10000"/>
                  <a:gd name="connsiteX41" fmla="*/ 2264 w 10696"/>
                  <a:gd name="connsiteY41" fmla="*/ 328 h 10000"/>
                  <a:gd name="connsiteX42" fmla="*/ 1352 w 10696"/>
                  <a:gd name="connsiteY42" fmla="*/ 200 h 10000"/>
                  <a:gd name="connsiteX43" fmla="*/ 439 w 10696"/>
                  <a:gd name="connsiteY43" fmla="*/ 1100 h 10000"/>
                  <a:gd name="connsiteX44" fmla="*/ 135 w 10696"/>
                  <a:gd name="connsiteY44" fmla="*/ 2257 h 10000"/>
                  <a:gd name="connsiteX45" fmla="*/ 135 w 10696"/>
                  <a:gd name="connsiteY45" fmla="*/ 277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696" h="10000">
                    <a:moveTo>
                      <a:pt x="135" y="2771"/>
                    </a:moveTo>
                    <a:cubicBezTo>
                      <a:pt x="135" y="2771"/>
                      <a:pt x="135" y="3028"/>
                      <a:pt x="439" y="2900"/>
                    </a:cubicBezTo>
                    <a:cubicBezTo>
                      <a:pt x="1047" y="2900"/>
                      <a:pt x="1352" y="3028"/>
                      <a:pt x="1352" y="3286"/>
                    </a:cubicBezTo>
                    <a:cubicBezTo>
                      <a:pt x="1352" y="3543"/>
                      <a:pt x="1352" y="3800"/>
                      <a:pt x="1047" y="4057"/>
                    </a:cubicBezTo>
                    <a:cubicBezTo>
                      <a:pt x="1047" y="4185"/>
                      <a:pt x="439" y="4314"/>
                      <a:pt x="743" y="4571"/>
                    </a:cubicBezTo>
                    <a:cubicBezTo>
                      <a:pt x="743" y="4700"/>
                      <a:pt x="1047" y="4571"/>
                      <a:pt x="1047" y="4829"/>
                    </a:cubicBezTo>
                    <a:cubicBezTo>
                      <a:pt x="1047" y="5085"/>
                      <a:pt x="743" y="5215"/>
                      <a:pt x="743" y="5471"/>
                    </a:cubicBezTo>
                    <a:cubicBezTo>
                      <a:pt x="743" y="5729"/>
                      <a:pt x="1352" y="5857"/>
                      <a:pt x="1352" y="5857"/>
                    </a:cubicBezTo>
                    <a:cubicBezTo>
                      <a:pt x="1352" y="5985"/>
                      <a:pt x="1047" y="6115"/>
                      <a:pt x="743" y="6115"/>
                    </a:cubicBezTo>
                    <a:cubicBezTo>
                      <a:pt x="743" y="6115"/>
                      <a:pt x="135" y="6501"/>
                      <a:pt x="135" y="6757"/>
                    </a:cubicBezTo>
                    <a:cubicBezTo>
                      <a:pt x="135" y="7015"/>
                      <a:pt x="-169" y="6885"/>
                      <a:pt x="135" y="7143"/>
                    </a:cubicBezTo>
                    <a:cubicBezTo>
                      <a:pt x="743" y="7400"/>
                      <a:pt x="1047" y="7400"/>
                      <a:pt x="1047" y="7657"/>
                    </a:cubicBezTo>
                    <a:cubicBezTo>
                      <a:pt x="1047" y="7915"/>
                      <a:pt x="1352" y="7786"/>
                      <a:pt x="1047" y="7915"/>
                    </a:cubicBezTo>
                    <a:cubicBezTo>
                      <a:pt x="743" y="8043"/>
                      <a:pt x="743" y="7786"/>
                      <a:pt x="439" y="7915"/>
                    </a:cubicBezTo>
                    <a:cubicBezTo>
                      <a:pt x="135" y="8043"/>
                      <a:pt x="135" y="8043"/>
                      <a:pt x="743" y="8429"/>
                    </a:cubicBezTo>
                    <a:cubicBezTo>
                      <a:pt x="1047" y="8815"/>
                      <a:pt x="1352" y="8429"/>
                      <a:pt x="1960" y="8815"/>
                    </a:cubicBezTo>
                    <a:cubicBezTo>
                      <a:pt x="2872" y="9072"/>
                      <a:pt x="2872" y="8815"/>
                      <a:pt x="3176" y="9072"/>
                    </a:cubicBezTo>
                    <a:cubicBezTo>
                      <a:pt x="3785" y="9329"/>
                      <a:pt x="4089" y="9714"/>
                      <a:pt x="4393" y="9972"/>
                    </a:cubicBezTo>
                    <a:cubicBezTo>
                      <a:pt x="4900" y="10079"/>
                      <a:pt x="5810" y="9864"/>
                      <a:pt x="6215" y="9714"/>
                    </a:cubicBezTo>
                    <a:cubicBezTo>
                      <a:pt x="6620" y="9564"/>
                      <a:pt x="6215" y="9200"/>
                      <a:pt x="6824" y="9072"/>
                    </a:cubicBezTo>
                    <a:cubicBezTo>
                      <a:pt x="7432" y="8943"/>
                      <a:pt x="7736" y="9200"/>
                      <a:pt x="8040" y="8943"/>
                    </a:cubicBezTo>
                    <a:cubicBezTo>
                      <a:pt x="8344" y="8815"/>
                      <a:pt x="8040" y="8429"/>
                      <a:pt x="8648" y="8043"/>
                    </a:cubicBezTo>
                    <a:cubicBezTo>
                      <a:pt x="8953" y="7786"/>
                      <a:pt x="9561" y="7657"/>
                      <a:pt x="9865" y="7400"/>
                    </a:cubicBezTo>
                    <a:cubicBezTo>
                      <a:pt x="10169" y="7015"/>
                      <a:pt x="9865" y="6757"/>
                      <a:pt x="9865" y="6501"/>
                    </a:cubicBezTo>
                    <a:cubicBezTo>
                      <a:pt x="9865" y="6243"/>
                      <a:pt x="9561" y="6243"/>
                      <a:pt x="9561" y="6243"/>
                    </a:cubicBezTo>
                    <a:lnTo>
                      <a:pt x="9561" y="6243"/>
                    </a:lnTo>
                    <a:lnTo>
                      <a:pt x="9561" y="6243"/>
                    </a:lnTo>
                    <a:cubicBezTo>
                      <a:pt x="9742" y="6181"/>
                      <a:pt x="10952" y="5871"/>
                      <a:pt x="10647" y="5871"/>
                    </a:cubicBezTo>
                    <a:cubicBezTo>
                      <a:pt x="10039" y="5999"/>
                      <a:pt x="9505" y="5604"/>
                      <a:pt x="9183" y="5485"/>
                    </a:cubicBezTo>
                    <a:cubicBezTo>
                      <a:pt x="8861" y="5366"/>
                      <a:pt x="9060" y="5285"/>
                      <a:pt x="8717" y="5154"/>
                    </a:cubicBezTo>
                    <a:cubicBezTo>
                      <a:pt x="8374" y="5023"/>
                      <a:pt x="6824" y="4829"/>
                      <a:pt x="7128" y="4700"/>
                    </a:cubicBezTo>
                    <a:cubicBezTo>
                      <a:pt x="7432" y="4443"/>
                      <a:pt x="6824" y="4314"/>
                      <a:pt x="6520" y="4185"/>
                    </a:cubicBezTo>
                    <a:cubicBezTo>
                      <a:pt x="6215" y="4057"/>
                      <a:pt x="6824" y="3929"/>
                      <a:pt x="7128" y="3800"/>
                    </a:cubicBezTo>
                    <a:cubicBezTo>
                      <a:pt x="7128" y="3671"/>
                      <a:pt x="6520" y="3543"/>
                      <a:pt x="6824" y="3286"/>
                    </a:cubicBezTo>
                    <a:cubicBezTo>
                      <a:pt x="6824" y="3286"/>
                      <a:pt x="7128" y="3157"/>
                      <a:pt x="7128" y="3028"/>
                    </a:cubicBezTo>
                    <a:cubicBezTo>
                      <a:pt x="7128" y="3028"/>
                      <a:pt x="7128" y="2128"/>
                      <a:pt x="6824" y="1871"/>
                    </a:cubicBezTo>
                    <a:cubicBezTo>
                      <a:pt x="6824" y="1614"/>
                      <a:pt x="6215" y="1486"/>
                      <a:pt x="5607" y="1356"/>
                    </a:cubicBezTo>
                    <a:cubicBezTo>
                      <a:pt x="5303" y="1228"/>
                      <a:pt x="5000" y="1228"/>
                      <a:pt x="5000" y="972"/>
                    </a:cubicBezTo>
                    <a:cubicBezTo>
                      <a:pt x="5000" y="714"/>
                      <a:pt x="4697" y="714"/>
                      <a:pt x="4393" y="456"/>
                    </a:cubicBezTo>
                    <a:cubicBezTo>
                      <a:pt x="4089" y="328"/>
                      <a:pt x="4393" y="-186"/>
                      <a:pt x="4089" y="72"/>
                    </a:cubicBezTo>
                    <a:cubicBezTo>
                      <a:pt x="3785" y="328"/>
                      <a:pt x="4089" y="456"/>
                      <a:pt x="3480" y="586"/>
                    </a:cubicBezTo>
                    <a:cubicBezTo>
                      <a:pt x="2568" y="586"/>
                      <a:pt x="2264" y="714"/>
                      <a:pt x="2264" y="328"/>
                    </a:cubicBezTo>
                    <a:cubicBezTo>
                      <a:pt x="1960" y="72"/>
                      <a:pt x="1960" y="-58"/>
                      <a:pt x="1352" y="200"/>
                    </a:cubicBezTo>
                    <a:cubicBezTo>
                      <a:pt x="1047" y="586"/>
                      <a:pt x="1047" y="714"/>
                      <a:pt x="439" y="1100"/>
                    </a:cubicBezTo>
                    <a:cubicBezTo>
                      <a:pt x="135" y="1356"/>
                      <a:pt x="135" y="2000"/>
                      <a:pt x="135" y="2257"/>
                    </a:cubicBezTo>
                    <a:lnTo>
                      <a:pt x="135" y="2771"/>
                    </a:ln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59" name="Freeform 67"/>
              <p:cNvSpPr>
                <a:spLocks/>
              </p:cNvSpPr>
              <p:nvPr/>
            </p:nvSpPr>
            <p:spPr bwMode="gray">
              <a:xfrm>
                <a:off x="4938467" y="3839379"/>
                <a:ext cx="336551" cy="353422"/>
              </a:xfrm>
              <a:custGeom>
                <a:avLst/>
                <a:gdLst>
                  <a:gd name="T0" fmla="*/ 52 w 72"/>
                  <a:gd name="T1" fmla="*/ 76 h 77"/>
                  <a:gd name="T2" fmla="*/ 50 w 72"/>
                  <a:gd name="T3" fmla="*/ 75 h 77"/>
                  <a:gd name="T4" fmla="*/ 46 w 72"/>
                  <a:gd name="T5" fmla="*/ 71 h 77"/>
                  <a:gd name="T6" fmla="*/ 39 w 72"/>
                  <a:gd name="T7" fmla="*/ 66 h 77"/>
                  <a:gd name="T8" fmla="*/ 36 w 72"/>
                  <a:gd name="T9" fmla="*/ 59 h 77"/>
                  <a:gd name="T10" fmla="*/ 30 w 72"/>
                  <a:gd name="T11" fmla="*/ 55 h 77"/>
                  <a:gd name="T12" fmla="*/ 23 w 72"/>
                  <a:gd name="T13" fmla="*/ 45 h 77"/>
                  <a:gd name="T14" fmla="*/ 17 w 72"/>
                  <a:gd name="T15" fmla="*/ 38 h 77"/>
                  <a:gd name="T16" fmla="*/ 10 w 72"/>
                  <a:gd name="T17" fmla="*/ 31 h 77"/>
                  <a:gd name="T18" fmla="*/ 5 w 72"/>
                  <a:gd name="T19" fmla="*/ 19 h 77"/>
                  <a:gd name="T20" fmla="*/ 1 w 72"/>
                  <a:gd name="T21" fmla="*/ 13 h 77"/>
                  <a:gd name="T22" fmla="*/ 0 w 72"/>
                  <a:gd name="T23" fmla="*/ 5 h 77"/>
                  <a:gd name="T24" fmla="*/ 4 w 72"/>
                  <a:gd name="T25" fmla="*/ 3 h 77"/>
                  <a:gd name="T26" fmla="*/ 10 w 72"/>
                  <a:gd name="T27" fmla="*/ 9 h 77"/>
                  <a:gd name="T28" fmla="*/ 15 w 72"/>
                  <a:gd name="T29" fmla="*/ 3 h 77"/>
                  <a:gd name="T30" fmla="*/ 20 w 72"/>
                  <a:gd name="T31" fmla="*/ 3 h 77"/>
                  <a:gd name="T32" fmla="*/ 22 w 72"/>
                  <a:gd name="T33" fmla="*/ 2 h 77"/>
                  <a:gd name="T34" fmla="*/ 28 w 72"/>
                  <a:gd name="T35" fmla="*/ 4 h 77"/>
                  <a:gd name="T36" fmla="*/ 35 w 72"/>
                  <a:gd name="T37" fmla="*/ 6 h 77"/>
                  <a:gd name="T38" fmla="*/ 39 w 72"/>
                  <a:gd name="T39" fmla="*/ 7 h 77"/>
                  <a:gd name="T40" fmla="*/ 43 w 72"/>
                  <a:gd name="T41" fmla="*/ 6 h 77"/>
                  <a:gd name="T42" fmla="*/ 47 w 72"/>
                  <a:gd name="T43" fmla="*/ 7 h 77"/>
                  <a:gd name="T44" fmla="*/ 51 w 72"/>
                  <a:gd name="T45" fmla="*/ 7 h 77"/>
                  <a:gd name="T46" fmla="*/ 55 w 72"/>
                  <a:gd name="T47" fmla="*/ 9 h 77"/>
                  <a:gd name="T48" fmla="*/ 59 w 72"/>
                  <a:gd name="T49" fmla="*/ 12 h 77"/>
                  <a:gd name="T50" fmla="*/ 61 w 72"/>
                  <a:gd name="T51" fmla="*/ 11 h 77"/>
                  <a:gd name="T52" fmla="*/ 61 w 72"/>
                  <a:gd name="T53" fmla="*/ 11 h 77"/>
                  <a:gd name="T54" fmla="*/ 61 w 72"/>
                  <a:gd name="T55" fmla="*/ 11 h 77"/>
                  <a:gd name="T56" fmla="*/ 63 w 72"/>
                  <a:gd name="T57" fmla="*/ 11 h 77"/>
                  <a:gd name="T58" fmla="*/ 65 w 72"/>
                  <a:gd name="T59" fmla="*/ 14 h 77"/>
                  <a:gd name="T60" fmla="*/ 62 w 72"/>
                  <a:gd name="T61" fmla="*/ 24 h 77"/>
                  <a:gd name="T62" fmla="*/ 65 w 72"/>
                  <a:gd name="T63" fmla="*/ 28 h 77"/>
                  <a:gd name="T64" fmla="*/ 68 w 72"/>
                  <a:gd name="T65" fmla="*/ 31 h 77"/>
                  <a:gd name="T66" fmla="*/ 71 w 72"/>
                  <a:gd name="T67" fmla="*/ 35 h 77"/>
                  <a:gd name="T68" fmla="*/ 67 w 72"/>
                  <a:gd name="T69" fmla="*/ 35 h 77"/>
                  <a:gd name="T70" fmla="*/ 66 w 72"/>
                  <a:gd name="T71" fmla="*/ 38 h 77"/>
                  <a:gd name="T72" fmla="*/ 69 w 72"/>
                  <a:gd name="T73" fmla="*/ 43 h 77"/>
                  <a:gd name="T74" fmla="*/ 67 w 72"/>
                  <a:gd name="T75" fmla="*/ 46 h 77"/>
                  <a:gd name="T76" fmla="*/ 63 w 72"/>
                  <a:gd name="T77" fmla="*/ 48 h 77"/>
                  <a:gd name="T78" fmla="*/ 60 w 72"/>
                  <a:gd name="T79" fmla="*/ 49 h 77"/>
                  <a:gd name="T80" fmla="*/ 61 w 72"/>
                  <a:gd name="T81" fmla="*/ 54 h 77"/>
                  <a:gd name="T82" fmla="*/ 58 w 72"/>
                  <a:gd name="T83" fmla="*/ 53 h 77"/>
                  <a:gd name="T84" fmla="*/ 55 w 72"/>
                  <a:gd name="T85" fmla="*/ 58 h 77"/>
                  <a:gd name="T86" fmla="*/ 52 w 72"/>
                  <a:gd name="T87" fmla="*/ 61 h 77"/>
                  <a:gd name="T88" fmla="*/ 51 w 72"/>
                  <a:gd name="T89" fmla="*/ 66 h 77"/>
                  <a:gd name="T90" fmla="*/ 53 w 72"/>
                  <a:gd name="T91" fmla="*/ 71 h 77"/>
                  <a:gd name="T92" fmla="*/ 52 w 72"/>
                  <a:gd name="T93" fmla="*/ 74 h 77"/>
                  <a:gd name="T94" fmla="*/ 52 w 72"/>
                  <a:gd name="T95" fmla="*/ 7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2" h="77">
                    <a:moveTo>
                      <a:pt x="52" y="76"/>
                    </a:moveTo>
                    <a:cubicBezTo>
                      <a:pt x="52" y="76"/>
                      <a:pt x="51" y="77"/>
                      <a:pt x="50" y="75"/>
                    </a:cubicBezTo>
                    <a:cubicBezTo>
                      <a:pt x="48" y="74"/>
                      <a:pt x="47" y="72"/>
                      <a:pt x="46" y="71"/>
                    </a:cubicBezTo>
                    <a:cubicBezTo>
                      <a:pt x="44" y="70"/>
                      <a:pt x="41" y="68"/>
                      <a:pt x="39" y="66"/>
                    </a:cubicBezTo>
                    <a:cubicBezTo>
                      <a:pt x="38" y="65"/>
                      <a:pt x="38" y="61"/>
                      <a:pt x="36" y="59"/>
                    </a:cubicBezTo>
                    <a:cubicBezTo>
                      <a:pt x="34" y="57"/>
                      <a:pt x="32" y="57"/>
                      <a:pt x="30" y="55"/>
                    </a:cubicBezTo>
                    <a:cubicBezTo>
                      <a:pt x="29" y="52"/>
                      <a:pt x="25" y="47"/>
                      <a:pt x="23" y="45"/>
                    </a:cubicBezTo>
                    <a:cubicBezTo>
                      <a:pt x="21" y="43"/>
                      <a:pt x="19" y="40"/>
                      <a:pt x="17" y="38"/>
                    </a:cubicBezTo>
                    <a:cubicBezTo>
                      <a:pt x="15" y="36"/>
                      <a:pt x="12" y="34"/>
                      <a:pt x="10" y="31"/>
                    </a:cubicBezTo>
                    <a:cubicBezTo>
                      <a:pt x="9" y="28"/>
                      <a:pt x="8" y="21"/>
                      <a:pt x="5" y="19"/>
                    </a:cubicBezTo>
                    <a:cubicBezTo>
                      <a:pt x="3" y="17"/>
                      <a:pt x="2" y="17"/>
                      <a:pt x="1" y="13"/>
                    </a:cubicBezTo>
                    <a:cubicBezTo>
                      <a:pt x="0" y="9"/>
                      <a:pt x="1" y="8"/>
                      <a:pt x="0" y="5"/>
                    </a:cubicBezTo>
                    <a:cubicBezTo>
                      <a:pt x="0" y="3"/>
                      <a:pt x="2" y="0"/>
                      <a:pt x="4" y="3"/>
                    </a:cubicBezTo>
                    <a:cubicBezTo>
                      <a:pt x="6" y="5"/>
                      <a:pt x="9" y="11"/>
                      <a:pt x="10" y="9"/>
                    </a:cubicBezTo>
                    <a:cubicBezTo>
                      <a:pt x="12" y="7"/>
                      <a:pt x="13" y="2"/>
                      <a:pt x="15" y="3"/>
                    </a:cubicBezTo>
                    <a:cubicBezTo>
                      <a:pt x="16" y="4"/>
                      <a:pt x="19" y="5"/>
                      <a:pt x="20" y="3"/>
                    </a:cubicBezTo>
                    <a:cubicBezTo>
                      <a:pt x="20" y="1"/>
                      <a:pt x="21" y="1"/>
                      <a:pt x="22" y="2"/>
                    </a:cubicBezTo>
                    <a:cubicBezTo>
                      <a:pt x="24" y="4"/>
                      <a:pt x="26" y="4"/>
                      <a:pt x="28" y="4"/>
                    </a:cubicBezTo>
                    <a:cubicBezTo>
                      <a:pt x="30" y="5"/>
                      <a:pt x="33" y="5"/>
                      <a:pt x="35" y="6"/>
                    </a:cubicBezTo>
                    <a:cubicBezTo>
                      <a:pt x="36" y="7"/>
                      <a:pt x="37" y="8"/>
                      <a:pt x="39" y="7"/>
                    </a:cubicBezTo>
                    <a:cubicBezTo>
                      <a:pt x="41" y="6"/>
                      <a:pt x="41" y="5"/>
                      <a:pt x="43" y="6"/>
                    </a:cubicBezTo>
                    <a:cubicBezTo>
                      <a:pt x="44" y="7"/>
                      <a:pt x="46" y="7"/>
                      <a:pt x="47" y="7"/>
                    </a:cubicBezTo>
                    <a:cubicBezTo>
                      <a:pt x="49" y="6"/>
                      <a:pt x="50" y="6"/>
                      <a:pt x="51" y="7"/>
                    </a:cubicBezTo>
                    <a:cubicBezTo>
                      <a:pt x="53" y="8"/>
                      <a:pt x="54" y="7"/>
                      <a:pt x="55" y="9"/>
                    </a:cubicBezTo>
                    <a:cubicBezTo>
                      <a:pt x="56" y="12"/>
                      <a:pt x="57" y="14"/>
                      <a:pt x="59" y="12"/>
                    </a:cubicBezTo>
                    <a:cubicBezTo>
                      <a:pt x="60" y="11"/>
                      <a:pt x="61" y="11"/>
                      <a:pt x="61" y="11"/>
                    </a:cubicBezTo>
                    <a:cubicBezTo>
                      <a:pt x="61" y="11"/>
                      <a:pt x="61" y="11"/>
                      <a:pt x="61" y="11"/>
                    </a:cubicBezTo>
                    <a:cubicBezTo>
                      <a:pt x="61" y="11"/>
                      <a:pt x="61" y="11"/>
                      <a:pt x="61" y="11"/>
                    </a:cubicBezTo>
                    <a:cubicBezTo>
                      <a:pt x="61" y="11"/>
                      <a:pt x="62" y="10"/>
                      <a:pt x="63" y="11"/>
                    </a:cubicBezTo>
                    <a:cubicBezTo>
                      <a:pt x="64" y="11"/>
                      <a:pt x="65" y="10"/>
                      <a:pt x="65" y="14"/>
                    </a:cubicBezTo>
                    <a:cubicBezTo>
                      <a:pt x="65" y="17"/>
                      <a:pt x="63" y="21"/>
                      <a:pt x="62" y="24"/>
                    </a:cubicBezTo>
                    <a:cubicBezTo>
                      <a:pt x="61" y="26"/>
                      <a:pt x="62" y="27"/>
                      <a:pt x="65" y="28"/>
                    </a:cubicBezTo>
                    <a:cubicBezTo>
                      <a:pt x="67" y="30"/>
                      <a:pt x="67" y="29"/>
                      <a:pt x="68" y="31"/>
                    </a:cubicBezTo>
                    <a:cubicBezTo>
                      <a:pt x="70" y="34"/>
                      <a:pt x="71" y="33"/>
                      <a:pt x="71" y="35"/>
                    </a:cubicBezTo>
                    <a:cubicBezTo>
                      <a:pt x="72" y="37"/>
                      <a:pt x="69" y="36"/>
                      <a:pt x="67" y="35"/>
                    </a:cubicBezTo>
                    <a:cubicBezTo>
                      <a:pt x="65" y="35"/>
                      <a:pt x="66" y="36"/>
                      <a:pt x="66" y="38"/>
                    </a:cubicBezTo>
                    <a:cubicBezTo>
                      <a:pt x="66" y="39"/>
                      <a:pt x="69" y="41"/>
                      <a:pt x="69" y="43"/>
                    </a:cubicBezTo>
                    <a:cubicBezTo>
                      <a:pt x="70" y="44"/>
                      <a:pt x="69" y="46"/>
                      <a:pt x="67" y="46"/>
                    </a:cubicBezTo>
                    <a:cubicBezTo>
                      <a:pt x="65" y="47"/>
                      <a:pt x="65" y="48"/>
                      <a:pt x="63" y="48"/>
                    </a:cubicBezTo>
                    <a:cubicBezTo>
                      <a:pt x="62" y="48"/>
                      <a:pt x="60" y="47"/>
                      <a:pt x="60" y="49"/>
                    </a:cubicBezTo>
                    <a:cubicBezTo>
                      <a:pt x="60" y="50"/>
                      <a:pt x="61" y="52"/>
                      <a:pt x="61" y="54"/>
                    </a:cubicBezTo>
                    <a:cubicBezTo>
                      <a:pt x="61" y="56"/>
                      <a:pt x="59" y="53"/>
                      <a:pt x="58" y="53"/>
                    </a:cubicBezTo>
                    <a:cubicBezTo>
                      <a:pt x="57" y="54"/>
                      <a:pt x="55" y="55"/>
                      <a:pt x="55" y="58"/>
                    </a:cubicBezTo>
                    <a:cubicBezTo>
                      <a:pt x="54" y="61"/>
                      <a:pt x="54" y="62"/>
                      <a:pt x="52" y="61"/>
                    </a:cubicBezTo>
                    <a:cubicBezTo>
                      <a:pt x="51" y="61"/>
                      <a:pt x="51" y="64"/>
                      <a:pt x="51" y="66"/>
                    </a:cubicBezTo>
                    <a:cubicBezTo>
                      <a:pt x="52" y="68"/>
                      <a:pt x="54" y="70"/>
                      <a:pt x="53" y="71"/>
                    </a:cubicBezTo>
                    <a:cubicBezTo>
                      <a:pt x="53" y="72"/>
                      <a:pt x="52" y="73"/>
                      <a:pt x="52" y="74"/>
                    </a:cubicBezTo>
                    <a:cubicBezTo>
                      <a:pt x="52" y="75"/>
                      <a:pt x="52" y="75"/>
                      <a:pt x="52" y="76"/>
                    </a:cubicBez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0" name="Freeform 68"/>
              <p:cNvSpPr>
                <a:spLocks/>
              </p:cNvSpPr>
              <p:nvPr>
                <p:custDataLst>
                  <p:tags r:id="rId128"/>
                </p:custDataLst>
              </p:nvPr>
            </p:nvSpPr>
            <p:spPr bwMode="gray">
              <a:xfrm>
                <a:off x="4743622" y="3695911"/>
                <a:ext cx="503056" cy="451400"/>
              </a:xfrm>
              <a:custGeom>
                <a:avLst/>
                <a:gdLst>
                  <a:gd name="T0" fmla="*/ 77 w 108"/>
                  <a:gd name="T1" fmla="*/ 97 h 98"/>
                  <a:gd name="T2" fmla="*/ 65 w 108"/>
                  <a:gd name="T3" fmla="*/ 96 h 98"/>
                  <a:gd name="T4" fmla="*/ 65 w 108"/>
                  <a:gd name="T5" fmla="*/ 94 h 98"/>
                  <a:gd name="T6" fmla="*/ 75 w 108"/>
                  <a:gd name="T7" fmla="*/ 94 h 98"/>
                  <a:gd name="T8" fmla="*/ 67 w 108"/>
                  <a:gd name="T9" fmla="*/ 85 h 98"/>
                  <a:gd name="T10" fmla="*/ 55 w 108"/>
                  <a:gd name="T11" fmla="*/ 78 h 98"/>
                  <a:gd name="T12" fmla="*/ 46 w 108"/>
                  <a:gd name="T13" fmla="*/ 78 h 98"/>
                  <a:gd name="T14" fmla="*/ 39 w 108"/>
                  <a:gd name="T15" fmla="*/ 69 h 98"/>
                  <a:gd name="T16" fmla="*/ 33 w 108"/>
                  <a:gd name="T17" fmla="*/ 64 h 98"/>
                  <a:gd name="T18" fmla="*/ 31 w 108"/>
                  <a:gd name="T19" fmla="*/ 60 h 98"/>
                  <a:gd name="T20" fmla="*/ 37 w 108"/>
                  <a:gd name="T21" fmla="*/ 58 h 98"/>
                  <a:gd name="T22" fmla="*/ 27 w 108"/>
                  <a:gd name="T23" fmla="*/ 46 h 98"/>
                  <a:gd name="T24" fmla="*/ 21 w 108"/>
                  <a:gd name="T25" fmla="*/ 33 h 98"/>
                  <a:gd name="T26" fmla="*/ 14 w 108"/>
                  <a:gd name="T27" fmla="*/ 37 h 98"/>
                  <a:gd name="T28" fmla="*/ 10 w 108"/>
                  <a:gd name="T29" fmla="*/ 44 h 98"/>
                  <a:gd name="T30" fmla="*/ 3 w 108"/>
                  <a:gd name="T31" fmla="*/ 37 h 98"/>
                  <a:gd name="T32" fmla="*/ 2 w 108"/>
                  <a:gd name="T33" fmla="*/ 28 h 98"/>
                  <a:gd name="T34" fmla="*/ 15 w 108"/>
                  <a:gd name="T35" fmla="*/ 27 h 98"/>
                  <a:gd name="T36" fmla="*/ 22 w 108"/>
                  <a:gd name="T37" fmla="*/ 25 h 98"/>
                  <a:gd name="T38" fmla="*/ 33 w 108"/>
                  <a:gd name="T39" fmla="*/ 29 h 98"/>
                  <a:gd name="T40" fmla="*/ 38 w 108"/>
                  <a:gd name="T41" fmla="*/ 19 h 98"/>
                  <a:gd name="T42" fmla="*/ 39 w 108"/>
                  <a:gd name="T43" fmla="*/ 8 h 98"/>
                  <a:gd name="T44" fmla="*/ 50 w 108"/>
                  <a:gd name="T45" fmla="*/ 4 h 98"/>
                  <a:gd name="T46" fmla="*/ 58 w 108"/>
                  <a:gd name="T47" fmla="*/ 2 h 98"/>
                  <a:gd name="T48" fmla="*/ 67 w 108"/>
                  <a:gd name="T49" fmla="*/ 11 h 98"/>
                  <a:gd name="T50" fmla="*/ 76 w 108"/>
                  <a:gd name="T51" fmla="*/ 17 h 98"/>
                  <a:gd name="T52" fmla="*/ 89 w 108"/>
                  <a:gd name="T53" fmla="*/ 20 h 98"/>
                  <a:gd name="T54" fmla="*/ 97 w 108"/>
                  <a:gd name="T55" fmla="*/ 16 h 98"/>
                  <a:gd name="T56" fmla="*/ 99 w 108"/>
                  <a:gd name="T57" fmla="*/ 25 h 98"/>
                  <a:gd name="T58" fmla="*/ 104 w 108"/>
                  <a:gd name="T59" fmla="*/ 33 h 98"/>
                  <a:gd name="T60" fmla="*/ 103 w 108"/>
                  <a:gd name="T61" fmla="*/ 37 h 98"/>
                  <a:gd name="T62" fmla="*/ 101 w 108"/>
                  <a:gd name="T63" fmla="*/ 43 h 98"/>
                  <a:gd name="T64" fmla="*/ 93 w 108"/>
                  <a:gd name="T65" fmla="*/ 38 h 98"/>
                  <a:gd name="T66" fmla="*/ 85 w 108"/>
                  <a:gd name="T67" fmla="*/ 37 h 98"/>
                  <a:gd name="T68" fmla="*/ 77 w 108"/>
                  <a:gd name="T69" fmla="*/ 37 h 98"/>
                  <a:gd name="T70" fmla="*/ 64 w 108"/>
                  <a:gd name="T71" fmla="*/ 33 h 98"/>
                  <a:gd name="T72" fmla="*/ 57 w 108"/>
                  <a:gd name="T73" fmla="*/ 34 h 98"/>
                  <a:gd name="T74" fmla="*/ 46 w 108"/>
                  <a:gd name="T75" fmla="*/ 34 h 98"/>
                  <a:gd name="T76" fmla="*/ 43 w 108"/>
                  <a:gd name="T77" fmla="*/ 44 h 98"/>
                  <a:gd name="T78" fmla="*/ 52 w 108"/>
                  <a:gd name="T79" fmla="*/ 62 h 98"/>
                  <a:gd name="T80" fmla="*/ 65 w 108"/>
                  <a:gd name="T81" fmla="*/ 76 h 98"/>
                  <a:gd name="T82" fmla="*/ 78 w 108"/>
                  <a:gd name="T83"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8" h="98">
                    <a:moveTo>
                      <a:pt x="81" y="97"/>
                    </a:moveTo>
                    <a:cubicBezTo>
                      <a:pt x="81" y="97"/>
                      <a:pt x="79" y="98"/>
                      <a:pt x="77" y="97"/>
                    </a:cubicBezTo>
                    <a:cubicBezTo>
                      <a:pt x="75" y="96"/>
                      <a:pt x="73" y="93"/>
                      <a:pt x="71" y="94"/>
                    </a:cubicBezTo>
                    <a:cubicBezTo>
                      <a:pt x="69" y="95"/>
                      <a:pt x="66" y="95"/>
                      <a:pt x="65" y="96"/>
                    </a:cubicBezTo>
                    <a:cubicBezTo>
                      <a:pt x="63" y="96"/>
                      <a:pt x="60" y="96"/>
                      <a:pt x="61" y="95"/>
                    </a:cubicBezTo>
                    <a:cubicBezTo>
                      <a:pt x="61" y="93"/>
                      <a:pt x="64" y="94"/>
                      <a:pt x="65" y="94"/>
                    </a:cubicBezTo>
                    <a:cubicBezTo>
                      <a:pt x="67" y="93"/>
                      <a:pt x="70" y="92"/>
                      <a:pt x="71" y="92"/>
                    </a:cubicBezTo>
                    <a:cubicBezTo>
                      <a:pt x="72" y="92"/>
                      <a:pt x="75" y="94"/>
                      <a:pt x="75" y="94"/>
                    </a:cubicBezTo>
                    <a:cubicBezTo>
                      <a:pt x="76" y="93"/>
                      <a:pt x="73" y="91"/>
                      <a:pt x="72" y="89"/>
                    </a:cubicBezTo>
                    <a:cubicBezTo>
                      <a:pt x="71" y="87"/>
                      <a:pt x="68" y="88"/>
                      <a:pt x="67" y="85"/>
                    </a:cubicBezTo>
                    <a:cubicBezTo>
                      <a:pt x="65" y="83"/>
                      <a:pt x="63" y="80"/>
                      <a:pt x="61" y="80"/>
                    </a:cubicBezTo>
                    <a:cubicBezTo>
                      <a:pt x="58" y="80"/>
                      <a:pt x="56" y="78"/>
                      <a:pt x="55" y="78"/>
                    </a:cubicBezTo>
                    <a:cubicBezTo>
                      <a:pt x="54" y="77"/>
                      <a:pt x="52" y="79"/>
                      <a:pt x="51" y="79"/>
                    </a:cubicBezTo>
                    <a:cubicBezTo>
                      <a:pt x="50" y="79"/>
                      <a:pt x="46" y="79"/>
                      <a:pt x="46" y="78"/>
                    </a:cubicBezTo>
                    <a:cubicBezTo>
                      <a:pt x="46" y="76"/>
                      <a:pt x="46" y="74"/>
                      <a:pt x="45" y="73"/>
                    </a:cubicBezTo>
                    <a:cubicBezTo>
                      <a:pt x="43" y="73"/>
                      <a:pt x="40" y="70"/>
                      <a:pt x="39" y="69"/>
                    </a:cubicBezTo>
                    <a:cubicBezTo>
                      <a:pt x="37" y="68"/>
                      <a:pt x="36" y="67"/>
                      <a:pt x="34" y="66"/>
                    </a:cubicBezTo>
                    <a:cubicBezTo>
                      <a:pt x="31" y="65"/>
                      <a:pt x="32" y="64"/>
                      <a:pt x="33" y="64"/>
                    </a:cubicBezTo>
                    <a:cubicBezTo>
                      <a:pt x="34" y="65"/>
                      <a:pt x="36" y="67"/>
                      <a:pt x="36" y="66"/>
                    </a:cubicBezTo>
                    <a:cubicBezTo>
                      <a:pt x="35" y="64"/>
                      <a:pt x="31" y="62"/>
                      <a:pt x="31" y="60"/>
                    </a:cubicBezTo>
                    <a:cubicBezTo>
                      <a:pt x="30" y="58"/>
                      <a:pt x="33" y="58"/>
                      <a:pt x="35" y="59"/>
                    </a:cubicBezTo>
                    <a:cubicBezTo>
                      <a:pt x="36" y="59"/>
                      <a:pt x="39" y="59"/>
                      <a:pt x="37" y="58"/>
                    </a:cubicBezTo>
                    <a:cubicBezTo>
                      <a:pt x="36" y="57"/>
                      <a:pt x="31" y="54"/>
                      <a:pt x="30" y="53"/>
                    </a:cubicBezTo>
                    <a:cubicBezTo>
                      <a:pt x="29" y="52"/>
                      <a:pt x="27" y="48"/>
                      <a:pt x="27" y="46"/>
                    </a:cubicBezTo>
                    <a:cubicBezTo>
                      <a:pt x="27" y="45"/>
                      <a:pt x="26" y="41"/>
                      <a:pt x="25" y="39"/>
                    </a:cubicBezTo>
                    <a:cubicBezTo>
                      <a:pt x="25" y="38"/>
                      <a:pt x="23" y="35"/>
                      <a:pt x="21" y="33"/>
                    </a:cubicBezTo>
                    <a:cubicBezTo>
                      <a:pt x="19" y="32"/>
                      <a:pt x="17" y="30"/>
                      <a:pt x="16" y="32"/>
                    </a:cubicBezTo>
                    <a:cubicBezTo>
                      <a:pt x="16" y="33"/>
                      <a:pt x="14" y="35"/>
                      <a:pt x="14" y="37"/>
                    </a:cubicBezTo>
                    <a:cubicBezTo>
                      <a:pt x="13" y="39"/>
                      <a:pt x="12" y="40"/>
                      <a:pt x="11" y="40"/>
                    </a:cubicBezTo>
                    <a:cubicBezTo>
                      <a:pt x="10" y="40"/>
                      <a:pt x="10" y="42"/>
                      <a:pt x="10" y="44"/>
                    </a:cubicBezTo>
                    <a:cubicBezTo>
                      <a:pt x="10" y="46"/>
                      <a:pt x="8" y="46"/>
                      <a:pt x="7" y="44"/>
                    </a:cubicBezTo>
                    <a:cubicBezTo>
                      <a:pt x="6" y="43"/>
                      <a:pt x="3" y="39"/>
                      <a:pt x="3" y="37"/>
                    </a:cubicBezTo>
                    <a:cubicBezTo>
                      <a:pt x="3" y="36"/>
                      <a:pt x="2" y="36"/>
                      <a:pt x="2" y="33"/>
                    </a:cubicBezTo>
                    <a:cubicBezTo>
                      <a:pt x="2" y="31"/>
                      <a:pt x="0" y="28"/>
                      <a:pt x="2" y="28"/>
                    </a:cubicBezTo>
                    <a:cubicBezTo>
                      <a:pt x="4" y="28"/>
                      <a:pt x="8" y="29"/>
                      <a:pt x="9" y="28"/>
                    </a:cubicBezTo>
                    <a:cubicBezTo>
                      <a:pt x="11" y="27"/>
                      <a:pt x="13" y="27"/>
                      <a:pt x="15" y="27"/>
                    </a:cubicBezTo>
                    <a:cubicBezTo>
                      <a:pt x="16" y="27"/>
                      <a:pt x="20" y="25"/>
                      <a:pt x="20" y="24"/>
                    </a:cubicBezTo>
                    <a:cubicBezTo>
                      <a:pt x="20" y="22"/>
                      <a:pt x="21" y="23"/>
                      <a:pt x="22" y="25"/>
                    </a:cubicBezTo>
                    <a:cubicBezTo>
                      <a:pt x="23" y="27"/>
                      <a:pt x="26" y="27"/>
                      <a:pt x="27" y="27"/>
                    </a:cubicBezTo>
                    <a:cubicBezTo>
                      <a:pt x="29" y="27"/>
                      <a:pt x="32" y="31"/>
                      <a:pt x="33" y="29"/>
                    </a:cubicBezTo>
                    <a:cubicBezTo>
                      <a:pt x="33" y="27"/>
                      <a:pt x="35" y="24"/>
                      <a:pt x="34" y="22"/>
                    </a:cubicBezTo>
                    <a:cubicBezTo>
                      <a:pt x="33" y="20"/>
                      <a:pt x="36" y="20"/>
                      <a:pt x="38" y="19"/>
                    </a:cubicBezTo>
                    <a:cubicBezTo>
                      <a:pt x="39" y="18"/>
                      <a:pt x="40" y="17"/>
                      <a:pt x="40" y="15"/>
                    </a:cubicBezTo>
                    <a:cubicBezTo>
                      <a:pt x="39" y="13"/>
                      <a:pt x="38" y="9"/>
                      <a:pt x="39" y="8"/>
                    </a:cubicBezTo>
                    <a:cubicBezTo>
                      <a:pt x="40" y="8"/>
                      <a:pt x="43" y="8"/>
                      <a:pt x="44" y="7"/>
                    </a:cubicBezTo>
                    <a:cubicBezTo>
                      <a:pt x="46" y="5"/>
                      <a:pt x="49" y="5"/>
                      <a:pt x="50" y="4"/>
                    </a:cubicBezTo>
                    <a:cubicBezTo>
                      <a:pt x="50" y="4"/>
                      <a:pt x="50" y="0"/>
                      <a:pt x="52" y="0"/>
                    </a:cubicBezTo>
                    <a:cubicBezTo>
                      <a:pt x="54" y="0"/>
                      <a:pt x="56" y="1"/>
                      <a:pt x="58" y="2"/>
                    </a:cubicBezTo>
                    <a:cubicBezTo>
                      <a:pt x="60" y="4"/>
                      <a:pt x="61" y="5"/>
                      <a:pt x="62" y="7"/>
                    </a:cubicBezTo>
                    <a:cubicBezTo>
                      <a:pt x="63" y="9"/>
                      <a:pt x="65" y="9"/>
                      <a:pt x="67" y="11"/>
                    </a:cubicBezTo>
                    <a:cubicBezTo>
                      <a:pt x="69" y="12"/>
                      <a:pt x="69" y="15"/>
                      <a:pt x="71" y="15"/>
                    </a:cubicBezTo>
                    <a:cubicBezTo>
                      <a:pt x="72" y="15"/>
                      <a:pt x="74" y="15"/>
                      <a:pt x="76" y="17"/>
                    </a:cubicBezTo>
                    <a:cubicBezTo>
                      <a:pt x="77" y="19"/>
                      <a:pt x="77" y="19"/>
                      <a:pt x="81" y="19"/>
                    </a:cubicBezTo>
                    <a:cubicBezTo>
                      <a:pt x="85" y="18"/>
                      <a:pt x="87" y="19"/>
                      <a:pt x="89" y="20"/>
                    </a:cubicBezTo>
                    <a:cubicBezTo>
                      <a:pt x="91" y="21"/>
                      <a:pt x="93" y="19"/>
                      <a:pt x="94" y="18"/>
                    </a:cubicBezTo>
                    <a:cubicBezTo>
                      <a:pt x="95" y="16"/>
                      <a:pt x="95" y="16"/>
                      <a:pt x="97" y="16"/>
                    </a:cubicBezTo>
                    <a:cubicBezTo>
                      <a:pt x="97" y="16"/>
                      <a:pt x="98" y="18"/>
                      <a:pt x="99" y="21"/>
                    </a:cubicBezTo>
                    <a:cubicBezTo>
                      <a:pt x="100" y="24"/>
                      <a:pt x="99" y="24"/>
                      <a:pt x="99" y="25"/>
                    </a:cubicBezTo>
                    <a:cubicBezTo>
                      <a:pt x="100" y="26"/>
                      <a:pt x="102" y="26"/>
                      <a:pt x="101" y="27"/>
                    </a:cubicBezTo>
                    <a:cubicBezTo>
                      <a:pt x="100" y="29"/>
                      <a:pt x="102" y="31"/>
                      <a:pt x="104" y="33"/>
                    </a:cubicBezTo>
                    <a:cubicBezTo>
                      <a:pt x="105" y="34"/>
                      <a:pt x="108" y="35"/>
                      <a:pt x="107" y="35"/>
                    </a:cubicBezTo>
                    <a:cubicBezTo>
                      <a:pt x="106" y="36"/>
                      <a:pt x="102" y="35"/>
                      <a:pt x="103" y="37"/>
                    </a:cubicBezTo>
                    <a:cubicBezTo>
                      <a:pt x="104" y="39"/>
                      <a:pt x="103" y="42"/>
                      <a:pt x="103" y="42"/>
                    </a:cubicBezTo>
                    <a:cubicBezTo>
                      <a:pt x="103" y="42"/>
                      <a:pt x="102" y="42"/>
                      <a:pt x="101" y="43"/>
                    </a:cubicBezTo>
                    <a:cubicBezTo>
                      <a:pt x="99" y="45"/>
                      <a:pt x="98" y="43"/>
                      <a:pt x="97" y="40"/>
                    </a:cubicBezTo>
                    <a:cubicBezTo>
                      <a:pt x="96" y="38"/>
                      <a:pt x="95" y="39"/>
                      <a:pt x="93" y="38"/>
                    </a:cubicBezTo>
                    <a:cubicBezTo>
                      <a:pt x="92" y="37"/>
                      <a:pt x="91" y="37"/>
                      <a:pt x="89" y="38"/>
                    </a:cubicBezTo>
                    <a:cubicBezTo>
                      <a:pt x="88" y="38"/>
                      <a:pt x="86" y="38"/>
                      <a:pt x="85" y="37"/>
                    </a:cubicBezTo>
                    <a:cubicBezTo>
                      <a:pt x="83" y="36"/>
                      <a:pt x="83" y="37"/>
                      <a:pt x="81" y="38"/>
                    </a:cubicBezTo>
                    <a:cubicBezTo>
                      <a:pt x="79" y="39"/>
                      <a:pt x="78" y="38"/>
                      <a:pt x="77" y="37"/>
                    </a:cubicBezTo>
                    <a:cubicBezTo>
                      <a:pt x="75" y="36"/>
                      <a:pt x="72" y="36"/>
                      <a:pt x="70" y="35"/>
                    </a:cubicBezTo>
                    <a:cubicBezTo>
                      <a:pt x="68" y="35"/>
                      <a:pt x="66" y="35"/>
                      <a:pt x="64" y="33"/>
                    </a:cubicBezTo>
                    <a:cubicBezTo>
                      <a:pt x="63" y="32"/>
                      <a:pt x="62" y="32"/>
                      <a:pt x="62" y="34"/>
                    </a:cubicBezTo>
                    <a:cubicBezTo>
                      <a:pt x="61" y="36"/>
                      <a:pt x="58" y="35"/>
                      <a:pt x="57" y="34"/>
                    </a:cubicBezTo>
                    <a:cubicBezTo>
                      <a:pt x="55" y="33"/>
                      <a:pt x="54" y="38"/>
                      <a:pt x="52" y="40"/>
                    </a:cubicBezTo>
                    <a:cubicBezTo>
                      <a:pt x="51" y="42"/>
                      <a:pt x="48" y="36"/>
                      <a:pt x="46" y="34"/>
                    </a:cubicBezTo>
                    <a:cubicBezTo>
                      <a:pt x="44" y="31"/>
                      <a:pt x="42" y="34"/>
                      <a:pt x="42" y="36"/>
                    </a:cubicBezTo>
                    <a:cubicBezTo>
                      <a:pt x="43" y="39"/>
                      <a:pt x="42" y="40"/>
                      <a:pt x="43" y="44"/>
                    </a:cubicBezTo>
                    <a:cubicBezTo>
                      <a:pt x="44" y="48"/>
                      <a:pt x="45" y="48"/>
                      <a:pt x="47" y="50"/>
                    </a:cubicBezTo>
                    <a:cubicBezTo>
                      <a:pt x="50" y="52"/>
                      <a:pt x="51" y="59"/>
                      <a:pt x="52" y="62"/>
                    </a:cubicBezTo>
                    <a:cubicBezTo>
                      <a:pt x="54" y="65"/>
                      <a:pt x="57" y="67"/>
                      <a:pt x="59" y="69"/>
                    </a:cubicBezTo>
                    <a:cubicBezTo>
                      <a:pt x="61" y="71"/>
                      <a:pt x="63" y="74"/>
                      <a:pt x="65" y="76"/>
                    </a:cubicBezTo>
                    <a:cubicBezTo>
                      <a:pt x="67" y="78"/>
                      <a:pt x="71" y="83"/>
                      <a:pt x="72" y="86"/>
                    </a:cubicBezTo>
                    <a:cubicBezTo>
                      <a:pt x="74" y="88"/>
                      <a:pt x="76" y="88"/>
                      <a:pt x="78" y="90"/>
                    </a:cubicBezTo>
                    <a:cubicBezTo>
                      <a:pt x="80" y="92"/>
                      <a:pt x="80" y="96"/>
                      <a:pt x="81" y="97"/>
                    </a:cubicBezTo>
                    <a:close/>
                  </a:path>
                </a:pathLst>
              </a:custGeom>
              <a:solidFill>
                <a:srgbClr val="CBFCFF"/>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1" name="Freeform 208"/>
              <p:cNvSpPr>
                <a:spLocks/>
              </p:cNvSpPr>
              <p:nvPr>
                <p:custDataLst>
                  <p:tags r:id="rId129"/>
                </p:custDataLst>
              </p:nvPr>
            </p:nvSpPr>
            <p:spPr bwMode="gray">
              <a:xfrm>
                <a:off x="4721936" y="3655670"/>
                <a:ext cx="273214" cy="177077"/>
              </a:xfrm>
              <a:custGeom>
                <a:avLst/>
                <a:gdLst>
                  <a:gd name="T0" fmla="*/ 57 w 57"/>
                  <a:gd name="T1" fmla="*/ 10 h 40"/>
                  <a:gd name="T2" fmla="*/ 55 w 57"/>
                  <a:gd name="T3" fmla="*/ 4 h 40"/>
                  <a:gd name="T4" fmla="*/ 52 w 57"/>
                  <a:gd name="T5" fmla="*/ 0 h 40"/>
                  <a:gd name="T6" fmla="*/ 49 w 57"/>
                  <a:gd name="T7" fmla="*/ 1 h 40"/>
                  <a:gd name="T8" fmla="*/ 50 w 57"/>
                  <a:gd name="T9" fmla="*/ 7 h 40"/>
                  <a:gd name="T10" fmla="*/ 45 w 57"/>
                  <a:gd name="T11" fmla="*/ 4 h 40"/>
                  <a:gd name="T12" fmla="*/ 41 w 57"/>
                  <a:gd name="T13" fmla="*/ 6 h 40"/>
                  <a:gd name="T14" fmla="*/ 37 w 57"/>
                  <a:gd name="T15" fmla="*/ 7 h 40"/>
                  <a:gd name="T16" fmla="*/ 31 w 57"/>
                  <a:gd name="T17" fmla="*/ 7 h 40"/>
                  <a:gd name="T18" fmla="*/ 26 w 57"/>
                  <a:gd name="T19" fmla="*/ 10 h 40"/>
                  <a:gd name="T20" fmla="*/ 22 w 57"/>
                  <a:gd name="T21" fmla="*/ 13 h 40"/>
                  <a:gd name="T22" fmla="*/ 14 w 57"/>
                  <a:gd name="T23" fmla="*/ 11 h 40"/>
                  <a:gd name="T24" fmla="*/ 8 w 57"/>
                  <a:gd name="T25" fmla="*/ 10 h 40"/>
                  <a:gd name="T26" fmla="*/ 2 w 57"/>
                  <a:gd name="T27" fmla="*/ 14 h 40"/>
                  <a:gd name="T28" fmla="*/ 4 w 57"/>
                  <a:gd name="T29" fmla="*/ 17 h 40"/>
                  <a:gd name="T30" fmla="*/ 7 w 57"/>
                  <a:gd name="T31" fmla="*/ 19 h 40"/>
                  <a:gd name="T32" fmla="*/ 4 w 57"/>
                  <a:gd name="T33" fmla="*/ 22 h 40"/>
                  <a:gd name="T34" fmla="*/ 5 w 57"/>
                  <a:gd name="T35" fmla="*/ 27 h 40"/>
                  <a:gd name="T36" fmla="*/ 7 w 57"/>
                  <a:gd name="T37" fmla="*/ 30 h 40"/>
                  <a:gd name="T38" fmla="*/ 8 w 57"/>
                  <a:gd name="T39" fmla="*/ 34 h 40"/>
                  <a:gd name="T40" fmla="*/ 4 w 57"/>
                  <a:gd name="T41" fmla="*/ 37 h 40"/>
                  <a:gd name="T42" fmla="*/ 5 w 57"/>
                  <a:gd name="T43" fmla="*/ 37 h 40"/>
                  <a:gd name="T44" fmla="*/ 12 w 57"/>
                  <a:gd name="T45" fmla="*/ 37 h 40"/>
                  <a:gd name="T46" fmla="*/ 18 w 57"/>
                  <a:gd name="T47" fmla="*/ 36 h 40"/>
                  <a:gd name="T48" fmla="*/ 23 w 57"/>
                  <a:gd name="T49" fmla="*/ 33 h 40"/>
                  <a:gd name="T50" fmla="*/ 25 w 57"/>
                  <a:gd name="T51" fmla="*/ 34 h 40"/>
                  <a:gd name="T52" fmla="*/ 30 w 57"/>
                  <a:gd name="T53" fmla="*/ 36 h 40"/>
                  <a:gd name="T54" fmla="*/ 36 w 57"/>
                  <a:gd name="T55" fmla="*/ 38 h 40"/>
                  <a:gd name="T56" fmla="*/ 37 w 57"/>
                  <a:gd name="T57" fmla="*/ 31 h 40"/>
                  <a:gd name="T58" fmla="*/ 41 w 57"/>
                  <a:gd name="T59" fmla="*/ 28 h 40"/>
                  <a:gd name="T60" fmla="*/ 43 w 57"/>
                  <a:gd name="T61" fmla="*/ 24 h 40"/>
                  <a:gd name="T62" fmla="*/ 42 w 57"/>
                  <a:gd name="T63" fmla="*/ 17 h 40"/>
                  <a:gd name="T64" fmla="*/ 47 w 57"/>
                  <a:gd name="T65" fmla="*/ 16 h 40"/>
                  <a:gd name="T66" fmla="*/ 53 w 57"/>
                  <a:gd name="T67" fmla="*/ 13 h 40"/>
                  <a:gd name="T68" fmla="*/ 55 w 57"/>
                  <a:gd name="T69" fmla="*/ 9 h 40"/>
                  <a:gd name="T70" fmla="*/ 57 w 57"/>
                  <a:gd name="T71" fmla="*/ 10 h 40"/>
                  <a:gd name="T72" fmla="*/ 57 w 57"/>
                  <a:gd name="T73" fmla="*/ 10 h 40"/>
                  <a:gd name="connsiteX0" fmla="*/ 10036 w 10036"/>
                  <a:gd name="connsiteY0" fmla="*/ 2500 h 9640"/>
                  <a:gd name="connsiteX1" fmla="*/ 9685 w 10036"/>
                  <a:gd name="connsiteY1" fmla="*/ 1000 h 9640"/>
                  <a:gd name="connsiteX2" fmla="*/ 9159 w 10036"/>
                  <a:gd name="connsiteY2" fmla="*/ 0 h 9640"/>
                  <a:gd name="connsiteX3" fmla="*/ 8632 w 10036"/>
                  <a:gd name="connsiteY3" fmla="*/ 250 h 9640"/>
                  <a:gd name="connsiteX4" fmla="*/ 8808 w 10036"/>
                  <a:gd name="connsiteY4" fmla="*/ 1750 h 9640"/>
                  <a:gd name="connsiteX5" fmla="*/ 7931 w 10036"/>
                  <a:gd name="connsiteY5" fmla="*/ 1000 h 9640"/>
                  <a:gd name="connsiteX6" fmla="*/ 7229 w 10036"/>
                  <a:gd name="connsiteY6" fmla="*/ 1500 h 9640"/>
                  <a:gd name="connsiteX7" fmla="*/ 6527 w 10036"/>
                  <a:gd name="connsiteY7" fmla="*/ 1750 h 9640"/>
                  <a:gd name="connsiteX8" fmla="*/ 5475 w 10036"/>
                  <a:gd name="connsiteY8" fmla="*/ 1750 h 9640"/>
                  <a:gd name="connsiteX9" fmla="*/ 4597 w 10036"/>
                  <a:gd name="connsiteY9" fmla="*/ 2500 h 9640"/>
                  <a:gd name="connsiteX10" fmla="*/ 3896 w 10036"/>
                  <a:gd name="connsiteY10" fmla="*/ 3250 h 9640"/>
                  <a:gd name="connsiteX11" fmla="*/ 2492 w 10036"/>
                  <a:gd name="connsiteY11" fmla="*/ 2750 h 9640"/>
                  <a:gd name="connsiteX12" fmla="*/ 1440 w 10036"/>
                  <a:gd name="connsiteY12" fmla="*/ 2500 h 9640"/>
                  <a:gd name="connsiteX13" fmla="*/ 387 w 10036"/>
                  <a:gd name="connsiteY13" fmla="*/ 3500 h 9640"/>
                  <a:gd name="connsiteX14" fmla="*/ 738 w 10036"/>
                  <a:gd name="connsiteY14" fmla="*/ 4250 h 9640"/>
                  <a:gd name="connsiteX15" fmla="*/ 1264 w 10036"/>
                  <a:gd name="connsiteY15" fmla="*/ 4750 h 9640"/>
                  <a:gd name="connsiteX16" fmla="*/ 0 w 10036"/>
                  <a:gd name="connsiteY16" fmla="*/ 5500 h 9640"/>
                  <a:gd name="connsiteX17" fmla="*/ 913 w 10036"/>
                  <a:gd name="connsiteY17" fmla="*/ 6750 h 9640"/>
                  <a:gd name="connsiteX18" fmla="*/ 1264 w 10036"/>
                  <a:gd name="connsiteY18" fmla="*/ 7500 h 9640"/>
                  <a:gd name="connsiteX19" fmla="*/ 1440 w 10036"/>
                  <a:gd name="connsiteY19" fmla="*/ 8500 h 9640"/>
                  <a:gd name="connsiteX20" fmla="*/ 738 w 10036"/>
                  <a:gd name="connsiteY20" fmla="*/ 9250 h 9640"/>
                  <a:gd name="connsiteX21" fmla="*/ 913 w 10036"/>
                  <a:gd name="connsiteY21" fmla="*/ 9250 h 9640"/>
                  <a:gd name="connsiteX22" fmla="*/ 2141 w 10036"/>
                  <a:gd name="connsiteY22" fmla="*/ 9250 h 9640"/>
                  <a:gd name="connsiteX23" fmla="*/ 3194 w 10036"/>
                  <a:gd name="connsiteY23" fmla="*/ 9000 h 9640"/>
                  <a:gd name="connsiteX24" fmla="*/ 4071 w 10036"/>
                  <a:gd name="connsiteY24" fmla="*/ 8250 h 9640"/>
                  <a:gd name="connsiteX25" fmla="*/ 4422 w 10036"/>
                  <a:gd name="connsiteY25" fmla="*/ 8500 h 9640"/>
                  <a:gd name="connsiteX26" fmla="*/ 5299 w 10036"/>
                  <a:gd name="connsiteY26" fmla="*/ 9000 h 9640"/>
                  <a:gd name="connsiteX27" fmla="*/ 6352 w 10036"/>
                  <a:gd name="connsiteY27" fmla="*/ 9500 h 9640"/>
                  <a:gd name="connsiteX28" fmla="*/ 6527 w 10036"/>
                  <a:gd name="connsiteY28" fmla="*/ 7750 h 9640"/>
                  <a:gd name="connsiteX29" fmla="*/ 7229 w 10036"/>
                  <a:gd name="connsiteY29" fmla="*/ 7000 h 9640"/>
                  <a:gd name="connsiteX30" fmla="*/ 7580 w 10036"/>
                  <a:gd name="connsiteY30" fmla="*/ 6000 h 9640"/>
                  <a:gd name="connsiteX31" fmla="*/ 7404 w 10036"/>
                  <a:gd name="connsiteY31" fmla="*/ 4250 h 9640"/>
                  <a:gd name="connsiteX32" fmla="*/ 8282 w 10036"/>
                  <a:gd name="connsiteY32" fmla="*/ 4000 h 9640"/>
                  <a:gd name="connsiteX33" fmla="*/ 9334 w 10036"/>
                  <a:gd name="connsiteY33" fmla="*/ 3250 h 9640"/>
                  <a:gd name="connsiteX34" fmla="*/ 9685 w 10036"/>
                  <a:gd name="connsiteY34" fmla="*/ 2250 h 9640"/>
                  <a:gd name="connsiteX35" fmla="*/ 10036 w 10036"/>
                  <a:gd name="connsiteY35" fmla="*/ 2500 h 9640"/>
                  <a:gd name="connsiteX36" fmla="*/ 10036 w 10036"/>
                  <a:gd name="connsiteY36" fmla="*/ 2500 h 9640"/>
                  <a:gd name="connsiteX0" fmla="*/ 10246 w 10246"/>
                  <a:gd name="connsiteY0" fmla="*/ 2593 h 9999"/>
                  <a:gd name="connsiteX1" fmla="*/ 9896 w 10246"/>
                  <a:gd name="connsiteY1" fmla="*/ 1037 h 9999"/>
                  <a:gd name="connsiteX2" fmla="*/ 9372 w 10246"/>
                  <a:gd name="connsiteY2" fmla="*/ 0 h 9999"/>
                  <a:gd name="connsiteX3" fmla="*/ 8847 w 10246"/>
                  <a:gd name="connsiteY3" fmla="*/ 259 h 9999"/>
                  <a:gd name="connsiteX4" fmla="*/ 9022 w 10246"/>
                  <a:gd name="connsiteY4" fmla="*/ 1815 h 9999"/>
                  <a:gd name="connsiteX5" fmla="*/ 8149 w 10246"/>
                  <a:gd name="connsiteY5" fmla="*/ 1037 h 9999"/>
                  <a:gd name="connsiteX6" fmla="*/ 7449 w 10246"/>
                  <a:gd name="connsiteY6" fmla="*/ 1556 h 9999"/>
                  <a:gd name="connsiteX7" fmla="*/ 6750 w 10246"/>
                  <a:gd name="connsiteY7" fmla="*/ 1815 h 9999"/>
                  <a:gd name="connsiteX8" fmla="*/ 5701 w 10246"/>
                  <a:gd name="connsiteY8" fmla="*/ 1815 h 9999"/>
                  <a:gd name="connsiteX9" fmla="*/ 4827 w 10246"/>
                  <a:gd name="connsiteY9" fmla="*/ 2593 h 9999"/>
                  <a:gd name="connsiteX10" fmla="*/ 4128 w 10246"/>
                  <a:gd name="connsiteY10" fmla="*/ 3371 h 9999"/>
                  <a:gd name="connsiteX11" fmla="*/ 2729 w 10246"/>
                  <a:gd name="connsiteY11" fmla="*/ 2853 h 9999"/>
                  <a:gd name="connsiteX12" fmla="*/ 1681 w 10246"/>
                  <a:gd name="connsiteY12" fmla="*/ 2593 h 9999"/>
                  <a:gd name="connsiteX13" fmla="*/ 632 w 10246"/>
                  <a:gd name="connsiteY13" fmla="*/ 3631 h 9999"/>
                  <a:gd name="connsiteX14" fmla="*/ 981 w 10246"/>
                  <a:gd name="connsiteY14" fmla="*/ 4409 h 9999"/>
                  <a:gd name="connsiteX15" fmla="*/ 1505 w 10246"/>
                  <a:gd name="connsiteY15" fmla="*/ 4927 h 9999"/>
                  <a:gd name="connsiteX16" fmla="*/ 63 w 10246"/>
                  <a:gd name="connsiteY16" fmla="*/ 5063 h 9999"/>
                  <a:gd name="connsiteX17" fmla="*/ 246 w 10246"/>
                  <a:gd name="connsiteY17" fmla="*/ 5705 h 9999"/>
                  <a:gd name="connsiteX18" fmla="*/ 1156 w 10246"/>
                  <a:gd name="connsiteY18" fmla="*/ 7002 h 9999"/>
                  <a:gd name="connsiteX19" fmla="*/ 1505 w 10246"/>
                  <a:gd name="connsiteY19" fmla="*/ 7780 h 9999"/>
                  <a:gd name="connsiteX20" fmla="*/ 1681 w 10246"/>
                  <a:gd name="connsiteY20" fmla="*/ 8817 h 9999"/>
                  <a:gd name="connsiteX21" fmla="*/ 981 w 10246"/>
                  <a:gd name="connsiteY21" fmla="*/ 9595 h 9999"/>
                  <a:gd name="connsiteX22" fmla="*/ 1156 w 10246"/>
                  <a:gd name="connsiteY22" fmla="*/ 9595 h 9999"/>
                  <a:gd name="connsiteX23" fmla="*/ 2379 w 10246"/>
                  <a:gd name="connsiteY23" fmla="*/ 9595 h 9999"/>
                  <a:gd name="connsiteX24" fmla="*/ 3429 w 10246"/>
                  <a:gd name="connsiteY24" fmla="*/ 9336 h 9999"/>
                  <a:gd name="connsiteX25" fmla="*/ 4302 w 10246"/>
                  <a:gd name="connsiteY25" fmla="*/ 8558 h 9999"/>
                  <a:gd name="connsiteX26" fmla="*/ 4652 w 10246"/>
                  <a:gd name="connsiteY26" fmla="*/ 8817 h 9999"/>
                  <a:gd name="connsiteX27" fmla="*/ 5526 w 10246"/>
                  <a:gd name="connsiteY27" fmla="*/ 9336 h 9999"/>
                  <a:gd name="connsiteX28" fmla="*/ 6575 w 10246"/>
                  <a:gd name="connsiteY28" fmla="*/ 9855 h 9999"/>
                  <a:gd name="connsiteX29" fmla="*/ 6750 w 10246"/>
                  <a:gd name="connsiteY29" fmla="*/ 8039 h 9999"/>
                  <a:gd name="connsiteX30" fmla="*/ 7449 w 10246"/>
                  <a:gd name="connsiteY30" fmla="*/ 7261 h 9999"/>
                  <a:gd name="connsiteX31" fmla="*/ 7799 w 10246"/>
                  <a:gd name="connsiteY31" fmla="*/ 6224 h 9999"/>
                  <a:gd name="connsiteX32" fmla="*/ 7623 w 10246"/>
                  <a:gd name="connsiteY32" fmla="*/ 4409 h 9999"/>
                  <a:gd name="connsiteX33" fmla="*/ 8498 w 10246"/>
                  <a:gd name="connsiteY33" fmla="*/ 4149 h 9999"/>
                  <a:gd name="connsiteX34" fmla="*/ 9547 w 10246"/>
                  <a:gd name="connsiteY34" fmla="*/ 3371 h 9999"/>
                  <a:gd name="connsiteX35" fmla="*/ 9896 w 10246"/>
                  <a:gd name="connsiteY35" fmla="*/ 2334 h 9999"/>
                  <a:gd name="connsiteX36" fmla="*/ 10246 w 10246"/>
                  <a:gd name="connsiteY36" fmla="*/ 2593 h 9999"/>
                  <a:gd name="connsiteX37" fmla="*/ 10246 w 10246"/>
                  <a:gd name="connsiteY37" fmla="*/ 2593 h 9999"/>
                  <a:gd name="connsiteX0" fmla="*/ 10000 w 10000"/>
                  <a:gd name="connsiteY0" fmla="*/ 2593 h 10000"/>
                  <a:gd name="connsiteX1" fmla="*/ 9658 w 10000"/>
                  <a:gd name="connsiteY1" fmla="*/ 1037 h 10000"/>
                  <a:gd name="connsiteX2" fmla="*/ 9147 w 10000"/>
                  <a:gd name="connsiteY2" fmla="*/ 0 h 10000"/>
                  <a:gd name="connsiteX3" fmla="*/ 8635 w 10000"/>
                  <a:gd name="connsiteY3" fmla="*/ 259 h 10000"/>
                  <a:gd name="connsiteX4" fmla="*/ 8805 w 10000"/>
                  <a:gd name="connsiteY4" fmla="*/ 1815 h 10000"/>
                  <a:gd name="connsiteX5" fmla="*/ 7953 w 10000"/>
                  <a:gd name="connsiteY5" fmla="*/ 1037 h 10000"/>
                  <a:gd name="connsiteX6" fmla="*/ 7270 w 10000"/>
                  <a:gd name="connsiteY6" fmla="*/ 1556 h 10000"/>
                  <a:gd name="connsiteX7" fmla="*/ 6588 w 10000"/>
                  <a:gd name="connsiteY7" fmla="*/ 1815 h 10000"/>
                  <a:gd name="connsiteX8" fmla="*/ 5564 w 10000"/>
                  <a:gd name="connsiteY8" fmla="*/ 1815 h 10000"/>
                  <a:gd name="connsiteX9" fmla="*/ 4711 w 10000"/>
                  <a:gd name="connsiteY9" fmla="*/ 2593 h 10000"/>
                  <a:gd name="connsiteX10" fmla="*/ 4029 w 10000"/>
                  <a:gd name="connsiteY10" fmla="*/ 3371 h 10000"/>
                  <a:gd name="connsiteX11" fmla="*/ 2663 w 10000"/>
                  <a:gd name="connsiteY11" fmla="*/ 2853 h 10000"/>
                  <a:gd name="connsiteX12" fmla="*/ 1641 w 10000"/>
                  <a:gd name="connsiteY12" fmla="*/ 2593 h 10000"/>
                  <a:gd name="connsiteX13" fmla="*/ 617 w 10000"/>
                  <a:gd name="connsiteY13" fmla="*/ 3631 h 10000"/>
                  <a:gd name="connsiteX14" fmla="*/ 479 w 10000"/>
                  <a:gd name="connsiteY14" fmla="*/ 4409 h 10000"/>
                  <a:gd name="connsiteX15" fmla="*/ 1469 w 10000"/>
                  <a:gd name="connsiteY15" fmla="*/ 4927 h 10000"/>
                  <a:gd name="connsiteX16" fmla="*/ 61 w 10000"/>
                  <a:gd name="connsiteY16" fmla="*/ 5064 h 10000"/>
                  <a:gd name="connsiteX17" fmla="*/ 240 w 10000"/>
                  <a:gd name="connsiteY17" fmla="*/ 5706 h 10000"/>
                  <a:gd name="connsiteX18" fmla="*/ 1128 w 10000"/>
                  <a:gd name="connsiteY18" fmla="*/ 7003 h 10000"/>
                  <a:gd name="connsiteX19" fmla="*/ 1469 w 10000"/>
                  <a:gd name="connsiteY19" fmla="*/ 7781 h 10000"/>
                  <a:gd name="connsiteX20" fmla="*/ 1641 w 10000"/>
                  <a:gd name="connsiteY20" fmla="*/ 8818 h 10000"/>
                  <a:gd name="connsiteX21" fmla="*/ 957 w 10000"/>
                  <a:gd name="connsiteY21" fmla="*/ 9596 h 10000"/>
                  <a:gd name="connsiteX22" fmla="*/ 1128 w 10000"/>
                  <a:gd name="connsiteY22" fmla="*/ 9596 h 10000"/>
                  <a:gd name="connsiteX23" fmla="*/ 2322 w 10000"/>
                  <a:gd name="connsiteY23" fmla="*/ 9596 h 10000"/>
                  <a:gd name="connsiteX24" fmla="*/ 3347 w 10000"/>
                  <a:gd name="connsiteY24" fmla="*/ 9337 h 10000"/>
                  <a:gd name="connsiteX25" fmla="*/ 4199 w 10000"/>
                  <a:gd name="connsiteY25" fmla="*/ 8559 h 10000"/>
                  <a:gd name="connsiteX26" fmla="*/ 4540 w 10000"/>
                  <a:gd name="connsiteY26" fmla="*/ 8818 h 10000"/>
                  <a:gd name="connsiteX27" fmla="*/ 5393 w 10000"/>
                  <a:gd name="connsiteY27" fmla="*/ 9337 h 10000"/>
                  <a:gd name="connsiteX28" fmla="*/ 6417 w 10000"/>
                  <a:gd name="connsiteY28" fmla="*/ 9856 h 10000"/>
                  <a:gd name="connsiteX29" fmla="*/ 6588 w 10000"/>
                  <a:gd name="connsiteY29" fmla="*/ 8040 h 10000"/>
                  <a:gd name="connsiteX30" fmla="*/ 7270 w 10000"/>
                  <a:gd name="connsiteY30" fmla="*/ 7262 h 10000"/>
                  <a:gd name="connsiteX31" fmla="*/ 7612 w 10000"/>
                  <a:gd name="connsiteY31" fmla="*/ 6225 h 10000"/>
                  <a:gd name="connsiteX32" fmla="*/ 7440 w 10000"/>
                  <a:gd name="connsiteY32" fmla="*/ 4409 h 10000"/>
                  <a:gd name="connsiteX33" fmla="*/ 8294 w 10000"/>
                  <a:gd name="connsiteY33" fmla="*/ 4149 h 10000"/>
                  <a:gd name="connsiteX34" fmla="*/ 9318 w 10000"/>
                  <a:gd name="connsiteY34" fmla="*/ 3371 h 10000"/>
                  <a:gd name="connsiteX35" fmla="*/ 9658 w 10000"/>
                  <a:gd name="connsiteY35" fmla="*/ 2334 h 10000"/>
                  <a:gd name="connsiteX36" fmla="*/ 10000 w 10000"/>
                  <a:gd name="connsiteY36" fmla="*/ 2593 h 10000"/>
                  <a:gd name="connsiteX37" fmla="*/ 10000 w 10000"/>
                  <a:gd name="connsiteY37" fmla="*/ 2593 h 10000"/>
                  <a:gd name="connsiteX0" fmla="*/ 10000 w 10000"/>
                  <a:gd name="connsiteY0" fmla="*/ 2593 h 10000"/>
                  <a:gd name="connsiteX1" fmla="*/ 9658 w 10000"/>
                  <a:gd name="connsiteY1" fmla="*/ 1037 h 10000"/>
                  <a:gd name="connsiteX2" fmla="*/ 9147 w 10000"/>
                  <a:gd name="connsiteY2" fmla="*/ 0 h 10000"/>
                  <a:gd name="connsiteX3" fmla="*/ 8635 w 10000"/>
                  <a:gd name="connsiteY3" fmla="*/ 259 h 10000"/>
                  <a:gd name="connsiteX4" fmla="*/ 8805 w 10000"/>
                  <a:gd name="connsiteY4" fmla="*/ 1815 h 10000"/>
                  <a:gd name="connsiteX5" fmla="*/ 7953 w 10000"/>
                  <a:gd name="connsiteY5" fmla="*/ 1037 h 10000"/>
                  <a:gd name="connsiteX6" fmla="*/ 7270 w 10000"/>
                  <a:gd name="connsiteY6" fmla="*/ 1556 h 10000"/>
                  <a:gd name="connsiteX7" fmla="*/ 6588 w 10000"/>
                  <a:gd name="connsiteY7" fmla="*/ 1815 h 10000"/>
                  <a:gd name="connsiteX8" fmla="*/ 5564 w 10000"/>
                  <a:gd name="connsiteY8" fmla="*/ 1815 h 10000"/>
                  <a:gd name="connsiteX9" fmla="*/ 4711 w 10000"/>
                  <a:gd name="connsiteY9" fmla="*/ 2593 h 10000"/>
                  <a:gd name="connsiteX10" fmla="*/ 4029 w 10000"/>
                  <a:gd name="connsiteY10" fmla="*/ 3371 h 10000"/>
                  <a:gd name="connsiteX11" fmla="*/ 2663 w 10000"/>
                  <a:gd name="connsiteY11" fmla="*/ 2853 h 10000"/>
                  <a:gd name="connsiteX12" fmla="*/ 1641 w 10000"/>
                  <a:gd name="connsiteY12" fmla="*/ 2593 h 10000"/>
                  <a:gd name="connsiteX13" fmla="*/ 617 w 10000"/>
                  <a:gd name="connsiteY13" fmla="*/ 3631 h 10000"/>
                  <a:gd name="connsiteX14" fmla="*/ 479 w 10000"/>
                  <a:gd name="connsiteY14" fmla="*/ 4409 h 10000"/>
                  <a:gd name="connsiteX15" fmla="*/ 61 w 10000"/>
                  <a:gd name="connsiteY15" fmla="*/ 5064 h 10000"/>
                  <a:gd name="connsiteX16" fmla="*/ 240 w 10000"/>
                  <a:gd name="connsiteY16" fmla="*/ 5706 h 10000"/>
                  <a:gd name="connsiteX17" fmla="*/ 1128 w 10000"/>
                  <a:gd name="connsiteY17" fmla="*/ 7003 h 10000"/>
                  <a:gd name="connsiteX18" fmla="*/ 1469 w 10000"/>
                  <a:gd name="connsiteY18" fmla="*/ 7781 h 10000"/>
                  <a:gd name="connsiteX19" fmla="*/ 1641 w 10000"/>
                  <a:gd name="connsiteY19" fmla="*/ 8818 h 10000"/>
                  <a:gd name="connsiteX20" fmla="*/ 957 w 10000"/>
                  <a:gd name="connsiteY20" fmla="*/ 9596 h 10000"/>
                  <a:gd name="connsiteX21" fmla="*/ 1128 w 10000"/>
                  <a:gd name="connsiteY21" fmla="*/ 9596 h 10000"/>
                  <a:gd name="connsiteX22" fmla="*/ 2322 w 10000"/>
                  <a:gd name="connsiteY22" fmla="*/ 9596 h 10000"/>
                  <a:gd name="connsiteX23" fmla="*/ 3347 w 10000"/>
                  <a:gd name="connsiteY23" fmla="*/ 9337 h 10000"/>
                  <a:gd name="connsiteX24" fmla="*/ 4199 w 10000"/>
                  <a:gd name="connsiteY24" fmla="*/ 8559 h 10000"/>
                  <a:gd name="connsiteX25" fmla="*/ 4540 w 10000"/>
                  <a:gd name="connsiteY25" fmla="*/ 8818 h 10000"/>
                  <a:gd name="connsiteX26" fmla="*/ 5393 w 10000"/>
                  <a:gd name="connsiteY26" fmla="*/ 9337 h 10000"/>
                  <a:gd name="connsiteX27" fmla="*/ 6417 w 10000"/>
                  <a:gd name="connsiteY27" fmla="*/ 9856 h 10000"/>
                  <a:gd name="connsiteX28" fmla="*/ 6588 w 10000"/>
                  <a:gd name="connsiteY28" fmla="*/ 8040 h 10000"/>
                  <a:gd name="connsiteX29" fmla="*/ 7270 w 10000"/>
                  <a:gd name="connsiteY29" fmla="*/ 7262 h 10000"/>
                  <a:gd name="connsiteX30" fmla="*/ 7612 w 10000"/>
                  <a:gd name="connsiteY30" fmla="*/ 6225 h 10000"/>
                  <a:gd name="connsiteX31" fmla="*/ 7440 w 10000"/>
                  <a:gd name="connsiteY31" fmla="*/ 4409 h 10000"/>
                  <a:gd name="connsiteX32" fmla="*/ 8294 w 10000"/>
                  <a:gd name="connsiteY32" fmla="*/ 4149 h 10000"/>
                  <a:gd name="connsiteX33" fmla="*/ 9318 w 10000"/>
                  <a:gd name="connsiteY33" fmla="*/ 3371 h 10000"/>
                  <a:gd name="connsiteX34" fmla="*/ 9658 w 10000"/>
                  <a:gd name="connsiteY34" fmla="*/ 2334 h 10000"/>
                  <a:gd name="connsiteX35" fmla="*/ 10000 w 10000"/>
                  <a:gd name="connsiteY35" fmla="*/ 2593 h 10000"/>
                  <a:gd name="connsiteX36" fmla="*/ 10000 w 10000"/>
                  <a:gd name="connsiteY36" fmla="*/ 259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000" h="10000">
                    <a:moveTo>
                      <a:pt x="10000" y="2593"/>
                    </a:moveTo>
                    <a:cubicBezTo>
                      <a:pt x="9830" y="2334"/>
                      <a:pt x="9830" y="1556"/>
                      <a:pt x="9658" y="1037"/>
                    </a:cubicBezTo>
                    <a:cubicBezTo>
                      <a:pt x="9489" y="519"/>
                      <a:pt x="9318" y="259"/>
                      <a:pt x="9147" y="0"/>
                    </a:cubicBezTo>
                    <a:cubicBezTo>
                      <a:pt x="9147" y="0"/>
                      <a:pt x="8635" y="0"/>
                      <a:pt x="8635" y="259"/>
                    </a:cubicBezTo>
                    <a:cubicBezTo>
                      <a:pt x="8465" y="778"/>
                      <a:pt x="8976" y="1815"/>
                      <a:pt x="8805" y="1815"/>
                    </a:cubicBezTo>
                    <a:cubicBezTo>
                      <a:pt x="8465" y="1556"/>
                      <a:pt x="8123" y="1037"/>
                      <a:pt x="7953" y="1037"/>
                    </a:cubicBezTo>
                    <a:cubicBezTo>
                      <a:pt x="7612" y="1037"/>
                      <a:pt x="7440" y="1297"/>
                      <a:pt x="7270" y="1556"/>
                    </a:cubicBezTo>
                    <a:cubicBezTo>
                      <a:pt x="7100" y="1815"/>
                      <a:pt x="6759" y="1815"/>
                      <a:pt x="6588" y="1815"/>
                    </a:cubicBezTo>
                    <a:cubicBezTo>
                      <a:pt x="6417" y="1556"/>
                      <a:pt x="5735" y="1556"/>
                      <a:pt x="5564" y="1815"/>
                    </a:cubicBezTo>
                    <a:cubicBezTo>
                      <a:pt x="5224" y="2075"/>
                      <a:pt x="4882" y="2334"/>
                      <a:pt x="4711" y="2593"/>
                    </a:cubicBezTo>
                    <a:cubicBezTo>
                      <a:pt x="4540" y="2853"/>
                      <a:pt x="4370" y="3371"/>
                      <a:pt x="4029" y="3371"/>
                    </a:cubicBezTo>
                    <a:cubicBezTo>
                      <a:pt x="3687" y="3371"/>
                      <a:pt x="3005" y="3112"/>
                      <a:pt x="2663" y="2853"/>
                    </a:cubicBezTo>
                    <a:cubicBezTo>
                      <a:pt x="2322" y="2593"/>
                      <a:pt x="1981" y="2593"/>
                      <a:pt x="1641" y="2593"/>
                    </a:cubicBezTo>
                    <a:cubicBezTo>
                      <a:pt x="1299" y="2853"/>
                      <a:pt x="811" y="3328"/>
                      <a:pt x="617" y="3631"/>
                    </a:cubicBezTo>
                    <a:cubicBezTo>
                      <a:pt x="423" y="3934"/>
                      <a:pt x="139" y="4409"/>
                      <a:pt x="479" y="4409"/>
                    </a:cubicBezTo>
                    <a:cubicBezTo>
                      <a:pt x="386" y="4648"/>
                      <a:pt x="101" y="4848"/>
                      <a:pt x="61" y="5064"/>
                    </a:cubicBezTo>
                    <a:cubicBezTo>
                      <a:pt x="-143" y="5194"/>
                      <a:pt x="222" y="5403"/>
                      <a:pt x="240" y="5706"/>
                    </a:cubicBezTo>
                    <a:cubicBezTo>
                      <a:pt x="410" y="6225"/>
                      <a:pt x="1128" y="6744"/>
                      <a:pt x="1128" y="7003"/>
                    </a:cubicBezTo>
                    <a:cubicBezTo>
                      <a:pt x="1299" y="7262"/>
                      <a:pt x="1299" y="7781"/>
                      <a:pt x="1469" y="7781"/>
                    </a:cubicBezTo>
                    <a:cubicBezTo>
                      <a:pt x="1810" y="8040"/>
                      <a:pt x="1810" y="8559"/>
                      <a:pt x="1641" y="8818"/>
                    </a:cubicBezTo>
                    <a:cubicBezTo>
                      <a:pt x="1299" y="8818"/>
                      <a:pt x="957" y="9596"/>
                      <a:pt x="957" y="9596"/>
                    </a:cubicBezTo>
                    <a:lnTo>
                      <a:pt x="1128" y="9596"/>
                    </a:lnTo>
                    <a:cubicBezTo>
                      <a:pt x="1299" y="9596"/>
                      <a:pt x="2152" y="9856"/>
                      <a:pt x="2322" y="9596"/>
                    </a:cubicBezTo>
                    <a:cubicBezTo>
                      <a:pt x="2663" y="9337"/>
                      <a:pt x="3005" y="9337"/>
                      <a:pt x="3347" y="9337"/>
                    </a:cubicBezTo>
                    <a:cubicBezTo>
                      <a:pt x="3516" y="9337"/>
                      <a:pt x="4199" y="8818"/>
                      <a:pt x="4199" y="8559"/>
                    </a:cubicBezTo>
                    <a:cubicBezTo>
                      <a:pt x="4199" y="8040"/>
                      <a:pt x="4370" y="8300"/>
                      <a:pt x="4540" y="8818"/>
                    </a:cubicBezTo>
                    <a:cubicBezTo>
                      <a:pt x="4711" y="9337"/>
                      <a:pt x="5224" y="9337"/>
                      <a:pt x="5393" y="9337"/>
                    </a:cubicBezTo>
                    <a:cubicBezTo>
                      <a:pt x="5735" y="9337"/>
                      <a:pt x="6246" y="10374"/>
                      <a:pt x="6417" y="9856"/>
                    </a:cubicBezTo>
                    <a:cubicBezTo>
                      <a:pt x="6417" y="9337"/>
                      <a:pt x="6759" y="8559"/>
                      <a:pt x="6588" y="8040"/>
                    </a:cubicBezTo>
                    <a:cubicBezTo>
                      <a:pt x="6417" y="7522"/>
                      <a:pt x="6929" y="7522"/>
                      <a:pt x="7270" y="7262"/>
                    </a:cubicBezTo>
                    <a:cubicBezTo>
                      <a:pt x="7440" y="7003"/>
                      <a:pt x="7612" y="6744"/>
                      <a:pt x="7612" y="6225"/>
                    </a:cubicBezTo>
                    <a:cubicBezTo>
                      <a:pt x="7440" y="5706"/>
                      <a:pt x="7270" y="4668"/>
                      <a:pt x="7440" y="4409"/>
                    </a:cubicBezTo>
                    <a:cubicBezTo>
                      <a:pt x="7612" y="4409"/>
                      <a:pt x="8123" y="4409"/>
                      <a:pt x="8294" y="4149"/>
                    </a:cubicBezTo>
                    <a:cubicBezTo>
                      <a:pt x="8635" y="3631"/>
                      <a:pt x="9147" y="3631"/>
                      <a:pt x="9318" y="3371"/>
                    </a:cubicBezTo>
                    <a:cubicBezTo>
                      <a:pt x="9318" y="3371"/>
                      <a:pt x="9318" y="2334"/>
                      <a:pt x="9658" y="2334"/>
                    </a:cubicBezTo>
                    <a:cubicBezTo>
                      <a:pt x="9830" y="2334"/>
                      <a:pt x="10000" y="2593"/>
                      <a:pt x="10000" y="2593"/>
                    </a:cubicBezTo>
                    <a:lnTo>
                      <a:pt x="10000" y="2593"/>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2" name="Freeform 211"/>
              <p:cNvSpPr>
                <a:spLocks/>
              </p:cNvSpPr>
              <p:nvPr>
                <p:custDataLst>
                  <p:tags r:id="rId130"/>
                </p:custDataLst>
              </p:nvPr>
            </p:nvSpPr>
            <p:spPr bwMode="gray">
              <a:xfrm>
                <a:off x="5175825" y="4054582"/>
                <a:ext cx="145249" cy="208203"/>
              </a:xfrm>
              <a:custGeom>
                <a:avLst/>
                <a:gdLst>
                  <a:gd name="T0" fmla="*/ 28 w 31"/>
                  <a:gd name="T1" fmla="*/ 19 h 45"/>
                  <a:gd name="T2" fmla="*/ 31 w 31"/>
                  <a:gd name="T3" fmla="*/ 16 h 45"/>
                  <a:gd name="T4" fmla="*/ 31 w 31"/>
                  <a:gd name="T5" fmla="*/ 13 h 45"/>
                  <a:gd name="T6" fmla="*/ 18 w 31"/>
                  <a:gd name="T7" fmla="*/ 5 h 45"/>
                  <a:gd name="T8" fmla="*/ 12 w 31"/>
                  <a:gd name="T9" fmla="*/ 1 h 45"/>
                  <a:gd name="T10" fmla="*/ 9 w 31"/>
                  <a:gd name="T11" fmla="*/ 2 h 45"/>
                  <a:gd name="T12" fmla="*/ 10 w 31"/>
                  <a:gd name="T13" fmla="*/ 7 h 45"/>
                  <a:gd name="T14" fmla="*/ 7 w 31"/>
                  <a:gd name="T15" fmla="*/ 6 h 45"/>
                  <a:gd name="T16" fmla="*/ 4 w 31"/>
                  <a:gd name="T17" fmla="*/ 11 h 45"/>
                  <a:gd name="T18" fmla="*/ 1 w 31"/>
                  <a:gd name="T19" fmla="*/ 14 h 45"/>
                  <a:gd name="T20" fmla="*/ 0 w 31"/>
                  <a:gd name="T21" fmla="*/ 19 h 45"/>
                  <a:gd name="T22" fmla="*/ 2 w 31"/>
                  <a:gd name="T23" fmla="*/ 24 h 45"/>
                  <a:gd name="T24" fmla="*/ 1 w 31"/>
                  <a:gd name="T25" fmla="*/ 27 h 45"/>
                  <a:gd name="T26" fmla="*/ 2 w 31"/>
                  <a:gd name="T27" fmla="*/ 30 h 45"/>
                  <a:gd name="T28" fmla="*/ 6 w 31"/>
                  <a:gd name="T29" fmla="*/ 30 h 45"/>
                  <a:gd name="T30" fmla="*/ 5 w 31"/>
                  <a:gd name="T31" fmla="*/ 31 h 45"/>
                  <a:gd name="T32" fmla="*/ 6 w 31"/>
                  <a:gd name="T33" fmla="*/ 33 h 45"/>
                  <a:gd name="T34" fmla="*/ 9 w 31"/>
                  <a:gd name="T35" fmla="*/ 35 h 45"/>
                  <a:gd name="T36" fmla="*/ 13 w 31"/>
                  <a:gd name="T37" fmla="*/ 39 h 45"/>
                  <a:gd name="T38" fmla="*/ 15 w 31"/>
                  <a:gd name="T39" fmla="*/ 43 h 45"/>
                  <a:gd name="T40" fmla="*/ 18 w 31"/>
                  <a:gd name="T41" fmla="*/ 45 h 45"/>
                  <a:gd name="T42" fmla="*/ 18 w 31"/>
                  <a:gd name="T43" fmla="*/ 41 h 45"/>
                  <a:gd name="T44" fmla="*/ 19 w 31"/>
                  <a:gd name="T45" fmla="*/ 32 h 45"/>
                  <a:gd name="T46" fmla="*/ 22 w 31"/>
                  <a:gd name="T47" fmla="*/ 25 h 45"/>
                  <a:gd name="T48" fmla="*/ 25 w 31"/>
                  <a:gd name="T49" fmla="*/ 26 h 45"/>
                  <a:gd name="T50" fmla="*/ 29 w 31"/>
                  <a:gd name="T51" fmla="*/ 28 h 45"/>
                  <a:gd name="T52" fmla="*/ 31 w 31"/>
                  <a:gd name="T53" fmla="*/ 24 h 45"/>
                  <a:gd name="T54" fmla="*/ 31 w 31"/>
                  <a:gd name="T55" fmla="*/ 21 h 45"/>
                  <a:gd name="T56" fmla="*/ 28 w 31"/>
                  <a:gd name="T57" fmla="*/ 1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 h="45">
                    <a:moveTo>
                      <a:pt x="28" y="19"/>
                    </a:moveTo>
                    <a:cubicBezTo>
                      <a:pt x="31" y="16"/>
                      <a:pt x="31" y="16"/>
                      <a:pt x="31" y="16"/>
                    </a:cubicBezTo>
                    <a:cubicBezTo>
                      <a:pt x="31" y="13"/>
                      <a:pt x="31" y="13"/>
                      <a:pt x="31" y="13"/>
                    </a:cubicBezTo>
                    <a:cubicBezTo>
                      <a:pt x="18" y="5"/>
                      <a:pt x="18" y="5"/>
                      <a:pt x="18" y="5"/>
                    </a:cubicBezTo>
                    <a:cubicBezTo>
                      <a:pt x="12" y="1"/>
                      <a:pt x="12" y="1"/>
                      <a:pt x="12" y="1"/>
                    </a:cubicBezTo>
                    <a:cubicBezTo>
                      <a:pt x="11" y="1"/>
                      <a:pt x="9" y="0"/>
                      <a:pt x="9" y="2"/>
                    </a:cubicBezTo>
                    <a:cubicBezTo>
                      <a:pt x="9" y="3"/>
                      <a:pt x="10" y="5"/>
                      <a:pt x="10" y="7"/>
                    </a:cubicBezTo>
                    <a:cubicBezTo>
                      <a:pt x="10" y="9"/>
                      <a:pt x="8" y="6"/>
                      <a:pt x="7" y="6"/>
                    </a:cubicBezTo>
                    <a:cubicBezTo>
                      <a:pt x="6" y="7"/>
                      <a:pt x="4" y="8"/>
                      <a:pt x="4" y="11"/>
                    </a:cubicBezTo>
                    <a:cubicBezTo>
                      <a:pt x="3" y="14"/>
                      <a:pt x="3" y="15"/>
                      <a:pt x="1" y="14"/>
                    </a:cubicBezTo>
                    <a:cubicBezTo>
                      <a:pt x="0" y="14"/>
                      <a:pt x="0" y="17"/>
                      <a:pt x="0" y="19"/>
                    </a:cubicBezTo>
                    <a:cubicBezTo>
                      <a:pt x="1" y="21"/>
                      <a:pt x="3" y="23"/>
                      <a:pt x="2" y="24"/>
                    </a:cubicBezTo>
                    <a:cubicBezTo>
                      <a:pt x="2" y="25"/>
                      <a:pt x="1" y="26"/>
                      <a:pt x="1" y="27"/>
                    </a:cubicBezTo>
                    <a:cubicBezTo>
                      <a:pt x="1" y="28"/>
                      <a:pt x="1" y="29"/>
                      <a:pt x="2" y="30"/>
                    </a:cubicBezTo>
                    <a:cubicBezTo>
                      <a:pt x="3" y="30"/>
                      <a:pt x="5" y="29"/>
                      <a:pt x="6" y="30"/>
                    </a:cubicBezTo>
                    <a:cubicBezTo>
                      <a:pt x="8" y="30"/>
                      <a:pt x="6" y="30"/>
                      <a:pt x="5" y="31"/>
                    </a:cubicBezTo>
                    <a:cubicBezTo>
                      <a:pt x="3" y="32"/>
                      <a:pt x="6" y="33"/>
                      <a:pt x="6" y="33"/>
                    </a:cubicBezTo>
                    <a:cubicBezTo>
                      <a:pt x="7" y="34"/>
                      <a:pt x="8" y="34"/>
                      <a:pt x="9" y="35"/>
                    </a:cubicBezTo>
                    <a:cubicBezTo>
                      <a:pt x="11" y="36"/>
                      <a:pt x="12" y="37"/>
                      <a:pt x="13" y="39"/>
                    </a:cubicBezTo>
                    <a:cubicBezTo>
                      <a:pt x="14" y="40"/>
                      <a:pt x="14" y="42"/>
                      <a:pt x="15" y="43"/>
                    </a:cubicBezTo>
                    <a:cubicBezTo>
                      <a:pt x="16" y="44"/>
                      <a:pt x="18" y="45"/>
                      <a:pt x="18" y="45"/>
                    </a:cubicBezTo>
                    <a:cubicBezTo>
                      <a:pt x="18" y="45"/>
                      <a:pt x="18" y="44"/>
                      <a:pt x="18" y="41"/>
                    </a:cubicBezTo>
                    <a:cubicBezTo>
                      <a:pt x="18" y="39"/>
                      <a:pt x="18" y="34"/>
                      <a:pt x="19" y="32"/>
                    </a:cubicBezTo>
                    <a:cubicBezTo>
                      <a:pt x="21" y="29"/>
                      <a:pt x="21" y="28"/>
                      <a:pt x="22" y="25"/>
                    </a:cubicBezTo>
                    <a:cubicBezTo>
                      <a:pt x="24" y="23"/>
                      <a:pt x="24" y="24"/>
                      <a:pt x="25" y="26"/>
                    </a:cubicBezTo>
                    <a:cubicBezTo>
                      <a:pt x="25" y="29"/>
                      <a:pt x="26" y="28"/>
                      <a:pt x="29" y="28"/>
                    </a:cubicBezTo>
                    <a:cubicBezTo>
                      <a:pt x="31" y="27"/>
                      <a:pt x="30" y="26"/>
                      <a:pt x="31" y="24"/>
                    </a:cubicBezTo>
                    <a:cubicBezTo>
                      <a:pt x="31" y="21"/>
                      <a:pt x="31" y="21"/>
                      <a:pt x="31" y="21"/>
                    </a:cubicBezTo>
                    <a:lnTo>
                      <a:pt x="28" y="19"/>
                    </a:ln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3" name="Freeform 212"/>
              <p:cNvSpPr>
                <a:spLocks/>
              </p:cNvSpPr>
              <p:nvPr>
                <p:custDataLst>
                  <p:tags r:id="rId131"/>
                </p:custDataLst>
              </p:nvPr>
            </p:nvSpPr>
            <p:spPr bwMode="gray">
              <a:xfrm>
                <a:off x="5195308" y="3721704"/>
                <a:ext cx="371935" cy="493842"/>
              </a:xfrm>
              <a:custGeom>
                <a:avLst/>
                <a:gdLst>
                  <a:gd name="T0" fmla="*/ 74 w 81"/>
                  <a:gd name="T1" fmla="*/ 72 h 103"/>
                  <a:gd name="T2" fmla="*/ 68 w 81"/>
                  <a:gd name="T3" fmla="*/ 61 h 103"/>
                  <a:gd name="T4" fmla="*/ 72 w 81"/>
                  <a:gd name="T5" fmla="*/ 50 h 103"/>
                  <a:gd name="T6" fmla="*/ 73 w 81"/>
                  <a:gd name="T7" fmla="*/ 41 h 103"/>
                  <a:gd name="T8" fmla="*/ 63 w 81"/>
                  <a:gd name="T9" fmla="*/ 43 h 103"/>
                  <a:gd name="T10" fmla="*/ 55 w 81"/>
                  <a:gd name="T11" fmla="*/ 40 h 103"/>
                  <a:gd name="T12" fmla="*/ 49 w 81"/>
                  <a:gd name="T13" fmla="*/ 34 h 103"/>
                  <a:gd name="T14" fmla="*/ 48 w 81"/>
                  <a:gd name="T15" fmla="*/ 27 h 103"/>
                  <a:gd name="T16" fmla="*/ 38 w 81"/>
                  <a:gd name="T17" fmla="*/ 18 h 103"/>
                  <a:gd name="T18" fmla="*/ 35 w 81"/>
                  <a:gd name="T19" fmla="*/ 9 h 103"/>
                  <a:gd name="T20" fmla="*/ 27 w 81"/>
                  <a:gd name="T21" fmla="*/ 2 h 103"/>
                  <a:gd name="T22" fmla="*/ 15 w 81"/>
                  <a:gd name="T23" fmla="*/ 0 h 103"/>
                  <a:gd name="T24" fmla="*/ 5 w 81"/>
                  <a:gd name="T25" fmla="*/ 4 h 103"/>
                  <a:gd name="T26" fmla="*/ 2 w 81"/>
                  <a:gd name="T27" fmla="*/ 11 h 103"/>
                  <a:gd name="T28" fmla="*/ 4 w 81"/>
                  <a:gd name="T29" fmla="*/ 17 h 103"/>
                  <a:gd name="T30" fmla="*/ 10 w 81"/>
                  <a:gd name="T31" fmla="*/ 25 h 103"/>
                  <a:gd name="T32" fmla="*/ 6 w 81"/>
                  <a:gd name="T33" fmla="*/ 32 h 103"/>
                  <a:gd name="T34" fmla="*/ 10 w 81"/>
                  <a:gd name="T35" fmla="*/ 35 h 103"/>
                  <a:gd name="T36" fmla="*/ 10 w 81"/>
                  <a:gd name="T37" fmla="*/ 49 h 103"/>
                  <a:gd name="T38" fmla="*/ 16 w 81"/>
                  <a:gd name="T39" fmla="*/ 56 h 103"/>
                  <a:gd name="T40" fmla="*/ 11 w 81"/>
                  <a:gd name="T41" fmla="*/ 59 h 103"/>
                  <a:gd name="T42" fmla="*/ 12 w 81"/>
                  <a:gd name="T43" fmla="*/ 67 h 103"/>
                  <a:gd name="T44" fmla="*/ 14 w 81"/>
                  <a:gd name="T45" fmla="*/ 73 h 103"/>
                  <a:gd name="T46" fmla="*/ 27 w 81"/>
                  <a:gd name="T47" fmla="*/ 84 h 103"/>
                  <a:gd name="T48" fmla="*/ 30 w 81"/>
                  <a:gd name="T49" fmla="*/ 81 h 103"/>
                  <a:gd name="T50" fmla="*/ 31 w 81"/>
                  <a:gd name="T51" fmla="*/ 75 h 103"/>
                  <a:gd name="T52" fmla="*/ 34 w 81"/>
                  <a:gd name="T53" fmla="*/ 74 h 103"/>
                  <a:gd name="T54" fmla="*/ 34 w 81"/>
                  <a:gd name="T55" fmla="*/ 76 h 103"/>
                  <a:gd name="T56" fmla="*/ 38 w 81"/>
                  <a:gd name="T57" fmla="*/ 75 h 103"/>
                  <a:gd name="T58" fmla="*/ 43 w 81"/>
                  <a:gd name="T59" fmla="*/ 79 h 103"/>
                  <a:gd name="T60" fmla="*/ 45 w 81"/>
                  <a:gd name="T61" fmla="*/ 82 h 103"/>
                  <a:gd name="T62" fmla="*/ 48 w 81"/>
                  <a:gd name="T63" fmla="*/ 84 h 103"/>
                  <a:gd name="T64" fmla="*/ 51 w 81"/>
                  <a:gd name="T65" fmla="*/ 91 h 103"/>
                  <a:gd name="T66" fmla="*/ 54 w 81"/>
                  <a:gd name="T67" fmla="*/ 94 h 103"/>
                  <a:gd name="T68" fmla="*/ 52 w 81"/>
                  <a:gd name="T69" fmla="*/ 97 h 103"/>
                  <a:gd name="T70" fmla="*/ 53 w 81"/>
                  <a:gd name="T71" fmla="*/ 100 h 103"/>
                  <a:gd name="T72" fmla="*/ 57 w 81"/>
                  <a:gd name="T73" fmla="*/ 102 h 103"/>
                  <a:gd name="T74" fmla="*/ 64 w 81"/>
                  <a:gd name="T75" fmla="*/ 101 h 103"/>
                  <a:gd name="T76" fmla="*/ 70 w 81"/>
                  <a:gd name="T77" fmla="*/ 102 h 103"/>
                  <a:gd name="T78" fmla="*/ 71 w 81"/>
                  <a:gd name="T79" fmla="*/ 95 h 103"/>
                  <a:gd name="T80" fmla="*/ 75 w 81"/>
                  <a:gd name="T81" fmla="*/ 86 h 103"/>
                  <a:gd name="T82" fmla="*/ 78 w 81"/>
                  <a:gd name="T83" fmla="*/ 76 h 103"/>
                  <a:gd name="connsiteX0" fmla="*/ 9630 w 9858"/>
                  <a:gd name="connsiteY0" fmla="*/ 7379 h 10000"/>
                  <a:gd name="connsiteX1" fmla="*/ 9136 w 9858"/>
                  <a:gd name="connsiteY1" fmla="*/ 6990 h 10000"/>
                  <a:gd name="connsiteX2" fmla="*/ 8642 w 9858"/>
                  <a:gd name="connsiteY2" fmla="*/ 6699 h 10000"/>
                  <a:gd name="connsiteX3" fmla="*/ 8395 w 9858"/>
                  <a:gd name="connsiteY3" fmla="*/ 5922 h 10000"/>
                  <a:gd name="connsiteX4" fmla="*/ 8765 w 9858"/>
                  <a:gd name="connsiteY4" fmla="*/ 5340 h 10000"/>
                  <a:gd name="connsiteX5" fmla="*/ 8889 w 9858"/>
                  <a:gd name="connsiteY5" fmla="*/ 4854 h 10000"/>
                  <a:gd name="connsiteX6" fmla="*/ 8519 w 9858"/>
                  <a:gd name="connsiteY6" fmla="*/ 4272 h 10000"/>
                  <a:gd name="connsiteX7" fmla="*/ 9012 w 9858"/>
                  <a:gd name="connsiteY7" fmla="*/ 3981 h 10000"/>
                  <a:gd name="connsiteX8" fmla="*/ 8519 w 9858"/>
                  <a:gd name="connsiteY8" fmla="*/ 3689 h 10000"/>
                  <a:gd name="connsiteX9" fmla="*/ 7778 w 9858"/>
                  <a:gd name="connsiteY9" fmla="*/ 4175 h 10000"/>
                  <a:gd name="connsiteX10" fmla="*/ 7531 w 9858"/>
                  <a:gd name="connsiteY10" fmla="*/ 3883 h 10000"/>
                  <a:gd name="connsiteX11" fmla="*/ 6790 w 9858"/>
                  <a:gd name="connsiteY11" fmla="*/ 3883 h 10000"/>
                  <a:gd name="connsiteX12" fmla="*/ 6173 w 9858"/>
                  <a:gd name="connsiteY12" fmla="*/ 3495 h 10000"/>
                  <a:gd name="connsiteX13" fmla="*/ 6049 w 9858"/>
                  <a:gd name="connsiteY13" fmla="*/ 3301 h 10000"/>
                  <a:gd name="connsiteX14" fmla="*/ 6049 w 9858"/>
                  <a:gd name="connsiteY14" fmla="*/ 3010 h 10000"/>
                  <a:gd name="connsiteX15" fmla="*/ 5926 w 9858"/>
                  <a:gd name="connsiteY15" fmla="*/ 2621 h 10000"/>
                  <a:gd name="connsiteX16" fmla="*/ 5432 w 9858"/>
                  <a:gd name="connsiteY16" fmla="*/ 2427 h 10000"/>
                  <a:gd name="connsiteX17" fmla="*/ 4691 w 9858"/>
                  <a:gd name="connsiteY17" fmla="*/ 1748 h 10000"/>
                  <a:gd name="connsiteX18" fmla="*/ 4444 w 9858"/>
                  <a:gd name="connsiteY18" fmla="*/ 1165 h 10000"/>
                  <a:gd name="connsiteX19" fmla="*/ 4321 w 9858"/>
                  <a:gd name="connsiteY19" fmla="*/ 874 h 10000"/>
                  <a:gd name="connsiteX20" fmla="*/ 4397 w 9858"/>
                  <a:gd name="connsiteY20" fmla="*/ 260 h 10000"/>
                  <a:gd name="connsiteX21" fmla="*/ 3333 w 9858"/>
                  <a:gd name="connsiteY21" fmla="*/ 194 h 10000"/>
                  <a:gd name="connsiteX22" fmla="*/ 2593 w 9858"/>
                  <a:gd name="connsiteY22" fmla="*/ 0 h 10000"/>
                  <a:gd name="connsiteX23" fmla="*/ 1852 w 9858"/>
                  <a:gd name="connsiteY23" fmla="*/ 0 h 10000"/>
                  <a:gd name="connsiteX24" fmla="*/ 1235 w 9858"/>
                  <a:gd name="connsiteY24" fmla="*/ 291 h 10000"/>
                  <a:gd name="connsiteX25" fmla="*/ 617 w 9858"/>
                  <a:gd name="connsiteY25" fmla="*/ 388 h 10000"/>
                  <a:gd name="connsiteX26" fmla="*/ 0 w 9858"/>
                  <a:gd name="connsiteY26" fmla="*/ 583 h 10000"/>
                  <a:gd name="connsiteX27" fmla="*/ 247 w 9858"/>
                  <a:gd name="connsiteY27" fmla="*/ 1068 h 10000"/>
                  <a:gd name="connsiteX28" fmla="*/ 247 w 9858"/>
                  <a:gd name="connsiteY28" fmla="*/ 1456 h 10000"/>
                  <a:gd name="connsiteX29" fmla="*/ 494 w 9858"/>
                  <a:gd name="connsiteY29" fmla="*/ 1650 h 10000"/>
                  <a:gd name="connsiteX30" fmla="*/ 864 w 9858"/>
                  <a:gd name="connsiteY30" fmla="*/ 2233 h 10000"/>
                  <a:gd name="connsiteX31" fmla="*/ 1235 w 9858"/>
                  <a:gd name="connsiteY31" fmla="*/ 2427 h 10000"/>
                  <a:gd name="connsiteX32" fmla="*/ 741 w 9858"/>
                  <a:gd name="connsiteY32" fmla="*/ 2621 h 10000"/>
                  <a:gd name="connsiteX33" fmla="*/ 741 w 9858"/>
                  <a:gd name="connsiteY33" fmla="*/ 3107 h 10000"/>
                  <a:gd name="connsiteX34" fmla="*/ 988 w 9858"/>
                  <a:gd name="connsiteY34" fmla="*/ 3107 h 10000"/>
                  <a:gd name="connsiteX35" fmla="*/ 1235 w 9858"/>
                  <a:gd name="connsiteY35" fmla="*/ 3398 h 10000"/>
                  <a:gd name="connsiteX36" fmla="*/ 864 w 9858"/>
                  <a:gd name="connsiteY36" fmla="*/ 4369 h 10000"/>
                  <a:gd name="connsiteX37" fmla="*/ 1235 w 9858"/>
                  <a:gd name="connsiteY37" fmla="*/ 4757 h 10000"/>
                  <a:gd name="connsiteX38" fmla="*/ 1605 w 9858"/>
                  <a:gd name="connsiteY38" fmla="*/ 5049 h 10000"/>
                  <a:gd name="connsiteX39" fmla="*/ 1975 w 9858"/>
                  <a:gd name="connsiteY39" fmla="*/ 5437 h 10000"/>
                  <a:gd name="connsiteX40" fmla="*/ 1481 w 9858"/>
                  <a:gd name="connsiteY40" fmla="*/ 5437 h 10000"/>
                  <a:gd name="connsiteX41" fmla="*/ 1358 w 9858"/>
                  <a:gd name="connsiteY41" fmla="*/ 5728 h 10000"/>
                  <a:gd name="connsiteX42" fmla="*/ 1728 w 9858"/>
                  <a:gd name="connsiteY42" fmla="*/ 6214 h 10000"/>
                  <a:gd name="connsiteX43" fmla="*/ 1481 w 9858"/>
                  <a:gd name="connsiteY43" fmla="*/ 6505 h 10000"/>
                  <a:gd name="connsiteX44" fmla="*/ 988 w 9858"/>
                  <a:gd name="connsiteY44" fmla="*/ 6699 h 10000"/>
                  <a:gd name="connsiteX45" fmla="*/ 1728 w 9858"/>
                  <a:gd name="connsiteY45" fmla="*/ 7087 h 10000"/>
                  <a:gd name="connsiteX46" fmla="*/ 3333 w 9858"/>
                  <a:gd name="connsiteY46" fmla="*/ 7864 h 10000"/>
                  <a:gd name="connsiteX47" fmla="*/ 3333 w 9858"/>
                  <a:gd name="connsiteY47" fmla="*/ 8155 h 10000"/>
                  <a:gd name="connsiteX48" fmla="*/ 3827 w 9858"/>
                  <a:gd name="connsiteY48" fmla="*/ 8058 h 10000"/>
                  <a:gd name="connsiteX49" fmla="*/ 3704 w 9858"/>
                  <a:gd name="connsiteY49" fmla="*/ 7864 h 10000"/>
                  <a:gd name="connsiteX50" fmla="*/ 4074 w 9858"/>
                  <a:gd name="connsiteY50" fmla="*/ 7670 h 10000"/>
                  <a:gd name="connsiteX51" fmla="*/ 3827 w 9858"/>
                  <a:gd name="connsiteY51" fmla="*/ 7282 h 10000"/>
                  <a:gd name="connsiteX52" fmla="*/ 4074 w 9858"/>
                  <a:gd name="connsiteY52" fmla="*/ 7087 h 10000"/>
                  <a:gd name="connsiteX53" fmla="*/ 4198 w 9858"/>
                  <a:gd name="connsiteY53" fmla="*/ 7184 h 10000"/>
                  <a:gd name="connsiteX54" fmla="*/ 4321 w 9858"/>
                  <a:gd name="connsiteY54" fmla="*/ 7184 h 10000"/>
                  <a:gd name="connsiteX55" fmla="*/ 4198 w 9858"/>
                  <a:gd name="connsiteY55" fmla="*/ 7379 h 10000"/>
                  <a:gd name="connsiteX56" fmla="*/ 4444 w 9858"/>
                  <a:gd name="connsiteY56" fmla="*/ 7476 h 10000"/>
                  <a:gd name="connsiteX57" fmla="*/ 4691 w 9858"/>
                  <a:gd name="connsiteY57" fmla="*/ 7282 h 10000"/>
                  <a:gd name="connsiteX58" fmla="*/ 5062 w 9858"/>
                  <a:gd name="connsiteY58" fmla="*/ 7379 h 10000"/>
                  <a:gd name="connsiteX59" fmla="*/ 5309 w 9858"/>
                  <a:gd name="connsiteY59" fmla="*/ 7670 h 10000"/>
                  <a:gd name="connsiteX60" fmla="*/ 5556 w 9858"/>
                  <a:gd name="connsiteY60" fmla="*/ 7670 h 10000"/>
                  <a:gd name="connsiteX61" fmla="*/ 5556 w 9858"/>
                  <a:gd name="connsiteY61" fmla="*/ 7961 h 10000"/>
                  <a:gd name="connsiteX62" fmla="*/ 5802 w 9858"/>
                  <a:gd name="connsiteY62" fmla="*/ 8155 h 10000"/>
                  <a:gd name="connsiteX63" fmla="*/ 5926 w 9858"/>
                  <a:gd name="connsiteY63" fmla="*/ 8155 h 10000"/>
                  <a:gd name="connsiteX64" fmla="*/ 5926 w 9858"/>
                  <a:gd name="connsiteY64" fmla="*/ 8544 h 10000"/>
                  <a:gd name="connsiteX65" fmla="*/ 6296 w 9858"/>
                  <a:gd name="connsiteY65" fmla="*/ 8835 h 10000"/>
                  <a:gd name="connsiteX66" fmla="*/ 6667 w 9858"/>
                  <a:gd name="connsiteY66" fmla="*/ 8932 h 10000"/>
                  <a:gd name="connsiteX67" fmla="*/ 6667 w 9858"/>
                  <a:gd name="connsiteY67" fmla="*/ 9126 h 10000"/>
                  <a:gd name="connsiteX68" fmla="*/ 6543 w 9858"/>
                  <a:gd name="connsiteY68" fmla="*/ 9223 h 10000"/>
                  <a:gd name="connsiteX69" fmla="*/ 6420 w 9858"/>
                  <a:gd name="connsiteY69" fmla="*/ 9417 h 10000"/>
                  <a:gd name="connsiteX70" fmla="*/ 6420 w 9858"/>
                  <a:gd name="connsiteY70" fmla="*/ 9612 h 10000"/>
                  <a:gd name="connsiteX71" fmla="*/ 6543 w 9858"/>
                  <a:gd name="connsiteY71" fmla="*/ 9709 h 10000"/>
                  <a:gd name="connsiteX72" fmla="*/ 6667 w 9858"/>
                  <a:gd name="connsiteY72" fmla="*/ 10000 h 10000"/>
                  <a:gd name="connsiteX73" fmla="*/ 7037 w 9858"/>
                  <a:gd name="connsiteY73" fmla="*/ 9903 h 10000"/>
                  <a:gd name="connsiteX74" fmla="*/ 7654 w 9858"/>
                  <a:gd name="connsiteY74" fmla="*/ 9806 h 10000"/>
                  <a:gd name="connsiteX75" fmla="*/ 7901 w 9858"/>
                  <a:gd name="connsiteY75" fmla="*/ 9806 h 10000"/>
                  <a:gd name="connsiteX76" fmla="*/ 8395 w 9858"/>
                  <a:gd name="connsiteY76" fmla="*/ 9709 h 10000"/>
                  <a:gd name="connsiteX77" fmla="*/ 8642 w 9858"/>
                  <a:gd name="connsiteY77" fmla="*/ 9903 h 10000"/>
                  <a:gd name="connsiteX78" fmla="*/ 8889 w 9858"/>
                  <a:gd name="connsiteY78" fmla="*/ 9515 h 10000"/>
                  <a:gd name="connsiteX79" fmla="*/ 8765 w 9858"/>
                  <a:gd name="connsiteY79" fmla="*/ 9223 h 10000"/>
                  <a:gd name="connsiteX80" fmla="*/ 8642 w 9858"/>
                  <a:gd name="connsiteY80" fmla="*/ 8447 h 10000"/>
                  <a:gd name="connsiteX81" fmla="*/ 9259 w 9858"/>
                  <a:gd name="connsiteY81" fmla="*/ 8350 h 10000"/>
                  <a:gd name="connsiteX82" fmla="*/ 9753 w 9858"/>
                  <a:gd name="connsiteY82" fmla="*/ 7864 h 10000"/>
                  <a:gd name="connsiteX83" fmla="*/ 9630 w 9858"/>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017 w 10000"/>
                  <a:gd name="connsiteY5" fmla="*/ 4854 h 10000"/>
                  <a:gd name="connsiteX6" fmla="*/ 8642 w 10000"/>
                  <a:gd name="connsiteY6" fmla="*/ 4272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6888 w 10000"/>
                  <a:gd name="connsiteY11" fmla="*/ 3883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4759 w 10000"/>
                  <a:gd name="connsiteY17" fmla="*/ 1748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017 w 10000"/>
                  <a:gd name="connsiteY5" fmla="*/ 4854 h 10000"/>
                  <a:gd name="connsiteX6" fmla="*/ 8642 w 10000"/>
                  <a:gd name="connsiteY6" fmla="*/ 4272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6888 w 10000"/>
                  <a:gd name="connsiteY11" fmla="*/ 3883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017 w 10000"/>
                  <a:gd name="connsiteY5" fmla="*/ 4854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6888 w 10000"/>
                  <a:gd name="connsiteY11" fmla="*/ 3883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544 w 10000"/>
                  <a:gd name="connsiteY5" fmla="*/ 4900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6888 w 10000"/>
                  <a:gd name="connsiteY11" fmla="*/ 3883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544 w 10000"/>
                  <a:gd name="connsiteY5" fmla="*/ 4900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7005 w 10000"/>
                  <a:gd name="connsiteY11" fmla="*/ 3560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544 w 10000"/>
                  <a:gd name="connsiteY5" fmla="*/ 4900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7005 w 10000"/>
                  <a:gd name="connsiteY11" fmla="*/ 3560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976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544 w 10000"/>
                  <a:gd name="connsiteY5" fmla="*/ 4900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7005 w 10000"/>
                  <a:gd name="connsiteY11" fmla="*/ 3560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976 w 10000"/>
                  <a:gd name="connsiteY18" fmla="*/ 1165 h 10000"/>
                  <a:gd name="connsiteX19" fmla="*/ 5086 w 10000"/>
                  <a:gd name="connsiteY19" fmla="*/ 551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428 h 10049"/>
                  <a:gd name="connsiteX1" fmla="*/ 9268 w 10000"/>
                  <a:gd name="connsiteY1" fmla="*/ 7039 h 10049"/>
                  <a:gd name="connsiteX2" fmla="*/ 8766 w 10000"/>
                  <a:gd name="connsiteY2" fmla="*/ 6748 h 10049"/>
                  <a:gd name="connsiteX3" fmla="*/ 8516 w 10000"/>
                  <a:gd name="connsiteY3" fmla="*/ 5971 h 10049"/>
                  <a:gd name="connsiteX4" fmla="*/ 8891 w 10000"/>
                  <a:gd name="connsiteY4" fmla="*/ 5389 h 10049"/>
                  <a:gd name="connsiteX5" fmla="*/ 9544 w 10000"/>
                  <a:gd name="connsiteY5" fmla="*/ 4949 h 10049"/>
                  <a:gd name="connsiteX6" fmla="*/ 9228 w 10000"/>
                  <a:gd name="connsiteY6" fmla="*/ 4505 h 10049"/>
                  <a:gd name="connsiteX7" fmla="*/ 9142 w 10000"/>
                  <a:gd name="connsiteY7" fmla="*/ 4030 h 10049"/>
                  <a:gd name="connsiteX8" fmla="*/ 8642 w 10000"/>
                  <a:gd name="connsiteY8" fmla="*/ 3738 h 10049"/>
                  <a:gd name="connsiteX9" fmla="*/ 7890 w 10000"/>
                  <a:gd name="connsiteY9" fmla="*/ 4224 h 10049"/>
                  <a:gd name="connsiteX10" fmla="*/ 7639 w 10000"/>
                  <a:gd name="connsiteY10" fmla="*/ 3932 h 10049"/>
                  <a:gd name="connsiteX11" fmla="*/ 7005 w 10000"/>
                  <a:gd name="connsiteY11" fmla="*/ 3609 h 10049"/>
                  <a:gd name="connsiteX12" fmla="*/ 6262 w 10000"/>
                  <a:gd name="connsiteY12" fmla="*/ 3544 h 10049"/>
                  <a:gd name="connsiteX13" fmla="*/ 6136 w 10000"/>
                  <a:gd name="connsiteY13" fmla="*/ 3350 h 10049"/>
                  <a:gd name="connsiteX14" fmla="*/ 6136 w 10000"/>
                  <a:gd name="connsiteY14" fmla="*/ 3059 h 10049"/>
                  <a:gd name="connsiteX15" fmla="*/ 6011 w 10000"/>
                  <a:gd name="connsiteY15" fmla="*/ 2670 h 10049"/>
                  <a:gd name="connsiteX16" fmla="*/ 5686 w 10000"/>
                  <a:gd name="connsiteY16" fmla="*/ 2245 h 10049"/>
                  <a:gd name="connsiteX17" fmla="*/ 5227 w 10000"/>
                  <a:gd name="connsiteY17" fmla="*/ 1751 h 10049"/>
                  <a:gd name="connsiteX18" fmla="*/ 4976 w 10000"/>
                  <a:gd name="connsiteY18" fmla="*/ 1214 h 10049"/>
                  <a:gd name="connsiteX19" fmla="*/ 5086 w 10000"/>
                  <a:gd name="connsiteY19" fmla="*/ 600 h 10049"/>
                  <a:gd name="connsiteX20" fmla="*/ 4460 w 10000"/>
                  <a:gd name="connsiteY20" fmla="*/ 309 h 10049"/>
                  <a:gd name="connsiteX21" fmla="*/ 3498 w 10000"/>
                  <a:gd name="connsiteY21" fmla="*/ 12 h 10049"/>
                  <a:gd name="connsiteX22" fmla="*/ 2630 w 10000"/>
                  <a:gd name="connsiteY22" fmla="*/ 49 h 10049"/>
                  <a:gd name="connsiteX23" fmla="*/ 1879 w 10000"/>
                  <a:gd name="connsiteY23" fmla="*/ 49 h 10049"/>
                  <a:gd name="connsiteX24" fmla="*/ 1253 w 10000"/>
                  <a:gd name="connsiteY24" fmla="*/ 340 h 10049"/>
                  <a:gd name="connsiteX25" fmla="*/ 626 w 10000"/>
                  <a:gd name="connsiteY25" fmla="*/ 437 h 10049"/>
                  <a:gd name="connsiteX26" fmla="*/ 0 w 10000"/>
                  <a:gd name="connsiteY26" fmla="*/ 632 h 10049"/>
                  <a:gd name="connsiteX27" fmla="*/ 251 w 10000"/>
                  <a:gd name="connsiteY27" fmla="*/ 1117 h 10049"/>
                  <a:gd name="connsiteX28" fmla="*/ 251 w 10000"/>
                  <a:gd name="connsiteY28" fmla="*/ 1505 h 10049"/>
                  <a:gd name="connsiteX29" fmla="*/ 501 w 10000"/>
                  <a:gd name="connsiteY29" fmla="*/ 1699 h 10049"/>
                  <a:gd name="connsiteX30" fmla="*/ 876 w 10000"/>
                  <a:gd name="connsiteY30" fmla="*/ 2282 h 10049"/>
                  <a:gd name="connsiteX31" fmla="*/ 1253 w 10000"/>
                  <a:gd name="connsiteY31" fmla="*/ 2476 h 10049"/>
                  <a:gd name="connsiteX32" fmla="*/ 752 w 10000"/>
                  <a:gd name="connsiteY32" fmla="*/ 2670 h 10049"/>
                  <a:gd name="connsiteX33" fmla="*/ 752 w 10000"/>
                  <a:gd name="connsiteY33" fmla="*/ 3156 h 10049"/>
                  <a:gd name="connsiteX34" fmla="*/ 1002 w 10000"/>
                  <a:gd name="connsiteY34" fmla="*/ 3156 h 10049"/>
                  <a:gd name="connsiteX35" fmla="*/ 1253 w 10000"/>
                  <a:gd name="connsiteY35" fmla="*/ 3447 h 10049"/>
                  <a:gd name="connsiteX36" fmla="*/ 876 w 10000"/>
                  <a:gd name="connsiteY36" fmla="*/ 4418 h 10049"/>
                  <a:gd name="connsiteX37" fmla="*/ 1253 w 10000"/>
                  <a:gd name="connsiteY37" fmla="*/ 4806 h 10049"/>
                  <a:gd name="connsiteX38" fmla="*/ 1628 w 10000"/>
                  <a:gd name="connsiteY38" fmla="*/ 5098 h 10049"/>
                  <a:gd name="connsiteX39" fmla="*/ 2003 w 10000"/>
                  <a:gd name="connsiteY39" fmla="*/ 5486 h 10049"/>
                  <a:gd name="connsiteX40" fmla="*/ 1502 w 10000"/>
                  <a:gd name="connsiteY40" fmla="*/ 5486 h 10049"/>
                  <a:gd name="connsiteX41" fmla="*/ 1378 w 10000"/>
                  <a:gd name="connsiteY41" fmla="*/ 5777 h 10049"/>
                  <a:gd name="connsiteX42" fmla="*/ 1753 w 10000"/>
                  <a:gd name="connsiteY42" fmla="*/ 6263 h 10049"/>
                  <a:gd name="connsiteX43" fmla="*/ 1502 w 10000"/>
                  <a:gd name="connsiteY43" fmla="*/ 6554 h 10049"/>
                  <a:gd name="connsiteX44" fmla="*/ 1002 w 10000"/>
                  <a:gd name="connsiteY44" fmla="*/ 6748 h 10049"/>
                  <a:gd name="connsiteX45" fmla="*/ 1753 w 10000"/>
                  <a:gd name="connsiteY45" fmla="*/ 7136 h 10049"/>
                  <a:gd name="connsiteX46" fmla="*/ 3381 w 10000"/>
                  <a:gd name="connsiteY46" fmla="*/ 7913 h 10049"/>
                  <a:gd name="connsiteX47" fmla="*/ 3381 w 10000"/>
                  <a:gd name="connsiteY47" fmla="*/ 8204 h 10049"/>
                  <a:gd name="connsiteX48" fmla="*/ 3882 w 10000"/>
                  <a:gd name="connsiteY48" fmla="*/ 8107 h 10049"/>
                  <a:gd name="connsiteX49" fmla="*/ 3757 w 10000"/>
                  <a:gd name="connsiteY49" fmla="*/ 7913 h 10049"/>
                  <a:gd name="connsiteX50" fmla="*/ 4133 w 10000"/>
                  <a:gd name="connsiteY50" fmla="*/ 7719 h 10049"/>
                  <a:gd name="connsiteX51" fmla="*/ 3882 w 10000"/>
                  <a:gd name="connsiteY51" fmla="*/ 7331 h 10049"/>
                  <a:gd name="connsiteX52" fmla="*/ 4133 w 10000"/>
                  <a:gd name="connsiteY52" fmla="*/ 7136 h 10049"/>
                  <a:gd name="connsiteX53" fmla="*/ 4258 w 10000"/>
                  <a:gd name="connsiteY53" fmla="*/ 7233 h 10049"/>
                  <a:gd name="connsiteX54" fmla="*/ 4383 w 10000"/>
                  <a:gd name="connsiteY54" fmla="*/ 7233 h 10049"/>
                  <a:gd name="connsiteX55" fmla="*/ 4258 w 10000"/>
                  <a:gd name="connsiteY55" fmla="*/ 7428 h 10049"/>
                  <a:gd name="connsiteX56" fmla="*/ 4508 w 10000"/>
                  <a:gd name="connsiteY56" fmla="*/ 7525 h 10049"/>
                  <a:gd name="connsiteX57" fmla="*/ 4759 w 10000"/>
                  <a:gd name="connsiteY57" fmla="*/ 7331 h 10049"/>
                  <a:gd name="connsiteX58" fmla="*/ 5135 w 10000"/>
                  <a:gd name="connsiteY58" fmla="*/ 7428 h 10049"/>
                  <a:gd name="connsiteX59" fmla="*/ 5385 w 10000"/>
                  <a:gd name="connsiteY59" fmla="*/ 7719 h 10049"/>
                  <a:gd name="connsiteX60" fmla="*/ 5636 w 10000"/>
                  <a:gd name="connsiteY60" fmla="*/ 7719 h 10049"/>
                  <a:gd name="connsiteX61" fmla="*/ 5636 w 10000"/>
                  <a:gd name="connsiteY61" fmla="*/ 8010 h 10049"/>
                  <a:gd name="connsiteX62" fmla="*/ 5886 w 10000"/>
                  <a:gd name="connsiteY62" fmla="*/ 8204 h 10049"/>
                  <a:gd name="connsiteX63" fmla="*/ 6011 w 10000"/>
                  <a:gd name="connsiteY63" fmla="*/ 8204 h 10049"/>
                  <a:gd name="connsiteX64" fmla="*/ 6011 w 10000"/>
                  <a:gd name="connsiteY64" fmla="*/ 8593 h 10049"/>
                  <a:gd name="connsiteX65" fmla="*/ 6387 w 10000"/>
                  <a:gd name="connsiteY65" fmla="*/ 8884 h 10049"/>
                  <a:gd name="connsiteX66" fmla="*/ 6763 w 10000"/>
                  <a:gd name="connsiteY66" fmla="*/ 8981 h 10049"/>
                  <a:gd name="connsiteX67" fmla="*/ 6763 w 10000"/>
                  <a:gd name="connsiteY67" fmla="*/ 9175 h 10049"/>
                  <a:gd name="connsiteX68" fmla="*/ 6637 w 10000"/>
                  <a:gd name="connsiteY68" fmla="*/ 9272 h 10049"/>
                  <a:gd name="connsiteX69" fmla="*/ 6512 w 10000"/>
                  <a:gd name="connsiteY69" fmla="*/ 9466 h 10049"/>
                  <a:gd name="connsiteX70" fmla="*/ 6512 w 10000"/>
                  <a:gd name="connsiteY70" fmla="*/ 9661 h 10049"/>
                  <a:gd name="connsiteX71" fmla="*/ 6637 w 10000"/>
                  <a:gd name="connsiteY71" fmla="*/ 9758 h 10049"/>
                  <a:gd name="connsiteX72" fmla="*/ 6763 w 10000"/>
                  <a:gd name="connsiteY72" fmla="*/ 10049 h 10049"/>
                  <a:gd name="connsiteX73" fmla="*/ 7138 w 10000"/>
                  <a:gd name="connsiteY73" fmla="*/ 9952 h 10049"/>
                  <a:gd name="connsiteX74" fmla="*/ 7764 w 10000"/>
                  <a:gd name="connsiteY74" fmla="*/ 9855 h 10049"/>
                  <a:gd name="connsiteX75" fmla="*/ 8015 w 10000"/>
                  <a:gd name="connsiteY75" fmla="*/ 9855 h 10049"/>
                  <a:gd name="connsiteX76" fmla="*/ 8516 w 10000"/>
                  <a:gd name="connsiteY76" fmla="*/ 9758 h 10049"/>
                  <a:gd name="connsiteX77" fmla="*/ 8766 w 10000"/>
                  <a:gd name="connsiteY77" fmla="*/ 9952 h 10049"/>
                  <a:gd name="connsiteX78" fmla="*/ 9017 w 10000"/>
                  <a:gd name="connsiteY78" fmla="*/ 9564 h 10049"/>
                  <a:gd name="connsiteX79" fmla="*/ 8891 w 10000"/>
                  <a:gd name="connsiteY79" fmla="*/ 9272 h 10049"/>
                  <a:gd name="connsiteX80" fmla="*/ 8766 w 10000"/>
                  <a:gd name="connsiteY80" fmla="*/ 8496 h 10049"/>
                  <a:gd name="connsiteX81" fmla="*/ 9392 w 10000"/>
                  <a:gd name="connsiteY81" fmla="*/ 8399 h 10049"/>
                  <a:gd name="connsiteX82" fmla="*/ 9893 w 10000"/>
                  <a:gd name="connsiteY82" fmla="*/ 7913 h 10049"/>
                  <a:gd name="connsiteX83" fmla="*/ 9769 w 10000"/>
                  <a:gd name="connsiteY83" fmla="*/ 7428 h 10049"/>
                  <a:gd name="connsiteX0" fmla="*/ 9769 w 10000"/>
                  <a:gd name="connsiteY0" fmla="*/ 7767 h 10388"/>
                  <a:gd name="connsiteX1" fmla="*/ 9268 w 10000"/>
                  <a:gd name="connsiteY1" fmla="*/ 7378 h 10388"/>
                  <a:gd name="connsiteX2" fmla="*/ 8766 w 10000"/>
                  <a:gd name="connsiteY2" fmla="*/ 7087 h 10388"/>
                  <a:gd name="connsiteX3" fmla="*/ 8516 w 10000"/>
                  <a:gd name="connsiteY3" fmla="*/ 6310 h 10388"/>
                  <a:gd name="connsiteX4" fmla="*/ 8891 w 10000"/>
                  <a:gd name="connsiteY4" fmla="*/ 5728 h 10388"/>
                  <a:gd name="connsiteX5" fmla="*/ 9544 w 10000"/>
                  <a:gd name="connsiteY5" fmla="*/ 5288 h 10388"/>
                  <a:gd name="connsiteX6" fmla="*/ 9228 w 10000"/>
                  <a:gd name="connsiteY6" fmla="*/ 4844 h 10388"/>
                  <a:gd name="connsiteX7" fmla="*/ 9142 w 10000"/>
                  <a:gd name="connsiteY7" fmla="*/ 4369 h 10388"/>
                  <a:gd name="connsiteX8" fmla="*/ 8642 w 10000"/>
                  <a:gd name="connsiteY8" fmla="*/ 4077 h 10388"/>
                  <a:gd name="connsiteX9" fmla="*/ 7890 w 10000"/>
                  <a:gd name="connsiteY9" fmla="*/ 4563 h 10388"/>
                  <a:gd name="connsiteX10" fmla="*/ 7639 w 10000"/>
                  <a:gd name="connsiteY10" fmla="*/ 4271 h 10388"/>
                  <a:gd name="connsiteX11" fmla="*/ 7005 w 10000"/>
                  <a:gd name="connsiteY11" fmla="*/ 3948 h 10388"/>
                  <a:gd name="connsiteX12" fmla="*/ 6262 w 10000"/>
                  <a:gd name="connsiteY12" fmla="*/ 3883 h 10388"/>
                  <a:gd name="connsiteX13" fmla="*/ 6136 w 10000"/>
                  <a:gd name="connsiteY13" fmla="*/ 3689 h 10388"/>
                  <a:gd name="connsiteX14" fmla="*/ 6136 w 10000"/>
                  <a:gd name="connsiteY14" fmla="*/ 3398 h 10388"/>
                  <a:gd name="connsiteX15" fmla="*/ 6011 w 10000"/>
                  <a:gd name="connsiteY15" fmla="*/ 3009 h 10388"/>
                  <a:gd name="connsiteX16" fmla="*/ 5686 w 10000"/>
                  <a:gd name="connsiteY16" fmla="*/ 2584 h 10388"/>
                  <a:gd name="connsiteX17" fmla="*/ 5227 w 10000"/>
                  <a:gd name="connsiteY17" fmla="*/ 2090 h 10388"/>
                  <a:gd name="connsiteX18" fmla="*/ 4976 w 10000"/>
                  <a:gd name="connsiteY18" fmla="*/ 1553 h 10388"/>
                  <a:gd name="connsiteX19" fmla="*/ 5086 w 10000"/>
                  <a:gd name="connsiteY19" fmla="*/ 939 h 10388"/>
                  <a:gd name="connsiteX20" fmla="*/ 4401 w 10000"/>
                  <a:gd name="connsiteY20" fmla="*/ 49 h 10388"/>
                  <a:gd name="connsiteX21" fmla="*/ 3498 w 10000"/>
                  <a:gd name="connsiteY21" fmla="*/ 351 h 10388"/>
                  <a:gd name="connsiteX22" fmla="*/ 2630 w 10000"/>
                  <a:gd name="connsiteY22" fmla="*/ 388 h 10388"/>
                  <a:gd name="connsiteX23" fmla="*/ 1879 w 10000"/>
                  <a:gd name="connsiteY23" fmla="*/ 388 h 10388"/>
                  <a:gd name="connsiteX24" fmla="*/ 1253 w 10000"/>
                  <a:gd name="connsiteY24" fmla="*/ 679 h 10388"/>
                  <a:gd name="connsiteX25" fmla="*/ 626 w 10000"/>
                  <a:gd name="connsiteY25" fmla="*/ 776 h 10388"/>
                  <a:gd name="connsiteX26" fmla="*/ 0 w 10000"/>
                  <a:gd name="connsiteY26" fmla="*/ 971 h 10388"/>
                  <a:gd name="connsiteX27" fmla="*/ 251 w 10000"/>
                  <a:gd name="connsiteY27" fmla="*/ 1456 h 10388"/>
                  <a:gd name="connsiteX28" fmla="*/ 251 w 10000"/>
                  <a:gd name="connsiteY28" fmla="*/ 1844 h 10388"/>
                  <a:gd name="connsiteX29" fmla="*/ 501 w 10000"/>
                  <a:gd name="connsiteY29" fmla="*/ 2038 h 10388"/>
                  <a:gd name="connsiteX30" fmla="*/ 876 w 10000"/>
                  <a:gd name="connsiteY30" fmla="*/ 2621 h 10388"/>
                  <a:gd name="connsiteX31" fmla="*/ 1253 w 10000"/>
                  <a:gd name="connsiteY31" fmla="*/ 2815 h 10388"/>
                  <a:gd name="connsiteX32" fmla="*/ 752 w 10000"/>
                  <a:gd name="connsiteY32" fmla="*/ 3009 h 10388"/>
                  <a:gd name="connsiteX33" fmla="*/ 752 w 10000"/>
                  <a:gd name="connsiteY33" fmla="*/ 3495 h 10388"/>
                  <a:gd name="connsiteX34" fmla="*/ 1002 w 10000"/>
                  <a:gd name="connsiteY34" fmla="*/ 3495 h 10388"/>
                  <a:gd name="connsiteX35" fmla="*/ 1253 w 10000"/>
                  <a:gd name="connsiteY35" fmla="*/ 3786 h 10388"/>
                  <a:gd name="connsiteX36" fmla="*/ 876 w 10000"/>
                  <a:gd name="connsiteY36" fmla="*/ 4757 h 10388"/>
                  <a:gd name="connsiteX37" fmla="*/ 1253 w 10000"/>
                  <a:gd name="connsiteY37" fmla="*/ 5145 h 10388"/>
                  <a:gd name="connsiteX38" fmla="*/ 1628 w 10000"/>
                  <a:gd name="connsiteY38" fmla="*/ 5437 h 10388"/>
                  <a:gd name="connsiteX39" fmla="*/ 2003 w 10000"/>
                  <a:gd name="connsiteY39" fmla="*/ 5825 h 10388"/>
                  <a:gd name="connsiteX40" fmla="*/ 1502 w 10000"/>
                  <a:gd name="connsiteY40" fmla="*/ 5825 h 10388"/>
                  <a:gd name="connsiteX41" fmla="*/ 1378 w 10000"/>
                  <a:gd name="connsiteY41" fmla="*/ 6116 h 10388"/>
                  <a:gd name="connsiteX42" fmla="*/ 1753 w 10000"/>
                  <a:gd name="connsiteY42" fmla="*/ 6602 h 10388"/>
                  <a:gd name="connsiteX43" fmla="*/ 1502 w 10000"/>
                  <a:gd name="connsiteY43" fmla="*/ 6893 h 10388"/>
                  <a:gd name="connsiteX44" fmla="*/ 1002 w 10000"/>
                  <a:gd name="connsiteY44" fmla="*/ 7087 h 10388"/>
                  <a:gd name="connsiteX45" fmla="*/ 1753 w 10000"/>
                  <a:gd name="connsiteY45" fmla="*/ 7475 h 10388"/>
                  <a:gd name="connsiteX46" fmla="*/ 3381 w 10000"/>
                  <a:gd name="connsiteY46" fmla="*/ 8252 h 10388"/>
                  <a:gd name="connsiteX47" fmla="*/ 3381 w 10000"/>
                  <a:gd name="connsiteY47" fmla="*/ 8543 h 10388"/>
                  <a:gd name="connsiteX48" fmla="*/ 3882 w 10000"/>
                  <a:gd name="connsiteY48" fmla="*/ 8446 h 10388"/>
                  <a:gd name="connsiteX49" fmla="*/ 3757 w 10000"/>
                  <a:gd name="connsiteY49" fmla="*/ 8252 h 10388"/>
                  <a:gd name="connsiteX50" fmla="*/ 4133 w 10000"/>
                  <a:gd name="connsiteY50" fmla="*/ 8058 h 10388"/>
                  <a:gd name="connsiteX51" fmla="*/ 3882 w 10000"/>
                  <a:gd name="connsiteY51" fmla="*/ 7670 h 10388"/>
                  <a:gd name="connsiteX52" fmla="*/ 4133 w 10000"/>
                  <a:gd name="connsiteY52" fmla="*/ 7475 h 10388"/>
                  <a:gd name="connsiteX53" fmla="*/ 4258 w 10000"/>
                  <a:gd name="connsiteY53" fmla="*/ 7572 h 10388"/>
                  <a:gd name="connsiteX54" fmla="*/ 4383 w 10000"/>
                  <a:gd name="connsiteY54" fmla="*/ 7572 h 10388"/>
                  <a:gd name="connsiteX55" fmla="*/ 4258 w 10000"/>
                  <a:gd name="connsiteY55" fmla="*/ 7767 h 10388"/>
                  <a:gd name="connsiteX56" fmla="*/ 4508 w 10000"/>
                  <a:gd name="connsiteY56" fmla="*/ 7864 h 10388"/>
                  <a:gd name="connsiteX57" fmla="*/ 4759 w 10000"/>
                  <a:gd name="connsiteY57" fmla="*/ 7670 h 10388"/>
                  <a:gd name="connsiteX58" fmla="*/ 5135 w 10000"/>
                  <a:gd name="connsiteY58" fmla="*/ 7767 h 10388"/>
                  <a:gd name="connsiteX59" fmla="*/ 5385 w 10000"/>
                  <a:gd name="connsiteY59" fmla="*/ 8058 h 10388"/>
                  <a:gd name="connsiteX60" fmla="*/ 5636 w 10000"/>
                  <a:gd name="connsiteY60" fmla="*/ 8058 h 10388"/>
                  <a:gd name="connsiteX61" fmla="*/ 5636 w 10000"/>
                  <a:gd name="connsiteY61" fmla="*/ 8349 h 10388"/>
                  <a:gd name="connsiteX62" fmla="*/ 5886 w 10000"/>
                  <a:gd name="connsiteY62" fmla="*/ 8543 h 10388"/>
                  <a:gd name="connsiteX63" fmla="*/ 6011 w 10000"/>
                  <a:gd name="connsiteY63" fmla="*/ 8543 h 10388"/>
                  <a:gd name="connsiteX64" fmla="*/ 6011 w 10000"/>
                  <a:gd name="connsiteY64" fmla="*/ 8932 h 10388"/>
                  <a:gd name="connsiteX65" fmla="*/ 6387 w 10000"/>
                  <a:gd name="connsiteY65" fmla="*/ 9223 h 10388"/>
                  <a:gd name="connsiteX66" fmla="*/ 6763 w 10000"/>
                  <a:gd name="connsiteY66" fmla="*/ 9320 h 10388"/>
                  <a:gd name="connsiteX67" fmla="*/ 6763 w 10000"/>
                  <a:gd name="connsiteY67" fmla="*/ 9514 h 10388"/>
                  <a:gd name="connsiteX68" fmla="*/ 6637 w 10000"/>
                  <a:gd name="connsiteY68" fmla="*/ 9611 h 10388"/>
                  <a:gd name="connsiteX69" fmla="*/ 6512 w 10000"/>
                  <a:gd name="connsiteY69" fmla="*/ 9805 h 10388"/>
                  <a:gd name="connsiteX70" fmla="*/ 6512 w 10000"/>
                  <a:gd name="connsiteY70" fmla="*/ 10000 h 10388"/>
                  <a:gd name="connsiteX71" fmla="*/ 6637 w 10000"/>
                  <a:gd name="connsiteY71" fmla="*/ 10097 h 10388"/>
                  <a:gd name="connsiteX72" fmla="*/ 6763 w 10000"/>
                  <a:gd name="connsiteY72" fmla="*/ 10388 h 10388"/>
                  <a:gd name="connsiteX73" fmla="*/ 7138 w 10000"/>
                  <a:gd name="connsiteY73" fmla="*/ 10291 h 10388"/>
                  <a:gd name="connsiteX74" fmla="*/ 7764 w 10000"/>
                  <a:gd name="connsiteY74" fmla="*/ 10194 h 10388"/>
                  <a:gd name="connsiteX75" fmla="*/ 8015 w 10000"/>
                  <a:gd name="connsiteY75" fmla="*/ 10194 h 10388"/>
                  <a:gd name="connsiteX76" fmla="*/ 8516 w 10000"/>
                  <a:gd name="connsiteY76" fmla="*/ 10097 h 10388"/>
                  <a:gd name="connsiteX77" fmla="*/ 8766 w 10000"/>
                  <a:gd name="connsiteY77" fmla="*/ 10291 h 10388"/>
                  <a:gd name="connsiteX78" fmla="*/ 9017 w 10000"/>
                  <a:gd name="connsiteY78" fmla="*/ 9903 h 10388"/>
                  <a:gd name="connsiteX79" fmla="*/ 8891 w 10000"/>
                  <a:gd name="connsiteY79" fmla="*/ 9611 h 10388"/>
                  <a:gd name="connsiteX80" fmla="*/ 8766 w 10000"/>
                  <a:gd name="connsiteY80" fmla="*/ 8835 h 10388"/>
                  <a:gd name="connsiteX81" fmla="*/ 9392 w 10000"/>
                  <a:gd name="connsiteY81" fmla="*/ 8738 h 10388"/>
                  <a:gd name="connsiteX82" fmla="*/ 9893 w 10000"/>
                  <a:gd name="connsiteY82" fmla="*/ 8252 h 10388"/>
                  <a:gd name="connsiteX83" fmla="*/ 9769 w 10000"/>
                  <a:gd name="connsiteY83" fmla="*/ 7767 h 10388"/>
                  <a:gd name="connsiteX0" fmla="*/ 9769 w 10000"/>
                  <a:gd name="connsiteY0" fmla="*/ 7846 h 10467"/>
                  <a:gd name="connsiteX1" fmla="*/ 9268 w 10000"/>
                  <a:gd name="connsiteY1" fmla="*/ 7457 h 10467"/>
                  <a:gd name="connsiteX2" fmla="*/ 8766 w 10000"/>
                  <a:gd name="connsiteY2" fmla="*/ 7166 h 10467"/>
                  <a:gd name="connsiteX3" fmla="*/ 8516 w 10000"/>
                  <a:gd name="connsiteY3" fmla="*/ 6389 h 10467"/>
                  <a:gd name="connsiteX4" fmla="*/ 8891 w 10000"/>
                  <a:gd name="connsiteY4" fmla="*/ 5807 h 10467"/>
                  <a:gd name="connsiteX5" fmla="*/ 9544 w 10000"/>
                  <a:gd name="connsiteY5" fmla="*/ 5367 h 10467"/>
                  <a:gd name="connsiteX6" fmla="*/ 9228 w 10000"/>
                  <a:gd name="connsiteY6" fmla="*/ 4923 h 10467"/>
                  <a:gd name="connsiteX7" fmla="*/ 9142 w 10000"/>
                  <a:gd name="connsiteY7" fmla="*/ 4448 h 10467"/>
                  <a:gd name="connsiteX8" fmla="*/ 8642 w 10000"/>
                  <a:gd name="connsiteY8" fmla="*/ 4156 h 10467"/>
                  <a:gd name="connsiteX9" fmla="*/ 7890 w 10000"/>
                  <a:gd name="connsiteY9" fmla="*/ 4642 h 10467"/>
                  <a:gd name="connsiteX10" fmla="*/ 7639 w 10000"/>
                  <a:gd name="connsiteY10" fmla="*/ 4350 h 10467"/>
                  <a:gd name="connsiteX11" fmla="*/ 7005 w 10000"/>
                  <a:gd name="connsiteY11" fmla="*/ 4027 h 10467"/>
                  <a:gd name="connsiteX12" fmla="*/ 6262 w 10000"/>
                  <a:gd name="connsiteY12" fmla="*/ 3962 h 10467"/>
                  <a:gd name="connsiteX13" fmla="*/ 6136 w 10000"/>
                  <a:gd name="connsiteY13" fmla="*/ 3768 h 10467"/>
                  <a:gd name="connsiteX14" fmla="*/ 6136 w 10000"/>
                  <a:gd name="connsiteY14" fmla="*/ 3477 h 10467"/>
                  <a:gd name="connsiteX15" fmla="*/ 6011 w 10000"/>
                  <a:gd name="connsiteY15" fmla="*/ 3088 h 10467"/>
                  <a:gd name="connsiteX16" fmla="*/ 5686 w 10000"/>
                  <a:gd name="connsiteY16" fmla="*/ 2663 h 10467"/>
                  <a:gd name="connsiteX17" fmla="*/ 5227 w 10000"/>
                  <a:gd name="connsiteY17" fmla="*/ 2169 h 10467"/>
                  <a:gd name="connsiteX18" fmla="*/ 4976 w 10000"/>
                  <a:gd name="connsiteY18" fmla="*/ 1632 h 10467"/>
                  <a:gd name="connsiteX19" fmla="*/ 5086 w 10000"/>
                  <a:gd name="connsiteY19" fmla="*/ 1018 h 10467"/>
                  <a:gd name="connsiteX20" fmla="*/ 4401 w 10000"/>
                  <a:gd name="connsiteY20" fmla="*/ 128 h 10467"/>
                  <a:gd name="connsiteX21" fmla="*/ 3498 w 10000"/>
                  <a:gd name="connsiteY21" fmla="*/ 61 h 10467"/>
                  <a:gd name="connsiteX22" fmla="*/ 2630 w 10000"/>
                  <a:gd name="connsiteY22" fmla="*/ 467 h 10467"/>
                  <a:gd name="connsiteX23" fmla="*/ 1879 w 10000"/>
                  <a:gd name="connsiteY23" fmla="*/ 467 h 10467"/>
                  <a:gd name="connsiteX24" fmla="*/ 1253 w 10000"/>
                  <a:gd name="connsiteY24" fmla="*/ 758 h 10467"/>
                  <a:gd name="connsiteX25" fmla="*/ 626 w 10000"/>
                  <a:gd name="connsiteY25" fmla="*/ 855 h 10467"/>
                  <a:gd name="connsiteX26" fmla="*/ 0 w 10000"/>
                  <a:gd name="connsiteY26" fmla="*/ 1050 h 10467"/>
                  <a:gd name="connsiteX27" fmla="*/ 251 w 10000"/>
                  <a:gd name="connsiteY27" fmla="*/ 1535 h 10467"/>
                  <a:gd name="connsiteX28" fmla="*/ 251 w 10000"/>
                  <a:gd name="connsiteY28" fmla="*/ 1923 h 10467"/>
                  <a:gd name="connsiteX29" fmla="*/ 501 w 10000"/>
                  <a:gd name="connsiteY29" fmla="*/ 2117 h 10467"/>
                  <a:gd name="connsiteX30" fmla="*/ 876 w 10000"/>
                  <a:gd name="connsiteY30" fmla="*/ 2700 h 10467"/>
                  <a:gd name="connsiteX31" fmla="*/ 1253 w 10000"/>
                  <a:gd name="connsiteY31" fmla="*/ 2894 h 10467"/>
                  <a:gd name="connsiteX32" fmla="*/ 752 w 10000"/>
                  <a:gd name="connsiteY32" fmla="*/ 3088 h 10467"/>
                  <a:gd name="connsiteX33" fmla="*/ 752 w 10000"/>
                  <a:gd name="connsiteY33" fmla="*/ 3574 h 10467"/>
                  <a:gd name="connsiteX34" fmla="*/ 1002 w 10000"/>
                  <a:gd name="connsiteY34" fmla="*/ 3574 h 10467"/>
                  <a:gd name="connsiteX35" fmla="*/ 1253 w 10000"/>
                  <a:gd name="connsiteY35" fmla="*/ 3865 h 10467"/>
                  <a:gd name="connsiteX36" fmla="*/ 876 w 10000"/>
                  <a:gd name="connsiteY36" fmla="*/ 4836 h 10467"/>
                  <a:gd name="connsiteX37" fmla="*/ 1253 w 10000"/>
                  <a:gd name="connsiteY37" fmla="*/ 5224 h 10467"/>
                  <a:gd name="connsiteX38" fmla="*/ 1628 w 10000"/>
                  <a:gd name="connsiteY38" fmla="*/ 5516 h 10467"/>
                  <a:gd name="connsiteX39" fmla="*/ 2003 w 10000"/>
                  <a:gd name="connsiteY39" fmla="*/ 5904 h 10467"/>
                  <a:gd name="connsiteX40" fmla="*/ 1502 w 10000"/>
                  <a:gd name="connsiteY40" fmla="*/ 5904 h 10467"/>
                  <a:gd name="connsiteX41" fmla="*/ 1378 w 10000"/>
                  <a:gd name="connsiteY41" fmla="*/ 6195 h 10467"/>
                  <a:gd name="connsiteX42" fmla="*/ 1753 w 10000"/>
                  <a:gd name="connsiteY42" fmla="*/ 6681 h 10467"/>
                  <a:gd name="connsiteX43" fmla="*/ 1502 w 10000"/>
                  <a:gd name="connsiteY43" fmla="*/ 6972 h 10467"/>
                  <a:gd name="connsiteX44" fmla="*/ 1002 w 10000"/>
                  <a:gd name="connsiteY44" fmla="*/ 7166 h 10467"/>
                  <a:gd name="connsiteX45" fmla="*/ 1753 w 10000"/>
                  <a:gd name="connsiteY45" fmla="*/ 7554 h 10467"/>
                  <a:gd name="connsiteX46" fmla="*/ 3381 w 10000"/>
                  <a:gd name="connsiteY46" fmla="*/ 8331 h 10467"/>
                  <a:gd name="connsiteX47" fmla="*/ 3381 w 10000"/>
                  <a:gd name="connsiteY47" fmla="*/ 8622 h 10467"/>
                  <a:gd name="connsiteX48" fmla="*/ 3882 w 10000"/>
                  <a:gd name="connsiteY48" fmla="*/ 8525 h 10467"/>
                  <a:gd name="connsiteX49" fmla="*/ 3757 w 10000"/>
                  <a:gd name="connsiteY49" fmla="*/ 8331 h 10467"/>
                  <a:gd name="connsiteX50" fmla="*/ 4133 w 10000"/>
                  <a:gd name="connsiteY50" fmla="*/ 8137 h 10467"/>
                  <a:gd name="connsiteX51" fmla="*/ 3882 w 10000"/>
                  <a:gd name="connsiteY51" fmla="*/ 7749 h 10467"/>
                  <a:gd name="connsiteX52" fmla="*/ 4133 w 10000"/>
                  <a:gd name="connsiteY52" fmla="*/ 7554 h 10467"/>
                  <a:gd name="connsiteX53" fmla="*/ 4258 w 10000"/>
                  <a:gd name="connsiteY53" fmla="*/ 7651 h 10467"/>
                  <a:gd name="connsiteX54" fmla="*/ 4383 w 10000"/>
                  <a:gd name="connsiteY54" fmla="*/ 7651 h 10467"/>
                  <a:gd name="connsiteX55" fmla="*/ 4258 w 10000"/>
                  <a:gd name="connsiteY55" fmla="*/ 7846 h 10467"/>
                  <a:gd name="connsiteX56" fmla="*/ 4508 w 10000"/>
                  <a:gd name="connsiteY56" fmla="*/ 7943 h 10467"/>
                  <a:gd name="connsiteX57" fmla="*/ 4759 w 10000"/>
                  <a:gd name="connsiteY57" fmla="*/ 7749 h 10467"/>
                  <a:gd name="connsiteX58" fmla="*/ 5135 w 10000"/>
                  <a:gd name="connsiteY58" fmla="*/ 7846 h 10467"/>
                  <a:gd name="connsiteX59" fmla="*/ 5385 w 10000"/>
                  <a:gd name="connsiteY59" fmla="*/ 8137 h 10467"/>
                  <a:gd name="connsiteX60" fmla="*/ 5636 w 10000"/>
                  <a:gd name="connsiteY60" fmla="*/ 8137 h 10467"/>
                  <a:gd name="connsiteX61" fmla="*/ 5636 w 10000"/>
                  <a:gd name="connsiteY61" fmla="*/ 8428 h 10467"/>
                  <a:gd name="connsiteX62" fmla="*/ 5886 w 10000"/>
                  <a:gd name="connsiteY62" fmla="*/ 8622 h 10467"/>
                  <a:gd name="connsiteX63" fmla="*/ 6011 w 10000"/>
                  <a:gd name="connsiteY63" fmla="*/ 8622 h 10467"/>
                  <a:gd name="connsiteX64" fmla="*/ 6011 w 10000"/>
                  <a:gd name="connsiteY64" fmla="*/ 9011 h 10467"/>
                  <a:gd name="connsiteX65" fmla="*/ 6387 w 10000"/>
                  <a:gd name="connsiteY65" fmla="*/ 9302 h 10467"/>
                  <a:gd name="connsiteX66" fmla="*/ 6763 w 10000"/>
                  <a:gd name="connsiteY66" fmla="*/ 9399 h 10467"/>
                  <a:gd name="connsiteX67" fmla="*/ 6763 w 10000"/>
                  <a:gd name="connsiteY67" fmla="*/ 9593 h 10467"/>
                  <a:gd name="connsiteX68" fmla="*/ 6637 w 10000"/>
                  <a:gd name="connsiteY68" fmla="*/ 9690 h 10467"/>
                  <a:gd name="connsiteX69" fmla="*/ 6512 w 10000"/>
                  <a:gd name="connsiteY69" fmla="*/ 9884 h 10467"/>
                  <a:gd name="connsiteX70" fmla="*/ 6512 w 10000"/>
                  <a:gd name="connsiteY70" fmla="*/ 10079 h 10467"/>
                  <a:gd name="connsiteX71" fmla="*/ 6637 w 10000"/>
                  <a:gd name="connsiteY71" fmla="*/ 10176 h 10467"/>
                  <a:gd name="connsiteX72" fmla="*/ 6763 w 10000"/>
                  <a:gd name="connsiteY72" fmla="*/ 10467 h 10467"/>
                  <a:gd name="connsiteX73" fmla="*/ 7138 w 10000"/>
                  <a:gd name="connsiteY73" fmla="*/ 10370 h 10467"/>
                  <a:gd name="connsiteX74" fmla="*/ 7764 w 10000"/>
                  <a:gd name="connsiteY74" fmla="*/ 10273 h 10467"/>
                  <a:gd name="connsiteX75" fmla="*/ 8015 w 10000"/>
                  <a:gd name="connsiteY75" fmla="*/ 10273 h 10467"/>
                  <a:gd name="connsiteX76" fmla="*/ 8516 w 10000"/>
                  <a:gd name="connsiteY76" fmla="*/ 10176 h 10467"/>
                  <a:gd name="connsiteX77" fmla="*/ 8766 w 10000"/>
                  <a:gd name="connsiteY77" fmla="*/ 10370 h 10467"/>
                  <a:gd name="connsiteX78" fmla="*/ 9017 w 10000"/>
                  <a:gd name="connsiteY78" fmla="*/ 9982 h 10467"/>
                  <a:gd name="connsiteX79" fmla="*/ 8891 w 10000"/>
                  <a:gd name="connsiteY79" fmla="*/ 9690 h 10467"/>
                  <a:gd name="connsiteX80" fmla="*/ 8766 w 10000"/>
                  <a:gd name="connsiteY80" fmla="*/ 8914 h 10467"/>
                  <a:gd name="connsiteX81" fmla="*/ 9392 w 10000"/>
                  <a:gd name="connsiteY81" fmla="*/ 8817 h 10467"/>
                  <a:gd name="connsiteX82" fmla="*/ 9893 w 10000"/>
                  <a:gd name="connsiteY82" fmla="*/ 8331 h 10467"/>
                  <a:gd name="connsiteX83" fmla="*/ 9769 w 10000"/>
                  <a:gd name="connsiteY83" fmla="*/ 7846 h 10467"/>
                  <a:gd name="connsiteX0" fmla="*/ 9769 w 10000"/>
                  <a:gd name="connsiteY0" fmla="*/ 7833 h 10454"/>
                  <a:gd name="connsiteX1" fmla="*/ 9268 w 10000"/>
                  <a:gd name="connsiteY1" fmla="*/ 7444 h 10454"/>
                  <a:gd name="connsiteX2" fmla="*/ 8766 w 10000"/>
                  <a:gd name="connsiteY2" fmla="*/ 7153 h 10454"/>
                  <a:gd name="connsiteX3" fmla="*/ 8516 w 10000"/>
                  <a:gd name="connsiteY3" fmla="*/ 6376 h 10454"/>
                  <a:gd name="connsiteX4" fmla="*/ 8891 w 10000"/>
                  <a:gd name="connsiteY4" fmla="*/ 5794 h 10454"/>
                  <a:gd name="connsiteX5" fmla="*/ 9544 w 10000"/>
                  <a:gd name="connsiteY5" fmla="*/ 5354 h 10454"/>
                  <a:gd name="connsiteX6" fmla="*/ 9228 w 10000"/>
                  <a:gd name="connsiteY6" fmla="*/ 4910 h 10454"/>
                  <a:gd name="connsiteX7" fmla="*/ 9142 w 10000"/>
                  <a:gd name="connsiteY7" fmla="*/ 4435 h 10454"/>
                  <a:gd name="connsiteX8" fmla="*/ 8642 w 10000"/>
                  <a:gd name="connsiteY8" fmla="*/ 4143 h 10454"/>
                  <a:gd name="connsiteX9" fmla="*/ 7890 w 10000"/>
                  <a:gd name="connsiteY9" fmla="*/ 4629 h 10454"/>
                  <a:gd name="connsiteX10" fmla="*/ 7639 w 10000"/>
                  <a:gd name="connsiteY10" fmla="*/ 4337 h 10454"/>
                  <a:gd name="connsiteX11" fmla="*/ 7005 w 10000"/>
                  <a:gd name="connsiteY11" fmla="*/ 4014 h 10454"/>
                  <a:gd name="connsiteX12" fmla="*/ 6262 w 10000"/>
                  <a:gd name="connsiteY12" fmla="*/ 3949 h 10454"/>
                  <a:gd name="connsiteX13" fmla="*/ 6136 w 10000"/>
                  <a:gd name="connsiteY13" fmla="*/ 3755 h 10454"/>
                  <a:gd name="connsiteX14" fmla="*/ 6136 w 10000"/>
                  <a:gd name="connsiteY14" fmla="*/ 3464 h 10454"/>
                  <a:gd name="connsiteX15" fmla="*/ 6011 w 10000"/>
                  <a:gd name="connsiteY15" fmla="*/ 3075 h 10454"/>
                  <a:gd name="connsiteX16" fmla="*/ 5686 w 10000"/>
                  <a:gd name="connsiteY16" fmla="*/ 2650 h 10454"/>
                  <a:gd name="connsiteX17" fmla="*/ 5227 w 10000"/>
                  <a:gd name="connsiteY17" fmla="*/ 2156 h 10454"/>
                  <a:gd name="connsiteX18" fmla="*/ 4976 w 10000"/>
                  <a:gd name="connsiteY18" fmla="*/ 1619 h 10454"/>
                  <a:gd name="connsiteX19" fmla="*/ 5086 w 10000"/>
                  <a:gd name="connsiteY19" fmla="*/ 1005 h 10454"/>
                  <a:gd name="connsiteX20" fmla="*/ 4401 w 10000"/>
                  <a:gd name="connsiteY20" fmla="*/ 115 h 10454"/>
                  <a:gd name="connsiteX21" fmla="*/ 3498 w 10000"/>
                  <a:gd name="connsiteY21" fmla="*/ 48 h 10454"/>
                  <a:gd name="connsiteX22" fmla="*/ 2630 w 10000"/>
                  <a:gd name="connsiteY22" fmla="*/ 223 h 10454"/>
                  <a:gd name="connsiteX23" fmla="*/ 1879 w 10000"/>
                  <a:gd name="connsiteY23" fmla="*/ 454 h 10454"/>
                  <a:gd name="connsiteX24" fmla="*/ 1253 w 10000"/>
                  <a:gd name="connsiteY24" fmla="*/ 745 h 10454"/>
                  <a:gd name="connsiteX25" fmla="*/ 626 w 10000"/>
                  <a:gd name="connsiteY25" fmla="*/ 842 h 10454"/>
                  <a:gd name="connsiteX26" fmla="*/ 0 w 10000"/>
                  <a:gd name="connsiteY26" fmla="*/ 1037 h 10454"/>
                  <a:gd name="connsiteX27" fmla="*/ 251 w 10000"/>
                  <a:gd name="connsiteY27" fmla="*/ 1522 h 10454"/>
                  <a:gd name="connsiteX28" fmla="*/ 251 w 10000"/>
                  <a:gd name="connsiteY28" fmla="*/ 1910 h 10454"/>
                  <a:gd name="connsiteX29" fmla="*/ 501 w 10000"/>
                  <a:gd name="connsiteY29" fmla="*/ 2104 h 10454"/>
                  <a:gd name="connsiteX30" fmla="*/ 876 w 10000"/>
                  <a:gd name="connsiteY30" fmla="*/ 2687 h 10454"/>
                  <a:gd name="connsiteX31" fmla="*/ 1253 w 10000"/>
                  <a:gd name="connsiteY31" fmla="*/ 2881 h 10454"/>
                  <a:gd name="connsiteX32" fmla="*/ 752 w 10000"/>
                  <a:gd name="connsiteY32" fmla="*/ 3075 h 10454"/>
                  <a:gd name="connsiteX33" fmla="*/ 752 w 10000"/>
                  <a:gd name="connsiteY33" fmla="*/ 3561 h 10454"/>
                  <a:gd name="connsiteX34" fmla="*/ 1002 w 10000"/>
                  <a:gd name="connsiteY34" fmla="*/ 3561 h 10454"/>
                  <a:gd name="connsiteX35" fmla="*/ 1253 w 10000"/>
                  <a:gd name="connsiteY35" fmla="*/ 3852 h 10454"/>
                  <a:gd name="connsiteX36" fmla="*/ 876 w 10000"/>
                  <a:gd name="connsiteY36" fmla="*/ 4823 h 10454"/>
                  <a:gd name="connsiteX37" fmla="*/ 1253 w 10000"/>
                  <a:gd name="connsiteY37" fmla="*/ 5211 h 10454"/>
                  <a:gd name="connsiteX38" fmla="*/ 1628 w 10000"/>
                  <a:gd name="connsiteY38" fmla="*/ 5503 h 10454"/>
                  <a:gd name="connsiteX39" fmla="*/ 2003 w 10000"/>
                  <a:gd name="connsiteY39" fmla="*/ 5891 h 10454"/>
                  <a:gd name="connsiteX40" fmla="*/ 1502 w 10000"/>
                  <a:gd name="connsiteY40" fmla="*/ 5891 h 10454"/>
                  <a:gd name="connsiteX41" fmla="*/ 1378 w 10000"/>
                  <a:gd name="connsiteY41" fmla="*/ 6182 h 10454"/>
                  <a:gd name="connsiteX42" fmla="*/ 1753 w 10000"/>
                  <a:gd name="connsiteY42" fmla="*/ 6668 h 10454"/>
                  <a:gd name="connsiteX43" fmla="*/ 1502 w 10000"/>
                  <a:gd name="connsiteY43" fmla="*/ 6959 h 10454"/>
                  <a:gd name="connsiteX44" fmla="*/ 1002 w 10000"/>
                  <a:gd name="connsiteY44" fmla="*/ 7153 h 10454"/>
                  <a:gd name="connsiteX45" fmla="*/ 1753 w 10000"/>
                  <a:gd name="connsiteY45" fmla="*/ 7541 h 10454"/>
                  <a:gd name="connsiteX46" fmla="*/ 3381 w 10000"/>
                  <a:gd name="connsiteY46" fmla="*/ 8318 h 10454"/>
                  <a:gd name="connsiteX47" fmla="*/ 3381 w 10000"/>
                  <a:gd name="connsiteY47" fmla="*/ 8609 h 10454"/>
                  <a:gd name="connsiteX48" fmla="*/ 3882 w 10000"/>
                  <a:gd name="connsiteY48" fmla="*/ 8512 h 10454"/>
                  <a:gd name="connsiteX49" fmla="*/ 3757 w 10000"/>
                  <a:gd name="connsiteY49" fmla="*/ 8318 h 10454"/>
                  <a:gd name="connsiteX50" fmla="*/ 4133 w 10000"/>
                  <a:gd name="connsiteY50" fmla="*/ 8124 h 10454"/>
                  <a:gd name="connsiteX51" fmla="*/ 3882 w 10000"/>
                  <a:gd name="connsiteY51" fmla="*/ 7736 h 10454"/>
                  <a:gd name="connsiteX52" fmla="*/ 4133 w 10000"/>
                  <a:gd name="connsiteY52" fmla="*/ 7541 h 10454"/>
                  <a:gd name="connsiteX53" fmla="*/ 4258 w 10000"/>
                  <a:gd name="connsiteY53" fmla="*/ 7638 h 10454"/>
                  <a:gd name="connsiteX54" fmla="*/ 4383 w 10000"/>
                  <a:gd name="connsiteY54" fmla="*/ 7638 h 10454"/>
                  <a:gd name="connsiteX55" fmla="*/ 4258 w 10000"/>
                  <a:gd name="connsiteY55" fmla="*/ 7833 h 10454"/>
                  <a:gd name="connsiteX56" fmla="*/ 4508 w 10000"/>
                  <a:gd name="connsiteY56" fmla="*/ 7930 h 10454"/>
                  <a:gd name="connsiteX57" fmla="*/ 4759 w 10000"/>
                  <a:gd name="connsiteY57" fmla="*/ 7736 h 10454"/>
                  <a:gd name="connsiteX58" fmla="*/ 5135 w 10000"/>
                  <a:gd name="connsiteY58" fmla="*/ 7833 h 10454"/>
                  <a:gd name="connsiteX59" fmla="*/ 5385 w 10000"/>
                  <a:gd name="connsiteY59" fmla="*/ 8124 h 10454"/>
                  <a:gd name="connsiteX60" fmla="*/ 5636 w 10000"/>
                  <a:gd name="connsiteY60" fmla="*/ 8124 h 10454"/>
                  <a:gd name="connsiteX61" fmla="*/ 5636 w 10000"/>
                  <a:gd name="connsiteY61" fmla="*/ 8415 h 10454"/>
                  <a:gd name="connsiteX62" fmla="*/ 5886 w 10000"/>
                  <a:gd name="connsiteY62" fmla="*/ 8609 h 10454"/>
                  <a:gd name="connsiteX63" fmla="*/ 6011 w 10000"/>
                  <a:gd name="connsiteY63" fmla="*/ 8609 h 10454"/>
                  <a:gd name="connsiteX64" fmla="*/ 6011 w 10000"/>
                  <a:gd name="connsiteY64" fmla="*/ 8998 h 10454"/>
                  <a:gd name="connsiteX65" fmla="*/ 6387 w 10000"/>
                  <a:gd name="connsiteY65" fmla="*/ 9289 h 10454"/>
                  <a:gd name="connsiteX66" fmla="*/ 6763 w 10000"/>
                  <a:gd name="connsiteY66" fmla="*/ 9386 h 10454"/>
                  <a:gd name="connsiteX67" fmla="*/ 6763 w 10000"/>
                  <a:gd name="connsiteY67" fmla="*/ 9580 h 10454"/>
                  <a:gd name="connsiteX68" fmla="*/ 6637 w 10000"/>
                  <a:gd name="connsiteY68" fmla="*/ 9677 h 10454"/>
                  <a:gd name="connsiteX69" fmla="*/ 6512 w 10000"/>
                  <a:gd name="connsiteY69" fmla="*/ 9871 h 10454"/>
                  <a:gd name="connsiteX70" fmla="*/ 6512 w 10000"/>
                  <a:gd name="connsiteY70" fmla="*/ 10066 h 10454"/>
                  <a:gd name="connsiteX71" fmla="*/ 6637 w 10000"/>
                  <a:gd name="connsiteY71" fmla="*/ 10163 h 10454"/>
                  <a:gd name="connsiteX72" fmla="*/ 6763 w 10000"/>
                  <a:gd name="connsiteY72" fmla="*/ 10454 h 10454"/>
                  <a:gd name="connsiteX73" fmla="*/ 7138 w 10000"/>
                  <a:gd name="connsiteY73" fmla="*/ 10357 h 10454"/>
                  <a:gd name="connsiteX74" fmla="*/ 7764 w 10000"/>
                  <a:gd name="connsiteY74" fmla="*/ 10260 h 10454"/>
                  <a:gd name="connsiteX75" fmla="*/ 8015 w 10000"/>
                  <a:gd name="connsiteY75" fmla="*/ 10260 h 10454"/>
                  <a:gd name="connsiteX76" fmla="*/ 8516 w 10000"/>
                  <a:gd name="connsiteY76" fmla="*/ 10163 h 10454"/>
                  <a:gd name="connsiteX77" fmla="*/ 8766 w 10000"/>
                  <a:gd name="connsiteY77" fmla="*/ 10357 h 10454"/>
                  <a:gd name="connsiteX78" fmla="*/ 9017 w 10000"/>
                  <a:gd name="connsiteY78" fmla="*/ 9969 h 10454"/>
                  <a:gd name="connsiteX79" fmla="*/ 8891 w 10000"/>
                  <a:gd name="connsiteY79" fmla="*/ 9677 h 10454"/>
                  <a:gd name="connsiteX80" fmla="*/ 8766 w 10000"/>
                  <a:gd name="connsiteY80" fmla="*/ 8901 h 10454"/>
                  <a:gd name="connsiteX81" fmla="*/ 9392 w 10000"/>
                  <a:gd name="connsiteY81" fmla="*/ 8804 h 10454"/>
                  <a:gd name="connsiteX82" fmla="*/ 9893 w 10000"/>
                  <a:gd name="connsiteY82" fmla="*/ 8318 h 10454"/>
                  <a:gd name="connsiteX83" fmla="*/ 9769 w 10000"/>
                  <a:gd name="connsiteY83" fmla="*/ 7833 h 10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0000" h="10454">
                    <a:moveTo>
                      <a:pt x="9769" y="7833"/>
                    </a:moveTo>
                    <a:cubicBezTo>
                      <a:pt x="9643" y="7638"/>
                      <a:pt x="9518" y="7444"/>
                      <a:pt x="9268" y="7444"/>
                    </a:cubicBezTo>
                    <a:cubicBezTo>
                      <a:pt x="9017" y="7347"/>
                      <a:pt x="9017" y="7347"/>
                      <a:pt x="8766" y="7153"/>
                    </a:cubicBezTo>
                    <a:cubicBezTo>
                      <a:pt x="8642" y="6862"/>
                      <a:pt x="8516" y="6862"/>
                      <a:pt x="8516" y="6376"/>
                    </a:cubicBezTo>
                    <a:cubicBezTo>
                      <a:pt x="8516" y="5988"/>
                      <a:pt x="8642" y="5988"/>
                      <a:pt x="8891" y="5794"/>
                    </a:cubicBezTo>
                    <a:cubicBezTo>
                      <a:pt x="9142" y="5503"/>
                      <a:pt x="9488" y="5501"/>
                      <a:pt x="9544" y="5354"/>
                    </a:cubicBezTo>
                    <a:cubicBezTo>
                      <a:pt x="9600" y="5207"/>
                      <a:pt x="9295" y="5063"/>
                      <a:pt x="9228" y="4910"/>
                    </a:cubicBezTo>
                    <a:cubicBezTo>
                      <a:pt x="9161" y="4757"/>
                      <a:pt x="9240" y="4563"/>
                      <a:pt x="9142" y="4435"/>
                    </a:cubicBezTo>
                    <a:cubicBezTo>
                      <a:pt x="9044" y="4307"/>
                      <a:pt x="8891" y="4240"/>
                      <a:pt x="8642" y="4143"/>
                    </a:cubicBezTo>
                    <a:cubicBezTo>
                      <a:pt x="8391" y="4143"/>
                      <a:pt x="8015" y="4435"/>
                      <a:pt x="7890" y="4629"/>
                    </a:cubicBezTo>
                    <a:cubicBezTo>
                      <a:pt x="7764" y="4823"/>
                      <a:pt x="7764" y="4629"/>
                      <a:pt x="7639" y="4337"/>
                    </a:cubicBezTo>
                    <a:cubicBezTo>
                      <a:pt x="7389" y="4046"/>
                      <a:pt x="7380" y="3917"/>
                      <a:pt x="7005" y="4014"/>
                    </a:cubicBezTo>
                    <a:cubicBezTo>
                      <a:pt x="6754" y="4112"/>
                      <a:pt x="6637" y="4046"/>
                      <a:pt x="6262" y="3949"/>
                    </a:cubicBezTo>
                    <a:cubicBezTo>
                      <a:pt x="6011" y="3755"/>
                      <a:pt x="6011" y="3852"/>
                      <a:pt x="6136" y="3755"/>
                    </a:cubicBezTo>
                    <a:cubicBezTo>
                      <a:pt x="6262" y="3658"/>
                      <a:pt x="6262" y="3561"/>
                      <a:pt x="6136" y="3464"/>
                    </a:cubicBezTo>
                    <a:cubicBezTo>
                      <a:pt x="5886" y="3270"/>
                      <a:pt x="6136" y="3367"/>
                      <a:pt x="6011" y="3075"/>
                    </a:cubicBezTo>
                    <a:cubicBezTo>
                      <a:pt x="6011" y="2784"/>
                      <a:pt x="6062" y="2747"/>
                      <a:pt x="5686" y="2650"/>
                    </a:cubicBezTo>
                    <a:cubicBezTo>
                      <a:pt x="5436" y="2456"/>
                      <a:pt x="5345" y="2328"/>
                      <a:pt x="5227" y="2156"/>
                    </a:cubicBezTo>
                    <a:cubicBezTo>
                      <a:pt x="5109" y="1984"/>
                      <a:pt x="5102" y="1716"/>
                      <a:pt x="4976" y="1619"/>
                    </a:cubicBezTo>
                    <a:cubicBezTo>
                      <a:pt x="4976" y="1425"/>
                      <a:pt x="5211" y="1102"/>
                      <a:pt x="5086" y="1005"/>
                    </a:cubicBezTo>
                    <a:cubicBezTo>
                      <a:pt x="4961" y="1005"/>
                      <a:pt x="4652" y="212"/>
                      <a:pt x="4401" y="115"/>
                    </a:cubicBezTo>
                    <a:cubicBezTo>
                      <a:pt x="4151" y="-80"/>
                      <a:pt x="3793" y="30"/>
                      <a:pt x="3498" y="48"/>
                    </a:cubicBezTo>
                    <a:cubicBezTo>
                      <a:pt x="3203" y="66"/>
                      <a:pt x="2755" y="223"/>
                      <a:pt x="2630" y="223"/>
                    </a:cubicBezTo>
                    <a:cubicBezTo>
                      <a:pt x="2380" y="320"/>
                      <a:pt x="2109" y="367"/>
                      <a:pt x="1879" y="454"/>
                    </a:cubicBezTo>
                    <a:cubicBezTo>
                      <a:pt x="1650" y="541"/>
                      <a:pt x="1502" y="551"/>
                      <a:pt x="1253" y="745"/>
                    </a:cubicBezTo>
                    <a:cubicBezTo>
                      <a:pt x="1002" y="939"/>
                      <a:pt x="752" y="842"/>
                      <a:pt x="626" y="842"/>
                    </a:cubicBezTo>
                    <a:cubicBezTo>
                      <a:pt x="375" y="939"/>
                      <a:pt x="0" y="1037"/>
                      <a:pt x="0" y="1037"/>
                    </a:cubicBezTo>
                    <a:cubicBezTo>
                      <a:pt x="0" y="1037"/>
                      <a:pt x="125" y="1231"/>
                      <a:pt x="251" y="1522"/>
                    </a:cubicBezTo>
                    <a:cubicBezTo>
                      <a:pt x="375" y="1813"/>
                      <a:pt x="251" y="1813"/>
                      <a:pt x="251" y="1910"/>
                    </a:cubicBezTo>
                    <a:cubicBezTo>
                      <a:pt x="375" y="2007"/>
                      <a:pt x="626" y="2007"/>
                      <a:pt x="501" y="2104"/>
                    </a:cubicBezTo>
                    <a:cubicBezTo>
                      <a:pt x="375" y="2299"/>
                      <a:pt x="626" y="2493"/>
                      <a:pt x="876" y="2687"/>
                    </a:cubicBezTo>
                    <a:cubicBezTo>
                      <a:pt x="1002" y="2784"/>
                      <a:pt x="1378" y="2881"/>
                      <a:pt x="1253" y="2881"/>
                    </a:cubicBezTo>
                    <a:cubicBezTo>
                      <a:pt x="1127" y="2978"/>
                      <a:pt x="626" y="2881"/>
                      <a:pt x="752" y="3075"/>
                    </a:cubicBezTo>
                    <a:cubicBezTo>
                      <a:pt x="876" y="3270"/>
                      <a:pt x="752" y="3561"/>
                      <a:pt x="752" y="3561"/>
                    </a:cubicBezTo>
                    <a:cubicBezTo>
                      <a:pt x="752" y="3561"/>
                      <a:pt x="752" y="3464"/>
                      <a:pt x="1002" y="3561"/>
                    </a:cubicBezTo>
                    <a:cubicBezTo>
                      <a:pt x="1127" y="3561"/>
                      <a:pt x="1253" y="3464"/>
                      <a:pt x="1253" y="3852"/>
                    </a:cubicBezTo>
                    <a:cubicBezTo>
                      <a:pt x="1253" y="4143"/>
                      <a:pt x="1002" y="4532"/>
                      <a:pt x="876" y="4823"/>
                    </a:cubicBezTo>
                    <a:cubicBezTo>
                      <a:pt x="752" y="5017"/>
                      <a:pt x="876" y="5114"/>
                      <a:pt x="1253" y="5211"/>
                    </a:cubicBezTo>
                    <a:cubicBezTo>
                      <a:pt x="1502" y="5405"/>
                      <a:pt x="1502" y="5308"/>
                      <a:pt x="1628" y="5503"/>
                    </a:cubicBezTo>
                    <a:cubicBezTo>
                      <a:pt x="1879" y="5794"/>
                      <a:pt x="2003" y="5697"/>
                      <a:pt x="2003" y="5891"/>
                    </a:cubicBezTo>
                    <a:cubicBezTo>
                      <a:pt x="2129" y="6085"/>
                      <a:pt x="1753" y="5988"/>
                      <a:pt x="1502" y="5891"/>
                    </a:cubicBezTo>
                    <a:cubicBezTo>
                      <a:pt x="1253" y="5891"/>
                      <a:pt x="1378" y="5988"/>
                      <a:pt x="1378" y="6182"/>
                    </a:cubicBezTo>
                    <a:cubicBezTo>
                      <a:pt x="1378" y="6279"/>
                      <a:pt x="1753" y="6473"/>
                      <a:pt x="1753" y="6668"/>
                    </a:cubicBezTo>
                    <a:cubicBezTo>
                      <a:pt x="1879" y="6765"/>
                      <a:pt x="1753" y="6959"/>
                      <a:pt x="1502" y="6959"/>
                    </a:cubicBezTo>
                    <a:cubicBezTo>
                      <a:pt x="1253" y="7056"/>
                      <a:pt x="1253" y="7153"/>
                      <a:pt x="1002" y="7153"/>
                    </a:cubicBezTo>
                    <a:lnTo>
                      <a:pt x="1753" y="7541"/>
                    </a:lnTo>
                    <a:lnTo>
                      <a:pt x="3381" y="8318"/>
                    </a:lnTo>
                    <a:lnTo>
                      <a:pt x="3381" y="8609"/>
                    </a:lnTo>
                    <a:lnTo>
                      <a:pt x="3882" y="8512"/>
                    </a:lnTo>
                    <a:lnTo>
                      <a:pt x="3757" y="8318"/>
                    </a:lnTo>
                    <a:lnTo>
                      <a:pt x="4133" y="8124"/>
                    </a:lnTo>
                    <a:cubicBezTo>
                      <a:pt x="4049" y="7995"/>
                      <a:pt x="3966" y="7865"/>
                      <a:pt x="3882" y="7736"/>
                    </a:cubicBezTo>
                    <a:lnTo>
                      <a:pt x="4133" y="7541"/>
                    </a:lnTo>
                    <a:cubicBezTo>
                      <a:pt x="4175" y="7573"/>
                      <a:pt x="4216" y="7606"/>
                      <a:pt x="4258" y="7638"/>
                    </a:cubicBezTo>
                    <a:lnTo>
                      <a:pt x="4383" y="7638"/>
                    </a:lnTo>
                    <a:cubicBezTo>
                      <a:pt x="4341" y="7703"/>
                      <a:pt x="4300" y="7768"/>
                      <a:pt x="4258" y="7833"/>
                    </a:cubicBezTo>
                    <a:lnTo>
                      <a:pt x="4508" y="7930"/>
                    </a:lnTo>
                    <a:lnTo>
                      <a:pt x="4759" y="7736"/>
                    </a:lnTo>
                    <a:lnTo>
                      <a:pt x="5135" y="7833"/>
                    </a:lnTo>
                    <a:lnTo>
                      <a:pt x="5385" y="8124"/>
                    </a:lnTo>
                    <a:lnTo>
                      <a:pt x="5636" y="8124"/>
                    </a:lnTo>
                    <a:lnTo>
                      <a:pt x="5636" y="8415"/>
                    </a:lnTo>
                    <a:lnTo>
                      <a:pt x="5886" y="8609"/>
                    </a:lnTo>
                    <a:lnTo>
                      <a:pt x="6011" y="8609"/>
                    </a:lnTo>
                    <a:lnTo>
                      <a:pt x="6011" y="8998"/>
                    </a:lnTo>
                    <a:lnTo>
                      <a:pt x="6387" y="9289"/>
                    </a:lnTo>
                    <a:lnTo>
                      <a:pt x="6763" y="9386"/>
                    </a:lnTo>
                    <a:lnTo>
                      <a:pt x="6763" y="9580"/>
                    </a:lnTo>
                    <a:lnTo>
                      <a:pt x="6637" y="9677"/>
                    </a:lnTo>
                    <a:lnTo>
                      <a:pt x="6512" y="9871"/>
                    </a:lnTo>
                    <a:lnTo>
                      <a:pt x="6512" y="10066"/>
                    </a:lnTo>
                    <a:cubicBezTo>
                      <a:pt x="6554" y="10098"/>
                      <a:pt x="6595" y="10131"/>
                      <a:pt x="6637" y="10163"/>
                    </a:cubicBezTo>
                    <a:lnTo>
                      <a:pt x="6763" y="10454"/>
                    </a:lnTo>
                    <a:cubicBezTo>
                      <a:pt x="6888" y="10454"/>
                      <a:pt x="7014" y="10454"/>
                      <a:pt x="7138" y="10357"/>
                    </a:cubicBezTo>
                    <a:cubicBezTo>
                      <a:pt x="7263" y="10260"/>
                      <a:pt x="7639" y="10163"/>
                      <a:pt x="7764" y="10260"/>
                    </a:cubicBezTo>
                    <a:cubicBezTo>
                      <a:pt x="7890" y="10260"/>
                      <a:pt x="7890" y="10357"/>
                      <a:pt x="8015" y="10260"/>
                    </a:cubicBezTo>
                    <a:cubicBezTo>
                      <a:pt x="8265" y="10163"/>
                      <a:pt x="8391" y="10163"/>
                      <a:pt x="8516" y="10163"/>
                    </a:cubicBezTo>
                    <a:cubicBezTo>
                      <a:pt x="8766" y="10163"/>
                      <a:pt x="8766" y="10357"/>
                      <a:pt x="8766" y="10357"/>
                    </a:cubicBezTo>
                    <a:cubicBezTo>
                      <a:pt x="8766" y="10357"/>
                      <a:pt x="9017" y="10163"/>
                      <a:pt x="9017" y="9969"/>
                    </a:cubicBezTo>
                    <a:cubicBezTo>
                      <a:pt x="9142" y="9871"/>
                      <a:pt x="9017" y="9871"/>
                      <a:pt x="8891" y="9677"/>
                    </a:cubicBezTo>
                    <a:cubicBezTo>
                      <a:pt x="8766" y="9580"/>
                      <a:pt x="8766" y="9289"/>
                      <a:pt x="8766" y="8901"/>
                    </a:cubicBezTo>
                    <a:cubicBezTo>
                      <a:pt x="8891" y="8512"/>
                      <a:pt x="9268" y="8901"/>
                      <a:pt x="9392" y="8804"/>
                    </a:cubicBezTo>
                    <a:cubicBezTo>
                      <a:pt x="9518" y="8706"/>
                      <a:pt x="9769" y="8512"/>
                      <a:pt x="9893" y="8318"/>
                    </a:cubicBezTo>
                    <a:cubicBezTo>
                      <a:pt x="10144" y="8124"/>
                      <a:pt x="9893" y="8027"/>
                      <a:pt x="9769" y="7833"/>
                    </a:cubicBezTo>
                    <a:close/>
                  </a:path>
                </a:pathLst>
              </a:custGeom>
              <a:solidFill>
                <a:srgbClr val="CBA6AB"/>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4" name="Freeform 213"/>
              <p:cNvSpPr>
                <a:spLocks/>
              </p:cNvSpPr>
              <p:nvPr/>
            </p:nvSpPr>
            <p:spPr bwMode="gray">
              <a:xfrm>
                <a:off x="5306903" y="4079077"/>
                <a:ext cx="139935" cy="192457"/>
              </a:xfrm>
              <a:custGeom>
                <a:avLst/>
                <a:gdLst>
                  <a:gd name="T0" fmla="*/ 28 w 30"/>
                  <a:gd name="T1" fmla="*/ 26 h 42"/>
                  <a:gd name="T2" fmla="*/ 28 w 30"/>
                  <a:gd name="T3" fmla="*/ 24 h 42"/>
                  <a:gd name="T4" fmla="*/ 29 w 30"/>
                  <a:gd name="T5" fmla="*/ 22 h 42"/>
                  <a:gd name="T6" fmla="*/ 30 w 30"/>
                  <a:gd name="T7" fmla="*/ 21 h 42"/>
                  <a:gd name="T8" fmla="*/ 30 w 30"/>
                  <a:gd name="T9" fmla="*/ 19 h 42"/>
                  <a:gd name="T10" fmla="*/ 27 w 30"/>
                  <a:gd name="T11" fmla="*/ 18 h 42"/>
                  <a:gd name="T12" fmla="*/ 24 w 30"/>
                  <a:gd name="T13" fmla="*/ 15 h 42"/>
                  <a:gd name="T14" fmla="*/ 24 w 30"/>
                  <a:gd name="T15" fmla="*/ 11 h 42"/>
                  <a:gd name="T16" fmla="*/ 23 w 30"/>
                  <a:gd name="T17" fmla="*/ 11 h 42"/>
                  <a:gd name="T18" fmla="*/ 21 w 30"/>
                  <a:gd name="T19" fmla="*/ 9 h 42"/>
                  <a:gd name="T20" fmla="*/ 21 w 30"/>
                  <a:gd name="T21" fmla="*/ 6 h 42"/>
                  <a:gd name="T22" fmla="*/ 19 w 30"/>
                  <a:gd name="T23" fmla="*/ 6 h 42"/>
                  <a:gd name="T24" fmla="*/ 17 w 30"/>
                  <a:gd name="T25" fmla="*/ 3 h 42"/>
                  <a:gd name="T26" fmla="*/ 14 w 30"/>
                  <a:gd name="T27" fmla="*/ 2 h 42"/>
                  <a:gd name="T28" fmla="*/ 12 w 30"/>
                  <a:gd name="T29" fmla="*/ 4 h 42"/>
                  <a:gd name="T30" fmla="*/ 10 w 30"/>
                  <a:gd name="T31" fmla="*/ 3 h 42"/>
                  <a:gd name="T32" fmla="*/ 11 w 30"/>
                  <a:gd name="T33" fmla="*/ 1 h 42"/>
                  <a:gd name="T34" fmla="*/ 10 w 30"/>
                  <a:gd name="T35" fmla="*/ 1 h 42"/>
                  <a:gd name="T36" fmla="*/ 9 w 30"/>
                  <a:gd name="T37" fmla="*/ 0 h 42"/>
                  <a:gd name="T38" fmla="*/ 7 w 30"/>
                  <a:gd name="T39" fmla="*/ 2 h 42"/>
                  <a:gd name="T40" fmla="*/ 9 w 30"/>
                  <a:gd name="T41" fmla="*/ 6 h 42"/>
                  <a:gd name="T42" fmla="*/ 6 w 30"/>
                  <a:gd name="T43" fmla="*/ 8 h 42"/>
                  <a:gd name="T44" fmla="*/ 7 w 30"/>
                  <a:gd name="T45" fmla="*/ 10 h 42"/>
                  <a:gd name="T46" fmla="*/ 3 w 30"/>
                  <a:gd name="T47" fmla="*/ 11 h 42"/>
                  <a:gd name="T48" fmla="*/ 0 w 30"/>
                  <a:gd name="T49" fmla="*/ 14 h 42"/>
                  <a:gd name="T50" fmla="*/ 3 w 30"/>
                  <a:gd name="T51" fmla="*/ 16 h 42"/>
                  <a:gd name="T52" fmla="*/ 3 w 30"/>
                  <a:gd name="T53" fmla="*/ 19 h 42"/>
                  <a:gd name="T54" fmla="*/ 4 w 30"/>
                  <a:gd name="T55" fmla="*/ 22 h 42"/>
                  <a:gd name="T56" fmla="*/ 6 w 30"/>
                  <a:gd name="T57" fmla="*/ 26 h 42"/>
                  <a:gd name="T58" fmla="*/ 8 w 30"/>
                  <a:gd name="T59" fmla="*/ 29 h 42"/>
                  <a:gd name="T60" fmla="*/ 12 w 30"/>
                  <a:gd name="T61" fmla="*/ 33 h 42"/>
                  <a:gd name="T62" fmla="*/ 13 w 30"/>
                  <a:gd name="T63" fmla="*/ 42 h 42"/>
                  <a:gd name="T64" fmla="*/ 15 w 30"/>
                  <a:gd name="T65" fmla="*/ 40 h 42"/>
                  <a:gd name="T66" fmla="*/ 17 w 30"/>
                  <a:gd name="T67" fmla="*/ 35 h 42"/>
                  <a:gd name="T68" fmla="*/ 21 w 30"/>
                  <a:gd name="T69" fmla="*/ 32 h 42"/>
                  <a:gd name="T70" fmla="*/ 24 w 30"/>
                  <a:gd name="T71" fmla="*/ 33 h 42"/>
                  <a:gd name="T72" fmla="*/ 26 w 30"/>
                  <a:gd name="T73" fmla="*/ 32 h 42"/>
                  <a:gd name="T74" fmla="*/ 30 w 30"/>
                  <a:gd name="T75" fmla="*/ 30 h 42"/>
                  <a:gd name="T76" fmla="*/ 29 w 30"/>
                  <a:gd name="T77" fmla="*/ 27 h 42"/>
                  <a:gd name="T78" fmla="*/ 28 w 30"/>
                  <a:gd name="T79"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 h="42">
                    <a:moveTo>
                      <a:pt x="28" y="26"/>
                    </a:moveTo>
                    <a:cubicBezTo>
                      <a:pt x="28" y="24"/>
                      <a:pt x="28" y="24"/>
                      <a:pt x="28" y="24"/>
                    </a:cubicBezTo>
                    <a:cubicBezTo>
                      <a:pt x="29" y="22"/>
                      <a:pt x="29" y="22"/>
                      <a:pt x="29" y="22"/>
                    </a:cubicBezTo>
                    <a:cubicBezTo>
                      <a:pt x="30" y="21"/>
                      <a:pt x="30" y="21"/>
                      <a:pt x="30" y="21"/>
                    </a:cubicBezTo>
                    <a:cubicBezTo>
                      <a:pt x="30" y="19"/>
                      <a:pt x="30" y="19"/>
                      <a:pt x="30" y="19"/>
                    </a:cubicBezTo>
                    <a:cubicBezTo>
                      <a:pt x="27" y="18"/>
                      <a:pt x="27" y="18"/>
                      <a:pt x="27" y="18"/>
                    </a:cubicBezTo>
                    <a:cubicBezTo>
                      <a:pt x="24" y="15"/>
                      <a:pt x="24" y="15"/>
                      <a:pt x="24" y="15"/>
                    </a:cubicBezTo>
                    <a:cubicBezTo>
                      <a:pt x="24" y="11"/>
                      <a:pt x="24" y="11"/>
                      <a:pt x="24" y="11"/>
                    </a:cubicBezTo>
                    <a:cubicBezTo>
                      <a:pt x="23" y="11"/>
                      <a:pt x="23" y="11"/>
                      <a:pt x="23" y="11"/>
                    </a:cubicBezTo>
                    <a:cubicBezTo>
                      <a:pt x="21" y="9"/>
                      <a:pt x="21" y="9"/>
                      <a:pt x="21" y="9"/>
                    </a:cubicBezTo>
                    <a:cubicBezTo>
                      <a:pt x="21" y="6"/>
                      <a:pt x="21" y="6"/>
                      <a:pt x="21" y="6"/>
                    </a:cubicBezTo>
                    <a:cubicBezTo>
                      <a:pt x="19" y="6"/>
                      <a:pt x="19" y="6"/>
                      <a:pt x="19" y="6"/>
                    </a:cubicBezTo>
                    <a:cubicBezTo>
                      <a:pt x="17" y="3"/>
                      <a:pt x="17" y="3"/>
                      <a:pt x="17" y="3"/>
                    </a:cubicBezTo>
                    <a:cubicBezTo>
                      <a:pt x="14" y="2"/>
                      <a:pt x="14" y="2"/>
                      <a:pt x="14" y="2"/>
                    </a:cubicBezTo>
                    <a:cubicBezTo>
                      <a:pt x="12" y="4"/>
                      <a:pt x="12" y="4"/>
                      <a:pt x="12" y="4"/>
                    </a:cubicBezTo>
                    <a:cubicBezTo>
                      <a:pt x="10" y="3"/>
                      <a:pt x="10" y="3"/>
                      <a:pt x="10" y="3"/>
                    </a:cubicBezTo>
                    <a:cubicBezTo>
                      <a:pt x="11" y="1"/>
                      <a:pt x="11" y="1"/>
                      <a:pt x="11" y="1"/>
                    </a:cubicBezTo>
                    <a:cubicBezTo>
                      <a:pt x="10" y="1"/>
                      <a:pt x="10" y="1"/>
                      <a:pt x="10" y="1"/>
                    </a:cubicBezTo>
                    <a:cubicBezTo>
                      <a:pt x="9" y="0"/>
                      <a:pt x="9" y="0"/>
                      <a:pt x="9" y="0"/>
                    </a:cubicBezTo>
                    <a:cubicBezTo>
                      <a:pt x="7" y="2"/>
                      <a:pt x="7" y="2"/>
                      <a:pt x="7" y="2"/>
                    </a:cubicBezTo>
                    <a:cubicBezTo>
                      <a:pt x="9" y="6"/>
                      <a:pt x="9" y="6"/>
                      <a:pt x="9" y="6"/>
                    </a:cubicBezTo>
                    <a:cubicBezTo>
                      <a:pt x="6" y="8"/>
                      <a:pt x="6" y="8"/>
                      <a:pt x="6" y="8"/>
                    </a:cubicBezTo>
                    <a:cubicBezTo>
                      <a:pt x="7" y="10"/>
                      <a:pt x="7" y="10"/>
                      <a:pt x="7" y="10"/>
                    </a:cubicBezTo>
                    <a:cubicBezTo>
                      <a:pt x="3" y="11"/>
                      <a:pt x="3" y="11"/>
                      <a:pt x="3" y="11"/>
                    </a:cubicBezTo>
                    <a:cubicBezTo>
                      <a:pt x="0" y="14"/>
                      <a:pt x="0" y="14"/>
                      <a:pt x="0" y="14"/>
                    </a:cubicBezTo>
                    <a:cubicBezTo>
                      <a:pt x="3" y="16"/>
                      <a:pt x="3" y="16"/>
                      <a:pt x="3" y="16"/>
                    </a:cubicBezTo>
                    <a:cubicBezTo>
                      <a:pt x="3" y="19"/>
                      <a:pt x="3" y="19"/>
                      <a:pt x="3" y="19"/>
                    </a:cubicBezTo>
                    <a:cubicBezTo>
                      <a:pt x="4" y="17"/>
                      <a:pt x="3" y="21"/>
                      <a:pt x="4" y="22"/>
                    </a:cubicBezTo>
                    <a:cubicBezTo>
                      <a:pt x="5" y="24"/>
                      <a:pt x="6" y="24"/>
                      <a:pt x="6" y="26"/>
                    </a:cubicBezTo>
                    <a:cubicBezTo>
                      <a:pt x="6" y="28"/>
                      <a:pt x="7" y="28"/>
                      <a:pt x="8" y="29"/>
                    </a:cubicBezTo>
                    <a:cubicBezTo>
                      <a:pt x="10" y="30"/>
                      <a:pt x="12" y="31"/>
                      <a:pt x="12" y="33"/>
                    </a:cubicBezTo>
                    <a:cubicBezTo>
                      <a:pt x="13" y="35"/>
                      <a:pt x="13" y="42"/>
                      <a:pt x="13" y="42"/>
                    </a:cubicBezTo>
                    <a:cubicBezTo>
                      <a:pt x="14" y="41"/>
                      <a:pt x="14" y="40"/>
                      <a:pt x="15" y="40"/>
                    </a:cubicBezTo>
                    <a:cubicBezTo>
                      <a:pt x="16" y="38"/>
                      <a:pt x="16" y="35"/>
                      <a:pt x="17" y="35"/>
                    </a:cubicBezTo>
                    <a:cubicBezTo>
                      <a:pt x="18" y="35"/>
                      <a:pt x="20" y="33"/>
                      <a:pt x="21" y="32"/>
                    </a:cubicBezTo>
                    <a:cubicBezTo>
                      <a:pt x="22" y="31"/>
                      <a:pt x="23" y="32"/>
                      <a:pt x="24" y="33"/>
                    </a:cubicBezTo>
                    <a:cubicBezTo>
                      <a:pt x="24" y="35"/>
                      <a:pt x="25" y="33"/>
                      <a:pt x="26" y="32"/>
                    </a:cubicBezTo>
                    <a:cubicBezTo>
                      <a:pt x="27" y="30"/>
                      <a:pt x="29" y="29"/>
                      <a:pt x="30" y="30"/>
                    </a:cubicBezTo>
                    <a:cubicBezTo>
                      <a:pt x="29" y="27"/>
                      <a:pt x="29" y="27"/>
                      <a:pt x="29" y="27"/>
                    </a:cubicBezTo>
                    <a:lnTo>
                      <a:pt x="28" y="26"/>
                    </a:ln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5" name="Freeform 9"/>
              <p:cNvSpPr>
                <a:spLocks/>
              </p:cNvSpPr>
              <p:nvPr/>
            </p:nvSpPr>
            <p:spPr bwMode="gray">
              <a:xfrm>
                <a:off x="6372085" y="3641632"/>
                <a:ext cx="349328" cy="203245"/>
              </a:xfrm>
              <a:custGeom>
                <a:avLst/>
                <a:gdLst>
                  <a:gd name="T0" fmla="*/ 0 w 220"/>
                  <a:gd name="T1" fmla="*/ 60 h 128"/>
                  <a:gd name="T2" fmla="*/ 14 w 220"/>
                  <a:gd name="T3" fmla="*/ 46 h 128"/>
                  <a:gd name="T4" fmla="*/ 34 w 220"/>
                  <a:gd name="T5" fmla="*/ 40 h 128"/>
                  <a:gd name="T6" fmla="*/ 48 w 220"/>
                  <a:gd name="T7" fmla="*/ 26 h 128"/>
                  <a:gd name="T8" fmla="*/ 56 w 220"/>
                  <a:gd name="T9" fmla="*/ 14 h 128"/>
                  <a:gd name="T10" fmla="*/ 62 w 220"/>
                  <a:gd name="T11" fmla="*/ 0 h 128"/>
                  <a:gd name="T12" fmla="*/ 70 w 220"/>
                  <a:gd name="T13" fmla="*/ 6 h 128"/>
                  <a:gd name="T14" fmla="*/ 76 w 220"/>
                  <a:gd name="T15" fmla="*/ 20 h 128"/>
                  <a:gd name="T16" fmla="*/ 88 w 220"/>
                  <a:gd name="T17" fmla="*/ 0 h 128"/>
                  <a:gd name="T18" fmla="*/ 104 w 220"/>
                  <a:gd name="T19" fmla="*/ 14 h 128"/>
                  <a:gd name="T20" fmla="*/ 104 w 220"/>
                  <a:gd name="T21" fmla="*/ 26 h 128"/>
                  <a:gd name="T22" fmla="*/ 116 w 220"/>
                  <a:gd name="T23" fmla="*/ 26 h 128"/>
                  <a:gd name="T24" fmla="*/ 122 w 220"/>
                  <a:gd name="T25" fmla="*/ 40 h 128"/>
                  <a:gd name="T26" fmla="*/ 144 w 220"/>
                  <a:gd name="T27" fmla="*/ 40 h 128"/>
                  <a:gd name="T28" fmla="*/ 172 w 220"/>
                  <a:gd name="T29" fmla="*/ 46 h 128"/>
                  <a:gd name="T30" fmla="*/ 184 w 220"/>
                  <a:gd name="T31" fmla="*/ 34 h 128"/>
                  <a:gd name="T32" fmla="*/ 212 w 220"/>
                  <a:gd name="T33" fmla="*/ 26 h 128"/>
                  <a:gd name="T34" fmla="*/ 220 w 220"/>
                  <a:gd name="T35" fmla="*/ 34 h 128"/>
                  <a:gd name="T36" fmla="*/ 212 w 220"/>
                  <a:gd name="T37" fmla="*/ 40 h 128"/>
                  <a:gd name="T38" fmla="*/ 220 w 220"/>
                  <a:gd name="T39" fmla="*/ 54 h 128"/>
                  <a:gd name="T40" fmla="*/ 192 w 220"/>
                  <a:gd name="T41" fmla="*/ 60 h 128"/>
                  <a:gd name="T42" fmla="*/ 178 w 220"/>
                  <a:gd name="T43" fmla="*/ 54 h 128"/>
                  <a:gd name="T44" fmla="*/ 150 w 220"/>
                  <a:gd name="T45" fmla="*/ 68 h 128"/>
                  <a:gd name="T46" fmla="*/ 144 w 220"/>
                  <a:gd name="T47" fmla="*/ 94 h 128"/>
                  <a:gd name="T48" fmla="*/ 136 w 220"/>
                  <a:gd name="T49" fmla="*/ 80 h 128"/>
                  <a:gd name="T50" fmla="*/ 116 w 220"/>
                  <a:gd name="T51" fmla="*/ 94 h 128"/>
                  <a:gd name="T52" fmla="*/ 104 w 220"/>
                  <a:gd name="T53" fmla="*/ 122 h 128"/>
                  <a:gd name="T54" fmla="*/ 76 w 220"/>
                  <a:gd name="T55" fmla="*/ 122 h 128"/>
                  <a:gd name="T56" fmla="*/ 56 w 220"/>
                  <a:gd name="T57" fmla="*/ 116 h 128"/>
                  <a:gd name="T58" fmla="*/ 56 w 220"/>
                  <a:gd name="T59" fmla="*/ 94 h 128"/>
                  <a:gd name="T60" fmla="*/ 56 w 220"/>
                  <a:gd name="T61" fmla="*/ 74 h 128"/>
                  <a:gd name="T62" fmla="*/ 48 w 220"/>
                  <a:gd name="T63" fmla="*/ 74 h 128"/>
                  <a:gd name="T64" fmla="*/ 28 w 220"/>
                  <a:gd name="T65" fmla="*/ 60 h 128"/>
                  <a:gd name="T66" fmla="*/ 14 w 220"/>
                  <a:gd name="T67" fmla="*/ 60 h 128"/>
                  <a:gd name="T68" fmla="*/ 0 w 220"/>
                  <a:gd name="T69" fmla="*/ 6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0" h="128">
                    <a:moveTo>
                      <a:pt x="0" y="68"/>
                    </a:moveTo>
                    <a:lnTo>
                      <a:pt x="0" y="60"/>
                    </a:lnTo>
                    <a:lnTo>
                      <a:pt x="14" y="54"/>
                    </a:lnTo>
                    <a:lnTo>
                      <a:pt x="14" y="46"/>
                    </a:lnTo>
                    <a:lnTo>
                      <a:pt x="20" y="40"/>
                    </a:lnTo>
                    <a:lnTo>
                      <a:pt x="34" y="40"/>
                    </a:lnTo>
                    <a:lnTo>
                      <a:pt x="34" y="34"/>
                    </a:lnTo>
                    <a:lnTo>
                      <a:pt x="48" y="26"/>
                    </a:lnTo>
                    <a:lnTo>
                      <a:pt x="56" y="20"/>
                    </a:lnTo>
                    <a:lnTo>
                      <a:pt x="56" y="14"/>
                    </a:lnTo>
                    <a:lnTo>
                      <a:pt x="56" y="0"/>
                    </a:lnTo>
                    <a:lnTo>
                      <a:pt x="62" y="0"/>
                    </a:lnTo>
                    <a:lnTo>
                      <a:pt x="62" y="6"/>
                    </a:lnTo>
                    <a:lnTo>
                      <a:pt x="70" y="6"/>
                    </a:lnTo>
                    <a:lnTo>
                      <a:pt x="76" y="14"/>
                    </a:lnTo>
                    <a:lnTo>
                      <a:pt x="76" y="20"/>
                    </a:lnTo>
                    <a:lnTo>
                      <a:pt x="82" y="14"/>
                    </a:lnTo>
                    <a:lnTo>
                      <a:pt x="88" y="0"/>
                    </a:lnTo>
                    <a:lnTo>
                      <a:pt x="96" y="6"/>
                    </a:lnTo>
                    <a:lnTo>
                      <a:pt x="104" y="14"/>
                    </a:lnTo>
                    <a:lnTo>
                      <a:pt x="104" y="20"/>
                    </a:lnTo>
                    <a:lnTo>
                      <a:pt x="104" y="26"/>
                    </a:lnTo>
                    <a:lnTo>
                      <a:pt x="110" y="26"/>
                    </a:lnTo>
                    <a:lnTo>
                      <a:pt x="116" y="26"/>
                    </a:lnTo>
                    <a:lnTo>
                      <a:pt x="116" y="34"/>
                    </a:lnTo>
                    <a:lnTo>
                      <a:pt x="122" y="40"/>
                    </a:lnTo>
                    <a:lnTo>
                      <a:pt x="136" y="34"/>
                    </a:lnTo>
                    <a:lnTo>
                      <a:pt x="144" y="40"/>
                    </a:lnTo>
                    <a:lnTo>
                      <a:pt x="144" y="46"/>
                    </a:lnTo>
                    <a:lnTo>
                      <a:pt x="172" y="46"/>
                    </a:lnTo>
                    <a:lnTo>
                      <a:pt x="178" y="40"/>
                    </a:lnTo>
                    <a:lnTo>
                      <a:pt x="184" y="34"/>
                    </a:lnTo>
                    <a:lnTo>
                      <a:pt x="198" y="26"/>
                    </a:lnTo>
                    <a:lnTo>
                      <a:pt x="212" y="26"/>
                    </a:lnTo>
                    <a:lnTo>
                      <a:pt x="220" y="26"/>
                    </a:lnTo>
                    <a:lnTo>
                      <a:pt x="220" y="34"/>
                    </a:lnTo>
                    <a:lnTo>
                      <a:pt x="212" y="34"/>
                    </a:lnTo>
                    <a:lnTo>
                      <a:pt x="212" y="40"/>
                    </a:lnTo>
                    <a:lnTo>
                      <a:pt x="220" y="46"/>
                    </a:lnTo>
                    <a:lnTo>
                      <a:pt x="220" y="54"/>
                    </a:lnTo>
                    <a:lnTo>
                      <a:pt x="206" y="60"/>
                    </a:lnTo>
                    <a:lnTo>
                      <a:pt x="192" y="60"/>
                    </a:lnTo>
                    <a:lnTo>
                      <a:pt x="178" y="60"/>
                    </a:lnTo>
                    <a:lnTo>
                      <a:pt x="178" y="54"/>
                    </a:lnTo>
                    <a:lnTo>
                      <a:pt x="164" y="54"/>
                    </a:lnTo>
                    <a:lnTo>
                      <a:pt x="150" y="68"/>
                    </a:lnTo>
                    <a:lnTo>
                      <a:pt x="150" y="74"/>
                    </a:lnTo>
                    <a:lnTo>
                      <a:pt x="144" y="94"/>
                    </a:lnTo>
                    <a:lnTo>
                      <a:pt x="136" y="88"/>
                    </a:lnTo>
                    <a:lnTo>
                      <a:pt x="136" y="80"/>
                    </a:lnTo>
                    <a:lnTo>
                      <a:pt x="122" y="88"/>
                    </a:lnTo>
                    <a:lnTo>
                      <a:pt x="116" y="94"/>
                    </a:lnTo>
                    <a:lnTo>
                      <a:pt x="110" y="102"/>
                    </a:lnTo>
                    <a:lnTo>
                      <a:pt x="104" y="122"/>
                    </a:lnTo>
                    <a:lnTo>
                      <a:pt x="82" y="128"/>
                    </a:lnTo>
                    <a:lnTo>
                      <a:pt x="76" y="122"/>
                    </a:lnTo>
                    <a:lnTo>
                      <a:pt x="56" y="122"/>
                    </a:lnTo>
                    <a:lnTo>
                      <a:pt x="56" y="116"/>
                    </a:lnTo>
                    <a:lnTo>
                      <a:pt x="62" y="108"/>
                    </a:lnTo>
                    <a:lnTo>
                      <a:pt x="56" y="94"/>
                    </a:lnTo>
                    <a:lnTo>
                      <a:pt x="62" y="88"/>
                    </a:lnTo>
                    <a:lnTo>
                      <a:pt x="56" y="74"/>
                    </a:lnTo>
                    <a:lnTo>
                      <a:pt x="56" y="68"/>
                    </a:lnTo>
                    <a:lnTo>
                      <a:pt x="48" y="74"/>
                    </a:lnTo>
                    <a:lnTo>
                      <a:pt x="34" y="68"/>
                    </a:lnTo>
                    <a:lnTo>
                      <a:pt x="28" y="60"/>
                    </a:lnTo>
                    <a:lnTo>
                      <a:pt x="20" y="60"/>
                    </a:lnTo>
                    <a:lnTo>
                      <a:pt x="14" y="60"/>
                    </a:lnTo>
                    <a:lnTo>
                      <a:pt x="0" y="68"/>
                    </a:lnTo>
                    <a:lnTo>
                      <a:pt x="0" y="68"/>
                    </a:lnTo>
                    <a:lnTo>
                      <a:pt x="0" y="68"/>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6" name="Freeform 10"/>
              <p:cNvSpPr>
                <a:spLocks/>
              </p:cNvSpPr>
              <p:nvPr/>
            </p:nvSpPr>
            <p:spPr bwMode="gray">
              <a:xfrm>
                <a:off x="5424137" y="2276078"/>
                <a:ext cx="101622" cy="63514"/>
              </a:xfrm>
              <a:custGeom>
                <a:avLst/>
                <a:gdLst>
                  <a:gd name="T0" fmla="*/ 22 w 64"/>
                  <a:gd name="T1" fmla="*/ 40 h 40"/>
                  <a:gd name="T2" fmla="*/ 28 w 64"/>
                  <a:gd name="T3" fmla="*/ 34 h 40"/>
                  <a:gd name="T4" fmla="*/ 28 w 64"/>
                  <a:gd name="T5" fmla="*/ 26 h 40"/>
                  <a:gd name="T6" fmla="*/ 42 w 64"/>
                  <a:gd name="T7" fmla="*/ 26 h 40"/>
                  <a:gd name="T8" fmla="*/ 50 w 64"/>
                  <a:gd name="T9" fmla="*/ 26 h 40"/>
                  <a:gd name="T10" fmla="*/ 50 w 64"/>
                  <a:gd name="T11" fmla="*/ 20 h 40"/>
                  <a:gd name="T12" fmla="*/ 56 w 64"/>
                  <a:gd name="T13" fmla="*/ 14 h 40"/>
                  <a:gd name="T14" fmla="*/ 64 w 64"/>
                  <a:gd name="T15" fmla="*/ 6 h 40"/>
                  <a:gd name="T16" fmla="*/ 50 w 64"/>
                  <a:gd name="T17" fmla="*/ 0 h 40"/>
                  <a:gd name="T18" fmla="*/ 28 w 64"/>
                  <a:gd name="T19" fmla="*/ 14 h 40"/>
                  <a:gd name="T20" fmla="*/ 22 w 64"/>
                  <a:gd name="T21" fmla="*/ 0 h 40"/>
                  <a:gd name="T22" fmla="*/ 14 w 64"/>
                  <a:gd name="T23" fmla="*/ 6 h 40"/>
                  <a:gd name="T24" fmla="*/ 14 w 64"/>
                  <a:gd name="T25" fmla="*/ 14 h 40"/>
                  <a:gd name="T26" fmla="*/ 14 w 64"/>
                  <a:gd name="T27" fmla="*/ 20 h 40"/>
                  <a:gd name="T28" fmla="*/ 0 w 64"/>
                  <a:gd name="T29" fmla="*/ 26 h 40"/>
                  <a:gd name="T30" fmla="*/ 6 w 64"/>
                  <a:gd name="T31" fmla="*/ 26 h 40"/>
                  <a:gd name="T32" fmla="*/ 14 w 64"/>
                  <a:gd name="T33" fmla="*/ 26 h 40"/>
                  <a:gd name="T34" fmla="*/ 22 w 64"/>
                  <a:gd name="T35" fmla="*/ 34 h 40"/>
                  <a:gd name="T36" fmla="*/ 22 w 64"/>
                  <a:gd name="T37" fmla="*/ 40 h 40"/>
                  <a:gd name="T38" fmla="*/ 22 w 64"/>
                  <a:gd name="T39" fmla="*/ 40 h 40"/>
                  <a:gd name="T40" fmla="*/ 22 w 64"/>
                  <a:gd name="T4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40">
                    <a:moveTo>
                      <a:pt x="22" y="40"/>
                    </a:moveTo>
                    <a:lnTo>
                      <a:pt x="28" y="34"/>
                    </a:lnTo>
                    <a:lnTo>
                      <a:pt x="28" y="26"/>
                    </a:lnTo>
                    <a:lnTo>
                      <a:pt x="42" y="26"/>
                    </a:lnTo>
                    <a:lnTo>
                      <a:pt x="50" y="26"/>
                    </a:lnTo>
                    <a:lnTo>
                      <a:pt x="50" y="20"/>
                    </a:lnTo>
                    <a:lnTo>
                      <a:pt x="56" y="14"/>
                    </a:lnTo>
                    <a:lnTo>
                      <a:pt x="64" y="6"/>
                    </a:lnTo>
                    <a:lnTo>
                      <a:pt x="50" y="0"/>
                    </a:lnTo>
                    <a:lnTo>
                      <a:pt x="28" y="14"/>
                    </a:lnTo>
                    <a:lnTo>
                      <a:pt x="22" y="0"/>
                    </a:lnTo>
                    <a:lnTo>
                      <a:pt x="14" y="6"/>
                    </a:lnTo>
                    <a:lnTo>
                      <a:pt x="14" y="14"/>
                    </a:lnTo>
                    <a:lnTo>
                      <a:pt x="14" y="20"/>
                    </a:lnTo>
                    <a:lnTo>
                      <a:pt x="0" y="26"/>
                    </a:lnTo>
                    <a:lnTo>
                      <a:pt x="6" y="26"/>
                    </a:lnTo>
                    <a:lnTo>
                      <a:pt x="14" y="26"/>
                    </a:lnTo>
                    <a:lnTo>
                      <a:pt x="22" y="34"/>
                    </a:lnTo>
                    <a:lnTo>
                      <a:pt x="22" y="40"/>
                    </a:lnTo>
                    <a:lnTo>
                      <a:pt x="22" y="40"/>
                    </a:lnTo>
                    <a:lnTo>
                      <a:pt x="22" y="40"/>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7" name="Freeform 11"/>
              <p:cNvSpPr>
                <a:spLocks/>
              </p:cNvSpPr>
              <p:nvPr/>
            </p:nvSpPr>
            <p:spPr bwMode="gray">
              <a:xfrm>
                <a:off x="5459069" y="2222092"/>
                <a:ext cx="44460" cy="41284"/>
              </a:xfrm>
              <a:custGeom>
                <a:avLst/>
                <a:gdLst>
                  <a:gd name="T0" fmla="*/ 14 w 28"/>
                  <a:gd name="T1" fmla="*/ 26 h 26"/>
                  <a:gd name="T2" fmla="*/ 14 w 28"/>
                  <a:gd name="T3" fmla="*/ 14 h 26"/>
                  <a:gd name="T4" fmla="*/ 8 w 28"/>
                  <a:gd name="T5" fmla="*/ 14 h 26"/>
                  <a:gd name="T6" fmla="*/ 0 w 28"/>
                  <a:gd name="T7" fmla="*/ 14 h 26"/>
                  <a:gd name="T8" fmla="*/ 0 w 28"/>
                  <a:gd name="T9" fmla="*/ 8 h 26"/>
                  <a:gd name="T10" fmla="*/ 8 w 28"/>
                  <a:gd name="T11" fmla="*/ 8 h 26"/>
                  <a:gd name="T12" fmla="*/ 14 w 28"/>
                  <a:gd name="T13" fmla="*/ 0 h 26"/>
                  <a:gd name="T14" fmla="*/ 28 w 28"/>
                  <a:gd name="T15" fmla="*/ 8 h 26"/>
                  <a:gd name="T16" fmla="*/ 28 w 28"/>
                  <a:gd name="T17" fmla="*/ 14 h 26"/>
                  <a:gd name="T18" fmla="*/ 20 w 28"/>
                  <a:gd name="T19" fmla="*/ 20 h 26"/>
                  <a:gd name="T20" fmla="*/ 14 w 28"/>
                  <a:gd name="T21" fmla="*/ 26 h 26"/>
                  <a:gd name="T22" fmla="*/ 14 w 28"/>
                  <a:gd name="T23" fmla="*/ 26 h 26"/>
                  <a:gd name="T24" fmla="*/ 14 w 28"/>
                  <a:gd name="T2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6">
                    <a:moveTo>
                      <a:pt x="14" y="26"/>
                    </a:moveTo>
                    <a:lnTo>
                      <a:pt x="14" y="14"/>
                    </a:lnTo>
                    <a:lnTo>
                      <a:pt x="8" y="14"/>
                    </a:lnTo>
                    <a:lnTo>
                      <a:pt x="0" y="14"/>
                    </a:lnTo>
                    <a:lnTo>
                      <a:pt x="0" y="8"/>
                    </a:lnTo>
                    <a:lnTo>
                      <a:pt x="8" y="8"/>
                    </a:lnTo>
                    <a:lnTo>
                      <a:pt x="14" y="0"/>
                    </a:lnTo>
                    <a:lnTo>
                      <a:pt x="28" y="8"/>
                    </a:lnTo>
                    <a:lnTo>
                      <a:pt x="28" y="14"/>
                    </a:lnTo>
                    <a:lnTo>
                      <a:pt x="20" y="20"/>
                    </a:lnTo>
                    <a:lnTo>
                      <a:pt x="14" y="26"/>
                    </a:lnTo>
                    <a:lnTo>
                      <a:pt x="14" y="26"/>
                    </a:lnTo>
                    <a:lnTo>
                      <a:pt x="14" y="26"/>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8" name="Freeform 12"/>
              <p:cNvSpPr>
                <a:spLocks/>
              </p:cNvSpPr>
              <p:nvPr/>
            </p:nvSpPr>
            <p:spPr bwMode="gray">
              <a:xfrm>
                <a:off x="6556276" y="780321"/>
                <a:ext cx="79393" cy="95271"/>
              </a:xfrm>
              <a:custGeom>
                <a:avLst/>
                <a:gdLst>
                  <a:gd name="T0" fmla="*/ 42 w 50"/>
                  <a:gd name="T1" fmla="*/ 60 h 60"/>
                  <a:gd name="T2" fmla="*/ 28 w 50"/>
                  <a:gd name="T3" fmla="*/ 54 h 60"/>
                  <a:gd name="T4" fmla="*/ 14 w 50"/>
                  <a:gd name="T5" fmla="*/ 46 h 60"/>
                  <a:gd name="T6" fmla="*/ 14 w 50"/>
                  <a:gd name="T7" fmla="*/ 40 h 60"/>
                  <a:gd name="T8" fmla="*/ 0 w 50"/>
                  <a:gd name="T9" fmla="*/ 32 h 60"/>
                  <a:gd name="T10" fmla="*/ 0 w 50"/>
                  <a:gd name="T11" fmla="*/ 18 h 60"/>
                  <a:gd name="T12" fmla="*/ 6 w 50"/>
                  <a:gd name="T13" fmla="*/ 6 h 60"/>
                  <a:gd name="T14" fmla="*/ 6 w 50"/>
                  <a:gd name="T15" fmla="*/ 0 h 60"/>
                  <a:gd name="T16" fmla="*/ 14 w 50"/>
                  <a:gd name="T17" fmla="*/ 0 h 60"/>
                  <a:gd name="T18" fmla="*/ 28 w 50"/>
                  <a:gd name="T19" fmla="*/ 6 h 60"/>
                  <a:gd name="T20" fmla="*/ 42 w 50"/>
                  <a:gd name="T21" fmla="*/ 6 h 60"/>
                  <a:gd name="T22" fmla="*/ 50 w 50"/>
                  <a:gd name="T23" fmla="*/ 18 h 60"/>
                  <a:gd name="T24" fmla="*/ 50 w 50"/>
                  <a:gd name="T25" fmla="*/ 26 h 60"/>
                  <a:gd name="T26" fmla="*/ 50 w 50"/>
                  <a:gd name="T27" fmla="*/ 32 h 60"/>
                  <a:gd name="T28" fmla="*/ 42 w 50"/>
                  <a:gd name="T29" fmla="*/ 46 h 60"/>
                  <a:gd name="T30" fmla="*/ 50 w 50"/>
                  <a:gd name="T31" fmla="*/ 54 h 60"/>
                  <a:gd name="T32" fmla="*/ 42 w 50"/>
                  <a:gd name="T33" fmla="*/ 60 h 60"/>
                  <a:gd name="T34" fmla="*/ 42 w 50"/>
                  <a:gd name="T35" fmla="*/ 60 h 60"/>
                  <a:gd name="T36" fmla="*/ 42 w 50"/>
                  <a:gd name="T3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 h="60">
                    <a:moveTo>
                      <a:pt x="42" y="60"/>
                    </a:moveTo>
                    <a:lnTo>
                      <a:pt x="28" y="54"/>
                    </a:lnTo>
                    <a:lnTo>
                      <a:pt x="14" y="46"/>
                    </a:lnTo>
                    <a:lnTo>
                      <a:pt x="14" y="40"/>
                    </a:lnTo>
                    <a:lnTo>
                      <a:pt x="0" y="32"/>
                    </a:lnTo>
                    <a:lnTo>
                      <a:pt x="0" y="18"/>
                    </a:lnTo>
                    <a:lnTo>
                      <a:pt x="6" y="6"/>
                    </a:lnTo>
                    <a:lnTo>
                      <a:pt x="6" y="0"/>
                    </a:lnTo>
                    <a:lnTo>
                      <a:pt x="14" y="0"/>
                    </a:lnTo>
                    <a:lnTo>
                      <a:pt x="28" y="6"/>
                    </a:lnTo>
                    <a:lnTo>
                      <a:pt x="42" y="6"/>
                    </a:lnTo>
                    <a:lnTo>
                      <a:pt x="50" y="18"/>
                    </a:lnTo>
                    <a:lnTo>
                      <a:pt x="50" y="26"/>
                    </a:lnTo>
                    <a:lnTo>
                      <a:pt x="50" y="32"/>
                    </a:lnTo>
                    <a:lnTo>
                      <a:pt x="42" y="46"/>
                    </a:lnTo>
                    <a:lnTo>
                      <a:pt x="50" y="54"/>
                    </a:lnTo>
                    <a:lnTo>
                      <a:pt x="42" y="60"/>
                    </a:lnTo>
                    <a:lnTo>
                      <a:pt x="42" y="60"/>
                    </a:lnTo>
                    <a:lnTo>
                      <a:pt x="42" y="6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9" name="Freeform 13"/>
              <p:cNvSpPr>
                <a:spLocks/>
              </p:cNvSpPr>
              <p:nvPr>
                <p:custDataLst>
                  <p:tags r:id="rId132"/>
                </p:custDataLst>
              </p:nvPr>
            </p:nvSpPr>
            <p:spPr bwMode="gray">
              <a:xfrm>
                <a:off x="5655963" y="484981"/>
                <a:ext cx="2697762" cy="3404356"/>
              </a:xfrm>
              <a:custGeom>
                <a:avLst/>
                <a:gdLst>
                  <a:gd name="T0" fmla="*/ 134 w 1699"/>
                  <a:gd name="T1" fmla="*/ 1276 h 2144"/>
                  <a:gd name="T2" fmla="*/ 253 w 1699"/>
                  <a:gd name="T3" fmla="*/ 1318 h 2144"/>
                  <a:gd name="T4" fmla="*/ 327 w 1699"/>
                  <a:gd name="T5" fmla="*/ 1434 h 2144"/>
                  <a:gd name="T6" fmla="*/ 321 w 1699"/>
                  <a:gd name="T7" fmla="*/ 1510 h 2144"/>
                  <a:gd name="T8" fmla="*/ 437 w 1699"/>
                  <a:gd name="T9" fmla="*/ 1544 h 2144"/>
                  <a:gd name="T10" fmla="*/ 533 w 1699"/>
                  <a:gd name="T11" fmla="*/ 1626 h 2144"/>
                  <a:gd name="T12" fmla="*/ 657 w 1699"/>
                  <a:gd name="T13" fmla="*/ 1666 h 2144"/>
                  <a:gd name="T14" fmla="*/ 768 w 1699"/>
                  <a:gd name="T15" fmla="*/ 1674 h 2144"/>
                  <a:gd name="T16" fmla="*/ 794 w 1699"/>
                  <a:gd name="T17" fmla="*/ 1762 h 2144"/>
                  <a:gd name="T18" fmla="*/ 768 w 1699"/>
                  <a:gd name="T19" fmla="*/ 1852 h 2144"/>
                  <a:gd name="T20" fmla="*/ 717 w 1699"/>
                  <a:gd name="T21" fmla="*/ 1926 h 2144"/>
                  <a:gd name="T22" fmla="*/ 717 w 1699"/>
                  <a:gd name="T23" fmla="*/ 1988 h 2144"/>
                  <a:gd name="T24" fmla="*/ 802 w 1699"/>
                  <a:gd name="T25" fmla="*/ 2062 h 2144"/>
                  <a:gd name="T26" fmla="*/ 952 w 1699"/>
                  <a:gd name="T27" fmla="*/ 2096 h 2144"/>
                  <a:gd name="T28" fmla="*/ 1122 w 1699"/>
                  <a:gd name="T29" fmla="*/ 2118 h 2144"/>
                  <a:gd name="T30" fmla="*/ 1226 w 1699"/>
                  <a:gd name="T31" fmla="*/ 2118 h 2144"/>
                  <a:gd name="T32" fmla="*/ 1383 w 1699"/>
                  <a:gd name="T33" fmla="*/ 2118 h 2144"/>
                  <a:gd name="T34" fmla="*/ 1274 w 1699"/>
                  <a:gd name="T35" fmla="*/ 1966 h 2144"/>
                  <a:gd name="T36" fmla="*/ 1232 w 1699"/>
                  <a:gd name="T37" fmla="*/ 1838 h 2144"/>
                  <a:gd name="T38" fmla="*/ 1266 w 1699"/>
                  <a:gd name="T39" fmla="*/ 1734 h 2144"/>
                  <a:gd name="T40" fmla="*/ 1130 w 1699"/>
                  <a:gd name="T41" fmla="*/ 1660 h 2144"/>
                  <a:gd name="T42" fmla="*/ 1122 w 1699"/>
                  <a:gd name="T43" fmla="*/ 1496 h 2144"/>
                  <a:gd name="T44" fmla="*/ 1190 w 1699"/>
                  <a:gd name="T45" fmla="*/ 1420 h 2144"/>
                  <a:gd name="T46" fmla="*/ 1308 w 1699"/>
                  <a:gd name="T47" fmla="*/ 1346 h 2144"/>
                  <a:gd name="T48" fmla="*/ 1411 w 1699"/>
                  <a:gd name="T49" fmla="*/ 1326 h 2144"/>
                  <a:gd name="T50" fmla="*/ 1535 w 1699"/>
                  <a:gd name="T51" fmla="*/ 1284 h 2144"/>
                  <a:gd name="T52" fmla="*/ 1649 w 1699"/>
                  <a:gd name="T53" fmla="*/ 1222 h 2144"/>
                  <a:gd name="T54" fmla="*/ 1581 w 1699"/>
                  <a:gd name="T55" fmla="*/ 1134 h 2144"/>
                  <a:gd name="T56" fmla="*/ 1487 w 1699"/>
                  <a:gd name="T57" fmla="*/ 1018 h 2144"/>
                  <a:gd name="T58" fmla="*/ 1391 w 1699"/>
                  <a:gd name="T59" fmla="*/ 992 h 2144"/>
                  <a:gd name="T60" fmla="*/ 1362 w 1699"/>
                  <a:gd name="T61" fmla="*/ 936 h 2144"/>
                  <a:gd name="T62" fmla="*/ 1300 w 1699"/>
                  <a:gd name="T63" fmla="*/ 794 h 2144"/>
                  <a:gd name="T64" fmla="*/ 1218 w 1699"/>
                  <a:gd name="T65" fmla="*/ 630 h 2144"/>
                  <a:gd name="T66" fmla="*/ 1102 w 1699"/>
                  <a:gd name="T67" fmla="*/ 458 h 2144"/>
                  <a:gd name="T68" fmla="*/ 1062 w 1699"/>
                  <a:gd name="T69" fmla="*/ 322 h 2144"/>
                  <a:gd name="T70" fmla="*/ 1068 w 1699"/>
                  <a:gd name="T71" fmla="*/ 62 h 2144"/>
                  <a:gd name="T72" fmla="*/ 966 w 1699"/>
                  <a:gd name="T73" fmla="*/ 36 h 2144"/>
                  <a:gd name="T74" fmla="*/ 864 w 1699"/>
                  <a:gd name="T75" fmla="*/ 68 h 2144"/>
                  <a:gd name="T76" fmla="*/ 822 w 1699"/>
                  <a:gd name="T77" fmla="*/ 124 h 2144"/>
                  <a:gd name="T78" fmla="*/ 733 w 1699"/>
                  <a:gd name="T79" fmla="*/ 240 h 2144"/>
                  <a:gd name="T80" fmla="*/ 697 w 1699"/>
                  <a:gd name="T81" fmla="*/ 212 h 2144"/>
                  <a:gd name="T82" fmla="*/ 635 w 1699"/>
                  <a:gd name="T83" fmla="*/ 322 h 2144"/>
                  <a:gd name="T84" fmla="*/ 533 w 1699"/>
                  <a:gd name="T85" fmla="*/ 348 h 2144"/>
                  <a:gd name="T86" fmla="*/ 471 w 1699"/>
                  <a:gd name="T87" fmla="*/ 302 h 2144"/>
                  <a:gd name="T88" fmla="*/ 539 w 1699"/>
                  <a:gd name="T89" fmla="*/ 410 h 2144"/>
                  <a:gd name="T90" fmla="*/ 505 w 1699"/>
                  <a:gd name="T91" fmla="*/ 458 h 2144"/>
                  <a:gd name="T92" fmla="*/ 465 w 1699"/>
                  <a:gd name="T93" fmla="*/ 582 h 2144"/>
                  <a:gd name="T94" fmla="*/ 443 w 1699"/>
                  <a:gd name="T95" fmla="*/ 622 h 2144"/>
                  <a:gd name="T96" fmla="*/ 389 w 1699"/>
                  <a:gd name="T97" fmla="*/ 636 h 2144"/>
                  <a:gd name="T98" fmla="*/ 287 w 1699"/>
                  <a:gd name="T99" fmla="*/ 642 h 2144"/>
                  <a:gd name="T100" fmla="*/ 225 w 1699"/>
                  <a:gd name="T101" fmla="*/ 540 h 2144"/>
                  <a:gd name="T102" fmla="*/ 185 w 1699"/>
                  <a:gd name="T103" fmla="*/ 480 h 2144"/>
                  <a:gd name="T104" fmla="*/ 327 w 1699"/>
                  <a:gd name="T105" fmla="*/ 506 h 2144"/>
                  <a:gd name="T106" fmla="*/ 437 w 1699"/>
                  <a:gd name="T107" fmla="*/ 466 h 2144"/>
                  <a:gd name="T108" fmla="*/ 349 w 1699"/>
                  <a:gd name="T109" fmla="*/ 362 h 2144"/>
                  <a:gd name="T110" fmla="*/ 151 w 1699"/>
                  <a:gd name="T111" fmla="*/ 322 h 2144"/>
                  <a:gd name="T112" fmla="*/ 14 w 1699"/>
                  <a:gd name="T113" fmla="*/ 366 h 2144"/>
                  <a:gd name="T114" fmla="*/ 88 w 1699"/>
                  <a:gd name="T115" fmla="*/ 614 h 2144"/>
                  <a:gd name="T116" fmla="*/ 185 w 1699"/>
                  <a:gd name="T117" fmla="*/ 792 h 2144"/>
                  <a:gd name="T118" fmla="*/ 134 w 1699"/>
                  <a:gd name="T119" fmla="*/ 984 h 2144"/>
                  <a:gd name="T120" fmla="*/ 134 w 1699"/>
                  <a:gd name="T121" fmla="*/ 1012 h 2144"/>
                  <a:gd name="T122" fmla="*/ 108 w 1699"/>
                  <a:gd name="T123" fmla="*/ 1106 h 2144"/>
                  <a:gd name="T124" fmla="*/ 100 w 1699"/>
                  <a:gd name="T125" fmla="*/ 1196 h 2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99" h="2144">
                    <a:moveTo>
                      <a:pt x="100" y="1196"/>
                    </a:moveTo>
                    <a:lnTo>
                      <a:pt x="100" y="1202"/>
                    </a:lnTo>
                    <a:lnTo>
                      <a:pt x="108" y="1202"/>
                    </a:lnTo>
                    <a:lnTo>
                      <a:pt x="108" y="1208"/>
                    </a:lnTo>
                    <a:lnTo>
                      <a:pt x="114" y="1202"/>
                    </a:lnTo>
                    <a:lnTo>
                      <a:pt x="122" y="1202"/>
                    </a:lnTo>
                    <a:lnTo>
                      <a:pt x="122" y="1216"/>
                    </a:lnTo>
                    <a:lnTo>
                      <a:pt x="122" y="1230"/>
                    </a:lnTo>
                    <a:lnTo>
                      <a:pt x="108" y="1230"/>
                    </a:lnTo>
                    <a:lnTo>
                      <a:pt x="114" y="1244"/>
                    </a:lnTo>
                    <a:lnTo>
                      <a:pt x="122" y="1244"/>
                    </a:lnTo>
                    <a:lnTo>
                      <a:pt x="128" y="1244"/>
                    </a:lnTo>
                    <a:lnTo>
                      <a:pt x="128" y="1250"/>
                    </a:lnTo>
                    <a:lnTo>
                      <a:pt x="134" y="1262"/>
                    </a:lnTo>
                    <a:lnTo>
                      <a:pt x="134" y="1276"/>
                    </a:lnTo>
                    <a:lnTo>
                      <a:pt x="143" y="1290"/>
                    </a:lnTo>
                    <a:lnTo>
                      <a:pt x="151" y="1290"/>
                    </a:lnTo>
                    <a:lnTo>
                      <a:pt x="157" y="1290"/>
                    </a:lnTo>
                    <a:lnTo>
                      <a:pt x="157" y="1298"/>
                    </a:lnTo>
                    <a:lnTo>
                      <a:pt x="171" y="1298"/>
                    </a:lnTo>
                    <a:lnTo>
                      <a:pt x="185" y="1298"/>
                    </a:lnTo>
                    <a:lnTo>
                      <a:pt x="197" y="1298"/>
                    </a:lnTo>
                    <a:lnTo>
                      <a:pt x="205" y="1304"/>
                    </a:lnTo>
                    <a:lnTo>
                      <a:pt x="205" y="1312"/>
                    </a:lnTo>
                    <a:lnTo>
                      <a:pt x="211" y="1312"/>
                    </a:lnTo>
                    <a:lnTo>
                      <a:pt x="225" y="1304"/>
                    </a:lnTo>
                    <a:lnTo>
                      <a:pt x="225" y="1298"/>
                    </a:lnTo>
                    <a:lnTo>
                      <a:pt x="233" y="1298"/>
                    </a:lnTo>
                    <a:lnTo>
                      <a:pt x="245" y="1304"/>
                    </a:lnTo>
                    <a:lnTo>
                      <a:pt x="253" y="1318"/>
                    </a:lnTo>
                    <a:lnTo>
                      <a:pt x="265" y="1318"/>
                    </a:lnTo>
                    <a:lnTo>
                      <a:pt x="265" y="1326"/>
                    </a:lnTo>
                    <a:lnTo>
                      <a:pt x="259" y="1332"/>
                    </a:lnTo>
                    <a:lnTo>
                      <a:pt x="259" y="1338"/>
                    </a:lnTo>
                    <a:lnTo>
                      <a:pt x="273" y="1360"/>
                    </a:lnTo>
                    <a:lnTo>
                      <a:pt x="281" y="1380"/>
                    </a:lnTo>
                    <a:lnTo>
                      <a:pt x="265" y="1386"/>
                    </a:lnTo>
                    <a:lnTo>
                      <a:pt x="287" y="1386"/>
                    </a:lnTo>
                    <a:lnTo>
                      <a:pt x="287" y="1394"/>
                    </a:lnTo>
                    <a:lnTo>
                      <a:pt x="287" y="1400"/>
                    </a:lnTo>
                    <a:lnTo>
                      <a:pt x="307" y="1406"/>
                    </a:lnTo>
                    <a:lnTo>
                      <a:pt x="315" y="1406"/>
                    </a:lnTo>
                    <a:lnTo>
                      <a:pt x="327" y="1414"/>
                    </a:lnTo>
                    <a:lnTo>
                      <a:pt x="327" y="1428"/>
                    </a:lnTo>
                    <a:lnTo>
                      <a:pt x="327" y="1434"/>
                    </a:lnTo>
                    <a:lnTo>
                      <a:pt x="341" y="1434"/>
                    </a:lnTo>
                    <a:lnTo>
                      <a:pt x="349" y="1434"/>
                    </a:lnTo>
                    <a:lnTo>
                      <a:pt x="361" y="1434"/>
                    </a:lnTo>
                    <a:lnTo>
                      <a:pt x="361" y="1448"/>
                    </a:lnTo>
                    <a:lnTo>
                      <a:pt x="375" y="1448"/>
                    </a:lnTo>
                    <a:lnTo>
                      <a:pt x="383" y="1462"/>
                    </a:lnTo>
                    <a:lnTo>
                      <a:pt x="375" y="1468"/>
                    </a:lnTo>
                    <a:lnTo>
                      <a:pt x="369" y="1476"/>
                    </a:lnTo>
                    <a:lnTo>
                      <a:pt x="361" y="1482"/>
                    </a:lnTo>
                    <a:lnTo>
                      <a:pt x="349" y="1490"/>
                    </a:lnTo>
                    <a:lnTo>
                      <a:pt x="341" y="1496"/>
                    </a:lnTo>
                    <a:lnTo>
                      <a:pt x="327" y="1490"/>
                    </a:lnTo>
                    <a:lnTo>
                      <a:pt x="321" y="1490"/>
                    </a:lnTo>
                    <a:lnTo>
                      <a:pt x="321" y="1496"/>
                    </a:lnTo>
                    <a:lnTo>
                      <a:pt x="321" y="1510"/>
                    </a:lnTo>
                    <a:lnTo>
                      <a:pt x="321" y="1516"/>
                    </a:lnTo>
                    <a:lnTo>
                      <a:pt x="327" y="1530"/>
                    </a:lnTo>
                    <a:lnTo>
                      <a:pt x="335" y="1544"/>
                    </a:lnTo>
                    <a:lnTo>
                      <a:pt x="335" y="1552"/>
                    </a:lnTo>
                    <a:lnTo>
                      <a:pt x="341" y="1558"/>
                    </a:lnTo>
                    <a:lnTo>
                      <a:pt x="355" y="1564"/>
                    </a:lnTo>
                    <a:lnTo>
                      <a:pt x="355" y="1558"/>
                    </a:lnTo>
                    <a:lnTo>
                      <a:pt x="369" y="1552"/>
                    </a:lnTo>
                    <a:lnTo>
                      <a:pt x="375" y="1558"/>
                    </a:lnTo>
                    <a:lnTo>
                      <a:pt x="389" y="1552"/>
                    </a:lnTo>
                    <a:lnTo>
                      <a:pt x="397" y="1552"/>
                    </a:lnTo>
                    <a:lnTo>
                      <a:pt x="403" y="1544"/>
                    </a:lnTo>
                    <a:lnTo>
                      <a:pt x="409" y="1544"/>
                    </a:lnTo>
                    <a:lnTo>
                      <a:pt x="423" y="1552"/>
                    </a:lnTo>
                    <a:lnTo>
                      <a:pt x="437" y="1544"/>
                    </a:lnTo>
                    <a:lnTo>
                      <a:pt x="443" y="1544"/>
                    </a:lnTo>
                    <a:lnTo>
                      <a:pt x="451" y="1552"/>
                    </a:lnTo>
                    <a:lnTo>
                      <a:pt x="459" y="1564"/>
                    </a:lnTo>
                    <a:lnTo>
                      <a:pt x="465" y="1570"/>
                    </a:lnTo>
                    <a:lnTo>
                      <a:pt x="465" y="1584"/>
                    </a:lnTo>
                    <a:lnTo>
                      <a:pt x="465" y="1598"/>
                    </a:lnTo>
                    <a:lnTo>
                      <a:pt x="465" y="1606"/>
                    </a:lnTo>
                    <a:lnTo>
                      <a:pt x="479" y="1606"/>
                    </a:lnTo>
                    <a:lnTo>
                      <a:pt x="499" y="1606"/>
                    </a:lnTo>
                    <a:lnTo>
                      <a:pt x="505" y="1598"/>
                    </a:lnTo>
                    <a:lnTo>
                      <a:pt x="511" y="1598"/>
                    </a:lnTo>
                    <a:lnTo>
                      <a:pt x="511" y="1606"/>
                    </a:lnTo>
                    <a:lnTo>
                      <a:pt x="521" y="1620"/>
                    </a:lnTo>
                    <a:lnTo>
                      <a:pt x="533" y="1620"/>
                    </a:lnTo>
                    <a:lnTo>
                      <a:pt x="533" y="1626"/>
                    </a:lnTo>
                    <a:lnTo>
                      <a:pt x="539" y="1646"/>
                    </a:lnTo>
                    <a:lnTo>
                      <a:pt x="539" y="1652"/>
                    </a:lnTo>
                    <a:lnTo>
                      <a:pt x="547" y="1652"/>
                    </a:lnTo>
                    <a:lnTo>
                      <a:pt x="561" y="1652"/>
                    </a:lnTo>
                    <a:lnTo>
                      <a:pt x="567" y="1652"/>
                    </a:lnTo>
                    <a:lnTo>
                      <a:pt x="573" y="1660"/>
                    </a:lnTo>
                    <a:lnTo>
                      <a:pt x="581" y="1652"/>
                    </a:lnTo>
                    <a:lnTo>
                      <a:pt x="587" y="1660"/>
                    </a:lnTo>
                    <a:lnTo>
                      <a:pt x="595" y="1660"/>
                    </a:lnTo>
                    <a:lnTo>
                      <a:pt x="601" y="1652"/>
                    </a:lnTo>
                    <a:lnTo>
                      <a:pt x="615" y="1640"/>
                    </a:lnTo>
                    <a:lnTo>
                      <a:pt x="629" y="1640"/>
                    </a:lnTo>
                    <a:lnTo>
                      <a:pt x="629" y="1646"/>
                    </a:lnTo>
                    <a:lnTo>
                      <a:pt x="635" y="1652"/>
                    </a:lnTo>
                    <a:lnTo>
                      <a:pt x="657" y="1666"/>
                    </a:lnTo>
                    <a:lnTo>
                      <a:pt x="671" y="1660"/>
                    </a:lnTo>
                    <a:lnTo>
                      <a:pt x="671" y="1652"/>
                    </a:lnTo>
                    <a:lnTo>
                      <a:pt x="677" y="1660"/>
                    </a:lnTo>
                    <a:lnTo>
                      <a:pt x="683" y="1666"/>
                    </a:lnTo>
                    <a:lnTo>
                      <a:pt x="697" y="1660"/>
                    </a:lnTo>
                    <a:lnTo>
                      <a:pt x="697" y="1666"/>
                    </a:lnTo>
                    <a:lnTo>
                      <a:pt x="711" y="1666"/>
                    </a:lnTo>
                    <a:lnTo>
                      <a:pt x="711" y="1660"/>
                    </a:lnTo>
                    <a:lnTo>
                      <a:pt x="725" y="1660"/>
                    </a:lnTo>
                    <a:lnTo>
                      <a:pt x="733" y="1660"/>
                    </a:lnTo>
                    <a:lnTo>
                      <a:pt x="733" y="1666"/>
                    </a:lnTo>
                    <a:lnTo>
                      <a:pt x="739" y="1674"/>
                    </a:lnTo>
                    <a:lnTo>
                      <a:pt x="739" y="1666"/>
                    </a:lnTo>
                    <a:lnTo>
                      <a:pt x="751" y="1666"/>
                    </a:lnTo>
                    <a:lnTo>
                      <a:pt x="768" y="1674"/>
                    </a:lnTo>
                    <a:lnTo>
                      <a:pt x="780" y="1674"/>
                    </a:lnTo>
                    <a:lnTo>
                      <a:pt x="788" y="1666"/>
                    </a:lnTo>
                    <a:lnTo>
                      <a:pt x="794" y="1666"/>
                    </a:lnTo>
                    <a:lnTo>
                      <a:pt x="794" y="1688"/>
                    </a:lnTo>
                    <a:lnTo>
                      <a:pt x="788" y="1694"/>
                    </a:lnTo>
                    <a:lnTo>
                      <a:pt x="774" y="1700"/>
                    </a:lnTo>
                    <a:lnTo>
                      <a:pt x="768" y="1708"/>
                    </a:lnTo>
                    <a:lnTo>
                      <a:pt x="774" y="1714"/>
                    </a:lnTo>
                    <a:lnTo>
                      <a:pt x="788" y="1714"/>
                    </a:lnTo>
                    <a:lnTo>
                      <a:pt x="788" y="1720"/>
                    </a:lnTo>
                    <a:lnTo>
                      <a:pt x="780" y="1728"/>
                    </a:lnTo>
                    <a:lnTo>
                      <a:pt x="774" y="1734"/>
                    </a:lnTo>
                    <a:lnTo>
                      <a:pt x="774" y="1740"/>
                    </a:lnTo>
                    <a:lnTo>
                      <a:pt x="780" y="1740"/>
                    </a:lnTo>
                    <a:lnTo>
                      <a:pt x="794" y="1762"/>
                    </a:lnTo>
                    <a:lnTo>
                      <a:pt x="794" y="1782"/>
                    </a:lnTo>
                    <a:lnTo>
                      <a:pt x="788" y="1804"/>
                    </a:lnTo>
                    <a:lnTo>
                      <a:pt x="774" y="1804"/>
                    </a:lnTo>
                    <a:lnTo>
                      <a:pt x="751" y="1804"/>
                    </a:lnTo>
                    <a:lnTo>
                      <a:pt x="745" y="1810"/>
                    </a:lnTo>
                    <a:lnTo>
                      <a:pt x="739" y="1830"/>
                    </a:lnTo>
                    <a:lnTo>
                      <a:pt x="717" y="1838"/>
                    </a:lnTo>
                    <a:lnTo>
                      <a:pt x="717" y="1870"/>
                    </a:lnTo>
                    <a:lnTo>
                      <a:pt x="725" y="1864"/>
                    </a:lnTo>
                    <a:lnTo>
                      <a:pt x="733" y="1864"/>
                    </a:lnTo>
                    <a:lnTo>
                      <a:pt x="739" y="1858"/>
                    </a:lnTo>
                    <a:lnTo>
                      <a:pt x="739" y="1870"/>
                    </a:lnTo>
                    <a:lnTo>
                      <a:pt x="745" y="1870"/>
                    </a:lnTo>
                    <a:lnTo>
                      <a:pt x="760" y="1858"/>
                    </a:lnTo>
                    <a:lnTo>
                      <a:pt x="768" y="1852"/>
                    </a:lnTo>
                    <a:lnTo>
                      <a:pt x="780" y="1852"/>
                    </a:lnTo>
                    <a:lnTo>
                      <a:pt x="780" y="1864"/>
                    </a:lnTo>
                    <a:lnTo>
                      <a:pt x="780" y="1870"/>
                    </a:lnTo>
                    <a:lnTo>
                      <a:pt x="768" y="1878"/>
                    </a:lnTo>
                    <a:lnTo>
                      <a:pt x="751" y="1884"/>
                    </a:lnTo>
                    <a:lnTo>
                      <a:pt x="745" y="1892"/>
                    </a:lnTo>
                    <a:lnTo>
                      <a:pt x="751" y="1898"/>
                    </a:lnTo>
                    <a:lnTo>
                      <a:pt x="760" y="1906"/>
                    </a:lnTo>
                    <a:lnTo>
                      <a:pt x="745" y="1912"/>
                    </a:lnTo>
                    <a:lnTo>
                      <a:pt x="733" y="1906"/>
                    </a:lnTo>
                    <a:lnTo>
                      <a:pt x="725" y="1906"/>
                    </a:lnTo>
                    <a:lnTo>
                      <a:pt x="717" y="1912"/>
                    </a:lnTo>
                    <a:lnTo>
                      <a:pt x="711" y="1912"/>
                    </a:lnTo>
                    <a:lnTo>
                      <a:pt x="711" y="1918"/>
                    </a:lnTo>
                    <a:lnTo>
                      <a:pt x="717" y="1926"/>
                    </a:lnTo>
                    <a:lnTo>
                      <a:pt x="739" y="1926"/>
                    </a:lnTo>
                    <a:lnTo>
                      <a:pt x="745" y="1932"/>
                    </a:lnTo>
                    <a:lnTo>
                      <a:pt x="745" y="1940"/>
                    </a:lnTo>
                    <a:lnTo>
                      <a:pt x="768" y="1946"/>
                    </a:lnTo>
                    <a:lnTo>
                      <a:pt x="760" y="1946"/>
                    </a:lnTo>
                    <a:lnTo>
                      <a:pt x="751" y="1954"/>
                    </a:lnTo>
                    <a:lnTo>
                      <a:pt x="745" y="1946"/>
                    </a:lnTo>
                    <a:lnTo>
                      <a:pt x="745" y="1960"/>
                    </a:lnTo>
                    <a:lnTo>
                      <a:pt x="751" y="1966"/>
                    </a:lnTo>
                    <a:lnTo>
                      <a:pt x="745" y="1974"/>
                    </a:lnTo>
                    <a:lnTo>
                      <a:pt x="739" y="1966"/>
                    </a:lnTo>
                    <a:lnTo>
                      <a:pt x="733" y="1960"/>
                    </a:lnTo>
                    <a:lnTo>
                      <a:pt x="725" y="1966"/>
                    </a:lnTo>
                    <a:lnTo>
                      <a:pt x="725" y="1980"/>
                    </a:lnTo>
                    <a:lnTo>
                      <a:pt x="717" y="1988"/>
                    </a:lnTo>
                    <a:lnTo>
                      <a:pt x="725" y="1994"/>
                    </a:lnTo>
                    <a:lnTo>
                      <a:pt x="725" y="2008"/>
                    </a:lnTo>
                    <a:lnTo>
                      <a:pt x="711" y="2008"/>
                    </a:lnTo>
                    <a:lnTo>
                      <a:pt x="705" y="2028"/>
                    </a:lnTo>
                    <a:lnTo>
                      <a:pt x="705" y="2034"/>
                    </a:lnTo>
                    <a:lnTo>
                      <a:pt x="717" y="2042"/>
                    </a:lnTo>
                    <a:lnTo>
                      <a:pt x="733" y="2048"/>
                    </a:lnTo>
                    <a:lnTo>
                      <a:pt x="739" y="2048"/>
                    </a:lnTo>
                    <a:lnTo>
                      <a:pt x="751" y="2048"/>
                    </a:lnTo>
                    <a:lnTo>
                      <a:pt x="760" y="2056"/>
                    </a:lnTo>
                    <a:lnTo>
                      <a:pt x="760" y="2062"/>
                    </a:lnTo>
                    <a:lnTo>
                      <a:pt x="774" y="2062"/>
                    </a:lnTo>
                    <a:lnTo>
                      <a:pt x="780" y="2056"/>
                    </a:lnTo>
                    <a:lnTo>
                      <a:pt x="788" y="2062"/>
                    </a:lnTo>
                    <a:lnTo>
                      <a:pt x="802" y="2062"/>
                    </a:lnTo>
                    <a:lnTo>
                      <a:pt x="802" y="2070"/>
                    </a:lnTo>
                    <a:lnTo>
                      <a:pt x="816" y="2076"/>
                    </a:lnTo>
                    <a:lnTo>
                      <a:pt x="828" y="2076"/>
                    </a:lnTo>
                    <a:lnTo>
                      <a:pt x="836" y="2082"/>
                    </a:lnTo>
                    <a:lnTo>
                      <a:pt x="842" y="2090"/>
                    </a:lnTo>
                    <a:lnTo>
                      <a:pt x="856" y="2090"/>
                    </a:lnTo>
                    <a:lnTo>
                      <a:pt x="876" y="2118"/>
                    </a:lnTo>
                    <a:lnTo>
                      <a:pt x="884" y="2104"/>
                    </a:lnTo>
                    <a:lnTo>
                      <a:pt x="890" y="2104"/>
                    </a:lnTo>
                    <a:lnTo>
                      <a:pt x="904" y="2104"/>
                    </a:lnTo>
                    <a:lnTo>
                      <a:pt x="910" y="2096"/>
                    </a:lnTo>
                    <a:lnTo>
                      <a:pt x="918" y="2082"/>
                    </a:lnTo>
                    <a:lnTo>
                      <a:pt x="932" y="2090"/>
                    </a:lnTo>
                    <a:lnTo>
                      <a:pt x="944" y="2096"/>
                    </a:lnTo>
                    <a:lnTo>
                      <a:pt x="952" y="2096"/>
                    </a:lnTo>
                    <a:lnTo>
                      <a:pt x="980" y="2096"/>
                    </a:lnTo>
                    <a:lnTo>
                      <a:pt x="986" y="2104"/>
                    </a:lnTo>
                    <a:lnTo>
                      <a:pt x="994" y="2104"/>
                    </a:lnTo>
                    <a:lnTo>
                      <a:pt x="1006" y="2104"/>
                    </a:lnTo>
                    <a:lnTo>
                      <a:pt x="1020" y="2104"/>
                    </a:lnTo>
                    <a:lnTo>
                      <a:pt x="1040" y="2096"/>
                    </a:lnTo>
                    <a:lnTo>
                      <a:pt x="1046" y="2096"/>
                    </a:lnTo>
                    <a:lnTo>
                      <a:pt x="1054" y="2104"/>
                    </a:lnTo>
                    <a:lnTo>
                      <a:pt x="1074" y="2104"/>
                    </a:lnTo>
                    <a:lnTo>
                      <a:pt x="1088" y="2104"/>
                    </a:lnTo>
                    <a:lnTo>
                      <a:pt x="1096" y="2104"/>
                    </a:lnTo>
                    <a:lnTo>
                      <a:pt x="1102" y="2110"/>
                    </a:lnTo>
                    <a:lnTo>
                      <a:pt x="1096" y="2118"/>
                    </a:lnTo>
                    <a:lnTo>
                      <a:pt x="1110" y="2118"/>
                    </a:lnTo>
                    <a:lnTo>
                      <a:pt x="1122" y="2118"/>
                    </a:lnTo>
                    <a:lnTo>
                      <a:pt x="1130" y="2110"/>
                    </a:lnTo>
                    <a:lnTo>
                      <a:pt x="1142" y="2104"/>
                    </a:lnTo>
                    <a:lnTo>
                      <a:pt x="1158" y="2110"/>
                    </a:lnTo>
                    <a:lnTo>
                      <a:pt x="1164" y="2110"/>
                    </a:lnTo>
                    <a:lnTo>
                      <a:pt x="1170" y="2104"/>
                    </a:lnTo>
                    <a:lnTo>
                      <a:pt x="1170" y="2096"/>
                    </a:lnTo>
                    <a:lnTo>
                      <a:pt x="1178" y="2096"/>
                    </a:lnTo>
                    <a:lnTo>
                      <a:pt x="1184" y="2096"/>
                    </a:lnTo>
                    <a:lnTo>
                      <a:pt x="1184" y="2110"/>
                    </a:lnTo>
                    <a:lnTo>
                      <a:pt x="1198" y="2104"/>
                    </a:lnTo>
                    <a:lnTo>
                      <a:pt x="1198" y="2096"/>
                    </a:lnTo>
                    <a:lnTo>
                      <a:pt x="1212" y="2096"/>
                    </a:lnTo>
                    <a:lnTo>
                      <a:pt x="1226" y="2104"/>
                    </a:lnTo>
                    <a:lnTo>
                      <a:pt x="1226" y="2110"/>
                    </a:lnTo>
                    <a:lnTo>
                      <a:pt x="1226" y="2118"/>
                    </a:lnTo>
                    <a:lnTo>
                      <a:pt x="1232" y="2124"/>
                    </a:lnTo>
                    <a:lnTo>
                      <a:pt x="1246" y="2118"/>
                    </a:lnTo>
                    <a:lnTo>
                      <a:pt x="1252" y="2118"/>
                    </a:lnTo>
                    <a:lnTo>
                      <a:pt x="1274" y="2124"/>
                    </a:lnTo>
                    <a:lnTo>
                      <a:pt x="1294" y="2124"/>
                    </a:lnTo>
                    <a:lnTo>
                      <a:pt x="1300" y="2124"/>
                    </a:lnTo>
                    <a:lnTo>
                      <a:pt x="1314" y="2138"/>
                    </a:lnTo>
                    <a:lnTo>
                      <a:pt x="1328" y="2144"/>
                    </a:lnTo>
                    <a:lnTo>
                      <a:pt x="1342" y="2144"/>
                    </a:lnTo>
                    <a:lnTo>
                      <a:pt x="1348" y="2144"/>
                    </a:lnTo>
                    <a:lnTo>
                      <a:pt x="1362" y="2138"/>
                    </a:lnTo>
                    <a:lnTo>
                      <a:pt x="1370" y="2124"/>
                    </a:lnTo>
                    <a:lnTo>
                      <a:pt x="1362" y="2118"/>
                    </a:lnTo>
                    <a:lnTo>
                      <a:pt x="1377" y="2118"/>
                    </a:lnTo>
                    <a:lnTo>
                      <a:pt x="1383" y="2118"/>
                    </a:lnTo>
                    <a:lnTo>
                      <a:pt x="1383" y="2104"/>
                    </a:lnTo>
                    <a:lnTo>
                      <a:pt x="1391" y="2090"/>
                    </a:lnTo>
                    <a:lnTo>
                      <a:pt x="1383" y="2090"/>
                    </a:lnTo>
                    <a:lnTo>
                      <a:pt x="1370" y="2082"/>
                    </a:lnTo>
                    <a:lnTo>
                      <a:pt x="1356" y="2076"/>
                    </a:lnTo>
                    <a:lnTo>
                      <a:pt x="1348" y="2070"/>
                    </a:lnTo>
                    <a:lnTo>
                      <a:pt x="1328" y="2056"/>
                    </a:lnTo>
                    <a:lnTo>
                      <a:pt x="1314" y="2048"/>
                    </a:lnTo>
                    <a:lnTo>
                      <a:pt x="1300" y="2034"/>
                    </a:lnTo>
                    <a:lnTo>
                      <a:pt x="1300" y="2008"/>
                    </a:lnTo>
                    <a:lnTo>
                      <a:pt x="1294" y="2002"/>
                    </a:lnTo>
                    <a:lnTo>
                      <a:pt x="1286" y="1994"/>
                    </a:lnTo>
                    <a:lnTo>
                      <a:pt x="1286" y="1980"/>
                    </a:lnTo>
                    <a:lnTo>
                      <a:pt x="1280" y="1966"/>
                    </a:lnTo>
                    <a:lnTo>
                      <a:pt x="1274" y="1966"/>
                    </a:lnTo>
                    <a:lnTo>
                      <a:pt x="1274" y="1960"/>
                    </a:lnTo>
                    <a:lnTo>
                      <a:pt x="1260" y="1954"/>
                    </a:lnTo>
                    <a:lnTo>
                      <a:pt x="1240" y="1940"/>
                    </a:lnTo>
                    <a:lnTo>
                      <a:pt x="1240" y="1946"/>
                    </a:lnTo>
                    <a:lnTo>
                      <a:pt x="1232" y="1954"/>
                    </a:lnTo>
                    <a:lnTo>
                      <a:pt x="1226" y="1946"/>
                    </a:lnTo>
                    <a:lnTo>
                      <a:pt x="1212" y="1940"/>
                    </a:lnTo>
                    <a:lnTo>
                      <a:pt x="1218" y="1912"/>
                    </a:lnTo>
                    <a:lnTo>
                      <a:pt x="1218" y="1906"/>
                    </a:lnTo>
                    <a:lnTo>
                      <a:pt x="1226" y="1898"/>
                    </a:lnTo>
                    <a:lnTo>
                      <a:pt x="1226" y="1884"/>
                    </a:lnTo>
                    <a:lnTo>
                      <a:pt x="1232" y="1878"/>
                    </a:lnTo>
                    <a:lnTo>
                      <a:pt x="1226" y="1870"/>
                    </a:lnTo>
                    <a:lnTo>
                      <a:pt x="1226" y="1852"/>
                    </a:lnTo>
                    <a:lnTo>
                      <a:pt x="1232" y="1838"/>
                    </a:lnTo>
                    <a:lnTo>
                      <a:pt x="1232" y="1824"/>
                    </a:lnTo>
                    <a:lnTo>
                      <a:pt x="1240" y="1824"/>
                    </a:lnTo>
                    <a:lnTo>
                      <a:pt x="1246" y="1830"/>
                    </a:lnTo>
                    <a:lnTo>
                      <a:pt x="1260" y="1816"/>
                    </a:lnTo>
                    <a:lnTo>
                      <a:pt x="1266" y="1810"/>
                    </a:lnTo>
                    <a:lnTo>
                      <a:pt x="1274" y="1804"/>
                    </a:lnTo>
                    <a:lnTo>
                      <a:pt x="1280" y="1790"/>
                    </a:lnTo>
                    <a:lnTo>
                      <a:pt x="1286" y="1796"/>
                    </a:lnTo>
                    <a:lnTo>
                      <a:pt x="1294" y="1782"/>
                    </a:lnTo>
                    <a:lnTo>
                      <a:pt x="1286" y="1762"/>
                    </a:lnTo>
                    <a:lnTo>
                      <a:pt x="1274" y="1762"/>
                    </a:lnTo>
                    <a:lnTo>
                      <a:pt x="1266" y="1762"/>
                    </a:lnTo>
                    <a:lnTo>
                      <a:pt x="1252" y="1756"/>
                    </a:lnTo>
                    <a:lnTo>
                      <a:pt x="1260" y="1740"/>
                    </a:lnTo>
                    <a:lnTo>
                      <a:pt x="1266" y="1734"/>
                    </a:lnTo>
                    <a:lnTo>
                      <a:pt x="1274" y="1734"/>
                    </a:lnTo>
                    <a:lnTo>
                      <a:pt x="1266" y="1728"/>
                    </a:lnTo>
                    <a:lnTo>
                      <a:pt x="1246" y="1714"/>
                    </a:lnTo>
                    <a:lnTo>
                      <a:pt x="1218" y="1694"/>
                    </a:lnTo>
                    <a:lnTo>
                      <a:pt x="1206" y="1680"/>
                    </a:lnTo>
                    <a:lnTo>
                      <a:pt x="1198" y="1688"/>
                    </a:lnTo>
                    <a:lnTo>
                      <a:pt x="1184" y="1688"/>
                    </a:lnTo>
                    <a:lnTo>
                      <a:pt x="1184" y="1694"/>
                    </a:lnTo>
                    <a:lnTo>
                      <a:pt x="1178" y="1700"/>
                    </a:lnTo>
                    <a:lnTo>
                      <a:pt x="1164" y="1694"/>
                    </a:lnTo>
                    <a:lnTo>
                      <a:pt x="1158" y="1688"/>
                    </a:lnTo>
                    <a:lnTo>
                      <a:pt x="1158" y="1674"/>
                    </a:lnTo>
                    <a:lnTo>
                      <a:pt x="1158" y="1666"/>
                    </a:lnTo>
                    <a:lnTo>
                      <a:pt x="1142" y="1660"/>
                    </a:lnTo>
                    <a:lnTo>
                      <a:pt x="1130" y="1660"/>
                    </a:lnTo>
                    <a:lnTo>
                      <a:pt x="1122" y="1666"/>
                    </a:lnTo>
                    <a:lnTo>
                      <a:pt x="1122" y="1646"/>
                    </a:lnTo>
                    <a:lnTo>
                      <a:pt x="1122" y="1632"/>
                    </a:lnTo>
                    <a:lnTo>
                      <a:pt x="1136" y="1612"/>
                    </a:lnTo>
                    <a:lnTo>
                      <a:pt x="1116" y="1606"/>
                    </a:lnTo>
                    <a:lnTo>
                      <a:pt x="1110" y="1598"/>
                    </a:lnTo>
                    <a:lnTo>
                      <a:pt x="1116" y="1590"/>
                    </a:lnTo>
                    <a:lnTo>
                      <a:pt x="1116" y="1570"/>
                    </a:lnTo>
                    <a:lnTo>
                      <a:pt x="1110" y="1564"/>
                    </a:lnTo>
                    <a:lnTo>
                      <a:pt x="1102" y="1552"/>
                    </a:lnTo>
                    <a:lnTo>
                      <a:pt x="1110" y="1538"/>
                    </a:lnTo>
                    <a:lnTo>
                      <a:pt x="1116" y="1538"/>
                    </a:lnTo>
                    <a:lnTo>
                      <a:pt x="1116" y="1516"/>
                    </a:lnTo>
                    <a:lnTo>
                      <a:pt x="1110" y="1516"/>
                    </a:lnTo>
                    <a:lnTo>
                      <a:pt x="1122" y="1496"/>
                    </a:lnTo>
                    <a:lnTo>
                      <a:pt x="1136" y="1504"/>
                    </a:lnTo>
                    <a:lnTo>
                      <a:pt x="1142" y="1516"/>
                    </a:lnTo>
                    <a:lnTo>
                      <a:pt x="1158" y="1524"/>
                    </a:lnTo>
                    <a:lnTo>
                      <a:pt x="1164" y="1530"/>
                    </a:lnTo>
                    <a:lnTo>
                      <a:pt x="1178" y="1516"/>
                    </a:lnTo>
                    <a:lnTo>
                      <a:pt x="1178" y="1510"/>
                    </a:lnTo>
                    <a:lnTo>
                      <a:pt x="1170" y="1496"/>
                    </a:lnTo>
                    <a:lnTo>
                      <a:pt x="1164" y="1476"/>
                    </a:lnTo>
                    <a:lnTo>
                      <a:pt x="1150" y="1468"/>
                    </a:lnTo>
                    <a:lnTo>
                      <a:pt x="1164" y="1462"/>
                    </a:lnTo>
                    <a:lnTo>
                      <a:pt x="1178" y="1462"/>
                    </a:lnTo>
                    <a:lnTo>
                      <a:pt x="1178" y="1454"/>
                    </a:lnTo>
                    <a:lnTo>
                      <a:pt x="1178" y="1448"/>
                    </a:lnTo>
                    <a:lnTo>
                      <a:pt x="1178" y="1420"/>
                    </a:lnTo>
                    <a:lnTo>
                      <a:pt x="1190" y="1420"/>
                    </a:lnTo>
                    <a:lnTo>
                      <a:pt x="1198" y="1414"/>
                    </a:lnTo>
                    <a:lnTo>
                      <a:pt x="1206" y="1400"/>
                    </a:lnTo>
                    <a:lnTo>
                      <a:pt x="1218" y="1386"/>
                    </a:lnTo>
                    <a:lnTo>
                      <a:pt x="1226" y="1374"/>
                    </a:lnTo>
                    <a:lnTo>
                      <a:pt x="1226" y="1366"/>
                    </a:lnTo>
                    <a:lnTo>
                      <a:pt x="1226" y="1360"/>
                    </a:lnTo>
                    <a:lnTo>
                      <a:pt x="1232" y="1360"/>
                    </a:lnTo>
                    <a:lnTo>
                      <a:pt x="1240" y="1366"/>
                    </a:lnTo>
                    <a:lnTo>
                      <a:pt x="1246" y="1374"/>
                    </a:lnTo>
                    <a:lnTo>
                      <a:pt x="1260" y="1366"/>
                    </a:lnTo>
                    <a:lnTo>
                      <a:pt x="1266" y="1352"/>
                    </a:lnTo>
                    <a:lnTo>
                      <a:pt x="1274" y="1338"/>
                    </a:lnTo>
                    <a:lnTo>
                      <a:pt x="1286" y="1332"/>
                    </a:lnTo>
                    <a:lnTo>
                      <a:pt x="1294" y="1332"/>
                    </a:lnTo>
                    <a:lnTo>
                      <a:pt x="1308" y="1346"/>
                    </a:lnTo>
                    <a:lnTo>
                      <a:pt x="1308" y="1338"/>
                    </a:lnTo>
                    <a:lnTo>
                      <a:pt x="1314" y="1326"/>
                    </a:lnTo>
                    <a:lnTo>
                      <a:pt x="1322" y="1326"/>
                    </a:lnTo>
                    <a:lnTo>
                      <a:pt x="1334" y="1326"/>
                    </a:lnTo>
                    <a:lnTo>
                      <a:pt x="1342" y="1332"/>
                    </a:lnTo>
                    <a:lnTo>
                      <a:pt x="1356" y="1338"/>
                    </a:lnTo>
                    <a:lnTo>
                      <a:pt x="1377" y="1338"/>
                    </a:lnTo>
                    <a:lnTo>
                      <a:pt x="1383" y="1346"/>
                    </a:lnTo>
                    <a:lnTo>
                      <a:pt x="1397" y="1346"/>
                    </a:lnTo>
                    <a:lnTo>
                      <a:pt x="1405" y="1346"/>
                    </a:lnTo>
                    <a:lnTo>
                      <a:pt x="1411" y="1352"/>
                    </a:lnTo>
                    <a:lnTo>
                      <a:pt x="1411" y="1338"/>
                    </a:lnTo>
                    <a:lnTo>
                      <a:pt x="1405" y="1332"/>
                    </a:lnTo>
                    <a:lnTo>
                      <a:pt x="1405" y="1326"/>
                    </a:lnTo>
                    <a:lnTo>
                      <a:pt x="1411" y="1326"/>
                    </a:lnTo>
                    <a:lnTo>
                      <a:pt x="1445" y="1332"/>
                    </a:lnTo>
                    <a:lnTo>
                      <a:pt x="1467" y="1338"/>
                    </a:lnTo>
                    <a:lnTo>
                      <a:pt x="1473" y="1326"/>
                    </a:lnTo>
                    <a:lnTo>
                      <a:pt x="1473" y="1318"/>
                    </a:lnTo>
                    <a:lnTo>
                      <a:pt x="1473" y="1312"/>
                    </a:lnTo>
                    <a:lnTo>
                      <a:pt x="1479" y="1312"/>
                    </a:lnTo>
                    <a:lnTo>
                      <a:pt x="1479" y="1304"/>
                    </a:lnTo>
                    <a:lnTo>
                      <a:pt x="1473" y="1298"/>
                    </a:lnTo>
                    <a:lnTo>
                      <a:pt x="1487" y="1298"/>
                    </a:lnTo>
                    <a:lnTo>
                      <a:pt x="1501" y="1298"/>
                    </a:lnTo>
                    <a:lnTo>
                      <a:pt x="1493" y="1284"/>
                    </a:lnTo>
                    <a:lnTo>
                      <a:pt x="1501" y="1284"/>
                    </a:lnTo>
                    <a:lnTo>
                      <a:pt x="1507" y="1276"/>
                    </a:lnTo>
                    <a:lnTo>
                      <a:pt x="1521" y="1284"/>
                    </a:lnTo>
                    <a:lnTo>
                      <a:pt x="1535" y="1284"/>
                    </a:lnTo>
                    <a:lnTo>
                      <a:pt x="1535" y="1270"/>
                    </a:lnTo>
                    <a:lnTo>
                      <a:pt x="1547" y="1270"/>
                    </a:lnTo>
                    <a:lnTo>
                      <a:pt x="1541" y="1256"/>
                    </a:lnTo>
                    <a:lnTo>
                      <a:pt x="1547" y="1250"/>
                    </a:lnTo>
                    <a:lnTo>
                      <a:pt x="1555" y="1244"/>
                    </a:lnTo>
                    <a:lnTo>
                      <a:pt x="1569" y="1236"/>
                    </a:lnTo>
                    <a:lnTo>
                      <a:pt x="1575" y="1244"/>
                    </a:lnTo>
                    <a:lnTo>
                      <a:pt x="1581" y="1256"/>
                    </a:lnTo>
                    <a:lnTo>
                      <a:pt x="1595" y="1256"/>
                    </a:lnTo>
                    <a:lnTo>
                      <a:pt x="1623" y="1250"/>
                    </a:lnTo>
                    <a:lnTo>
                      <a:pt x="1629" y="1250"/>
                    </a:lnTo>
                    <a:lnTo>
                      <a:pt x="1637" y="1250"/>
                    </a:lnTo>
                    <a:lnTo>
                      <a:pt x="1637" y="1244"/>
                    </a:lnTo>
                    <a:lnTo>
                      <a:pt x="1637" y="1230"/>
                    </a:lnTo>
                    <a:lnTo>
                      <a:pt x="1649" y="1222"/>
                    </a:lnTo>
                    <a:lnTo>
                      <a:pt x="1671" y="1216"/>
                    </a:lnTo>
                    <a:lnTo>
                      <a:pt x="1691" y="1196"/>
                    </a:lnTo>
                    <a:lnTo>
                      <a:pt x="1699" y="1190"/>
                    </a:lnTo>
                    <a:lnTo>
                      <a:pt x="1699" y="1174"/>
                    </a:lnTo>
                    <a:lnTo>
                      <a:pt x="1691" y="1162"/>
                    </a:lnTo>
                    <a:lnTo>
                      <a:pt x="1677" y="1148"/>
                    </a:lnTo>
                    <a:lnTo>
                      <a:pt x="1671" y="1148"/>
                    </a:lnTo>
                    <a:lnTo>
                      <a:pt x="1665" y="1154"/>
                    </a:lnTo>
                    <a:lnTo>
                      <a:pt x="1649" y="1162"/>
                    </a:lnTo>
                    <a:lnTo>
                      <a:pt x="1629" y="1162"/>
                    </a:lnTo>
                    <a:lnTo>
                      <a:pt x="1617" y="1162"/>
                    </a:lnTo>
                    <a:lnTo>
                      <a:pt x="1609" y="1162"/>
                    </a:lnTo>
                    <a:lnTo>
                      <a:pt x="1589" y="1154"/>
                    </a:lnTo>
                    <a:lnTo>
                      <a:pt x="1589" y="1148"/>
                    </a:lnTo>
                    <a:lnTo>
                      <a:pt x="1581" y="1134"/>
                    </a:lnTo>
                    <a:lnTo>
                      <a:pt x="1575" y="1134"/>
                    </a:lnTo>
                    <a:lnTo>
                      <a:pt x="1569" y="1134"/>
                    </a:lnTo>
                    <a:lnTo>
                      <a:pt x="1555" y="1148"/>
                    </a:lnTo>
                    <a:lnTo>
                      <a:pt x="1547" y="1154"/>
                    </a:lnTo>
                    <a:lnTo>
                      <a:pt x="1535" y="1154"/>
                    </a:lnTo>
                    <a:lnTo>
                      <a:pt x="1521" y="1142"/>
                    </a:lnTo>
                    <a:lnTo>
                      <a:pt x="1507" y="1120"/>
                    </a:lnTo>
                    <a:lnTo>
                      <a:pt x="1507" y="1106"/>
                    </a:lnTo>
                    <a:lnTo>
                      <a:pt x="1507" y="1100"/>
                    </a:lnTo>
                    <a:lnTo>
                      <a:pt x="1501" y="1094"/>
                    </a:lnTo>
                    <a:lnTo>
                      <a:pt x="1493" y="1086"/>
                    </a:lnTo>
                    <a:lnTo>
                      <a:pt x="1493" y="1080"/>
                    </a:lnTo>
                    <a:lnTo>
                      <a:pt x="1479" y="1066"/>
                    </a:lnTo>
                    <a:lnTo>
                      <a:pt x="1479" y="1038"/>
                    </a:lnTo>
                    <a:lnTo>
                      <a:pt x="1487" y="1018"/>
                    </a:lnTo>
                    <a:lnTo>
                      <a:pt x="1479" y="1012"/>
                    </a:lnTo>
                    <a:lnTo>
                      <a:pt x="1467" y="1004"/>
                    </a:lnTo>
                    <a:lnTo>
                      <a:pt x="1467" y="984"/>
                    </a:lnTo>
                    <a:lnTo>
                      <a:pt x="1467" y="970"/>
                    </a:lnTo>
                    <a:lnTo>
                      <a:pt x="1459" y="976"/>
                    </a:lnTo>
                    <a:lnTo>
                      <a:pt x="1459" y="984"/>
                    </a:lnTo>
                    <a:lnTo>
                      <a:pt x="1445" y="1012"/>
                    </a:lnTo>
                    <a:lnTo>
                      <a:pt x="1431" y="1032"/>
                    </a:lnTo>
                    <a:lnTo>
                      <a:pt x="1411" y="1038"/>
                    </a:lnTo>
                    <a:lnTo>
                      <a:pt x="1391" y="1046"/>
                    </a:lnTo>
                    <a:lnTo>
                      <a:pt x="1377" y="1052"/>
                    </a:lnTo>
                    <a:lnTo>
                      <a:pt x="1356" y="1024"/>
                    </a:lnTo>
                    <a:lnTo>
                      <a:pt x="1356" y="1004"/>
                    </a:lnTo>
                    <a:lnTo>
                      <a:pt x="1370" y="998"/>
                    </a:lnTo>
                    <a:lnTo>
                      <a:pt x="1391" y="992"/>
                    </a:lnTo>
                    <a:lnTo>
                      <a:pt x="1397" y="998"/>
                    </a:lnTo>
                    <a:lnTo>
                      <a:pt x="1405" y="1004"/>
                    </a:lnTo>
                    <a:lnTo>
                      <a:pt x="1411" y="998"/>
                    </a:lnTo>
                    <a:lnTo>
                      <a:pt x="1411" y="984"/>
                    </a:lnTo>
                    <a:lnTo>
                      <a:pt x="1411" y="976"/>
                    </a:lnTo>
                    <a:lnTo>
                      <a:pt x="1419" y="962"/>
                    </a:lnTo>
                    <a:lnTo>
                      <a:pt x="1425" y="950"/>
                    </a:lnTo>
                    <a:lnTo>
                      <a:pt x="1419" y="936"/>
                    </a:lnTo>
                    <a:lnTo>
                      <a:pt x="1405" y="930"/>
                    </a:lnTo>
                    <a:lnTo>
                      <a:pt x="1405" y="922"/>
                    </a:lnTo>
                    <a:lnTo>
                      <a:pt x="1397" y="922"/>
                    </a:lnTo>
                    <a:lnTo>
                      <a:pt x="1391" y="930"/>
                    </a:lnTo>
                    <a:lnTo>
                      <a:pt x="1377" y="930"/>
                    </a:lnTo>
                    <a:lnTo>
                      <a:pt x="1370" y="930"/>
                    </a:lnTo>
                    <a:lnTo>
                      <a:pt x="1362" y="936"/>
                    </a:lnTo>
                    <a:lnTo>
                      <a:pt x="1334" y="950"/>
                    </a:lnTo>
                    <a:lnTo>
                      <a:pt x="1322" y="950"/>
                    </a:lnTo>
                    <a:lnTo>
                      <a:pt x="1314" y="930"/>
                    </a:lnTo>
                    <a:lnTo>
                      <a:pt x="1300" y="908"/>
                    </a:lnTo>
                    <a:lnTo>
                      <a:pt x="1294" y="902"/>
                    </a:lnTo>
                    <a:lnTo>
                      <a:pt x="1300" y="896"/>
                    </a:lnTo>
                    <a:lnTo>
                      <a:pt x="1308" y="896"/>
                    </a:lnTo>
                    <a:lnTo>
                      <a:pt x="1308" y="874"/>
                    </a:lnTo>
                    <a:lnTo>
                      <a:pt x="1300" y="854"/>
                    </a:lnTo>
                    <a:lnTo>
                      <a:pt x="1286" y="834"/>
                    </a:lnTo>
                    <a:lnTo>
                      <a:pt x="1294" y="820"/>
                    </a:lnTo>
                    <a:lnTo>
                      <a:pt x="1300" y="812"/>
                    </a:lnTo>
                    <a:lnTo>
                      <a:pt x="1308" y="812"/>
                    </a:lnTo>
                    <a:lnTo>
                      <a:pt x="1308" y="806"/>
                    </a:lnTo>
                    <a:lnTo>
                      <a:pt x="1300" y="794"/>
                    </a:lnTo>
                    <a:lnTo>
                      <a:pt x="1300" y="786"/>
                    </a:lnTo>
                    <a:lnTo>
                      <a:pt x="1300" y="766"/>
                    </a:lnTo>
                    <a:lnTo>
                      <a:pt x="1300" y="758"/>
                    </a:lnTo>
                    <a:lnTo>
                      <a:pt x="1286" y="758"/>
                    </a:lnTo>
                    <a:lnTo>
                      <a:pt x="1286" y="746"/>
                    </a:lnTo>
                    <a:lnTo>
                      <a:pt x="1280" y="732"/>
                    </a:lnTo>
                    <a:lnTo>
                      <a:pt x="1274" y="724"/>
                    </a:lnTo>
                    <a:lnTo>
                      <a:pt x="1266" y="710"/>
                    </a:lnTo>
                    <a:lnTo>
                      <a:pt x="1260" y="710"/>
                    </a:lnTo>
                    <a:lnTo>
                      <a:pt x="1260" y="704"/>
                    </a:lnTo>
                    <a:lnTo>
                      <a:pt x="1252" y="698"/>
                    </a:lnTo>
                    <a:lnTo>
                      <a:pt x="1246" y="704"/>
                    </a:lnTo>
                    <a:lnTo>
                      <a:pt x="1240" y="684"/>
                    </a:lnTo>
                    <a:lnTo>
                      <a:pt x="1226" y="656"/>
                    </a:lnTo>
                    <a:lnTo>
                      <a:pt x="1218" y="630"/>
                    </a:lnTo>
                    <a:lnTo>
                      <a:pt x="1212" y="616"/>
                    </a:lnTo>
                    <a:lnTo>
                      <a:pt x="1190" y="602"/>
                    </a:lnTo>
                    <a:lnTo>
                      <a:pt x="1190" y="582"/>
                    </a:lnTo>
                    <a:lnTo>
                      <a:pt x="1184" y="574"/>
                    </a:lnTo>
                    <a:lnTo>
                      <a:pt x="1170" y="560"/>
                    </a:lnTo>
                    <a:lnTo>
                      <a:pt x="1170" y="548"/>
                    </a:lnTo>
                    <a:lnTo>
                      <a:pt x="1164" y="532"/>
                    </a:lnTo>
                    <a:lnTo>
                      <a:pt x="1158" y="526"/>
                    </a:lnTo>
                    <a:lnTo>
                      <a:pt x="1150" y="520"/>
                    </a:lnTo>
                    <a:lnTo>
                      <a:pt x="1142" y="492"/>
                    </a:lnTo>
                    <a:lnTo>
                      <a:pt x="1136" y="486"/>
                    </a:lnTo>
                    <a:lnTo>
                      <a:pt x="1122" y="480"/>
                    </a:lnTo>
                    <a:lnTo>
                      <a:pt x="1122" y="472"/>
                    </a:lnTo>
                    <a:lnTo>
                      <a:pt x="1110" y="466"/>
                    </a:lnTo>
                    <a:lnTo>
                      <a:pt x="1102" y="458"/>
                    </a:lnTo>
                    <a:lnTo>
                      <a:pt x="1096" y="424"/>
                    </a:lnTo>
                    <a:lnTo>
                      <a:pt x="1088" y="424"/>
                    </a:lnTo>
                    <a:lnTo>
                      <a:pt x="1088" y="410"/>
                    </a:lnTo>
                    <a:lnTo>
                      <a:pt x="1082" y="396"/>
                    </a:lnTo>
                    <a:lnTo>
                      <a:pt x="1082" y="404"/>
                    </a:lnTo>
                    <a:lnTo>
                      <a:pt x="1074" y="390"/>
                    </a:lnTo>
                    <a:lnTo>
                      <a:pt x="1074" y="376"/>
                    </a:lnTo>
                    <a:lnTo>
                      <a:pt x="1068" y="370"/>
                    </a:lnTo>
                    <a:lnTo>
                      <a:pt x="1062" y="356"/>
                    </a:lnTo>
                    <a:lnTo>
                      <a:pt x="1054" y="344"/>
                    </a:lnTo>
                    <a:lnTo>
                      <a:pt x="1040" y="344"/>
                    </a:lnTo>
                    <a:lnTo>
                      <a:pt x="1040" y="336"/>
                    </a:lnTo>
                    <a:lnTo>
                      <a:pt x="1040" y="330"/>
                    </a:lnTo>
                    <a:lnTo>
                      <a:pt x="1054" y="330"/>
                    </a:lnTo>
                    <a:lnTo>
                      <a:pt x="1062" y="322"/>
                    </a:lnTo>
                    <a:lnTo>
                      <a:pt x="1062" y="294"/>
                    </a:lnTo>
                    <a:lnTo>
                      <a:pt x="1062" y="274"/>
                    </a:lnTo>
                    <a:lnTo>
                      <a:pt x="1062" y="260"/>
                    </a:lnTo>
                    <a:lnTo>
                      <a:pt x="1068" y="260"/>
                    </a:lnTo>
                    <a:lnTo>
                      <a:pt x="1074" y="240"/>
                    </a:lnTo>
                    <a:lnTo>
                      <a:pt x="1074" y="212"/>
                    </a:lnTo>
                    <a:lnTo>
                      <a:pt x="1062" y="178"/>
                    </a:lnTo>
                    <a:lnTo>
                      <a:pt x="1068" y="164"/>
                    </a:lnTo>
                    <a:lnTo>
                      <a:pt x="1082" y="152"/>
                    </a:lnTo>
                    <a:lnTo>
                      <a:pt x="1088" y="138"/>
                    </a:lnTo>
                    <a:lnTo>
                      <a:pt x="1082" y="118"/>
                    </a:lnTo>
                    <a:lnTo>
                      <a:pt x="1082" y="96"/>
                    </a:lnTo>
                    <a:lnTo>
                      <a:pt x="1074" y="82"/>
                    </a:lnTo>
                    <a:lnTo>
                      <a:pt x="1062" y="76"/>
                    </a:lnTo>
                    <a:lnTo>
                      <a:pt x="1068" y="62"/>
                    </a:lnTo>
                    <a:lnTo>
                      <a:pt x="1062" y="62"/>
                    </a:lnTo>
                    <a:lnTo>
                      <a:pt x="1054" y="56"/>
                    </a:lnTo>
                    <a:lnTo>
                      <a:pt x="1046" y="56"/>
                    </a:lnTo>
                    <a:lnTo>
                      <a:pt x="1040" y="68"/>
                    </a:lnTo>
                    <a:lnTo>
                      <a:pt x="1034" y="68"/>
                    </a:lnTo>
                    <a:lnTo>
                      <a:pt x="1028" y="56"/>
                    </a:lnTo>
                    <a:lnTo>
                      <a:pt x="1020" y="48"/>
                    </a:lnTo>
                    <a:lnTo>
                      <a:pt x="1014" y="48"/>
                    </a:lnTo>
                    <a:lnTo>
                      <a:pt x="1006" y="42"/>
                    </a:lnTo>
                    <a:lnTo>
                      <a:pt x="1006" y="30"/>
                    </a:lnTo>
                    <a:lnTo>
                      <a:pt x="1000" y="30"/>
                    </a:lnTo>
                    <a:lnTo>
                      <a:pt x="986" y="30"/>
                    </a:lnTo>
                    <a:lnTo>
                      <a:pt x="980" y="36"/>
                    </a:lnTo>
                    <a:lnTo>
                      <a:pt x="972" y="36"/>
                    </a:lnTo>
                    <a:lnTo>
                      <a:pt x="966" y="36"/>
                    </a:lnTo>
                    <a:lnTo>
                      <a:pt x="960" y="22"/>
                    </a:lnTo>
                    <a:lnTo>
                      <a:pt x="952" y="16"/>
                    </a:lnTo>
                    <a:lnTo>
                      <a:pt x="960" y="8"/>
                    </a:lnTo>
                    <a:lnTo>
                      <a:pt x="960" y="0"/>
                    </a:lnTo>
                    <a:lnTo>
                      <a:pt x="952" y="0"/>
                    </a:lnTo>
                    <a:lnTo>
                      <a:pt x="924" y="0"/>
                    </a:lnTo>
                    <a:lnTo>
                      <a:pt x="898" y="16"/>
                    </a:lnTo>
                    <a:lnTo>
                      <a:pt x="884" y="22"/>
                    </a:lnTo>
                    <a:lnTo>
                      <a:pt x="864" y="22"/>
                    </a:lnTo>
                    <a:lnTo>
                      <a:pt x="848" y="22"/>
                    </a:lnTo>
                    <a:lnTo>
                      <a:pt x="856" y="30"/>
                    </a:lnTo>
                    <a:lnTo>
                      <a:pt x="856" y="48"/>
                    </a:lnTo>
                    <a:lnTo>
                      <a:pt x="848" y="56"/>
                    </a:lnTo>
                    <a:lnTo>
                      <a:pt x="856" y="62"/>
                    </a:lnTo>
                    <a:lnTo>
                      <a:pt x="864" y="68"/>
                    </a:lnTo>
                    <a:lnTo>
                      <a:pt x="870" y="82"/>
                    </a:lnTo>
                    <a:lnTo>
                      <a:pt x="884" y="82"/>
                    </a:lnTo>
                    <a:lnTo>
                      <a:pt x="890" y="90"/>
                    </a:lnTo>
                    <a:lnTo>
                      <a:pt x="876" y="102"/>
                    </a:lnTo>
                    <a:lnTo>
                      <a:pt x="870" y="124"/>
                    </a:lnTo>
                    <a:lnTo>
                      <a:pt x="876" y="124"/>
                    </a:lnTo>
                    <a:lnTo>
                      <a:pt x="884" y="132"/>
                    </a:lnTo>
                    <a:lnTo>
                      <a:pt x="870" y="144"/>
                    </a:lnTo>
                    <a:lnTo>
                      <a:pt x="856" y="144"/>
                    </a:lnTo>
                    <a:lnTo>
                      <a:pt x="842" y="132"/>
                    </a:lnTo>
                    <a:lnTo>
                      <a:pt x="848" y="124"/>
                    </a:lnTo>
                    <a:lnTo>
                      <a:pt x="842" y="110"/>
                    </a:lnTo>
                    <a:lnTo>
                      <a:pt x="836" y="102"/>
                    </a:lnTo>
                    <a:lnTo>
                      <a:pt x="828" y="110"/>
                    </a:lnTo>
                    <a:lnTo>
                      <a:pt x="822" y="124"/>
                    </a:lnTo>
                    <a:lnTo>
                      <a:pt x="822" y="132"/>
                    </a:lnTo>
                    <a:lnTo>
                      <a:pt x="822" y="144"/>
                    </a:lnTo>
                    <a:lnTo>
                      <a:pt x="822" y="152"/>
                    </a:lnTo>
                    <a:lnTo>
                      <a:pt x="816" y="164"/>
                    </a:lnTo>
                    <a:lnTo>
                      <a:pt x="794" y="164"/>
                    </a:lnTo>
                    <a:lnTo>
                      <a:pt x="780" y="164"/>
                    </a:lnTo>
                    <a:lnTo>
                      <a:pt x="780" y="172"/>
                    </a:lnTo>
                    <a:lnTo>
                      <a:pt x="774" y="198"/>
                    </a:lnTo>
                    <a:lnTo>
                      <a:pt x="774" y="204"/>
                    </a:lnTo>
                    <a:lnTo>
                      <a:pt x="760" y="220"/>
                    </a:lnTo>
                    <a:lnTo>
                      <a:pt x="760" y="226"/>
                    </a:lnTo>
                    <a:lnTo>
                      <a:pt x="760" y="232"/>
                    </a:lnTo>
                    <a:lnTo>
                      <a:pt x="751" y="226"/>
                    </a:lnTo>
                    <a:lnTo>
                      <a:pt x="745" y="220"/>
                    </a:lnTo>
                    <a:lnTo>
                      <a:pt x="733" y="240"/>
                    </a:lnTo>
                    <a:lnTo>
                      <a:pt x="733" y="226"/>
                    </a:lnTo>
                    <a:lnTo>
                      <a:pt x="733" y="212"/>
                    </a:lnTo>
                    <a:lnTo>
                      <a:pt x="739" y="204"/>
                    </a:lnTo>
                    <a:lnTo>
                      <a:pt x="733" y="198"/>
                    </a:lnTo>
                    <a:lnTo>
                      <a:pt x="733" y="186"/>
                    </a:lnTo>
                    <a:lnTo>
                      <a:pt x="725" y="186"/>
                    </a:lnTo>
                    <a:lnTo>
                      <a:pt x="717" y="186"/>
                    </a:lnTo>
                    <a:lnTo>
                      <a:pt x="711" y="178"/>
                    </a:lnTo>
                    <a:lnTo>
                      <a:pt x="705" y="198"/>
                    </a:lnTo>
                    <a:lnTo>
                      <a:pt x="711" y="198"/>
                    </a:lnTo>
                    <a:lnTo>
                      <a:pt x="711" y="212"/>
                    </a:lnTo>
                    <a:lnTo>
                      <a:pt x="705" y="212"/>
                    </a:lnTo>
                    <a:lnTo>
                      <a:pt x="705" y="204"/>
                    </a:lnTo>
                    <a:lnTo>
                      <a:pt x="697" y="204"/>
                    </a:lnTo>
                    <a:lnTo>
                      <a:pt x="697" y="212"/>
                    </a:lnTo>
                    <a:lnTo>
                      <a:pt x="697" y="220"/>
                    </a:lnTo>
                    <a:lnTo>
                      <a:pt x="711" y="240"/>
                    </a:lnTo>
                    <a:lnTo>
                      <a:pt x="697" y="240"/>
                    </a:lnTo>
                    <a:lnTo>
                      <a:pt x="691" y="232"/>
                    </a:lnTo>
                    <a:lnTo>
                      <a:pt x="691" y="226"/>
                    </a:lnTo>
                    <a:lnTo>
                      <a:pt x="683" y="232"/>
                    </a:lnTo>
                    <a:lnTo>
                      <a:pt x="677" y="246"/>
                    </a:lnTo>
                    <a:lnTo>
                      <a:pt x="671" y="246"/>
                    </a:lnTo>
                    <a:lnTo>
                      <a:pt x="657" y="274"/>
                    </a:lnTo>
                    <a:lnTo>
                      <a:pt x="649" y="280"/>
                    </a:lnTo>
                    <a:lnTo>
                      <a:pt x="643" y="288"/>
                    </a:lnTo>
                    <a:lnTo>
                      <a:pt x="649" y="294"/>
                    </a:lnTo>
                    <a:lnTo>
                      <a:pt x="657" y="302"/>
                    </a:lnTo>
                    <a:lnTo>
                      <a:pt x="643" y="316"/>
                    </a:lnTo>
                    <a:lnTo>
                      <a:pt x="635" y="322"/>
                    </a:lnTo>
                    <a:lnTo>
                      <a:pt x="629" y="322"/>
                    </a:lnTo>
                    <a:lnTo>
                      <a:pt x="643" y="336"/>
                    </a:lnTo>
                    <a:lnTo>
                      <a:pt x="643" y="348"/>
                    </a:lnTo>
                    <a:lnTo>
                      <a:pt x="643" y="362"/>
                    </a:lnTo>
                    <a:lnTo>
                      <a:pt x="643" y="370"/>
                    </a:lnTo>
                    <a:lnTo>
                      <a:pt x="635" y="376"/>
                    </a:lnTo>
                    <a:lnTo>
                      <a:pt x="623" y="382"/>
                    </a:lnTo>
                    <a:lnTo>
                      <a:pt x="601" y="390"/>
                    </a:lnTo>
                    <a:lnTo>
                      <a:pt x="595" y="396"/>
                    </a:lnTo>
                    <a:lnTo>
                      <a:pt x="573" y="382"/>
                    </a:lnTo>
                    <a:lnTo>
                      <a:pt x="561" y="376"/>
                    </a:lnTo>
                    <a:lnTo>
                      <a:pt x="547" y="376"/>
                    </a:lnTo>
                    <a:lnTo>
                      <a:pt x="533" y="370"/>
                    </a:lnTo>
                    <a:lnTo>
                      <a:pt x="533" y="362"/>
                    </a:lnTo>
                    <a:lnTo>
                      <a:pt x="533" y="348"/>
                    </a:lnTo>
                    <a:lnTo>
                      <a:pt x="533" y="344"/>
                    </a:lnTo>
                    <a:lnTo>
                      <a:pt x="553" y="336"/>
                    </a:lnTo>
                    <a:lnTo>
                      <a:pt x="553" y="330"/>
                    </a:lnTo>
                    <a:lnTo>
                      <a:pt x="567" y="330"/>
                    </a:lnTo>
                    <a:lnTo>
                      <a:pt x="573" y="322"/>
                    </a:lnTo>
                    <a:lnTo>
                      <a:pt x="561" y="316"/>
                    </a:lnTo>
                    <a:lnTo>
                      <a:pt x="553" y="308"/>
                    </a:lnTo>
                    <a:lnTo>
                      <a:pt x="547" y="302"/>
                    </a:lnTo>
                    <a:lnTo>
                      <a:pt x="533" y="302"/>
                    </a:lnTo>
                    <a:lnTo>
                      <a:pt x="527" y="288"/>
                    </a:lnTo>
                    <a:lnTo>
                      <a:pt x="521" y="288"/>
                    </a:lnTo>
                    <a:lnTo>
                      <a:pt x="499" y="294"/>
                    </a:lnTo>
                    <a:lnTo>
                      <a:pt x="485" y="294"/>
                    </a:lnTo>
                    <a:lnTo>
                      <a:pt x="485" y="302"/>
                    </a:lnTo>
                    <a:lnTo>
                      <a:pt x="471" y="302"/>
                    </a:lnTo>
                    <a:lnTo>
                      <a:pt x="485" y="308"/>
                    </a:lnTo>
                    <a:lnTo>
                      <a:pt x="491" y="316"/>
                    </a:lnTo>
                    <a:lnTo>
                      <a:pt x="499" y="322"/>
                    </a:lnTo>
                    <a:lnTo>
                      <a:pt x="499" y="330"/>
                    </a:lnTo>
                    <a:lnTo>
                      <a:pt x="499" y="344"/>
                    </a:lnTo>
                    <a:lnTo>
                      <a:pt x="505" y="348"/>
                    </a:lnTo>
                    <a:lnTo>
                      <a:pt x="505" y="356"/>
                    </a:lnTo>
                    <a:lnTo>
                      <a:pt x="511" y="356"/>
                    </a:lnTo>
                    <a:lnTo>
                      <a:pt x="505" y="370"/>
                    </a:lnTo>
                    <a:lnTo>
                      <a:pt x="505" y="376"/>
                    </a:lnTo>
                    <a:lnTo>
                      <a:pt x="505" y="396"/>
                    </a:lnTo>
                    <a:lnTo>
                      <a:pt x="521" y="396"/>
                    </a:lnTo>
                    <a:lnTo>
                      <a:pt x="533" y="396"/>
                    </a:lnTo>
                    <a:lnTo>
                      <a:pt x="539" y="404"/>
                    </a:lnTo>
                    <a:lnTo>
                      <a:pt x="539" y="410"/>
                    </a:lnTo>
                    <a:lnTo>
                      <a:pt x="547" y="418"/>
                    </a:lnTo>
                    <a:lnTo>
                      <a:pt x="547" y="424"/>
                    </a:lnTo>
                    <a:lnTo>
                      <a:pt x="553" y="432"/>
                    </a:lnTo>
                    <a:lnTo>
                      <a:pt x="547" y="438"/>
                    </a:lnTo>
                    <a:lnTo>
                      <a:pt x="539" y="452"/>
                    </a:lnTo>
                    <a:lnTo>
                      <a:pt x="553" y="466"/>
                    </a:lnTo>
                    <a:lnTo>
                      <a:pt x="561" y="472"/>
                    </a:lnTo>
                    <a:lnTo>
                      <a:pt x="547" y="480"/>
                    </a:lnTo>
                    <a:lnTo>
                      <a:pt x="539" y="472"/>
                    </a:lnTo>
                    <a:lnTo>
                      <a:pt x="527" y="480"/>
                    </a:lnTo>
                    <a:lnTo>
                      <a:pt x="511" y="480"/>
                    </a:lnTo>
                    <a:lnTo>
                      <a:pt x="521" y="466"/>
                    </a:lnTo>
                    <a:lnTo>
                      <a:pt x="527" y="466"/>
                    </a:lnTo>
                    <a:lnTo>
                      <a:pt x="511" y="452"/>
                    </a:lnTo>
                    <a:lnTo>
                      <a:pt x="505" y="458"/>
                    </a:lnTo>
                    <a:lnTo>
                      <a:pt x="491" y="458"/>
                    </a:lnTo>
                    <a:lnTo>
                      <a:pt x="479" y="452"/>
                    </a:lnTo>
                    <a:lnTo>
                      <a:pt x="479" y="458"/>
                    </a:lnTo>
                    <a:lnTo>
                      <a:pt x="471" y="472"/>
                    </a:lnTo>
                    <a:lnTo>
                      <a:pt x="465" y="492"/>
                    </a:lnTo>
                    <a:lnTo>
                      <a:pt x="451" y="498"/>
                    </a:lnTo>
                    <a:lnTo>
                      <a:pt x="443" y="506"/>
                    </a:lnTo>
                    <a:lnTo>
                      <a:pt x="443" y="520"/>
                    </a:lnTo>
                    <a:lnTo>
                      <a:pt x="437" y="532"/>
                    </a:lnTo>
                    <a:lnTo>
                      <a:pt x="429" y="540"/>
                    </a:lnTo>
                    <a:lnTo>
                      <a:pt x="423" y="548"/>
                    </a:lnTo>
                    <a:lnTo>
                      <a:pt x="429" y="554"/>
                    </a:lnTo>
                    <a:lnTo>
                      <a:pt x="451" y="568"/>
                    </a:lnTo>
                    <a:lnTo>
                      <a:pt x="465" y="574"/>
                    </a:lnTo>
                    <a:lnTo>
                      <a:pt x="465" y="582"/>
                    </a:lnTo>
                    <a:lnTo>
                      <a:pt x="479" y="596"/>
                    </a:lnTo>
                    <a:lnTo>
                      <a:pt x="485" y="616"/>
                    </a:lnTo>
                    <a:lnTo>
                      <a:pt x="485" y="622"/>
                    </a:lnTo>
                    <a:lnTo>
                      <a:pt x="521" y="616"/>
                    </a:lnTo>
                    <a:lnTo>
                      <a:pt x="527" y="622"/>
                    </a:lnTo>
                    <a:lnTo>
                      <a:pt x="533" y="636"/>
                    </a:lnTo>
                    <a:lnTo>
                      <a:pt x="521" y="630"/>
                    </a:lnTo>
                    <a:lnTo>
                      <a:pt x="511" y="630"/>
                    </a:lnTo>
                    <a:lnTo>
                      <a:pt x="499" y="630"/>
                    </a:lnTo>
                    <a:lnTo>
                      <a:pt x="485" y="622"/>
                    </a:lnTo>
                    <a:lnTo>
                      <a:pt x="479" y="616"/>
                    </a:lnTo>
                    <a:lnTo>
                      <a:pt x="471" y="616"/>
                    </a:lnTo>
                    <a:lnTo>
                      <a:pt x="465" y="622"/>
                    </a:lnTo>
                    <a:lnTo>
                      <a:pt x="459" y="616"/>
                    </a:lnTo>
                    <a:lnTo>
                      <a:pt x="443" y="622"/>
                    </a:lnTo>
                    <a:lnTo>
                      <a:pt x="423" y="616"/>
                    </a:lnTo>
                    <a:lnTo>
                      <a:pt x="409" y="608"/>
                    </a:lnTo>
                    <a:lnTo>
                      <a:pt x="397" y="608"/>
                    </a:lnTo>
                    <a:lnTo>
                      <a:pt x="397" y="602"/>
                    </a:lnTo>
                    <a:lnTo>
                      <a:pt x="389" y="602"/>
                    </a:lnTo>
                    <a:lnTo>
                      <a:pt x="369" y="602"/>
                    </a:lnTo>
                    <a:lnTo>
                      <a:pt x="349" y="596"/>
                    </a:lnTo>
                    <a:lnTo>
                      <a:pt x="349" y="608"/>
                    </a:lnTo>
                    <a:lnTo>
                      <a:pt x="341" y="616"/>
                    </a:lnTo>
                    <a:lnTo>
                      <a:pt x="341" y="622"/>
                    </a:lnTo>
                    <a:lnTo>
                      <a:pt x="355" y="630"/>
                    </a:lnTo>
                    <a:lnTo>
                      <a:pt x="361" y="636"/>
                    </a:lnTo>
                    <a:lnTo>
                      <a:pt x="383" y="642"/>
                    </a:lnTo>
                    <a:lnTo>
                      <a:pt x="383" y="636"/>
                    </a:lnTo>
                    <a:lnTo>
                      <a:pt x="389" y="636"/>
                    </a:lnTo>
                    <a:lnTo>
                      <a:pt x="403" y="648"/>
                    </a:lnTo>
                    <a:lnTo>
                      <a:pt x="409" y="676"/>
                    </a:lnTo>
                    <a:lnTo>
                      <a:pt x="397" y="684"/>
                    </a:lnTo>
                    <a:lnTo>
                      <a:pt x="389" y="690"/>
                    </a:lnTo>
                    <a:lnTo>
                      <a:pt x="375" y="684"/>
                    </a:lnTo>
                    <a:lnTo>
                      <a:pt x="361" y="684"/>
                    </a:lnTo>
                    <a:lnTo>
                      <a:pt x="355" y="684"/>
                    </a:lnTo>
                    <a:lnTo>
                      <a:pt x="341" y="670"/>
                    </a:lnTo>
                    <a:lnTo>
                      <a:pt x="335" y="662"/>
                    </a:lnTo>
                    <a:lnTo>
                      <a:pt x="327" y="656"/>
                    </a:lnTo>
                    <a:lnTo>
                      <a:pt x="321" y="670"/>
                    </a:lnTo>
                    <a:lnTo>
                      <a:pt x="315" y="662"/>
                    </a:lnTo>
                    <a:lnTo>
                      <a:pt x="295" y="656"/>
                    </a:lnTo>
                    <a:lnTo>
                      <a:pt x="295" y="642"/>
                    </a:lnTo>
                    <a:lnTo>
                      <a:pt x="287" y="642"/>
                    </a:lnTo>
                    <a:lnTo>
                      <a:pt x="287" y="636"/>
                    </a:lnTo>
                    <a:lnTo>
                      <a:pt x="287" y="630"/>
                    </a:lnTo>
                    <a:lnTo>
                      <a:pt x="281" y="622"/>
                    </a:lnTo>
                    <a:lnTo>
                      <a:pt x="281" y="616"/>
                    </a:lnTo>
                    <a:lnTo>
                      <a:pt x="273" y="602"/>
                    </a:lnTo>
                    <a:lnTo>
                      <a:pt x="265" y="596"/>
                    </a:lnTo>
                    <a:lnTo>
                      <a:pt x="265" y="588"/>
                    </a:lnTo>
                    <a:lnTo>
                      <a:pt x="273" y="582"/>
                    </a:lnTo>
                    <a:lnTo>
                      <a:pt x="273" y="568"/>
                    </a:lnTo>
                    <a:lnTo>
                      <a:pt x="265" y="560"/>
                    </a:lnTo>
                    <a:lnTo>
                      <a:pt x="265" y="554"/>
                    </a:lnTo>
                    <a:lnTo>
                      <a:pt x="259" y="548"/>
                    </a:lnTo>
                    <a:lnTo>
                      <a:pt x="253" y="540"/>
                    </a:lnTo>
                    <a:lnTo>
                      <a:pt x="233" y="540"/>
                    </a:lnTo>
                    <a:lnTo>
                      <a:pt x="225" y="540"/>
                    </a:lnTo>
                    <a:lnTo>
                      <a:pt x="219" y="540"/>
                    </a:lnTo>
                    <a:lnTo>
                      <a:pt x="211" y="532"/>
                    </a:lnTo>
                    <a:lnTo>
                      <a:pt x="219" y="532"/>
                    </a:lnTo>
                    <a:lnTo>
                      <a:pt x="219" y="526"/>
                    </a:lnTo>
                    <a:lnTo>
                      <a:pt x="211" y="526"/>
                    </a:lnTo>
                    <a:lnTo>
                      <a:pt x="205" y="526"/>
                    </a:lnTo>
                    <a:lnTo>
                      <a:pt x="205" y="520"/>
                    </a:lnTo>
                    <a:lnTo>
                      <a:pt x="191" y="520"/>
                    </a:lnTo>
                    <a:lnTo>
                      <a:pt x="185" y="512"/>
                    </a:lnTo>
                    <a:lnTo>
                      <a:pt x="177" y="498"/>
                    </a:lnTo>
                    <a:lnTo>
                      <a:pt x="185" y="486"/>
                    </a:lnTo>
                    <a:lnTo>
                      <a:pt x="177" y="486"/>
                    </a:lnTo>
                    <a:lnTo>
                      <a:pt x="171" y="480"/>
                    </a:lnTo>
                    <a:lnTo>
                      <a:pt x="177" y="480"/>
                    </a:lnTo>
                    <a:lnTo>
                      <a:pt x="185" y="480"/>
                    </a:lnTo>
                    <a:lnTo>
                      <a:pt x="191" y="480"/>
                    </a:lnTo>
                    <a:lnTo>
                      <a:pt x="205" y="492"/>
                    </a:lnTo>
                    <a:lnTo>
                      <a:pt x="211" y="498"/>
                    </a:lnTo>
                    <a:lnTo>
                      <a:pt x="219" y="498"/>
                    </a:lnTo>
                    <a:lnTo>
                      <a:pt x="219" y="492"/>
                    </a:lnTo>
                    <a:lnTo>
                      <a:pt x="233" y="498"/>
                    </a:lnTo>
                    <a:lnTo>
                      <a:pt x="245" y="506"/>
                    </a:lnTo>
                    <a:lnTo>
                      <a:pt x="253" y="506"/>
                    </a:lnTo>
                    <a:lnTo>
                      <a:pt x="259" y="506"/>
                    </a:lnTo>
                    <a:lnTo>
                      <a:pt x="265" y="512"/>
                    </a:lnTo>
                    <a:lnTo>
                      <a:pt x="281" y="512"/>
                    </a:lnTo>
                    <a:lnTo>
                      <a:pt x="295" y="512"/>
                    </a:lnTo>
                    <a:lnTo>
                      <a:pt x="315" y="520"/>
                    </a:lnTo>
                    <a:lnTo>
                      <a:pt x="321" y="512"/>
                    </a:lnTo>
                    <a:lnTo>
                      <a:pt x="327" y="506"/>
                    </a:lnTo>
                    <a:lnTo>
                      <a:pt x="335" y="512"/>
                    </a:lnTo>
                    <a:lnTo>
                      <a:pt x="335" y="520"/>
                    </a:lnTo>
                    <a:lnTo>
                      <a:pt x="349" y="520"/>
                    </a:lnTo>
                    <a:lnTo>
                      <a:pt x="361" y="520"/>
                    </a:lnTo>
                    <a:lnTo>
                      <a:pt x="375" y="520"/>
                    </a:lnTo>
                    <a:lnTo>
                      <a:pt x="389" y="506"/>
                    </a:lnTo>
                    <a:lnTo>
                      <a:pt x="397" y="506"/>
                    </a:lnTo>
                    <a:lnTo>
                      <a:pt x="409" y="498"/>
                    </a:lnTo>
                    <a:lnTo>
                      <a:pt x="417" y="492"/>
                    </a:lnTo>
                    <a:lnTo>
                      <a:pt x="417" y="486"/>
                    </a:lnTo>
                    <a:lnTo>
                      <a:pt x="423" y="480"/>
                    </a:lnTo>
                    <a:lnTo>
                      <a:pt x="429" y="480"/>
                    </a:lnTo>
                    <a:lnTo>
                      <a:pt x="429" y="472"/>
                    </a:lnTo>
                    <a:lnTo>
                      <a:pt x="429" y="466"/>
                    </a:lnTo>
                    <a:lnTo>
                      <a:pt x="437" y="466"/>
                    </a:lnTo>
                    <a:lnTo>
                      <a:pt x="443" y="438"/>
                    </a:lnTo>
                    <a:lnTo>
                      <a:pt x="437" y="424"/>
                    </a:lnTo>
                    <a:lnTo>
                      <a:pt x="437" y="410"/>
                    </a:lnTo>
                    <a:lnTo>
                      <a:pt x="429" y="410"/>
                    </a:lnTo>
                    <a:lnTo>
                      <a:pt x="429" y="396"/>
                    </a:lnTo>
                    <a:lnTo>
                      <a:pt x="423" y="404"/>
                    </a:lnTo>
                    <a:lnTo>
                      <a:pt x="417" y="396"/>
                    </a:lnTo>
                    <a:lnTo>
                      <a:pt x="417" y="382"/>
                    </a:lnTo>
                    <a:lnTo>
                      <a:pt x="403" y="382"/>
                    </a:lnTo>
                    <a:lnTo>
                      <a:pt x="397" y="382"/>
                    </a:lnTo>
                    <a:lnTo>
                      <a:pt x="397" y="376"/>
                    </a:lnTo>
                    <a:lnTo>
                      <a:pt x="375" y="370"/>
                    </a:lnTo>
                    <a:lnTo>
                      <a:pt x="361" y="376"/>
                    </a:lnTo>
                    <a:lnTo>
                      <a:pt x="355" y="370"/>
                    </a:lnTo>
                    <a:lnTo>
                      <a:pt x="349" y="362"/>
                    </a:lnTo>
                    <a:lnTo>
                      <a:pt x="335" y="356"/>
                    </a:lnTo>
                    <a:lnTo>
                      <a:pt x="335" y="362"/>
                    </a:lnTo>
                    <a:lnTo>
                      <a:pt x="327" y="356"/>
                    </a:lnTo>
                    <a:lnTo>
                      <a:pt x="315" y="344"/>
                    </a:lnTo>
                    <a:lnTo>
                      <a:pt x="295" y="344"/>
                    </a:lnTo>
                    <a:lnTo>
                      <a:pt x="273" y="330"/>
                    </a:lnTo>
                    <a:lnTo>
                      <a:pt x="253" y="322"/>
                    </a:lnTo>
                    <a:lnTo>
                      <a:pt x="239" y="330"/>
                    </a:lnTo>
                    <a:lnTo>
                      <a:pt x="191" y="330"/>
                    </a:lnTo>
                    <a:lnTo>
                      <a:pt x="185" y="330"/>
                    </a:lnTo>
                    <a:lnTo>
                      <a:pt x="177" y="322"/>
                    </a:lnTo>
                    <a:lnTo>
                      <a:pt x="163" y="330"/>
                    </a:lnTo>
                    <a:lnTo>
                      <a:pt x="163" y="322"/>
                    </a:lnTo>
                    <a:lnTo>
                      <a:pt x="157" y="316"/>
                    </a:lnTo>
                    <a:lnTo>
                      <a:pt x="151" y="322"/>
                    </a:lnTo>
                    <a:lnTo>
                      <a:pt x="143" y="308"/>
                    </a:lnTo>
                    <a:lnTo>
                      <a:pt x="134" y="308"/>
                    </a:lnTo>
                    <a:lnTo>
                      <a:pt x="128" y="294"/>
                    </a:lnTo>
                    <a:lnTo>
                      <a:pt x="122" y="294"/>
                    </a:lnTo>
                    <a:lnTo>
                      <a:pt x="114" y="308"/>
                    </a:lnTo>
                    <a:lnTo>
                      <a:pt x="108" y="308"/>
                    </a:lnTo>
                    <a:lnTo>
                      <a:pt x="100" y="294"/>
                    </a:lnTo>
                    <a:lnTo>
                      <a:pt x="94" y="294"/>
                    </a:lnTo>
                    <a:lnTo>
                      <a:pt x="94" y="316"/>
                    </a:lnTo>
                    <a:lnTo>
                      <a:pt x="80" y="316"/>
                    </a:lnTo>
                    <a:lnTo>
                      <a:pt x="74" y="308"/>
                    </a:lnTo>
                    <a:lnTo>
                      <a:pt x="60" y="308"/>
                    </a:lnTo>
                    <a:lnTo>
                      <a:pt x="28" y="320"/>
                    </a:lnTo>
                    <a:lnTo>
                      <a:pt x="18" y="344"/>
                    </a:lnTo>
                    <a:lnTo>
                      <a:pt x="14" y="366"/>
                    </a:lnTo>
                    <a:lnTo>
                      <a:pt x="8" y="366"/>
                    </a:lnTo>
                    <a:lnTo>
                      <a:pt x="8" y="376"/>
                    </a:lnTo>
                    <a:lnTo>
                      <a:pt x="0" y="382"/>
                    </a:lnTo>
                    <a:lnTo>
                      <a:pt x="0" y="396"/>
                    </a:lnTo>
                    <a:lnTo>
                      <a:pt x="20" y="412"/>
                    </a:lnTo>
                    <a:lnTo>
                      <a:pt x="30" y="426"/>
                    </a:lnTo>
                    <a:lnTo>
                      <a:pt x="48" y="448"/>
                    </a:lnTo>
                    <a:lnTo>
                      <a:pt x="40" y="466"/>
                    </a:lnTo>
                    <a:lnTo>
                      <a:pt x="42" y="496"/>
                    </a:lnTo>
                    <a:lnTo>
                      <a:pt x="50" y="526"/>
                    </a:lnTo>
                    <a:lnTo>
                      <a:pt x="74" y="546"/>
                    </a:lnTo>
                    <a:lnTo>
                      <a:pt x="94" y="580"/>
                    </a:lnTo>
                    <a:lnTo>
                      <a:pt x="84" y="592"/>
                    </a:lnTo>
                    <a:lnTo>
                      <a:pt x="90" y="602"/>
                    </a:lnTo>
                    <a:lnTo>
                      <a:pt x="88" y="614"/>
                    </a:lnTo>
                    <a:lnTo>
                      <a:pt x="90" y="626"/>
                    </a:lnTo>
                    <a:lnTo>
                      <a:pt x="92" y="650"/>
                    </a:lnTo>
                    <a:lnTo>
                      <a:pt x="100" y="668"/>
                    </a:lnTo>
                    <a:lnTo>
                      <a:pt x="104" y="668"/>
                    </a:lnTo>
                    <a:lnTo>
                      <a:pt x="114" y="698"/>
                    </a:lnTo>
                    <a:lnTo>
                      <a:pt x="124" y="698"/>
                    </a:lnTo>
                    <a:lnTo>
                      <a:pt x="132" y="700"/>
                    </a:lnTo>
                    <a:lnTo>
                      <a:pt x="132" y="716"/>
                    </a:lnTo>
                    <a:lnTo>
                      <a:pt x="122" y="718"/>
                    </a:lnTo>
                    <a:lnTo>
                      <a:pt x="114" y="722"/>
                    </a:lnTo>
                    <a:lnTo>
                      <a:pt x="124" y="752"/>
                    </a:lnTo>
                    <a:lnTo>
                      <a:pt x="134" y="758"/>
                    </a:lnTo>
                    <a:lnTo>
                      <a:pt x="151" y="768"/>
                    </a:lnTo>
                    <a:lnTo>
                      <a:pt x="177" y="774"/>
                    </a:lnTo>
                    <a:lnTo>
                      <a:pt x="185" y="792"/>
                    </a:lnTo>
                    <a:lnTo>
                      <a:pt x="173" y="800"/>
                    </a:lnTo>
                    <a:lnTo>
                      <a:pt x="167" y="822"/>
                    </a:lnTo>
                    <a:lnTo>
                      <a:pt x="157" y="838"/>
                    </a:lnTo>
                    <a:lnTo>
                      <a:pt x="147" y="858"/>
                    </a:lnTo>
                    <a:lnTo>
                      <a:pt x="151" y="868"/>
                    </a:lnTo>
                    <a:lnTo>
                      <a:pt x="136" y="876"/>
                    </a:lnTo>
                    <a:lnTo>
                      <a:pt x="94" y="944"/>
                    </a:lnTo>
                    <a:lnTo>
                      <a:pt x="94" y="962"/>
                    </a:lnTo>
                    <a:lnTo>
                      <a:pt x="108" y="962"/>
                    </a:lnTo>
                    <a:lnTo>
                      <a:pt x="122" y="956"/>
                    </a:lnTo>
                    <a:lnTo>
                      <a:pt x="128" y="956"/>
                    </a:lnTo>
                    <a:lnTo>
                      <a:pt x="128" y="962"/>
                    </a:lnTo>
                    <a:lnTo>
                      <a:pt x="122" y="976"/>
                    </a:lnTo>
                    <a:lnTo>
                      <a:pt x="122" y="984"/>
                    </a:lnTo>
                    <a:lnTo>
                      <a:pt x="134" y="984"/>
                    </a:lnTo>
                    <a:lnTo>
                      <a:pt x="143" y="992"/>
                    </a:lnTo>
                    <a:lnTo>
                      <a:pt x="157" y="998"/>
                    </a:lnTo>
                    <a:lnTo>
                      <a:pt x="163" y="992"/>
                    </a:lnTo>
                    <a:lnTo>
                      <a:pt x="177" y="992"/>
                    </a:lnTo>
                    <a:lnTo>
                      <a:pt x="185" y="992"/>
                    </a:lnTo>
                    <a:lnTo>
                      <a:pt x="191" y="998"/>
                    </a:lnTo>
                    <a:lnTo>
                      <a:pt x="197" y="998"/>
                    </a:lnTo>
                    <a:lnTo>
                      <a:pt x="197" y="1012"/>
                    </a:lnTo>
                    <a:lnTo>
                      <a:pt x="191" y="1012"/>
                    </a:lnTo>
                    <a:lnTo>
                      <a:pt x="177" y="1012"/>
                    </a:lnTo>
                    <a:lnTo>
                      <a:pt x="163" y="1012"/>
                    </a:lnTo>
                    <a:lnTo>
                      <a:pt x="143" y="1012"/>
                    </a:lnTo>
                    <a:lnTo>
                      <a:pt x="143" y="1018"/>
                    </a:lnTo>
                    <a:lnTo>
                      <a:pt x="134" y="1018"/>
                    </a:lnTo>
                    <a:lnTo>
                      <a:pt x="134" y="1012"/>
                    </a:lnTo>
                    <a:lnTo>
                      <a:pt x="128" y="1018"/>
                    </a:lnTo>
                    <a:lnTo>
                      <a:pt x="128" y="1024"/>
                    </a:lnTo>
                    <a:lnTo>
                      <a:pt x="128" y="1032"/>
                    </a:lnTo>
                    <a:lnTo>
                      <a:pt x="128" y="1038"/>
                    </a:lnTo>
                    <a:lnTo>
                      <a:pt x="122" y="1038"/>
                    </a:lnTo>
                    <a:lnTo>
                      <a:pt x="114" y="1024"/>
                    </a:lnTo>
                    <a:lnTo>
                      <a:pt x="108" y="1032"/>
                    </a:lnTo>
                    <a:lnTo>
                      <a:pt x="108" y="1038"/>
                    </a:lnTo>
                    <a:lnTo>
                      <a:pt x="108" y="1046"/>
                    </a:lnTo>
                    <a:lnTo>
                      <a:pt x="108" y="1060"/>
                    </a:lnTo>
                    <a:lnTo>
                      <a:pt x="114" y="1066"/>
                    </a:lnTo>
                    <a:lnTo>
                      <a:pt x="114" y="1080"/>
                    </a:lnTo>
                    <a:lnTo>
                      <a:pt x="100" y="1094"/>
                    </a:lnTo>
                    <a:lnTo>
                      <a:pt x="100" y="1100"/>
                    </a:lnTo>
                    <a:lnTo>
                      <a:pt x="108" y="1106"/>
                    </a:lnTo>
                    <a:lnTo>
                      <a:pt x="100" y="1120"/>
                    </a:lnTo>
                    <a:lnTo>
                      <a:pt x="108" y="1134"/>
                    </a:lnTo>
                    <a:lnTo>
                      <a:pt x="108" y="1148"/>
                    </a:lnTo>
                    <a:lnTo>
                      <a:pt x="122" y="1154"/>
                    </a:lnTo>
                    <a:lnTo>
                      <a:pt x="128" y="1162"/>
                    </a:lnTo>
                    <a:lnTo>
                      <a:pt x="128" y="1168"/>
                    </a:lnTo>
                    <a:lnTo>
                      <a:pt x="122" y="1174"/>
                    </a:lnTo>
                    <a:lnTo>
                      <a:pt x="114" y="1168"/>
                    </a:lnTo>
                    <a:lnTo>
                      <a:pt x="108" y="1162"/>
                    </a:lnTo>
                    <a:lnTo>
                      <a:pt x="100" y="1168"/>
                    </a:lnTo>
                    <a:lnTo>
                      <a:pt x="100" y="1174"/>
                    </a:lnTo>
                    <a:lnTo>
                      <a:pt x="108" y="1182"/>
                    </a:lnTo>
                    <a:lnTo>
                      <a:pt x="114" y="1182"/>
                    </a:lnTo>
                    <a:lnTo>
                      <a:pt x="108" y="1196"/>
                    </a:lnTo>
                    <a:lnTo>
                      <a:pt x="100" y="1196"/>
                    </a:lnTo>
                    <a:lnTo>
                      <a:pt x="100" y="1196"/>
                    </a:lnTo>
                    <a:lnTo>
                      <a:pt x="100" y="1196"/>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0" name="Freeform 14"/>
              <p:cNvSpPr>
                <a:spLocks/>
              </p:cNvSpPr>
              <p:nvPr/>
            </p:nvSpPr>
            <p:spPr bwMode="gray">
              <a:xfrm>
                <a:off x="5547989" y="2155402"/>
                <a:ext cx="311219" cy="238178"/>
              </a:xfrm>
              <a:custGeom>
                <a:avLst/>
                <a:gdLst>
                  <a:gd name="T0" fmla="*/ 60 w 196"/>
                  <a:gd name="T1" fmla="*/ 122 h 150"/>
                  <a:gd name="T2" fmla="*/ 74 w 196"/>
                  <a:gd name="T3" fmla="*/ 122 h 150"/>
                  <a:gd name="T4" fmla="*/ 82 w 196"/>
                  <a:gd name="T5" fmla="*/ 116 h 150"/>
                  <a:gd name="T6" fmla="*/ 102 w 196"/>
                  <a:gd name="T7" fmla="*/ 122 h 150"/>
                  <a:gd name="T8" fmla="*/ 108 w 196"/>
                  <a:gd name="T9" fmla="*/ 136 h 150"/>
                  <a:gd name="T10" fmla="*/ 128 w 196"/>
                  <a:gd name="T11" fmla="*/ 136 h 150"/>
                  <a:gd name="T12" fmla="*/ 150 w 196"/>
                  <a:gd name="T13" fmla="*/ 144 h 150"/>
                  <a:gd name="T14" fmla="*/ 164 w 196"/>
                  <a:gd name="T15" fmla="*/ 144 h 150"/>
                  <a:gd name="T16" fmla="*/ 184 w 196"/>
                  <a:gd name="T17" fmla="*/ 130 h 150"/>
                  <a:gd name="T18" fmla="*/ 170 w 196"/>
                  <a:gd name="T19" fmla="*/ 122 h 150"/>
                  <a:gd name="T20" fmla="*/ 178 w 196"/>
                  <a:gd name="T21" fmla="*/ 110 h 150"/>
                  <a:gd name="T22" fmla="*/ 192 w 196"/>
                  <a:gd name="T23" fmla="*/ 122 h 150"/>
                  <a:gd name="T24" fmla="*/ 196 w 196"/>
                  <a:gd name="T25" fmla="*/ 110 h 150"/>
                  <a:gd name="T26" fmla="*/ 178 w 196"/>
                  <a:gd name="T27" fmla="*/ 96 h 150"/>
                  <a:gd name="T28" fmla="*/ 170 w 196"/>
                  <a:gd name="T29" fmla="*/ 68 h 150"/>
                  <a:gd name="T30" fmla="*/ 170 w 196"/>
                  <a:gd name="T31" fmla="*/ 48 h 150"/>
                  <a:gd name="T32" fmla="*/ 184 w 196"/>
                  <a:gd name="T33" fmla="*/ 28 h 150"/>
                  <a:gd name="T34" fmla="*/ 178 w 196"/>
                  <a:gd name="T35" fmla="*/ 6 h 150"/>
                  <a:gd name="T36" fmla="*/ 142 w 196"/>
                  <a:gd name="T37" fmla="*/ 6 h 150"/>
                  <a:gd name="T38" fmla="*/ 128 w 196"/>
                  <a:gd name="T39" fmla="*/ 0 h 150"/>
                  <a:gd name="T40" fmla="*/ 108 w 196"/>
                  <a:gd name="T41" fmla="*/ 6 h 150"/>
                  <a:gd name="T42" fmla="*/ 94 w 196"/>
                  <a:gd name="T43" fmla="*/ 0 h 150"/>
                  <a:gd name="T44" fmla="*/ 82 w 196"/>
                  <a:gd name="T45" fmla="*/ 0 h 150"/>
                  <a:gd name="T46" fmla="*/ 68 w 196"/>
                  <a:gd name="T47" fmla="*/ 6 h 150"/>
                  <a:gd name="T48" fmla="*/ 48 w 196"/>
                  <a:gd name="T49" fmla="*/ 6 h 150"/>
                  <a:gd name="T50" fmla="*/ 34 w 196"/>
                  <a:gd name="T51" fmla="*/ 6 h 150"/>
                  <a:gd name="T52" fmla="*/ 26 w 196"/>
                  <a:gd name="T53" fmla="*/ 14 h 150"/>
                  <a:gd name="T54" fmla="*/ 20 w 196"/>
                  <a:gd name="T55" fmla="*/ 20 h 150"/>
                  <a:gd name="T56" fmla="*/ 6 w 196"/>
                  <a:gd name="T57" fmla="*/ 20 h 150"/>
                  <a:gd name="T58" fmla="*/ 0 w 196"/>
                  <a:gd name="T59" fmla="*/ 34 h 150"/>
                  <a:gd name="T60" fmla="*/ 0 w 196"/>
                  <a:gd name="T61" fmla="*/ 48 h 150"/>
                  <a:gd name="T62" fmla="*/ 14 w 196"/>
                  <a:gd name="T63" fmla="*/ 54 h 150"/>
                  <a:gd name="T64" fmla="*/ 6 w 196"/>
                  <a:gd name="T65" fmla="*/ 62 h 150"/>
                  <a:gd name="T66" fmla="*/ 6 w 196"/>
                  <a:gd name="T67" fmla="*/ 88 h 150"/>
                  <a:gd name="T68" fmla="*/ 26 w 196"/>
                  <a:gd name="T69" fmla="*/ 102 h 150"/>
                  <a:gd name="T70" fmla="*/ 34 w 196"/>
                  <a:gd name="T71" fmla="*/ 88 h 150"/>
                  <a:gd name="T72" fmla="*/ 48 w 196"/>
                  <a:gd name="T73" fmla="*/ 96 h 150"/>
                  <a:gd name="T74" fmla="*/ 40 w 196"/>
                  <a:gd name="T75" fmla="*/ 122 h 150"/>
                  <a:gd name="T76" fmla="*/ 34 w 196"/>
                  <a:gd name="T77" fmla="*/ 130 h 150"/>
                  <a:gd name="T78" fmla="*/ 34 w 196"/>
                  <a:gd name="T79" fmla="*/ 13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6" h="150">
                    <a:moveTo>
                      <a:pt x="34" y="130"/>
                    </a:moveTo>
                    <a:lnTo>
                      <a:pt x="60" y="122"/>
                    </a:lnTo>
                    <a:lnTo>
                      <a:pt x="68" y="116"/>
                    </a:lnTo>
                    <a:lnTo>
                      <a:pt x="74" y="122"/>
                    </a:lnTo>
                    <a:lnTo>
                      <a:pt x="82" y="122"/>
                    </a:lnTo>
                    <a:lnTo>
                      <a:pt x="82" y="116"/>
                    </a:lnTo>
                    <a:lnTo>
                      <a:pt x="94" y="122"/>
                    </a:lnTo>
                    <a:lnTo>
                      <a:pt x="102" y="122"/>
                    </a:lnTo>
                    <a:lnTo>
                      <a:pt x="102" y="130"/>
                    </a:lnTo>
                    <a:lnTo>
                      <a:pt x="108" y="136"/>
                    </a:lnTo>
                    <a:lnTo>
                      <a:pt x="116" y="136"/>
                    </a:lnTo>
                    <a:lnTo>
                      <a:pt x="128" y="136"/>
                    </a:lnTo>
                    <a:lnTo>
                      <a:pt x="136" y="150"/>
                    </a:lnTo>
                    <a:lnTo>
                      <a:pt x="150" y="144"/>
                    </a:lnTo>
                    <a:lnTo>
                      <a:pt x="164" y="136"/>
                    </a:lnTo>
                    <a:lnTo>
                      <a:pt x="164" y="144"/>
                    </a:lnTo>
                    <a:lnTo>
                      <a:pt x="178" y="144"/>
                    </a:lnTo>
                    <a:lnTo>
                      <a:pt x="184" y="130"/>
                    </a:lnTo>
                    <a:lnTo>
                      <a:pt x="178" y="130"/>
                    </a:lnTo>
                    <a:lnTo>
                      <a:pt x="170" y="122"/>
                    </a:lnTo>
                    <a:lnTo>
                      <a:pt x="170" y="116"/>
                    </a:lnTo>
                    <a:lnTo>
                      <a:pt x="178" y="110"/>
                    </a:lnTo>
                    <a:lnTo>
                      <a:pt x="184" y="116"/>
                    </a:lnTo>
                    <a:lnTo>
                      <a:pt x="192" y="122"/>
                    </a:lnTo>
                    <a:lnTo>
                      <a:pt x="196" y="116"/>
                    </a:lnTo>
                    <a:lnTo>
                      <a:pt x="196" y="110"/>
                    </a:lnTo>
                    <a:lnTo>
                      <a:pt x="192" y="102"/>
                    </a:lnTo>
                    <a:lnTo>
                      <a:pt x="178" y="96"/>
                    </a:lnTo>
                    <a:lnTo>
                      <a:pt x="178" y="82"/>
                    </a:lnTo>
                    <a:lnTo>
                      <a:pt x="170" y="68"/>
                    </a:lnTo>
                    <a:lnTo>
                      <a:pt x="178" y="54"/>
                    </a:lnTo>
                    <a:lnTo>
                      <a:pt x="170" y="48"/>
                    </a:lnTo>
                    <a:lnTo>
                      <a:pt x="170" y="42"/>
                    </a:lnTo>
                    <a:lnTo>
                      <a:pt x="184" y="28"/>
                    </a:lnTo>
                    <a:lnTo>
                      <a:pt x="184" y="14"/>
                    </a:lnTo>
                    <a:lnTo>
                      <a:pt x="178" y="6"/>
                    </a:lnTo>
                    <a:lnTo>
                      <a:pt x="170" y="6"/>
                    </a:lnTo>
                    <a:lnTo>
                      <a:pt x="142" y="6"/>
                    </a:lnTo>
                    <a:lnTo>
                      <a:pt x="136" y="6"/>
                    </a:lnTo>
                    <a:lnTo>
                      <a:pt x="128" y="0"/>
                    </a:lnTo>
                    <a:lnTo>
                      <a:pt x="122" y="0"/>
                    </a:lnTo>
                    <a:lnTo>
                      <a:pt x="108" y="6"/>
                    </a:lnTo>
                    <a:lnTo>
                      <a:pt x="108" y="0"/>
                    </a:lnTo>
                    <a:lnTo>
                      <a:pt x="94" y="0"/>
                    </a:lnTo>
                    <a:lnTo>
                      <a:pt x="88" y="0"/>
                    </a:lnTo>
                    <a:lnTo>
                      <a:pt x="82" y="0"/>
                    </a:lnTo>
                    <a:lnTo>
                      <a:pt x="74" y="0"/>
                    </a:lnTo>
                    <a:lnTo>
                      <a:pt x="68" y="6"/>
                    </a:lnTo>
                    <a:lnTo>
                      <a:pt x="60" y="6"/>
                    </a:lnTo>
                    <a:lnTo>
                      <a:pt x="48" y="6"/>
                    </a:lnTo>
                    <a:lnTo>
                      <a:pt x="40" y="6"/>
                    </a:lnTo>
                    <a:lnTo>
                      <a:pt x="34" y="6"/>
                    </a:lnTo>
                    <a:lnTo>
                      <a:pt x="26" y="6"/>
                    </a:lnTo>
                    <a:lnTo>
                      <a:pt x="26" y="14"/>
                    </a:lnTo>
                    <a:lnTo>
                      <a:pt x="26" y="20"/>
                    </a:lnTo>
                    <a:lnTo>
                      <a:pt x="20" y="20"/>
                    </a:lnTo>
                    <a:lnTo>
                      <a:pt x="14" y="20"/>
                    </a:lnTo>
                    <a:lnTo>
                      <a:pt x="6" y="20"/>
                    </a:lnTo>
                    <a:lnTo>
                      <a:pt x="0" y="28"/>
                    </a:lnTo>
                    <a:lnTo>
                      <a:pt x="0" y="34"/>
                    </a:lnTo>
                    <a:lnTo>
                      <a:pt x="0" y="42"/>
                    </a:lnTo>
                    <a:lnTo>
                      <a:pt x="0" y="48"/>
                    </a:lnTo>
                    <a:lnTo>
                      <a:pt x="14" y="48"/>
                    </a:lnTo>
                    <a:lnTo>
                      <a:pt x="14" y="54"/>
                    </a:lnTo>
                    <a:lnTo>
                      <a:pt x="14" y="62"/>
                    </a:lnTo>
                    <a:lnTo>
                      <a:pt x="6" y="62"/>
                    </a:lnTo>
                    <a:lnTo>
                      <a:pt x="6" y="68"/>
                    </a:lnTo>
                    <a:lnTo>
                      <a:pt x="6" y="88"/>
                    </a:lnTo>
                    <a:lnTo>
                      <a:pt x="20" y="102"/>
                    </a:lnTo>
                    <a:lnTo>
                      <a:pt x="26" y="102"/>
                    </a:lnTo>
                    <a:lnTo>
                      <a:pt x="26" y="96"/>
                    </a:lnTo>
                    <a:lnTo>
                      <a:pt x="34" y="88"/>
                    </a:lnTo>
                    <a:lnTo>
                      <a:pt x="40" y="88"/>
                    </a:lnTo>
                    <a:lnTo>
                      <a:pt x="48" y="96"/>
                    </a:lnTo>
                    <a:lnTo>
                      <a:pt x="40" y="110"/>
                    </a:lnTo>
                    <a:lnTo>
                      <a:pt x="40" y="122"/>
                    </a:lnTo>
                    <a:lnTo>
                      <a:pt x="40" y="130"/>
                    </a:lnTo>
                    <a:lnTo>
                      <a:pt x="34" y="130"/>
                    </a:lnTo>
                    <a:lnTo>
                      <a:pt x="34" y="130"/>
                    </a:lnTo>
                    <a:lnTo>
                      <a:pt x="34" y="130"/>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1" name="Freeform 15"/>
              <p:cNvSpPr>
                <a:spLocks/>
              </p:cNvSpPr>
              <p:nvPr/>
            </p:nvSpPr>
            <p:spPr bwMode="gray">
              <a:xfrm>
                <a:off x="5382852" y="2339593"/>
                <a:ext cx="503350" cy="260408"/>
              </a:xfrm>
              <a:custGeom>
                <a:avLst/>
                <a:gdLst>
                  <a:gd name="T0" fmla="*/ 138 w 317"/>
                  <a:gd name="T1" fmla="*/ 28 h 164"/>
                  <a:gd name="T2" fmla="*/ 138 w 317"/>
                  <a:gd name="T3" fmla="*/ 48 h 164"/>
                  <a:gd name="T4" fmla="*/ 138 w 317"/>
                  <a:gd name="T5" fmla="*/ 70 h 164"/>
                  <a:gd name="T6" fmla="*/ 124 w 317"/>
                  <a:gd name="T7" fmla="*/ 82 h 164"/>
                  <a:gd name="T8" fmla="*/ 102 w 317"/>
                  <a:gd name="T9" fmla="*/ 70 h 164"/>
                  <a:gd name="T10" fmla="*/ 96 w 317"/>
                  <a:gd name="T11" fmla="*/ 48 h 164"/>
                  <a:gd name="T12" fmla="*/ 76 w 317"/>
                  <a:gd name="T13" fmla="*/ 34 h 164"/>
                  <a:gd name="T14" fmla="*/ 70 w 317"/>
                  <a:gd name="T15" fmla="*/ 22 h 164"/>
                  <a:gd name="T16" fmla="*/ 42 w 317"/>
                  <a:gd name="T17" fmla="*/ 28 h 164"/>
                  <a:gd name="T18" fmla="*/ 28 w 317"/>
                  <a:gd name="T19" fmla="*/ 34 h 164"/>
                  <a:gd name="T20" fmla="*/ 22 w 317"/>
                  <a:gd name="T21" fmla="*/ 62 h 164"/>
                  <a:gd name="T22" fmla="*/ 8 w 317"/>
                  <a:gd name="T23" fmla="*/ 90 h 164"/>
                  <a:gd name="T24" fmla="*/ 22 w 317"/>
                  <a:gd name="T25" fmla="*/ 124 h 164"/>
                  <a:gd name="T26" fmla="*/ 42 w 317"/>
                  <a:gd name="T27" fmla="*/ 116 h 164"/>
                  <a:gd name="T28" fmla="*/ 56 w 317"/>
                  <a:gd name="T29" fmla="*/ 116 h 164"/>
                  <a:gd name="T30" fmla="*/ 82 w 317"/>
                  <a:gd name="T31" fmla="*/ 116 h 164"/>
                  <a:gd name="T32" fmla="*/ 116 w 317"/>
                  <a:gd name="T33" fmla="*/ 110 h 164"/>
                  <a:gd name="T34" fmla="*/ 152 w 317"/>
                  <a:gd name="T35" fmla="*/ 110 h 164"/>
                  <a:gd name="T36" fmla="*/ 172 w 317"/>
                  <a:gd name="T37" fmla="*/ 124 h 164"/>
                  <a:gd name="T38" fmla="*/ 198 w 317"/>
                  <a:gd name="T39" fmla="*/ 130 h 164"/>
                  <a:gd name="T40" fmla="*/ 226 w 317"/>
                  <a:gd name="T41" fmla="*/ 158 h 164"/>
                  <a:gd name="T42" fmla="*/ 254 w 317"/>
                  <a:gd name="T43" fmla="*/ 164 h 164"/>
                  <a:gd name="T44" fmla="*/ 268 w 317"/>
                  <a:gd name="T45" fmla="*/ 164 h 164"/>
                  <a:gd name="T46" fmla="*/ 282 w 317"/>
                  <a:gd name="T47" fmla="*/ 164 h 164"/>
                  <a:gd name="T48" fmla="*/ 300 w 317"/>
                  <a:gd name="T49" fmla="*/ 152 h 164"/>
                  <a:gd name="T50" fmla="*/ 288 w 317"/>
                  <a:gd name="T51" fmla="*/ 138 h 164"/>
                  <a:gd name="T52" fmla="*/ 315 w 317"/>
                  <a:gd name="T53" fmla="*/ 124 h 164"/>
                  <a:gd name="T54" fmla="*/ 311 w 317"/>
                  <a:gd name="T55" fmla="*/ 110 h 164"/>
                  <a:gd name="T56" fmla="*/ 302 w 317"/>
                  <a:gd name="T57" fmla="*/ 82 h 164"/>
                  <a:gd name="T58" fmla="*/ 296 w 317"/>
                  <a:gd name="T59" fmla="*/ 76 h 164"/>
                  <a:gd name="T60" fmla="*/ 282 w 317"/>
                  <a:gd name="T61" fmla="*/ 62 h 164"/>
                  <a:gd name="T62" fmla="*/ 296 w 317"/>
                  <a:gd name="T63" fmla="*/ 48 h 164"/>
                  <a:gd name="T64" fmla="*/ 290 w 317"/>
                  <a:gd name="T65" fmla="*/ 34 h 164"/>
                  <a:gd name="T66" fmla="*/ 282 w 317"/>
                  <a:gd name="T67" fmla="*/ 34 h 164"/>
                  <a:gd name="T68" fmla="*/ 274 w 317"/>
                  <a:gd name="T69" fmla="*/ 28 h 164"/>
                  <a:gd name="T70" fmla="*/ 268 w 317"/>
                  <a:gd name="T71" fmla="*/ 28 h 164"/>
                  <a:gd name="T72" fmla="*/ 254 w 317"/>
                  <a:gd name="T73" fmla="*/ 28 h 164"/>
                  <a:gd name="T74" fmla="*/ 232 w 317"/>
                  <a:gd name="T75" fmla="*/ 22 h 164"/>
                  <a:gd name="T76" fmla="*/ 212 w 317"/>
                  <a:gd name="T77" fmla="*/ 22 h 164"/>
                  <a:gd name="T78" fmla="*/ 206 w 317"/>
                  <a:gd name="T79" fmla="*/ 6 h 164"/>
                  <a:gd name="T80" fmla="*/ 186 w 317"/>
                  <a:gd name="T81" fmla="*/ 0 h 164"/>
                  <a:gd name="T82" fmla="*/ 178 w 317"/>
                  <a:gd name="T83" fmla="*/ 6 h 164"/>
                  <a:gd name="T84" fmla="*/ 164 w 317"/>
                  <a:gd name="T85" fmla="*/ 6 h 164"/>
                  <a:gd name="T86" fmla="*/ 138 w 317"/>
                  <a:gd name="T87" fmla="*/ 22 h 164"/>
                  <a:gd name="T88" fmla="*/ 138 w 317"/>
                  <a:gd name="T89" fmla="*/ 2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7" h="164">
                    <a:moveTo>
                      <a:pt x="138" y="22"/>
                    </a:moveTo>
                    <a:lnTo>
                      <a:pt x="138" y="28"/>
                    </a:lnTo>
                    <a:lnTo>
                      <a:pt x="138" y="34"/>
                    </a:lnTo>
                    <a:lnTo>
                      <a:pt x="138" y="48"/>
                    </a:lnTo>
                    <a:lnTo>
                      <a:pt x="138" y="56"/>
                    </a:lnTo>
                    <a:lnTo>
                      <a:pt x="138" y="70"/>
                    </a:lnTo>
                    <a:lnTo>
                      <a:pt x="130" y="76"/>
                    </a:lnTo>
                    <a:lnTo>
                      <a:pt x="124" y="82"/>
                    </a:lnTo>
                    <a:lnTo>
                      <a:pt x="116" y="82"/>
                    </a:lnTo>
                    <a:lnTo>
                      <a:pt x="102" y="70"/>
                    </a:lnTo>
                    <a:lnTo>
                      <a:pt x="96" y="62"/>
                    </a:lnTo>
                    <a:lnTo>
                      <a:pt x="96" y="48"/>
                    </a:lnTo>
                    <a:lnTo>
                      <a:pt x="82" y="34"/>
                    </a:lnTo>
                    <a:lnTo>
                      <a:pt x="76" y="34"/>
                    </a:lnTo>
                    <a:lnTo>
                      <a:pt x="70" y="28"/>
                    </a:lnTo>
                    <a:lnTo>
                      <a:pt x="70" y="22"/>
                    </a:lnTo>
                    <a:lnTo>
                      <a:pt x="56" y="22"/>
                    </a:lnTo>
                    <a:lnTo>
                      <a:pt x="42" y="28"/>
                    </a:lnTo>
                    <a:lnTo>
                      <a:pt x="34" y="34"/>
                    </a:lnTo>
                    <a:lnTo>
                      <a:pt x="28" y="34"/>
                    </a:lnTo>
                    <a:lnTo>
                      <a:pt x="22" y="48"/>
                    </a:lnTo>
                    <a:lnTo>
                      <a:pt x="22" y="62"/>
                    </a:lnTo>
                    <a:lnTo>
                      <a:pt x="14" y="76"/>
                    </a:lnTo>
                    <a:lnTo>
                      <a:pt x="8" y="90"/>
                    </a:lnTo>
                    <a:lnTo>
                      <a:pt x="0" y="130"/>
                    </a:lnTo>
                    <a:lnTo>
                      <a:pt x="22" y="124"/>
                    </a:lnTo>
                    <a:lnTo>
                      <a:pt x="34" y="124"/>
                    </a:lnTo>
                    <a:lnTo>
                      <a:pt x="42" y="116"/>
                    </a:lnTo>
                    <a:lnTo>
                      <a:pt x="48" y="116"/>
                    </a:lnTo>
                    <a:lnTo>
                      <a:pt x="56" y="116"/>
                    </a:lnTo>
                    <a:lnTo>
                      <a:pt x="76" y="116"/>
                    </a:lnTo>
                    <a:lnTo>
                      <a:pt x="82" y="116"/>
                    </a:lnTo>
                    <a:lnTo>
                      <a:pt x="96" y="110"/>
                    </a:lnTo>
                    <a:lnTo>
                      <a:pt x="116" y="110"/>
                    </a:lnTo>
                    <a:lnTo>
                      <a:pt x="138" y="116"/>
                    </a:lnTo>
                    <a:lnTo>
                      <a:pt x="152" y="110"/>
                    </a:lnTo>
                    <a:lnTo>
                      <a:pt x="158" y="116"/>
                    </a:lnTo>
                    <a:lnTo>
                      <a:pt x="172" y="124"/>
                    </a:lnTo>
                    <a:lnTo>
                      <a:pt x="192" y="130"/>
                    </a:lnTo>
                    <a:lnTo>
                      <a:pt x="198" y="130"/>
                    </a:lnTo>
                    <a:lnTo>
                      <a:pt x="206" y="144"/>
                    </a:lnTo>
                    <a:lnTo>
                      <a:pt x="226" y="158"/>
                    </a:lnTo>
                    <a:lnTo>
                      <a:pt x="232" y="164"/>
                    </a:lnTo>
                    <a:lnTo>
                      <a:pt x="254" y="164"/>
                    </a:lnTo>
                    <a:lnTo>
                      <a:pt x="260" y="164"/>
                    </a:lnTo>
                    <a:lnTo>
                      <a:pt x="268" y="164"/>
                    </a:lnTo>
                    <a:lnTo>
                      <a:pt x="274" y="158"/>
                    </a:lnTo>
                    <a:lnTo>
                      <a:pt x="282" y="164"/>
                    </a:lnTo>
                    <a:lnTo>
                      <a:pt x="294" y="158"/>
                    </a:lnTo>
                    <a:lnTo>
                      <a:pt x="300" y="152"/>
                    </a:lnTo>
                    <a:lnTo>
                      <a:pt x="294" y="144"/>
                    </a:lnTo>
                    <a:lnTo>
                      <a:pt x="288" y="138"/>
                    </a:lnTo>
                    <a:lnTo>
                      <a:pt x="300" y="130"/>
                    </a:lnTo>
                    <a:lnTo>
                      <a:pt x="315" y="124"/>
                    </a:lnTo>
                    <a:lnTo>
                      <a:pt x="317" y="124"/>
                    </a:lnTo>
                    <a:lnTo>
                      <a:pt x="311" y="110"/>
                    </a:lnTo>
                    <a:lnTo>
                      <a:pt x="311" y="96"/>
                    </a:lnTo>
                    <a:lnTo>
                      <a:pt x="302" y="82"/>
                    </a:lnTo>
                    <a:lnTo>
                      <a:pt x="302" y="76"/>
                    </a:lnTo>
                    <a:lnTo>
                      <a:pt x="296" y="76"/>
                    </a:lnTo>
                    <a:lnTo>
                      <a:pt x="290" y="76"/>
                    </a:lnTo>
                    <a:lnTo>
                      <a:pt x="282" y="62"/>
                    </a:lnTo>
                    <a:lnTo>
                      <a:pt x="296" y="62"/>
                    </a:lnTo>
                    <a:lnTo>
                      <a:pt x="296" y="48"/>
                    </a:lnTo>
                    <a:lnTo>
                      <a:pt x="296" y="34"/>
                    </a:lnTo>
                    <a:lnTo>
                      <a:pt x="290" y="34"/>
                    </a:lnTo>
                    <a:lnTo>
                      <a:pt x="282" y="40"/>
                    </a:lnTo>
                    <a:lnTo>
                      <a:pt x="282" y="34"/>
                    </a:lnTo>
                    <a:lnTo>
                      <a:pt x="274" y="34"/>
                    </a:lnTo>
                    <a:lnTo>
                      <a:pt x="274" y="28"/>
                    </a:lnTo>
                    <a:lnTo>
                      <a:pt x="282" y="28"/>
                    </a:lnTo>
                    <a:lnTo>
                      <a:pt x="268" y="28"/>
                    </a:lnTo>
                    <a:lnTo>
                      <a:pt x="268" y="22"/>
                    </a:lnTo>
                    <a:lnTo>
                      <a:pt x="254" y="28"/>
                    </a:lnTo>
                    <a:lnTo>
                      <a:pt x="240" y="34"/>
                    </a:lnTo>
                    <a:lnTo>
                      <a:pt x="232" y="22"/>
                    </a:lnTo>
                    <a:lnTo>
                      <a:pt x="220" y="22"/>
                    </a:lnTo>
                    <a:lnTo>
                      <a:pt x="212" y="22"/>
                    </a:lnTo>
                    <a:lnTo>
                      <a:pt x="206" y="14"/>
                    </a:lnTo>
                    <a:lnTo>
                      <a:pt x="206" y="6"/>
                    </a:lnTo>
                    <a:lnTo>
                      <a:pt x="198" y="6"/>
                    </a:lnTo>
                    <a:lnTo>
                      <a:pt x="186" y="0"/>
                    </a:lnTo>
                    <a:lnTo>
                      <a:pt x="186" y="6"/>
                    </a:lnTo>
                    <a:lnTo>
                      <a:pt x="178" y="6"/>
                    </a:lnTo>
                    <a:lnTo>
                      <a:pt x="172" y="0"/>
                    </a:lnTo>
                    <a:lnTo>
                      <a:pt x="164" y="6"/>
                    </a:lnTo>
                    <a:lnTo>
                      <a:pt x="138" y="14"/>
                    </a:lnTo>
                    <a:lnTo>
                      <a:pt x="138" y="22"/>
                    </a:lnTo>
                    <a:lnTo>
                      <a:pt x="138" y="22"/>
                    </a:lnTo>
                    <a:lnTo>
                      <a:pt x="138" y="22"/>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2" name="Freeform 16"/>
              <p:cNvSpPr>
                <a:spLocks/>
              </p:cNvSpPr>
              <p:nvPr/>
            </p:nvSpPr>
            <p:spPr bwMode="gray">
              <a:xfrm>
                <a:off x="5382852" y="2514257"/>
                <a:ext cx="422369" cy="301692"/>
              </a:xfrm>
              <a:custGeom>
                <a:avLst/>
                <a:gdLst>
                  <a:gd name="T0" fmla="*/ 238 w 266"/>
                  <a:gd name="T1" fmla="*/ 82 h 190"/>
                  <a:gd name="T2" fmla="*/ 252 w 266"/>
                  <a:gd name="T3" fmla="*/ 102 h 190"/>
                  <a:gd name="T4" fmla="*/ 232 w 266"/>
                  <a:gd name="T5" fmla="*/ 110 h 190"/>
                  <a:gd name="T6" fmla="*/ 204 w 266"/>
                  <a:gd name="T7" fmla="*/ 124 h 190"/>
                  <a:gd name="T8" fmla="*/ 204 w 266"/>
                  <a:gd name="T9" fmla="*/ 150 h 190"/>
                  <a:gd name="T10" fmla="*/ 192 w 266"/>
                  <a:gd name="T11" fmla="*/ 164 h 190"/>
                  <a:gd name="T12" fmla="*/ 184 w 266"/>
                  <a:gd name="T13" fmla="*/ 164 h 190"/>
                  <a:gd name="T14" fmla="*/ 164 w 266"/>
                  <a:gd name="T15" fmla="*/ 170 h 190"/>
                  <a:gd name="T16" fmla="*/ 158 w 266"/>
                  <a:gd name="T17" fmla="*/ 170 h 190"/>
                  <a:gd name="T18" fmla="*/ 144 w 266"/>
                  <a:gd name="T19" fmla="*/ 190 h 190"/>
                  <a:gd name="T20" fmla="*/ 130 w 266"/>
                  <a:gd name="T21" fmla="*/ 184 h 190"/>
                  <a:gd name="T22" fmla="*/ 102 w 266"/>
                  <a:gd name="T23" fmla="*/ 170 h 190"/>
                  <a:gd name="T24" fmla="*/ 82 w 266"/>
                  <a:gd name="T25" fmla="*/ 156 h 190"/>
                  <a:gd name="T26" fmla="*/ 76 w 266"/>
                  <a:gd name="T27" fmla="*/ 150 h 190"/>
                  <a:gd name="T28" fmla="*/ 82 w 266"/>
                  <a:gd name="T29" fmla="*/ 136 h 190"/>
                  <a:gd name="T30" fmla="*/ 76 w 266"/>
                  <a:gd name="T31" fmla="*/ 124 h 190"/>
                  <a:gd name="T32" fmla="*/ 68 w 266"/>
                  <a:gd name="T33" fmla="*/ 110 h 190"/>
                  <a:gd name="T34" fmla="*/ 62 w 266"/>
                  <a:gd name="T35" fmla="*/ 116 h 190"/>
                  <a:gd name="T36" fmla="*/ 42 w 266"/>
                  <a:gd name="T37" fmla="*/ 116 h 190"/>
                  <a:gd name="T38" fmla="*/ 28 w 266"/>
                  <a:gd name="T39" fmla="*/ 110 h 190"/>
                  <a:gd name="T40" fmla="*/ 22 w 266"/>
                  <a:gd name="T41" fmla="*/ 96 h 190"/>
                  <a:gd name="T42" fmla="*/ 8 w 266"/>
                  <a:gd name="T43" fmla="*/ 76 h 190"/>
                  <a:gd name="T44" fmla="*/ 0 w 266"/>
                  <a:gd name="T45" fmla="*/ 48 h 190"/>
                  <a:gd name="T46" fmla="*/ 0 w 266"/>
                  <a:gd name="T47" fmla="*/ 20 h 190"/>
                  <a:gd name="T48" fmla="*/ 22 w 266"/>
                  <a:gd name="T49" fmla="*/ 14 h 190"/>
                  <a:gd name="T50" fmla="*/ 42 w 266"/>
                  <a:gd name="T51" fmla="*/ 6 h 190"/>
                  <a:gd name="T52" fmla="*/ 56 w 266"/>
                  <a:gd name="T53" fmla="*/ 6 h 190"/>
                  <a:gd name="T54" fmla="*/ 82 w 266"/>
                  <a:gd name="T55" fmla="*/ 6 h 190"/>
                  <a:gd name="T56" fmla="*/ 118 w 266"/>
                  <a:gd name="T57" fmla="*/ 0 h 190"/>
                  <a:gd name="T58" fmla="*/ 152 w 266"/>
                  <a:gd name="T59" fmla="*/ 0 h 190"/>
                  <a:gd name="T60" fmla="*/ 172 w 266"/>
                  <a:gd name="T61" fmla="*/ 14 h 190"/>
                  <a:gd name="T62" fmla="*/ 198 w 266"/>
                  <a:gd name="T63" fmla="*/ 20 h 190"/>
                  <a:gd name="T64" fmla="*/ 226 w 266"/>
                  <a:gd name="T65" fmla="*/ 48 h 190"/>
                  <a:gd name="T66" fmla="*/ 254 w 266"/>
                  <a:gd name="T67" fmla="*/ 54 h 190"/>
                  <a:gd name="T68" fmla="*/ 252 w 266"/>
                  <a:gd name="T69" fmla="*/ 54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6" h="190">
                    <a:moveTo>
                      <a:pt x="252" y="54"/>
                    </a:moveTo>
                    <a:lnTo>
                      <a:pt x="238" y="82"/>
                    </a:lnTo>
                    <a:lnTo>
                      <a:pt x="266" y="88"/>
                    </a:lnTo>
                    <a:lnTo>
                      <a:pt x="252" y="102"/>
                    </a:lnTo>
                    <a:lnTo>
                      <a:pt x="232" y="102"/>
                    </a:lnTo>
                    <a:lnTo>
                      <a:pt x="232" y="110"/>
                    </a:lnTo>
                    <a:lnTo>
                      <a:pt x="204" y="116"/>
                    </a:lnTo>
                    <a:lnTo>
                      <a:pt x="204" y="124"/>
                    </a:lnTo>
                    <a:lnTo>
                      <a:pt x="204" y="142"/>
                    </a:lnTo>
                    <a:lnTo>
                      <a:pt x="204" y="150"/>
                    </a:lnTo>
                    <a:lnTo>
                      <a:pt x="198" y="164"/>
                    </a:lnTo>
                    <a:lnTo>
                      <a:pt x="192" y="164"/>
                    </a:lnTo>
                    <a:lnTo>
                      <a:pt x="192" y="170"/>
                    </a:lnTo>
                    <a:lnTo>
                      <a:pt x="184" y="164"/>
                    </a:lnTo>
                    <a:lnTo>
                      <a:pt x="170" y="170"/>
                    </a:lnTo>
                    <a:lnTo>
                      <a:pt x="164" y="170"/>
                    </a:lnTo>
                    <a:lnTo>
                      <a:pt x="150" y="170"/>
                    </a:lnTo>
                    <a:lnTo>
                      <a:pt x="158" y="170"/>
                    </a:lnTo>
                    <a:lnTo>
                      <a:pt x="150" y="184"/>
                    </a:lnTo>
                    <a:lnTo>
                      <a:pt x="144" y="190"/>
                    </a:lnTo>
                    <a:lnTo>
                      <a:pt x="130" y="190"/>
                    </a:lnTo>
                    <a:lnTo>
                      <a:pt x="130" y="184"/>
                    </a:lnTo>
                    <a:lnTo>
                      <a:pt x="116" y="184"/>
                    </a:lnTo>
                    <a:lnTo>
                      <a:pt x="102" y="170"/>
                    </a:lnTo>
                    <a:lnTo>
                      <a:pt x="82" y="164"/>
                    </a:lnTo>
                    <a:lnTo>
                      <a:pt x="82" y="156"/>
                    </a:lnTo>
                    <a:lnTo>
                      <a:pt x="76" y="156"/>
                    </a:lnTo>
                    <a:lnTo>
                      <a:pt x="76" y="150"/>
                    </a:lnTo>
                    <a:lnTo>
                      <a:pt x="82" y="142"/>
                    </a:lnTo>
                    <a:lnTo>
                      <a:pt x="82" y="136"/>
                    </a:lnTo>
                    <a:lnTo>
                      <a:pt x="82" y="128"/>
                    </a:lnTo>
                    <a:lnTo>
                      <a:pt x="76" y="124"/>
                    </a:lnTo>
                    <a:lnTo>
                      <a:pt x="76" y="116"/>
                    </a:lnTo>
                    <a:lnTo>
                      <a:pt x="68" y="110"/>
                    </a:lnTo>
                    <a:lnTo>
                      <a:pt x="62" y="110"/>
                    </a:lnTo>
                    <a:lnTo>
                      <a:pt x="62" y="116"/>
                    </a:lnTo>
                    <a:lnTo>
                      <a:pt x="56" y="116"/>
                    </a:lnTo>
                    <a:lnTo>
                      <a:pt x="42" y="116"/>
                    </a:lnTo>
                    <a:lnTo>
                      <a:pt x="34" y="110"/>
                    </a:lnTo>
                    <a:lnTo>
                      <a:pt x="28" y="110"/>
                    </a:lnTo>
                    <a:lnTo>
                      <a:pt x="22" y="102"/>
                    </a:lnTo>
                    <a:lnTo>
                      <a:pt x="22" y="96"/>
                    </a:lnTo>
                    <a:lnTo>
                      <a:pt x="8" y="96"/>
                    </a:lnTo>
                    <a:lnTo>
                      <a:pt x="8" y="76"/>
                    </a:lnTo>
                    <a:lnTo>
                      <a:pt x="0" y="54"/>
                    </a:lnTo>
                    <a:lnTo>
                      <a:pt x="0" y="48"/>
                    </a:lnTo>
                    <a:lnTo>
                      <a:pt x="0" y="42"/>
                    </a:lnTo>
                    <a:lnTo>
                      <a:pt x="0" y="20"/>
                    </a:lnTo>
                    <a:lnTo>
                      <a:pt x="2" y="20"/>
                    </a:lnTo>
                    <a:lnTo>
                      <a:pt x="22" y="14"/>
                    </a:lnTo>
                    <a:lnTo>
                      <a:pt x="34" y="14"/>
                    </a:lnTo>
                    <a:lnTo>
                      <a:pt x="42" y="6"/>
                    </a:lnTo>
                    <a:lnTo>
                      <a:pt x="48" y="6"/>
                    </a:lnTo>
                    <a:lnTo>
                      <a:pt x="56" y="6"/>
                    </a:lnTo>
                    <a:lnTo>
                      <a:pt x="76" y="6"/>
                    </a:lnTo>
                    <a:lnTo>
                      <a:pt x="82" y="6"/>
                    </a:lnTo>
                    <a:lnTo>
                      <a:pt x="96" y="0"/>
                    </a:lnTo>
                    <a:lnTo>
                      <a:pt x="118" y="0"/>
                    </a:lnTo>
                    <a:lnTo>
                      <a:pt x="138" y="6"/>
                    </a:lnTo>
                    <a:lnTo>
                      <a:pt x="152" y="0"/>
                    </a:lnTo>
                    <a:lnTo>
                      <a:pt x="158" y="6"/>
                    </a:lnTo>
                    <a:lnTo>
                      <a:pt x="172" y="14"/>
                    </a:lnTo>
                    <a:lnTo>
                      <a:pt x="192" y="20"/>
                    </a:lnTo>
                    <a:lnTo>
                      <a:pt x="198" y="20"/>
                    </a:lnTo>
                    <a:lnTo>
                      <a:pt x="206" y="34"/>
                    </a:lnTo>
                    <a:lnTo>
                      <a:pt x="226" y="48"/>
                    </a:lnTo>
                    <a:lnTo>
                      <a:pt x="232" y="54"/>
                    </a:lnTo>
                    <a:lnTo>
                      <a:pt x="254" y="54"/>
                    </a:lnTo>
                    <a:lnTo>
                      <a:pt x="252" y="54"/>
                    </a:lnTo>
                    <a:lnTo>
                      <a:pt x="252" y="54"/>
                    </a:lnTo>
                    <a:lnTo>
                      <a:pt x="252" y="54"/>
                    </a:lnTo>
                    <a:close/>
                  </a:path>
                </a:pathLst>
              </a:custGeom>
              <a:solidFill>
                <a:srgbClr val="73C37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3" name="Freeform 17"/>
              <p:cNvSpPr>
                <a:spLocks/>
              </p:cNvSpPr>
              <p:nvPr/>
            </p:nvSpPr>
            <p:spPr bwMode="gray">
              <a:xfrm>
                <a:off x="5541638" y="2533311"/>
                <a:ext cx="725649" cy="565275"/>
              </a:xfrm>
              <a:custGeom>
                <a:avLst/>
                <a:gdLst>
                  <a:gd name="T0" fmla="*/ 24 w 457"/>
                  <a:gd name="T1" fmla="*/ 330 h 356"/>
                  <a:gd name="T2" fmla="*/ 4 w 457"/>
                  <a:gd name="T3" fmla="*/ 316 h 356"/>
                  <a:gd name="T4" fmla="*/ 20 w 457"/>
                  <a:gd name="T5" fmla="*/ 280 h 356"/>
                  <a:gd name="T6" fmla="*/ 34 w 457"/>
                  <a:gd name="T7" fmla="*/ 268 h 356"/>
                  <a:gd name="T8" fmla="*/ 28 w 457"/>
                  <a:gd name="T9" fmla="*/ 240 h 356"/>
                  <a:gd name="T10" fmla="*/ 24 w 457"/>
                  <a:gd name="T11" fmla="*/ 220 h 356"/>
                  <a:gd name="T12" fmla="*/ 4 w 457"/>
                  <a:gd name="T13" fmla="*/ 170 h 356"/>
                  <a:gd name="T14" fmla="*/ 30 w 457"/>
                  <a:gd name="T15" fmla="*/ 178 h 356"/>
                  <a:gd name="T16" fmla="*/ 60 w 457"/>
                  <a:gd name="T17" fmla="*/ 158 h 356"/>
                  <a:gd name="T18" fmla="*/ 72 w 457"/>
                  <a:gd name="T19" fmla="*/ 158 h 356"/>
                  <a:gd name="T20" fmla="*/ 94 w 457"/>
                  <a:gd name="T21" fmla="*/ 152 h 356"/>
                  <a:gd name="T22" fmla="*/ 106 w 457"/>
                  <a:gd name="T23" fmla="*/ 130 h 356"/>
                  <a:gd name="T24" fmla="*/ 134 w 457"/>
                  <a:gd name="T25" fmla="*/ 96 h 356"/>
                  <a:gd name="T26" fmla="*/ 168 w 457"/>
                  <a:gd name="T27" fmla="*/ 76 h 356"/>
                  <a:gd name="T28" fmla="*/ 162 w 457"/>
                  <a:gd name="T29" fmla="*/ 42 h 356"/>
                  <a:gd name="T30" fmla="*/ 182 w 457"/>
                  <a:gd name="T31" fmla="*/ 42 h 356"/>
                  <a:gd name="T32" fmla="*/ 196 w 457"/>
                  <a:gd name="T33" fmla="*/ 22 h 356"/>
                  <a:gd name="T34" fmla="*/ 217 w 457"/>
                  <a:gd name="T35" fmla="*/ 0 h 356"/>
                  <a:gd name="T36" fmla="*/ 231 w 457"/>
                  <a:gd name="T37" fmla="*/ 8 h 356"/>
                  <a:gd name="T38" fmla="*/ 273 w 457"/>
                  <a:gd name="T39" fmla="*/ 8 h 356"/>
                  <a:gd name="T40" fmla="*/ 285 w 457"/>
                  <a:gd name="T41" fmla="*/ 22 h 356"/>
                  <a:gd name="T42" fmla="*/ 307 w 457"/>
                  <a:gd name="T43" fmla="*/ 8 h 356"/>
                  <a:gd name="T44" fmla="*/ 341 w 457"/>
                  <a:gd name="T45" fmla="*/ 28 h 356"/>
                  <a:gd name="T46" fmla="*/ 333 w 457"/>
                  <a:gd name="T47" fmla="*/ 48 h 356"/>
                  <a:gd name="T48" fmla="*/ 341 w 457"/>
                  <a:gd name="T49" fmla="*/ 96 h 356"/>
                  <a:gd name="T50" fmla="*/ 361 w 457"/>
                  <a:gd name="T51" fmla="*/ 110 h 356"/>
                  <a:gd name="T52" fmla="*/ 403 w 457"/>
                  <a:gd name="T53" fmla="*/ 124 h 356"/>
                  <a:gd name="T54" fmla="*/ 415 w 457"/>
                  <a:gd name="T55" fmla="*/ 144 h 356"/>
                  <a:gd name="T56" fmla="*/ 435 w 457"/>
                  <a:gd name="T57" fmla="*/ 158 h 356"/>
                  <a:gd name="T58" fmla="*/ 449 w 457"/>
                  <a:gd name="T59" fmla="*/ 178 h 356"/>
                  <a:gd name="T60" fmla="*/ 423 w 457"/>
                  <a:gd name="T61" fmla="*/ 200 h 356"/>
                  <a:gd name="T62" fmla="*/ 395 w 457"/>
                  <a:gd name="T63" fmla="*/ 200 h 356"/>
                  <a:gd name="T64" fmla="*/ 395 w 457"/>
                  <a:gd name="T65" fmla="*/ 226 h 356"/>
                  <a:gd name="T66" fmla="*/ 409 w 457"/>
                  <a:gd name="T67" fmla="*/ 262 h 356"/>
                  <a:gd name="T68" fmla="*/ 429 w 457"/>
                  <a:gd name="T69" fmla="*/ 268 h 356"/>
                  <a:gd name="T70" fmla="*/ 407 w 457"/>
                  <a:gd name="T71" fmla="*/ 280 h 356"/>
                  <a:gd name="T72" fmla="*/ 381 w 457"/>
                  <a:gd name="T73" fmla="*/ 280 h 356"/>
                  <a:gd name="T74" fmla="*/ 367 w 457"/>
                  <a:gd name="T75" fmla="*/ 302 h 356"/>
                  <a:gd name="T76" fmla="*/ 367 w 457"/>
                  <a:gd name="T77" fmla="*/ 336 h 356"/>
                  <a:gd name="T78" fmla="*/ 345 w 457"/>
                  <a:gd name="T79" fmla="*/ 336 h 356"/>
                  <a:gd name="T80" fmla="*/ 311 w 457"/>
                  <a:gd name="T81" fmla="*/ 336 h 356"/>
                  <a:gd name="T82" fmla="*/ 299 w 457"/>
                  <a:gd name="T83" fmla="*/ 350 h 356"/>
                  <a:gd name="T84" fmla="*/ 279 w 457"/>
                  <a:gd name="T85" fmla="*/ 336 h 356"/>
                  <a:gd name="T86" fmla="*/ 259 w 457"/>
                  <a:gd name="T87" fmla="*/ 336 h 356"/>
                  <a:gd name="T88" fmla="*/ 215 w 457"/>
                  <a:gd name="T89" fmla="*/ 342 h 356"/>
                  <a:gd name="T90" fmla="*/ 174 w 457"/>
                  <a:gd name="T91" fmla="*/ 330 h 356"/>
                  <a:gd name="T92" fmla="*/ 120 w 457"/>
                  <a:gd name="T93" fmla="*/ 316 h 356"/>
                  <a:gd name="T94" fmla="*/ 72 w 457"/>
                  <a:gd name="T95" fmla="*/ 322 h 356"/>
                  <a:gd name="T96" fmla="*/ 52 w 457"/>
                  <a:gd name="T97" fmla="*/ 342 h 356"/>
                  <a:gd name="T98" fmla="*/ 30 w 457"/>
                  <a:gd name="T99" fmla="*/ 342 h 356"/>
                  <a:gd name="T100" fmla="*/ 24 w 457"/>
                  <a:gd name="T101" fmla="*/ 35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7" h="356">
                    <a:moveTo>
                      <a:pt x="24" y="350"/>
                    </a:moveTo>
                    <a:lnTo>
                      <a:pt x="24" y="336"/>
                    </a:lnTo>
                    <a:lnTo>
                      <a:pt x="24" y="330"/>
                    </a:lnTo>
                    <a:lnTo>
                      <a:pt x="24" y="322"/>
                    </a:lnTo>
                    <a:lnTo>
                      <a:pt x="10" y="322"/>
                    </a:lnTo>
                    <a:lnTo>
                      <a:pt x="4" y="316"/>
                    </a:lnTo>
                    <a:lnTo>
                      <a:pt x="0" y="304"/>
                    </a:lnTo>
                    <a:lnTo>
                      <a:pt x="10" y="294"/>
                    </a:lnTo>
                    <a:lnTo>
                      <a:pt x="20" y="280"/>
                    </a:lnTo>
                    <a:lnTo>
                      <a:pt x="30" y="280"/>
                    </a:lnTo>
                    <a:lnTo>
                      <a:pt x="32" y="276"/>
                    </a:lnTo>
                    <a:lnTo>
                      <a:pt x="34" y="268"/>
                    </a:lnTo>
                    <a:lnTo>
                      <a:pt x="34" y="254"/>
                    </a:lnTo>
                    <a:lnTo>
                      <a:pt x="28" y="250"/>
                    </a:lnTo>
                    <a:lnTo>
                      <a:pt x="28" y="240"/>
                    </a:lnTo>
                    <a:lnTo>
                      <a:pt x="24" y="232"/>
                    </a:lnTo>
                    <a:lnTo>
                      <a:pt x="24" y="226"/>
                    </a:lnTo>
                    <a:lnTo>
                      <a:pt x="24" y="220"/>
                    </a:lnTo>
                    <a:lnTo>
                      <a:pt x="24" y="206"/>
                    </a:lnTo>
                    <a:lnTo>
                      <a:pt x="16" y="192"/>
                    </a:lnTo>
                    <a:lnTo>
                      <a:pt x="4" y="170"/>
                    </a:lnTo>
                    <a:lnTo>
                      <a:pt x="18" y="172"/>
                    </a:lnTo>
                    <a:lnTo>
                      <a:pt x="30" y="172"/>
                    </a:lnTo>
                    <a:lnTo>
                      <a:pt x="30" y="178"/>
                    </a:lnTo>
                    <a:lnTo>
                      <a:pt x="44" y="178"/>
                    </a:lnTo>
                    <a:lnTo>
                      <a:pt x="52" y="172"/>
                    </a:lnTo>
                    <a:lnTo>
                      <a:pt x="60" y="158"/>
                    </a:lnTo>
                    <a:lnTo>
                      <a:pt x="52" y="158"/>
                    </a:lnTo>
                    <a:lnTo>
                      <a:pt x="66" y="158"/>
                    </a:lnTo>
                    <a:lnTo>
                      <a:pt x="72" y="158"/>
                    </a:lnTo>
                    <a:lnTo>
                      <a:pt x="86" y="152"/>
                    </a:lnTo>
                    <a:lnTo>
                      <a:pt x="94" y="158"/>
                    </a:lnTo>
                    <a:lnTo>
                      <a:pt x="94" y="152"/>
                    </a:lnTo>
                    <a:lnTo>
                      <a:pt x="100" y="152"/>
                    </a:lnTo>
                    <a:lnTo>
                      <a:pt x="106" y="138"/>
                    </a:lnTo>
                    <a:lnTo>
                      <a:pt x="106" y="130"/>
                    </a:lnTo>
                    <a:lnTo>
                      <a:pt x="106" y="110"/>
                    </a:lnTo>
                    <a:lnTo>
                      <a:pt x="106" y="104"/>
                    </a:lnTo>
                    <a:lnTo>
                      <a:pt x="134" y="96"/>
                    </a:lnTo>
                    <a:lnTo>
                      <a:pt x="134" y="90"/>
                    </a:lnTo>
                    <a:lnTo>
                      <a:pt x="154" y="90"/>
                    </a:lnTo>
                    <a:lnTo>
                      <a:pt x="168" y="76"/>
                    </a:lnTo>
                    <a:lnTo>
                      <a:pt x="140" y="68"/>
                    </a:lnTo>
                    <a:lnTo>
                      <a:pt x="154" y="42"/>
                    </a:lnTo>
                    <a:lnTo>
                      <a:pt x="162" y="42"/>
                    </a:lnTo>
                    <a:lnTo>
                      <a:pt x="168" y="42"/>
                    </a:lnTo>
                    <a:lnTo>
                      <a:pt x="176" y="34"/>
                    </a:lnTo>
                    <a:lnTo>
                      <a:pt x="182" y="42"/>
                    </a:lnTo>
                    <a:lnTo>
                      <a:pt x="196" y="34"/>
                    </a:lnTo>
                    <a:lnTo>
                      <a:pt x="202" y="28"/>
                    </a:lnTo>
                    <a:lnTo>
                      <a:pt x="196" y="22"/>
                    </a:lnTo>
                    <a:lnTo>
                      <a:pt x="190" y="14"/>
                    </a:lnTo>
                    <a:lnTo>
                      <a:pt x="202" y="8"/>
                    </a:lnTo>
                    <a:lnTo>
                      <a:pt x="217" y="0"/>
                    </a:lnTo>
                    <a:lnTo>
                      <a:pt x="225" y="0"/>
                    </a:lnTo>
                    <a:lnTo>
                      <a:pt x="231" y="0"/>
                    </a:lnTo>
                    <a:lnTo>
                      <a:pt x="231" y="8"/>
                    </a:lnTo>
                    <a:lnTo>
                      <a:pt x="245" y="8"/>
                    </a:lnTo>
                    <a:lnTo>
                      <a:pt x="259" y="8"/>
                    </a:lnTo>
                    <a:lnTo>
                      <a:pt x="273" y="8"/>
                    </a:lnTo>
                    <a:lnTo>
                      <a:pt x="279" y="14"/>
                    </a:lnTo>
                    <a:lnTo>
                      <a:pt x="279" y="22"/>
                    </a:lnTo>
                    <a:lnTo>
                      <a:pt x="285" y="22"/>
                    </a:lnTo>
                    <a:lnTo>
                      <a:pt x="299" y="14"/>
                    </a:lnTo>
                    <a:lnTo>
                      <a:pt x="299" y="8"/>
                    </a:lnTo>
                    <a:lnTo>
                      <a:pt x="307" y="8"/>
                    </a:lnTo>
                    <a:lnTo>
                      <a:pt x="319" y="14"/>
                    </a:lnTo>
                    <a:lnTo>
                      <a:pt x="327" y="28"/>
                    </a:lnTo>
                    <a:lnTo>
                      <a:pt x="341" y="28"/>
                    </a:lnTo>
                    <a:lnTo>
                      <a:pt x="341" y="34"/>
                    </a:lnTo>
                    <a:lnTo>
                      <a:pt x="333" y="42"/>
                    </a:lnTo>
                    <a:lnTo>
                      <a:pt x="333" y="48"/>
                    </a:lnTo>
                    <a:lnTo>
                      <a:pt x="347" y="68"/>
                    </a:lnTo>
                    <a:lnTo>
                      <a:pt x="355" y="90"/>
                    </a:lnTo>
                    <a:lnTo>
                      <a:pt x="341" y="96"/>
                    </a:lnTo>
                    <a:lnTo>
                      <a:pt x="361" y="96"/>
                    </a:lnTo>
                    <a:lnTo>
                      <a:pt x="361" y="104"/>
                    </a:lnTo>
                    <a:lnTo>
                      <a:pt x="361" y="110"/>
                    </a:lnTo>
                    <a:lnTo>
                      <a:pt x="381" y="116"/>
                    </a:lnTo>
                    <a:lnTo>
                      <a:pt x="389" y="116"/>
                    </a:lnTo>
                    <a:lnTo>
                      <a:pt x="403" y="124"/>
                    </a:lnTo>
                    <a:lnTo>
                      <a:pt x="403" y="138"/>
                    </a:lnTo>
                    <a:lnTo>
                      <a:pt x="403" y="144"/>
                    </a:lnTo>
                    <a:lnTo>
                      <a:pt x="415" y="144"/>
                    </a:lnTo>
                    <a:lnTo>
                      <a:pt x="423" y="144"/>
                    </a:lnTo>
                    <a:lnTo>
                      <a:pt x="435" y="144"/>
                    </a:lnTo>
                    <a:lnTo>
                      <a:pt x="435" y="158"/>
                    </a:lnTo>
                    <a:lnTo>
                      <a:pt x="449" y="158"/>
                    </a:lnTo>
                    <a:lnTo>
                      <a:pt x="457" y="172"/>
                    </a:lnTo>
                    <a:lnTo>
                      <a:pt x="449" y="178"/>
                    </a:lnTo>
                    <a:lnTo>
                      <a:pt x="443" y="186"/>
                    </a:lnTo>
                    <a:lnTo>
                      <a:pt x="435" y="192"/>
                    </a:lnTo>
                    <a:lnTo>
                      <a:pt x="423" y="200"/>
                    </a:lnTo>
                    <a:lnTo>
                      <a:pt x="415" y="206"/>
                    </a:lnTo>
                    <a:lnTo>
                      <a:pt x="403" y="200"/>
                    </a:lnTo>
                    <a:lnTo>
                      <a:pt x="395" y="200"/>
                    </a:lnTo>
                    <a:lnTo>
                      <a:pt x="395" y="206"/>
                    </a:lnTo>
                    <a:lnTo>
                      <a:pt x="395" y="220"/>
                    </a:lnTo>
                    <a:lnTo>
                      <a:pt x="395" y="226"/>
                    </a:lnTo>
                    <a:lnTo>
                      <a:pt x="403" y="240"/>
                    </a:lnTo>
                    <a:lnTo>
                      <a:pt x="409" y="254"/>
                    </a:lnTo>
                    <a:lnTo>
                      <a:pt x="409" y="262"/>
                    </a:lnTo>
                    <a:lnTo>
                      <a:pt x="415" y="268"/>
                    </a:lnTo>
                    <a:lnTo>
                      <a:pt x="429" y="274"/>
                    </a:lnTo>
                    <a:lnTo>
                      <a:pt x="429" y="268"/>
                    </a:lnTo>
                    <a:lnTo>
                      <a:pt x="429" y="280"/>
                    </a:lnTo>
                    <a:lnTo>
                      <a:pt x="415" y="280"/>
                    </a:lnTo>
                    <a:lnTo>
                      <a:pt x="407" y="280"/>
                    </a:lnTo>
                    <a:lnTo>
                      <a:pt x="401" y="280"/>
                    </a:lnTo>
                    <a:lnTo>
                      <a:pt x="395" y="280"/>
                    </a:lnTo>
                    <a:lnTo>
                      <a:pt x="381" y="280"/>
                    </a:lnTo>
                    <a:lnTo>
                      <a:pt x="375" y="280"/>
                    </a:lnTo>
                    <a:lnTo>
                      <a:pt x="367" y="288"/>
                    </a:lnTo>
                    <a:lnTo>
                      <a:pt x="367" y="302"/>
                    </a:lnTo>
                    <a:lnTo>
                      <a:pt x="361" y="316"/>
                    </a:lnTo>
                    <a:lnTo>
                      <a:pt x="367" y="330"/>
                    </a:lnTo>
                    <a:lnTo>
                      <a:pt x="367" y="336"/>
                    </a:lnTo>
                    <a:lnTo>
                      <a:pt x="367" y="350"/>
                    </a:lnTo>
                    <a:lnTo>
                      <a:pt x="361" y="350"/>
                    </a:lnTo>
                    <a:lnTo>
                      <a:pt x="345" y="336"/>
                    </a:lnTo>
                    <a:lnTo>
                      <a:pt x="339" y="336"/>
                    </a:lnTo>
                    <a:lnTo>
                      <a:pt x="333" y="342"/>
                    </a:lnTo>
                    <a:lnTo>
                      <a:pt x="311" y="336"/>
                    </a:lnTo>
                    <a:lnTo>
                      <a:pt x="305" y="336"/>
                    </a:lnTo>
                    <a:lnTo>
                      <a:pt x="299" y="342"/>
                    </a:lnTo>
                    <a:lnTo>
                      <a:pt x="299" y="350"/>
                    </a:lnTo>
                    <a:lnTo>
                      <a:pt x="293" y="356"/>
                    </a:lnTo>
                    <a:lnTo>
                      <a:pt x="285" y="342"/>
                    </a:lnTo>
                    <a:lnTo>
                      <a:pt x="279" y="336"/>
                    </a:lnTo>
                    <a:lnTo>
                      <a:pt x="271" y="350"/>
                    </a:lnTo>
                    <a:lnTo>
                      <a:pt x="265" y="342"/>
                    </a:lnTo>
                    <a:lnTo>
                      <a:pt x="259" y="336"/>
                    </a:lnTo>
                    <a:lnTo>
                      <a:pt x="243" y="336"/>
                    </a:lnTo>
                    <a:lnTo>
                      <a:pt x="237" y="342"/>
                    </a:lnTo>
                    <a:lnTo>
                      <a:pt x="215" y="342"/>
                    </a:lnTo>
                    <a:lnTo>
                      <a:pt x="208" y="336"/>
                    </a:lnTo>
                    <a:lnTo>
                      <a:pt x="200" y="336"/>
                    </a:lnTo>
                    <a:lnTo>
                      <a:pt x="174" y="330"/>
                    </a:lnTo>
                    <a:lnTo>
                      <a:pt x="160" y="322"/>
                    </a:lnTo>
                    <a:lnTo>
                      <a:pt x="140" y="316"/>
                    </a:lnTo>
                    <a:lnTo>
                      <a:pt x="120" y="316"/>
                    </a:lnTo>
                    <a:lnTo>
                      <a:pt x="98" y="322"/>
                    </a:lnTo>
                    <a:lnTo>
                      <a:pt x="86" y="322"/>
                    </a:lnTo>
                    <a:lnTo>
                      <a:pt x="72" y="322"/>
                    </a:lnTo>
                    <a:lnTo>
                      <a:pt x="58" y="330"/>
                    </a:lnTo>
                    <a:lnTo>
                      <a:pt x="58" y="336"/>
                    </a:lnTo>
                    <a:lnTo>
                      <a:pt x="52" y="342"/>
                    </a:lnTo>
                    <a:lnTo>
                      <a:pt x="44" y="350"/>
                    </a:lnTo>
                    <a:lnTo>
                      <a:pt x="38" y="342"/>
                    </a:lnTo>
                    <a:lnTo>
                      <a:pt x="30" y="342"/>
                    </a:lnTo>
                    <a:lnTo>
                      <a:pt x="24" y="356"/>
                    </a:lnTo>
                    <a:lnTo>
                      <a:pt x="24" y="350"/>
                    </a:lnTo>
                    <a:lnTo>
                      <a:pt x="24" y="350"/>
                    </a:lnTo>
                    <a:lnTo>
                      <a:pt x="24" y="35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4" name="Freeform 18"/>
              <p:cNvSpPr>
                <a:spLocks/>
              </p:cNvSpPr>
              <p:nvPr/>
            </p:nvSpPr>
            <p:spPr bwMode="gray">
              <a:xfrm>
                <a:off x="5459069" y="2936625"/>
                <a:ext cx="1460824" cy="736763"/>
              </a:xfrm>
              <a:custGeom>
                <a:avLst/>
                <a:gdLst>
                  <a:gd name="T0" fmla="*/ 465 w 920"/>
                  <a:gd name="T1" fmla="*/ 464 h 464"/>
                  <a:gd name="T2" fmla="*/ 499 w 920"/>
                  <a:gd name="T3" fmla="*/ 430 h 464"/>
                  <a:gd name="T4" fmla="*/ 527 w 920"/>
                  <a:gd name="T5" fmla="*/ 410 h 464"/>
                  <a:gd name="T6" fmla="*/ 541 w 920"/>
                  <a:gd name="T7" fmla="*/ 416 h 464"/>
                  <a:gd name="T8" fmla="*/ 535 w 920"/>
                  <a:gd name="T9" fmla="*/ 450 h 464"/>
                  <a:gd name="T10" fmla="*/ 603 w 920"/>
                  <a:gd name="T11" fmla="*/ 444 h 464"/>
                  <a:gd name="T12" fmla="*/ 631 w 920"/>
                  <a:gd name="T13" fmla="*/ 430 h 464"/>
                  <a:gd name="T14" fmla="*/ 679 w 920"/>
                  <a:gd name="T15" fmla="*/ 430 h 464"/>
                  <a:gd name="T16" fmla="*/ 697 w 920"/>
                  <a:gd name="T17" fmla="*/ 410 h 464"/>
                  <a:gd name="T18" fmla="*/ 753 w 920"/>
                  <a:gd name="T19" fmla="*/ 388 h 464"/>
                  <a:gd name="T20" fmla="*/ 795 w 920"/>
                  <a:gd name="T21" fmla="*/ 374 h 464"/>
                  <a:gd name="T22" fmla="*/ 821 w 920"/>
                  <a:gd name="T23" fmla="*/ 340 h 464"/>
                  <a:gd name="T24" fmla="*/ 843 w 920"/>
                  <a:gd name="T25" fmla="*/ 326 h 464"/>
                  <a:gd name="T26" fmla="*/ 898 w 920"/>
                  <a:gd name="T27" fmla="*/ 260 h 464"/>
                  <a:gd name="T28" fmla="*/ 898 w 920"/>
                  <a:gd name="T29" fmla="*/ 196 h 464"/>
                  <a:gd name="T30" fmla="*/ 898 w 920"/>
                  <a:gd name="T31" fmla="*/ 170 h 464"/>
                  <a:gd name="T32" fmla="*/ 920 w 920"/>
                  <a:gd name="T33" fmla="*/ 122 h 464"/>
                  <a:gd name="T34" fmla="*/ 863 w 920"/>
                  <a:gd name="T35" fmla="*/ 122 h 464"/>
                  <a:gd name="T36" fmla="*/ 837 w 920"/>
                  <a:gd name="T37" fmla="*/ 116 h 464"/>
                  <a:gd name="T38" fmla="*/ 801 w 920"/>
                  <a:gd name="T39" fmla="*/ 116 h 464"/>
                  <a:gd name="T40" fmla="*/ 755 w 920"/>
                  <a:gd name="T41" fmla="*/ 102 h 464"/>
                  <a:gd name="T42" fmla="*/ 713 w 920"/>
                  <a:gd name="T43" fmla="*/ 116 h 464"/>
                  <a:gd name="T44" fmla="*/ 673 w 920"/>
                  <a:gd name="T45" fmla="*/ 108 h 464"/>
                  <a:gd name="T46" fmla="*/ 645 w 920"/>
                  <a:gd name="T47" fmla="*/ 76 h 464"/>
                  <a:gd name="T48" fmla="*/ 603 w 920"/>
                  <a:gd name="T49" fmla="*/ 62 h 464"/>
                  <a:gd name="T50" fmla="*/ 583 w 920"/>
                  <a:gd name="T51" fmla="*/ 20 h 464"/>
                  <a:gd name="T52" fmla="*/ 535 w 920"/>
                  <a:gd name="T53" fmla="*/ 0 h 464"/>
                  <a:gd name="T54" fmla="*/ 493 w 920"/>
                  <a:gd name="T55" fmla="*/ 8 h 464"/>
                  <a:gd name="T56" fmla="*/ 467 w 920"/>
                  <a:gd name="T57" fmla="*/ 26 h 464"/>
                  <a:gd name="T58" fmla="*/ 425 w 920"/>
                  <a:gd name="T59" fmla="*/ 22 h 464"/>
                  <a:gd name="T60" fmla="*/ 415 w 920"/>
                  <a:gd name="T61" fmla="*/ 82 h 464"/>
                  <a:gd name="T62" fmla="*/ 385 w 920"/>
                  <a:gd name="T63" fmla="*/ 88 h 464"/>
                  <a:gd name="T64" fmla="*/ 343 w 920"/>
                  <a:gd name="T65" fmla="*/ 102 h 464"/>
                  <a:gd name="T66" fmla="*/ 309 w 920"/>
                  <a:gd name="T67" fmla="*/ 82 h 464"/>
                  <a:gd name="T68" fmla="*/ 252 w 920"/>
                  <a:gd name="T69" fmla="*/ 82 h 464"/>
                  <a:gd name="T70" fmla="*/ 150 w 920"/>
                  <a:gd name="T71" fmla="*/ 68 h 464"/>
                  <a:gd name="T72" fmla="*/ 102 w 920"/>
                  <a:gd name="T73" fmla="*/ 88 h 464"/>
                  <a:gd name="T74" fmla="*/ 78 w 920"/>
                  <a:gd name="T75" fmla="*/ 104 h 464"/>
                  <a:gd name="T76" fmla="*/ 96 w 920"/>
                  <a:gd name="T77" fmla="*/ 144 h 464"/>
                  <a:gd name="T78" fmla="*/ 96 w 920"/>
                  <a:gd name="T79" fmla="*/ 184 h 464"/>
                  <a:gd name="T80" fmla="*/ 42 w 920"/>
                  <a:gd name="T81" fmla="*/ 224 h 464"/>
                  <a:gd name="T82" fmla="*/ 28 w 920"/>
                  <a:gd name="T83" fmla="*/ 280 h 464"/>
                  <a:gd name="T84" fmla="*/ 14 w 920"/>
                  <a:gd name="T85" fmla="*/ 348 h 464"/>
                  <a:gd name="T86" fmla="*/ 96 w 920"/>
                  <a:gd name="T87" fmla="*/ 368 h 464"/>
                  <a:gd name="T88" fmla="*/ 156 w 920"/>
                  <a:gd name="T89" fmla="*/ 362 h 464"/>
                  <a:gd name="T90" fmla="*/ 212 w 920"/>
                  <a:gd name="T91" fmla="*/ 334 h 464"/>
                  <a:gd name="T92" fmla="*/ 246 w 920"/>
                  <a:gd name="T93" fmla="*/ 334 h 464"/>
                  <a:gd name="T94" fmla="*/ 301 w 920"/>
                  <a:gd name="T95" fmla="*/ 320 h 464"/>
                  <a:gd name="T96" fmla="*/ 343 w 920"/>
                  <a:gd name="T97" fmla="*/ 326 h 464"/>
                  <a:gd name="T98" fmla="*/ 377 w 920"/>
                  <a:gd name="T99" fmla="*/ 348 h 464"/>
                  <a:gd name="T100" fmla="*/ 383 w 920"/>
                  <a:gd name="T101" fmla="*/ 388 h 464"/>
                  <a:gd name="T102" fmla="*/ 411 w 920"/>
                  <a:gd name="T103" fmla="*/ 416 h 464"/>
                  <a:gd name="T104" fmla="*/ 431 w 920"/>
                  <a:gd name="T105" fmla="*/ 44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0" h="464">
                    <a:moveTo>
                      <a:pt x="439" y="458"/>
                    </a:moveTo>
                    <a:lnTo>
                      <a:pt x="445" y="450"/>
                    </a:lnTo>
                    <a:lnTo>
                      <a:pt x="453" y="458"/>
                    </a:lnTo>
                    <a:lnTo>
                      <a:pt x="459" y="464"/>
                    </a:lnTo>
                    <a:lnTo>
                      <a:pt x="465" y="464"/>
                    </a:lnTo>
                    <a:lnTo>
                      <a:pt x="465" y="444"/>
                    </a:lnTo>
                    <a:lnTo>
                      <a:pt x="473" y="430"/>
                    </a:lnTo>
                    <a:lnTo>
                      <a:pt x="479" y="430"/>
                    </a:lnTo>
                    <a:lnTo>
                      <a:pt x="485" y="436"/>
                    </a:lnTo>
                    <a:lnTo>
                      <a:pt x="499" y="430"/>
                    </a:lnTo>
                    <a:lnTo>
                      <a:pt x="513" y="416"/>
                    </a:lnTo>
                    <a:lnTo>
                      <a:pt x="521" y="416"/>
                    </a:lnTo>
                    <a:lnTo>
                      <a:pt x="521" y="422"/>
                    </a:lnTo>
                    <a:lnTo>
                      <a:pt x="527" y="422"/>
                    </a:lnTo>
                    <a:lnTo>
                      <a:pt x="527" y="410"/>
                    </a:lnTo>
                    <a:lnTo>
                      <a:pt x="527" y="402"/>
                    </a:lnTo>
                    <a:lnTo>
                      <a:pt x="527" y="388"/>
                    </a:lnTo>
                    <a:lnTo>
                      <a:pt x="535" y="402"/>
                    </a:lnTo>
                    <a:lnTo>
                      <a:pt x="541" y="410"/>
                    </a:lnTo>
                    <a:lnTo>
                      <a:pt x="541" y="416"/>
                    </a:lnTo>
                    <a:lnTo>
                      <a:pt x="549" y="430"/>
                    </a:lnTo>
                    <a:lnTo>
                      <a:pt x="535" y="430"/>
                    </a:lnTo>
                    <a:lnTo>
                      <a:pt x="535" y="436"/>
                    </a:lnTo>
                    <a:lnTo>
                      <a:pt x="535" y="444"/>
                    </a:lnTo>
                    <a:lnTo>
                      <a:pt x="535" y="450"/>
                    </a:lnTo>
                    <a:lnTo>
                      <a:pt x="549" y="458"/>
                    </a:lnTo>
                    <a:lnTo>
                      <a:pt x="561" y="464"/>
                    </a:lnTo>
                    <a:lnTo>
                      <a:pt x="583" y="450"/>
                    </a:lnTo>
                    <a:lnTo>
                      <a:pt x="595" y="444"/>
                    </a:lnTo>
                    <a:lnTo>
                      <a:pt x="603" y="444"/>
                    </a:lnTo>
                    <a:lnTo>
                      <a:pt x="609" y="436"/>
                    </a:lnTo>
                    <a:lnTo>
                      <a:pt x="617" y="458"/>
                    </a:lnTo>
                    <a:lnTo>
                      <a:pt x="623" y="450"/>
                    </a:lnTo>
                    <a:lnTo>
                      <a:pt x="631" y="436"/>
                    </a:lnTo>
                    <a:lnTo>
                      <a:pt x="631" y="430"/>
                    </a:lnTo>
                    <a:lnTo>
                      <a:pt x="637" y="430"/>
                    </a:lnTo>
                    <a:lnTo>
                      <a:pt x="645" y="436"/>
                    </a:lnTo>
                    <a:lnTo>
                      <a:pt x="651" y="430"/>
                    </a:lnTo>
                    <a:lnTo>
                      <a:pt x="657" y="430"/>
                    </a:lnTo>
                    <a:lnTo>
                      <a:pt x="679" y="430"/>
                    </a:lnTo>
                    <a:lnTo>
                      <a:pt x="679" y="436"/>
                    </a:lnTo>
                    <a:lnTo>
                      <a:pt x="685" y="436"/>
                    </a:lnTo>
                    <a:lnTo>
                      <a:pt x="685" y="430"/>
                    </a:lnTo>
                    <a:lnTo>
                      <a:pt x="691" y="430"/>
                    </a:lnTo>
                    <a:lnTo>
                      <a:pt x="697" y="410"/>
                    </a:lnTo>
                    <a:lnTo>
                      <a:pt x="711" y="402"/>
                    </a:lnTo>
                    <a:lnTo>
                      <a:pt x="711" y="416"/>
                    </a:lnTo>
                    <a:lnTo>
                      <a:pt x="719" y="416"/>
                    </a:lnTo>
                    <a:lnTo>
                      <a:pt x="739" y="394"/>
                    </a:lnTo>
                    <a:lnTo>
                      <a:pt x="753" y="388"/>
                    </a:lnTo>
                    <a:lnTo>
                      <a:pt x="759" y="382"/>
                    </a:lnTo>
                    <a:lnTo>
                      <a:pt x="767" y="374"/>
                    </a:lnTo>
                    <a:lnTo>
                      <a:pt x="773" y="374"/>
                    </a:lnTo>
                    <a:lnTo>
                      <a:pt x="787" y="382"/>
                    </a:lnTo>
                    <a:lnTo>
                      <a:pt x="795" y="374"/>
                    </a:lnTo>
                    <a:lnTo>
                      <a:pt x="787" y="368"/>
                    </a:lnTo>
                    <a:lnTo>
                      <a:pt x="801" y="362"/>
                    </a:lnTo>
                    <a:lnTo>
                      <a:pt x="807" y="348"/>
                    </a:lnTo>
                    <a:lnTo>
                      <a:pt x="815" y="340"/>
                    </a:lnTo>
                    <a:lnTo>
                      <a:pt x="821" y="340"/>
                    </a:lnTo>
                    <a:lnTo>
                      <a:pt x="829" y="334"/>
                    </a:lnTo>
                    <a:lnTo>
                      <a:pt x="829" y="326"/>
                    </a:lnTo>
                    <a:lnTo>
                      <a:pt x="835" y="334"/>
                    </a:lnTo>
                    <a:lnTo>
                      <a:pt x="841" y="334"/>
                    </a:lnTo>
                    <a:lnTo>
                      <a:pt x="843" y="326"/>
                    </a:lnTo>
                    <a:lnTo>
                      <a:pt x="843" y="294"/>
                    </a:lnTo>
                    <a:lnTo>
                      <a:pt x="863" y="286"/>
                    </a:lnTo>
                    <a:lnTo>
                      <a:pt x="871" y="266"/>
                    </a:lnTo>
                    <a:lnTo>
                      <a:pt x="877" y="260"/>
                    </a:lnTo>
                    <a:lnTo>
                      <a:pt x="898" y="260"/>
                    </a:lnTo>
                    <a:lnTo>
                      <a:pt x="912" y="260"/>
                    </a:lnTo>
                    <a:lnTo>
                      <a:pt x="920" y="238"/>
                    </a:lnTo>
                    <a:lnTo>
                      <a:pt x="920" y="218"/>
                    </a:lnTo>
                    <a:lnTo>
                      <a:pt x="906" y="196"/>
                    </a:lnTo>
                    <a:lnTo>
                      <a:pt x="898" y="196"/>
                    </a:lnTo>
                    <a:lnTo>
                      <a:pt x="898" y="190"/>
                    </a:lnTo>
                    <a:lnTo>
                      <a:pt x="906" y="184"/>
                    </a:lnTo>
                    <a:lnTo>
                      <a:pt x="912" y="176"/>
                    </a:lnTo>
                    <a:lnTo>
                      <a:pt x="912" y="170"/>
                    </a:lnTo>
                    <a:lnTo>
                      <a:pt x="898" y="170"/>
                    </a:lnTo>
                    <a:lnTo>
                      <a:pt x="892" y="164"/>
                    </a:lnTo>
                    <a:lnTo>
                      <a:pt x="898" y="156"/>
                    </a:lnTo>
                    <a:lnTo>
                      <a:pt x="912" y="150"/>
                    </a:lnTo>
                    <a:lnTo>
                      <a:pt x="920" y="144"/>
                    </a:lnTo>
                    <a:lnTo>
                      <a:pt x="920" y="122"/>
                    </a:lnTo>
                    <a:lnTo>
                      <a:pt x="912" y="122"/>
                    </a:lnTo>
                    <a:lnTo>
                      <a:pt x="906" y="130"/>
                    </a:lnTo>
                    <a:lnTo>
                      <a:pt x="892" y="130"/>
                    </a:lnTo>
                    <a:lnTo>
                      <a:pt x="877" y="122"/>
                    </a:lnTo>
                    <a:lnTo>
                      <a:pt x="863" y="122"/>
                    </a:lnTo>
                    <a:lnTo>
                      <a:pt x="863" y="130"/>
                    </a:lnTo>
                    <a:lnTo>
                      <a:pt x="857" y="122"/>
                    </a:lnTo>
                    <a:lnTo>
                      <a:pt x="857" y="116"/>
                    </a:lnTo>
                    <a:lnTo>
                      <a:pt x="851" y="116"/>
                    </a:lnTo>
                    <a:lnTo>
                      <a:pt x="837" y="116"/>
                    </a:lnTo>
                    <a:lnTo>
                      <a:pt x="837" y="122"/>
                    </a:lnTo>
                    <a:lnTo>
                      <a:pt x="823" y="122"/>
                    </a:lnTo>
                    <a:lnTo>
                      <a:pt x="823" y="116"/>
                    </a:lnTo>
                    <a:lnTo>
                      <a:pt x="809" y="122"/>
                    </a:lnTo>
                    <a:lnTo>
                      <a:pt x="801" y="116"/>
                    </a:lnTo>
                    <a:lnTo>
                      <a:pt x="795" y="108"/>
                    </a:lnTo>
                    <a:lnTo>
                      <a:pt x="795" y="116"/>
                    </a:lnTo>
                    <a:lnTo>
                      <a:pt x="781" y="122"/>
                    </a:lnTo>
                    <a:lnTo>
                      <a:pt x="761" y="108"/>
                    </a:lnTo>
                    <a:lnTo>
                      <a:pt x="755" y="102"/>
                    </a:lnTo>
                    <a:lnTo>
                      <a:pt x="755" y="96"/>
                    </a:lnTo>
                    <a:lnTo>
                      <a:pt x="741" y="96"/>
                    </a:lnTo>
                    <a:lnTo>
                      <a:pt x="727" y="108"/>
                    </a:lnTo>
                    <a:lnTo>
                      <a:pt x="721" y="116"/>
                    </a:lnTo>
                    <a:lnTo>
                      <a:pt x="713" y="116"/>
                    </a:lnTo>
                    <a:lnTo>
                      <a:pt x="707" y="108"/>
                    </a:lnTo>
                    <a:lnTo>
                      <a:pt x="699" y="116"/>
                    </a:lnTo>
                    <a:lnTo>
                      <a:pt x="693" y="108"/>
                    </a:lnTo>
                    <a:lnTo>
                      <a:pt x="685" y="108"/>
                    </a:lnTo>
                    <a:lnTo>
                      <a:pt x="673" y="108"/>
                    </a:lnTo>
                    <a:lnTo>
                      <a:pt x="665" y="108"/>
                    </a:lnTo>
                    <a:lnTo>
                      <a:pt x="665" y="102"/>
                    </a:lnTo>
                    <a:lnTo>
                      <a:pt x="657" y="82"/>
                    </a:lnTo>
                    <a:lnTo>
                      <a:pt x="657" y="76"/>
                    </a:lnTo>
                    <a:lnTo>
                      <a:pt x="645" y="76"/>
                    </a:lnTo>
                    <a:lnTo>
                      <a:pt x="637" y="62"/>
                    </a:lnTo>
                    <a:lnTo>
                      <a:pt x="637" y="54"/>
                    </a:lnTo>
                    <a:lnTo>
                      <a:pt x="631" y="54"/>
                    </a:lnTo>
                    <a:lnTo>
                      <a:pt x="623" y="62"/>
                    </a:lnTo>
                    <a:lnTo>
                      <a:pt x="603" y="62"/>
                    </a:lnTo>
                    <a:lnTo>
                      <a:pt x="589" y="62"/>
                    </a:lnTo>
                    <a:lnTo>
                      <a:pt x="589" y="54"/>
                    </a:lnTo>
                    <a:lnTo>
                      <a:pt x="589" y="40"/>
                    </a:lnTo>
                    <a:lnTo>
                      <a:pt x="589" y="26"/>
                    </a:lnTo>
                    <a:lnTo>
                      <a:pt x="583" y="20"/>
                    </a:lnTo>
                    <a:lnTo>
                      <a:pt x="575" y="8"/>
                    </a:lnTo>
                    <a:lnTo>
                      <a:pt x="569" y="0"/>
                    </a:lnTo>
                    <a:lnTo>
                      <a:pt x="561" y="0"/>
                    </a:lnTo>
                    <a:lnTo>
                      <a:pt x="549" y="8"/>
                    </a:lnTo>
                    <a:lnTo>
                      <a:pt x="535" y="0"/>
                    </a:lnTo>
                    <a:lnTo>
                      <a:pt x="529" y="0"/>
                    </a:lnTo>
                    <a:lnTo>
                      <a:pt x="521" y="8"/>
                    </a:lnTo>
                    <a:lnTo>
                      <a:pt x="515" y="8"/>
                    </a:lnTo>
                    <a:lnTo>
                      <a:pt x="501" y="14"/>
                    </a:lnTo>
                    <a:lnTo>
                      <a:pt x="493" y="8"/>
                    </a:lnTo>
                    <a:lnTo>
                      <a:pt x="481" y="14"/>
                    </a:lnTo>
                    <a:lnTo>
                      <a:pt x="481" y="20"/>
                    </a:lnTo>
                    <a:lnTo>
                      <a:pt x="481" y="14"/>
                    </a:lnTo>
                    <a:lnTo>
                      <a:pt x="481" y="26"/>
                    </a:lnTo>
                    <a:lnTo>
                      <a:pt x="467" y="26"/>
                    </a:lnTo>
                    <a:lnTo>
                      <a:pt x="459" y="26"/>
                    </a:lnTo>
                    <a:lnTo>
                      <a:pt x="453" y="26"/>
                    </a:lnTo>
                    <a:lnTo>
                      <a:pt x="445" y="22"/>
                    </a:lnTo>
                    <a:lnTo>
                      <a:pt x="433" y="22"/>
                    </a:lnTo>
                    <a:lnTo>
                      <a:pt x="425" y="22"/>
                    </a:lnTo>
                    <a:lnTo>
                      <a:pt x="415" y="34"/>
                    </a:lnTo>
                    <a:lnTo>
                      <a:pt x="415" y="46"/>
                    </a:lnTo>
                    <a:lnTo>
                      <a:pt x="409" y="62"/>
                    </a:lnTo>
                    <a:lnTo>
                      <a:pt x="417" y="76"/>
                    </a:lnTo>
                    <a:lnTo>
                      <a:pt x="415" y="82"/>
                    </a:lnTo>
                    <a:lnTo>
                      <a:pt x="415" y="96"/>
                    </a:lnTo>
                    <a:lnTo>
                      <a:pt x="411" y="96"/>
                    </a:lnTo>
                    <a:lnTo>
                      <a:pt x="397" y="82"/>
                    </a:lnTo>
                    <a:lnTo>
                      <a:pt x="391" y="82"/>
                    </a:lnTo>
                    <a:lnTo>
                      <a:pt x="385" y="88"/>
                    </a:lnTo>
                    <a:lnTo>
                      <a:pt x="363" y="82"/>
                    </a:lnTo>
                    <a:lnTo>
                      <a:pt x="357" y="82"/>
                    </a:lnTo>
                    <a:lnTo>
                      <a:pt x="349" y="88"/>
                    </a:lnTo>
                    <a:lnTo>
                      <a:pt x="347" y="96"/>
                    </a:lnTo>
                    <a:lnTo>
                      <a:pt x="343" y="102"/>
                    </a:lnTo>
                    <a:lnTo>
                      <a:pt x="335" y="84"/>
                    </a:lnTo>
                    <a:lnTo>
                      <a:pt x="329" y="82"/>
                    </a:lnTo>
                    <a:lnTo>
                      <a:pt x="321" y="96"/>
                    </a:lnTo>
                    <a:lnTo>
                      <a:pt x="317" y="88"/>
                    </a:lnTo>
                    <a:lnTo>
                      <a:pt x="309" y="82"/>
                    </a:lnTo>
                    <a:lnTo>
                      <a:pt x="295" y="82"/>
                    </a:lnTo>
                    <a:lnTo>
                      <a:pt x="289" y="88"/>
                    </a:lnTo>
                    <a:lnTo>
                      <a:pt x="267" y="88"/>
                    </a:lnTo>
                    <a:lnTo>
                      <a:pt x="260" y="82"/>
                    </a:lnTo>
                    <a:lnTo>
                      <a:pt x="252" y="82"/>
                    </a:lnTo>
                    <a:lnTo>
                      <a:pt x="226" y="76"/>
                    </a:lnTo>
                    <a:lnTo>
                      <a:pt x="212" y="68"/>
                    </a:lnTo>
                    <a:lnTo>
                      <a:pt x="192" y="62"/>
                    </a:lnTo>
                    <a:lnTo>
                      <a:pt x="172" y="62"/>
                    </a:lnTo>
                    <a:lnTo>
                      <a:pt x="150" y="68"/>
                    </a:lnTo>
                    <a:lnTo>
                      <a:pt x="138" y="68"/>
                    </a:lnTo>
                    <a:lnTo>
                      <a:pt x="124" y="66"/>
                    </a:lnTo>
                    <a:lnTo>
                      <a:pt x="112" y="74"/>
                    </a:lnTo>
                    <a:lnTo>
                      <a:pt x="108" y="82"/>
                    </a:lnTo>
                    <a:lnTo>
                      <a:pt x="102" y="88"/>
                    </a:lnTo>
                    <a:lnTo>
                      <a:pt x="96" y="96"/>
                    </a:lnTo>
                    <a:lnTo>
                      <a:pt x="90" y="88"/>
                    </a:lnTo>
                    <a:lnTo>
                      <a:pt x="80" y="88"/>
                    </a:lnTo>
                    <a:lnTo>
                      <a:pt x="76" y="102"/>
                    </a:lnTo>
                    <a:lnTo>
                      <a:pt x="78" y="104"/>
                    </a:lnTo>
                    <a:lnTo>
                      <a:pt x="74" y="108"/>
                    </a:lnTo>
                    <a:lnTo>
                      <a:pt x="68" y="116"/>
                    </a:lnTo>
                    <a:lnTo>
                      <a:pt x="74" y="122"/>
                    </a:lnTo>
                    <a:lnTo>
                      <a:pt x="88" y="136"/>
                    </a:lnTo>
                    <a:lnTo>
                      <a:pt x="96" y="144"/>
                    </a:lnTo>
                    <a:lnTo>
                      <a:pt x="88" y="150"/>
                    </a:lnTo>
                    <a:lnTo>
                      <a:pt x="88" y="156"/>
                    </a:lnTo>
                    <a:lnTo>
                      <a:pt x="96" y="164"/>
                    </a:lnTo>
                    <a:lnTo>
                      <a:pt x="96" y="176"/>
                    </a:lnTo>
                    <a:lnTo>
                      <a:pt x="96" y="184"/>
                    </a:lnTo>
                    <a:lnTo>
                      <a:pt x="88" y="184"/>
                    </a:lnTo>
                    <a:lnTo>
                      <a:pt x="82" y="184"/>
                    </a:lnTo>
                    <a:lnTo>
                      <a:pt x="74" y="196"/>
                    </a:lnTo>
                    <a:lnTo>
                      <a:pt x="62" y="204"/>
                    </a:lnTo>
                    <a:lnTo>
                      <a:pt x="42" y="224"/>
                    </a:lnTo>
                    <a:lnTo>
                      <a:pt x="34" y="232"/>
                    </a:lnTo>
                    <a:lnTo>
                      <a:pt x="28" y="246"/>
                    </a:lnTo>
                    <a:lnTo>
                      <a:pt x="34" y="266"/>
                    </a:lnTo>
                    <a:lnTo>
                      <a:pt x="34" y="280"/>
                    </a:lnTo>
                    <a:lnTo>
                      <a:pt x="28" y="280"/>
                    </a:lnTo>
                    <a:lnTo>
                      <a:pt x="20" y="280"/>
                    </a:lnTo>
                    <a:lnTo>
                      <a:pt x="8" y="300"/>
                    </a:lnTo>
                    <a:lnTo>
                      <a:pt x="0" y="320"/>
                    </a:lnTo>
                    <a:lnTo>
                      <a:pt x="0" y="334"/>
                    </a:lnTo>
                    <a:lnTo>
                      <a:pt x="14" y="348"/>
                    </a:lnTo>
                    <a:lnTo>
                      <a:pt x="28" y="354"/>
                    </a:lnTo>
                    <a:lnTo>
                      <a:pt x="42" y="354"/>
                    </a:lnTo>
                    <a:lnTo>
                      <a:pt x="68" y="354"/>
                    </a:lnTo>
                    <a:lnTo>
                      <a:pt x="82" y="362"/>
                    </a:lnTo>
                    <a:lnTo>
                      <a:pt x="96" y="368"/>
                    </a:lnTo>
                    <a:lnTo>
                      <a:pt x="116" y="362"/>
                    </a:lnTo>
                    <a:lnTo>
                      <a:pt x="122" y="354"/>
                    </a:lnTo>
                    <a:lnTo>
                      <a:pt x="136" y="362"/>
                    </a:lnTo>
                    <a:lnTo>
                      <a:pt x="144" y="368"/>
                    </a:lnTo>
                    <a:lnTo>
                      <a:pt x="156" y="362"/>
                    </a:lnTo>
                    <a:lnTo>
                      <a:pt x="172" y="348"/>
                    </a:lnTo>
                    <a:lnTo>
                      <a:pt x="184" y="348"/>
                    </a:lnTo>
                    <a:lnTo>
                      <a:pt x="198" y="348"/>
                    </a:lnTo>
                    <a:lnTo>
                      <a:pt x="204" y="348"/>
                    </a:lnTo>
                    <a:lnTo>
                      <a:pt x="212" y="334"/>
                    </a:lnTo>
                    <a:lnTo>
                      <a:pt x="220" y="334"/>
                    </a:lnTo>
                    <a:lnTo>
                      <a:pt x="232" y="334"/>
                    </a:lnTo>
                    <a:lnTo>
                      <a:pt x="232" y="326"/>
                    </a:lnTo>
                    <a:lnTo>
                      <a:pt x="240" y="334"/>
                    </a:lnTo>
                    <a:lnTo>
                      <a:pt x="246" y="334"/>
                    </a:lnTo>
                    <a:lnTo>
                      <a:pt x="267" y="326"/>
                    </a:lnTo>
                    <a:lnTo>
                      <a:pt x="275" y="320"/>
                    </a:lnTo>
                    <a:lnTo>
                      <a:pt x="281" y="314"/>
                    </a:lnTo>
                    <a:lnTo>
                      <a:pt x="301" y="314"/>
                    </a:lnTo>
                    <a:lnTo>
                      <a:pt x="301" y="320"/>
                    </a:lnTo>
                    <a:lnTo>
                      <a:pt x="315" y="320"/>
                    </a:lnTo>
                    <a:lnTo>
                      <a:pt x="323" y="326"/>
                    </a:lnTo>
                    <a:lnTo>
                      <a:pt x="329" y="334"/>
                    </a:lnTo>
                    <a:lnTo>
                      <a:pt x="335" y="326"/>
                    </a:lnTo>
                    <a:lnTo>
                      <a:pt x="343" y="326"/>
                    </a:lnTo>
                    <a:lnTo>
                      <a:pt x="349" y="334"/>
                    </a:lnTo>
                    <a:lnTo>
                      <a:pt x="363" y="340"/>
                    </a:lnTo>
                    <a:lnTo>
                      <a:pt x="363" y="334"/>
                    </a:lnTo>
                    <a:lnTo>
                      <a:pt x="377" y="340"/>
                    </a:lnTo>
                    <a:lnTo>
                      <a:pt x="377" y="348"/>
                    </a:lnTo>
                    <a:lnTo>
                      <a:pt x="377" y="354"/>
                    </a:lnTo>
                    <a:lnTo>
                      <a:pt x="383" y="354"/>
                    </a:lnTo>
                    <a:lnTo>
                      <a:pt x="383" y="368"/>
                    </a:lnTo>
                    <a:lnTo>
                      <a:pt x="383" y="382"/>
                    </a:lnTo>
                    <a:lnTo>
                      <a:pt x="383" y="388"/>
                    </a:lnTo>
                    <a:lnTo>
                      <a:pt x="391" y="388"/>
                    </a:lnTo>
                    <a:lnTo>
                      <a:pt x="397" y="388"/>
                    </a:lnTo>
                    <a:lnTo>
                      <a:pt x="405" y="402"/>
                    </a:lnTo>
                    <a:lnTo>
                      <a:pt x="405" y="416"/>
                    </a:lnTo>
                    <a:lnTo>
                      <a:pt x="411" y="416"/>
                    </a:lnTo>
                    <a:lnTo>
                      <a:pt x="419" y="416"/>
                    </a:lnTo>
                    <a:lnTo>
                      <a:pt x="419" y="422"/>
                    </a:lnTo>
                    <a:lnTo>
                      <a:pt x="419" y="430"/>
                    </a:lnTo>
                    <a:lnTo>
                      <a:pt x="425" y="436"/>
                    </a:lnTo>
                    <a:lnTo>
                      <a:pt x="431" y="444"/>
                    </a:lnTo>
                    <a:lnTo>
                      <a:pt x="439" y="450"/>
                    </a:lnTo>
                    <a:lnTo>
                      <a:pt x="439" y="458"/>
                    </a:lnTo>
                    <a:lnTo>
                      <a:pt x="439" y="458"/>
                    </a:lnTo>
                    <a:lnTo>
                      <a:pt x="439" y="458"/>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5" name="Freeform 19"/>
              <p:cNvSpPr>
                <a:spLocks/>
              </p:cNvSpPr>
              <p:nvPr/>
            </p:nvSpPr>
            <p:spPr bwMode="gray">
              <a:xfrm>
                <a:off x="5840154" y="3435211"/>
                <a:ext cx="347740" cy="368382"/>
              </a:xfrm>
              <a:custGeom>
                <a:avLst/>
                <a:gdLst>
                  <a:gd name="T0" fmla="*/ 6 w 219"/>
                  <a:gd name="T1" fmla="*/ 34 h 232"/>
                  <a:gd name="T2" fmla="*/ 12 w 219"/>
                  <a:gd name="T3" fmla="*/ 54 h 232"/>
                  <a:gd name="T4" fmla="*/ 27 w 219"/>
                  <a:gd name="T5" fmla="*/ 68 h 232"/>
                  <a:gd name="T6" fmla="*/ 47 w 219"/>
                  <a:gd name="T7" fmla="*/ 76 h 232"/>
                  <a:gd name="T8" fmla="*/ 55 w 219"/>
                  <a:gd name="T9" fmla="*/ 90 h 232"/>
                  <a:gd name="T10" fmla="*/ 75 w 219"/>
                  <a:gd name="T11" fmla="*/ 96 h 232"/>
                  <a:gd name="T12" fmla="*/ 83 w 219"/>
                  <a:gd name="T13" fmla="*/ 116 h 232"/>
                  <a:gd name="T14" fmla="*/ 89 w 219"/>
                  <a:gd name="T15" fmla="*/ 144 h 232"/>
                  <a:gd name="T16" fmla="*/ 83 w 219"/>
                  <a:gd name="T17" fmla="*/ 164 h 232"/>
                  <a:gd name="T18" fmla="*/ 89 w 219"/>
                  <a:gd name="T19" fmla="*/ 178 h 232"/>
                  <a:gd name="T20" fmla="*/ 83 w 219"/>
                  <a:gd name="T21" fmla="*/ 192 h 232"/>
                  <a:gd name="T22" fmla="*/ 83 w 219"/>
                  <a:gd name="T23" fmla="*/ 218 h 232"/>
                  <a:gd name="T24" fmla="*/ 95 w 219"/>
                  <a:gd name="T25" fmla="*/ 226 h 232"/>
                  <a:gd name="T26" fmla="*/ 109 w 219"/>
                  <a:gd name="T27" fmla="*/ 232 h 232"/>
                  <a:gd name="T28" fmla="*/ 131 w 219"/>
                  <a:gd name="T29" fmla="*/ 232 h 232"/>
                  <a:gd name="T30" fmla="*/ 145 w 219"/>
                  <a:gd name="T31" fmla="*/ 218 h 232"/>
                  <a:gd name="T32" fmla="*/ 157 w 219"/>
                  <a:gd name="T33" fmla="*/ 218 h 232"/>
                  <a:gd name="T34" fmla="*/ 165 w 219"/>
                  <a:gd name="T35" fmla="*/ 226 h 232"/>
                  <a:gd name="T36" fmla="*/ 173 w 219"/>
                  <a:gd name="T37" fmla="*/ 212 h 232"/>
                  <a:gd name="T38" fmla="*/ 165 w 219"/>
                  <a:gd name="T39" fmla="*/ 198 h 232"/>
                  <a:gd name="T40" fmla="*/ 173 w 219"/>
                  <a:gd name="T41" fmla="*/ 184 h 232"/>
                  <a:gd name="T42" fmla="*/ 179 w 219"/>
                  <a:gd name="T43" fmla="*/ 192 h 232"/>
                  <a:gd name="T44" fmla="*/ 199 w 219"/>
                  <a:gd name="T45" fmla="*/ 184 h 232"/>
                  <a:gd name="T46" fmla="*/ 213 w 219"/>
                  <a:gd name="T47" fmla="*/ 178 h 232"/>
                  <a:gd name="T48" fmla="*/ 219 w 219"/>
                  <a:gd name="T49" fmla="*/ 164 h 232"/>
                  <a:gd name="T50" fmla="*/ 205 w 219"/>
                  <a:gd name="T51" fmla="*/ 156 h 232"/>
                  <a:gd name="T52" fmla="*/ 193 w 219"/>
                  <a:gd name="T53" fmla="*/ 144 h 232"/>
                  <a:gd name="T54" fmla="*/ 199 w 219"/>
                  <a:gd name="T55" fmla="*/ 138 h 232"/>
                  <a:gd name="T56" fmla="*/ 187 w 219"/>
                  <a:gd name="T57" fmla="*/ 124 h 232"/>
                  <a:gd name="T58" fmla="*/ 179 w 219"/>
                  <a:gd name="T59" fmla="*/ 110 h 232"/>
                  <a:gd name="T60" fmla="*/ 173 w 219"/>
                  <a:gd name="T61" fmla="*/ 104 h 232"/>
                  <a:gd name="T62" fmla="*/ 165 w 219"/>
                  <a:gd name="T63" fmla="*/ 90 h 232"/>
                  <a:gd name="T64" fmla="*/ 151 w 219"/>
                  <a:gd name="T65" fmla="*/ 76 h 232"/>
                  <a:gd name="T66" fmla="*/ 145 w 219"/>
                  <a:gd name="T67" fmla="*/ 68 h 232"/>
                  <a:gd name="T68" fmla="*/ 145 w 219"/>
                  <a:gd name="T69" fmla="*/ 42 h 232"/>
                  <a:gd name="T70" fmla="*/ 139 w 219"/>
                  <a:gd name="T71" fmla="*/ 34 h 232"/>
                  <a:gd name="T72" fmla="*/ 123 w 219"/>
                  <a:gd name="T73" fmla="*/ 20 h 232"/>
                  <a:gd name="T74" fmla="*/ 111 w 219"/>
                  <a:gd name="T75" fmla="*/ 20 h 232"/>
                  <a:gd name="T76" fmla="*/ 97 w 219"/>
                  <a:gd name="T77" fmla="*/ 14 h 232"/>
                  <a:gd name="T78" fmla="*/ 83 w 219"/>
                  <a:gd name="T79" fmla="*/ 14 h 232"/>
                  <a:gd name="T80" fmla="*/ 63 w 219"/>
                  <a:gd name="T81" fmla="*/ 6 h 232"/>
                  <a:gd name="T82" fmla="*/ 43 w 219"/>
                  <a:gd name="T83" fmla="*/ 0 h 232"/>
                  <a:gd name="T84" fmla="*/ 29 w 219"/>
                  <a:gd name="T85" fmla="*/ 14 h 232"/>
                  <a:gd name="T86" fmla="*/ 0 w 219"/>
                  <a:gd name="T87" fmla="*/ 20 h 232"/>
                  <a:gd name="T88" fmla="*/ 0 w 219"/>
                  <a:gd name="T89" fmla="*/ 2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9" h="232">
                    <a:moveTo>
                      <a:pt x="0" y="20"/>
                    </a:moveTo>
                    <a:lnTo>
                      <a:pt x="6" y="34"/>
                    </a:lnTo>
                    <a:lnTo>
                      <a:pt x="12" y="34"/>
                    </a:lnTo>
                    <a:lnTo>
                      <a:pt x="12" y="54"/>
                    </a:lnTo>
                    <a:lnTo>
                      <a:pt x="20" y="62"/>
                    </a:lnTo>
                    <a:lnTo>
                      <a:pt x="27" y="68"/>
                    </a:lnTo>
                    <a:lnTo>
                      <a:pt x="41" y="76"/>
                    </a:lnTo>
                    <a:lnTo>
                      <a:pt x="47" y="76"/>
                    </a:lnTo>
                    <a:lnTo>
                      <a:pt x="47" y="82"/>
                    </a:lnTo>
                    <a:lnTo>
                      <a:pt x="55" y="90"/>
                    </a:lnTo>
                    <a:lnTo>
                      <a:pt x="61" y="90"/>
                    </a:lnTo>
                    <a:lnTo>
                      <a:pt x="75" y="96"/>
                    </a:lnTo>
                    <a:lnTo>
                      <a:pt x="75" y="104"/>
                    </a:lnTo>
                    <a:lnTo>
                      <a:pt x="83" y="116"/>
                    </a:lnTo>
                    <a:lnTo>
                      <a:pt x="83" y="130"/>
                    </a:lnTo>
                    <a:lnTo>
                      <a:pt x="89" y="144"/>
                    </a:lnTo>
                    <a:lnTo>
                      <a:pt x="89" y="156"/>
                    </a:lnTo>
                    <a:lnTo>
                      <a:pt x="83" y="164"/>
                    </a:lnTo>
                    <a:lnTo>
                      <a:pt x="83" y="170"/>
                    </a:lnTo>
                    <a:lnTo>
                      <a:pt x="89" y="178"/>
                    </a:lnTo>
                    <a:lnTo>
                      <a:pt x="83" y="184"/>
                    </a:lnTo>
                    <a:lnTo>
                      <a:pt x="83" y="192"/>
                    </a:lnTo>
                    <a:lnTo>
                      <a:pt x="83" y="206"/>
                    </a:lnTo>
                    <a:lnTo>
                      <a:pt x="83" y="218"/>
                    </a:lnTo>
                    <a:lnTo>
                      <a:pt x="83" y="226"/>
                    </a:lnTo>
                    <a:lnTo>
                      <a:pt x="95" y="226"/>
                    </a:lnTo>
                    <a:lnTo>
                      <a:pt x="103" y="232"/>
                    </a:lnTo>
                    <a:lnTo>
                      <a:pt x="109" y="232"/>
                    </a:lnTo>
                    <a:lnTo>
                      <a:pt x="117" y="232"/>
                    </a:lnTo>
                    <a:lnTo>
                      <a:pt x="131" y="232"/>
                    </a:lnTo>
                    <a:lnTo>
                      <a:pt x="139" y="226"/>
                    </a:lnTo>
                    <a:lnTo>
                      <a:pt x="145" y="218"/>
                    </a:lnTo>
                    <a:lnTo>
                      <a:pt x="151" y="212"/>
                    </a:lnTo>
                    <a:lnTo>
                      <a:pt x="157" y="218"/>
                    </a:lnTo>
                    <a:lnTo>
                      <a:pt x="165" y="218"/>
                    </a:lnTo>
                    <a:lnTo>
                      <a:pt x="165" y="226"/>
                    </a:lnTo>
                    <a:lnTo>
                      <a:pt x="173" y="226"/>
                    </a:lnTo>
                    <a:lnTo>
                      <a:pt x="173" y="212"/>
                    </a:lnTo>
                    <a:lnTo>
                      <a:pt x="173" y="206"/>
                    </a:lnTo>
                    <a:lnTo>
                      <a:pt x="165" y="198"/>
                    </a:lnTo>
                    <a:lnTo>
                      <a:pt x="165" y="192"/>
                    </a:lnTo>
                    <a:lnTo>
                      <a:pt x="173" y="184"/>
                    </a:lnTo>
                    <a:lnTo>
                      <a:pt x="179" y="184"/>
                    </a:lnTo>
                    <a:lnTo>
                      <a:pt x="179" y="192"/>
                    </a:lnTo>
                    <a:lnTo>
                      <a:pt x="185" y="184"/>
                    </a:lnTo>
                    <a:lnTo>
                      <a:pt x="199" y="184"/>
                    </a:lnTo>
                    <a:lnTo>
                      <a:pt x="205" y="178"/>
                    </a:lnTo>
                    <a:lnTo>
                      <a:pt x="213" y="178"/>
                    </a:lnTo>
                    <a:lnTo>
                      <a:pt x="219" y="178"/>
                    </a:lnTo>
                    <a:lnTo>
                      <a:pt x="219" y="164"/>
                    </a:lnTo>
                    <a:lnTo>
                      <a:pt x="213" y="156"/>
                    </a:lnTo>
                    <a:lnTo>
                      <a:pt x="205" y="156"/>
                    </a:lnTo>
                    <a:lnTo>
                      <a:pt x="193" y="150"/>
                    </a:lnTo>
                    <a:lnTo>
                      <a:pt x="193" y="144"/>
                    </a:lnTo>
                    <a:lnTo>
                      <a:pt x="199" y="144"/>
                    </a:lnTo>
                    <a:lnTo>
                      <a:pt x="199" y="138"/>
                    </a:lnTo>
                    <a:lnTo>
                      <a:pt x="193" y="130"/>
                    </a:lnTo>
                    <a:lnTo>
                      <a:pt x="187" y="124"/>
                    </a:lnTo>
                    <a:lnTo>
                      <a:pt x="179" y="116"/>
                    </a:lnTo>
                    <a:lnTo>
                      <a:pt x="179" y="110"/>
                    </a:lnTo>
                    <a:lnTo>
                      <a:pt x="179" y="104"/>
                    </a:lnTo>
                    <a:lnTo>
                      <a:pt x="173" y="104"/>
                    </a:lnTo>
                    <a:lnTo>
                      <a:pt x="165" y="104"/>
                    </a:lnTo>
                    <a:lnTo>
                      <a:pt x="165" y="90"/>
                    </a:lnTo>
                    <a:lnTo>
                      <a:pt x="159" y="76"/>
                    </a:lnTo>
                    <a:lnTo>
                      <a:pt x="151" y="76"/>
                    </a:lnTo>
                    <a:lnTo>
                      <a:pt x="145" y="76"/>
                    </a:lnTo>
                    <a:lnTo>
                      <a:pt x="145" y="68"/>
                    </a:lnTo>
                    <a:lnTo>
                      <a:pt x="145" y="54"/>
                    </a:lnTo>
                    <a:lnTo>
                      <a:pt x="145" y="42"/>
                    </a:lnTo>
                    <a:lnTo>
                      <a:pt x="139" y="42"/>
                    </a:lnTo>
                    <a:lnTo>
                      <a:pt x="139" y="34"/>
                    </a:lnTo>
                    <a:lnTo>
                      <a:pt x="139" y="28"/>
                    </a:lnTo>
                    <a:lnTo>
                      <a:pt x="123" y="20"/>
                    </a:lnTo>
                    <a:lnTo>
                      <a:pt x="123" y="28"/>
                    </a:lnTo>
                    <a:lnTo>
                      <a:pt x="111" y="20"/>
                    </a:lnTo>
                    <a:lnTo>
                      <a:pt x="105" y="14"/>
                    </a:lnTo>
                    <a:lnTo>
                      <a:pt x="97" y="14"/>
                    </a:lnTo>
                    <a:lnTo>
                      <a:pt x="91" y="20"/>
                    </a:lnTo>
                    <a:lnTo>
                      <a:pt x="83" y="14"/>
                    </a:lnTo>
                    <a:lnTo>
                      <a:pt x="77" y="6"/>
                    </a:lnTo>
                    <a:lnTo>
                      <a:pt x="63" y="6"/>
                    </a:lnTo>
                    <a:lnTo>
                      <a:pt x="63" y="0"/>
                    </a:lnTo>
                    <a:lnTo>
                      <a:pt x="43" y="0"/>
                    </a:lnTo>
                    <a:lnTo>
                      <a:pt x="35" y="6"/>
                    </a:lnTo>
                    <a:lnTo>
                      <a:pt x="29" y="14"/>
                    </a:lnTo>
                    <a:lnTo>
                      <a:pt x="8" y="20"/>
                    </a:lnTo>
                    <a:lnTo>
                      <a:pt x="0" y="20"/>
                    </a:lnTo>
                    <a:lnTo>
                      <a:pt x="0" y="20"/>
                    </a:lnTo>
                    <a:lnTo>
                      <a:pt x="0" y="2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6" name="Freeform 20"/>
              <p:cNvSpPr>
                <a:spLocks/>
              </p:cNvSpPr>
              <p:nvPr/>
            </p:nvSpPr>
            <p:spPr bwMode="gray">
              <a:xfrm>
                <a:off x="7046922" y="3790890"/>
                <a:ext cx="666898" cy="238178"/>
              </a:xfrm>
              <a:custGeom>
                <a:avLst/>
                <a:gdLst>
                  <a:gd name="T0" fmla="*/ 226 w 420"/>
                  <a:gd name="T1" fmla="*/ 150 h 150"/>
                  <a:gd name="T2" fmla="*/ 220 w 420"/>
                  <a:gd name="T3" fmla="*/ 144 h 150"/>
                  <a:gd name="T4" fmla="*/ 212 w 420"/>
                  <a:gd name="T5" fmla="*/ 138 h 150"/>
                  <a:gd name="T6" fmla="*/ 192 w 420"/>
                  <a:gd name="T7" fmla="*/ 138 h 150"/>
                  <a:gd name="T8" fmla="*/ 178 w 420"/>
                  <a:gd name="T9" fmla="*/ 144 h 150"/>
                  <a:gd name="T10" fmla="*/ 144 w 420"/>
                  <a:gd name="T11" fmla="*/ 144 h 150"/>
                  <a:gd name="T12" fmla="*/ 138 w 420"/>
                  <a:gd name="T13" fmla="*/ 150 h 150"/>
                  <a:gd name="T14" fmla="*/ 130 w 420"/>
                  <a:gd name="T15" fmla="*/ 144 h 150"/>
                  <a:gd name="T16" fmla="*/ 138 w 420"/>
                  <a:gd name="T17" fmla="*/ 124 h 150"/>
                  <a:gd name="T18" fmla="*/ 144 w 420"/>
                  <a:gd name="T19" fmla="*/ 116 h 150"/>
                  <a:gd name="T20" fmla="*/ 124 w 420"/>
                  <a:gd name="T21" fmla="*/ 96 h 150"/>
                  <a:gd name="T22" fmla="*/ 110 w 420"/>
                  <a:gd name="T23" fmla="*/ 76 h 150"/>
                  <a:gd name="T24" fmla="*/ 104 w 420"/>
                  <a:gd name="T25" fmla="*/ 62 h 150"/>
                  <a:gd name="T26" fmla="*/ 84 w 420"/>
                  <a:gd name="T27" fmla="*/ 62 h 150"/>
                  <a:gd name="T28" fmla="*/ 68 w 420"/>
                  <a:gd name="T29" fmla="*/ 48 h 150"/>
                  <a:gd name="T30" fmla="*/ 54 w 420"/>
                  <a:gd name="T31" fmla="*/ 42 h 150"/>
                  <a:gd name="T32" fmla="*/ 42 w 420"/>
                  <a:gd name="T33" fmla="*/ 48 h 150"/>
                  <a:gd name="T34" fmla="*/ 28 w 420"/>
                  <a:gd name="T35" fmla="*/ 42 h 150"/>
                  <a:gd name="T36" fmla="*/ 0 w 420"/>
                  <a:gd name="T37" fmla="*/ 36 h 150"/>
                  <a:gd name="T38" fmla="*/ 8 w 420"/>
                  <a:gd name="T39" fmla="*/ 22 h 150"/>
                  <a:gd name="T40" fmla="*/ 28 w 420"/>
                  <a:gd name="T41" fmla="*/ 22 h 150"/>
                  <a:gd name="T42" fmla="*/ 42 w 420"/>
                  <a:gd name="T43" fmla="*/ 0 h 150"/>
                  <a:gd name="T44" fmla="*/ 70 w 420"/>
                  <a:gd name="T45" fmla="*/ 14 h 150"/>
                  <a:gd name="T46" fmla="*/ 104 w 420"/>
                  <a:gd name="T47" fmla="*/ 14 h 150"/>
                  <a:gd name="T48" fmla="*/ 118 w 420"/>
                  <a:gd name="T49" fmla="*/ 22 h 150"/>
                  <a:gd name="T50" fmla="*/ 144 w 420"/>
                  <a:gd name="T51" fmla="*/ 22 h 150"/>
                  <a:gd name="T52" fmla="*/ 172 w 420"/>
                  <a:gd name="T53" fmla="*/ 14 h 150"/>
                  <a:gd name="T54" fmla="*/ 200 w 420"/>
                  <a:gd name="T55" fmla="*/ 22 h 150"/>
                  <a:gd name="T56" fmla="*/ 220 w 420"/>
                  <a:gd name="T57" fmla="*/ 22 h 150"/>
                  <a:gd name="T58" fmla="*/ 220 w 420"/>
                  <a:gd name="T59" fmla="*/ 36 h 150"/>
                  <a:gd name="T60" fmla="*/ 248 w 420"/>
                  <a:gd name="T61" fmla="*/ 36 h 150"/>
                  <a:gd name="T62" fmla="*/ 268 w 420"/>
                  <a:gd name="T63" fmla="*/ 22 h 150"/>
                  <a:gd name="T64" fmla="*/ 288 w 420"/>
                  <a:gd name="T65" fmla="*/ 28 h 150"/>
                  <a:gd name="T66" fmla="*/ 296 w 420"/>
                  <a:gd name="T67" fmla="*/ 14 h 150"/>
                  <a:gd name="T68" fmla="*/ 308 w 420"/>
                  <a:gd name="T69" fmla="*/ 14 h 150"/>
                  <a:gd name="T70" fmla="*/ 324 w 420"/>
                  <a:gd name="T71" fmla="*/ 22 h 150"/>
                  <a:gd name="T72" fmla="*/ 336 w 420"/>
                  <a:gd name="T73" fmla="*/ 14 h 150"/>
                  <a:gd name="T74" fmla="*/ 350 w 420"/>
                  <a:gd name="T75" fmla="*/ 28 h 150"/>
                  <a:gd name="T76" fmla="*/ 358 w 420"/>
                  <a:gd name="T77" fmla="*/ 42 h 150"/>
                  <a:gd name="T78" fmla="*/ 378 w 420"/>
                  <a:gd name="T79" fmla="*/ 36 h 150"/>
                  <a:gd name="T80" fmla="*/ 392 w 420"/>
                  <a:gd name="T81" fmla="*/ 42 h 150"/>
                  <a:gd name="T82" fmla="*/ 392 w 420"/>
                  <a:gd name="T83" fmla="*/ 62 h 150"/>
                  <a:gd name="T84" fmla="*/ 420 w 420"/>
                  <a:gd name="T85" fmla="*/ 76 h 150"/>
                  <a:gd name="T86" fmla="*/ 420 w 420"/>
                  <a:gd name="T87" fmla="*/ 96 h 150"/>
                  <a:gd name="T88" fmla="*/ 392 w 420"/>
                  <a:gd name="T89" fmla="*/ 96 h 150"/>
                  <a:gd name="T90" fmla="*/ 378 w 420"/>
                  <a:gd name="T91" fmla="*/ 96 h 150"/>
                  <a:gd name="T92" fmla="*/ 350 w 420"/>
                  <a:gd name="T93" fmla="*/ 82 h 150"/>
                  <a:gd name="T94" fmla="*/ 336 w 420"/>
                  <a:gd name="T95" fmla="*/ 102 h 150"/>
                  <a:gd name="T96" fmla="*/ 330 w 420"/>
                  <a:gd name="T97" fmla="*/ 110 h 150"/>
                  <a:gd name="T98" fmla="*/ 324 w 420"/>
                  <a:gd name="T99" fmla="*/ 116 h 150"/>
                  <a:gd name="T100" fmla="*/ 308 w 420"/>
                  <a:gd name="T101" fmla="*/ 124 h 150"/>
                  <a:gd name="T102" fmla="*/ 288 w 420"/>
                  <a:gd name="T103" fmla="*/ 124 h 150"/>
                  <a:gd name="T104" fmla="*/ 262 w 420"/>
                  <a:gd name="T105" fmla="*/ 138 h 150"/>
                  <a:gd name="T106" fmla="*/ 240 w 420"/>
                  <a:gd name="T107" fmla="*/ 150 h 150"/>
                  <a:gd name="T108" fmla="*/ 240 w 420"/>
                  <a:gd name="T10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20" h="150">
                    <a:moveTo>
                      <a:pt x="240" y="150"/>
                    </a:moveTo>
                    <a:lnTo>
                      <a:pt x="226" y="150"/>
                    </a:lnTo>
                    <a:lnTo>
                      <a:pt x="220" y="150"/>
                    </a:lnTo>
                    <a:lnTo>
                      <a:pt x="220" y="144"/>
                    </a:lnTo>
                    <a:lnTo>
                      <a:pt x="220" y="138"/>
                    </a:lnTo>
                    <a:lnTo>
                      <a:pt x="212" y="138"/>
                    </a:lnTo>
                    <a:lnTo>
                      <a:pt x="198" y="130"/>
                    </a:lnTo>
                    <a:lnTo>
                      <a:pt x="192" y="138"/>
                    </a:lnTo>
                    <a:lnTo>
                      <a:pt x="186" y="138"/>
                    </a:lnTo>
                    <a:lnTo>
                      <a:pt x="178" y="144"/>
                    </a:lnTo>
                    <a:lnTo>
                      <a:pt x="152" y="144"/>
                    </a:lnTo>
                    <a:lnTo>
                      <a:pt x="144" y="144"/>
                    </a:lnTo>
                    <a:lnTo>
                      <a:pt x="138" y="144"/>
                    </a:lnTo>
                    <a:lnTo>
                      <a:pt x="138" y="150"/>
                    </a:lnTo>
                    <a:lnTo>
                      <a:pt x="130" y="150"/>
                    </a:lnTo>
                    <a:lnTo>
                      <a:pt x="130" y="144"/>
                    </a:lnTo>
                    <a:lnTo>
                      <a:pt x="130" y="138"/>
                    </a:lnTo>
                    <a:lnTo>
                      <a:pt x="138" y="124"/>
                    </a:lnTo>
                    <a:lnTo>
                      <a:pt x="144" y="124"/>
                    </a:lnTo>
                    <a:lnTo>
                      <a:pt x="144" y="116"/>
                    </a:lnTo>
                    <a:lnTo>
                      <a:pt x="138" y="110"/>
                    </a:lnTo>
                    <a:lnTo>
                      <a:pt x="124" y="96"/>
                    </a:lnTo>
                    <a:lnTo>
                      <a:pt x="118" y="88"/>
                    </a:lnTo>
                    <a:lnTo>
                      <a:pt x="110" y="76"/>
                    </a:lnTo>
                    <a:lnTo>
                      <a:pt x="110" y="70"/>
                    </a:lnTo>
                    <a:lnTo>
                      <a:pt x="104" y="62"/>
                    </a:lnTo>
                    <a:lnTo>
                      <a:pt x="90" y="62"/>
                    </a:lnTo>
                    <a:lnTo>
                      <a:pt x="84" y="62"/>
                    </a:lnTo>
                    <a:lnTo>
                      <a:pt x="84" y="48"/>
                    </a:lnTo>
                    <a:lnTo>
                      <a:pt x="68" y="48"/>
                    </a:lnTo>
                    <a:lnTo>
                      <a:pt x="62" y="42"/>
                    </a:lnTo>
                    <a:lnTo>
                      <a:pt x="54" y="42"/>
                    </a:lnTo>
                    <a:lnTo>
                      <a:pt x="48" y="48"/>
                    </a:lnTo>
                    <a:lnTo>
                      <a:pt x="42" y="48"/>
                    </a:lnTo>
                    <a:lnTo>
                      <a:pt x="34" y="42"/>
                    </a:lnTo>
                    <a:lnTo>
                      <a:pt x="28" y="42"/>
                    </a:lnTo>
                    <a:lnTo>
                      <a:pt x="20" y="42"/>
                    </a:lnTo>
                    <a:lnTo>
                      <a:pt x="0" y="36"/>
                    </a:lnTo>
                    <a:lnTo>
                      <a:pt x="0" y="36"/>
                    </a:lnTo>
                    <a:lnTo>
                      <a:pt x="8" y="22"/>
                    </a:lnTo>
                    <a:lnTo>
                      <a:pt x="14" y="22"/>
                    </a:lnTo>
                    <a:lnTo>
                      <a:pt x="28" y="22"/>
                    </a:lnTo>
                    <a:lnTo>
                      <a:pt x="36" y="14"/>
                    </a:lnTo>
                    <a:lnTo>
                      <a:pt x="42" y="0"/>
                    </a:lnTo>
                    <a:lnTo>
                      <a:pt x="56" y="8"/>
                    </a:lnTo>
                    <a:lnTo>
                      <a:pt x="70" y="14"/>
                    </a:lnTo>
                    <a:lnTo>
                      <a:pt x="76" y="14"/>
                    </a:lnTo>
                    <a:lnTo>
                      <a:pt x="104" y="14"/>
                    </a:lnTo>
                    <a:lnTo>
                      <a:pt x="110" y="22"/>
                    </a:lnTo>
                    <a:lnTo>
                      <a:pt x="118" y="22"/>
                    </a:lnTo>
                    <a:lnTo>
                      <a:pt x="132" y="22"/>
                    </a:lnTo>
                    <a:lnTo>
                      <a:pt x="144" y="22"/>
                    </a:lnTo>
                    <a:lnTo>
                      <a:pt x="166" y="14"/>
                    </a:lnTo>
                    <a:lnTo>
                      <a:pt x="172" y="14"/>
                    </a:lnTo>
                    <a:lnTo>
                      <a:pt x="180" y="22"/>
                    </a:lnTo>
                    <a:lnTo>
                      <a:pt x="200" y="22"/>
                    </a:lnTo>
                    <a:lnTo>
                      <a:pt x="214" y="22"/>
                    </a:lnTo>
                    <a:lnTo>
                      <a:pt x="220" y="22"/>
                    </a:lnTo>
                    <a:lnTo>
                      <a:pt x="228" y="28"/>
                    </a:lnTo>
                    <a:lnTo>
                      <a:pt x="220" y="36"/>
                    </a:lnTo>
                    <a:lnTo>
                      <a:pt x="234" y="36"/>
                    </a:lnTo>
                    <a:lnTo>
                      <a:pt x="248" y="36"/>
                    </a:lnTo>
                    <a:lnTo>
                      <a:pt x="254" y="28"/>
                    </a:lnTo>
                    <a:lnTo>
                      <a:pt x="268" y="22"/>
                    </a:lnTo>
                    <a:lnTo>
                      <a:pt x="282" y="28"/>
                    </a:lnTo>
                    <a:lnTo>
                      <a:pt x="288" y="28"/>
                    </a:lnTo>
                    <a:lnTo>
                      <a:pt x="296" y="22"/>
                    </a:lnTo>
                    <a:lnTo>
                      <a:pt x="296" y="14"/>
                    </a:lnTo>
                    <a:lnTo>
                      <a:pt x="302" y="14"/>
                    </a:lnTo>
                    <a:lnTo>
                      <a:pt x="308" y="14"/>
                    </a:lnTo>
                    <a:lnTo>
                      <a:pt x="308" y="28"/>
                    </a:lnTo>
                    <a:lnTo>
                      <a:pt x="324" y="22"/>
                    </a:lnTo>
                    <a:lnTo>
                      <a:pt x="324" y="14"/>
                    </a:lnTo>
                    <a:lnTo>
                      <a:pt x="336" y="14"/>
                    </a:lnTo>
                    <a:lnTo>
                      <a:pt x="350" y="22"/>
                    </a:lnTo>
                    <a:lnTo>
                      <a:pt x="350" y="28"/>
                    </a:lnTo>
                    <a:lnTo>
                      <a:pt x="350" y="36"/>
                    </a:lnTo>
                    <a:lnTo>
                      <a:pt x="358" y="42"/>
                    </a:lnTo>
                    <a:lnTo>
                      <a:pt x="370" y="36"/>
                    </a:lnTo>
                    <a:lnTo>
                      <a:pt x="378" y="36"/>
                    </a:lnTo>
                    <a:lnTo>
                      <a:pt x="398" y="42"/>
                    </a:lnTo>
                    <a:lnTo>
                      <a:pt x="392" y="42"/>
                    </a:lnTo>
                    <a:lnTo>
                      <a:pt x="392" y="56"/>
                    </a:lnTo>
                    <a:lnTo>
                      <a:pt x="392" y="62"/>
                    </a:lnTo>
                    <a:lnTo>
                      <a:pt x="412" y="70"/>
                    </a:lnTo>
                    <a:lnTo>
                      <a:pt x="420" y="76"/>
                    </a:lnTo>
                    <a:lnTo>
                      <a:pt x="420" y="82"/>
                    </a:lnTo>
                    <a:lnTo>
                      <a:pt x="420" y="96"/>
                    </a:lnTo>
                    <a:lnTo>
                      <a:pt x="412" y="96"/>
                    </a:lnTo>
                    <a:lnTo>
                      <a:pt x="392" y="96"/>
                    </a:lnTo>
                    <a:lnTo>
                      <a:pt x="392" y="102"/>
                    </a:lnTo>
                    <a:lnTo>
                      <a:pt x="378" y="96"/>
                    </a:lnTo>
                    <a:lnTo>
                      <a:pt x="364" y="96"/>
                    </a:lnTo>
                    <a:lnTo>
                      <a:pt x="350" y="82"/>
                    </a:lnTo>
                    <a:lnTo>
                      <a:pt x="344" y="88"/>
                    </a:lnTo>
                    <a:lnTo>
                      <a:pt x="336" y="102"/>
                    </a:lnTo>
                    <a:lnTo>
                      <a:pt x="330" y="102"/>
                    </a:lnTo>
                    <a:lnTo>
                      <a:pt x="330" y="110"/>
                    </a:lnTo>
                    <a:lnTo>
                      <a:pt x="330" y="116"/>
                    </a:lnTo>
                    <a:lnTo>
                      <a:pt x="324" y="116"/>
                    </a:lnTo>
                    <a:lnTo>
                      <a:pt x="308" y="116"/>
                    </a:lnTo>
                    <a:lnTo>
                      <a:pt x="308" y="124"/>
                    </a:lnTo>
                    <a:lnTo>
                      <a:pt x="302" y="124"/>
                    </a:lnTo>
                    <a:lnTo>
                      <a:pt x="288" y="124"/>
                    </a:lnTo>
                    <a:lnTo>
                      <a:pt x="274" y="130"/>
                    </a:lnTo>
                    <a:lnTo>
                      <a:pt x="262" y="138"/>
                    </a:lnTo>
                    <a:lnTo>
                      <a:pt x="240" y="150"/>
                    </a:lnTo>
                    <a:lnTo>
                      <a:pt x="240" y="150"/>
                    </a:lnTo>
                    <a:lnTo>
                      <a:pt x="240" y="150"/>
                    </a:lnTo>
                    <a:lnTo>
                      <a:pt x="240" y="15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7" name="Freeform 21"/>
              <p:cNvSpPr>
                <a:spLocks/>
              </p:cNvSpPr>
              <p:nvPr>
                <p:custDataLst>
                  <p:tags r:id="rId133"/>
                </p:custDataLst>
              </p:nvPr>
            </p:nvSpPr>
            <p:spPr bwMode="gray">
              <a:xfrm>
                <a:off x="2631104" y="3600348"/>
                <a:ext cx="1132139" cy="952711"/>
              </a:xfrm>
              <a:custGeom>
                <a:avLst/>
                <a:gdLst>
                  <a:gd name="T0" fmla="*/ 415 w 713"/>
                  <a:gd name="T1" fmla="*/ 124 h 600"/>
                  <a:gd name="T2" fmla="*/ 373 w 713"/>
                  <a:gd name="T3" fmla="*/ 110 h 600"/>
                  <a:gd name="T4" fmla="*/ 325 w 713"/>
                  <a:gd name="T5" fmla="*/ 90 h 600"/>
                  <a:gd name="T6" fmla="*/ 291 w 713"/>
                  <a:gd name="T7" fmla="*/ 76 h 600"/>
                  <a:gd name="T8" fmla="*/ 241 w 713"/>
                  <a:gd name="T9" fmla="*/ 54 h 600"/>
                  <a:gd name="T10" fmla="*/ 201 w 713"/>
                  <a:gd name="T11" fmla="*/ 40 h 600"/>
                  <a:gd name="T12" fmla="*/ 158 w 713"/>
                  <a:gd name="T13" fmla="*/ 14 h 600"/>
                  <a:gd name="T14" fmla="*/ 130 w 713"/>
                  <a:gd name="T15" fmla="*/ 0 h 600"/>
                  <a:gd name="T16" fmla="*/ 116 w 713"/>
                  <a:gd name="T17" fmla="*/ 14 h 600"/>
                  <a:gd name="T18" fmla="*/ 88 w 713"/>
                  <a:gd name="T19" fmla="*/ 14 h 600"/>
                  <a:gd name="T20" fmla="*/ 54 w 713"/>
                  <a:gd name="T21" fmla="*/ 20 h 600"/>
                  <a:gd name="T22" fmla="*/ 62 w 713"/>
                  <a:gd name="T23" fmla="*/ 40 h 600"/>
                  <a:gd name="T24" fmla="*/ 54 w 713"/>
                  <a:gd name="T25" fmla="*/ 48 h 600"/>
                  <a:gd name="T26" fmla="*/ 54 w 713"/>
                  <a:gd name="T27" fmla="*/ 76 h 600"/>
                  <a:gd name="T28" fmla="*/ 40 w 713"/>
                  <a:gd name="T29" fmla="*/ 90 h 600"/>
                  <a:gd name="T30" fmla="*/ 76 w 713"/>
                  <a:gd name="T31" fmla="*/ 102 h 600"/>
                  <a:gd name="T32" fmla="*/ 88 w 713"/>
                  <a:gd name="T33" fmla="*/ 124 h 600"/>
                  <a:gd name="T34" fmla="*/ 124 w 713"/>
                  <a:gd name="T35" fmla="*/ 138 h 600"/>
                  <a:gd name="T36" fmla="*/ 144 w 713"/>
                  <a:gd name="T37" fmla="*/ 144 h 600"/>
                  <a:gd name="T38" fmla="*/ 158 w 713"/>
                  <a:gd name="T39" fmla="*/ 164 h 600"/>
                  <a:gd name="T40" fmla="*/ 164 w 713"/>
                  <a:gd name="T41" fmla="*/ 186 h 600"/>
                  <a:gd name="T42" fmla="*/ 144 w 713"/>
                  <a:gd name="T43" fmla="*/ 198 h 600"/>
                  <a:gd name="T44" fmla="*/ 124 w 713"/>
                  <a:gd name="T45" fmla="*/ 220 h 600"/>
                  <a:gd name="T46" fmla="*/ 110 w 713"/>
                  <a:gd name="T47" fmla="*/ 254 h 600"/>
                  <a:gd name="T48" fmla="*/ 96 w 713"/>
                  <a:gd name="T49" fmla="*/ 274 h 600"/>
                  <a:gd name="T50" fmla="*/ 68 w 713"/>
                  <a:gd name="T51" fmla="*/ 310 h 600"/>
                  <a:gd name="T52" fmla="*/ 62 w 713"/>
                  <a:gd name="T53" fmla="*/ 336 h 600"/>
                  <a:gd name="T54" fmla="*/ 48 w 713"/>
                  <a:gd name="T55" fmla="*/ 372 h 600"/>
                  <a:gd name="T56" fmla="*/ 34 w 713"/>
                  <a:gd name="T57" fmla="*/ 400 h 600"/>
                  <a:gd name="T58" fmla="*/ 26 w 713"/>
                  <a:gd name="T59" fmla="*/ 420 h 600"/>
                  <a:gd name="T60" fmla="*/ 6 w 713"/>
                  <a:gd name="T61" fmla="*/ 434 h 600"/>
                  <a:gd name="T62" fmla="*/ 12 w 713"/>
                  <a:gd name="T63" fmla="*/ 468 h 600"/>
                  <a:gd name="T64" fmla="*/ 48 w 713"/>
                  <a:gd name="T65" fmla="*/ 502 h 600"/>
                  <a:gd name="T66" fmla="*/ 62 w 713"/>
                  <a:gd name="T67" fmla="*/ 522 h 600"/>
                  <a:gd name="T68" fmla="*/ 48 w 713"/>
                  <a:gd name="T69" fmla="*/ 564 h 600"/>
                  <a:gd name="T70" fmla="*/ 82 w 713"/>
                  <a:gd name="T71" fmla="*/ 584 h 600"/>
                  <a:gd name="T72" fmla="*/ 124 w 713"/>
                  <a:gd name="T73" fmla="*/ 564 h 600"/>
                  <a:gd name="T74" fmla="*/ 178 w 713"/>
                  <a:gd name="T75" fmla="*/ 564 h 600"/>
                  <a:gd name="T76" fmla="*/ 241 w 713"/>
                  <a:gd name="T77" fmla="*/ 584 h 600"/>
                  <a:gd name="T78" fmla="*/ 291 w 713"/>
                  <a:gd name="T79" fmla="*/ 592 h 600"/>
                  <a:gd name="T80" fmla="*/ 311 w 713"/>
                  <a:gd name="T81" fmla="*/ 584 h 600"/>
                  <a:gd name="T82" fmla="*/ 345 w 713"/>
                  <a:gd name="T83" fmla="*/ 558 h 600"/>
                  <a:gd name="T84" fmla="*/ 401 w 713"/>
                  <a:gd name="T85" fmla="*/ 550 h 600"/>
                  <a:gd name="T86" fmla="*/ 421 w 713"/>
                  <a:gd name="T87" fmla="*/ 516 h 600"/>
                  <a:gd name="T88" fmla="*/ 463 w 713"/>
                  <a:gd name="T89" fmla="*/ 488 h 600"/>
                  <a:gd name="T90" fmla="*/ 455 w 713"/>
                  <a:gd name="T91" fmla="*/ 448 h 600"/>
                  <a:gd name="T92" fmla="*/ 497 w 713"/>
                  <a:gd name="T93" fmla="*/ 400 h 600"/>
                  <a:gd name="T94" fmla="*/ 547 w 713"/>
                  <a:gd name="T95" fmla="*/ 364 h 600"/>
                  <a:gd name="T96" fmla="*/ 553 w 713"/>
                  <a:gd name="T97" fmla="*/ 352 h 600"/>
                  <a:gd name="T98" fmla="*/ 609 w 713"/>
                  <a:gd name="T99" fmla="*/ 344 h 600"/>
                  <a:gd name="T100" fmla="*/ 651 w 713"/>
                  <a:gd name="T101" fmla="*/ 336 h 600"/>
                  <a:gd name="T102" fmla="*/ 691 w 713"/>
                  <a:gd name="T103" fmla="*/ 324 h 600"/>
                  <a:gd name="T104" fmla="*/ 713 w 713"/>
                  <a:gd name="T105" fmla="*/ 288 h 600"/>
                  <a:gd name="T106" fmla="*/ 691 w 713"/>
                  <a:gd name="T107" fmla="*/ 268 h 600"/>
                  <a:gd name="T108" fmla="*/ 651 w 713"/>
                  <a:gd name="T109" fmla="*/ 262 h 600"/>
                  <a:gd name="T110" fmla="*/ 615 w 713"/>
                  <a:gd name="T111" fmla="*/ 248 h 600"/>
                  <a:gd name="T112" fmla="*/ 587 w 713"/>
                  <a:gd name="T113" fmla="*/ 228 h 600"/>
                  <a:gd name="T114" fmla="*/ 547 w 713"/>
                  <a:gd name="T115" fmla="*/ 214 h 600"/>
                  <a:gd name="T116" fmla="*/ 497 w 713"/>
                  <a:gd name="T117" fmla="*/ 178 h 600"/>
                  <a:gd name="T118" fmla="*/ 471 w 713"/>
                  <a:gd name="T119" fmla="*/ 158 h 600"/>
                  <a:gd name="T120" fmla="*/ 455 w 713"/>
                  <a:gd name="T121" fmla="*/ 13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3" h="600">
                    <a:moveTo>
                      <a:pt x="455" y="138"/>
                    </a:moveTo>
                    <a:lnTo>
                      <a:pt x="449" y="138"/>
                    </a:lnTo>
                    <a:lnTo>
                      <a:pt x="443" y="130"/>
                    </a:lnTo>
                    <a:lnTo>
                      <a:pt x="429" y="130"/>
                    </a:lnTo>
                    <a:lnTo>
                      <a:pt x="415" y="124"/>
                    </a:lnTo>
                    <a:lnTo>
                      <a:pt x="407" y="116"/>
                    </a:lnTo>
                    <a:lnTo>
                      <a:pt x="401" y="116"/>
                    </a:lnTo>
                    <a:lnTo>
                      <a:pt x="393" y="116"/>
                    </a:lnTo>
                    <a:lnTo>
                      <a:pt x="381" y="116"/>
                    </a:lnTo>
                    <a:lnTo>
                      <a:pt x="373" y="110"/>
                    </a:lnTo>
                    <a:lnTo>
                      <a:pt x="367" y="96"/>
                    </a:lnTo>
                    <a:lnTo>
                      <a:pt x="353" y="96"/>
                    </a:lnTo>
                    <a:lnTo>
                      <a:pt x="345" y="90"/>
                    </a:lnTo>
                    <a:lnTo>
                      <a:pt x="339" y="90"/>
                    </a:lnTo>
                    <a:lnTo>
                      <a:pt x="325" y="90"/>
                    </a:lnTo>
                    <a:lnTo>
                      <a:pt x="317" y="90"/>
                    </a:lnTo>
                    <a:lnTo>
                      <a:pt x="311" y="82"/>
                    </a:lnTo>
                    <a:lnTo>
                      <a:pt x="303" y="82"/>
                    </a:lnTo>
                    <a:lnTo>
                      <a:pt x="297" y="82"/>
                    </a:lnTo>
                    <a:lnTo>
                      <a:pt x="291" y="76"/>
                    </a:lnTo>
                    <a:lnTo>
                      <a:pt x="283" y="68"/>
                    </a:lnTo>
                    <a:lnTo>
                      <a:pt x="277" y="68"/>
                    </a:lnTo>
                    <a:lnTo>
                      <a:pt x="263" y="62"/>
                    </a:lnTo>
                    <a:lnTo>
                      <a:pt x="255" y="62"/>
                    </a:lnTo>
                    <a:lnTo>
                      <a:pt x="241" y="54"/>
                    </a:lnTo>
                    <a:lnTo>
                      <a:pt x="241" y="48"/>
                    </a:lnTo>
                    <a:lnTo>
                      <a:pt x="229" y="48"/>
                    </a:lnTo>
                    <a:lnTo>
                      <a:pt x="221" y="40"/>
                    </a:lnTo>
                    <a:lnTo>
                      <a:pt x="215" y="40"/>
                    </a:lnTo>
                    <a:lnTo>
                      <a:pt x="201" y="40"/>
                    </a:lnTo>
                    <a:lnTo>
                      <a:pt x="193" y="34"/>
                    </a:lnTo>
                    <a:lnTo>
                      <a:pt x="186" y="28"/>
                    </a:lnTo>
                    <a:lnTo>
                      <a:pt x="172" y="34"/>
                    </a:lnTo>
                    <a:lnTo>
                      <a:pt x="164" y="20"/>
                    </a:lnTo>
                    <a:lnTo>
                      <a:pt x="158" y="14"/>
                    </a:lnTo>
                    <a:lnTo>
                      <a:pt x="158" y="6"/>
                    </a:lnTo>
                    <a:lnTo>
                      <a:pt x="158" y="0"/>
                    </a:lnTo>
                    <a:lnTo>
                      <a:pt x="144" y="6"/>
                    </a:lnTo>
                    <a:lnTo>
                      <a:pt x="138" y="6"/>
                    </a:lnTo>
                    <a:lnTo>
                      <a:pt x="130" y="0"/>
                    </a:lnTo>
                    <a:lnTo>
                      <a:pt x="130" y="6"/>
                    </a:lnTo>
                    <a:lnTo>
                      <a:pt x="124" y="6"/>
                    </a:lnTo>
                    <a:lnTo>
                      <a:pt x="116" y="6"/>
                    </a:lnTo>
                    <a:lnTo>
                      <a:pt x="110" y="6"/>
                    </a:lnTo>
                    <a:lnTo>
                      <a:pt x="116" y="14"/>
                    </a:lnTo>
                    <a:lnTo>
                      <a:pt x="110" y="20"/>
                    </a:lnTo>
                    <a:lnTo>
                      <a:pt x="102" y="28"/>
                    </a:lnTo>
                    <a:lnTo>
                      <a:pt x="102" y="20"/>
                    </a:lnTo>
                    <a:lnTo>
                      <a:pt x="96" y="14"/>
                    </a:lnTo>
                    <a:lnTo>
                      <a:pt x="88" y="14"/>
                    </a:lnTo>
                    <a:lnTo>
                      <a:pt x="82" y="14"/>
                    </a:lnTo>
                    <a:lnTo>
                      <a:pt x="76" y="6"/>
                    </a:lnTo>
                    <a:lnTo>
                      <a:pt x="68" y="20"/>
                    </a:lnTo>
                    <a:lnTo>
                      <a:pt x="62" y="14"/>
                    </a:lnTo>
                    <a:lnTo>
                      <a:pt x="54" y="20"/>
                    </a:lnTo>
                    <a:lnTo>
                      <a:pt x="48" y="28"/>
                    </a:lnTo>
                    <a:lnTo>
                      <a:pt x="54" y="34"/>
                    </a:lnTo>
                    <a:lnTo>
                      <a:pt x="54" y="40"/>
                    </a:lnTo>
                    <a:lnTo>
                      <a:pt x="62" y="34"/>
                    </a:lnTo>
                    <a:lnTo>
                      <a:pt x="62" y="40"/>
                    </a:lnTo>
                    <a:lnTo>
                      <a:pt x="54" y="48"/>
                    </a:lnTo>
                    <a:lnTo>
                      <a:pt x="48" y="48"/>
                    </a:lnTo>
                    <a:lnTo>
                      <a:pt x="48" y="54"/>
                    </a:lnTo>
                    <a:lnTo>
                      <a:pt x="54" y="54"/>
                    </a:lnTo>
                    <a:lnTo>
                      <a:pt x="54" y="48"/>
                    </a:lnTo>
                    <a:lnTo>
                      <a:pt x="68" y="48"/>
                    </a:lnTo>
                    <a:lnTo>
                      <a:pt x="68" y="54"/>
                    </a:lnTo>
                    <a:lnTo>
                      <a:pt x="62" y="62"/>
                    </a:lnTo>
                    <a:lnTo>
                      <a:pt x="62" y="68"/>
                    </a:lnTo>
                    <a:lnTo>
                      <a:pt x="54" y="76"/>
                    </a:lnTo>
                    <a:lnTo>
                      <a:pt x="62" y="76"/>
                    </a:lnTo>
                    <a:lnTo>
                      <a:pt x="62" y="82"/>
                    </a:lnTo>
                    <a:lnTo>
                      <a:pt x="54" y="90"/>
                    </a:lnTo>
                    <a:lnTo>
                      <a:pt x="48" y="82"/>
                    </a:lnTo>
                    <a:lnTo>
                      <a:pt x="40" y="90"/>
                    </a:lnTo>
                    <a:lnTo>
                      <a:pt x="40" y="102"/>
                    </a:lnTo>
                    <a:lnTo>
                      <a:pt x="54" y="102"/>
                    </a:lnTo>
                    <a:lnTo>
                      <a:pt x="62" y="102"/>
                    </a:lnTo>
                    <a:lnTo>
                      <a:pt x="62" y="96"/>
                    </a:lnTo>
                    <a:lnTo>
                      <a:pt x="76" y="102"/>
                    </a:lnTo>
                    <a:lnTo>
                      <a:pt x="82" y="102"/>
                    </a:lnTo>
                    <a:lnTo>
                      <a:pt x="82" y="110"/>
                    </a:lnTo>
                    <a:lnTo>
                      <a:pt x="82" y="116"/>
                    </a:lnTo>
                    <a:lnTo>
                      <a:pt x="82" y="124"/>
                    </a:lnTo>
                    <a:lnTo>
                      <a:pt x="88" y="124"/>
                    </a:lnTo>
                    <a:lnTo>
                      <a:pt x="96" y="124"/>
                    </a:lnTo>
                    <a:lnTo>
                      <a:pt x="102" y="124"/>
                    </a:lnTo>
                    <a:lnTo>
                      <a:pt x="110" y="130"/>
                    </a:lnTo>
                    <a:lnTo>
                      <a:pt x="116" y="130"/>
                    </a:lnTo>
                    <a:lnTo>
                      <a:pt x="124" y="138"/>
                    </a:lnTo>
                    <a:lnTo>
                      <a:pt x="130" y="144"/>
                    </a:lnTo>
                    <a:lnTo>
                      <a:pt x="130" y="138"/>
                    </a:lnTo>
                    <a:lnTo>
                      <a:pt x="138" y="138"/>
                    </a:lnTo>
                    <a:lnTo>
                      <a:pt x="144" y="138"/>
                    </a:lnTo>
                    <a:lnTo>
                      <a:pt x="144" y="144"/>
                    </a:lnTo>
                    <a:lnTo>
                      <a:pt x="152" y="144"/>
                    </a:lnTo>
                    <a:lnTo>
                      <a:pt x="158" y="144"/>
                    </a:lnTo>
                    <a:lnTo>
                      <a:pt x="164" y="152"/>
                    </a:lnTo>
                    <a:lnTo>
                      <a:pt x="158" y="158"/>
                    </a:lnTo>
                    <a:lnTo>
                      <a:pt x="158" y="164"/>
                    </a:lnTo>
                    <a:lnTo>
                      <a:pt x="158" y="172"/>
                    </a:lnTo>
                    <a:lnTo>
                      <a:pt x="164" y="172"/>
                    </a:lnTo>
                    <a:lnTo>
                      <a:pt x="172" y="178"/>
                    </a:lnTo>
                    <a:lnTo>
                      <a:pt x="172" y="186"/>
                    </a:lnTo>
                    <a:lnTo>
                      <a:pt x="164" y="186"/>
                    </a:lnTo>
                    <a:lnTo>
                      <a:pt x="164" y="192"/>
                    </a:lnTo>
                    <a:lnTo>
                      <a:pt x="158" y="192"/>
                    </a:lnTo>
                    <a:lnTo>
                      <a:pt x="152" y="192"/>
                    </a:lnTo>
                    <a:lnTo>
                      <a:pt x="152" y="198"/>
                    </a:lnTo>
                    <a:lnTo>
                      <a:pt x="144" y="198"/>
                    </a:lnTo>
                    <a:lnTo>
                      <a:pt x="138" y="198"/>
                    </a:lnTo>
                    <a:lnTo>
                      <a:pt x="138" y="206"/>
                    </a:lnTo>
                    <a:lnTo>
                      <a:pt x="130" y="206"/>
                    </a:lnTo>
                    <a:lnTo>
                      <a:pt x="124" y="214"/>
                    </a:lnTo>
                    <a:lnTo>
                      <a:pt x="124" y="220"/>
                    </a:lnTo>
                    <a:lnTo>
                      <a:pt x="116" y="228"/>
                    </a:lnTo>
                    <a:lnTo>
                      <a:pt x="116" y="234"/>
                    </a:lnTo>
                    <a:lnTo>
                      <a:pt x="110" y="240"/>
                    </a:lnTo>
                    <a:lnTo>
                      <a:pt x="110" y="248"/>
                    </a:lnTo>
                    <a:lnTo>
                      <a:pt x="110" y="254"/>
                    </a:lnTo>
                    <a:lnTo>
                      <a:pt x="110" y="262"/>
                    </a:lnTo>
                    <a:lnTo>
                      <a:pt x="110" y="268"/>
                    </a:lnTo>
                    <a:lnTo>
                      <a:pt x="102" y="268"/>
                    </a:lnTo>
                    <a:lnTo>
                      <a:pt x="96" y="268"/>
                    </a:lnTo>
                    <a:lnTo>
                      <a:pt x="96" y="274"/>
                    </a:lnTo>
                    <a:lnTo>
                      <a:pt x="82" y="288"/>
                    </a:lnTo>
                    <a:lnTo>
                      <a:pt x="82" y="296"/>
                    </a:lnTo>
                    <a:lnTo>
                      <a:pt x="76" y="302"/>
                    </a:lnTo>
                    <a:lnTo>
                      <a:pt x="76" y="310"/>
                    </a:lnTo>
                    <a:lnTo>
                      <a:pt x="68" y="310"/>
                    </a:lnTo>
                    <a:lnTo>
                      <a:pt x="54" y="302"/>
                    </a:lnTo>
                    <a:lnTo>
                      <a:pt x="54" y="316"/>
                    </a:lnTo>
                    <a:lnTo>
                      <a:pt x="54" y="324"/>
                    </a:lnTo>
                    <a:lnTo>
                      <a:pt x="54" y="330"/>
                    </a:lnTo>
                    <a:lnTo>
                      <a:pt x="62" y="336"/>
                    </a:lnTo>
                    <a:lnTo>
                      <a:pt x="62" y="344"/>
                    </a:lnTo>
                    <a:lnTo>
                      <a:pt x="62" y="352"/>
                    </a:lnTo>
                    <a:lnTo>
                      <a:pt x="54" y="358"/>
                    </a:lnTo>
                    <a:lnTo>
                      <a:pt x="48" y="364"/>
                    </a:lnTo>
                    <a:lnTo>
                      <a:pt x="48" y="372"/>
                    </a:lnTo>
                    <a:lnTo>
                      <a:pt x="40" y="372"/>
                    </a:lnTo>
                    <a:lnTo>
                      <a:pt x="34" y="378"/>
                    </a:lnTo>
                    <a:lnTo>
                      <a:pt x="34" y="386"/>
                    </a:lnTo>
                    <a:lnTo>
                      <a:pt x="26" y="392"/>
                    </a:lnTo>
                    <a:lnTo>
                      <a:pt x="34" y="400"/>
                    </a:lnTo>
                    <a:lnTo>
                      <a:pt x="40" y="400"/>
                    </a:lnTo>
                    <a:lnTo>
                      <a:pt x="40" y="406"/>
                    </a:lnTo>
                    <a:lnTo>
                      <a:pt x="40" y="412"/>
                    </a:lnTo>
                    <a:lnTo>
                      <a:pt x="34" y="412"/>
                    </a:lnTo>
                    <a:lnTo>
                      <a:pt x="26" y="420"/>
                    </a:lnTo>
                    <a:lnTo>
                      <a:pt x="20" y="420"/>
                    </a:lnTo>
                    <a:lnTo>
                      <a:pt x="12" y="420"/>
                    </a:lnTo>
                    <a:lnTo>
                      <a:pt x="12" y="426"/>
                    </a:lnTo>
                    <a:lnTo>
                      <a:pt x="6" y="426"/>
                    </a:lnTo>
                    <a:lnTo>
                      <a:pt x="6" y="434"/>
                    </a:lnTo>
                    <a:lnTo>
                      <a:pt x="0" y="440"/>
                    </a:lnTo>
                    <a:lnTo>
                      <a:pt x="0" y="454"/>
                    </a:lnTo>
                    <a:lnTo>
                      <a:pt x="0" y="468"/>
                    </a:lnTo>
                    <a:lnTo>
                      <a:pt x="6" y="468"/>
                    </a:lnTo>
                    <a:lnTo>
                      <a:pt x="12" y="468"/>
                    </a:lnTo>
                    <a:lnTo>
                      <a:pt x="20" y="476"/>
                    </a:lnTo>
                    <a:lnTo>
                      <a:pt x="26" y="482"/>
                    </a:lnTo>
                    <a:lnTo>
                      <a:pt x="34" y="488"/>
                    </a:lnTo>
                    <a:lnTo>
                      <a:pt x="34" y="496"/>
                    </a:lnTo>
                    <a:lnTo>
                      <a:pt x="48" y="502"/>
                    </a:lnTo>
                    <a:lnTo>
                      <a:pt x="54" y="510"/>
                    </a:lnTo>
                    <a:lnTo>
                      <a:pt x="54" y="516"/>
                    </a:lnTo>
                    <a:lnTo>
                      <a:pt x="48" y="522"/>
                    </a:lnTo>
                    <a:lnTo>
                      <a:pt x="54" y="522"/>
                    </a:lnTo>
                    <a:lnTo>
                      <a:pt x="62" y="522"/>
                    </a:lnTo>
                    <a:lnTo>
                      <a:pt x="54" y="536"/>
                    </a:lnTo>
                    <a:lnTo>
                      <a:pt x="54" y="544"/>
                    </a:lnTo>
                    <a:lnTo>
                      <a:pt x="40" y="544"/>
                    </a:lnTo>
                    <a:lnTo>
                      <a:pt x="48" y="550"/>
                    </a:lnTo>
                    <a:lnTo>
                      <a:pt x="48" y="564"/>
                    </a:lnTo>
                    <a:lnTo>
                      <a:pt x="54" y="572"/>
                    </a:lnTo>
                    <a:lnTo>
                      <a:pt x="62" y="572"/>
                    </a:lnTo>
                    <a:lnTo>
                      <a:pt x="68" y="578"/>
                    </a:lnTo>
                    <a:lnTo>
                      <a:pt x="76" y="592"/>
                    </a:lnTo>
                    <a:lnTo>
                      <a:pt x="82" y="584"/>
                    </a:lnTo>
                    <a:lnTo>
                      <a:pt x="82" y="578"/>
                    </a:lnTo>
                    <a:lnTo>
                      <a:pt x="96" y="572"/>
                    </a:lnTo>
                    <a:lnTo>
                      <a:pt x="110" y="572"/>
                    </a:lnTo>
                    <a:lnTo>
                      <a:pt x="116" y="564"/>
                    </a:lnTo>
                    <a:lnTo>
                      <a:pt x="124" y="564"/>
                    </a:lnTo>
                    <a:lnTo>
                      <a:pt x="138" y="572"/>
                    </a:lnTo>
                    <a:lnTo>
                      <a:pt x="144" y="572"/>
                    </a:lnTo>
                    <a:lnTo>
                      <a:pt x="152" y="558"/>
                    </a:lnTo>
                    <a:lnTo>
                      <a:pt x="164" y="558"/>
                    </a:lnTo>
                    <a:lnTo>
                      <a:pt x="178" y="564"/>
                    </a:lnTo>
                    <a:lnTo>
                      <a:pt x="186" y="572"/>
                    </a:lnTo>
                    <a:lnTo>
                      <a:pt x="201" y="572"/>
                    </a:lnTo>
                    <a:lnTo>
                      <a:pt x="207" y="584"/>
                    </a:lnTo>
                    <a:lnTo>
                      <a:pt x="221" y="584"/>
                    </a:lnTo>
                    <a:lnTo>
                      <a:pt x="241" y="584"/>
                    </a:lnTo>
                    <a:lnTo>
                      <a:pt x="249" y="584"/>
                    </a:lnTo>
                    <a:lnTo>
                      <a:pt x="263" y="592"/>
                    </a:lnTo>
                    <a:lnTo>
                      <a:pt x="269" y="584"/>
                    </a:lnTo>
                    <a:lnTo>
                      <a:pt x="283" y="584"/>
                    </a:lnTo>
                    <a:lnTo>
                      <a:pt x="291" y="592"/>
                    </a:lnTo>
                    <a:lnTo>
                      <a:pt x="297" y="592"/>
                    </a:lnTo>
                    <a:lnTo>
                      <a:pt x="297" y="600"/>
                    </a:lnTo>
                    <a:lnTo>
                      <a:pt x="303" y="600"/>
                    </a:lnTo>
                    <a:lnTo>
                      <a:pt x="311" y="592"/>
                    </a:lnTo>
                    <a:lnTo>
                      <a:pt x="311" y="584"/>
                    </a:lnTo>
                    <a:lnTo>
                      <a:pt x="311" y="578"/>
                    </a:lnTo>
                    <a:lnTo>
                      <a:pt x="325" y="572"/>
                    </a:lnTo>
                    <a:lnTo>
                      <a:pt x="325" y="564"/>
                    </a:lnTo>
                    <a:lnTo>
                      <a:pt x="339" y="564"/>
                    </a:lnTo>
                    <a:lnTo>
                      <a:pt x="345" y="558"/>
                    </a:lnTo>
                    <a:lnTo>
                      <a:pt x="359" y="558"/>
                    </a:lnTo>
                    <a:lnTo>
                      <a:pt x="367" y="558"/>
                    </a:lnTo>
                    <a:lnTo>
                      <a:pt x="381" y="564"/>
                    </a:lnTo>
                    <a:lnTo>
                      <a:pt x="387" y="558"/>
                    </a:lnTo>
                    <a:lnTo>
                      <a:pt x="401" y="550"/>
                    </a:lnTo>
                    <a:lnTo>
                      <a:pt x="401" y="536"/>
                    </a:lnTo>
                    <a:lnTo>
                      <a:pt x="407" y="530"/>
                    </a:lnTo>
                    <a:lnTo>
                      <a:pt x="415" y="530"/>
                    </a:lnTo>
                    <a:lnTo>
                      <a:pt x="421" y="522"/>
                    </a:lnTo>
                    <a:lnTo>
                      <a:pt x="421" y="516"/>
                    </a:lnTo>
                    <a:lnTo>
                      <a:pt x="435" y="510"/>
                    </a:lnTo>
                    <a:lnTo>
                      <a:pt x="443" y="510"/>
                    </a:lnTo>
                    <a:lnTo>
                      <a:pt x="455" y="510"/>
                    </a:lnTo>
                    <a:lnTo>
                      <a:pt x="471" y="496"/>
                    </a:lnTo>
                    <a:lnTo>
                      <a:pt x="463" y="488"/>
                    </a:lnTo>
                    <a:lnTo>
                      <a:pt x="463" y="482"/>
                    </a:lnTo>
                    <a:lnTo>
                      <a:pt x="455" y="476"/>
                    </a:lnTo>
                    <a:lnTo>
                      <a:pt x="455" y="468"/>
                    </a:lnTo>
                    <a:lnTo>
                      <a:pt x="455" y="462"/>
                    </a:lnTo>
                    <a:lnTo>
                      <a:pt x="455" y="448"/>
                    </a:lnTo>
                    <a:lnTo>
                      <a:pt x="455" y="434"/>
                    </a:lnTo>
                    <a:lnTo>
                      <a:pt x="463" y="426"/>
                    </a:lnTo>
                    <a:lnTo>
                      <a:pt x="471" y="420"/>
                    </a:lnTo>
                    <a:lnTo>
                      <a:pt x="483" y="412"/>
                    </a:lnTo>
                    <a:lnTo>
                      <a:pt x="497" y="400"/>
                    </a:lnTo>
                    <a:lnTo>
                      <a:pt x="505" y="400"/>
                    </a:lnTo>
                    <a:lnTo>
                      <a:pt x="513" y="392"/>
                    </a:lnTo>
                    <a:lnTo>
                      <a:pt x="525" y="378"/>
                    </a:lnTo>
                    <a:lnTo>
                      <a:pt x="533" y="372"/>
                    </a:lnTo>
                    <a:lnTo>
                      <a:pt x="547" y="364"/>
                    </a:lnTo>
                    <a:lnTo>
                      <a:pt x="553" y="364"/>
                    </a:lnTo>
                    <a:lnTo>
                      <a:pt x="547" y="364"/>
                    </a:lnTo>
                    <a:lnTo>
                      <a:pt x="547" y="358"/>
                    </a:lnTo>
                    <a:lnTo>
                      <a:pt x="553" y="358"/>
                    </a:lnTo>
                    <a:lnTo>
                      <a:pt x="553" y="352"/>
                    </a:lnTo>
                    <a:lnTo>
                      <a:pt x="561" y="344"/>
                    </a:lnTo>
                    <a:lnTo>
                      <a:pt x="567" y="344"/>
                    </a:lnTo>
                    <a:lnTo>
                      <a:pt x="581" y="344"/>
                    </a:lnTo>
                    <a:lnTo>
                      <a:pt x="595" y="344"/>
                    </a:lnTo>
                    <a:lnTo>
                      <a:pt x="609" y="344"/>
                    </a:lnTo>
                    <a:lnTo>
                      <a:pt x="615" y="344"/>
                    </a:lnTo>
                    <a:lnTo>
                      <a:pt x="623" y="344"/>
                    </a:lnTo>
                    <a:lnTo>
                      <a:pt x="629" y="344"/>
                    </a:lnTo>
                    <a:lnTo>
                      <a:pt x="643" y="336"/>
                    </a:lnTo>
                    <a:lnTo>
                      <a:pt x="651" y="336"/>
                    </a:lnTo>
                    <a:lnTo>
                      <a:pt x="657" y="330"/>
                    </a:lnTo>
                    <a:lnTo>
                      <a:pt x="671" y="330"/>
                    </a:lnTo>
                    <a:lnTo>
                      <a:pt x="677" y="330"/>
                    </a:lnTo>
                    <a:lnTo>
                      <a:pt x="685" y="324"/>
                    </a:lnTo>
                    <a:lnTo>
                      <a:pt x="691" y="324"/>
                    </a:lnTo>
                    <a:lnTo>
                      <a:pt x="699" y="316"/>
                    </a:lnTo>
                    <a:lnTo>
                      <a:pt x="705" y="310"/>
                    </a:lnTo>
                    <a:lnTo>
                      <a:pt x="705" y="302"/>
                    </a:lnTo>
                    <a:lnTo>
                      <a:pt x="713" y="296"/>
                    </a:lnTo>
                    <a:lnTo>
                      <a:pt x="713" y="288"/>
                    </a:lnTo>
                    <a:lnTo>
                      <a:pt x="713" y="274"/>
                    </a:lnTo>
                    <a:lnTo>
                      <a:pt x="709" y="270"/>
                    </a:lnTo>
                    <a:lnTo>
                      <a:pt x="705" y="274"/>
                    </a:lnTo>
                    <a:lnTo>
                      <a:pt x="699" y="274"/>
                    </a:lnTo>
                    <a:lnTo>
                      <a:pt x="691" y="268"/>
                    </a:lnTo>
                    <a:lnTo>
                      <a:pt x="685" y="274"/>
                    </a:lnTo>
                    <a:lnTo>
                      <a:pt x="677" y="268"/>
                    </a:lnTo>
                    <a:lnTo>
                      <a:pt x="663" y="268"/>
                    </a:lnTo>
                    <a:lnTo>
                      <a:pt x="657" y="268"/>
                    </a:lnTo>
                    <a:lnTo>
                      <a:pt x="651" y="262"/>
                    </a:lnTo>
                    <a:lnTo>
                      <a:pt x="643" y="254"/>
                    </a:lnTo>
                    <a:lnTo>
                      <a:pt x="637" y="254"/>
                    </a:lnTo>
                    <a:lnTo>
                      <a:pt x="629" y="254"/>
                    </a:lnTo>
                    <a:lnTo>
                      <a:pt x="623" y="254"/>
                    </a:lnTo>
                    <a:lnTo>
                      <a:pt x="615" y="248"/>
                    </a:lnTo>
                    <a:lnTo>
                      <a:pt x="617" y="238"/>
                    </a:lnTo>
                    <a:lnTo>
                      <a:pt x="611" y="232"/>
                    </a:lnTo>
                    <a:lnTo>
                      <a:pt x="605" y="226"/>
                    </a:lnTo>
                    <a:lnTo>
                      <a:pt x="597" y="220"/>
                    </a:lnTo>
                    <a:lnTo>
                      <a:pt x="587" y="228"/>
                    </a:lnTo>
                    <a:lnTo>
                      <a:pt x="573" y="228"/>
                    </a:lnTo>
                    <a:lnTo>
                      <a:pt x="573" y="220"/>
                    </a:lnTo>
                    <a:lnTo>
                      <a:pt x="567" y="220"/>
                    </a:lnTo>
                    <a:lnTo>
                      <a:pt x="553" y="214"/>
                    </a:lnTo>
                    <a:lnTo>
                      <a:pt x="547" y="214"/>
                    </a:lnTo>
                    <a:lnTo>
                      <a:pt x="533" y="206"/>
                    </a:lnTo>
                    <a:lnTo>
                      <a:pt x="533" y="198"/>
                    </a:lnTo>
                    <a:lnTo>
                      <a:pt x="519" y="192"/>
                    </a:lnTo>
                    <a:lnTo>
                      <a:pt x="513" y="192"/>
                    </a:lnTo>
                    <a:lnTo>
                      <a:pt x="497" y="178"/>
                    </a:lnTo>
                    <a:lnTo>
                      <a:pt x="491" y="178"/>
                    </a:lnTo>
                    <a:lnTo>
                      <a:pt x="483" y="172"/>
                    </a:lnTo>
                    <a:lnTo>
                      <a:pt x="477" y="164"/>
                    </a:lnTo>
                    <a:lnTo>
                      <a:pt x="471" y="164"/>
                    </a:lnTo>
                    <a:lnTo>
                      <a:pt x="471" y="158"/>
                    </a:lnTo>
                    <a:lnTo>
                      <a:pt x="471" y="152"/>
                    </a:lnTo>
                    <a:lnTo>
                      <a:pt x="463" y="144"/>
                    </a:lnTo>
                    <a:lnTo>
                      <a:pt x="455" y="138"/>
                    </a:lnTo>
                    <a:lnTo>
                      <a:pt x="455" y="138"/>
                    </a:lnTo>
                    <a:lnTo>
                      <a:pt x="455" y="138"/>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8" name="Freeform 22"/>
              <p:cNvSpPr>
                <a:spLocks/>
              </p:cNvSpPr>
              <p:nvPr>
                <p:custDataLst>
                  <p:tags r:id="rId134"/>
                </p:custDataLst>
              </p:nvPr>
            </p:nvSpPr>
            <p:spPr bwMode="gray">
              <a:xfrm>
                <a:off x="2475494" y="3752781"/>
                <a:ext cx="431896" cy="600208"/>
              </a:xfrm>
              <a:custGeom>
                <a:avLst/>
                <a:gdLst>
                  <a:gd name="T0" fmla="*/ 78 w 272"/>
                  <a:gd name="T1" fmla="*/ 378 h 378"/>
                  <a:gd name="T2" fmla="*/ 64 w 272"/>
                  <a:gd name="T3" fmla="*/ 372 h 378"/>
                  <a:gd name="T4" fmla="*/ 36 w 272"/>
                  <a:gd name="T5" fmla="*/ 358 h 378"/>
                  <a:gd name="T6" fmla="*/ 22 w 272"/>
                  <a:gd name="T7" fmla="*/ 344 h 378"/>
                  <a:gd name="T8" fmla="*/ 0 w 272"/>
                  <a:gd name="T9" fmla="*/ 352 h 378"/>
                  <a:gd name="T10" fmla="*/ 14 w 272"/>
                  <a:gd name="T11" fmla="*/ 324 h 378"/>
                  <a:gd name="T12" fmla="*/ 30 w 272"/>
                  <a:gd name="T13" fmla="*/ 310 h 378"/>
                  <a:gd name="T14" fmla="*/ 30 w 272"/>
                  <a:gd name="T15" fmla="*/ 282 h 378"/>
                  <a:gd name="T16" fmla="*/ 42 w 272"/>
                  <a:gd name="T17" fmla="*/ 262 h 378"/>
                  <a:gd name="T18" fmla="*/ 50 w 272"/>
                  <a:gd name="T19" fmla="*/ 234 h 378"/>
                  <a:gd name="T20" fmla="*/ 22 w 272"/>
                  <a:gd name="T21" fmla="*/ 228 h 378"/>
                  <a:gd name="T22" fmla="*/ 30 w 272"/>
                  <a:gd name="T23" fmla="*/ 206 h 378"/>
                  <a:gd name="T24" fmla="*/ 36 w 272"/>
                  <a:gd name="T25" fmla="*/ 186 h 378"/>
                  <a:gd name="T26" fmla="*/ 56 w 272"/>
                  <a:gd name="T27" fmla="*/ 172 h 378"/>
                  <a:gd name="T28" fmla="*/ 78 w 272"/>
                  <a:gd name="T29" fmla="*/ 152 h 378"/>
                  <a:gd name="T30" fmla="*/ 92 w 272"/>
                  <a:gd name="T31" fmla="*/ 132 h 378"/>
                  <a:gd name="T32" fmla="*/ 106 w 272"/>
                  <a:gd name="T33" fmla="*/ 96 h 378"/>
                  <a:gd name="T34" fmla="*/ 120 w 272"/>
                  <a:gd name="T35" fmla="*/ 68 h 378"/>
                  <a:gd name="T36" fmla="*/ 134 w 272"/>
                  <a:gd name="T37" fmla="*/ 42 h 378"/>
                  <a:gd name="T38" fmla="*/ 140 w 272"/>
                  <a:gd name="T39" fmla="*/ 20 h 378"/>
                  <a:gd name="T40" fmla="*/ 154 w 272"/>
                  <a:gd name="T41" fmla="*/ 8 h 378"/>
                  <a:gd name="T42" fmla="*/ 174 w 272"/>
                  <a:gd name="T43" fmla="*/ 8 h 378"/>
                  <a:gd name="T44" fmla="*/ 182 w 272"/>
                  <a:gd name="T45" fmla="*/ 20 h 378"/>
                  <a:gd name="T46" fmla="*/ 196 w 272"/>
                  <a:gd name="T47" fmla="*/ 28 h 378"/>
                  <a:gd name="T48" fmla="*/ 216 w 272"/>
                  <a:gd name="T49" fmla="*/ 34 h 378"/>
                  <a:gd name="T50" fmla="*/ 230 w 272"/>
                  <a:gd name="T51" fmla="*/ 42 h 378"/>
                  <a:gd name="T52" fmla="*/ 244 w 272"/>
                  <a:gd name="T53" fmla="*/ 48 h 378"/>
                  <a:gd name="T54" fmla="*/ 264 w 272"/>
                  <a:gd name="T55" fmla="*/ 56 h 378"/>
                  <a:gd name="T56" fmla="*/ 258 w 272"/>
                  <a:gd name="T57" fmla="*/ 76 h 378"/>
                  <a:gd name="T58" fmla="*/ 272 w 272"/>
                  <a:gd name="T59" fmla="*/ 90 h 378"/>
                  <a:gd name="T60" fmla="*/ 258 w 272"/>
                  <a:gd name="T61" fmla="*/ 96 h 378"/>
                  <a:gd name="T62" fmla="*/ 244 w 272"/>
                  <a:gd name="T63" fmla="*/ 104 h 378"/>
                  <a:gd name="T64" fmla="*/ 230 w 272"/>
                  <a:gd name="T65" fmla="*/ 110 h 378"/>
                  <a:gd name="T66" fmla="*/ 216 w 272"/>
                  <a:gd name="T67" fmla="*/ 132 h 378"/>
                  <a:gd name="T68" fmla="*/ 210 w 272"/>
                  <a:gd name="T69" fmla="*/ 152 h 378"/>
                  <a:gd name="T70" fmla="*/ 210 w 272"/>
                  <a:gd name="T71" fmla="*/ 172 h 378"/>
                  <a:gd name="T72" fmla="*/ 196 w 272"/>
                  <a:gd name="T73" fmla="*/ 178 h 378"/>
                  <a:gd name="T74" fmla="*/ 174 w 272"/>
                  <a:gd name="T75" fmla="*/ 206 h 378"/>
                  <a:gd name="T76" fmla="*/ 154 w 272"/>
                  <a:gd name="T77" fmla="*/ 206 h 378"/>
                  <a:gd name="T78" fmla="*/ 154 w 272"/>
                  <a:gd name="T79" fmla="*/ 234 h 378"/>
                  <a:gd name="T80" fmla="*/ 160 w 272"/>
                  <a:gd name="T81" fmla="*/ 256 h 378"/>
                  <a:gd name="T82" fmla="*/ 148 w 272"/>
                  <a:gd name="T83" fmla="*/ 276 h 378"/>
                  <a:gd name="T84" fmla="*/ 134 w 272"/>
                  <a:gd name="T85" fmla="*/ 290 h 378"/>
                  <a:gd name="T86" fmla="*/ 140 w 272"/>
                  <a:gd name="T87" fmla="*/ 304 h 378"/>
                  <a:gd name="T88" fmla="*/ 134 w 272"/>
                  <a:gd name="T89" fmla="*/ 316 h 378"/>
                  <a:gd name="T90" fmla="*/ 112 w 272"/>
                  <a:gd name="T91" fmla="*/ 324 h 378"/>
                  <a:gd name="T92" fmla="*/ 106 w 272"/>
                  <a:gd name="T93" fmla="*/ 338 h 378"/>
                  <a:gd name="T94" fmla="*/ 98 w 272"/>
                  <a:gd name="T95" fmla="*/ 372 h 378"/>
                  <a:gd name="T96" fmla="*/ 106 w 272"/>
                  <a:gd name="T97" fmla="*/ 372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2" h="378">
                    <a:moveTo>
                      <a:pt x="106" y="372"/>
                    </a:moveTo>
                    <a:lnTo>
                      <a:pt x="84" y="378"/>
                    </a:lnTo>
                    <a:lnTo>
                      <a:pt x="78" y="378"/>
                    </a:lnTo>
                    <a:lnTo>
                      <a:pt x="78" y="372"/>
                    </a:lnTo>
                    <a:lnTo>
                      <a:pt x="70" y="378"/>
                    </a:lnTo>
                    <a:lnTo>
                      <a:pt x="64" y="372"/>
                    </a:lnTo>
                    <a:lnTo>
                      <a:pt x="50" y="366"/>
                    </a:lnTo>
                    <a:lnTo>
                      <a:pt x="42" y="358"/>
                    </a:lnTo>
                    <a:lnTo>
                      <a:pt x="36" y="358"/>
                    </a:lnTo>
                    <a:lnTo>
                      <a:pt x="30" y="358"/>
                    </a:lnTo>
                    <a:lnTo>
                      <a:pt x="30" y="352"/>
                    </a:lnTo>
                    <a:lnTo>
                      <a:pt x="22" y="344"/>
                    </a:lnTo>
                    <a:lnTo>
                      <a:pt x="14" y="352"/>
                    </a:lnTo>
                    <a:lnTo>
                      <a:pt x="8" y="352"/>
                    </a:lnTo>
                    <a:lnTo>
                      <a:pt x="0" y="352"/>
                    </a:lnTo>
                    <a:lnTo>
                      <a:pt x="0" y="344"/>
                    </a:lnTo>
                    <a:lnTo>
                      <a:pt x="8" y="338"/>
                    </a:lnTo>
                    <a:lnTo>
                      <a:pt x="14" y="324"/>
                    </a:lnTo>
                    <a:lnTo>
                      <a:pt x="14" y="316"/>
                    </a:lnTo>
                    <a:lnTo>
                      <a:pt x="22" y="310"/>
                    </a:lnTo>
                    <a:lnTo>
                      <a:pt x="30" y="310"/>
                    </a:lnTo>
                    <a:lnTo>
                      <a:pt x="30" y="304"/>
                    </a:lnTo>
                    <a:lnTo>
                      <a:pt x="36" y="290"/>
                    </a:lnTo>
                    <a:lnTo>
                      <a:pt x="30" y="282"/>
                    </a:lnTo>
                    <a:lnTo>
                      <a:pt x="36" y="276"/>
                    </a:lnTo>
                    <a:lnTo>
                      <a:pt x="36" y="268"/>
                    </a:lnTo>
                    <a:lnTo>
                      <a:pt x="42" y="262"/>
                    </a:lnTo>
                    <a:lnTo>
                      <a:pt x="50" y="256"/>
                    </a:lnTo>
                    <a:lnTo>
                      <a:pt x="50" y="248"/>
                    </a:lnTo>
                    <a:lnTo>
                      <a:pt x="50" y="234"/>
                    </a:lnTo>
                    <a:lnTo>
                      <a:pt x="42" y="234"/>
                    </a:lnTo>
                    <a:lnTo>
                      <a:pt x="36" y="228"/>
                    </a:lnTo>
                    <a:lnTo>
                      <a:pt x="22" y="228"/>
                    </a:lnTo>
                    <a:lnTo>
                      <a:pt x="22" y="220"/>
                    </a:lnTo>
                    <a:lnTo>
                      <a:pt x="22" y="214"/>
                    </a:lnTo>
                    <a:lnTo>
                      <a:pt x="30" y="206"/>
                    </a:lnTo>
                    <a:lnTo>
                      <a:pt x="36" y="200"/>
                    </a:lnTo>
                    <a:lnTo>
                      <a:pt x="36" y="192"/>
                    </a:lnTo>
                    <a:lnTo>
                      <a:pt x="36" y="186"/>
                    </a:lnTo>
                    <a:lnTo>
                      <a:pt x="36" y="178"/>
                    </a:lnTo>
                    <a:lnTo>
                      <a:pt x="42" y="172"/>
                    </a:lnTo>
                    <a:lnTo>
                      <a:pt x="56" y="172"/>
                    </a:lnTo>
                    <a:lnTo>
                      <a:pt x="64" y="172"/>
                    </a:lnTo>
                    <a:lnTo>
                      <a:pt x="70" y="158"/>
                    </a:lnTo>
                    <a:lnTo>
                      <a:pt x="78" y="152"/>
                    </a:lnTo>
                    <a:lnTo>
                      <a:pt x="78" y="144"/>
                    </a:lnTo>
                    <a:lnTo>
                      <a:pt x="84" y="138"/>
                    </a:lnTo>
                    <a:lnTo>
                      <a:pt x="92" y="132"/>
                    </a:lnTo>
                    <a:lnTo>
                      <a:pt x="98" y="118"/>
                    </a:lnTo>
                    <a:lnTo>
                      <a:pt x="106" y="110"/>
                    </a:lnTo>
                    <a:lnTo>
                      <a:pt x="106" y="96"/>
                    </a:lnTo>
                    <a:lnTo>
                      <a:pt x="112" y="90"/>
                    </a:lnTo>
                    <a:lnTo>
                      <a:pt x="120" y="82"/>
                    </a:lnTo>
                    <a:lnTo>
                      <a:pt x="120" y="68"/>
                    </a:lnTo>
                    <a:lnTo>
                      <a:pt x="126" y="62"/>
                    </a:lnTo>
                    <a:lnTo>
                      <a:pt x="134" y="56"/>
                    </a:lnTo>
                    <a:lnTo>
                      <a:pt x="134" y="42"/>
                    </a:lnTo>
                    <a:lnTo>
                      <a:pt x="134" y="34"/>
                    </a:lnTo>
                    <a:lnTo>
                      <a:pt x="140" y="28"/>
                    </a:lnTo>
                    <a:lnTo>
                      <a:pt x="140" y="20"/>
                    </a:lnTo>
                    <a:lnTo>
                      <a:pt x="140" y="14"/>
                    </a:lnTo>
                    <a:lnTo>
                      <a:pt x="140" y="8"/>
                    </a:lnTo>
                    <a:lnTo>
                      <a:pt x="154" y="8"/>
                    </a:lnTo>
                    <a:lnTo>
                      <a:pt x="160" y="8"/>
                    </a:lnTo>
                    <a:lnTo>
                      <a:pt x="160" y="0"/>
                    </a:lnTo>
                    <a:lnTo>
                      <a:pt x="174" y="8"/>
                    </a:lnTo>
                    <a:lnTo>
                      <a:pt x="182" y="8"/>
                    </a:lnTo>
                    <a:lnTo>
                      <a:pt x="182" y="14"/>
                    </a:lnTo>
                    <a:lnTo>
                      <a:pt x="182" y="20"/>
                    </a:lnTo>
                    <a:lnTo>
                      <a:pt x="182" y="28"/>
                    </a:lnTo>
                    <a:lnTo>
                      <a:pt x="188" y="28"/>
                    </a:lnTo>
                    <a:lnTo>
                      <a:pt x="196" y="28"/>
                    </a:lnTo>
                    <a:lnTo>
                      <a:pt x="202" y="28"/>
                    </a:lnTo>
                    <a:lnTo>
                      <a:pt x="210" y="34"/>
                    </a:lnTo>
                    <a:lnTo>
                      <a:pt x="216" y="34"/>
                    </a:lnTo>
                    <a:lnTo>
                      <a:pt x="224" y="42"/>
                    </a:lnTo>
                    <a:lnTo>
                      <a:pt x="230" y="48"/>
                    </a:lnTo>
                    <a:lnTo>
                      <a:pt x="230" y="42"/>
                    </a:lnTo>
                    <a:lnTo>
                      <a:pt x="238" y="42"/>
                    </a:lnTo>
                    <a:lnTo>
                      <a:pt x="244" y="42"/>
                    </a:lnTo>
                    <a:lnTo>
                      <a:pt x="244" y="48"/>
                    </a:lnTo>
                    <a:lnTo>
                      <a:pt x="250" y="48"/>
                    </a:lnTo>
                    <a:lnTo>
                      <a:pt x="258" y="48"/>
                    </a:lnTo>
                    <a:lnTo>
                      <a:pt x="264" y="56"/>
                    </a:lnTo>
                    <a:lnTo>
                      <a:pt x="258" y="62"/>
                    </a:lnTo>
                    <a:lnTo>
                      <a:pt x="258" y="68"/>
                    </a:lnTo>
                    <a:lnTo>
                      <a:pt x="258" y="76"/>
                    </a:lnTo>
                    <a:lnTo>
                      <a:pt x="264" y="76"/>
                    </a:lnTo>
                    <a:lnTo>
                      <a:pt x="272" y="82"/>
                    </a:lnTo>
                    <a:lnTo>
                      <a:pt x="272" y="90"/>
                    </a:lnTo>
                    <a:lnTo>
                      <a:pt x="264" y="90"/>
                    </a:lnTo>
                    <a:lnTo>
                      <a:pt x="264" y="96"/>
                    </a:lnTo>
                    <a:lnTo>
                      <a:pt x="258" y="96"/>
                    </a:lnTo>
                    <a:lnTo>
                      <a:pt x="250" y="96"/>
                    </a:lnTo>
                    <a:lnTo>
                      <a:pt x="250" y="104"/>
                    </a:lnTo>
                    <a:lnTo>
                      <a:pt x="244" y="104"/>
                    </a:lnTo>
                    <a:lnTo>
                      <a:pt x="238" y="104"/>
                    </a:lnTo>
                    <a:lnTo>
                      <a:pt x="238" y="110"/>
                    </a:lnTo>
                    <a:lnTo>
                      <a:pt x="230" y="110"/>
                    </a:lnTo>
                    <a:lnTo>
                      <a:pt x="224" y="118"/>
                    </a:lnTo>
                    <a:lnTo>
                      <a:pt x="224" y="124"/>
                    </a:lnTo>
                    <a:lnTo>
                      <a:pt x="216" y="132"/>
                    </a:lnTo>
                    <a:lnTo>
                      <a:pt x="216" y="138"/>
                    </a:lnTo>
                    <a:lnTo>
                      <a:pt x="210" y="144"/>
                    </a:lnTo>
                    <a:lnTo>
                      <a:pt x="210" y="152"/>
                    </a:lnTo>
                    <a:lnTo>
                      <a:pt x="210" y="158"/>
                    </a:lnTo>
                    <a:lnTo>
                      <a:pt x="210" y="166"/>
                    </a:lnTo>
                    <a:lnTo>
                      <a:pt x="210" y="172"/>
                    </a:lnTo>
                    <a:lnTo>
                      <a:pt x="202" y="172"/>
                    </a:lnTo>
                    <a:lnTo>
                      <a:pt x="196" y="172"/>
                    </a:lnTo>
                    <a:lnTo>
                      <a:pt x="196" y="178"/>
                    </a:lnTo>
                    <a:lnTo>
                      <a:pt x="182" y="192"/>
                    </a:lnTo>
                    <a:lnTo>
                      <a:pt x="182" y="200"/>
                    </a:lnTo>
                    <a:lnTo>
                      <a:pt x="174" y="206"/>
                    </a:lnTo>
                    <a:lnTo>
                      <a:pt x="174" y="214"/>
                    </a:lnTo>
                    <a:lnTo>
                      <a:pt x="168" y="214"/>
                    </a:lnTo>
                    <a:lnTo>
                      <a:pt x="154" y="206"/>
                    </a:lnTo>
                    <a:lnTo>
                      <a:pt x="154" y="220"/>
                    </a:lnTo>
                    <a:lnTo>
                      <a:pt x="154" y="228"/>
                    </a:lnTo>
                    <a:lnTo>
                      <a:pt x="154" y="234"/>
                    </a:lnTo>
                    <a:lnTo>
                      <a:pt x="160" y="242"/>
                    </a:lnTo>
                    <a:lnTo>
                      <a:pt x="160" y="248"/>
                    </a:lnTo>
                    <a:lnTo>
                      <a:pt x="160" y="256"/>
                    </a:lnTo>
                    <a:lnTo>
                      <a:pt x="154" y="262"/>
                    </a:lnTo>
                    <a:lnTo>
                      <a:pt x="148" y="268"/>
                    </a:lnTo>
                    <a:lnTo>
                      <a:pt x="148" y="276"/>
                    </a:lnTo>
                    <a:lnTo>
                      <a:pt x="140" y="276"/>
                    </a:lnTo>
                    <a:lnTo>
                      <a:pt x="134" y="282"/>
                    </a:lnTo>
                    <a:lnTo>
                      <a:pt x="134" y="290"/>
                    </a:lnTo>
                    <a:lnTo>
                      <a:pt x="126" y="296"/>
                    </a:lnTo>
                    <a:lnTo>
                      <a:pt x="134" y="304"/>
                    </a:lnTo>
                    <a:lnTo>
                      <a:pt x="140" y="304"/>
                    </a:lnTo>
                    <a:lnTo>
                      <a:pt x="140" y="310"/>
                    </a:lnTo>
                    <a:lnTo>
                      <a:pt x="140" y="316"/>
                    </a:lnTo>
                    <a:lnTo>
                      <a:pt x="134" y="316"/>
                    </a:lnTo>
                    <a:lnTo>
                      <a:pt x="126" y="324"/>
                    </a:lnTo>
                    <a:lnTo>
                      <a:pt x="120" y="324"/>
                    </a:lnTo>
                    <a:lnTo>
                      <a:pt x="112" y="324"/>
                    </a:lnTo>
                    <a:lnTo>
                      <a:pt x="112" y="330"/>
                    </a:lnTo>
                    <a:lnTo>
                      <a:pt x="106" y="330"/>
                    </a:lnTo>
                    <a:lnTo>
                      <a:pt x="106" y="338"/>
                    </a:lnTo>
                    <a:lnTo>
                      <a:pt x="98" y="344"/>
                    </a:lnTo>
                    <a:lnTo>
                      <a:pt x="98" y="358"/>
                    </a:lnTo>
                    <a:lnTo>
                      <a:pt x="98" y="372"/>
                    </a:lnTo>
                    <a:lnTo>
                      <a:pt x="106" y="372"/>
                    </a:lnTo>
                    <a:lnTo>
                      <a:pt x="106" y="372"/>
                    </a:lnTo>
                    <a:lnTo>
                      <a:pt x="106" y="372"/>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2" name="Freeform 26"/>
              <p:cNvSpPr>
                <a:spLocks/>
              </p:cNvSpPr>
              <p:nvPr>
                <p:custDataLst>
                  <p:tags r:id="rId135"/>
                </p:custDataLst>
              </p:nvPr>
            </p:nvSpPr>
            <p:spPr bwMode="gray">
              <a:xfrm>
                <a:off x="3283711" y="3031896"/>
                <a:ext cx="1043220" cy="1009874"/>
              </a:xfrm>
              <a:custGeom>
                <a:avLst/>
                <a:gdLst>
                  <a:gd name="T0" fmla="*/ 553 w 657"/>
                  <a:gd name="T1" fmla="*/ 558 h 636"/>
                  <a:gd name="T2" fmla="*/ 545 w 657"/>
                  <a:gd name="T3" fmla="*/ 510 h 636"/>
                  <a:gd name="T4" fmla="*/ 525 w 657"/>
                  <a:gd name="T5" fmla="*/ 476 h 636"/>
                  <a:gd name="T6" fmla="*/ 567 w 657"/>
                  <a:gd name="T7" fmla="*/ 454 h 636"/>
                  <a:gd name="T8" fmla="*/ 559 w 657"/>
                  <a:gd name="T9" fmla="*/ 420 h 636"/>
                  <a:gd name="T10" fmla="*/ 553 w 657"/>
                  <a:gd name="T11" fmla="*/ 386 h 636"/>
                  <a:gd name="T12" fmla="*/ 553 w 657"/>
                  <a:gd name="T13" fmla="*/ 372 h 636"/>
                  <a:gd name="T14" fmla="*/ 539 w 657"/>
                  <a:gd name="T15" fmla="*/ 352 h 636"/>
                  <a:gd name="T16" fmla="*/ 581 w 657"/>
                  <a:gd name="T17" fmla="*/ 310 h 636"/>
                  <a:gd name="T18" fmla="*/ 615 w 657"/>
                  <a:gd name="T19" fmla="*/ 290 h 636"/>
                  <a:gd name="T20" fmla="*/ 629 w 657"/>
                  <a:gd name="T21" fmla="*/ 242 h 636"/>
                  <a:gd name="T22" fmla="*/ 635 w 657"/>
                  <a:gd name="T23" fmla="*/ 200 h 636"/>
                  <a:gd name="T24" fmla="*/ 581 w 657"/>
                  <a:gd name="T25" fmla="*/ 152 h 636"/>
                  <a:gd name="T26" fmla="*/ 539 w 657"/>
                  <a:gd name="T27" fmla="*/ 146 h 636"/>
                  <a:gd name="T28" fmla="*/ 511 w 657"/>
                  <a:gd name="T29" fmla="*/ 110 h 636"/>
                  <a:gd name="T30" fmla="*/ 483 w 657"/>
                  <a:gd name="T31" fmla="*/ 104 h 636"/>
                  <a:gd name="T32" fmla="*/ 469 w 657"/>
                  <a:gd name="T33" fmla="*/ 68 h 636"/>
                  <a:gd name="T34" fmla="*/ 443 w 657"/>
                  <a:gd name="T35" fmla="*/ 42 h 636"/>
                  <a:gd name="T36" fmla="*/ 421 w 657"/>
                  <a:gd name="T37" fmla="*/ 14 h 636"/>
                  <a:gd name="T38" fmla="*/ 386 w 657"/>
                  <a:gd name="T39" fmla="*/ 0 h 636"/>
                  <a:gd name="T40" fmla="*/ 366 w 657"/>
                  <a:gd name="T41" fmla="*/ 34 h 636"/>
                  <a:gd name="T42" fmla="*/ 338 w 657"/>
                  <a:gd name="T43" fmla="*/ 62 h 636"/>
                  <a:gd name="T44" fmla="*/ 290 w 657"/>
                  <a:gd name="T45" fmla="*/ 84 h 636"/>
                  <a:gd name="T46" fmla="*/ 276 w 657"/>
                  <a:gd name="T47" fmla="*/ 96 h 636"/>
                  <a:gd name="T48" fmla="*/ 220 w 657"/>
                  <a:gd name="T49" fmla="*/ 84 h 636"/>
                  <a:gd name="T50" fmla="*/ 206 w 657"/>
                  <a:gd name="T51" fmla="*/ 48 h 636"/>
                  <a:gd name="T52" fmla="*/ 178 w 657"/>
                  <a:gd name="T53" fmla="*/ 68 h 636"/>
                  <a:gd name="T54" fmla="*/ 186 w 657"/>
                  <a:gd name="T55" fmla="*/ 118 h 636"/>
                  <a:gd name="T56" fmla="*/ 158 w 657"/>
                  <a:gd name="T57" fmla="*/ 110 h 636"/>
                  <a:gd name="T58" fmla="*/ 110 w 657"/>
                  <a:gd name="T59" fmla="*/ 104 h 636"/>
                  <a:gd name="T60" fmla="*/ 96 w 657"/>
                  <a:gd name="T61" fmla="*/ 84 h 636"/>
                  <a:gd name="T62" fmla="*/ 48 w 657"/>
                  <a:gd name="T63" fmla="*/ 84 h 636"/>
                  <a:gd name="T64" fmla="*/ 6 w 657"/>
                  <a:gd name="T65" fmla="*/ 84 h 636"/>
                  <a:gd name="T66" fmla="*/ 26 w 657"/>
                  <a:gd name="T67" fmla="*/ 104 h 636"/>
                  <a:gd name="T68" fmla="*/ 6 w 657"/>
                  <a:gd name="T69" fmla="*/ 118 h 636"/>
                  <a:gd name="T70" fmla="*/ 40 w 657"/>
                  <a:gd name="T71" fmla="*/ 130 h 636"/>
                  <a:gd name="T72" fmla="*/ 68 w 657"/>
                  <a:gd name="T73" fmla="*/ 166 h 636"/>
                  <a:gd name="T74" fmla="*/ 102 w 657"/>
                  <a:gd name="T75" fmla="*/ 186 h 636"/>
                  <a:gd name="T76" fmla="*/ 110 w 657"/>
                  <a:gd name="T77" fmla="*/ 214 h 636"/>
                  <a:gd name="T78" fmla="*/ 116 w 657"/>
                  <a:gd name="T79" fmla="*/ 254 h 636"/>
                  <a:gd name="T80" fmla="*/ 144 w 657"/>
                  <a:gd name="T81" fmla="*/ 290 h 636"/>
                  <a:gd name="T82" fmla="*/ 138 w 657"/>
                  <a:gd name="T83" fmla="*/ 332 h 636"/>
                  <a:gd name="T84" fmla="*/ 144 w 657"/>
                  <a:gd name="T85" fmla="*/ 366 h 636"/>
                  <a:gd name="T86" fmla="*/ 138 w 657"/>
                  <a:gd name="T87" fmla="*/ 372 h 636"/>
                  <a:gd name="T88" fmla="*/ 116 w 657"/>
                  <a:gd name="T89" fmla="*/ 372 h 636"/>
                  <a:gd name="T90" fmla="*/ 110 w 657"/>
                  <a:gd name="T91" fmla="*/ 414 h 636"/>
                  <a:gd name="T92" fmla="*/ 82 w 657"/>
                  <a:gd name="T93" fmla="*/ 442 h 636"/>
                  <a:gd name="T94" fmla="*/ 40 w 657"/>
                  <a:gd name="T95" fmla="*/ 496 h 636"/>
                  <a:gd name="T96" fmla="*/ 68 w 657"/>
                  <a:gd name="T97" fmla="*/ 524 h 636"/>
                  <a:gd name="T98" fmla="*/ 116 w 657"/>
                  <a:gd name="T99" fmla="*/ 558 h 636"/>
                  <a:gd name="T100" fmla="*/ 174 w 657"/>
                  <a:gd name="T101" fmla="*/ 588 h 636"/>
                  <a:gd name="T102" fmla="*/ 214 w 657"/>
                  <a:gd name="T103" fmla="*/ 614 h 636"/>
                  <a:gd name="T104" fmla="*/ 262 w 657"/>
                  <a:gd name="T105" fmla="*/ 628 h 636"/>
                  <a:gd name="T106" fmla="*/ 302 w 657"/>
                  <a:gd name="T107" fmla="*/ 630 h 636"/>
                  <a:gd name="T108" fmla="*/ 302 w 657"/>
                  <a:gd name="T109" fmla="*/ 592 h 636"/>
                  <a:gd name="T110" fmla="*/ 338 w 657"/>
                  <a:gd name="T111" fmla="*/ 572 h 636"/>
                  <a:gd name="T112" fmla="*/ 380 w 657"/>
                  <a:gd name="T113" fmla="*/ 572 h 636"/>
                  <a:gd name="T114" fmla="*/ 421 w 657"/>
                  <a:gd name="T115" fmla="*/ 572 h 636"/>
                  <a:gd name="T116" fmla="*/ 443 w 657"/>
                  <a:gd name="T117" fmla="*/ 592 h 636"/>
                  <a:gd name="T118" fmla="*/ 469 w 657"/>
                  <a:gd name="T119" fmla="*/ 620 h 636"/>
                  <a:gd name="T120" fmla="*/ 511 w 657"/>
                  <a:gd name="T121" fmla="*/ 614 h 636"/>
                  <a:gd name="T122" fmla="*/ 531 w 657"/>
                  <a:gd name="T123" fmla="*/ 592 h 636"/>
                  <a:gd name="T124" fmla="*/ 559 w 657"/>
                  <a:gd name="T125" fmla="*/ 586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7" h="636">
                    <a:moveTo>
                      <a:pt x="559" y="586"/>
                    </a:moveTo>
                    <a:lnTo>
                      <a:pt x="567" y="580"/>
                    </a:lnTo>
                    <a:lnTo>
                      <a:pt x="567" y="572"/>
                    </a:lnTo>
                    <a:lnTo>
                      <a:pt x="573" y="566"/>
                    </a:lnTo>
                    <a:lnTo>
                      <a:pt x="567" y="558"/>
                    </a:lnTo>
                    <a:lnTo>
                      <a:pt x="553" y="558"/>
                    </a:lnTo>
                    <a:lnTo>
                      <a:pt x="545" y="558"/>
                    </a:lnTo>
                    <a:lnTo>
                      <a:pt x="539" y="544"/>
                    </a:lnTo>
                    <a:lnTo>
                      <a:pt x="539" y="538"/>
                    </a:lnTo>
                    <a:lnTo>
                      <a:pt x="539" y="524"/>
                    </a:lnTo>
                    <a:lnTo>
                      <a:pt x="539" y="516"/>
                    </a:lnTo>
                    <a:lnTo>
                      <a:pt x="545" y="510"/>
                    </a:lnTo>
                    <a:lnTo>
                      <a:pt x="545" y="504"/>
                    </a:lnTo>
                    <a:lnTo>
                      <a:pt x="545" y="496"/>
                    </a:lnTo>
                    <a:lnTo>
                      <a:pt x="539" y="490"/>
                    </a:lnTo>
                    <a:lnTo>
                      <a:pt x="531" y="490"/>
                    </a:lnTo>
                    <a:lnTo>
                      <a:pt x="525" y="482"/>
                    </a:lnTo>
                    <a:lnTo>
                      <a:pt x="525" y="476"/>
                    </a:lnTo>
                    <a:lnTo>
                      <a:pt x="531" y="476"/>
                    </a:lnTo>
                    <a:lnTo>
                      <a:pt x="539" y="476"/>
                    </a:lnTo>
                    <a:lnTo>
                      <a:pt x="545" y="476"/>
                    </a:lnTo>
                    <a:lnTo>
                      <a:pt x="553" y="468"/>
                    </a:lnTo>
                    <a:lnTo>
                      <a:pt x="559" y="462"/>
                    </a:lnTo>
                    <a:lnTo>
                      <a:pt x="567" y="454"/>
                    </a:lnTo>
                    <a:lnTo>
                      <a:pt x="559" y="448"/>
                    </a:lnTo>
                    <a:lnTo>
                      <a:pt x="559" y="442"/>
                    </a:lnTo>
                    <a:lnTo>
                      <a:pt x="553" y="434"/>
                    </a:lnTo>
                    <a:lnTo>
                      <a:pt x="553" y="428"/>
                    </a:lnTo>
                    <a:lnTo>
                      <a:pt x="559" y="428"/>
                    </a:lnTo>
                    <a:lnTo>
                      <a:pt x="559" y="420"/>
                    </a:lnTo>
                    <a:lnTo>
                      <a:pt x="559" y="414"/>
                    </a:lnTo>
                    <a:lnTo>
                      <a:pt x="553" y="406"/>
                    </a:lnTo>
                    <a:lnTo>
                      <a:pt x="553" y="400"/>
                    </a:lnTo>
                    <a:lnTo>
                      <a:pt x="559" y="400"/>
                    </a:lnTo>
                    <a:lnTo>
                      <a:pt x="553" y="392"/>
                    </a:lnTo>
                    <a:lnTo>
                      <a:pt x="553" y="386"/>
                    </a:lnTo>
                    <a:lnTo>
                      <a:pt x="559" y="386"/>
                    </a:lnTo>
                    <a:lnTo>
                      <a:pt x="567" y="386"/>
                    </a:lnTo>
                    <a:lnTo>
                      <a:pt x="567" y="378"/>
                    </a:lnTo>
                    <a:lnTo>
                      <a:pt x="559" y="366"/>
                    </a:lnTo>
                    <a:lnTo>
                      <a:pt x="553" y="366"/>
                    </a:lnTo>
                    <a:lnTo>
                      <a:pt x="553" y="372"/>
                    </a:lnTo>
                    <a:lnTo>
                      <a:pt x="545" y="372"/>
                    </a:lnTo>
                    <a:lnTo>
                      <a:pt x="539" y="386"/>
                    </a:lnTo>
                    <a:lnTo>
                      <a:pt x="525" y="392"/>
                    </a:lnTo>
                    <a:lnTo>
                      <a:pt x="519" y="378"/>
                    </a:lnTo>
                    <a:lnTo>
                      <a:pt x="525" y="366"/>
                    </a:lnTo>
                    <a:lnTo>
                      <a:pt x="539" y="352"/>
                    </a:lnTo>
                    <a:lnTo>
                      <a:pt x="539" y="344"/>
                    </a:lnTo>
                    <a:lnTo>
                      <a:pt x="545" y="338"/>
                    </a:lnTo>
                    <a:lnTo>
                      <a:pt x="559" y="338"/>
                    </a:lnTo>
                    <a:lnTo>
                      <a:pt x="573" y="332"/>
                    </a:lnTo>
                    <a:lnTo>
                      <a:pt x="581" y="318"/>
                    </a:lnTo>
                    <a:lnTo>
                      <a:pt x="581" y="310"/>
                    </a:lnTo>
                    <a:lnTo>
                      <a:pt x="587" y="304"/>
                    </a:lnTo>
                    <a:lnTo>
                      <a:pt x="595" y="310"/>
                    </a:lnTo>
                    <a:lnTo>
                      <a:pt x="601" y="318"/>
                    </a:lnTo>
                    <a:lnTo>
                      <a:pt x="609" y="304"/>
                    </a:lnTo>
                    <a:lnTo>
                      <a:pt x="615" y="310"/>
                    </a:lnTo>
                    <a:lnTo>
                      <a:pt x="615" y="290"/>
                    </a:lnTo>
                    <a:lnTo>
                      <a:pt x="621" y="282"/>
                    </a:lnTo>
                    <a:lnTo>
                      <a:pt x="621" y="276"/>
                    </a:lnTo>
                    <a:lnTo>
                      <a:pt x="621" y="262"/>
                    </a:lnTo>
                    <a:lnTo>
                      <a:pt x="621" y="254"/>
                    </a:lnTo>
                    <a:lnTo>
                      <a:pt x="629" y="248"/>
                    </a:lnTo>
                    <a:lnTo>
                      <a:pt x="629" y="242"/>
                    </a:lnTo>
                    <a:lnTo>
                      <a:pt x="635" y="228"/>
                    </a:lnTo>
                    <a:lnTo>
                      <a:pt x="643" y="220"/>
                    </a:lnTo>
                    <a:lnTo>
                      <a:pt x="657" y="208"/>
                    </a:lnTo>
                    <a:lnTo>
                      <a:pt x="649" y="200"/>
                    </a:lnTo>
                    <a:lnTo>
                      <a:pt x="643" y="200"/>
                    </a:lnTo>
                    <a:lnTo>
                      <a:pt x="635" y="200"/>
                    </a:lnTo>
                    <a:lnTo>
                      <a:pt x="629" y="192"/>
                    </a:lnTo>
                    <a:lnTo>
                      <a:pt x="615" y="192"/>
                    </a:lnTo>
                    <a:lnTo>
                      <a:pt x="601" y="186"/>
                    </a:lnTo>
                    <a:lnTo>
                      <a:pt x="595" y="180"/>
                    </a:lnTo>
                    <a:lnTo>
                      <a:pt x="587" y="166"/>
                    </a:lnTo>
                    <a:lnTo>
                      <a:pt x="581" y="152"/>
                    </a:lnTo>
                    <a:lnTo>
                      <a:pt x="567" y="152"/>
                    </a:lnTo>
                    <a:lnTo>
                      <a:pt x="559" y="146"/>
                    </a:lnTo>
                    <a:lnTo>
                      <a:pt x="553" y="146"/>
                    </a:lnTo>
                    <a:lnTo>
                      <a:pt x="545" y="146"/>
                    </a:lnTo>
                    <a:lnTo>
                      <a:pt x="539" y="152"/>
                    </a:lnTo>
                    <a:lnTo>
                      <a:pt x="539" y="146"/>
                    </a:lnTo>
                    <a:lnTo>
                      <a:pt x="531" y="138"/>
                    </a:lnTo>
                    <a:lnTo>
                      <a:pt x="525" y="130"/>
                    </a:lnTo>
                    <a:lnTo>
                      <a:pt x="519" y="130"/>
                    </a:lnTo>
                    <a:lnTo>
                      <a:pt x="519" y="124"/>
                    </a:lnTo>
                    <a:lnTo>
                      <a:pt x="511" y="118"/>
                    </a:lnTo>
                    <a:lnTo>
                      <a:pt x="511" y="110"/>
                    </a:lnTo>
                    <a:lnTo>
                      <a:pt x="505" y="104"/>
                    </a:lnTo>
                    <a:lnTo>
                      <a:pt x="505" y="96"/>
                    </a:lnTo>
                    <a:lnTo>
                      <a:pt x="497" y="96"/>
                    </a:lnTo>
                    <a:lnTo>
                      <a:pt x="497" y="104"/>
                    </a:lnTo>
                    <a:lnTo>
                      <a:pt x="491" y="104"/>
                    </a:lnTo>
                    <a:lnTo>
                      <a:pt x="483" y="104"/>
                    </a:lnTo>
                    <a:lnTo>
                      <a:pt x="477" y="96"/>
                    </a:lnTo>
                    <a:lnTo>
                      <a:pt x="483" y="90"/>
                    </a:lnTo>
                    <a:lnTo>
                      <a:pt x="483" y="84"/>
                    </a:lnTo>
                    <a:lnTo>
                      <a:pt x="483" y="68"/>
                    </a:lnTo>
                    <a:lnTo>
                      <a:pt x="477" y="68"/>
                    </a:lnTo>
                    <a:lnTo>
                      <a:pt x="469" y="68"/>
                    </a:lnTo>
                    <a:lnTo>
                      <a:pt x="463" y="68"/>
                    </a:lnTo>
                    <a:lnTo>
                      <a:pt x="455" y="56"/>
                    </a:lnTo>
                    <a:lnTo>
                      <a:pt x="455" y="48"/>
                    </a:lnTo>
                    <a:lnTo>
                      <a:pt x="449" y="48"/>
                    </a:lnTo>
                    <a:lnTo>
                      <a:pt x="443" y="48"/>
                    </a:lnTo>
                    <a:lnTo>
                      <a:pt x="443" y="42"/>
                    </a:lnTo>
                    <a:lnTo>
                      <a:pt x="443" y="34"/>
                    </a:lnTo>
                    <a:lnTo>
                      <a:pt x="435" y="34"/>
                    </a:lnTo>
                    <a:lnTo>
                      <a:pt x="429" y="34"/>
                    </a:lnTo>
                    <a:lnTo>
                      <a:pt x="429" y="28"/>
                    </a:lnTo>
                    <a:lnTo>
                      <a:pt x="421" y="20"/>
                    </a:lnTo>
                    <a:lnTo>
                      <a:pt x="421" y="14"/>
                    </a:lnTo>
                    <a:lnTo>
                      <a:pt x="421" y="8"/>
                    </a:lnTo>
                    <a:lnTo>
                      <a:pt x="421" y="0"/>
                    </a:lnTo>
                    <a:lnTo>
                      <a:pt x="407" y="0"/>
                    </a:lnTo>
                    <a:lnTo>
                      <a:pt x="401" y="0"/>
                    </a:lnTo>
                    <a:lnTo>
                      <a:pt x="392" y="0"/>
                    </a:lnTo>
                    <a:lnTo>
                      <a:pt x="386" y="0"/>
                    </a:lnTo>
                    <a:lnTo>
                      <a:pt x="380" y="0"/>
                    </a:lnTo>
                    <a:lnTo>
                      <a:pt x="372" y="8"/>
                    </a:lnTo>
                    <a:lnTo>
                      <a:pt x="372" y="14"/>
                    </a:lnTo>
                    <a:lnTo>
                      <a:pt x="372" y="20"/>
                    </a:lnTo>
                    <a:lnTo>
                      <a:pt x="366" y="28"/>
                    </a:lnTo>
                    <a:lnTo>
                      <a:pt x="366" y="34"/>
                    </a:lnTo>
                    <a:lnTo>
                      <a:pt x="366" y="48"/>
                    </a:lnTo>
                    <a:lnTo>
                      <a:pt x="366" y="56"/>
                    </a:lnTo>
                    <a:lnTo>
                      <a:pt x="358" y="56"/>
                    </a:lnTo>
                    <a:lnTo>
                      <a:pt x="352" y="56"/>
                    </a:lnTo>
                    <a:lnTo>
                      <a:pt x="344" y="62"/>
                    </a:lnTo>
                    <a:lnTo>
                      <a:pt x="338" y="62"/>
                    </a:lnTo>
                    <a:lnTo>
                      <a:pt x="324" y="68"/>
                    </a:lnTo>
                    <a:lnTo>
                      <a:pt x="310" y="76"/>
                    </a:lnTo>
                    <a:lnTo>
                      <a:pt x="296" y="76"/>
                    </a:lnTo>
                    <a:lnTo>
                      <a:pt x="282" y="76"/>
                    </a:lnTo>
                    <a:lnTo>
                      <a:pt x="282" y="84"/>
                    </a:lnTo>
                    <a:lnTo>
                      <a:pt x="290" y="84"/>
                    </a:lnTo>
                    <a:lnTo>
                      <a:pt x="302" y="90"/>
                    </a:lnTo>
                    <a:lnTo>
                      <a:pt x="310" y="96"/>
                    </a:lnTo>
                    <a:lnTo>
                      <a:pt x="302" y="96"/>
                    </a:lnTo>
                    <a:lnTo>
                      <a:pt x="302" y="104"/>
                    </a:lnTo>
                    <a:lnTo>
                      <a:pt x="290" y="96"/>
                    </a:lnTo>
                    <a:lnTo>
                      <a:pt x="276" y="96"/>
                    </a:lnTo>
                    <a:lnTo>
                      <a:pt x="262" y="96"/>
                    </a:lnTo>
                    <a:lnTo>
                      <a:pt x="262" y="90"/>
                    </a:lnTo>
                    <a:lnTo>
                      <a:pt x="248" y="90"/>
                    </a:lnTo>
                    <a:lnTo>
                      <a:pt x="234" y="84"/>
                    </a:lnTo>
                    <a:lnTo>
                      <a:pt x="220" y="76"/>
                    </a:lnTo>
                    <a:lnTo>
                      <a:pt x="220" y="84"/>
                    </a:lnTo>
                    <a:lnTo>
                      <a:pt x="206" y="76"/>
                    </a:lnTo>
                    <a:lnTo>
                      <a:pt x="214" y="68"/>
                    </a:lnTo>
                    <a:lnTo>
                      <a:pt x="206" y="62"/>
                    </a:lnTo>
                    <a:lnTo>
                      <a:pt x="206" y="56"/>
                    </a:lnTo>
                    <a:lnTo>
                      <a:pt x="214" y="48"/>
                    </a:lnTo>
                    <a:lnTo>
                      <a:pt x="206" y="48"/>
                    </a:lnTo>
                    <a:lnTo>
                      <a:pt x="200" y="48"/>
                    </a:lnTo>
                    <a:lnTo>
                      <a:pt x="192" y="42"/>
                    </a:lnTo>
                    <a:lnTo>
                      <a:pt x="186" y="42"/>
                    </a:lnTo>
                    <a:lnTo>
                      <a:pt x="186" y="48"/>
                    </a:lnTo>
                    <a:lnTo>
                      <a:pt x="178" y="56"/>
                    </a:lnTo>
                    <a:lnTo>
                      <a:pt x="178" y="68"/>
                    </a:lnTo>
                    <a:lnTo>
                      <a:pt x="178" y="76"/>
                    </a:lnTo>
                    <a:lnTo>
                      <a:pt x="186" y="90"/>
                    </a:lnTo>
                    <a:lnTo>
                      <a:pt x="178" y="96"/>
                    </a:lnTo>
                    <a:lnTo>
                      <a:pt x="178" y="104"/>
                    </a:lnTo>
                    <a:lnTo>
                      <a:pt x="178" y="110"/>
                    </a:lnTo>
                    <a:lnTo>
                      <a:pt x="186" y="118"/>
                    </a:lnTo>
                    <a:lnTo>
                      <a:pt x="186" y="124"/>
                    </a:lnTo>
                    <a:lnTo>
                      <a:pt x="172" y="124"/>
                    </a:lnTo>
                    <a:lnTo>
                      <a:pt x="164" y="118"/>
                    </a:lnTo>
                    <a:lnTo>
                      <a:pt x="158" y="118"/>
                    </a:lnTo>
                    <a:lnTo>
                      <a:pt x="152" y="118"/>
                    </a:lnTo>
                    <a:lnTo>
                      <a:pt x="158" y="110"/>
                    </a:lnTo>
                    <a:lnTo>
                      <a:pt x="144" y="110"/>
                    </a:lnTo>
                    <a:lnTo>
                      <a:pt x="130" y="110"/>
                    </a:lnTo>
                    <a:lnTo>
                      <a:pt x="124" y="104"/>
                    </a:lnTo>
                    <a:lnTo>
                      <a:pt x="124" y="110"/>
                    </a:lnTo>
                    <a:lnTo>
                      <a:pt x="110" y="110"/>
                    </a:lnTo>
                    <a:lnTo>
                      <a:pt x="110" y="104"/>
                    </a:lnTo>
                    <a:lnTo>
                      <a:pt x="110" y="90"/>
                    </a:lnTo>
                    <a:lnTo>
                      <a:pt x="102" y="90"/>
                    </a:lnTo>
                    <a:lnTo>
                      <a:pt x="96" y="90"/>
                    </a:lnTo>
                    <a:lnTo>
                      <a:pt x="96" y="84"/>
                    </a:lnTo>
                    <a:lnTo>
                      <a:pt x="102" y="76"/>
                    </a:lnTo>
                    <a:lnTo>
                      <a:pt x="96" y="84"/>
                    </a:lnTo>
                    <a:lnTo>
                      <a:pt x="82" y="76"/>
                    </a:lnTo>
                    <a:lnTo>
                      <a:pt x="76" y="84"/>
                    </a:lnTo>
                    <a:lnTo>
                      <a:pt x="76" y="90"/>
                    </a:lnTo>
                    <a:lnTo>
                      <a:pt x="62" y="90"/>
                    </a:lnTo>
                    <a:lnTo>
                      <a:pt x="62" y="84"/>
                    </a:lnTo>
                    <a:lnTo>
                      <a:pt x="48" y="84"/>
                    </a:lnTo>
                    <a:lnTo>
                      <a:pt x="40" y="84"/>
                    </a:lnTo>
                    <a:lnTo>
                      <a:pt x="34" y="76"/>
                    </a:lnTo>
                    <a:lnTo>
                      <a:pt x="26" y="84"/>
                    </a:lnTo>
                    <a:lnTo>
                      <a:pt x="20" y="84"/>
                    </a:lnTo>
                    <a:lnTo>
                      <a:pt x="12" y="84"/>
                    </a:lnTo>
                    <a:lnTo>
                      <a:pt x="6" y="84"/>
                    </a:lnTo>
                    <a:lnTo>
                      <a:pt x="6" y="90"/>
                    </a:lnTo>
                    <a:lnTo>
                      <a:pt x="12" y="90"/>
                    </a:lnTo>
                    <a:lnTo>
                      <a:pt x="20" y="90"/>
                    </a:lnTo>
                    <a:lnTo>
                      <a:pt x="26" y="90"/>
                    </a:lnTo>
                    <a:lnTo>
                      <a:pt x="26" y="96"/>
                    </a:lnTo>
                    <a:lnTo>
                      <a:pt x="26" y="104"/>
                    </a:lnTo>
                    <a:lnTo>
                      <a:pt x="20" y="104"/>
                    </a:lnTo>
                    <a:lnTo>
                      <a:pt x="20" y="110"/>
                    </a:lnTo>
                    <a:lnTo>
                      <a:pt x="12" y="110"/>
                    </a:lnTo>
                    <a:lnTo>
                      <a:pt x="6" y="110"/>
                    </a:lnTo>
                    <a:lnTo>
                      <a:pt x="0" y="118"/>
                    </a:lnTo>
                    <a:lnTo>
                      <a:pt x="6" y="118"/>
                    </a:lnTo>
                    <a:lnTo>
                      <a:pt x="12" y="124"/>
                    </a:lnTo>
                    <a:lnTo>
                      <a:pt x="20" y="138"/>
                    </a:lnTo>
                    <a:lnTo>
                      <a:pt x="20" y="130"/>
                    </a:lnTo>
                    <a:lnTo>
                      <a:pt x="34" y="138"/>
                    </a:lnTo>
                    <a:lnTo>
                      <a:pt x="34" y="130"/>
                    </a:lnTo>
                    <a:lnTo>
                      <a:pt x="40" y="130"/>
                    </a:lnTo>
                    <a:lnTo>
                      <a:pt x="40" y="138"/>
                    </a:lnTo>
                    <a:lnTo>
                      <a:pt x="54" y="152"/>
                    </a:lnTo>
                    <a:lnTo>
                      <a:pt x="62" y="152"/>
                    </a:lnTo>
                    <a:lnTo>
                      <a:pt x="62" y="158"/>
                    </a:lnTo>
                    <a:lnTo>
                      <a:pt x="68" y="158"/>
                    </a:lnTo>
                    <a:lnTo>
                      <a:pt x="68" y="166"/>
                    </a:lnTo>
                    <a:lnTo>
                      <a:pt x="68" y="172"/>
                    </a:lnTo>
                    <a:lnTo>
                      <a:pt x="82" y="172"/>
                    </a:lnTo>
                    <a:lnTo>
                      <a:pt x="96" y="172"/>
                    </a:lnTo>
                    <a:lnTo>
                      <a:pt x="88" y="180"/>
                    </a:lnTo>
                    <a:lnTo>
                      <a:pt x="96" y="180"/>
                    </a:lnTo>
                    <a:lnTo>
                      <a:pt x="102" y="186"/>
                    </a:lnTo>
                    <a:lnTo>
                      <a:pt x="96" y="200"/>
                    </a:lnTo>
                    <a:lnTo>
                      <a:pt x="102" y="200"/>
                    </a:lnTo>
                    <a:lnTo>
                      <a:pt x="110" y="208"/>
                    </a:lnTo>
                    <a:lnTo>
                      <a:pt x="124" y="208"/>
                    </a:lnTo>
                    <a:lnTo>
                      <a:pt x="110" y="208"/>
                    </a:lnTo>
                    <a:lnTo>
                      <a:pt x="110" y="214"/>
                    </a:lnTo>
                    <a:lnTo>
                      <a:pt x="116" y="214"/>
                    </a:lnTo>
                    <a:lnTo>
                      <a:pt x="116" y="220"/>
                    </a:lnTo>
                    <a:lnTo>
                      <a:pt x="102" y="234"/>
                    </a:lnTo>
                    <a:lnTo>
                      <a:pt x="102" y="242"/>
                    </a:lnTo>
                    <a:lnTo>
                      <a:pt x="110" y="254"/>
                    </a:lnTo>
                    <a:lnTo>
                      <a:pt x="116" y="254"/>
                    </a:lnTo>
                    <a:lnTo>
                      <a:pt x="116" y="270"/>
                    </a:lnTo>
                    <a:lnTo>
                      <a:pt x="124" y="276"/>
                    </a:lnTo>
                    <a:lnTo>
                      <a:pt x="124" y="282"/>
                    </a:lnTo>
                    <a:lnTo>
                      <a:pt x="138" y="290"/>
                    </a:lnTo>
                    <a:lnTo>
                      <a:pt x="144" y="282"/>
                    </a:lnTo>
                    <a:lnTo>
                      <a:pt x="144" y="290"/>
                    </a:lnTo>
                    <a:lnTo>
                      <a:pt x="144" y="296"/>
                    </a:lnTo>
                    <a:lnTo>
                      <a:pt x="138" y="304"/>
                    </a:lnTo>
                    <a:lnTo>
                      <a:pt x="144" y="304"/>
                    </a:lnTo>
                    <a:lnTo>
                      <a:pt x="138" y="310"/>
                    </a:lnTo>
                    <a:lnTo>
                      <a:pt x="138" y="324"/>
                    </a:lnTo>
                    <a:lnTo>
                      <a:pt x="138" y="332"/>
                    </a:lnTo>
                    <a:lnTo>
                      <a:pt x="130" y="338"/>
                    </a:lnTo>
                    <a:lnTo>
                      <a:pt x="130" y="344"/>
                    </a:lnTo>
                    <a:lnTo>
                      <a:pt x="138" y="344"/>
                    </a:lnTo>
                    <a:lnTo>
                      <a:pt x="138" y="352"/>
                    </a:lnTo>
                    <a:lnTo>
                      <a:pt x="138" y="358"/>
                    </a:lnTo>
                    <a:lnTo>
                      <a:pt x="144" y="366"/>
                    </a:lnTo>
                    <a:lnTo>
                      <a:pt x="144" y="372"/>
                    </a:lnTo>
                    <a:lnTo>
                      <a:pt x="144" y="386"/>
                    </a:lnTo>
                    <a:lnTo>
                      <a:pt x="144" y="392"/>
                    </a:lnTo>
                    <a:lnTo>
                      <a:pt x="138" y="386"/>
                    </a:lnTo>
                    <a:lnTo>
                      <a:pt x="138" y="378"/>
                    </a:lnTo>
                    <a:lnTo>
                      <a:pt x="138" y="372"/>
                    </a:lnTo>
                    <a:lnTo>
                      <a:pt x="130" y="366"/>
                    </a:lnTo>
                    <a:lnTo>
                      <a:pt x="130" y="358"/>
                    </a:lnTo>
                    <a:lnTo>
                      <a:pt x="124" y="352"/>
                    </a:lnTo>
                    <a:lnTo>
                      <a:pt x="124" y="344"/>
                    </a:lnTo>
                    <a:lnTo>
                      <a:pt x="116" y="352"/>
                    </a:lnTo>
                    <a:lnTo>
                      <a:pt x="116" y="372"/>
                    </a:lnTo>
                    <a:lnTo>
                      <a:pt x="116" y="378"/>
                    </a:lnTo>
                    <a:lnTo>
                      <a:pt x="110" y="386"/>
                    </a:lnTo>
                    <a:lnTo>
                      <a:pt x="110" y="400"/>
                    </a:lnTo>
                    <a:lnTo>
                      <a:pt x="102" y="400"/>
                    </a:lnTo>
                    <a:lnTo>
                      <a:pt x="116" y="406"/>
                    </a:lnTo>
                    <a:lnTo>
                      <a:pt x="110" y="414"/>
                    </a:lnTo>
                    <a:lnTo>
                      <a:pt x="96" y="414"/>
                    </a:lnTo>
                    <a:lnTo>
                      <a:pt x="96" y="420"/>
                    </a:lnTo>
                    <a:lnTo>
                      <a:pt x="96" y="428"/>
                    </a:lnTo>
                    <a:lnTo>
                      <a:pt x="88" y="434"/>
                    </a:lnTo>
                    <a:lnTo>
                      <a:pt x="88" y="442"/>
                    </a:lnTo>
                    <a:lnTo>
                      <a:pt x="82" y="442"/>
                    </a:lnTo>
                    <a:lnTo>
                      <a:pt x="82" y="454"/>
                    </a:lnTo>
                    <a:lnTo>
                      <a:pt x="76" y="454"/>
                    </a:lnTo>
                    <a:lnTo>
                      <a:pt x="68" y="462"/>
                    </a:lnTo>
                    <a:lnTo>
                      <a:pt x="68" y="468"/>
                    </a:lnTo>
                    <a:lnTo>
                      <a:pt x="54" y="482"/>
                    </a:lnTo>
                    <a:lnTo>
                      <a:pt x="40" y="496"/>
                    </a:lnTo>
                    <a:lnTo>
                      <a:pt x="48" y="504"/>
                    </a:lnTo>
                    <a:lnTo>
                      <a:pt x="54" y="510"/>
                    </a:lnTo>
                    <a:lnTo>
                      <a:pt x="54" y="516"/>
                    </a:lnTo>
                    <a:lnTo>
                      <a:pt x="54" y="524"/>
                    </a:lnTo>
                    <a:lnTo>
                      <a:pt x="62" y="524"/>
                    </a:lnTo>
                    <a:lnTo>
                      <a:pt x="68" y="524"/>
                    </a:lnTo>
                    <a:lnTo>
                      <a:pt x="82" y="538"/>
                    </a:lnTo>
                    <a:lnTo>
                      <a:pt x="88" y="538"/>
                    </a:lnTo>
                    <a:lnTo>
                      <a:pt x="96" y="552"/>
                    </a:lnTo>
                    <a:lnTo>
                      <a:pt x="102" y="552"/>
                    </a:lnTo>
                    <a:lnTo>
                      <a:pt x="110" y="552"/>
                    </a:lnTo>
                    <a:lnTo>
                      <a:pt x="116" y="558"/>
                    </a:lnTo>
                    <a:lnTo>
                      <a:pt x="130" y="572"/>
                    </a:lnTo>
                    <a:lnTo>
                      <a:pt x="138" y="572"/>
                    </a:lnTo>
                    <a:lnTo>
                      <a:pt x="152" y="580"/>
                    </a:lnTo>
                    <a:lnTo>
                      <a:pt x="158" y="580"/>
                    </a:lnTo>
                    <a:lnTo>
                      <a:pt x="158" y="586"/>
                    </a:lnTo>
                    <a:lnTo>
                      <a:pt x="174" y="588"/>
                    </a:lnTo>
                    <a:lnTo>
                      <a:pt x="190" y="582"/>
                    </a:lnTo>
                    <a:lnTo>
                      <a:pt x="198" y="588"/>
                    </a:lnTo>
                    <a:lnTo>
                      <a:pt x="202" y="596"/>
                    </a:lnTo>
                    <a:lnTo>
                      <a:pt x="200" y="606"/>
                    </a:lnTo>
                    <a:lnTo>
                      <a:pt x="206" y="614"/>
                    </a:lnTo>
                    <a:lnTo>
                      <a:pt x="214" y="614"/>
                    </a:lnTo>
                    <a:lnTo>
                      <a:pt x="220" y="614"/>
                    </a:lnTo>
                    <a:lnTo>
                      <a:pt x="226" y="614"/>
                    </a:lnTo>
                    <a:lnTo>
                      <a:pt x="234" y="620"/>
                    </a:lnTo>
                    <a:lnTo>
                      <a:pt x="240" y="628"/>
                    </a:lnTo>
                    <a:lnTo>
                      <a:pt x="248" y="628"/>
                    </a:lnTo>
                    <a:lnTo>
                      <a:pt x="262" y="628"/>
                    </a:lnTo>
                    <a:lnTo>
                      <a:pt x="268" y="634"/>
                    </a:lnTo>
                    <a:lnTo>
                      <a:pt x="276" y="636"/>
                    </a:lnTo>
                    <a:lnTo>
                      <a:pt x="282" y="634"/>
                    </a:lnTo>
                    <a:lnTo>
                      <a:pt x="290" y="634"/>
                    </a:lnTo>
                    <a:lnTo>
                      <a:pt x="294" y="636"/>
                    </a:lnTo>
                    <a:lnTo>
                      <a:pt x="302" y="630"/>
                    </a:lnTo>
                    <a:lnTo>
                      <a:pt x="300" y="628"/>
                    </a:lnTo>
                    <a:lnTo>
                      <a:pt x="298" y="624"/>
                    </a:lnTo>
                    <a:lnTo>
                      <a:pt x="296" y="620"/>
                    </a:lnTo>
                    <a:lnTo>
                      <a:pt x="302" y="614"/>
                    </a:lnTo>
                    <a:lnTo>
                      <a:pt x="296" y="606"/>
                    </a:lnTo>
                    <a:lnTo>
                      <a:pt x="302" y="592"/>
                    </a:lnTo>
                    <a:lnTo>
                      <a:pt x="302" y="586"/>
                    </a:lnTo>
                    <a:lnTo>
                      <a:pt x="310" y="580"/>
                    </a:lnTo>
                    <a:lnTo>
                      <a:pt x="316" y="580"/>
                    </a:lnTo>
                    <a:lnTo>
                      <a:pt x="324" y="572"/>
                    </a:lnTo>
                    <a:lnTo>
                      <a:pt x="330" y="572"/>
                    </a:lnTo>
                    <a:lnTo>
                      <a:pt x="338" y="572"/>
                    </a:lnTo>
                    <a:lnTo>
                      <a:pt x="344" y="572"/>
                    </a:lnTo>
                    <a:lnTo>
                      <a:pt x="352" y="566"/>
                    </a:lnTo>
                    <a:lnTo>
                      <a:pt x="358" y="558"/>
                    </a:lnTo>
                    <a:lnTo>
                      <a:pt x="366" y="558"/>
                    </a:lnTo>
                    <a:lnTo>
                      <a:pt x="372" y="566"/>
                    </a:lnTo>
                    <a:lnTo>
                      <a:pt x="380" y="572"/>
                    </a:lnTo>
                    <a:lnTo>
                      <a:pt x="386" y="572"/>
                    </a:lnTo>
                    <a:lnTo>
                      <a:pt x="401" y="572"/>
                    </a:lnTo>
                    <a:lnTo>
                      <a:pt x="401" y="586"/>
                    </a:lnTo>
                    <a:lnTo>
                      <a:pt x="407" y="580"/>
                    </a:lnTo>
                    <a:lnTo>
                      <a:pt x="415" y="580"/>
                    </a:lnTo>
                    <a:lnTo>
                      <a:pt x="421" y="572"/>
                    </a:lnTo>
                    <a:lnTo>
                      <a:pt x="429" y="572"/>
                    </a:lnTo>
                    <a:lnTo>
                      <a:pt x="429" y="580"/>
                    </a:lnTo>
                    <a:lnTo>
                      <a:pt x="429" y="586"/>
                    </a:lnTo>
                    <a:lnTo>
                      <a:pt x="435" y="586"/>
                    </a:lnTo>
                    <a:lnTo>
                      <a:pt x="443" y="586"/>
                    </a:lnTo>
                    <a:lnTo>
                      <a:pt x="443" y="592"/>
                    </a:lnTo>
                    <a:lnTo>
                      <a:pt x="443" y="600"/>
                    </a:lnTo>
                    <a:lnTo>
                      <a:pt x="449" y="592"/>
                    </a:lnTo>
                    <a:lnTo>
                      <a:pt x="455" y="600"/>
                    </a:lnTo>
                    <a:lnTo>
                      <a:pt x="463" y="606"/>
                    </a:lnTo>
                    <a:lnTo>
                      <a:pt x="463" y="614"/>
                    </a:lnTo>
                    <a:lnTo>
                      <a:pt x="469" y="620"/>
                    </a:lnTo>
                    <a:lnTo>
                      <a:pt x="477" y="620"/>
                    </a:lnTo>
                    <a:lnTo>
                      <a:pt x="483" y="620"/>
                    </a:lnTo>
                    <a:lnTo>
                      <a:pt x="491" y="620"/>
                    </a:lnTo>
                    <a:lnTo>
                      <a:pt x="497" y="620"/>
                    </a:lnTo>
                    <a:lnTo>
                      <a:pt x="505" y="620"/>
                    </a:lnTo>
                    <a:lnTo>
                      <a:pt x="511" y="614"/>
                    </a:lnTo>
                    <a:lnTo>
                      <a:pt x="511" y="606"/>
                    </a:lnTo>
                    <a:lnTo>
                      <a:pt x="511" y="600"/>
                    </a:lnTo>
                    <a:lnTo>
                      <a:pt x="519" y="600"/>
                    </a:lnTo>
                    <a:lnTo>
                      <a:pt x="525" y="600"/>
                    </a:lnTo>
                    <a:lnTo>
                      <a:pt x="531" y="600"/>
                    </a:lnTo>
                    <a:lnTo>
                      <a:pt x="531" y="592"/>
                    </a:lnTo>
                    <a:lnTo>
                      <a:pt x="539" y="592"/>
                    </a:lnTo>
                    <a:lnTo>
                      <a:pt x="545" y="592"/>
                    </a:lnTo>
                    <a:lnTo>
                      <a:pt x="545" y="600"/>
                    </a:lnTo>
                    <a:lnTo>
                      <a:pt x="559" y="586"/>
                    </a:lnTo>
                    <a:lnTo>
                      <a:pt x="553" y="592"/>
                    </a:lnTo>
                    <a:lnTo>
                      <a:pt x="559" y="586"/>
                    </a:lnTo>
                    <a:lnTo>
                      <a:pt x="559" y="586"/>
                    </a:lnTo>
                    <a:lnTo>
                      <a:pt x="559" y="586"/>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3" name="Freeform 27"/>
              <p:cNvSpPr>
                <a:spLocks/>
              </p:cNvSpPr>
              <p:nvPr/>
            </p:nvSpPr>
            <p:spPr bwMode="gray">
              <a:xfrm>
                <a:off x="3137292" y="776440"/>
                <a:ext cx="504937" cy="425544"/>
              </a:xfrm>
              <a:custGeom>
                <a:avLst/>
                <a:gdLst>
                  <a:gd name="T0" fmla="*/ 22 w 318"/>
                  <a:gd name="T1" fmla="*/ 178 h 268"/>
                  <a:gd name="T2" fmla="*/ 50 w 318"/>
                  <a:gd name="T3" fmla="*/ 192 h 268"/>
                  <a:gd name="T4" fmla="*/ 50 w 318"/>
                  <a:gd name="T5" fmla="*/ 218 h 268"/>
                  <a:gd name="T6" fmla="*/ 84 w 318"/>
                  <a:gd name="T7" fmla="*/ 240 h 268"/>
                  <a:gd name="T8" fmla="*/ 104 w 318"/>
                  <a:gd name="T9" fmla="*/ 268 h 268"/>
                  <a:gd name="T10" fmla="*/ 118 w 318"/>
                  <a:gd name="T11" fmla="*/ 260 h 268"/>
                  <a:gd name="T12" fmla="*/ 160 w 318"/>
                  <a:gd name="T13" fmla="*/ 254 h 268"/>
                  <a:gd name="T14" fmla="*/ 194 w 318"/>
                  <a:gd name="T15" fmla="*/ 260 h 268"/>
                  <a:gd name="T16" fmla="*/ 228 w 318"/>
                  <a:gd name="T17" fmla="*/ 254 h 268"/>
                  <a:gd name="T18" fmla="*/ 250 w 318"/>
                  <a:gd name="T19" fmla="*/ 260 h 268"/>
                  <a:gd name="T20" fmla="*/ 284 w 318"/>
                  <a:gd name="T21" fmla="*/ 248 h 268"/>
                  <a:gd name="T22" fmla="*/ 312 w 318"/>
                  <a:gd name="T23" fmla="*/ 226 h 268"/>
                  <a:gd name="T24" fmla="*/ 318 w 318"/>
                  <a:gd name="T25" fmla="*/ 198 h 268"/>
                  <a:gd name="T26" fmla="*/ 298 w 318"/>
                  <a:gd name="T27" fmla="*/ 178 h 268"/>
                  <a:gd name="T28" fmla="*/ 312 w 318"/>
                  <a:gd name="T29" fmla="*/ 164 h 268"/>
                  <a:gd name="T30" fmla="*/ 318 w 318"/>
                  <a:gd name="T31" fmla="*/ 136 h 268"/>
                  <a:gd name="T32" fmla="*/ 298 w 318"/>
                  <a:gd name="T33" fmla="*/ 130 h 268"/>
                  <a:gd name="T34" fmla="*/ 306 w 318"/>
                  <a:gd name="T35" fmla="*/ 102 h 268"/>
                  <a:gd name="T36" fmla="*/ 284 w 318"/>
                  <a:gd name="T37" fmla="*/ 116 h 268"/>
                  <a:gd name="T38" fmla="*/ 264 w 318"/>
                  <a:gd name="T39" fmla="*/ 110 h 268"/>
                  <a:gd name="T40" fmla="*/ 236 w 318"/>
                  <a:gd name="T41" fmla="*/ 102 h 268"/>
                  <a:gd name="T42" fmla="*/ 222 w 318"/>
                  <a:gd name="T43" fmla="*/ 122 h 268"/>
                  <a:gd name="T44" fmla="*/ 216 w 318"/>
                  <a:gd name="T45" fmla="*/ 102 h 268"/>
                  <a:gd name="T46" fmla="*/ 194 w 318"/>
                  <a:gd name="T47" fmla="*/ 82 h 268"/>
                  <a:gd name="T48" fmla="*/ 174 w 318"/>
                  <a:gd name="T49" fmla="*/ 102 h 268"/>
                  <a:gd name="T50" fmla="*/ 166 w 318"/>
                  <a:gd name="T51" fmla="*/ 68 h 268"/>
                  <a:gd name="T52" fmla="*/ 146 w 318"/>
                  <a:gd name="T53" fmla="*/ 88 h 268"/>
                  <a:gd name="T54" fmla="*/ 118 w 318"/>
                  <a:gd name="T55" fmla="*/ 102 h 268"/>
                  <a:gd name="T56" fmla="*/ 118 w 318"/>
                  <a:gd name="T57" fmla="*/ 82 h 268"/>
                  <a:gd name="T58" fmla="*/ 132 w 318"/>
                  <a:gd name="T59" fmla="*/ 60 h 268"/>
                  <a:gd name="T60" fmla="*/ 138 w 318"/>
                  <a:gd name="T61" fmla="*/ 34 h 268"/>
                  <a:gd name="T62" fmla="*/ 112 w 318"/>
                  <a:gd name="T63" fmla="*/ 0 h 268"/>
                  <a:gd name="T64" fmla="*/ 118 w 318"/>
                  <a:gd name="T65" fmla="*/ 26 h 268"/>
                  <a:gd name="T66" fmla="*/ 104 w 318"/>
                  <a:gd name="T67" fmla="*/ 40 h 268"/>
                  <a:gd name="T68" fmla="*/ 96 w 318"/>
                  <a:gd name="T69" fmla="*/ 6 h 268"/>
                  <a:gd name="T70" fmla="*/ 84 w 318"/>
                  <a:gd name="T71" fmla="*/ 26 h 268"/>
                  <a:gd name="T72" fmla="*/ 70 w 318"/>
                  <a:gd name="T73" fmla="*/ 40 h 268"/>
                  <a:gd name="T74" fmla="*/ 56 w 318"/>
                  <a:gd name="T75" fmla="*/ 20 h 268"/>
                  <a:gd name="T76" fmla="*/ 50 w 318"/>
                  <a:gd name="T77" fmla="*/ 26 h 268"/>
                  <a:gd name="T78" fmla="*/ 56 w 318"/>
                  <a:gd name="T79" fmla="*/ 40 h 268"/>
                  <a:gd name="T80" fmla="*/ 90 w 318"/>
                  <a:gd name="T81" fmla="*/ 60 h 268"/>
                  <a:gd name="T82" fmla="*/ 104 w 318"/>
                  <a:gd name="T83" fmla="*/ 82 h 268"/>
                  <a:gd name="T84" fmla="*/ 76 w 318"/>
                  <a:gd name="T85" fmla="*/ 82 h 268"/>
                  <a:gd name="T86" fmla="*/ 76 w 318"/>
                  <a:gd name="T87" fmla="*/ 102 h 268"/>
                  <a:gd name="T88" fmla="*/ 42 w 318"/>
                  <a:gd name="T89" fmla="*/ 82 h 268"/>
                  <a:gd name="T90" fmla="*/ 28 w 318"/>
                  <a:gd name="T91" fmla="*/ 88 h 268"/>
                  <a:gd name="T92" fmla="*/ 56 w 318"/>
                  <a:gd name="T93" fmla="*/ 102 h 268"/>
                  <a:gd name="T94" fmla="*/ 50 w 318"/>
                  <a:gd name="T95" fmla="*/ 136 h 268"/>
                  <a:gd name="T96" fmla="*/ 42 w 318"/>
                  <a:gd name="T97" fmla="*/ 150 h 268"/>
                  <a:gd name="T98" fmla="*/ 14 w 318"/>
                  <a:gd name="T99" fmla="*/ 158 h 268"/>
                  <a:gd name="T100" fmla="*/ 0 w 318"/>
                  <a:gd name="T101" fmla="*/ 164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8" h="268">
                    <a:moveTo>
                      <a:pt x="0" y="164"/>
                    </a:moveTo>
                    <a:lnTo>
                      <a:pt x="8" y="170"/>
                    </a:lnTo>
                    <a:lnTo>
                      <a:pt x="14" y="170"/>
                    </a:lnTo>
                    <a:lnTo>
                      <a:pt x="22" y="178"/>
                    </a:lnTo>
                    <a:lnTo>
                      <a:pt x="28" y="184"/>
                    </a:lnTo>
                    <a:lnTo>
                      <a:pt x="34" y="192"/>
                    </a:lnTo>
                    <a:lnTo>
                      <a:pt x="42" y="192"/>
                    </a:lnTo>
                    <a:lnTo>
                      <a:pt x="50" y="192"/>
                    </a:lnTo>
                    <a:lnTo>
                      <a:pt x="50" y="198"/>
                    </a:lnTo>
                    <a:lnTo>
                      <a:pt x="50" y="206"/>
                    </a:lnTo>
                    <a:lnTo>
                      <a:pt x="50" y="212"/>
                    </a:lnTo>
                    <a:lnTo>
                      <a:pt x="50" y="218"/>
                    </a:lnTo>
                    <a:lnTo>
                      <a:pt x="56" y="226"/>
                    </a:lnTo>
                    <a:lnTo>
                      <a:pt x="70" y="240"/>
                    </a:lnTo>
                    <a:lnTo>
                      <a:pt x="76" y="240"/>
                    </a:lnTo>
                    <a:lnTo>
                      <a:pt x="84" y="240"/>
                    </a:lnTo>
                    <a:lnTo>
                      <a:pt x="84" y="248"/>
                    </a:lnTo>
                    <a:lnTo>
                      <a:pt x="84" y="254"/>
                    </a:lnTo>
                    <a:lnTo>
                      <a:pt x="96" y="260"/>
                    </a:lnTo>
                    <a:lnTo>
                      <a:pt x="104" y="268"/>
                    </a:lnTo>
                    <a:lnTo>
                      <a:pt x="104" y="260"/>
                    </a:lnTo>
                    <a:lnTo>
                      <a:pt x="112" y="254"/>
                    </a:lnTo>
                    <a:lnTo>
                      <a:pt x="112" y="260"/>
                    </a:lnTo>
                    <a:lnTo>
                      <a:pt x="118" y="260"/>
                    </a:lnTo>
                    <a:lnTo>
                      <a:pt x="132" y="254"/>
                    </a:lnTo>
                    <a:lnTo>
                      <a:pt x="138" y="254"/>
                    </a:lnTo>
                    <a:lnTo>
                      <a:pt x="154" y="260"/>
                    </a:lnTo>
                    <a:lnTo>
                      <a:pt x="160" y="254"/>
                    </a:lnTo>
                    <a:lnTo>
                      <a:pt x="166" y="260"/>
                    </a:lnTo>
                    <a:lnTo>
                      <a:pt x="180" y="260"/>
                    </a:lnTo>
                    <a:lnTo>
                      <a:pt x="180" y="268"/>
                    </a:lnTo>
                    <a:lnTo>
                      <a:pt x="194" y="260"/>
                    </a:lnTo>
                    <a:lnTo>
                      <a:pt x="202" y="254"/>
                    </a:lnTo>
                    <a:lnTo>
                      <a:pt x="216" y="260"/>
                    </a:lnTo>
                    <a:lnTo>
                      <a:pt x="222" y="260"/>
                    </a:lnTo>
                    <a:lnTo>
                      <a:pt x="228" y="254"/>
                    </a:lnTo>
                    <a:lnTo>
                      <a:pt x="236" y="260"/>
                    </a:lnTo>
                    <a:lnTo>
                      <a:pt x="236" y="268"/>
                    </a:lnTo>
                    <a:lnTo>
                      <a:pt x="242" y="260"/>
                    </a:lnTo>
                    <a:lnTo>
                      <a:pt x="250" y="260"/>
                    </a:lnTo>
                    <a:lnTo>
                      <a:pt x="264" y="254"/>
                    </a:lnTo>
                    <a:lnTo>
                      <a:pt x="270" y="240"/>
                    </a:lnTo>
                    <a:lnTo>
                      <a:pt x="278" y="248"/>
                    </a:lnTo>
                    <a:lnTo>
                      <a:pt x="284" y="248"/>
                    </a:lnTo>
                    <a:lnTo>
                      <a:pt x="298" y="248"/>
                    </a:lnTo>
                    <a:lnTo>
                      <a:pt x="298" y="234"/>
                    </a:lnTo>
                    <a:lnTo>
                      <a:pt x="306" y="226"/>
                    </a:lnTo>
                    <a:lnTo>
                      <a:pt x="312" y="226"/>
                    </a:lnTo>
                    <a:lnTo>
                      <a:pt x="312" y="218"/>
                    </a:lnTo>
                    <a:lnTo>
                      <a:pt x="312" y="212"/>
                    </a:lnTo>
                    <a:lnTo>
                      <a:pt x="318" y="206"/>
                    </a:lnTo>
                    <a:lnTo>
                      <a:pt x="318" y="198"/>
                    </a:lnTo>
                    <a:lnTo>
                      <a:pt x="312" y="192"/>
                    </a:lnTo>
                    <a:lnTo>
                      <a:pt x="312" y="184"/>
                    </a:lnTo>
                    <a:lnTo>
                      <a:pt x="312" y="178"/>
                    </a:lnTo>
                    <a:lnTo>
                      <a:pt x="298" y="178"/>
                    </a:lnTo>
                    <a:lnTo>
                      <a:pt x="298" y="170"/>
                    </a:lnTo>
                    <a:lnTo>
                      <a:pt x="306" y="164"/>
                    </a:lnTo>
                    <a:lnTo>
                      <a:pt x="312" y="170"/>
                    </a:lnTo>
                    <a:lnTo>
                      <a:pt x="312" y="164"/>
                    </a:lnTo>
                    <a:lnTo>
                      <a:pt x="306" y="158"/>
                    </a:lnTo>
                    <a:lnTo>
                      <a:pt x="306" y="150"/>
                    </a:lnTo>
                    <a:lnTo>
                      <a:pt x="306" y="144"/>
                    </a:lnTo>
                    <a:lnTo>
                      <a:pt x="318" y="136"/>
                    </a:lnTo>
                    <a:lnTo>
                      <a:pt x="318" y="130"/>
                    </a:lnTo>
                    <a:lnTo>
                      <a:pt x="312" y="136"/>
                    </a:lnTo>
                    <a:lnTo>
                      <a:pt x="298" y="136"/>
                    </a:lnTo>
                    <a:lnTo>
                      <a:pt x="298" y="130"/>
                    </a:lnTo>
                    <a:lnTo>
                      <a:pt x="298" y="122"/>
                    </a:lnTo>
                    <a:lnTo>
                      <a:pt x="306" y="116"/>
                    </a:lnTo>
                    <a:lnTo>
                      <a:pt x="306" y="110"/>
                    </a:lnTo>
                    <a:lnTo>
                      <a:pt x="306" y="102"/>
                    </a:lnTo>
                    <a:lnTo>
                      <a:pt x="306" y="110"/>
                    </a:lnTo>
                    <a:lnTo>
                      <a:pt x="292" y="102"/>
                    </a:lnTo>
                    <a:lnTo>
                      <a:pt x="292" y="110"/>
                    </a:lnTo>
                    <a:lnTo>
                      <a:pt x="284" y="116"/>
                    </a:lnTo>
                    <a:lnTo>
                      <a:pt x="278" y="122"/>
                    </a:lnTo>
                    <a:lnTo>
                      <a:pt x="270" y="122"/>
                    </a:lnTo>
                    <a:lnTo>
                      <a:pt x="264" y="116"/>
                    </a:lnTo>
                    <a:lnTo>
                      <a:pt x="264" y="110"/>
                    </a:lnTo>
                    <a:lnTo>
                      <a:pt x="250" y="116"/>
                    </a:lnTo>
                    <a:lnTo>
                      <a:pt x="236" y="122"/>
                    </a:lnTo>
                    <a:lnTo>
                      <a:pt x="228" y="122"/>
                    </a:lnTo>
                    <a:lnTo>
                      <a:pt x="236" y="102"/>
                    </a:lnTo>
                    <a:lnTo>
                      <a:pt x="228" y="96"/>
                    </a:lnTo>
                    <a:lnTo>
                      <a:pt x="228" y="102"/>
                    </a:lnTo>
                    <a:lnTo>
                      <a:pt x="222" y="116"/>
                    </a:lnTo>
                    <a:lnTo>
                      <a:pt x="222" y="122"/>
                    </a:lnTo>
                    <a:lnTo>
                      <a:pt x="216" y="130"/>
                    </a:lnTo>
                    <a:lnTo>
                      <a:pt x="208" y="122"/>
                    </a:lnTo>
                    <a:lnTo>
                      <a:pt x="208" y="110"/>
                    </a:lnTo>
                    <a:lnTo>
                      <a:pt x="216" y="102"/>
                    </a:lnTo>
                    <a:lnTo>
                      <a:pt x="216" y="88"/>
                    </a:lnTo>
                    <a:lnTo>
                      <a:pt x="208" y="82"/>
                    </a:lnTo>
                    <a:lnTo>
                      <a:pt x="202" y="88"/>
                    </a:lnTo>
                    <a:lnTo>
                      <a:pt x="194" y="82"/>
                    </a:lnTo>
                    <a:lnTo>
                      <a:pt x="194" y="88"/>
                    </a:lnTo>
                    <a:lnTo>
                      <a:pt x="188" y="96"/>
                    </a:lnTo>
                    <a:lnTo>
                      <a:pt x="180" y="102"/>
                    </a:lnTo>
                    <a:lnTo>
                      <a:pt x="174" y="102"/>
                    </a:lnTo>
                    <a:lnTo>
                      <a:pt x="174" y="96"/>
                    </a:lnTo>
                    <a:lnTo>
                      <a:pt x="174" y="88"/>
                    </a:lnTo>
                    <a:lnTo>
                      <a:pt x="174" y="74"/>
                    </a:lnTo>
                    <a:lnTo>
                      <a:pt x="166" y="68"/>
                    </a:lnTo>
                    <a:lnTo>
                      <a:pt x="160" y="82"/>
                    </a:lnTo>
                    <a:lnTo>
                      <a:pt x="154" y="96"/>
                    </a:lnTo>
                    <a:lnTo>
                      <a:pt x="146" y="96"/>
                    </a:lnTo>
                    <a:lnTo>
                      <a:pt x="146" y="88"/>
                    </a:lnTo>
                    <a:lnTo>
                      <a:pt x="138" y="88"/>
                    </a:lnTo>
                    <a:lnTo>
                      <a:pt x="132" y="88"/>
                    </a:lnTo>
                    <a:lnTo>
                      <a:pt x="118" y="110"/>
                    </a:lnTo>
                    <a:lnTo>
                      <a:pt x="118" y="102"/>
                    </a:lnTo>
                    <a:lnTo>
                      <a:pt x="112" y="102"/>
                    </a:lnTo>
                    <a:lnTo>
                      <a:pt x="112" y="96"/>
                    </a:lnTo>
                    <a:lnTo>
                      <a:pt x="118" y="88"/>
                    </a:lnTo>
                    <a:lnTo>
                      <a:pt x="118" y="82"/>
                    </a:lnTo>
                    <a:lnTo>
                      <a:pt x="118" y="74"/>
                    </a:lnTo>
                    <a:lnTo>
                      <a:pt x="118" y="60"/>
                    </a:lnTo>
                    <a:lnTo>
                      <a:pt x="126" y="60"/>
                    </a:lnTo>
                    <a:lnTo>
                      <a:pt x="132" y="60"/>
                    </a:lnTo>
                    <a:lnTo>
                      <a:pt x="138" y="46"/>
                    </a:lnTo>
                    <a:lnTo>
                      <a:pt x="132" y="46"/>
                    </a:lnTo>
                    <a:lnTo>
                      <a:pt x="132" y="40"/>
                    </a:lnTo>
                    <a:lnTo>
                      <a:pt x="138" y="34"/>
                    </a:lnTo>
                    <a:lnTo>
                      <a:pt x="138" y="26"/>
                    </a:lnTo>
                    <a:lnTo>
                      <a:pt x="138" y="12"/>
                    </a:lnTo>
                    <a:lnTo>
                      <a:pt x="126" y="0"/>
                    </a:lnTo>
                    <a:lnTo>
                      <a:pt x="112" y="0"/>
                    </a:lnTo>
                    <a:lnTo>
                      <a:pt x="118" y="6"/>
                    </a:lnTo>
                    <a:lnTo>
                      <a:pt x="126" y="20"/>
                    </a:lnTo>
                    <a:lnTo>
                      <a:pt x="118" y="20"/>
                    </a:lnTo>
                    <a:lnTo>
                      <a:pt x="118" y="26"/>
                    </a:lnTo>
                    <a:lnTo>
                      <a:pt x="118" y="34"/>
                    </a:lnTo>
                    <a:lnTo>
                      <a:pt x="118" y="40"/>
                    </a:lnTo>
                    <a:lnTo>
                      <a:pt x="112" y="46"/>
                    </a:lnTo>
                    <a:lnTo>
                      <a:pt x="104" y="40"/>
                    </a:lnTo>
                    <a:lnTo>
                      <a:pt x="104" y="26"/>
                    </a:lnTo>
                    <a:lnTo>
                      <a:pt x="96" y="34"/>
                    </a:lnTo>
                    <a:lnTo>
                      <a:pt x="96" y="20"/>
                    </a:lnTo>
                    <a:lnTo>
                      <a:pt x="96" y="6"/>
                    </a:lnTo>
                    <a:lnTo>
                      <a:pt x="96" y="12"/>
                    </a:lnTo>
                    <a:lnTo>
                      <a:pt x="90" y="12"/>
                    </a:lnTo>
                    <a:lnTo>
                      <a:pt x="84" y="6"/>
                    </a:lnTo>
                    <a:lnTo>
                      <a:pt x="84" y="26"/>
                    </a:lnTo>
                    <a:lnTo>
                      <a:pt x="70" y="20"/>
                    </a:lnTo>
                    <a:lnTo>
                      <a:pt x="76" y="26"/>
                    </a:lnTo>
                    <a:lnTo>
                      <a:pt x="84" y="34"/>
                    </a:lnTo>
                    <a:lnTo>
                      <a:pt x="70" y="40"/>
                    </a:lnTo>
                    <a:lnTo>
                      <a:pt x="64" y="40"/>
                    </a:lnTo>
                    <a:lnTo>
                      <a:pt x="64" y="34"/>
                    </a:lnTo>
                    <a:lnTo>
                      <a:pt x="64" y="26"/>
                    </a:lnTo>
                    <a:lnTo>
                      <a:pt x="56" y="20"/>
                    </a:lnTo>
                    <a:lnTo>
                      <a:pt x="56" y="26"/>
                    </a:lnTo>
                    <a:lnTo>
                      <a:pt x="56" y="34"/>
                    </a:lnTo>
                    <a:lnTo>
                      <a:pt x="50" y="34"/>
                    </a:lnTo>
                    <a:lnTo>
                      <a:pt x="50" y="26"/>
                    </a:lnTo>
                    <a:lnTo>
                      <a:pt x="42" y="34"/>
                    </a:lnTo>
                    <a:lnTo>
                      <a:pt x="42" y="40"/>
                    </a:lnTo>
                    <a:lnTo>
                      <a:pt x="50" y="40"/>
                    </a:lnTo>
                    <a:lnTo>
                      <a:pt x="56" y="40"/>
                    </a:lnTo>
                    <a:lnTo>
                      <a:pt x="64" y="46"/>
                    </a:lnTo>
                    <a:lnTo>
                      <a:pt x="76" y="46"/>
                    </a:lnTo>
                    <a:lnTo>
                      <a:pt x="84" y="54"/>
                    </a:lnTo>
                    <a:lnTo>
                      <a:pt x="90" y="60"/>
                    </a:lnTo>
                    <a:lnTo>
                      <a:pt x="90" y="68"/>
                    </a:lnTo>
                    <a:lnTo>
                      <a:pt x="96" y="68"/>
                    </a:lnTo>
                    <a:lnTo>
                      <a:pt x="104" y="68"/>
                    </a:lnTo>
                    <a:lnTo>
                      <a:pt x="104" y="82"/>
                    </a:lnTo>
                    <a:lnTo>
                      <a:pt x="96" y="82"/>
                    </a:lnTo>
                    <a:lnTo>
                      <a:pt x="84" y="74"/>
                    </a:lnTo>
                    <a:lnTo>
                      <a:pt x="70" y="74"/>
                    </a:lnTo>
                    <a:lnTo>
                      <a:pt x="76" y="82"/>
                    </a:lnTo>
                    <a:lnTo>
                      <a:pt x="84" y="88"/>
                    </a:lnTo>
                    <a:lnTo>
                      <a:pt x="90" y="96"/>
                    </a:lnTo>
                    <a:lnTo>
                      <a:pt x="84" y="102"/>
                    </a:lnTo>
                    <a:lnTo>
                      <a:pt x="76" y="102"/>
                    </a:lnTo>
                    <a:lnTo>
                      <a:pt x="70" y="96"/>
                    </a:lnTo>
                    <a:lnTo>
                      <a:pt x="64" y="88"/>
                    </a:lnTo>
                    <a:lnTo>
                      <a:pt x="56" y="88"/>
                    </a:lnTo>
                    <a:lnTo>
                      <a:pt x="42" y="82"/>
                    </a:lnTo>
                    <a:lnTo>
                      <a:pt x="28" y="74"/>
                    </a:lnTo>
                    <a:lnTo>
                      <a:pt x="14" y="82"/>
                    </a:lnTo>
                    <a:lnTo>
                      <a:pt x="14" y="88"/>
                    </a:lnTo>
                    <a:lnTo>
                      <a:pt x="28" y="88"/>
                    </a:lnTo>
                    <a:lnTo>
                      <a:pt x="42" y="88"/>
                    </a:lnTo>
                    <a:lnTo>
                      <a:pt x="50" y="96"/>
                    </a:lnTo>
                    <a:lnTo>
                      <a:pt x="50" y="102"/>
                    </a:lnTo>
                    <a:lnTo>
                      <a:pt x="56" y="102"/>
                    </a:lnTo>
                    <a:lnTo>
                      <a:pt x="56" y="110"/>
                    </a:lnTo>
                    <a:lnTo>
                      <a:pt x="56" y="116"/>
                    </a:lnTo>
                    <a:lnTo>
                      <a:pt x="50" y="122"/>
                    </a:lnTo>
                    <a:lnTo>
                      <a:pt x="50" y="136"/>
                    </a:lnTo>
                    <a:lnTo>
                      <a:pt x="56" y="130"/>
                    </a:lnTo>
                    <a:lnTo>
                      <a:pt x="56" y="136"/>
                    </a:lnTo>
                    <a:lnTo>
                      <a:pt x="50" y="144"/>
                    </a:lnTo>
                    <a:lnTo>
                      <a:pt x="42" y="150"/>
                    </a:lnTo>
                    <a:lnTo>
                      <a:pt x="34" y="150"/>
                    </a:lnTo>
                    <a:lnTo>
                      <a:pt x="28" y="150"/>
                    </a:lnTo>
                    <a:lnTo>
                      <a:pt x="22" y="150"/>
                    </a:lnTo>
                    <a:lnTo>
                      <a:pt x="14" y="158"/>
                    </a:lnTo>
                    <a:lnTo>
                      <a:pt x="8" y="150"/>
                    </a:lnTo>
                    <a:lnTo>
                      <a:pt x="0" y="164"/>
                    </a:lnTo>
                    <a:lnTo>
                      <a:pt x="0" y="164"/>
                    </a:lnTo>
                    <a:lnTo>
                      <a:pt x="0" y="164"/>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4" name="Freeform 28"/>
              <p:cNvSpPr>
                <a:spLocks/>
              </p:cNvSpPr>
              <p:nvPr>
                <p:custDataLst>
                  <p:tags r:id="rId136"/>
                </p:custDataLst>
              </p:nvPr>
            </p:nvSpPr>
            <p:spPr bwMode="gray">
              <a:xfrm>
                <a:off x="3039182" y="2336417"/>
                <a:ext cx="406490" cy="381084"/>
              </a:xfrm>
              <a:custGeom>
                <a:avLst/>
                <a:gdLst>
                  <a:gd name="T0" fmla="*/ 250 w 256"/>
                  <a:gd name="T1" fmla="*/ 118 h 240"/>
                  <a:gd name="T2" fmla="*/ 242 w 256"/>
                  <a:gd name="T3" fmla="*/ 132 h 240"/>
                  <a:gd name="T4" fmla="*/ 236 w 256"/>
                  <a:gd name="T5" fmla="*/ 158 h 240"/>
                  <a:gd name="T6" fmla="*/ 228 w 256"/>
                  <a:gd name="T7" fmla="*/ 180 h 240"/>
                  <a:gd name="T8" fmla="*/ 228 w 256"/>
                  <a:gd name="T9" fmla="*/ 200 h 240"/>
                  <a:gd name="T10" fmla="*/ 214 w 256"/>
                  <a:gd name="T11" fmla="*/ 214 h 240"/>
                  <a:gd name="T12" fmla="*/ 202 w 256"/>
                  <a:gd name="T13" fmla="*/ 228 h 240"/>
                  <a:gd name="T14" fmla="*/ 166 w 256"/>
                  <a:gd name="T15" fmla="*/ 228 h 240"/>
                  <a:gd name="T16" fmla="*/ 132 w 256"/>
                  <a:gd name="T17" fmla="*/ 228 h 240"/>
                  <a:gd name="T18" fmla="*/ 118 w 256"/>
                  <a:gd name="T19" fmla="*/ 228 h 240"/>
                  <a:gd name="T20" fmla="*/ 104 w 256"/>
                  <a:gd name="T21" fmla="*/ 240 h 240"/>
                  <a:gd name="T22" fmla="*/ 76 w 256"/>
                  <a:gd name="T23" fmla="*/ 240 h 240"/>
                  <a:gd name="T24" fmla="*/ 48 w 256"/>
                  <a:gd name="T25" fmla="*/ 234 h 240"/>
                  <a:gd name="T26" fmla="*/ 34 w 256"/>
                  <a:gd name="T27" fmla="*/ 228 h 240"/>
                  <a:gd name="T28" fmla="*/ 34 w 256"/>
                  <a:gd name="T29" fmla="*/ 228 h 240"/>
                  <a:gd name="T30" fmla="*/ 20 w 256"/>
                  <a:gd name="T31" fmla="*/ 220 h 240"/>
                  <a:gd name="T32" fmla="*/ 20 w 256"/>
                  <a:gd name="T33" fmla="*/ 206 h 240"/>
                  <a:gd name="T34" fmla="*/ 28 w 256"/>
                  <a:gd name="T35" fmla="*/ 206 h 240"/>
                  <a:gd name="T36" fmla="*/ 6 w 256"/>
                  <a:gd name="T37" fmla="*/ 206 h 240"/>
                  <a:gd name="T38" fmla="*/ 14 w 256"/>
                  <a:gd name="T39" fmla="*/ 186 h 240"/>
                  <a:gd name="T40" fmla="*/ 34 w 256"/>
                  <a:gd name="T41" fmla="*/ 186 h 240"/>
                  <a:gd name="T42" fmla="*/ 6 w 256"/>
                  <a:gd name="T43" fmla="*/ 180 h 240"/>
                  <a:gd name="T44" fmla="*/ 20 w 256"/>
                  <a:gd name="T45" fmla="*/ 166 h 240"/>
                  <a:gd name="T46" fmla="*/ 54 w 256"/>
                  <a:gd name="T47" fmla="*/ 158 h 240"/>
                  <a:gd name="T48" fmla="*/ 82 w 256"/>
                  <a:gd name="T49" fmla="*/ 166 h 240"/>
                  <a:gd name="T50" fmla="*/ 76 w 256"/>
                  <a:gd name="T51" fmla="*/ 158 h 240"/>
                  <a:gd name="T52" fmla="*/ 48 w 256"/>
                  <a:gd name="T53" fmla="*/ 158 h 240"/>
                  <a:gd name="T54" fmla="*/ 68 w 256"/>
                  <a:gd name="T55" fmla="*/ 138 h 240"/>
                  <a:gd name="T56" fmla="*/ 104 w 256"/>
                  <a:gd name="T57" fmla="*/ 124 h 240"/>
                  <a:gd name="T58" fmla="*/ 82 w 256"/>
                  <a:gd name="T59" fmla="*/ 118 h 240"/>
                  <a:gd name="T60" fmla="*/ 68 w 256"/>
                  <a:gd name="T61" fmla="*/ 110 h 240"/>
                  <a:gd name="T62" fmla="*/ 68 w 256"/>
                  <a:gd name="T63" fmla="*/ 82 h 240"/>
                  <a:gd name="T64" fmla="*/ 90 w 256"/>
                  <a:gd name="T65" fmla="*/ 68 h 240"/>
                  <a:gd name="T66" fmla="*/ 90 w 256"/>
                  <a:gd name="T67" fmla="*/ 62 h 240"/>
                  <a:gd name="T68" fmla="*/ 90 w 256"/>
                  <a:gd name="T69" fmla="*/ 48 h 240"/>
                  <a:gd name="T70" fmla="*/ 118 w 256"/>
                  <a:gd name="T71" fmla="*/ 42 h 240"/>
                  <a:gd name="T72" fmla="*/ 138 w 256"/>
                  <a:gd name="T73" fmla="*/ 62 h 240"/>
                  <a:gd name="T74" fmla="*/ 160 w 256"/>
                  <a:gd name="T75" fmla="*/ 56 h 240"/>
                  <a:gd name="T76" fmla="*/ 180 w 256"/>
                  <a:gd name="T77" fmla="*/ 42 h 240"/>
                  <a:gd name="T78" fmla="*/ 152 w 256"/>
                  <a:gd name="T79" fmla="*/ 28 h 240"/>
                  <a:gd name="T80" fmla="*/ 186 w 256"/>
                  <a:gd name="T81" fmla="*/ 14 h 240"/>
                  <a:gd name="T82" fmla="*/ 202 w 256"/>
                  <a:gd name="T83" fmla="*/ 8 h 240"/>
                  <a:gd name="T84" fmla="*/ 228 w 256"/>
                  <a:gd name="T85" fmla="*/ 8 h 240"/>
                  <a:gd name="T86" fmla="*/ 242 w 256"/>
                  <a:gd name="T87" fmla="*/ 0 h 240"/>
                  <a:gd name="T88" fmla="*/ 250 w 256"/>
                  <a:gd name="T89" fmla="*/ 22 h 240"/>
                  <a:gd name="T90" fmla="*/ 242 w 256"/>
                  <a:gd name="T91" fmla="*/ 28 h 240"/>
                  <a:gd name="T92" fmla="*/ 214 w 256"/>
                  <a:gd name="T93" fmla="*/ 34 h 240"/>
                  <a:gd name="T94" fmla="*/ 202 w 256"/>
                  <a:gd name="T95" fmla="*/ 56 h 240"/>
                  <a:gd name="T96" fmla="*/ 186 w 256"/>
                  <a:gd name="T97" fmla="*/ 56 h 240"/>
                  <a:gd name="T98" fmla="*/ 194 w 256"/>
                  <a:gd name="T99" fmla="*/ 76 h 240"/>
                  <a:gd name="T100" fmla="*/ 214 w 256"/>
                  <a:gd name="T101" fmla="*/ 82 h 240"/>
                  <a:gd name="T102" fmla="*/ 242 w 256"/>
                  <a:gd name="T103" fmla="*/ 90 h 240"/>
                  <a:gd name="T104" fmla="*/ 256 w 256"/>
                  <a:gd name="T105" fmla="*/ 11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6" h="240">
                    <a:moveTo>
                      <a:pt x="256" y="118"/>
                    </a:moveTo>
                    <a:lnTo>
                      <a:pt x="250" y="124"/>
                    </a:lnTo>
                    <a:lnTo>
                      <a:pt x="250" y="118"/>
                    </a:lnTo>
                    <a:lnTo>
                      <a:pt x="242" y="118"/>
                    </a:lnTo>
                    <a:lnTo>
                      <a:pt x="250" y="124"/>
                    </a:lnTo>
                    <a:lnTo>
                      <a:pt x="242" y="132"/>
                    </a:lnTo>
                    <a:lnTo>
                      <a:pt x="242" y="138"/>
                    </a:lnTo>
                    <a:lnTo>
                      <a:pt x="242" y="152"/>
                    </a:lnTo>
                    <a:lnTo>
                      <a:pt x="236" y="158"/>
                    </a:lnTo>
                    <a:lnTo>
                      <a:pt x="236" y="166"/>
                    </a:lnTo>
                    <a:lnTo>
                      <a:pt x="236" y="172"/>
                    </a:lnTo>
                    <a:lnTo>
                      <a:pt x="228" y="180"/>
                    </a:lnTo>
                    <a:lnTo>
                      <a:pt x="228" y="186"/>
                    </a:lnTo>
                    <a:lnTo>
                      <a:pt x="228" y="192"/>
                    </a:lnTo>
                    <a:lnTo>
                      <a:pt x="228" y="200"/>
                    </a:lnTo>
                    <a:lnTo>
                      <a:pt x="222" y="200"/>
                    </a:lnTo>
                    <a:lnTo>
                      <a:pt x="222" y="206"/>
                    </a:lnTo>
                    <a:lnTo>
                      <a:pt x="214" y="214"/>
                    </a:lnTo>
                    <a:lnTo>
                      <a:pt x="208" y="214"/>
                    </a:lnTo>
                    <a:lnTo>
                      <a:pt x="208" y="220"/>
                    </a:lnTo>
                    <a:lnTo>
                      <a:pt x="202" y="228"/>
                    </a:lnTo>
                    <a:lnTo>
                      <a:pt x="186" y="234"/>
                    </a:lnTo>
                    <a:lnTo>
                      <a:pt x="180" y="228"/>
                    </a:lnTo>
                    <a:lnTo>
                      <a:pt x="166" y="228"/>
                    </a:lnTo>
                    <a:lnTo>
                      <a:pt x="152" y="228"/>
                    </a:lnTo>
                    <a:lnTo>
                      <a:pt x="138" y="228"/>
                    </a:lnTo>
                    <a:lnTo>
                      <a:pt x="132" y="228"/>
                    </a:lnTo>
                    <a:lnTo>
                      <a:pt x="124" y="234"/>
                    </a:lnTo>
                    <a:lnTo>
                      <a:pt x="118" y="234"/>
                    </a:lnTo>
                    <a:lnTo>
                      <a:pt x="118" y="228"/>
                    </a:lnTo>
                    <a:lnTo>
                      <a:pt x="110" y="234"/>
                    </a:lnTo>
                    <a:lnTo>
                      <a:pt x="104" y="234"/>
                    </a:lnTo>
                    <a:lnTo>
                      <a:pt x="104" y="240"/>
                    </a:lnTo>
                    <a:lnTo>
                      <a:pt x="90" y="240"/>
                    </a:lnTo>
                    <a:lnTo>
                      <a:pt x="82" y="234"/>
                    </a:lnTo>
                    <a:lnTo>
                      <a:pt x="76" y="240"/>
                    </a:lnTo>
                    <a:lnTo>
                      <a:pt x="62" y="240"/>
                    </a:lnTo>
                    <a:lnTo>
                      <a:pt x="54" y="234"/>
                    </a:lnTo>
                    <a:lnTo>
                      <a:pt x="48" y="234"/>
                    </a:lnTo>
                    <a:lnTo>
                      <a:pt x="34" y="240"/>
                    </a:lnTo>
                    <a:lnTo>
                      <a:pt x="34" y="234"/>
                    </a:lnTo>
                    <a:lnTo>
                      <a:pt x="34" y="228"/>
                    </a:lnTo>
                    <a:lnTo>
                      <a:pt x="14" y="234"/>
                    </a:lnTo>
                    <a:lnTo>
                      <a:pt x="20" y="234"/>
                    </a:lnTo>
                    <a:lnTo>
                      <a:pt x="34" y="228"/>
                    </a:lnTo>
                    <a:lnTo>
                      <a:pt x="14" y="228"/>
                    </a:lnTo>
                    <a:lnTo>
                      <a:pt x="28" y="220"/>
                    </a:lnTo>
                    <a:lnTo>
                      <a:pt x="20" y="220"/>
                    </a:lnTo>
                    <a:lnTo>
                      <a:pt x="14" y="220"/>
                    </a:lnTo>
                    <a:lnTo>
                      <a:pt x="14" y="214"/>
                    </a:lnTo>
                    <a:lnTo>
                      <a:pt x="20" y="206"/>
                    </a:lnTo>
                    <a:lnTo>
                      <a:pt x="28" y="206"/>
                    </a:lnTo>
                    <a:lnTo>
                      <a:pt x="34" y="206"/>
                    </a:lnTo>
                    <a:lnTo>
                      <a:pt x="28" y="206"/>
                    </a:lnTo>
                    <a:lnTo>
                      <a:pt x="20" y="206"/>
                    </a:lnTo>
                    <a:lnTo>
                      <a:pt x="14" y="200"/>
                    </a:lnTo>
                    <a:lnTo>
                      <a:pt x="6" y="206"/>
                    </a:lnTo>
                    <a:lnTo>
                      <a:pt x="0" y="200"/>
                    </a:lnTo>
                    <a:lnTo>
                      <a:pt x="6" y="192"/>
                    </a:lnTo>
                    <a:lnTo>
                      <a:pt x="14" y="186"/>
                    </a:lnTo>
                    <a:lnTo>
                      <a:pt x="20" y="186"/>
                    </a:lnTo>
                    <a:lnTo>
                      <a:pt x="28" y="186"/>
                    </a:lnTo>
                    <a:lnTo>
                      <a:pt x="34" y="186"/>
                    </a:lnTo>
                    <a:lnTo>
                      <a:pt x="28" y="180"/>
                    </a:lnTo>
                    <a:lnTo>
                      <a:pt x="14" y="180"/>
                    </a:lnTo>
                    <a:lnTo>
                      <a:pt x="6" y="180"/>
                    </a:lnTo>
                    <a:lnTo>
                      <a:pt x="6" y="172"/>
                    </a:lnTo>
                    <a:lnTo>
                      <a:pt x="14" y="166"/>
                    </a:lnTo>
                    <a:lnTo>
                      <a:pt x="20" y="166"/>
                    </a:lnTo>
                    <a:lnTo>
                      <a:pt x="40" y="166"/>
                    </a:lnTo>
                    <a:lnTo>
                      <a:pt x="40" y="158"/>
                    </a:lnTo>
                    <a:lnTo>
                      <a:pt x="54" y="158"/>
                    </a:lnTo>
                    <a:lnTo>
                      <a:pt x="62" y="158"/>
                    </a:lnTo>
                    <a:lnTo>
                      <a:pt x="68" y="166"/>
                    </a:lnTo>
                    <a:lnTo>
                      <a:pt x="82" y="166"/>
                    </a:lnTo>
                    <a:lnTo>
                      <a:pt x="90" y="166"/>
                    </a:lnTo>
                    <a:lnTo>
                      <a:pt x="82" y="158"/>
                    </a:lnTo>
                    <a:lnTo>
                      <a:pt x="76" y="158"/>
                    </a:lnTo>
                    <a:lnTo>
                      <a:pt x="68" y="158"/>
                    </a:lnTo>
                    <a:lnTo>
                      <a:pt x="62" y="152"/>
                    </a:lnTo>
                    <a:lnTo>
                      <a:pt x="48" y="158"/>
                    </a:lnTo>
                    <a:lnTo>
                      <a:pt x="40" y="152"/>
                    </a:lnTo>
                    <a:lnTo>
                      <a:pt x="54" y="152"/>
                    </a:lnTo>
                    <a:lnTo>
                      <a:pt x="68" y="138"/>
                    </a:lnTo>
                    <a:lnTo>
                      <a:pt x="90" y="132"/>
                    </a:lnTo>
                    <a:lnTo>
                      <a:pt x="96" y="132"/>
                    </a:lnTo>
                    <a:lnTo>
                      <a:pt x="104" y="124"/>
                    </a:lnTo>
                    <a:lnTo>
                      <a:pt x="104" y="118"/>
                    </a:lnTo>
                    <a:lnTo>
                      <a:pt x="96" y="118"/>
                    </a:lnTo>
                    <a:lnTo>
                      <a:pt x="82" y="118"/>
                    </a:lnTo>
                    <a:lnTo>
                      <a:pt x="76" y="124"/>
                    </a:lnTo>
                    <a:lnTo>
                      <a:pt x="76" y="110"/>
                    </a:lnTo>
                    <a:lnTo>
                      <a:pt x="68" y="110"/>
                    </a:lnTo>
                    <a:lnTo>
                      <a:pt x="68" y="104"/>
                    </a:lnTo>
                    <a:lnTo>
                      <a:pt x="62" y="90"/>
                    </a:lnTo>
                    <a:lnTo>
                      <a:pt x="68" y="82"/>
                    </a:lnTo>
                    <a:lnTo>
                      <a:pt x="76" y="82"/>
                    </a:lnTo>
                    <a:lnTo>
                      <a:pt x="82" y="76"/>
                    </a:lnTo>
                    <a:lnTo>
                      <a:pt x="90" y="68"/>
                    </a:lnTo>
                    <a:lnTo>
                      <a:pt x="96" y="68"/>
                    </a:lnTo>
                    <a:lnTo>
                      <a:pt x="90" y="68"/>
                    </a:lnTo>
                    <a:lnTo>
                      <a:pt x="90" y="62"/>
                    </a:lnTo>
                    <a:lnTo>
                      <a:pt x="90" y="56"/>
                    </a:lnTo>
                    <a:lnTo>
                      <a:pt x="82" y="48"/>
                    </a:lnTo>
                    <a:lnTo>
                      <a:pt x="90" y="48"/>
                    </a:lnTo>
                    <a:lnTo>
                      <a:pt x="96" y="34"/>
                    </a:lnTo>
                    <a:lnTo>
                      <a:pt x="110" y="34"/>
                    </a:lnTo>
                    <a:lnTo>
                      <a:pt x="118" y="42"/>
                    </a:lnTo>
                    <a:lnTo>
                      <a:pt x="124" y="48"/>
                    </a:lnTo>
                    <a:lnTo>
                      <a:pt x="124" y="56"/>
                    </a:lnTo>
                    <a:lnTo>
                      <a:pt x="138" y="62"/>
                    </a:lnTo>
                    <a:lnTo>
                      <a:pt x="144" y="68"/>
                    </a:lnTo>
                    <a:lnTo>
                      <a:pt x="160" y="62"/>
                    </a:lnTo>
                    <a:lnTo>
                      <a:pt x="160" y="56"/>
                    </a:lnTo>
                    <a:lnTo>
                      <a:pt x="160" y="48"/>
                    </a:lnTo>
                    <a:lnTo>
                      <a:pt x="174" y="48"/>
                    </a:lnTo>
                    <a:lnTo>
                      <a:pt x="180" y="42"/>
                    </a:lnTo>
                    <a:lnTo>
                      <a:pt x="174" y="42"/>
                    </a:lnTo>
                    <a:lnTo>
                      <a:pt x="160" y="34"/>
                    </a:lnTo>
                    <a:lnTo>
                      <a:pt x="152" y="28"/>
                    </a:lnTo>
                    <a:lnTo>
                      <a:pt x="174" y="22"/>
                    </a:lnTo>
                    <a:lnTo>
                      <a:pt x="180" y="14"/>
                    </a:lnTo>
                    <a:lnTo>
                      <a:pt x="186" y="14"/>
                    </a:lnTo>
                    <a:lnTo>
                      <a:pt x="180" y="14"/>
                    </a:lnTo>
                    <a:lnTo>
                      <a:pt x="186" y="8"/>
                    </a:lnTo>
                    <a:lnTo>
                      <a:pt x="202" y="8"/>
                    </a:lnTo>
                    <a:lnTo>
                      <a:pt x="208" y="0"/>
                    </a:lnTo>
                    <a:lnTo>
                      <a:pt x="222" y="8"/>
                    </a:lnTo>
                    <a:lnTo>
                      <a:pt x="228" y="8"/>
                    </a:lnTo>
                    <a:lnTo>
                      <a:pt x="236" y="8"/>
                    </a:lnTo>
                    <a:lnTo>
                      <a:pt x="242" y="8"/>
                    </a:lnTo>
                    <a:lnTo>
                      <a:pt x="242" y="0"/>
                    </a:lnTo>
                    <a:lnTo>
                      <a:pt x="250" y="8"/>
                    </a:lnTo>
                    <a:lnTo>
                      <a:pt x="256" y="14"/>
                    </a:lnTo>
                    <a:lnTo>
                      <a:pt x="250" y="22"/>
                    </a:lnTo>
                    <a:lnTo>
                      <a:pt x="242" y="22"/>
                    </a:lnTo>
                    <a:lnTo>
                      <a:pt x="236" y="22"/>
                    </a:lnTo>
                    <a:lnTo>
                      <a:pt x="242" y="28"/>
                    </a:lnTo>
                    <a:lnTo>
                      <a:pt x="236" y="28"/>
                    </a:lnTo>
                    <a:lnTo>
                      <a:pt x="222" y="28"/>
                    </a:lnTo>
                    <a:lnTo>
                      <a:pt x="214" y="34"/>
                    </a:lnTo>
                    <a:lnTo>
                      <a:pt x="208" y="42"/>
                    </a:lnTo>
                    <a:lnTo>
                      <a:pt x="208" y="48"/>
                    </a:lnTo>
                    <a:lnTo>
                      <a:pt x="202" y="56"/>
                    </a:lnTo>
                    <a:lnTo>
                      <a:pt x="194" y="48"/>
                    </a:lnTo>
                    <a:lnTo>
                      <a:pt x="186" y="48"/>
                    </a:lnTo>
                    <a:lnTo>
                      <a:pt x="186" y="56"/>
                    </a:lnTo>
                    <a:lnTo>
                      <a:pt x="180" y="62"/>
                    </a:lnTo>
                    <a:lnTo>
                      <a:pt x="186" y="68"/>
                    </a:lnTo>
                    <a:lnTo>
                      <a:pt x="194" y="76"/>
                    </a:lnTo>
                    <a:lnTo>
                      <a:pt x="202" y="82"/>
                    </a:lnTo>
                    <a:lnTo>
                      <a:pt x="208" y="90"/>
                    </a:lnTo>
                    <a:lnTo>
                      <a:pt x="214" y="82"/>
                    </a:lnTo>
                    <a:lnTo>
                      <a:pt x="222" y="82"/>
                    </a:lnTo>
                    <a:lnTo>
                      <a:pt x="228" y="82"/>
                    </a:lnTo>
                    <a:lnTo>
                      <a:pt x="242" y="90"/>
                    </a:lnTo>
                    <a:lnTo>
                      <a:pt x="242" y="96"/>
                    </a:lnTo>
                    <a:lnTo>
                      <a:pt x="250" y="104"/>
                    </a:lnTo>
                    <a:lnTo>
                      <a:pt x="256" y="118"/>
                    </a:lnTo>
                    <a:lnTo>
                      <a:pt x="256" y="118"/>
                    </a:lnTo>
                    <a:lnTo>
                      <a:pt x="256" y="118"/>
                    </a:lnTo>
                    <a:close/>
                  </a:path>
                </a:pathLst>
              </a:custGeom>
              <a:solidFill>
                <a:srgbClr val="D6D9DC"/>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5" name="Freeform 29"/>
              <p:cNvSpPr>
                <a:spLocks/>
              </p:cNvSpPr>
              <p:nvPr/>
            </p:nvSpPr>
            <p:spPr bwMode="gray">
              <a:xfrm>
                <a:off x="3321820" y="2371350"/>
                <a:ext cx="187367" cy="152434"/>
              </a:xfrm>
              <a:custGeom>
                <a:avLst/>
                <a:gdLst>
                  <a:gd name="T0" fmla="*/ 62 w 118"/>
                  <a:gd name="T1" fmla="*/ 6 h 96"/>
                  <a:gd name="T2" fmla="*/ 54 w 118"/>
                  <a:gd name="T3" fmla="*/ 6 h 96"/>
                  <a:gd name="T4" fmla="*/ 40 w 118"/>
                  <a:gd name="T5" fmla="*/ 6 h 96"/>
                  <a:gd name="T6" fmla="*/ 36 w 118"/>
                  <a:gd name="T7" fmla="*/ 14 h 96"/>
                  <a:gd name="T8" fmla="*/ 28 w 118"/>
                  <a:gd name="T9" fmla="*/ 20 h 96"/>
                  <a:gd name="T10" fmla="*/ 28 w 118"/>
                  <a:gd name="T11" fmla="*/ 28 h 96"/>
                  <a:gd name="T12" fmla="*/ 20 w 118"/>
                  <a:gd name="T13" fmla="*/ 34 h 96"/>
                  <a:gd name="T14" fmla="*/ 14 w 118"/>
                  <a:gd name="T15" fmla="*/ 28 h 96"/>
                  <a:gd name="T16" fmla="*/ 6 w 118"/>
                  <a:gd name="T17" fmla="*/ 28 h 96"/>
                  <a:gd name="T18" fmla="*/ 6 w 118"/>
                  <a:gd name="T19" fmla="*/ 34 h 96"/>
                  <a:gd name="T20" fmla="*/ 0 w 118"/>
                  <a:gd name="T21" fmla="*/ 40 h 96"/>
                  <a:gd name="T22" fmla="*/ 6 w 118"/>
                  <a:gd name="T23" fmla="*/ 48 h 96"/>
                  <a:gd name="T24" fmla="*/ 14 w 118"/>
                  <a:gd name="T25" fmla="*/ 54 h 96"/>
                  <a:gd name="T26" fmla="*/ 20 w 118"/>
                  <a:gd name="T27" fmla="*/ 62 h 96"/>
                  <a:gd name="T28" fmla="*/ 28 w 118"/>
                  <a:gd name="T29" fmla="*/ 68 h 96"/>
                  <a:gd name="T30" fmla="*/ 36 w 118"/>
                  <a:gd name="T31" fmla="*/ 62 h 96"/>
                  <a:gd name="T32" fmla="*/ 40 w 118"/>
                  <a:gd name="T33" fmla="*/ 62 h 96"/>
                  <a:gd name="T34" fmla="*/ 48 w 118"/>
                  <a:gd name="T35" fmla="*/ 62 h 96"/>
                  <a:gd name="T36" fmla="*/ 62 w 118"/>
                  <a:gd name="T37" fmla="*/ 68 h 96"/>
                  <a:gd name="T38" fmla="*/ 62 w 118"/>
                  <a:gd name="T39" fmla="*/ 76 h 96"/>
                  <a:gd name="T40" fmla="*/ 68 w 118"/>
                  <a:gd name="T41" fmla="*/ 82 h 96"/>
                  <a:gd name="T42" fmla="*/ 76 w 118"/>
                  <a:gd name="T43" fmla="*/ 96 h 96"/>
                  <a:gd name="T44" fmla="*/ 84 w 118"/>
                  <a:gd name="T45" fmla="*/ 88 h 96"/>
                  <a:gd name="T46" fmla="*/ 90 w 118"/>
                  <a:gd name="T47" fmla="*/ 82 h 96"/>
                  <a:gd name="T48" fmla="*/ 96 w 118"/>
                  <a:gd name="T49" fmla="*/ 82 h 96"/>
                  <a:gd name="T50" fmla="*/ 104 w 118"/>
                  <a:gd name="T51" fmla="*/ 82 h 96"/>
                  <a:gd name="T52" fmla="*/ 104 w 118"/>
                  <a:gd name="T53" fmla="*/ 68 h 96"/>
                  <a:gd name="T54" fmla="*/ 110 w 118"/>
                  <a:gd name="T55" fmla="*/ 62 h 96"/>
                  <a:gd name="T56" fmla="*/ 110 w 118"/>
                  <a:gd name="T57" fmla="*/ 68 h 96"/>
                  <a:gd name="T58" fmla="*/ 110 w 118"/>
                  <a:gd name="T59" fmla="*/ 76 h 96"/>
                  <a:gd name="T60" fmla="*/ 118 w 118"/>
                  <a:gd name="T61" fmla="*/ 76 h 96"/>
                  <a:gd name="T62" fmla="*/ 118 w 118"/>
                  <a:gd name="T63" fmla="*/ 68 h 96"/>
                  <a:gd name="T64" fmla="*/ 118 w 118"/>
                  <a:gd name="T65" fmla="*/ 62 h 96"/>
                  <a:gd name="T66" fmla="*/ 110 w 118"/>
                  <a:gd name="T67" fmla="*/ 54 h 96"/>
                  <a:gd name="T68" fmla="*/ 104 w 118"/>
                  <a:gd name="T69" fmla="*/ 62 h 96"/>
                  <a:gd name="T70" fmla="*/ 96 w 118"/>
                  <a:gd name="T71" fmla="*/ 54 h 96"/>
                  <a:gd name="T72" fmla="*/ 104 w 118"/>
                  <a:gd name="T73" fmla="*/ 48 h 96"/>
                  <a:gd name="T74" fmla="*/ 110 w 118"/>
                  <a:gd name="T75" fmla="*/ 48 h 96"/>
                  <a:gd name="T76" fmla="*/ 110 w 118"/>
                  <a:gd name="T77" fmla="*/ 40 h 96"/>
                  <a:gd name="T78" fmla="*/ 110 w 118"/>
                  <a:gd name="T79" fmla="*/ 34 h 96"/>
                  <a:gd name="T80" fmla="*/ 104 w 118"/>
                  <a:gd name="T81" fmla="*/ 20 h 96"/>
                  <a:gd name="T82" fmla="*/ 104 w 118"/>
                  <a:gd name="T83" fmla="*/ 14 h 96"/>
                  <a:gd name="T84" fmla="*/ 104 w 118"/>
                  <a:gd name="T85" fmla="*/ 6 h 96"/>
                  <a:gd name="T86" fmla="*/ 96 w 118"/>
                  <a:gd name="T87" fmla="*/ 6 h 96"/>
                  <a:gd name="T88" fmla="*/ 90 w 118"/>
                  <a:gd name="T89" fmla="*/ 6 h 96"/>
                  <a:gd name="T90" fmla="*/ 84 w 118"/>
                  <a:gd name="T91" fmla="*/ 6 h 96"/>
                  <a:gd name="T92" fmla="*/ 84 w 118"/>
                  <a:gd name="T93" fmla="*/ 0 h 96"/>
                  <a:gd name="T94" fmla="*/ 76 w 118"/>
                  <a:gd name="T95" fmla="*/ 0 h 96"/>
                  <a:gd name="T96" fmla="*/ 68 w 118"/>
                  <a:gd name="T97" fmla="*/ 6 h 96"/>
                  <a:gd name="T98" fmla="*/ 62 w 118"/>
                  <a:gd name="T99" fmla="*/ 6 h 96"/>
                  <a:gd name="T100" fmla="*/ 62 w 118"/>
                  <a:gd name="T101" fmla="*/ 6 h 96"/>
                  <a:gd name="T102" fmla="*/ 62 w 118"/>
                  <a:gd name="T103" fmla="*/ 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8" h="96">
                    <a:moveTo>
                      <a:pt x="62" y="6"/>
                    </a:moveTo>
                    <a:lnTo>
                      <a:pt x="54" y="6"/>
                    </a:lnTo>
                    <a:lnTo>
                      <a:pt x="40" y="6"/>
                    </a:lnTo>
                    <a:lnTo>
                      <a:pt x="36" y="14"/>
                    </a:lnTo>
                    <a:lnTo>
                      <a:pt x="28" y="20"/>
                    </a:lnTo>
                    <a:lnTo>
                      <a:pt x="28" y="28"/>
                    </a:lnTo>
                    <a:lnTo>
                      <a:pt x="20" y="34"/>
                    </a:lnTo>
                    <a:lnTo>
                      <a:pt x="14" y="28"/>
                    </a:lnTo>
                    <a:lnTo>
                      <a:pt x="6" y="28"/>
                    </a:lnTo>
                    <a:lnTo>
                      <a:pt x="6" y="34"/>
                    </a:lnTo>
                    <a:lnTo>
                      <a:pt x="0" y="40"/>
                    </a:lnTo>
                    <a:lnTo>
                      <a:pt x="6" y="48"/>
                    </a:lnTo>
                    <a:lnTo>
                      <a:pt x="14" y="54"/>
                    </a:lnTo>
                    <a:lnTo>
                      <a:pt x="20" y="62"/>
                    </a:lnTo>
                    <a:lnTo>
                      <a:pt x="28" y="68"/>
                    </a:lnTo>
                    <a:lnTo>
                      <a:pt x="36" y="62"/>
                    </a:lnTo>
                    <a:lnTo>
                      <a:pt x="40" y="62"/>
                    </a:lnTo>
                    <a:lnTo>
                      <a:pt x="48" y="62"/>
                    </a:lnTo>
                    <a:lnTo>
                      <a:pt x="62" y="68"/>
                    </a:lnTo>
                    <a:lnTo>
                      <a:pt x="62" y="76"/>
                    </a:lnTo>
                    <a:lnTo>
                      <a:pt x="68" y="82"/>
                    </a:lnTo>
                    <a:lnTo>
                      <a:pt x="76" y="96"/>
                    </a:lnTo>
                    <a:lnTo>
                      <a:pt x="84" y="88"/>
                    </a:lnTo>
                    <a:lnTo>
                      <a:pt x="90" y="82"/>
                    </a:lnTo>
                    <a:lnTo>
                      <a:pt x="96" y="82"/>
                    </a:lnTo>
                    <a:lnTo>
                      <a:pt x="104" y="82"/>
                    </a:lnTo>
                    <a:lnTo>
                      <a:pt x="104" y="68"/>
                    </a:lnTo>
                    <a:lnTo>
                      <a:pt x="110" y="62"/>
                    </a:lnTo>
                    <a:lnTo>
                      <a:pt x="110" y="68"/>
                    </a:lnTo>
                    <a:lnTo>
                      <a:pt x="110" y="76"/>
                    </a:lnTo>
                    <a:lnTo>
                      <a:pt x="118" y="76"/>
                    </a:lnTo>
                    <a:lnTo>
                      <a:pt x="118" y="68"/>
                    </a:lnTo>
                    <a:lnTo>
                      <a:pt x="118" y="62"/>
                    </a:lnTo>
                    <a:lnTo>
                      <a:pt x="110" y="54"/>
                    </a:lnTo>
                    <a:lnTo>
                      <a:pt x="104" y="62"/>
                    </a:lnTo>
                    <a:lnTo>
                      <a:pt x="96" y="54"/>
                    </a:lnTo>
                    <a:lnTo>
                      <a:pt x="104" y="48"/>
                    </a:lnTo>
                    <a:lnTo>
                      <a:pt x="110" y="48"/>
                    </a:lnTo>
                    <a:lnTo>
                      <a:pt x="110" y="40"/>
                    </a:lnTo>
                    <a:lnTo>
                      <a:pt x="110" y="34"/>
                    </a:lnTo>
                    <a:lnTo>
                      <a:pt x="104" y="20"/>
                    </a:lnTo>
                    <a:lnTo>
                      <a:pt x="104" y="14"/>
                    </a:lnTo>
                    <a:lnTo>
                      <a:pt x="104" y="6"/>
                    </a:lnTo>
                    <a:lnTo>
                      <a:pt x="96" y="6"/>
                    </a:lnTo>
                    <a:lnTo>
                      <a:pt x="90" y="6"/>
                    </a:lnTo>
                    <a:lnTo>
                      <a:pt x="84" y="6"/>
                    </a:lnTo>
                    <a:lnTo>
                      <a:pt x="84" y="0"/>
                    </a:lnTo>
                    <a:lnTo>
                      <a:pt x="76" y="0"/>
                    </a:lnTo>
                    <a:lnTo>
                      <a:pt x="68" y="6"/>
                    </a:lnTo>
                    <a:lnTo>
                      <a:pt x="62" y="6"/>
                    </a:lnTo>
                    <a:lnTo>
                      <a:pt x="62" y="6"/>
                    </a:lnTo>
                    <a:lnTo>
                      <a:pt x="62" y="6"/>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6" name="Freeform 30"/>
              <p:cNvSpPr>
                <a:spLocks/>
              </p:cNvSpPr>
              <p:nvPr>
                <p:custDataLst>
                  <p:tags r:id="rId137"/>
                </p:custDataLst>
              </p:nvPr>
            </p:nvSpPr>
            <p:spPr bwMode="gray">
              <a:xfrm>
                <a:off x="4253890" y="4095758"/>
                <a:ext cx="85744" cy="158785"/>
              </a:xfrm>
              <a:custGeom>
                <a:avLst/>
                <a:gdLst>
                  <a:gd name="T0" fmla="*/ 18 w 54"/>
                  <a:gd name="T1" fmla="*/ 92 h 100"/>
                  <a:gd name="T2" fmla="*/ 14 w 54"/>
                  <a:gd name="T3" fmla="*/ 92 h 100"/>
                  <a:gd name="T4" fmla="*/ 10 w 54"/>
                  <a:gd name="T5" fmla="*/ 84 h 100"/>
                  <a:gd name="T6" fmla="*/ 10 w 54"/>
                  <a:gd name="T7" fmla="*/ 78 h 100"/>
                  <a:gd name="T8" fmla="*/ 4 w 54"/>
                  <a:gd name="T9" fmla="*/ 72 h 100"/>
                  <a:gd name="T10" fmla="*/ 0 w 54"/>
                  <a:gd name="T11" fmla="*/ 64 h 100"/>
                  <a:gd name="T12" fmla="*/ 4 w 54"/>
                  <a:gd name="T13" fmla="*/ 60 h 100"/>
                  <a:gd name="T14" fmla="*/ 4 w 54"/>
                  <a:gd name="T15" fmla="*/ 58 h 100"/>
                  <a:gd name="T16" fmla="*/ 4 w 54"/>
                  <a:gd name="T17" fmla="*/ 50 h 100"/>
                  <a:gd name="T18" fmla="*/ 2 w 54"/>
                  <a:gd name="T19" fmla="*/ 44 h 100"/>
                  <a:gd name="T20" fmla="*/ 0 w 54"/>
                  <a:gd name="T21" fmla="*/ 38 h 100"/>
                  <a:gd name="T22" fmla="*/ 2 w 54"/>
                  <a:gd name="T23" fmla="*/ 30 h 100"/>
                  <a:gd name="T24" fmla="*/ 0 w 54"/>
                  <a:gd name="T25" fmla="*/ 24 h 100"/>
                  <a:gd name="T26" fmla="*/ 4 w 54"/>
                  <a:gd name="T27" fmla="*/ 20 h 100"/>
                  <a:gd name="T28" fmla="*/ 10 w 54"/>
                  <a:gd name="T29" fmla="*/ 12 h 100"/>
                  <a:gd name="T30" fmla="*/ 18 w 54"/>
                  <a:gd name="T31" fmla="*/ 10 h 100"/>
                  <a:gd name="T32" fmla="*/ 22 w 54"/>
                  <a:gd name="T33" fmla="*/ 4 h 100"/>
                  <a:gd name="T34" fmla="*/ 26 w 54"/>
                  <a:gd name="T35" fmla="*/ 2 h 100"/>
                  <a:gd name="T36" fmla="*/ 32 w 54"/>
                  <a:gd name="T37" fmla="*/ 2 h 100"/>
                  <a:gd name="T38" fmla="*/ 40 w 54"/>
                  <a:gd name="T39" fmla="*/ 0 h 100"/>
                  <a:gd name="T40" fmla="*/ 46 w 54"/>
                  <a:gd name="T41" fmla="*/ 2 h 100"/>
                  <a:gd name="T42" fmla="*/ 48 w 54"/>
                  <a:gd name="T43" fmla="*/ 0 h 100"/>
                  <a:gd name="T44" fmla="*/ 50 w 54"/>
                  <a:gd name="T45" fmla="*/ 2 h 100"/>
                  <a:gd name="T46" fmla="*/ 54 w 54"/>
                  <a:gd name="T47" fmla="*/ 10 h 100"/>
                  <a:gd name="T48" fmla="*/ 54 w 54"/>
                  <a:gd name="T49" fmla="*/ 16 h 100"/>
                  <a:gd name="T50" fmla="*/ 54 w 54"/>
                  <a:gd name="T51" fmla="*/ 24 h 100"/>
                  <a:gd name="T52" fmla="*/ 54 w 54"/>
                  <a:gd name="T53" fmla="*/ 38 h 100"/>
                  <a:gd name="T54" fmla="*/ 46 w 54"/>
                  <a:gd name="T55" fmla="*/ 44 h 100"/>
                  <a:gd name="T56" fmla="*/ 40 w 54"/>
                  <a:gd name="T57" fmla="*/ 50 h 100"/>
                  <a:gd name="T58" fmla="*/ 40 w 54"/>
                  <a:gd name="T59" fmla="*/ 58 h 100"/>
                  <a:gd name="T60" fmla="*/ 40 w 54"/>
                  <a:gd name="T61" fmla="*/ 64 h 100"/>
                  <a:gd name="T62" fmla="*/ 32 w 54"/>
                  <a:gd name="T63" fmla="*/ 78 h 100"/>
                  <a:gd name="T64" fmla="*/ 32 w 54"/>
                  <a:gd name="T65" fmla="*/ 86 h 100"/>
                  <a:gd name="T66" fmla="*/ 26 w 54"/>
                  <a:gd name="T67" fmla="*/ 92 h 100"/>
                  <a:gd name="T68" fmla="*/ 26 w 54"/>
                  <a:gd name="T69" fmla="*/ 100 h 100"/>
                  <a:gd name="T70" fmla="*/ 18 w 54"/>
                  <a:gd name="T71" fmla="*/ 92 h 100"/>
                  <a:gd name="T72" fmla="*/ 18 w 54"/>
                  <a:gd name="T73" fmla="*/ 92 h 100"/>
                  <a:gd name="T74" fmla="*/ 18 w 54"/>
                  <a:gd name="T75" fmla="*/ 9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100">
                    <a:moveTo>
                      <a:pt x="18" y="92"/>
                    </a:moveTo>
                    <a:lnTo>
                      <a:pt x="14" y="92"/>
                    </a:lnTo>
                    <a:lnTo>
                      <a:pt x="10" y="84"/>
                    </a:lnTo>
                    <a:lnTo>
                      <a:pt x="10" y="78"/>
                    </a:lnTo>
                    <a:lnTo>
                      <a:pt x="4" y="72"/>
                    </a:lnTo>
                    <a:lnTo>
                      <a:pt x="0" y="64"/>
                    </a:lnTo>
                    <a:lnTo>
                      <a:pt x="4" y="60"/>
                    </a:lnTo>
                    <a:lnTo>
                      <a:pt x="4" y="58"/>
                    </a:lnTo>
                    <a:lnTo>
                      <a:pt x="4" y="50"/>
                    </a:lnTo>
                    <a:lnTo>
                      <a:pt x="2" y="44"/>
                    </a:lnTo>
                    <a:lnTo>
                      <a:pt x="0" y="38"/>
                    </a:lnTo>
                    <a:lnTo>
                      <a:pt x="2" y="30"/>
                    </a:lnTo>
                    <a:lnTo>
                      <a:pt x="0" y="24"/>
                    </a:lnTo>
                    <a:lnTo>
                      <a:pt x="4" y="20"/>
                    </a:lnTo>
                    <a:lnTo>
                      <a:pt x="10" y="12"/>
                    </a:lnTo>
                    <a:lnTo>
                      <a:pt x="18" y="10"/>
                    </a:lnTo>
                    <a:lnTo>
                      <a:pt x="22" y="4"/>
                    </a:lnTo>
                    <a:lnTo>
                      <a:pt x="26" y="2"/>
                    </a:lnTo>
                    <a:lnTo>
                      <a:pt x="32" y="2"/>
                    </a:lnTo>
                    <a:lnTo>
                      <a:pt x="40" y="0"/>
                    </a:lnTo>
                    <a:lnTo>
                      <a:pt x="46" y="2"/>
                    </a:lnTo>
                    <a:lnTo>
                      <a:pt x="48" y="0"/>
                    </a:lnTo>
                    <a:lnTo>
                      <a:pt x="50" y="2"/>
                    </a:lnTo>
                    <a:lnTo>
                      <a:pt x="54" y="10"/>
                    </a:lnTo>
                    <a:lnTo>
                      <a:pt x="54" y="16"/>
                    </a:lnTo>
                    <a:lnTo>
                      <a:pt x="54" y="24"/>
                    </a:lnTo>
                    <a:lnTo>
                      <a:pt x="54" y="38"/>
                    </a:lnTo>
                    <a:lnTo>
                      <a:pt x="46" y="44"/>
                    </a:lnTo>
                    <a:lnTo>
                      <a:pt x="40" y="50"/>
                    </a:lnTo>
                    <a:lnTo>
                      <a:pt x="40" y="58"/>
                    </a:lnTo>
                    <a:lnTo>
                      <a:pt x="40" y="64"/>
                    </a:lnTo>
                    <a:lnTo>
                      <a:pt x="32" y="78"/>
                    </a:lnTo>
                    <a:lnTo>
                      <a:pt x="32" y="86"/>
                    </a:lnTo>
                    <a:lnTo>
                      <a:pt x="26" y="92"/>
                    </a:lnTo>
                    <a:lnTo>
                      <a:pt x="26" y="100"/>
                    </a:lnTo>
                    <a:lnTo>
                      <a:pt x="18" y="92"/>
                    </a:lnTo>
                    <a:lnTo>
                      <a:pt x="18" y="92"/>
                    </a:lnTo>
                    <a:lnTo>
                      <a:pt x="18" y="92"/>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7" name="Freeform 31"/>
              <p:cNvSpPr>
                <a:spLocks/>
              </p:cNvSpPr>
              <p:nvPr>
                <p:custDataLst>
                  <p:tags r:id="rId138"/>
                </p:custDataLst>
              </p:nvPr>
            </p:nvSpPr>
            <p:spPr bwMode="gray">
              <a:xfrm>
                <a:off x="4174497" y="4264070"/>
                <a:ext cx="152434" cy="260408"/>
              </a:xfrm>
              <a:custGeom>
                <a:avLst/>
                <a:gdLst>
                  <a:gd name="T0" fmla="*/ 12 w 96"/>
                  <a:gd name="T1" fmla="*/ 28 h 164"/>
                  <a:gd name="T2" fmla="*/ 34 w 96"/>
                  <a:gd name="T3" fmla="*/ 20 h 164"/>
                  <a:gd name="T4" fmla="*/ 48 w 96"/>
                  <a:gd name="T5" fmla="*/ 14 h 164"/>
                  <a:gd name="T6" fmla="*/ 60 w 96"/>
                  <a:gd name="T7" fmla="*/ 14 h 164"/>
                  <a:gd name="T8" fmla="*/ 68 w 96"/>
                  <a:gd name="T9" fmla="*/ 8 h 164"/>
                  <a:gd name="T10" fmla="*/ 74 w 96"/>
                  <a:gd name="T11" fmla="*/ 8 h 164"/>
                  <a:gd name="T12" fmla="*/ 88 w 96"/>
                  <a:gd name="T13" fmla="*/ 20 h 164"/>
                  <a:gd name="T14" fmla="*/ 88 w 96"/>
                  <a:gd name="T15" fmla="*/ 28 h 164"/>
                  <a:gd name="T16" fmla="*/ 96 w 96"/>
                  <a:gd name="T17" fmla="*/ 34 h 164"/>
                  <a:gd name="T18" fmla="*/ 88 w 96"/>
                  <a:gd name="T19" fmla="*/ 56 h 164"/>
                  <a:gd name="T20" fmla="*/ 96 w 96"/>
                  <a:gd name="T21" fmla="*/ 62 h 164"/>
                  <a:gd name="T22" fmla="*/ 82 w 96"/>
                  <a:gd name="T23" fmla="*/ 68 h 164"/>
                  <a:gd name="T24" fmla="*/ 82 w 96"/>
                  <a:gd name="T25" fmla="*/ 82 h 164"/>
                  <a:gd name="T26" fmla="*/ 82 w 96"/>
                  <a:gd name="T27" fmla="*/ 96 h 164"/>
                  <a:gd name="T28" fmla="*/ 74 w 96"/>
                  <a:gd name="T29" fmla="*/ 116 h 164"/>
                  <a:gd name="T30" fmla="*/ 74 w 96"/>
                  <a:gd name="T31" fmla="*/ 144 h 164"/>
                  <a:gd name="T32" fmla="*/ 68 w 96"/>
                  <a:gd name="T33" fmla="*/ 158 h 164"/>
                  <a:gd name="T34" fmla="*/ 54 w 96"/>
                  <a:gd name="T35" fmla="*/ 152 h 164"/>
                  <a:gd name="T36" fmla="*/ 34 w 96"/>
                  <a:gd name="T37" fmla="*/ 152 h 164"/>
                  <a:gd name="T38" fmla="*/ 34 w 96"/>
                  <a:gd name="T39" fmla="*/ 164 h 164"/>
                  <a:gd name="T40" fmla="*/ 20 w 96"/>
                  <a:gd name="T41" fmla="*/ 164 h 164"/>
                  <a:gd name="T42" fmla="*/ 6 w 96"/>
                  <a:gd name="T43" fmla="*/ 152 h 164"/>
                  <a:gd name="T44" fmla="*/ 0 w 96"/>
                  <a:gd name="T45" fmla="*/ 138 h 164"/>
                  <a:gd name="T46" fmla="*/ 0 w 96"/>
                  <a:gd name="T47" fmla="*/ 116 h 164"/>
                  <a:gd name="T48" fmla="*/ 12 w 96"/>
                  <a:gd name="T49" fmla="*/ 110 h 164"/>
                  <a:gd name="T50" fmla="*/ 12 w 96"/>
                  <a:gd name="T51" fmla="*/ 96 h 164"/>
                  <a:gd name="T52" fmla="*/ 26 w 96"/>
                  <a:gd name="T53" fmla="*/ 82 h 164"/>
                  <a:gd name="T54" fmla="*/ 6 w 96"/>
                  <a:gd name="T55" fmla="*/ 82 h 164"/>
                  <a:gd name="T56" fmla="*/ 6 w 96"/>
                  <a:gd name="T57" fmla="*/ 62 h 164"/>
                  <a:gd name="T58" fmla="*/ 0 w 96"/>
                  <a:gd name="T59" fmla="*/ 42 h 164"/>
                  <a:gd name="T60" fmla="*/ 6 w 96"/>
                  <a:gd name="T61" fmla="*/ 28 h 164"/>
                  <a:gd name="T62" fmla="*/ 6 w 96"/>
                  <a:gd name="T63" fmla="*/ 2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64">
                    <a:moveTo>
                      <a:pt x="6" y="20"/>
                    </a:moveTo>
                    <a:lnTo>
                      <a:pt x="12" y="28"/>
                    </a:lnTo>
                    <a:lnTo>
                      <a:pt x="20" y="20"/>
                    </a:lnTo>
                    <a:lnTo>
                      <a:pt x="34" y="20"/>
                    </a:lnTo>
                    <a:lnTo>
                      <a:pt x="40" y="20"/>
                    </a:lnTo>
                    <a:lnTo>
                      <a:pt x="48" y="14"/>
                    </a:lnTo>
                    <a:lnTo>
                      <a:pt x="54" y="14"/>
                    </a:lnTo>
                    <a:lnTo>
                      <a:pt x="60" y="14"/>
                    </a:lnTo>
                    <a:lnTo>
                      <a:pt x="60" y="8"/>
                    </a:lnTo>
                    <a:lnTo>
                      <a:pt x="68" y="8"/>
                    </a:lnTo>
                    <a:lnTo>
                      <a:pt x="74" y="0"/>
                    </a:lnTo>
                    <a:lnTo>
                      <a:pt x="74" y="8"/>
                    </a:lnTo>
                    <a:lnTo>
                      <a:pt x="82" y="14"/>
                    </a:lnTo>
                    <a:lnTo>
                      <a:pt x="88" y="20"/>
                    </a:lnTo>
                    <a:lnTo>
                      <a:pt x="82" y="20"/>
                    </a:lnTo>
                    <a:lnTo>
                      <a:pt x="88" y="28"/>
                    </a:lnTo>
                    <a:lnTo>
                      <a:pt x="88" y="34"/>
                    </a:lnTo>
                    <a:lnTo>
                      <a:pt x="96" y="34"/>
                    </a:lnTo>
                    <a:lnTo>
                      <a:pt x="96" y="42"/>
                    </a:lnTo>
                    <a:lnTo>
                      <a:pt x="88" y="56"/>
                    </a:lnTo>
                    <a:lnTo>
                      <a:pt x="96" y="56"/>
                    </a:lnTo>
                    <a:lnTo>
                      <a:pt x="96" y="62"/>
                    </a:lnTo>
                    <a:lnTo>
                      <a:pt x="88" y="68"/>
                    </a:lnTo>
                    <a:lnTo>
                      <a:pt x="82" y="68"/>
                    </a:lnTo>
                    <a:lnTo>
                      <a:pt x="82" y="76"/>
                    </a:lnTo>
                    <a:lnTo>
                      <a:pt x="82" y="82"/>
                    </a:lnTo>
                    <a:lnTo>
                      <a:pt x="82" y="88"/>
                    </a:lnTo>
                    <a:lnTo>
                      <a:pt x="82" y="96"/>
                    </a:lnTo>
                    <a:lnTo>
                      <a:pt x="82" y="104"/>
                    </a:lnTo>
                    <a:lnTo>
                      <a:pt x="74" y="116"/>
                    </a:lnTo>
                    <a:lnTo>
                      <a:pt x="74" y="130"/>
                    </a:lnTo>
                    <a:lnTo>
                      <a:pt x="74" y="144"/>
                    </a:lnTo>
                    <a:lnTo>
                      <a:pt x="74" y="152"/>
                    </a:lnTo>
                    <a:lnTo>
                      <a:pt x="68" y="158"/>
                    </a:lnTo>
                    <a:lnTo>
                      <a:pt x="60" y="152"/>
                    </a:lnTo>
                    <a:lnTo>
                      <a:pt x="54" y="152"/>
                    </a:lnTo>
                    <a:lnTo>
                      <a:pt x="40" y="144"/>
                    </a:lnTo>
                    <a:lnTo>
                      <a:pt x="34" y="152"/>
                    </a:lnTo>
                    <a:lnTo>
                      <a:pt x="34" y="158"/>
                    </a:lnTo>
                    <a:lnTo>
                      <a:pt x="34" y="164"/>
                    </a:lnTo>
                    <a:lnTo>
                      <a:pt x="26" y="164"/>
                    </a:lnTo>
                    <a:lnTo>
                      <a:pt x="20" y="164"/>
                    </a:lnTo>
                    <a:lnTo>
                      <a:pt x="6" y="158"/>
                    </a:lnTo>
                    <a:lnTo>
                      <a:pt x="6" y="152"/>
                    </a:lnTo>
                    <a:lnTo>
                      <a:pt x="6" y="144"/>
                    </a:lnTo>
                    <a:lnTo>
                      <a:pt x="0" y="138"/>
                    </a:lnTo>
                    <a:lnTo>
                      <a:pt x="6" y="124"/>
                    </a:lnTo>
                    <a:lnTo>
                      <a:pt x="0" y="116"/>
                    </a:lnTo>
                    <a:lnTo>
                      <a:pt x="6" y="116"/>
                    </a:lnTo>
                    <a:lnTo>
                      <a:pt x="12" y="110"/>
                    </a:lnTo>
                    <a:lnTo>
                      <a:pt x="12" y="104"/>
                    </a:lnTo>
                    <a:lnTo>
                      <a:pt x="12" y="96"/>
                    </a:lnTo>
                    <a:lnTo>
                      <a:pt x="20" y="88"/>
                    </a:lnTo>
                    <a:lnTo>
                      <a:pt x="26" y="82"/>
                    </a:lnTo>
                    <a:lnTo>
                      <a:pt x="12" y="82"/>
                    </a:lnTo>
                    <a:lnTo>
                      <a:pt x="6" y="82"/>
                    </a:lnTo>
                    <a:lnTo>
                      <a:pt x="6" y="68"/>
                    </a:lnTo>
                    <a:lnTo>
                      <a:pt x="6" y="62"/>
                    </a:lnTo>
                    <a:lnTo>
                      <a:pt x="0" y="48"/>
                    </a:lnTo>
                    <a:lnTo>
                      <a:pt x="0" y="42"/>
                    </a:lnTo>
                    <a:lnTo>
                      <a:pt x="0" y="34"/>
                    </a:lnTo>
                    <a:lnTo>
                      <a:pt x="6" y="28"/>
                    </a:lnTo>
                    <a:lnTo>
                      <a:pt x="6" y="20"/>
                    </a:lnTo>
                    <a:lnTo>
                      <a:pt x="6" y="20"/>
                    </a:lnTo>
                    <a:lnTo>
                      <a:pt x="6" y="20"/>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8" name="Freeform 32"/>
              <p:cNvSpPr>
                <a:spLocks/>
              </p:cNvSpPr>
              <p:nvPr>
                <p:custDataLst>
                  <p:tags r:id="rId139"/>
                </p:custDataLst>
              </p:nvPr>
            </p:nvSpPr>
            <p:spPr bwMode="gray">
              <a:xfrm>
                <a:off x="4546055" y="4648330"/>
                <a:ext cx="308043" cy="196894"/>
              </a:xfrm>
              <a:custGeom>
                <a:avLst/>
                <a:gdLst>
                  <a:gd name="T0" fmla="*/ 194 w 194"/>
                  <a:gd name="T1" fmla="*/ 6 h 124"/>
                  <a:gd name="T2" fmla="*/ 194 w 194"/>
                  <a:gd name="T3" fmla="*/ 14 h 124"/>
                  <a:gd name="T4" fmla="*/ 194 w 194"/>
                  <a:gd name="T5" fmla="*/ 20 h 124"/>
                  <a:gd name="T6" fmla="*/ 188 w 194"/>
                  <a:gd name="T7" fmla="*/ 34 h 124"/>
                  <a:gd name="T8" fmla="*/ 182 w 194"/>
                  <a:gd name="T9" fmla="*/ 34 h 124"/>
                  <a:gd name="T10" fmla="*/ 174 w 194"/>
                  <a:gd name="T11" fmla="*/ 40 h 124"/>
                  <a:gd name="T12" fmla="*/ 174 w 194"/>
                  <a:gd name="T13" fmla="*/ 48 h 124"/>
                  <a:gd name="T14" fmla="*/ 174 w 194"/>
                  <a:gd name="T15" fmla="*/ 54 h 124"/>
                  <a:gd name="T16" fmla="*/ 174 w 194"/>
                  <a:gd name="T17" fmla="*/ 62 h 124"/>
                  <a:gd name="T18" fmla="*/ 168 w 194"/>
                  <a:gd name="T19" fmla="*/ 68 h 124"/>
                  <a:gd name="T20" fmla="*/ 168 w 194"/>
                  <a:gd name="T21" fmla="*/ 74 h 124"/>
                  <a:gd name="T22" fmla="*/ 168 w 194"/>
                  <a:gd name="T23" fmla="*/ 82 h 124"/>
                  <a:gd name="T24" fmla="*/ 174 w 194"/>
                  <a:gd name="T25" fmla="*/ 82 h 124"/>
                  <a:gd name="T26" fmla="*/ 168 w 194"/>
                  <a:gd name="T27" fmla="*/ 90 h 124"/>
                  <a:gd name="T28" fmla="*/ 174 w 194"/>
                  <a:gd name="T29" fmla="*/ 90 h 124"/>
                  <a:gd name="T30" fmla="*/ 174 w 194"/>
                  <a:gd name="T31" fmla="*/ 104 h 124"/>
                  <a:gd name="T32" fmla="*/ 160 w 194"/>
                  <a:gd name="T33" fmla="*/ 110 h 124"/>
                  <a:gd name="T34" fmla="*/ 160 w 194"/>
                  <a:gd name="T35" fmla="*/ 124 h 124"/>
                  <a:gd name="T36" fmla="*/ 146 w 194"/>
                  <a:gd name="T37" fmla="*/ 116 h 124"/>
                  <a:gd name="T38" fmla="*/ 138 w 194"/>
                  <a:gd name="T39" fmla="*/ 124 h 124"/>
                  <a:gd name="T40" fmla="*/ 126 w 194"/>
                  <a:gd name="T41" fmla="*/ 116 h 124"/>
                  <a:gd name="T42" fmla="*/ 118 w 194"/>
                  <a:gd name="T43" fmla="*/ 104 h 124"/>
                  <a:gd name="T44" fmla="*/ 118 w 194"/>
                  <a:gd name="T45" fmla="*/ 96 h 124"/>
                  <a:gd name="T46" fmla="*/ 104 w 194"/>
                  <a:gd name="T47" fmla="*/ 90 h 124"/>
                  <a:gd name="T48" fmla="*/ 90 w 194"/>
                  <a:gd name="T49" fmla="*/ 90 h 124"/>
                  <a:gd name="T50" fmla="*/ 84 w 194"/>
                  <a:gd name="T51" fmla="*/ 82 h 124"/>
                  <a:gd name="T52" fmla="*/ 70 w 194"/>
                  <a:gd name="T53" fmla="*/ 82 h 124"/>
                  <a:gd name="T54" fmla="*/ 64 w 194"/>
                  <a:gd name="T55" fmla="*/ 68 h 124"/>
                  <a:gd name="T56" fmla="*/ 56 w 194"/>
                  <a:gd name="T57" fmla="*/ 62 h 124"/>
                  <a:gd name="T58" fmla="*/ 36 w 194"/>
                  <a:gd name="T59" fmla="*/ 54 h 124"/>
                  <a:gd name="T60" fmla="*/ 28 w 194"/>
                  <a:gd name="T61" fmla="*/ 48 h 124"/>
                  <a:gd name="T62" fmla="*/ 22 w 194"/>
                  <a:gd name="T63" fmla="*/ 48 h 124"/>
                  <a:gd name="T64" fmla="*/ 8 w 194"/>
                  <a:gd name="T65" fmla="*/ 40 h 124"/>
                  <a:gd name="T66" fmla="*/ 0 w 194"/>
                  <a:gd name="T67" fmla="*/ 34 h 124"/>
                  <a:gd name="T68" fmla="*/ 0 w 194"/>
                  <a:gd name="T69" fmla="*/ 28 h 124"/>
                  <a:gd name="T70" fmla="*/ 8 w 194"/>
                  <a:gd name="T71" fmla="*/ 20 h 124"/>
                  <a:gd name="T72" fmla="*/ 8 w 194"/>
                  <a:gd name="T73" fmla="*/ 6 h 124"/>
                  <a:gd name="T74" fmla="*/ 14 w 194"/>
                  <a:gd name="T75" fmla="*/ 6 h 124"/>
                  <a:gd name="T76" fmla="*/ 22 w 194"/>
                  <a:gd name="T77" fmla="*/ 0 h 124"/>
                  <a:gd name="T78" fmla="*/ 28 w 194"/>
                  <a:gd name="T79" fmla="*/ 6 h 124"/>
                  <a:gd name="T80" fmla="*/ 28 w 194"/>
                  <a:gd name="T81" fmla="*/ 14 h 124"/>
                  <a:gd name="T82" fmla="*/ 42 w 194"/>
                  <a:gd name="T83" fmla="*/ 6 h 124"/>
                  <a:gd name="T84" fmla="*/ 56 w 194"/>
                  <a:gd name="T85" fmla="*/ 6 h 124"/>
                  <a:gd name="T86" fmla="*/ 64 w 194"/>
                  <a:gd name="T87" fmla="*/ 14 h 124"/>
                  <a:gd name="T88" fmla="*/ 76 w 194"/>
                  <a:gd name="T89" fmla="*/ 20 h 124"/>
                  <a:gd name="T90" fmla="*/ 90 w 194"/>
                  <a:gd name="T91" fmla="*/ 28 h 124"/>
                  <a:gd name="T92" fmla="*/ 104 w 194"/>
                  <a:gd name="T93" fmla="*/ 28 h 124"/>
                  <a:gd name="T94" fmla="*/ 118 w 194"/>
                  <a:gd name="T95" fmla="*/ 20 h 124"/>
                  <a:gd name="T96" fmla="*/ 126 w 194"/>
                  <a:gd name="T97" fmla="*/ 20 h 124"/>
                  <a:gd name="T98" fmla="*/ 132 w 194"/>
                  <a:gd name="T99" fmla="*/ 20 h 124"/>
                  <a:gd name="T100" fmla="*/ 138 w 194"/>
                  <a:gd name="T101" fmla="*/ 20 h 124"/>
                  <a:gd name="T102" fmla="*/ 146 w 194"/>
                  <a:gd name="T103" fmla="*/ 14 h 124"/>
                  <a:gd name="T104" fmla="*/ 152 w 194"/>
                  <a:gd name="T105" fmla="*/ 14 h 124"/>
                  <a:gd name="T106" fmla="*/ 160 w 194"/>
                  <a:gd name="T107" fmla="*/ 20 h 124"/>
                  <a:gd name="T108" fmla="*/ 168 w 194"/>
                  <a:gd name="T109" fmla="*/ 14 h 124"/>
                  <a:gd name="T110" fmla="*/ 182 w 194"/>
                  <a:gd name="T111" fmla="*/ 14 h 124"/>
                  <a:gd name="T112" fmla="*/ 194 w 194"/>
                  <a:gd name="T113" fmla="*/ 6 h 124"/>
                  <a:gd name="T114" fmla="*/ 194 w 194"/>
                  <a:gd name="T115" fmla="*/ 6 h 124"/>
                  <a:gd name="T116" fmla="*/ 194 w 194"/>
                  <a:gd name="T117" fmla="*/ 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4" h="124">
                    <a:moveTo>
                      <a:pt x="194" y="6"/>
                    </a:moveTo>
                    <a:lnTo>
                      <a:pt x="194" y="14"/>
                    </a:lnTo>
                    <a:lnTo>
                      <a:pt x="194" y="20"/>
                    </a:lnTo>
                    <a:lnTo>
                      <a:pt x="188" y="34"/>
                    </a:lnTo>
                    <a:lnTo>
                      <a:pt x="182" y="34"/>
                    </a:lnTo>
                    <a:lnTo>
                      <a:pt x="174" y="40"/>
                    </a:lnTo>
                    <a:lnTo>
                      <a:pt x="174" y="48"/>
                    </a:lnTo>
                    <a:lnTo>
                      <a:pt x="174" y="54"/>
                    </a:lnTo>
                    <a:lnTo>
                      <a:pt x="174" y="62"/>
                    </a:lnTo>
                    <a:lnTo>
                      <a:pt x="168" y="68"/>
                    </a:lnTo>
                    <a:lnTo>
                      <a:pt x="168" y="74"/>
                    </a:lnTo>
                    <a:lnTo>
                      <a:pt x="168" y="82"/>
                    </a:lnTo>
                    <a:lnTo>
                      <a:pt x="174" y="82"/>
                    </a:lnTo>
                    <a:lnTo>
                      <a:pt x="168" y="90"/>
                    </a:lnTo>
                    <a:lnTo>
                      <a:pt x="174" y="90"/>
                    </a:lnTo>
                    <a:lnTo>
                      <a:pt x="174" y="104"/>
                    </a:lnTo>
                    <a:lnTo>
                      <a:pt x="160" y="110"/>
                    </a:lnTo>
                    <a:lnTo>
                      <a:pt x="160" y="124"/>
                    </a:lnTo>
                    <a:lnTo>
                      <a:pt x="146" y="116"/>
                    </a:lnTo>
                    <a:lnTo>
                      <a:pt x="138" y="124"/>
                    </a:lnTo>
                    <a:lnTo>
                      <a:pt x="126" y="116"/>
                    </a:lnTo>
                    <a:lnTo>
                      <a:pt x="118" y="104"/>
                    </a:lnTo>
                    <a:lnTo>
                      <a:pt x="118" y="96"/>
                    </a:lnTo>
                    <a:lnTo>
                      <a:pt x="104" y="90"/>
                    </a:lnTo>
                    <a:lnTo>
                      <a:pt x="90" y="90"/>
                    </a:lnTo>
                    <a:lnTo>
                      <a:pt x="84" y="82"/>
                    </a:lnTo>
                    <a:lnTo>
                      <a:pt x="70" y="82"/>
                    </a:lnTo>
                    <a:lnTo>
                      <a:pt x="64" y="68"/>
                    </a:lnTo>
                    <a:lnTo>
                      <a:pt x="56" y="62"/>
                    </a:lnTo>
                    <a:lnTo>
                      <a:pt x="36" y="54"/>
                    </a:lnTo>
                    <a:lnTo>
                      <a:pt x="28" y="48"/>
                    </a:lnTo>
                    <a:lnTo>
                      <a:pt x="22" y="48"/>
                    </a:lnTo>
                    <a:lnTo>
                      <a:pt x="8" y="40"/>
                    </a:lnTo>
                    <a:lnTo>
                      <a:pt x="0" y="34"/>
                    </a:lnTo>
                    <a:lnTo>
                      <a:pt x="0" y="28"/>
                    </a:lnTo>
                    <a:lnTo>
                      <a:pt x="8" y="20"/>
                    </a:lnTo>
                    <a:lnTo>
                      <a:pt x="8" y="6"/>
                    </a:lnTo>
                    <a:lnTo>
                      <a:pt x="14" y="6"/>
                    </a:lnTo>
                    <a:lnTo>
                      <a:pt x="22" y="0"/>
                    </a:lnTo>
                    <a:lnTo>
                      <a:pt x="28" y="6"/>
                    </a:lnTo>
                    <a:lnTo>
                      <a:pt x="28" y="14"/>
                    </a:lnTo>
                    <a:lnTo>
                      <a:pt x="42" y="6"/>
                    </a:lnTo>
                    <a:lnTo>
                      <a:pt x="56" y="6"/>
                    </a:lnTo>
                    <a:lnTo>
                      <a:pt x="64" y="14"/>
                    </a:lnTo>
                    <a:lnTo>
                      <a:pt x="76" y="20"/>
                    </a:lnTo>
                    <a:lnTo>
                      <a:pt x="90" y="28"/>
                    </a:lnTo>
                    <a:lnTo>
                      <a:pt x="104" y="28"/>
                    </a:lnTo>
                    <a:lnTo>
                      <a:pt x="118" y="20"/>
                    </a:lnTo>
                    <a:lnTo>
                      <a:pt x="126" y="20"/>
                    </a:lnTo>
                    <a:lnTo>
                      <a:pt x="132" y="20"/>
                    </a:lnTo>
                    <a:lnTo>
                      <a:pt x="138" y="20"/>
                    </a:lnTo>
                    <a:lnTo>
                      <a:pt x="146" y="14"/>
                    </a:lnTo>
                    <a:lnTo>
                      <a:pt x="152" y="14"/>
                    </a:lnTo>
                    <a:lnTo>
                      <a:pt x="160" y="20"/>
                    </a:lnTo>
                    <a:lnTo>
                      <a:pt x="168" y="14"/>
                    </a:lnTo>
                    <a:lnTo>
                      <a:pt x="182" y="14"/>
                    </a:lnTo>
                    <a:lnTo>
                      <a:pt x="194" y="6"/>
                    </a:lnTo>
                    <a:lnTo>
                      <a:pt x="194" y="6"/>
                    </a:lnTo>
                    <a:lnTo>
                      <a:pt x="194" y="6"/>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9" name="Freeform 33"/>
              <p:cNvSpPr>
                <a:spLocks/>
              </p:cNvSpPr>
              <p:nvPr/>
            </p:nvSpPr>
            <p:spPr bwMode="gray">
              <a:xfrm>
                <a:off x="3521889" y="2625406"/>
                <a:ext cx="31757" cy="19054"/>
              </a:xfrm>
              <a:custGeom>
                <a:avLst/>
                <a:gdLst>
                  <a:gd name="T0" fmla="*/ 14 w 20"/>
                  <a:gd name="T1" fmla="*/ 12 h 12"/>
                  <a:gd name="T2" fmla="*/ 8 w 20"/>
                  <a:gd name="T3" fmla="*/ 12 h 12"/>
                  <a:gd name="T4" fmla="*/ 0 w 20"/>
                  <a:gd name="T5" fmla="*/ 12 h 12"/>
                  <a:gd name="T6" fmla="*/ 0 w 20"/>
                  <a:gd name="T7" fmla="*/ 0 h 12"/>
                  <a:gd name="T8" fmla="*/ 8 w 20"/>
                  <a:gd name="T9" fmla="*/ 0 h 12"/>
                  <a:gd name="T10" fmla="*/ 14 w 20"/>
                  <a:gd name="T11" fmla="*/ 0 h 12"/>
                  <a:gd name="T12" fmla="*/ 20 w 20"/>
                  <a:gd name="T13" fmla="*/ 6 h 12"/>
                  <a:gd name="T14" fmla="*/ 14 w 20"/>
                  <a:gd name="T15" fmla="*/ 12 h 12"/>
                  <a:gd name="T16" fmla="*/ 14 w 20"/>
                  <a:gd name="T17" fmla="*/ 12 h 12"/>
                  <a:gd name="T18" fmla="*/ 14 w 20"/>
                  <a:gd name="T1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2">
                    <a:moveTo>
                      <a:pt x="14" y="12"/>
                    </a:moveTo>
                    <a:lnTo>
                      <a:pt x="8" y="12"/>
                    </a:lnTo>
                    <a:lnTo>
                      <a:pt x="0" y="12"/>
                    </a:lnTo>
                    <a:lnTo>
                      <a:pt x="0" y="0"/>
                    </a:lnTo>
                    <a:lnTo>
                      <a:pt x="8" y="0"/>
                    </a:lnTo>
                    <a:lnTo>
                      <a:pt x="14" y="0"/>
                    </a:lnTo>
                    <a:lnTo>
                      <a:pt x="20" y="6"/>
                    </a:lnTo>
                    <a:lnTo>
                      <a:pt x="14" y="12"/>
                    </a:lnTo>
                    <a:lnTo>
                      <a:pt x="14" y="12"/>
                    </a:lnTo>
                    <a:lnTo>
                      <a:pt x="14" y="12"/>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0" name="Freeform 34"/>
              <p:cNvSpPr>
                <a:spLocks/>
              </p:cNvSpPr>
              <p:nvPr/>
            </p:nvSpPr>
            <p:spPr bwMode="gray">
              <a:xfrm>
                <a:off x="3636215" y="2996963"/>
                <a:ext cx="34933" cy="9527"/>
              </a:xfrm>
              <a:custGeom>
                <a:avLst/>
                <a:gdLst>
                  <a:gd name="T0" fmla="*/ 14 w 22"/>
                  <a:gd name="T1" fmla="*/ 0 h 6"/>
                  <a:gd name="T2" fmla="*/ 0 w 22"/>
                  <a:gd name="T3" fmla="*/ 0 h 6"/>
                  <a:gd name="T4" fmla="*/ 8 w 22"/>
                  <a:gd name="T5" fmla="*/ 6 h 6"/>
                  <a:gd name="T6" fmla="*/ 14 w 22"/>
                  <a:gd name="T7" fmla="*/ 6 h 6"/>
                  <a:gd name="T8" fmla="*/ 22 w 22"/>
                  <a:gd name="T9" fmla="*/ 6 h 6"/>
                  <a:gd name="T10" fmla="*/ 22 w 22"/>
                  <a:gd name="T11" fmla="*/ 0 h 6"/>
                  <a:gd name="T12" fmla="*/ 14 w 22"/>
                  <a:gd name="T13" fmla="*/ 0 h 6"/>
                  <a:gd name="T14" fmla="*/ 14 w 22"/>
                  <a:gd name="T15" fmla="*/ 0 h 6"/>
                  <a:gd name="T16" fmla="*/ 14 w 22"/>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
                    <a:moveTo>
                      <a:pt x="14" y="0"/>
                    </a:moveTo>
                    <a:lnTo>
                      <a:pt x="0" y="0"/>
                    </a:lnTo>
                    <a:lnTo>
                      <a:pt x="8" y="6"/>
                    </a:lnTo>
                    <a:lnTo>
                      <a:pt x="14" y="6"/>
                    </a:lnTo>
                    <a:lnTo>
                      <a:pt x="22" y="6"/>
                    </a:lnTo>
                    <a:lnTo>
                      <a:pt x="22" y="0"/>
                    </a:lnTo>
                    <a:lnTo>
                      <a:pt x="14" y="0"/>
                    </a:lnTo>
                    <a:lnTo>
                      <a:pt x="14" y="0"/>
                    </a:lnTo>
                    <a:lnTo>
                      <a:pt x="14" y="0"/>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1" name="Freeform 35"/>
              <p:cNvSpPr>
                <a:spLocks/>
              </p:cNvSpPr>
              <p:nvPr/>
            </p:nvSpPr>
            <p:spPr bwMode="gray">
              <a:xfrm>
                <a:off x="3842635" y="1999792"/>
                <a:ext cx="19054" cy="34933"/>
              </a:xfrm>
              <a:custGeom>
                <a:avLst/>
                <a:gdLst>
                  <a:gd name="T0" fmla="*/ 12 w 12"/>
                  <a:gd name="T1" fmla="*/ 22 h 22"/>
                  <a:gd name="T2" fmla="*/ 6 w 12"/>
                  <a:gd name="T3" fmla="*/ 14 h 22"/>
                  <a:gd name="T4" fmla="*/ 0 w 12"/>
                  <a:gd name="T5" fmla="*/ 8 h 22"/>
                  <a:gd name="T6" fmla="*/ 6 w 12"/>
                  <a:gd name="T7" fmla="*/ 8 h 22"/>
                  <a:gd name="T8" fmla="*/ 12 w 12"/>
                  <a:gd name="T9" fmla="*/ 0 h 22"/>
                  <a:gd name="T10" fmla="*/ 12 w 12"/>
                  <a:gd name="T11" fmla="*/ 8 h 22"/>
                  <a:gd name="T12" fmla="*/ 12 w 12"/>
                  <a:gd name="T13" fmla="*/ 14 h 22"/>
                  <a:gd name="T14" fmla="*/ 12 w 12"/>
                  <a:gd name="T15" fmla="*/ 22 h 22"/>
                  <a:gd name="T16" fmla="*/ 12 w 12"/>
                  <a:gd name="T17" fmla="*/ 22 h 22"/>
                  <a:gd name="T18" fmla="*/ 12 w 12"/>
                  <a:gd name="T1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22">
                    <a:moveTo>
                      <a:pt x="12" y="22"/>
                    </a:moveTo>
                    <a:lnTo>
                      <a:pt x="6" y="14"/>
                    </a:lnTo>
                    <a:lnTo>
                      <a:pt x="0" y="8"/>
                    </a:lnTo>
                    <a:lnTo>
                      <a:pt x="6" y="8"/>
                    </a:lnTo>
                    <a:lnTo>
                      <a:pt x="12" y="0"/>
                    </a:lnTo>
                    <a:lnTo>
                      <a:pt x="12" y="8"/>
                    </a:lnTo>
                    <a:lnTo>
                      <a:pt x="12" y="14"/>
                    </a:lnTo>
                    <a:lnTo>
                      <a:pt x="12" y="22"/>
                    </a:lnTo>
                    <a:lnTo>
                      <a:pt x="12" y="22"/>
                    </a:lnTo>
                    <a:lnTo>
                      <a:pt x="12" y="22"/>
                    </a:lnTo>
                    <a:close/>
                  </a:path>
                </a:pathLst>
              </a:custGeom>
              <a:solidFill>
                <a:schemeClr val="accent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2" name="Freeform 36"/>
              <p:cNvSpPr>
                <a:spLocks/>
              </p:cNvSpPr>
              <p:nvPr/>
            </p:nvSpPr>
            <p:spPr bwMode="gray">
              <a:xfrm>
                <a:off x="3996657" y="1869589"/>
                <a:ext cx="34933" cy="85744"/>
              </a:xfrm>
              <a:custGeom>
                <a:avLst/>
                <a:gdLst>
                  <a:gd name="T0" fmla="*/ 0 w 22"/>
                  <a:gd name="T1" fmla="*/ 54 h 54"/>
                  <a:gd name="T2" fmla="*/ 8 w 22"/>
                  <a:gd name="T3" fmla="*/ 48 h 54"/>
                  <a:gd name="T4" fmla="*/ 8 w 22"/>
                  <a:gd name="T5" fmla="*/ 42 h 54"/>
                  <a:gd name="T6" fmla="*/ 0 w 22"/>
                  <a:gd name="T7" fmla="*/ 34 h 54"/>
                  <a:gd name="T8" fmla="*/ 0 w 22"/>
                  <a:gd name="T9" fmla="*/ 28 h 54"/>
                  <a:gd name="T10" fmla="*/ 14 w 22"/>
                  <a:gd name="T11" fmla="*/ 28 h 54"/>
                  <a:gd name="T12" fmla="*/ 14 w 22"/>
                  <a:gd name="T13" fmla="*/ 20 h 54"/>
                  <a:gd name="T14" fmla="*/ 22 w 22"/>
                  <a:gd name="T15" fmla="*/ 0 h 54"/>
                  <a:gd name="T16" fmla="*/ 22 w 22"/>
                  <a:gd name="T17" fmla="*/ 14 h 54"/>
                  <a:gd name="T18" fmla="*/ 22 w 22"/>
                  <a:gd name="T19" fmla="*/ 20 h 54"/>
                  <a:gd name="T20" fmla="*/ 22 w 22"/>
                  <a:gd name="T21" fmla="*/ 28 h 54"/>
                  <a:gd name="T22" fmla="*/ 22 w 22"/>
                  <a:gd name="T23" fmla="*/ 34 h 54"/>
                  <a:gd name="T24" fmla="*/ 14 w 22"/>
                  <a:gd name="T25" fmla="*/ 42 h 54"/>
                  <a:gd name="T26" fmla="*/ 14 w 22"/>
                  <a:gd name="T27" fmla="*/ 48 h 54"/>
                  <a:gd name="T28" fmla="*/ 0 w 22"/>
                  <a:gd name="T29" fmla="*/ 54 h 54"/>
                  <a:gd name="T30" fmla="*/ 0 w 22"/>
                  <a:gd name="T31" fmla="*/ 54 h 54"/>
                  <a:gd name="T32" fmla="*/ 0 w 22"/>
                  <a:gd name="T3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54">
                    <a:moveTo>
                      <a:pt x="0" y="54"/>
                    </a:moveTo>
                    <a:lnTo>
                      <a:pt x="8" y="48"/>
                    </a:lnTo>
                    <a:lnTo>
                      <a:pt x="8" y="42"/>
                    </a:lnTo>
                    <a:lnTo>
                      <a:pt x="0" y="34"/>
                    </a:lnTo>
                    <a:lnTo>
                      <a:pt x="0" y="28"/>
                    </a:lnTo>
                    <a:lnTo>
                      <a:pt x="14" y="28"/>
                    </a:lnTo>
                    <a:lnTo>
                      <a:pt x="14" y="20"/>
                    </a:lnTo>
                    <a:lnTo>
                      <a:pt x="22" y="0"/>
                    </a:lnTo>
                    <a:lnTo>
                      <a:pt x="22" y="14"/>
                    </a:lnTo>
                    <a:lnTo>
                      <a:pt x="22" y="20"/>
                    </a:lnTo>
                    <a:lnTo>
                      <a:pt x="22" y="28"/>
                    </a:lnTo>
                    <a:lnTo>
                      <a:pt x="22" y="34"/>
                    </a:lnTo>
                    <a:lnTo>
                      <a:pt x="14" y="42"/>
                    </a:lnTo>
                    <a:lnTo>
                      <a:pt x="14" y="48"/>
                    </a:lnTo>
                    <a:lnTo>
                      <a:pt x="0" y="54"/>
                    </a:lnTo>
                    <a:lnTo>
                      <a:pt x="0" y="54"/>
                    </a:lnTo>
                    <a:lnTo>
                      <a:pt x="0" y="54"/>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3" name="Freeform 37"/>
              <p:cNvSpPr>
                <a:spLocks/>
              </p:cNvSpPr>
              <p:nvPr/>
            </p:nvSpPr>
            <p:spPr bwMode="gray">
              <a:xfrm>
                <a:off x="3566349" y="2012495"/>
                <a:ext cx="76217" cy="76217"/>
              </a:xfrm>
              <a:custGeom>
                <a:avLst/>
                <a:gdLst>
                  <a:gd name="T0" fmla="*/ 0 w 48"/>
                  <a:gd name="T1" fmla="*/ 48 h 48"/>
                  <a:gd name="T2" fmla="*/ 6 w 48"/>
                  <a:gd name="T3" fmla="*/ 34 h 48"/>
                  <a:gd name="T4" fmla="*/ 14 w 48"/>
                  <a:gd name="T5" fmla="*/ 28 h 48"/>
                  <a:gd name="T6" fmla="*/ 20 w 48"/>
                  <a:gd name="T7" fmla="*/ 34 h 48"/>
                  <a:gd name="T8" fmla="*/ 20 w 48"/>
                  <a:gd name="T9" fmla="*/ 42 h 48"/>
                  <a:gd name="T10" fmla="*/ 28 w 48"/>
                  <a:gd name="T11" fmla="*/ 34 h 48"/>
                  <a:gd name="T12" fmla="*/ 28 w 48"/>
                  <a:gd name="T13" fmla="*/ 28 h 48"/>
                  <a:gd name="T14" fmla="*/ 34 w 48"/>
                  <a:gd name="T15" fmla="*/ 20 h 48"/>
                  <a:gd name="T16" fmla="*/ 42 w 48"/>
                  <a:gd name="T17" fmla="*/ 20 h 48"/>
                  <a:gd name="T18" fmla="*/ 42 w 48"/>
                  <a:gd name="T19" fmla="*/ 14 h 48"/>
                  <a:gd name="T20" fmla="*/ 48 w 48"/>
                  <a:gd name="T21" fmla="*/ 6 h 48"/>
                  <a:gd name="T22" fmla="*/ 48 w 48"/>
                  <a:gd name="T23" fmla="*/ 0 h 48"/>
                  <a:gd name="T24" fmla="*/ 42 w 48"/>
                  <a:gd name="T25" fmla="*/ 6 h 48"/>
                  <a:gd name="T26" fmla="*/ 34 w 48"/>
                  <a:gd name="T27" fmla="*/ 6 h 48"/>
                  <a:gd name="T28" fmla="*/ 20 w 48"/>
                  <a:gd name="T29" fmla="*/ 6 h 48"/>
                  <a:gd name="T30" fmla="*/ 20 w 48"/>
                  <a:gd name="T31" fmla="*/ 20 h 48"/>
                  <a:gd name="T32" fmla="*/ 14 w 48"/>
                  <a:gd name="T33" fmla="*/ 14 h 48"/>
                  <a:gd name="T34" fmla="*/ 14 w 48"/>
                  <a:gd name="T35" fmla="*/ 6 h 48"/>
                  <a:gd name="T36" fmla="*/ 6 w 48"/>
                  <a:gd name="T37" fmla="*/ 14 h 48"/>
                  <a:gd name="T38" fmla="*/ 6 w 48"/>
                  <a:gd name="T39" fmla="*/ 20 h 48"/>
                  <a:gd name="T40" fmla="*/ 0 w 48"/>
                  <a:gd name="T41" fmla="*/ 34 h 48"/>
                  <a:gd name="T42" fmla="*/ 0 w 48"/>
                  <a:gd name="T43" fmla="*/ 42 h 48"/>
                  <a:gd name="T44" fmla="*/ 0 w 48"/>
                  <a:gd name="T45" fmla="*/ 48 h 48"/>
                  <a:gd name="T46" fmla="*/ 0 w 48"/>
                  <a:gd name="T47" fmla="*/ 48 h 48"/>
                  <a:gd name="T48" fmla="*/ 0 w 48"/>
                  <a:gd name="T4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 h="48">
                    <a:moveTo>
                      <a:pt x="0" y="48"/>
                    </a:moveTo>
                    <a:lnTo>
                      <a:pt x="6" y="34"/>
                    </a:lnTo>
                    <a:lnTo>
                      <a:pt x="14" y="28"/>
                    </a:lnTo>
                    <a:lnTo>
                      <a:pt x="20" y="34"/>
                    </a:lnTo>
                    <a:lnTo>
                      <a:pt x="20" y="42"/>
                    </a:lnTo>
                    <a:lnTo>
                      <a:pt x="28" y="34"/>
                    </a:lnTo>
                    <a:lnTo>
                      <a:pt x="28" y="28"/>
                    </a:lnTo>
                    <a:lnTo>
                      <a:pt x="34" y="20"/>
                    </a:lnTo>
                    <a:lnTo>
                      <a:pt x="42" y="20"/>
                    </a:lnTo>
                    <a:lnTo>
                      <a:pt x="42" y="14"/>
                    </a:lnTo>
                    <a:lnTo>
                      <a:pt x="48" y="6"/>
                    </a:lnTo>
                    <a:lnTo>
                      <a:pt x="48" y="0"/>
                    </a:lnTo>
                    <a:lnTo>
                      <a:pt x="42" y="6"/>
                    </a:lnTo>
                    <a:lnTo>
                      <a:pt x="34" y="6"/>
                    </a:lnTo>
                    <a:lnTo>
                      <a:pt x="20" y="6"/>
                    </a:lnTo>
                    <a:lnTo>
                      <a:pt x="20" y="20"/>
                    </a:lnTo>
                    <a:lnTo>
                      <a:pt x="14" y="14"/>
                    </a:lnTo>
                    <a:lnTo>
                      <a:pt x="14" y="6"/>
                    </a:lnTo>
                    <a:lnTo>
                      <a:pt x="6" y="14"/>
                    </a:lnTo>
                    <a:lnTo>
                      <a:pt x="6" y="20"/>
                    </a:lnTo>
                    <a:lnTo>
                      <a:pt x="0" y="34"/>
                    </a:lnTo>
                    <a:lnTo>
                      <a:pt x="0" y="42"/>
                    </a:lnTo>
                    <a:lnTo>
                      <a:pt x="0" y="48"/>
                    </a:lnTo>
                    <a:lnTo>
                      <a:pt x="0" y="48"/>
                    </a:lnTo>
                    <a:lnTo>
                      <a:pt x="0" y="48"/>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4" name="Freeform 38"/>
              <p:cNvSpPr>
                <a:spLocks/>
              </p:cNvSpPr>
              <p:nvPr/>
            </p:nvSpPr>
            <p:spPr bwMode="gray">
              <a:xfrm>
                <a:off x="3553646" y="2514257"/>
                <a:ext cx="34933" cy="31757"/>
              </a:xfrm>
              <a:custGeom>
                <a:avLst/>
                <a:gdLst>
                  <a:gd name="T0" fmla="*/ 0 w 22"/>
                  <a:gd name="T1" fmla="*/ 14 h 20"/>
                  <a:gd name="T2" fmla="*/ 6 w 22"/>
                  <a:gd name="T3" fmla="*/ 6 h 20"/>
                  <a:gd name="T4" fmla="*/ 14 w 22"/>
                  <a:gd name="T5" fmla="*/ 0 h 20"/>
                  <a:gd name="T6" fmla="*/ 22 w 22"/>
                  <a:gd name="T7" fmla="*/ 6 h 20"/>
                  <a:gd name="T8" fmla="*/ 22 w 22"/>
                  <a:gd name="T9" fmla="*/ 14 h 20"/>
                  <a:gd name="T10" fmla="*/ 6 w 22"/>
                  <a:gd name="T11" fmla="*/ 20 h 20"/>
                  <a:gd name="T12" fmla="*/ 0 w 22"/>
                  <a:gd name="T13" fmla="*/ 14 h 20"/>
                  <a:gd name="T14" fmla="*/ 0 w 22"/>
                  <a:gd name="T15" fmla="*/ 14 h 20"/>
                  <a:gd name="T16" fmla="*/ 0 w 22"/>
                  <a:gd name="T17"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0">
                    <a:moveTo>
                      <a:pt x="0" y="14"/>
                    </a:moveTo>
                    <a:lnTo>
                      <a:pt x="6" y="6"/>
                    </a:lnTo>
                    <a:lnTo>
                      <a:pt x="14" y="0"/>
                    </a:lnTo>
                    <a:lnTo>
                      <a:pt x="22" y="6"/>
                    </a:lnTo>
                    <a:lnTo>
                      <a:pt x="22" y="14"/>
                    </a:lnTo>
                    <a:lnTo>
                      <a:pt x="6" y="20"/>
                    </a:lnTo>
                    <a:lnTo>
                      <a:pt x="0" y="14"/>
                    </a:lnTo>
                    <a:lnTo>
                      <a:pt x="0" y="14"/>
                    </a:lnTo>
                    <a:lnTo>
                      <a:pt x="0" y="14"/>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5" name="Freeform 39"/>
              <p:cNvSpPr>
                <a:spLocks/>
              </p:cNvSpPr>
              <p:nvPr/>
            </p:nvSpPr>
            <p:spPr bwMode="gray">
              <a:xfrm>
                <a:off x="3579052" y="2110942"/>
                <a:ext cx="41284" cy="66690"/>
              </a:xfrm>
              <a:custGeom>
                <a:avLst/>
                <a:gdLst>
                  <a:gd name="T0" fmla="*/ 20 w 26"/>
                  <a:gd name="T1" fmla="*/ 28 h 42"/>
                  <a:gd name="T2" fmla="*/ 20 w 26"/>
                  <a:gd name="T3" fmla="*/ 22 h 42"/>
                  <a:gd name="T4" fmla="*/ 20 w 26"/>
                  <a:gd name="T5" fmla="*/ 14 h 42"/>
                  <a:gd name="T6" fmla="*/ 26 w 26"/>
                  <a:gd name="T7" fmla="*/ 8 h 42"/>
                  <a:gd name="T8" fmla="*/ 26 w 26"/>
                  <a:gd name="T9" fmla="*/ 0 h 42"/>
                  <a:gd name="T10" fmla="*/ 20 w 26"/>
                  <a:gd name="T11" fmla="*/ 8 h 42"/>
                  <a:gd name="T12" fmla="*/ 12 w 26"/>
                  <a:gd name="T13" fmla="*/ 14 h 42"/>
                  <a:gd name="T14" fmla="*/ 12 w 26"/>
                  <a:gd name="T15" fmla="*/ 8 h 42"/>
                  <a:gd name="T16" fmla="*/ 12 w 26"/>
                  <a:gd name="T17" fmla="*/ 0 h 42"/>
                  <a:gd name="T18" fmla="*/ 0 w 26"/>
                  <a:gd name="T19" fmla="*/ 8 h 42"/>
                  <a:gd name="T20" fmla="*/ 0 w 26"/>
                  <a:gd name="T21" fmla="*/ 14 h 42"/>
                  <a:gd name="T22" fmla="*/ 0 w 26"/>
                  <a:gd name="T23" fmla="*/ 22 h 42"/>
                  <a:gd name="T24" fmla="*/ 12 w 26"/>
                  <a:gd name="T25" fmla="*/ 14 h 42"/>
                  <a:gd name="T26" fmla="*/ 6 w 26"/>
                  <a:gd name="T27" fmla="*/ 28 h 42"/>
                  <a:gd name="T28" fmla="*/ 12 w 26"/>
                  <a:gd name="T29" fmla="*/ 34 h 42"/>
                  <a:gd name="T30" fmla="*/ 12 w 26"/>
                  <a:gd name="T31" fmla="*/ 42 h 42"/>
                  <a:gd name="T32" fmla="*/ 20 w 26"/>
                  <a:gd name="T33" fmla="*/ 28 h 42"/>
                  <a:gd name="T34" fmla="*/ 20 w 26"/>
                  <a:gd name="T35" fmla="*/ 28 h 42"/>
                  <a:gd name="T36" fmla="*/ 20 w 26"/>
                  <a:gd name="T37" fmla="*/ 2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2">
                    <a:moveTo>
                      <a:pt x="20" y="28"/>
                    </a:moveTo>
                    <a:lnTo>
                      <a:pt x="20" y="22"/>
                    </a:lnTo>
                    <a:lnTo>
                      <a:pt x="20" y="14"/>
                    </a:lnTo>
                    <a:lnTo>
                      <a:pt x="26" y="8"/>
                    </a:lnTo>
                    <a:lnTo>
                      <a:pt x="26" y="0"/>
                    </a:lnTo>
                    <a:lnTo>
                      <a:pt x="20" y="8"/>
                    </a:lnTo>
                    <a:lnTo>
                      <a:pt x="12" y="14"/>
                    </a:lnTo>
                    <a:lnTo>
                      <a:pt x="12" y="8"/>
                    </a:lnTo>
                    <a:lnTo>
                      <a:pt x="12" y="0"/>
                    </a:lnTo>
                    <a:lnTo>
                      <a:pt x="0" y="8"/>
                    </a:lnTo>
                    <a:lnTo>
                      <a:pt x="0" y="14"/>
                    </a:lnTo>
                    <a:lnTo>
                      <a:pt x="0" y="22"/>
                    </a:lnTo>
                    <a:lnTo>
                      <a:pt x="12" y="14"/>
                    </a:lnTo>
                    <a:lnTo>
                      <a:pt x="6" y="28"/>
                    </a:lnTo>
                    <a:lnTo>
                      <a:pt x="12" y="34"/>
                    </a:lnTo>
                    <a:lnTo>
                      <a:pt x="12" y="42"/>
                    </a:lnTo>
                    <a:lnTo>
                      <a:pt x="20" y="28"/>
                    </a:lnTo>
                    <a:lnTo>
                      <a:pt x="20" y="28"/>
                    </a:lnTo>
                    <a:lnTo>
                      <a:pt x="20" y="28"/>
                    </a:lnTo>
                    <a:close/>
                  </a:path>
                </a:pathLst>
              </a:custGeom>
              <a:solidFill>
                <a:schemeClr val="accent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6" name="Freeform 40"/>
              <p:cNvSpPr>
                <a:spLocks/>
              </p:cNvSpPr>
              <p:nvPr/>
            </p:nvSpPr>
            <p:spPr bwMode="gray">
              <a:xfrm>
                <a:off x="3566349" y="2231619"/>
                <a:ext cx="22230" cy="31757"/>
              </a:xfrm>
              <a:custGeom>
                <a:avLst/>
                <a:gdLst>
                  <a:gd name="T0" fmla="*/ 6 w 14"/>
                  <a:gd name="T1" fmla="*/ 20 h 20"/>
                  <a:gd name="T2" fmla="*/ 6 w 14"/>
                  <a:gd name="T3" fmla="*/ 14 h 20"/>
                  <a:gd name="T4" fmla="*/ 0 w 14"/>
                  <a:gd name="T5" fmla="*/ 14 h 20"/>
                  <a:gd name="T6" fmla="*/ 6 w 14"/>
                  <a:gd name="T7" fmla="*/ 6 h 20"/>
                  <a:gd name="T8" fmla="*/ 6 w 14"/>
                  <a:gd name="T9" fmla="*/ 0 h 20"/>
                  <a:gd name="T10" fmla="*/ 0 w 14"/>
                  <a:gd name="T11" fmla="*/ 0 h 20"/>
                  <a:gd name="T12" fmla="*/ 14 w 14"/>
                  <a:gd name="T13" fmla="*/ 6 h 20"/>
                  <a:gd name="T14" fmla="*/ 14 w 14"/>
                  <a:gd name="T15" fmla="*/ 14 h 20"/>
                  <a:gd name="T16" fmla="*/ 6 w 14"/>
                  <a:gd name="T17" fmla="*/ 14 h 20"/>
                  <a:gd name="T18" fmla="*/ 6 w 14"/>
                  <a:gd name="T19" fmla="*/ 20 h 20"/>
                  <a:gd name="T20" fmla="*/ 6 w 14"/>
                  <a:gd name="T21" fmla="*/ 20 h 20"/>
                  <a:gd name="T22" fmla="*/ 6 w 14"/>
                  <a:gd name="T2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6" y="20"/>
                    </a:moveTo>
                    <a:lnTo>
                      <a:pt x="6" y="14"/>
                    </a:lnTo>
                    <a:lnTo>
                      <a:pt x="0" y="14"/>
                    </a:lnTo>
                    <a:lnTo>
                      <a:pt x="6" y="6"/>
                    </a:lnTo>
                    <a:lnTo>
                      <a:pt x="6" y="0"/>
                    </a:lnTo>
                    <a:lnTo>
                      <a:pt x="0" y="0"/>
                    </a:lnTo>
                    <a:lnTo>
                      <a:pt x="14" y="6"/>
                    </a:lnTo>
                    <a:lnTo>
                      <a:pt x="14" y="14"/>
                    </a:lnTo>
                    <a:lnTo>
                      <a:pt x="6" y="14"/>
                    </a:lnTo>
                    <a:lnTo>
                      <a:pt x="6" y="20"/>
                    </a:lnTo>
                    <a:lnTo>
                      <a:pt x="6" y="20"/>
                    </a:lnTo>
                    <a:lnTo>
                      <a:pt x="6" y="20"/>
                    </a:lnTo>
                    <a:close/>
                  </a:path>
                </a:pathLst>
              </a:custGeom>
              <a:solidFill>
                <a:schemeClr val="accent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7" name="Freeform 41"/>
              <p:cNvSpPr>
                <a:spLocks/>
              </p:cNvSpPr>
              <p:nvPr/>
            </p:nvSpPr>
            <p:spPr bwMode="gray">
              <a:xfrm>
                <a:off x="3309117" y="2409458"/>
                <a:ext cx="639905" cy="612911"/>
              </a:xfrm>
              <a:custGeom>
                <a:avLst/>
                <a:gdLst>
                  <a:gd name="T0" fmla="*/ 36 w 403"/>
                  <a:gd name="T1" fmla="*/ 330 h 386"/>
                  <a:gd name="T2" fmla="*/ 76 w 403"/>
                  <a:gd name="T3" fmla="*/ 302 h 386"/>
                  <a:gd name="T4" fmla="*/ 92 w 403"/>
                  <a:gd name="T5" fmla="*/ 296 h 386"/>
                  <a:gd name="T6" fmla="*/ 112 w 403"/>
                  <a:gd name="T7" fmla="*/ 302 h 386"/>
                  <a:gd name="T8" fmla="*/ 140 w 403"/>
                  <a:gd name="T9" fmla="*/ 310 h 386"/>
                  <a:gd name="T10" fmla="*/ 166 w 403"/>
                  <a:gd name="T11" fmla="*/ 296 h 386"/>
                  <a:gd name="T12" fmla="*/ 194 w 403"/>
                  <a:gd name="T13" fmla="*/ 282 h 386"/>
                  <a:gd name="T14" fmla="*/ 180 w 403"/>
                  <a:gd name="T15" fmla="*/ 276 h 386"/>
                  <a:gd name="T16" fmla="*/ 174 w 403"/>
                  <a:gd name="T17" fmla="*/ 248 h 386"/>
                  <a:gd name="T18" fmla="*/ 188 w 403"/>
                  <a:gd name="T19" fmla="*/ 228 h 386"/>
                  <a:gd name="T20" fmla="*/ 202 w 403"/>
                  <a:gd name="T21" fmla="*/ 200 h 386"/>
                  <a:gd name="T22" fmla="*/ 202 w 403"/>
                  <a:gd name="T23" fmla="*/ 172 h 386"/>
                  <a:gd name="T24" fmla="*/ 222 w 403"/>
                  <a:gd name="T25" fmla="*/ 164 h 386"/>
                  <a:gd name="T26" fmla="*/ 208 w 403"/>
                  <a:gd name="T27" fmla="*/ 152 h 386"/>
                  <a:gd name="T28" fmla="*/ 222 w 403"/>
                  <a:gd name="T29" fmla="*/ 130 h 386"/>
                  <a:gd name="T30" fmla="*/ 242 w 403"/>
                  <a:gd name="T31" fmla="*/ 116 h 386"/>
                  <a:gd name="T32" fmla="*/ 216 w 403"/>
                  <a:gd name="T33" fmla="*/ 110 h 386"/>
                  <a:gd name="T34" fmla="*/ 216 w 403"/>
                  <a:gd name="T35" fmla="*/ 82 h 386"/>
                  <a:gd name="T36" fmla="*/ 230 w 403"/>
                  <a:gd name="T37" fmla="*/ 48 h 386"/>
                  <a:gd name="T38" fmla="*/ 250 w 403"/>
                  <a:gd name="T39" fmla="*/ 40 h 386"/>
                  <a:gd name="T40" fmla="*/ 270 w 403"/>
                  <a:gd name="T41" fmla="*/ 34 h 386"/>
                  <a:gd name="T42" fmla="*/ 284 w 403"/>
                  <a:gd name="T43" fmla="*/ 20 h 386"/>
                  <a:gd name="T44" fmla="*/ 298 w 403"/>
                  <a:gd name="T45" fmla="*/ 14 h 386"/>
                  <a:gd name="T46" fmla="*/ 326 w 403"/>
                  <a:gd name="T47" fmla="*/ 20 h 386"/>
                  <a:gd name="T48" fmla="*/ 326 w 403"/>
                  <a:gd name="T49" fmla="*/ 54 h 386"/>
                  <a:gd name="T50" fmla="*/ 320 w 403"/>
                  <a:gd name="T51" fmla="*/ 90 h 386"/>
                  <a:gd name="T52" fmla="*/ 340 w 403"/>
                  <a:gd name="T53" fmla="*/ 102 h 386"/>
                  <a:gd name="T54" fmla="*/ 346 w 403"/>
                  <a:gd name="T55" fmla="*/ 130 h 386"/>
                  <a:gd name="T56" fmla="*/ 332 w 403"/>
                  <a:gd name="T57" fmla="*/ 164 h 386"/>
                  <a:gd name="T58" fmla="*/ 346 w 403"/>
                  <a:gd name="T59" fmla="*/ 178 h 386"/>
                  <a:gd name="T60" fmla="*/ 354 w 403"/>
                  <a:gd name="T61" fmla="*/ 206 h 386"/>
                  <a:gd name="T62" fmla="*/ 332 w 403"/>
                  <a:gd name="T63" fmla="*/ 228 h 386"/>
                  <a:gd name="T64" fmla="*/ 346 w 403"/>
                  <a:gd name="T65" fmla="*/ 240 h 386"/>
                  <a:gd name="T66" fmla="*/ 383 w 403"/>
                  <a:gd name="T67" fmla="*/ 240 h 386"/>
                  <a:gd name="T68" fmla="*/ 403 w 403"/>
                  <a:gd name="T69" fmla="*/ 276 h 386"/>
                  <a:gd name="T70" fmla="*/ 383 w 403"/>
                  <a:gd name="T71" fmla="*/ 310 h 386"/>
                  <a:gd name="T72" fmla="*/ 360 w 403"/>
                  <a:gd name="T73" fmla="*/ 316 h 386"/>
                  <a:gd name="T74" fmla="*/ 346 w 403"/>
                  <a:gd name="T75" fmla="*/ 324 h 386"/>
                  <a:gd name="T76" fmla="*/ 326 w 403"/>
                  <a:gd name="T77" fmla="*/ 330 h 386"/>
                  <a:gd name="T78" fmla="*/ 332 w 403"/>
                  <a:gd name="T79" fmla="*/ 352 h 386"/>
                  <a:gd name="T80" fmla="*/ 360 w 403"/>
                  <a:gd name="T81" fmla="*/ 352 h 386"/>
                  <a:gd name="T82" fmla="*/ 346 w 403"/>
                  <a:gd name="T83" fmla="*/ 372 h 386"/>
                  <a:gd name="T84" fmla="*/ 320 w 403"/>
                  <a:gd name="T85" fmla="*/ 378 h 386"/>
                  <a:gd name="T86" fmla="*/ 284 w 403"/>
                  <a:gd name="T87" fmla="*/ 372 h 386"/>
                  <a:gd name="T88" fmla="*/ 250 w 403"/>
                  <a:gd name="T89" fmla="*/ 372 h 386"/>
                  <a:gd name="T90" fmla="*/ 230 w 403"/>
                  <a:gd name="T91" fmla="*/ 358 h 386"/>
                  <a:gd name="T92" fmla="*/ 202 w 403"/>
                  <a:gd name="T93" fmla="*/ 364 h 386"/>
                  <a:gd name="T94" fmla="*/ 166 w 403"/>
                  <a:gd name="T95" fmla="*/ 364 h 386"/>
                  <a:gd name="T96" fmla="*/ 146 w 403"/>
                  <a:gd name="T97" fmla="*/ 344 h 386"/>
                  <a:gd name="T98" fmla="*/ 118 w 403"/>
                  <a:gd name="T99" fmla="*/ 338 h 386"/>
                  <a:gd name="T100" fmla="*/ 104 w 403"/>
                  <a:gd name="T101" fmla="*/ 364 h 386"/>
                  <a:gd name="T102" fmla="*/ 70 w 403"/>
                  <a:gd name="T103" fmla="*/ 352 h 386"/>
                  <a:gd name="T104" fmla="*/ 36 w 403"/>
                  <a:gd name="T105" fmla="*/ 352 h 386"/>
                  <a:gd name="T106" fmla="*/ 14 w 403"/>
                  <a:gd name="T107" fmla="*/ 358 h 386"/>
                  <a:gd name="T108" fmla="*/ 14 w 403"/>
                  <a:gd name="T109" fmla="*/ 344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3" h="386">
                    <a:moveTo>
                      <a:pt x="14" y="344"/>
                    </a:moveTo>
                    <a:lnTo>
                      <a:pt x="28" y="338"/>
                    </a:lnTo>
                    <a:lnTo>
                      <a:pt x="36" y="338"/>
                    </a:lnTo>
                    <a:lnTo>
                      <a:pt x="36" y="330"/>
                    </a:lnTo>
                    <a:lnTo>
                      <a:pt x="56" y="324"/>
                    </a:lnTo>
                    <a:lnTo>
                      <a:pt x="70" y="324"/>
                    </a:lnTo>
                    <a:lnTo>
                      <a:pt x="76" y="310"/>
                    </a:lnTo>
                    <a:lnTo>
                      <a:pt x="76" y="302"/>
                    </a:lnTo>
                    <a:lnTo>
                      <a:pt x="84" y="302"/>
                    </a:lnTo>
                    <a:lnTo>
                      <a:pt x="92" y="310"/>
                    </a:lnTo>
                    <a:lnTo>
                      <a:pt x="98" y="302"/>
                    </a:lnTo>
                    <a:lnTo>
                      <a:pt x="92" y="296"/>
                    </a:lnTo>
                    <a:lnTo>
                      <a:pt x="98" y="296"/>
                    </a:lnTo>
                    <a:lnTo>
                      <a:pt x="104" y="296"/>
                    </a:lnTo>
                    <a:lnTo>
                      <a:pt x="112" y="296"/>
                    </a:lnTo>
                    <a:lnTo>
                      <a:pt x="112" y="302"/>
                    </a:lnTo>
                    <a:lnTo>
                      <a:pt x="118" y="302"/>
                    </a:lnTo>
                    <a:lnTo>
                      <a:pt x="126" y="310"/>
                    </a:lnTo>
                    <a:lnTo>
                      <a:pt x="132" y="310"/>
                    </a:lnTo>
                    <a:lnTo>
                      <a:pt x="140" y="310"/>
                    </a:lnTo>
                    <a:lnTo>
                      <a:pt x="154" y="310"/>
                    </a:lnTo>
                    <a:lnTo>
                      <a:pt x="160" y="310"/>
                    </a:lnTo>
                    <a:lnTo>
                      <a:pt x="160" y="302"/>
                    </a:lnTo>
                    <a:lnTo>
                      <a:pt x="166" y="296"/>
                    </a:lnTo>
                    <a:lnTo>
                      <a:pt x="174" y="296"/>
                    </a:lnTo>
                    <a:lnTo>
                      <a:pt x="180" y="296"/>
                    </a:lnTo>
                    <a:lnTo>
                      <a:pt x="188" y="290"/>
                    </a:lnTo>
                    <a:lnTo>
                      <a:pt x="194" y="282"/>
                    </a:lnTo>
                    <a:lnTo>
                      <a:pt x="188" y="282"/>
                    </a:lnTo>
                    <a:lnTo>
                      <a:pt x="174" y="282"/>
                    </a:lnTo>
                    <a:lnTo>
                      <a:pt x="174" y="276"/>
                    </a:lnTo>
                    <a:lnTo>
                      <a:pt x="180" y="276"/>
                    </a:lnTo>
                    <a:lnTo>
                      <a:pt x="180" y="262"/>
                    </a:lnTo>
                    <a:lnTo>
                      <a:pt x="174" y="262"/>
                    </a:lnTo>
                    <a:lnTo>
                      <a:pt x="174" y="254"/>
                    </a:lnTo>
                    <a:lnTo>
                      <a:pt x="174" y="248"/>
                    </a:lnTo>
                    <a:lnTo>
                      <a:pt x="180" y="240"/>
                    </a:lnTo>
                    <a:lnTo>
                      <a:pt x="188" y="228"/>
                    </a:lnTo>
                    <a:lnTo>
                      <a:pt x="180" y="228"/>
                    </a:lnTo>
                    <a:lnTo>
                      <a:pt x="188" y="228"/>
                    </a:lnTo>
                    <a:lnTo>
                      <a:pt x="194" y="220"/>
                    </a:lnTo>
                    <a:lnTo>
                      <a:pt x="194" y="214"/>
                    </a:lnTo>
                    <a:lnTo>
                      <a:pt x="194" y="206"/>
                    </a:lnTo>
                    <a:lnTo>
                      <a:pt x="202" y="200"/>
                    </a:lnTo>
                    <a:lnTo>
                      <a:pt x="208" y="192"/>
                    </a:lnTo>
                    <a:lnTo>
                      <a:pt x="208" y="186"/>
                    </a:lnTo>
                    <a:lnTo>
                      <a:pt x="202" y="178"/>
                    </a:lnTo>
                    <a:lnTo>
                      <a:pt x="202" y="172"/>
                    </a:lnTo>
                    <a:lnTo>
                      <a:pt x="208" y="164"/>
                    </a:lnTo>
                    <a:lnTo>
                      <a:pt x="208" y="172"/>
                    </a:lnTo>
                    <a:lnTo>
                      <a:pt x="216" y="172"/>
                    </a:lnTo>
                    <a:lnTo>
                      <a:pt x="222" y="164"/>
                    </a:lnTo>
                    <a:lnTo>
                      <a:pt x="216" y="164"/>
                    </a:lnTo>
                    <a:lnTo>
                      <a:pt x="216" y="158"/>
                    </a:lnTo>
                    <a:lnTo>
                      <a:pt x="216" y="152"/>
                    </a:lnTo>
                    <a:lnTo>
                      <a:pt x="208" y="152"/>
                    </a:lnTo>
                    <a:lnTo>
                      <a:pt x="208" y="144"/>
                    </a:lnTo>
                    <a:lnTo>
                      <a:pt x="216" y="138"/>
                    </a:lnTo>
                    <a:lnTo>
                      <a:pt x="222" y="138"/>
                    </a:lnTo>
                    <a:lnTo>
                      <a:pt x="222" y="130"/>
                    </a:lnTo>
                    <a:lnTo>
                      <a:pt x="222" y="124"/>
                    </a:lnTo>
                    <a:lnTo>
                      <a:pt x="230" y="124"/>
                    </a:lnTo>
                    <a:lnTo>
                      <a:pt x="230" y="116"/>
                    </a:lnTo>
                    <a:lnTo>
                      <a:pt x="242" y="116"/>
                    </a:lnTo>
                    <a:lnTo>
                      <a:pt x="242" y="110"/>
                    </a:lnTo>
                    <a:lnTo>
                      <a:pt x="230" y="102"/>
                    </a:lnTo>
                    <a:lnTo>
                      <a:pt x="222" y="102"/>
                    </a:lnTo>
                    <a:lnTo>
                      <a:pt x="216" y="110"/>
                    </a:lnTo>
                    <a:lnTo>
                      <a:pt x="230" y="96"/>
                    </a:lnTo>
                    <a:lnTo>
                      <a:pt x="222" y="96"/>
                    </a:lnTo>
                    <a:lnTo>
                      <a:pt x="216" y="90"/>
                    </a:lnTo>
                    <a:lnTo>
                      <a:pt x="216" y="82"/>
                    </a:lnTo>
                    <a:lnTo>
                      <a:pt x="216" y="68"/>
                    </a:lnTo>
                    <a:lnTo>
                      <a:pt x="216" y="62"/>
                    </a:lnTo>
                    <a:lnTo>
                      <a:pt x="222" y="54"/>
                    </a:lnTo>
                    <a:lnTo>
                      <a:pt x="230" y="48"/>
                    </a:lnTo>
                    <a:lnTo>
                      <a:pt x="236" y="54"/>
                    </a:lnTo>
                    <a:lnTo>
                      <a:pt x="236" y="48"/>
                    </a:lnTo>
                    <a:lnTo>
                      <a:pt x="242" y="48"/>
                    </a:lnTo>
                    <a:lnTo>
                      <a:pt x="250" y="40"/>
                    </a:lnTo>
                    <a:lnTo>
                      <a:pt x="250" y="48"/>
                    </a:lnTo>
                    <a:lnTo>
                      <a:pt x="256" y="48"/>
                    </a:lnTo>
                    <a:lnTo>
                      <a:pt x="264" y="40"/>
                    </a:lnTo>
                    <a:lnTo>
                      <a:pt x="270" y="34"/>
                    </a:lnTo>
                    <a:lnTo>
                      <a:pt x="278" y="34"/>
                    </a:lnTo>
                    <a:lnTo>
                      <a:pt x="278" y="28"/>
                    </a:lnTo>
                    <a:lnTo>
                      <a:pt x="284" y="28"/>
                    </a:lnTo>
                    <a:lnTo>
                      <a:pt x="284" y="20"/>
                    </a:lnTo>
                    <a:lnTo>
                      <a:pt x="292" y="20"/>
                    </a:lnTo>
                    <a:lnTo>
                      <a:pt x="298" y="28"/>
                    </a:lnTo>
                    <a:lnTo>
                      <a:pt x="306" y="20"/>
                    </a:lnTo>
                    <a:lnTo>
                      <a:pt x="298" y="14"/>
                    </a:lnTo>
                    <a:lnTo>
                      <a:pt x="306" y="14"/>
                    </a:lnTo>
                    <a:lnTo>
                      <a:pt x="312" y="0"/>
                    </a:lnTo>
                    <a:lnTo>
                      <a:pt x="320" y="14"/>
                    </a:lnTo>
                    <a:lnTo>
                      <a:pt x="326" y="20"/>
                    </a:lnTo>
                    <a:lnTo>
                      <a:pt x="320" y="34"/>
                    </a:lnTo>
                    <a:lnTo>
                      <a:pt x="320" y="40"/>
                    </a:lnTo>
                    <a:lnTo>
                      <a:pt x="320" y="48"/>
                    </a:lnTo>
                    <a:lnTo>
                      <a:pt x="326" y="54"/>
                    </a:lnTo>
                    <a:lnTo>
                      <a:pt x="326" y="62"/>
                    </a:lnTo>
                    <a:lnTo>
                      <a:pt x="320" y="68"/>
                    </a:lnTo>
                    <a:lnTo>
                      <a:pt x="320" y="76"/>
                    </a:lnTo>
                    <a:lnTo>
                      <a:pt x="320" y="90"/>
                    </a:lnTo>
                    <a:lnTo>
                      <a:pt x="320" y="96"/>
                    </a:lnTo>
                    <a:lnTo>
                      <a:pt x="326" y="96"/>
                    </a:lnTo>
                    <a:lnTo>
                      <a:pt x="332" y="102"/>
                    </a:lnTo>
                    <a:lnTo>
                      <a:pt x="340" y="102"/>
                    </a:lnTo>
                    <a:lnTo>
                      <a:pt x="340" y="110"/>
                    </a:lnTo>
                    <a:lnTo>
                      <a:pt x="346" y="116"/>
                    </a:lnTo>
                    <a:lnTo>
                      <a:pt x="346" y="124"/>
                    </a:lnTo>
                    <a:lnTo>
                      <a:pt x="346" y="130"/>
                    </a:lnTo>
                    <a:lnTo>
                      <a:pt x="346" y="138"/>
                    </a:lnTo>
                    <a:lnTo>
                      <a:pt x="346" y="172"/>
                    </a:lnTo>
                    <a:lnTo>
                      <a:pt x="340" y="164"/>
                    </a:lnTo>
                    <a:lnTo>
                      <a:pt x="332" y="164"/>
                    </a:lnTo>
                    <a:lnTo>
                      <a:pt x="326" y="164"/>
                    </a:lnTo>
                    <a:lnTo>
                      <a:pt x="326" y="172"/>
                    </a:lnTo>
                    <a:lnTo>
                      <a:pt x="332" y="172"/>
                    </a:lnTo>
                    <a:lnTo>
                      <a:pt x="346" y="178"/>
                    </a:lnTo>
                    <a:lnTo>
                      <a:pt x="346" y="186"/>
                    </a:lnTo>
                    <a:lnTo>
                      <a:pt x="354" y="192"/>
                    </a:lnTo>
                    <a:lnTo>
                      <a:pt x="354" y="200"/>
                    </a:lnTo>
                    <a:lnTo>
                      <a:pt x="354" y="206"/>
                    </a:lnTo>
                    <a:lnTo>
                      <a:pt x="354" y="214"/>
                    </a:lnTo>
                    <a:lnTo>
                      <a:pt x="346" y="220"/>
                    </a:lnTo>
                    <a:lnTo>
                      <a:pt x="340" y="228"/>
                    </a:lnTo>
                    <a:lnTo>
                      <a:pt x="332" y="228"/>
                    </a:lnTo>
                    <a:lnTo>
                      <a:pt x="332" y="234"/>
                    </a:lnTo>
                    <a:lnTo>
                      <a:pt x="332" y="240"/>
                    </a:lnTo>
                    <a:lnTo>
                      <a:pt x="340" y="248"/>
                    </a:lnTo>
                    <a:lnTo>
                      <a:pt x="346" y="240"/>
                    </a:lnTo>
                    <a:lnTo>
                      <a:pt x="354" y="240"/>
                    </a:lnTo>
                    <a:lnTo>
                      <a:pt x="360" y="234"/>
                    </a:lnTo>
                    <a:lnTo>
                      <a:pt x="368" y="240"/>
                    </a:lnTo>
                    <a:lnTo>
                      <a:pt x="383" y="240"/>
                    </a:lnTo>
                    <a:lnTo>
                      <a:pt x="397" y="248"/>
                    </a:lnTo>
                    <a:lnTo>
                      <a:pt x="403" y="254"/>
                    </a:lnTo>
                    <a:lnTo>
                      <a:pt x="403" y="268"/>
                    </a:lnTo>
                    <a:lnTo>
                      <a:pt x="403" y="276"/>
                    </a:lnTo>
                    <a:lnTo>
                      <a:pt x="397" y="290"/>
                    </a:lnTo>
                    <a:lnTo>
                      <a:pt x="397" y="296"/>
                    </a:lnTo>
                    <a:lnTo>
                      <a:pt x="389" y="302"/>
                    </a:lnTo>
                    <a:lnTo>
                      <a:pt x="383" y="310"/>
                    </a:lnTo>
                    <a:lnTo>
                      <a:pt x="374" y="310"/>
                    </a:lnTo>
                    <a:lnTo>
                      <a:pt x="368" y="310"/>
                    </a:lnTo>
                    <a:lnTo>
                      <a:pt x="368" y="316"/>
                    </a:lnTo>
                    <a:lnTo>
                      <a:pt x="360" y="316"/>
                    </a:lnTo>
                    <a:lnTo>
                      <a:pt x="354" y="316"/>
                    </a:lnTo>
                    <a:lnTo>
                      <a:pt x="346" y="316"/>
                    </a:lnTo>
                    <a:lnTo>
                      <a:pt x="340" y="324"/>
                    </a:lnTo>
                    <a:lnTo>
                      <a:pt x="346" y="324"/>
                    </a:lnTo>
                    <a:lnTo>
                      <a:pt x="346" y="330"/>
                    </a:lnTo>
                    <a:lnTo>
                      <a:pt x="340" y="338"/>
                    </a:lnTo>
                    <a:lnTo>
                      <a:pt x="332" y="330"/>
                    </a:lnTo>
                    <a:lnTo>
                      <a:pt x="326" y="330"/>
                    </a:lnTo>
                    <a:lnTo>
                      <a:pt x="320" y="330"/>
                    </a:lnTo>
                    <a:lnTo>
                      <a:pt x="320" y="338"/>
                    </a:lnTo>
                    <a:lnTo>
                      <a:pt x="326" y="344"/>
                    </a:lnTo>
                    <a:lnTo>
                      <a:pt x="332" y="352"/>
                    </a:lnTo>
                    <a:lnTo>
                      <a:pt x="340" y="352"/>
                    </a:lnTo>
                    <a:lnTo>
                      <a:pt x="346" y="358"/>
                    </a:lnTo>
                    <a:lnTo>
                      <a:pt x="354" y="352"/>
                    </a:lnTo>
                    <a:lnTo>
                      <a:pt x="360" y="352"/>
                    </a:lnTo>
                    <a:lnTo>
                      <a:pt x="368" y="358"/>
                    </a:lnTo>
                    <a:lnTo>
                      <a:pt x="360" y="364"/>
                    </a:lnTo>
                    <a:lnTo>
                      <a:pt x="354" y="372"/>
                    </a:lnTo>
                    <a:lnTo>
                      <a:pt x="346" y="372"/>
                    </a:lnTo>
                    <a:lnTo>
                      <a:pt x="340" y="378"/>
                    </a:lnTo>
                    <a:lnTo>
                      <a:pt x="332" y="386"/>
                    </a:lnTo>
                    <a:lnTo>
                      <a:pt x="326" y="378"/>
                    </a:lnTo>
                    <a:lnTo>
                      <a:pt x="320" y="378"/>
                    </a:lnTo>
                    <a:lnTo>
                      <a:pt x="306" y="386"/>
                    </a:lnTo>
                    <a:lnTo>
                      <a:pt x="298" y="378"/>
                    </a:lnTo>
                    <a:lnTo>
                      <a:pt x="292" y="378"/>
                    </a:lnTo>
                    <a:lnTo>
                      <a:pt x="284" y="372"/>
                    </a:lnTo>
                    <a:lnTo>
                      <a:pt x="278" y="372"/>
                    </a:lnTo>
                    <a:lnTo>
                      <a:pt x="270" y="372"/>
                    </a:lnTo>
                    <a:lnTo>
                      <a:pt x="264" y="372"/>
                    </a:lnTo>
                    <a:lnTo>
                      <a:pt x="250" y="372"/>
                    </a:lnTo>
                    <a:lnTo>
                      <a:pt x="250" y="364"/>
                    </a:lnTo>
                    <a:lnTo>
                      <a:pt x="242" y="364"/>
                    </a:lnTo>
                    <a:lnTo>
                      <a:pt x="236" y="364"/>
                    </a:lnTo>
                    <a:lnTo>
                      <a:pt x="230" y="358"/>
                    </a:lnTo>
                    <a:lnTo>
                      <a:pt x="222" y="352"/>
                    </a:lnTo>
                    <a:lnTo>
                      <a:pt x="216" y="358"/>
                    </a:lnTo>
                    <a:lnTo>
                      <a:pt x="216" y="364"/>
                    </a:lnTo>
                    <a:lnTo>
                      <a:pt x="202" y="364"/>
                    </a:lnTo>
                    <a:lnTo>
                      <a:pt x="194" y="358"/>
                    </a:lnTo>
                    <a:lnTo>
                      <a:pt x="180" y="358"/>
                    </a:lnTo>
                    <a:lnTo>
                      <a:pt x="174" y="364"/>
                    </a:lnTo>
                    <a:lnTo>
                      <a:pt x="166" y="364"/>
                    </a:lnTo>
                    <a:lnTo>
                      <a:pt x="166" y="358"/>
                    </a:lnTo>
                    <a:lnTo>
                      <a:pt x="160" y="352"/>
                    </a:lnTo>
                    <a:lnTo>
                      <a:pt x="154" y="344"/>
                    </a:lnTo>
                    <a:lnTo>
                      <a:pt x="146" y="344"/>
                    </a:lnTo>
                    <a:lnTo>
                      <a:pt x="140" y="344"/>
                    </a:lnTo>
                    <a:lnTo>
                      <a:pt x="132" y="344"/>
                    </a:lnTo>
                    <a:lnTo>
                      <a:pt x="126" y="344"/>
                    </a:lnTo>
                    <a:lnTo>
                      <a:pt x="118" y="338"/>
                    </a:lnTo>
                    <a:lnTo>
                      <a:pt x="112" y="344"/>
                    </a:lnTo>
                    <a:lnTo>
                      <a:pt x="112" y="352"/>
                    </a:lnTo>
                    <a:lnTo>
                      <a:pt x="112" y="358"/>
                    </a:lnTo>
                    <a:lnTo>
                      <a:pt x="104" y="364"/>
                    </a:lnTo>
                    <a:lnTo>
                      <a:pt x="92" y="364"/>
                    </a:lnTo>
                    <a:lnTo>
                      <a:pt x="84" y="358"/>
                    </a:lnTo>
                    <a:lnTo>
                      <a:pt x="84" y="352"/>
                    </a:lnTo>
                    <a:lnTo>
                      <a:pt x="70" y="352"/>
                    </a:lnTo>
                    <a:lnTo>
                      <a:pt x="56" y="344"/>
                    </a:lnTo>
                    <a:lnTo>
                      <a:pt x="42" y="352"/>
                    </a:lnTo>
                    <a:lnTo>
                      <a:pt x="36" y="358"/>
                    </a:lnTo>
                    <a:lnTo>
                      <a:pt x="36" y="352"/>
                    </a:lnTo>
                    <a:lnTo>
                      <a:pt x="28" y="352"/>
                    </a:lnTo>
                    <a:lnTo>
                      <a:pt x="28" y="358"/>
                    </a:lnTo>
                    <a:lnTo>
                      <a:pt x="22" y="358"/>
                    </a:lnTo>
                    <a:lnTo>
                      <a:pt x="14" y="358"/>
                    </a:lnTo>
                    <a:lnTo>
                      <a:pt x="14" y="344"/>
                    </a:lnTo>
                    <a:lnTo>
                      <a:pt x="8" y="344"/>
                    </a:lnTo>
                    <a:lnTo>
                      <a:pt x="0" y="344"/>
                    </a:lnTo>
                    <a:lnTo>
                      <a:pt x="14" y="344"/>
                    </a:lnTo>
                    <a:lnTo>
                      <a:pt x="14" y="344"/>
                    </a:lnTo>
                    <a:lnTo>
                      <a:pt x="14" y="344"/>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8" name="Freeform 42"/>
              <p:cNvSpPr>
                <a:spLocks/>
              </p:cNvSpPr>
              <p:nvPr>
                <p:custDataLst>
                  <p:tags r:id="rId140"/>
                </p:custDataLst>
              </p:nvPr>
            </p:nvSpPr>
            <p:spPr bwMode="gray">
              <a:xfrm>
                <a:off x="3413915" y="2653988"/>
                <a:ext cx="231826" cy="215948"/>
              </a:xfrm>
              <a:custGeom>
                <a:avLst/>
                <a:gdLst>
                  <a:gd name="T0" fmla="*/ 132 w 146"/>
                  <a:gd name="T1" fmla="*/ 12 h 136"/>
                  <a:gd name="T2" fmla="*/ 126 w 146"/>
                  <a:gd name="T3" fmla="*/ 6 h 136"/>
                  <a:gd name="T4" fmla="*/ 118 w 146"/>
                  <a:gd name="T5" fmla="*/ 0 h 136"/>
                  <a:gd name="T6" fmla="*/ 90 w 146"/>
                  <a:gd name="T7" fmla="*/ 6 h 136"/>
                  <a:gd name="T8" fmla="*/ 70 w 146"/>
                  <a:gd name="T9" fmla="*/ 12 h 136"/>
                  <a:gd name="T10" fmla="*/ 56 w 146"/>
                  <a:gd name="T11" fmla="*/ 20 h 136"/>
                  <a:gd name="T12" fmla="*/ 62 w 146"/>
                  <a:gd name="T13" fmla="*/ 26 h 136"/>
                  <a:gd name="T14" fmla="*/ 78 w 146"/>
                  <a:gd name="T15" fmla="*/ 26 h 136"/>
                  <a:gd name="T16" fmla="*/ 90 w 146"/>
                  <a:gd name="T17" fmla="*/ 20 h 136"/>
                  <a:gd name="T18" fmla="*/ 84 w 146"/>
                  <a:gd name="T19" fmla="*/ 34 h 136"/>
                  <a:gd name="T20" fmla="*/ 84 w 146"/>
                  <a:gd name="T21" fmla="*/ 48 h 136"/>
                  <a:gd name="T22" fmla="*/ 84 w 146"/>
                  <a:gd name="T23" fmla="*/ 54 h 136"/>
                  <a:gd name="T24" fmla="*/ 70 w 146"/>
                  <a:gd name="T25" fmla="*/ 62 h 136"/>
                  <a:gd name="T26" fmla="*/ 56 w 146"/>
                  <a:gd name="T27" fmla="*/ 76 h 136"/>
                  <a:gd name="T28" fmla="*/ 42 w 146"/>
                  <a:gd name="T29" fmla="*/ 76 h 136"/>
                  <a:gd name="T30" fmla="*/ 28 w 146"/>
                  <a:gd name="T31" fmla="*/ 76 h 136"/>
                  <a:gd name="T32" fmla="*/ 14 w 146"/>
                  <a:gd name="T33" fmla="*/ 68 h 136"/>
                  <a:gd name="T34" fmla="*/ 8 w 146"/>
                  <a:gd name="T35" fmla="*/ 82 h 136"/>
                  <a:gd name="T36" fmla="*/ 14 w 146"/>
                  <a:gd name="T37" fmla="*/ 88 h 136"/>
                  <a:gd name="T38" fmla="*/ 22 w 146"/>
                  <a:gd name="T39" fmla="*/ 96 h 136"/>
                  <a:gd name="T40" fmla="*/ 14 w 146"/>
                  <a:gd name="T41" fmla="*/ 102 h 136"/>
                  <a:gd name="T42" fmla="*/ 36 w 146"/>
                  <a:gd name="T43" fmla="*/ 96 h 136"/>
                  <a:gd name="T44" fmla="*/ 48 w 146"/>
                  <a:gd name="T45" fmla="*/ 96 h 136"/>
                  <a:gd name="T46" fmla="*/ 48 w 146"/>
                  <a:gd name="T47" fmla="*/ 110 h 136"/>
                  <a:gd name="T48" fmla="*/ 48 w 146"/>
                  <a:gd name="T49" fmla="*/ 110 h 136"/>
                  <a:gd name="T50" fmla="*/ 62 w 146"/>
                  <a:gd name="T51" fmla="*/ 116 h 136"/>
                  <a:gd name="T52" fmla="*/ 62 w 146"/>
                  <a:gd name="T53" fmla="*/ 124 h 136"/>
                  <a:gd name="T54" fmla="*/ 78 w 146"/>
                  <a:gd name="T55" fmla="*/ 136 h 136"/>
                  <a:gd name="T56" fmla="*/ 98 w 146"/>
                  <a:gd name="T57" fmla="*/ 136 h 136"/>
                  <a:gd name="T58" fmla="*/ 112 w 146"/>
                  <a:gd name="T59" fmla="*/ 130 h 136"/>
                  <a:gd name="T60" fmla="*/ 118 w 146"/>
                  <a:gd name="T61" fmla="*/ 124 h 136"/>
                  <a:gd name="T62" fmla="*/ 112 w 146"/>
                  <a:gd name="T63" fmla="*/ 110 h 136"/>
                  <a:gd name="T64" fmla="*/ 112 w 146"/>
                  <a:gd name="T65" fmla="*/ 96 h 136"/>
                  <a:gd name="T66" fmla="*/ 126 w 146"/>
                  <a:gd name="T67" fmla="*/ 76 h 136"/>
                  <a:gd name="T68" fmla="*/ 126 w 146"/>
                  <a:gd name="T69" fmla="*/ 76 h 136"/>
                  <a:gd name="T70" fmla="*/ 132 w 146"/>
                  <a:gd name="T71" fmla="*/ 62 h 136"/>
                  <a:gd name="T72" fmla="*/ 140 w 146"/>
                  <a:gd name="T73" fmla="*/ 48 h 136"/>
                  <a:gd name="T74" fmla="*/ 146 w 146"/>
                  <a:gd name="T75" fmla="*/ 34 h 136"/>
                  <a:gd name="T76" fmla="*/ 140 w 146"/>
                  <a:gd name="T77" fmla="*/ 20 h 136"/>
                  <a:gd name="T78" fmla="*/ 140 w 146"/>
                  <a:gd name="T79"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6" h="136">
                    <a:moveTo>
                      <a:pt x="140" y="20"/>
                    </a:moveTo>
                    <a:lnTo>
                      <a:pt x="132" y="12"/>
                    </a:lnTo>
                    <a:lnTo>
                      <a:pt x="132" y="6"/>
                    </a:lnTo>
                    <a:lnTo>
                      <a:pt x="126" y="6"/>
                    </a:lnTo>
                    <a:lnTo>
                      <a:pt x="118" y="6"/>
                    </a:lnTo>
                    <a:lnTo>
                      <a:pt x="118" y="0"/>
                    </a:lnTo>
                    <a:lnTo>
                      <a:pt x="98" y="6"/>
                    </a:lnTo>
                    <a:lnTo>
                      <a:pt x="90" y="6"/>
                    </a:lnTo>
                    <a:lnTo>
                      <a:pt x="84" y="12"/>
                    </a:lnTo>
                    <a:lnTo>
                      <a:pt x="70" y="12"/>
                    </a:lnTo>
                    <a:lnTo>
                      <a:pt x="62" y="20"/>
                    </a:lnTo>
                    <a:lnTo>
                      <a:pt x="56" y="20"/>
                    </a:lnTo>
                    <a:lnTo>
                      <a:pt x="56" y="26"/>
                    </a:lnTo>
                    <a:lnTo>
                      <a:pt x="62" y="26"/>
                    </a:lnTo>
                    <a:lnTo>
                      <a:pt x="70" y="20"/>
                    </a:lnTo>
                    <a:lnTo>
                      <a:pt x="78" y="26"/>
                    </a:lnTo>
                    <a:lnTo>
                      <a:pt x="84" y="20"/>
                    </a:lnTo>
                    <a:lnTo>
                      <a:pt x="90" y="20"/>
                    </a:lnTo>
                    <a:lnTo>
                      <a:pt x="90" y="26"/>
                    </a:lnTo>
                    <a:lnTo>
                      <a:pt x="84" y="34"/>
                    </a:lnTo>
                    <a:lnTo>
                      <a:pt x="84" y="40"/>
                    </a:lnTo>
                    <a:lnTo>
                      <a:pt x="84" y="48"/>
                    </a:lnTo>
                    <a:lnTo>
                      <a:pt x="78" y="48"/>
                    </a:lnTo>
                    <a:lnTo>
                      <a:pt x="84" y="54"/>
                    </a:lnTo>
                    <a:lnTo>
                      <a:pt x="78" y="62"/>
                    </a:lnTo>
                    <a:lnTo>
                      <a:pt x="70" y="62"/>
                    </a:lnTo>
                    <a:lnTo>
                      <a:pt x="62" y="68"/>
                    </a:lnTo>
                    <a:lnTo>
                      <a:pt x="56" y="76"/>
                    </a:lnTo>
                    <a:lnTo>
                      <a:pt x="48" y="68"/>
                    </a:lnTo>
                    <a:lnTo>
                      <a:pt x="42" y="76"/>
                    </a:lnTo>
                    <a:lnTo>
                      <a:pt x="36" y="76"/>
                    </a:lnTo>
                    <a:lnTo>
                      <a:pt x="28" y="76"/>
                    </a:lnTo>
                    <a:lnTo>
                      <a:pt x="22" y="76"/>
                    </a:lnTo>
                    <a:lnTo>
                      <a:pt x="14" y="68"/>
                    </a:lnTo>
                    <a:lnTo>
                      <a:pt x="8" y="76"/>
                    </a:lnTo>
                    <a:lnTo>
                      <a:pt x="8" y="82"/>
                    </a:lnTo>
                    <a:lnTo>
                      <a:pt x="0" y="88"/>
                    </a:lnTo>
                    <a:lnTo>
                      <a:pt x="14" y="88"/>
                    </a:lnTo>
                    <a:lnTo>
                      <a:pt x="22" y="88"/>
                    </a:lnTo>
                    <a:lnTo>
                      <a:pt x="22" y="96"/>
                    </a:lnTo>
                    <a:lnTo>
                      <a:pt x="14" y="96"/>
                    </a:lnTo>
                    <a:lnTo>
                      <a:pt x="14" y="102"/>
                    </a:lnTo>
                    <a:lnTo>
                      <a:pt x="28" y="102"/>
                    </a:lnTo>
                    <a:lnTo>
                      <a:pt x="36" y="96"/>
                    </a:lnTo>
                    <a:lnTo>
                      <a:pt x="42" y="96"/>
                    </a:lnTo>
                    <a:lnTo>
                      <a:pt x="48" y="96"/>
                    </a:lnTo>
                    <a:lnTo>
                      <a:pt x="48" y="102"/>
                    </a:lnTo>
                    <a:lnTo>
                      <a:pt x="48" y="110"/>
                    </a:lnTo>
                    <a:lnTo>
                      <a:pt x="56" y="110"/>
                    </a:lnTo>
                    <a:lnTo>
                      <a:pt x="48" y="110"/>
                    </a:lnTo>
                    <a:lnTo>
                      <a:pt x="48" y="116"/>
                    </a:lnTo>
                    <a:lnTo>
                      <a:pt x="62" y="116"/>
                    </a:lnTo>
                    <a:lnTo>
                      <a:pt x="70" y="116"/>
                    </a:lnTo>
                    <a:lnTo>
                      <a:pt x="62" y="124"/>
                    </a:lnTo>
                    <a:lnTo>
                      <a:pt x="70" y="130"/>
                    </a:lnTo>
                    <a:lnTo>
                      <a:pt x="78" y="136"/>
                    </a:lnTo>
                    <a:lnTo>
                      <a:pt x="84" y="136"/>
                    </a:lnTo>
                    <a:lnTo>
                      <a:pt x="98" y="136"/>
                    </a:lnTo>
                    <a:lnTo>
                      <a:pt x="104" y="136"/>
                    </a:lnTo>
                    <a:lnTo>
                      <a:pt x="112" y="130"/>
                    </a:lnTo>
                    <a:lnTo>
                      <a:pt x="112" y="124"/>
                    </a:lnTo>
                    <a:lnTo>
                      <a:pt x="118" y="124"/>
                    </a:lnTo>
                    <a:lnTo>
                      <a:pt x="118" y="110"/>
                    </a:lnTo>
                    <a:lnTo>
                      <a:pt x="112" y="110"/>
                    </a:lnTo>
                    <a:lnTo>
                      <a:pt x="112" y="102"/>
                    </a:lnTo>
                    <a:lnTo>
                      <a:pt x="112" y="96"/>
                    </a:lnTo>
                    <a:lnTo>
                      <a:pt x="118" y="88"/>
                    </a:lnTo>
                    <a:lnTo>
                      <a:pt x="126" y="76"/>
                    </a:lnTo>
                    <a:lnTo>
                      <a:pt x="118" y="76"/>
                    </a:lnTo>
                    <a:lnTo>
                      <a:pt x="126" y="76"/>
                    </a:lnTo>
                    <a:lnTo>
                      <a:pt x="132" y="68"/>
                    </a:lnTo>
                    <a:lnTo>
                      <a:pt x="132" y="62"/>
                    </a:lnTo>
                    <a:lnTo>
                      <a:pt x="132" y="54"/>
                    </a:lnTo>
                    <a:lnTo>
                      <a:pt x="140" y="48"/>
                    </a:lnTo>
                    <a:lnTo>
                      <a:pt x="146" y="40"/>
                    </a:lnTo>
                    <a:lnTo>
                      <a:pt x="146" y="34"/>
                    </a:lnTo>
                    <a:lnTo>
                      <a:pt x="140" y="26"/>
                    </a:lnTo>
                    <a:lnTo>
                      <a:pt x="140" y="20"/>
                    </a:lnTo>
                    <a:lnTo>
                      <a:pt x="140" y="20"/>
                    </a:lnTo>
                    <a:lnTo>
                      <a:pt x="140" y="20"/>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9" name="Freeform 43"/>
              <p:cNvSpPr>
                <a:spLocks/>
              </p:cNvSpPr>
              <p:nvPr/>
            </p:nvSpPr>
            <p:spPr bwMode="gray">
              <a:xfrm>
                <a:off x="3563173" y="2041076"/>
                <a:ext cx="317570" cy="447774"/>
              </a:xfrm>
              <a:custGeom>
                <a:avLst/>
                <a:gdLst>
                  <a:gd name="T0" fmla="*/ 82 w 200"/>
                  <a:gd name="T1" fmla="*/ 276 h 282"/>
                  <a:gd name="T2" fmla="*/ 62 w 200"/>
                  <a:gd name="T3" fmla="*/ 268 h 282"/>
                  <a:gd name="T4" fmla="*/ 54 w 200"/>
                  <a:gd name="T5" fmla="*/ 268 h 282"/>
                  <a:gd name="T6" fmla="*/ 34 w 200"/>
                  <a:gd name="T7" fmla="*/ 262 h 282"/>
                  <a:gd name="T8" fmla="*/ 28 w 200"/>
                  <a:gd name="T9" fmla="*/ 282 h 282"/>
                  <a:gd name="T10" fmla="*/ 14 w 200"/>
                  <a:gd name="T11" fmla="*/ 262 h 282"/>
                  <a:gd name="T12" fmla="*/ 6 w 200"/>
                  <a:gd name="T13" fmla="*/ 276 h 282"/>
                  <a:gd name="T14" fmla="*/ 0 w 200"/>
                  <a:gd name="T15" fmla="*/ 254 h 282"/>
                  <a:gd name="T16" fmla="*/ 6 w 200"/>
                  <a:gd name="T17" fmla="*/ 240 h 282"/>
                  <a:gd name="T18" fmla="*/ 20 w 200"/>
                  <a:gd name="T19" fmla="*/ 228 h 282"/>
                  <a:gd name="T20" fmla="*/ 42 w 200"/>
                  <a:gd name="T21" fmla="*/ 214 h 282"/>
                  <a:gd name="T22" fmla="*/ 54 w 200"/>
                  <a:gd name="T23" fmla="*/ 200 h 282"/>
                  <a:gd name="T24" fmla="*/ 42 w 200"/>
                  <a:gd name="T25" fmla="*/ 186 h 282"/>
                  <a:gd name="T26" fmla="*/ 28 w 200"/>
                  <a:gd name="T27" fmla="*/ 180 h 282"/>
                  <a:gd name="T28" fmla="*/ 42 w 200"/>
                  <a:gd name="T29" fmla="*/ 164 h 282"/>
                  <a:gd name="T30" fmla="*/ 20 w 200"/>
                  <a:gd name="T31" fmla="*/ 172 h 282"/>
                  <a:gd name="T32" fmla="*/ 14 w 200"/>
                  <a:gd name="T33" fmla="*/ 164 h 282"/>
                  <a:gd name="T34" fmla="*/ 34 w 200"/>
                  <a:gd name="T35" fmla="*/ 144 h 282"/>
                  <a:gd name="T36" fmla="*/ 34 w 200"/>
                  <a:gd name="T37" fmla="*/ 138 h 282"/>
                  <a:gd name="T38" fmla="*/ 54 w 200"/>
                  <a:gd name="T39" fmla="*/ 118 h 282"/>
                  <a:gd name="T40" fmla="*/ 34 w 200"/>
                  <a:gd name="T41" fmla="*/ 124 h 282"/>
                  <a:gd name="T42" fmla="*/ 14 w 200"/>
                  <a:gd name="T43" fmla="*/ 124 h 282"/>
                  <a:gd name="T44" fmla="*/ 28 w 200"/>
                  <a:gd name="T45" fmla="*/ 104 h 282"/>
                  <a:gd name="T46" fmla="*/ 42 w 200"/>
                  <a:gd name="T47" fmla="*/ 90 h 282"/>
                  <a:gd name="T48" fmla="*/ 54 w 200"/>
                  <a:gd name="T49" fmla="*/ 76 h 282"/>
                  <a:gd name="T50" fmla="*/ 48 w 200"/>
                  <a:gd name="T51" fmla="*/ 70 h 282"/>
                  <a:gd name="T52" fmla="*/ 48 w 200"/>
                  <a:gd name="T53" fmla="*/ 48 h 282"/>
                  <a:gd name="T54" fmla="*/ 68 w 200"/>
                  <a:gd name="T55" fmla="*/ 42 h 282"/>
                  <a:gd name="T56" fmla="*/ 82 w 200"/>
                  <a:gd name="T57" fmla="*/ 56 h 282"/>
                  <a:gd name="T58" fmla="*/ 76 w 200"/>
                  <a:gd name="T59" fmla="*/ 34 h 282"/>
                  <a:gd name="T60" fmla="*/ 82 w 200"/>
                  <a:gd name="T61" fmla="*/ 20 h 282"/>
                  <a:gd name="T62" fmla="*/ 96 w 200"/>
                  <a:gd name="T63" fmla="*/ 20 h 282"/>
                  <a:gd name="T64" fmla="*/ 110 w 200"/>
                  <a:gd name="T65" fmla="*/ 0 h 282"/>
                  <a:gd name="T66" fmla="*/ 124 w 200"/>
                  <a:gd name="T67" fmla="*/ 14 h 282"/>
                  <a:gd name="T68" fmla="*/ 144 w 200"/>
                  <a:gd name="T69" fmla="*/ 20 h 282"/>
                  <a:gd name="T70" fmla="*/ 166 w 200"/>
                  <a:gd name="T71" fmla="*/ 20 h 282"/>
                  <a:gd name="T72" fmla="*/ 172 w 200"/>
                  <a:gd name="T73" fmla="*/ 34 h 282"/>
                  <a:gd name="T74" fmla="*/ 152 w 200"/>
                  <a:gd name="T75" fmla="*/ 48 h 282"/>
                  <a:gd name="T76" fmla="*/ 132 w 200"/>
                  <a:gd name="T77" fmla="*/ 56 h 282"/>
                  <a:gd name="T78" fmla="*/ 118 w 200"/>
                  <a:gd name="T79" fmla="*/ 70 h 282"/>
                  <a:gd name="T80" fmla="*/ 110 w 200"/>
                  <a:gd name="T81" fmla="*/ 82 h 282"/>
                  <a:gd name="T82" fmla="*/ 104 w 200"/>
                  <a:gd name="T83" fmla="*/ 96 h 282"/>
                  <a:gd name="T84" fmla="*/ 132 w 200"/>
                  <a:gd name="T85" fmla="*/ 90 h 282"/>
                  <a:gd name="T86" fmla="*/ 166 w 200"/>
                  <a:gd name="T87" fmla="*/ 90 h 282"/>
                  <a:gd name="T88" fmla="*/ 180 w 200"/>
                  <a:gd name="T89" fmla="*/ 104 h 282"/>
                  <a:gd name="T90" fmla="*/ 200 w 200"/>
                  <a:gd name="T91" fmla="*/ 104 h 282"/>
                  <a:gd name="T92" fmla="*/ 194 w 200"/>
                  <a:gd name="T93" fmla="*/ 124 h 282"/>
                  <a:gd name="T94" fmla="*/ 180 w 200"/>
                  <a:gd name="T95" fmla="*/ 132 h 282"/>
                  <a:gd name="T96" fmla="*/ 180 w 200"/>
                  <a:gd name="T97" fmla="*/ 152 h 282"/>
                  <a:gd name="T98" fmla="*/ 158 w 200"/>
                  <a:gd name="T99" fmla="*/ 172 h 282"/>
                  <a:gd name="T100" fmla="*/ 138 w 200"/>
                  <a:gd name="T101" fmla="*/ 172 h 282"/>
                  <a:gd name="T102" fmla="*/ 118 w 200"/>
                  <a:gd name="T103" fmla="*/ 180 h 282"/>
                  <a:gd name="T104" fmla="*/ 138 w 200"/>
                  <a:gd name="T105" fmla="*/ 186 h 282"/>
                  <a:gd name="T106" fmla="*/ 118 w 200"/>
                  <a:gd name="T107" fmla="*/ 200 h 282"/>
                  <a:gd name="T108" fmla="*/ 96 w 200"/>
                  <a:gd name="T109" fmla="*/ 194 h 282"/>
                  <a:gd name="T110" fmla="*/ 96 w 200"/>
                  <a:gd name="T111" fmla="*/ 200 h 282"/>
                  <a:gd name="T112" fmla="*/ 124 w 200"/>
                  <a:gd name="T113" fmla="*/ 206 h 282"/>
                  <a:gd name="T114" fmla="*/ 144 w 200"/>
                  <a:gd name="T115" fmla="*/ 220 h 282"/>
                  <a:gd name="T116" fmla="*/ 138 w 200"/>
                  <a:gd name="T117" fmla="*/ 248 h 282"/>
                  <a:gd name="T118" fmla="*/ 132 w 200"/>
                  <a:gd name="T119" fmla="*/ 254 h 282"/>
                  <a:gd name="T120" fmla="*/ 118 w 200"/>
                  <a:gd name="T121" fmla="*/ 262 h 282"/>
                  <a:gd name="T122" fmla="*/ 104 w 200"/>
                  <a:gd name="T123" fmla="*/ 276 h 282"/>
                  <a:gd name="T124" fmla="*/ 90 w 200"/>
                  <a:gd name="T125" fmla="*/ 276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 h="282">
                    <a:moveTo>
                      <a:pt x="90" y="276"/>
                    </a:moveTo>
                    <a:lnTo>
                      <a:pt x="90" y="268"/>
                    </a:lnTo>
                    <a:lnTo>
                      <a:pt x="82" y="276"/>
                    </a:lnTo>
                    <a:lnTo>
                      <a:pt x="76" y="276"/>
                    </a:lnTo>
                    <a:lnTo>
                      <a:pt x="68" y="268"/>
                    </a:lnTo>
                    <a:lnTo>
                      <a:pt x="62" y="268"/>
                    </a:lnTo>
                    <a:lnTo>
                      <a:pt x="62" y="276"/>
                    </a:lnTo>
                    <a:lnTo>
                      <a:pt x="54" y="276"/>
                    </a:lnTo>
                    <a:lnTo>
                      <a:pt x="54" y="268"/>
                    </a:lnTo>
                    <a:lnTo>
                      <a:pt x="42" y="276"/>
                    </a:lnTo>
                    <a:lnTo>
                      <a:pt x="42" y="268"/>
                    </a:lnTo>
                    <a:lnTo>
                      <a:pt x="34" y="262"/>
                    </a:lnTo>
                    <a:lnTo>
                      <a:pt x="28" y="268"/>
                    </a:lnTo>
                    <a:lnTo>
                      <a:pt x="28" y="276"/>
                    </a:lnTo>
                    <a:lnTo>
                      <a:pt x="28" y="282"/>
                    </a:lnTo>
                    <a:lnTo>
                      <a:pt x="20" y="276"/>
                    </a:lnTo>
                    <a:lnTo>
                      <a:pt x="20" y="268"/>
                    </a:lnTo>
                    <a:lnTo>
                      <a:pt x="14" y="262"/>
                    </a:lnTo>
                    <a:lnTo>
                      <a:pt x="6" y="262"/>
                    </a:lnTo>
                    <a:lnTo>
                      <a:pt x="6" y="268"/>
                    </a:lnTo>
                    <a:lnTo>
                      <a:pt x="6" y="276"/>
                    </a:lnTo>
                    <a:lnTo>
                      <a:pt x="0" y="276"/>
                    </a:lnTo>
                    <a:lnTo>
                      <a:pt x="0" y="268"/>
                    </a:lnTo>
                    <a:lnTo>
                      <a:pt x="0" y="254"/>
                    </a:lnTo>
                    <a:lnTo>
                      <a:pt x="0" y="248"/>
                    </a:lnTo>
                    <a:lnTo>
                      <a:pt x="6" y="248"/>
                    </a:lnTo>
                    <a:lnTo>
                      <a:pt x="6" y="240"/>
                    </a:lnTo>
                    <a:lnTo>
                      <a:pt x="14" y="240"/>
                    </a:lnTo>
                    <a:lnTo>
                      <a:pt x="20" y="234"/>
                    </a:lnTo>
                    <a:lnTo>
                      <a:pt x="20" y="228"/>
                    </a:lnTo>
                    <a:lnTo>
                      <a:pt x="28" y="228"/>
                    </a:lnTo>
                    <a:lnTo>
                      <a:pt x="34" y="220"/>
                    </a:lnTo>
                    <a:lnTo>
                      <a:pt x="42" y="214"/>
                    </a:lnTo>
                    <a:lnTo>
                      <a:pt x="48" y="206"/>
                    </a:lnTo>
                    <a:lnTo>
                      <a:pt x="48" y="200"/>
                    </a:lnTo>
                    <a:lnTo>
                      <a:pt x="54" y="200"/>
                    </a:lnTo>
                    <a:lnTo>
                      <a:pt x="54" y="194"/>
                    </a:lnTo>
                    <a:lnTo>
                      <a:pt x="48" y="194"/>
                    </a:lnTo>
                    <a:lnTo>
                      <a:pt x="42" y="186"/>
                    </a:lnTo>
                    <a:lnTo>
                      <a:pt x="34" y="186"/>
                    </a:lnTo>
                    <a:lnTo>
                      <a:pt x="28" y="186"/>
                    </a:lnTo>
                    <a:lnTo>
                      <a:pt x="28" y="180"/>
                    </a:lnTo>
                    <a:lnTo>
                      <a:pt x="34" y="180"/>
                    </a:lnTo>
                    <a:lnTo>
                      <a:pt x="42" y="172"/>
                    </a:lnTo>
                    <a:lnTo>
                      <a:pt x="42" y="164"/>
                    </a:lnTo>
                    <a:lnTo>
                      <a:pt x="34" y="158"/>
                    </a:lnTo>
                    <a:lnTo>
                      <a:pt x="28" y="158"/>
                    </a:lnTo>
                    <a:lnTo>
                      <a:pt x="20" y="172"/>
                    </a:lnTo>
                    <a:lnTo>
                      <a:pt x="14" y="180"/>
                    </a:lnTo>
                    <a:lnTo>
                      <a:pt x="14" y="172"/>
                    </a:lnTo>
                    <a:lnTo>
                      <a:pt x="14" y="164"/>
                    </a:lnTo>
                    <a:lnTo>
                      <a:pt x="20" y="152"/>
                    </a:lnTo>
                    <a:lnTo>
                      <a:pt x="28" y="144"/>
                    </a:lnTo>
                    <a:lnTo>
                      <a:pt x="34" y="144"/>
                    </a:lnTo>
                    <a:lnTo>
                      <a:pt x="42" y="144"/>
                    </a:lnTo>
                    <a:lnTo>
                      <a:pt x="42" y="138"/>
                    </a:lnTo>
                    <a:lnTo>
                      <a:pt x="34" y="138"/>
                    </a:lnTo>
                    <a:lnTo>
                      <a:pt x="42" y="132"/>
                    </a:lnTo>
                    <a:lnTo>
                      <a:pt x="48" y="124"/>
                    </a:lnTo>
                    <a:lnTo>
                      <a:pt x="54" y="118"/>
                    </a:lnTo>
                    <a:lnTo>
                      <a:pt x="48" y="118"/>
                    </a:lnTo>
                    <a:lnTo>
                      <a:pt x="42" y="124"/>
                    </a:lnTo>
                    <a:lnTo>
                      <a:pt x="34" y="124"/>
                    </a:lnTo>
                    <a:lnTo>
                      <a:pt x="28" y="138"/>
                    </a:lnTo>
                    <a:lnTo>
                      <a:pt x="20" y="132"/>
                    </a:lnTo>
                    <a:lnTo>
                      <a:pt x="14" y="124"/>
                    </a:lnTo>
                    <a:lnTo>
                      <a:pt x="28" y="118"/>
                    </a:lnTo>
                    <a:lnTo>
                      <a:pt x="28" y="110"/>
                    </a:lnTo>
                    <a:lnTo>
                      <a:pt x="28" y="104"/>
                    </a:lnTo>
                    <a:lnTo>
                      <a:pt x="34" y="96"/>
                    </a:lnTo>
                    <a:lnTo>
                      <a:pt x="42" y="96"/>
                    </a:lnTo>
                    <a:lnTo>
                      <a:pt x="42" y="90"/>
                    </a:lnTo>
                    <a:lnTo>
                      <a:pt x="42" y="82"/>
                    </a:lnTo>
                    <a:lnTo>
                      <a:pt x="54" y="82"/>
                    </a:lnTo>
                    <a:lnTo>
                      <a:pt x="54" y="76"/>
                    </a:lnTo>
                    <a:lnTo>
                      <a:pt x="48" y="70"/>
                    </a:lnTo>
                    <a:lnTo>
                      <a:pt x="42" y="70"/>
                    </a:lnTo>
                    <a:lnTo>
                      <a:pt x="48" y="70"/>
                    </a:lnTo>
                    <a:lnTo>
                      <a:pt x="48" y="62"/>
                    </a:lnTo>
                    <a:lnTo>
                      <a:pt x="48" y="56"/>
                    </a:lnTo>
                    <a:lnTo>
                      <a:pt x="48" y="48"/>
                    </a:lnTo>
                    <a:lnTo>
                      <a:pt x="54" y="42"/>
                    </a:lnTo>
                    <a:lnTo>
                      <a:pt x="62" y="42"/>
                    </a:lnTo>
                    <a:lnTo>
                      <a:pt x="68" y="42"/>
                    </a:lnTo>
                    <a:lnTo>
                      <a:pt x="68" y="48"/>
                    </a:lnTo>
                    <a:lnTo>
                      <a:pt x="76" y="48"/>
                    </a:lnTo>
                    <a:lnTo>
                      <a:pt x="82" y="56"/>
                    </a:lnTo>
                    <a:lnTo>
                      <a:pt x="82" y="48"/>
                    </a:lnTo>
                    <a:lnTo>
                      <a:pt x="82" y="42"/>
                    </a:lnTo>
                    <a:lnTo>
                      <a:pt x="76" y="34"/>
                    </a:lnTo>
                    <a:lnTo>
                      <a:pt x="82" y="28"/>
                    </a:lnTo>
                    <a:lnTo>
                      <a:pt x="90" y="28"/>
                    </a:lnTo>
                    <a:lnTo>
                      <a:pt x="82" y="20"/>
                    </a:lnTo>
                    <a:lnTo>
                      <a:pt x="96" y="28"/>
                    </a:lnTo>
                    <a:lnTo>
                      <a:pt x="104" y="20"/>
                    </a:lnTo>
                    <a:lnTo>
                      <a:pt x="96" y="20"/>
                    </a:lnTo>
                    <a:lnTo>
                      <a:pt x="104" y="6"/>
                    </a:lnTo>
                    <a:lnTo>
                      <a:pt x="104" y="0"/>
                    </a:lnTo>
                    <a:lnTo>
                      <a:pt x="110" y="0"/>
                    </a:lnTo>
                    <a:lnTo>
                      <a:pt x="124" y="6"/>
                    </a:lnTo>
                    <a:lnTo>
                      <a:pt x="118" y="6"/>
                    </a:lnTo>
                    <a:lnTo>
                      <a:pt x="124" y="14"/>
                    </a:lnTo>
                    <a:lnTo>
                      <a:pt x="132" y="6"/>
                    </a:lnTo>
                    <a:lnTo>
                      <a:pt x="132" y="14"/>
                    </a:lnTo>
                    <a:lnTo>
                      <a:pt x="144" y="20"/>
                    </a:lnTo>
                    <a:lnTo>
                      <a:pt x="158" y="14"/>
                    </a:lnTo>
                    <a:lnTo>
                      <a:pt x="158" y="20"/>
                    </a:lnTo>
                    <a:lnTo>
                      <a:pt x="166" y="20"/>
                    </a:lnTo>
                    <a:lnTo>
                      <a:pt x="172" y="20"/>
                    </a:lnTo>
                    <a:lnTo>
                      <a:pt x="180" y="28"/>
                    </a:lnTo>
                    <a:lnTo>
                      <a:pt x="172" y="34"/>
                    </a:lnTo>
                    <a:lnTo>
                      <a:pt x="172" y="42"/>
                    </a:lnTo>
                    <a:lnTo>
                      <a:pt x="158" y="42"/>
                    </a:lnTo>
                    <a:lnTo>
                      <a:pt x="152" y="48"/>
                    </a:lnTo>
                    <a:lnTo>
                      <a:pt x="144" y="56"/>
                    </a:lnTo>
                    <a:lnTo>
                      <a:pt x="138" y="56"/>
                    </a:lnTo>
                    <a:lnTo>
                      <a:pt x="132" y="56"/>
                    </a:lnTo>
                    <a:lnTo>
                      <a:pt x="124" y="62"/>
                    </a:lnTo>
                    <a:lnTo>
                      <a:pt x="124" y="70"/>
                    </a:lnTo>
                    <a:lnTo>
                      <a:pt x="118" y="70"/>
                    </a:lnTo>
                    <a:lnTo>
                      <a:pt x="104" y="76"/>
                    </a:lnTo>
                    <a:lnTo>
                      <a:pt x="104" y="82"/>
                    </a:lnTo>
                    <a:lnTo>
                      <a:pt x="110" y="82"/>
                    </a:lnTo>
                    <a:lnTo>
                      <a:pt x="104" y="82"/>
                    </a:lnTo>
                    <a:lnTo>
                      <a:pt x="104" y="90"/>
                    </a:lnTo>
                    <a:lnTo>
                      <a:pt x="104" y="96"/>
                    </a:lnTo>
                    <a:lnTo>
                      <a:pt x="110" y="96"/>
                    </a:lnTo>
                    <a:lnTo>
                      <a:pt x="124" y="90"/>
                    </a:lnTo>
                    <a:lnTo>
                      <a:pt x="132" y="90"/>
                    </a:lnTo>
                    <a:lnTo>
                      <a:pt x="144" y="90"/>
                    </a:lnTo>
                    <a:lnTo>
                      <a:pt x="152" y="90"/>
                    </a:lnTo>
                    <a:lnTo>
                      <a:pt x="166" y="90"/>
                    </a:lnTo>
                    <a:lnTo>
                      <a:pt x="172" y="90"/>
                    </a:lnTo>
                    <a:lnTo>
                      <a:pt x="180" y="96"/>
                    </a:lnTo>
                    <a:lnTo>
                      <a:pt x="180" y="104"/>
                    </a:lnTo>
                    <a:lnTo>
                      <a:pt x="186" y="104"/>
                    </a:lnTo>
                    <a:lnTo>
                      <a:pt x="194" y="104"/>
                    </a:lnTo>
                    <a:lnTo>
                      <a:pt x="200" y="104"/>
                    </a:lnTo>
                    <a:lnTo>
                      <a:pt x="200" y="110"/>
                    </a:lnTo>
                    <a:lnTo>
                      <a:pt x="200" y="118"/>
                    </a:lnTo>
                    <a:lnTo>
                      <a:pt x="194" y="124"/>
                    </a:lnTo>
                    <a:lnTo>
                      <a:pt x="186" y="124"/>
                    </a:lnTo>
                    <a:lnTo>
                      <a:pt x="186" y="132"/>
                    </a:lnTo>
                    <a:lnTo>
                      <a:pt x="180" y="132"/>
                    </a:lnTo>
                    <a:lnTo>
                      <a:pt x="172" y="138"/>
                    </a:lnTo>
                    <a:lnTo>
                      <a:pt x="180" y="144"/>
                    </a:lnTo>
                    <a:lnTo>
                      <a:pt x="180" y="152"/>
                    </a:lnTo>
                    <a:lnTo>
                      <a:pt x="172" y="158"/>
                    </a:lnTo>
                    <a:lnTo>
                      <a:pt x="158" y="164"/>
                    </a:lnTo>
                    <a:lnTo>
                      <a:pt x="158" y="172"/>
                    </a:lnTo>
                    <a:lnTo>
                      <a:pt x="152" y="172"/>
                    </a:lnTo>
                    <a:lnTo>
                      <a:pt x="144" y="180"/>
                    </a:lnTo>
                    <a:lnTo>
                      <a:pt x="138" y="172"/>
                    </a:lnTo>
                    <a:lnTo>
                      <a:pt x="132" y="172"/>
                    </a:lnTo>
                    <a:lnTo>
                      <a:pt x="118" y="172"/>
                    </a:lnTo>
                    <a:lnTo>
                      <a:pt x="118" y="180"/>
                    </a:lnTo>
                    <a:lnTo>
                      <a:pt x="124" y="180"/>
                    </a:lnTo>
                    <a:lnTo>
                      <a:pt x="132" y="186"/>
                    </a:lnTo>
                    <a:lnTo>
                      <a:pt x="138" y="186"/>
                    </a:lnTo>
                    <a:lnTo>
                      <a:pt x="132" y="194"/>
                    </a:lnTo>
                    <a:lnTo>
                      <a:pt x="118" y="194"/>
                    </a:lnTo>
                    <a:lnTo>
                      <a:pt x="118" y="200"/>
                    </a:lnTo>
                    <a:lnTo>
                      <a:pt x="110" y="200"/>
                    </a:lnTo>
                    <a:lnTo>
                      <a:pt x="104" y="200"/>
                    </a:lnTo>
                    <a:lnTo>
                      <a:pt x="96" y="194"/>
                    </a:lnTo>
                    <a:lnTo>
                      <a:pt x="90" y="194"/>
                    </a:lnTo>
                    <a:lnTo>
                      <a:pt x="90" y="200"/>
                    </a:lnTo>
                    <a:lnTo>
                      <a:pt x="96" y="200"/>
                    </a:lnTo>
                    <a:lnTo>
                      <a:pt x="104" y="206"/>
                    </a:lnTo>
                    <a:lnTo>
                      <a:pt x="110" y="206"/>
                    </a:lnTo>
                    <a:lnTo>
                      <a:pt x="124" y="206"/>
                    </a:lnTo>
                    <a:lnTo>
                      <a:pt x="132" y="206"/>
                    </a:lnTo>
                    <a:lnTo>
                      <a:pt x="138" y="214"/>
                    </a:lnTo>
                    <a:lnTo>
                      <a:pt x="144" y="220"/>
                    </a:lnTo>
                    <a:lnTo>
                      <a:pt x="152" y="234"/>
                    </a:lnTo>
                    <a:lnTo>
                      <a:pt x="144" y="248"/>
                    </a:lnTo>
                    <a:lnTo>
                      <a:pt x="138" y="248"/>
                    </a:lnTo>
                    <a:lnTo>
                      <a:pt x="144" y="254"/>
                    </a:lnTo>
                    <a:lnTo>
                      <a:pt x="138" y="262"/>
                    </a:lnTo>
                    <a:lnTo>
                      <a:pt x="132" y="254"/>
                    </a:lnTo>
                    <a:lnTo>
                      <a:pt x="124" y="254"/>
                    </a:lnTo>
                    <a:lnTo>
                      <a:pt x="124" y="262"/>
                    </a:lnTo>
                    <a:lnTo>
                      <a:pt x="118" y="262"/>
                    </a:lnTo>
                    <a:lnTo>
                      <a:pt x="118" y="268"/>
                    </a:lnTo>
                    <a:lnTo>
                      <a:pt x="110" y="268"/>
                    </a:lnTo>
                    <a:lnTo>
                      <a:pt x="104" y="276"/>
                    </a:lnTo>
                    <a:lnTo>
                      <a:pt x="96" y="282"/>
                    </a:lnTo>
                    <a:lnTo>
                      <a:pt x="90" y="282"/>
                    </a:lnTo>
                    <a:lnTo>
                      <a:pt x="90" y="276"/>
                    </a:lnTo>
                    <a:lnTo>
                      <a:pt x="90" y="276"/>
                    </a:lnTo>
                    <a:lnTo>
                      <a:pt x="90" y="276"/>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0" name="Freeform 44"/>
              <p:cNvSpPr>
                <a:spLocks/>
              </p:cNvSpPr>
              <p:nvPr>
                <p:custDataLst>
                  <p:tags r:id="rId141"/>
                </p:custDataLst>
              </p:nvPr>
            </p:nvSpPr>
            <p:spPr bwMode="gray">
              <a:xfrm>
                <a:off x="4114159" y="3619402"/>
                <a:ext cx="1036868" cy="1082915"/>
              </a:xfrm>
              <a:custGeom>
                <a:avLst/>
                <a:gdLst>
                  <a:gd name="T0" fmla="*/ 62 w 653"/>
                  <a:gd name="T1" fmla="*/ 208 h 682"/>
                  <a:gd name="T2" fmla="*/ 96 w 653"/>
                  <a:gd name="T3" fmla="*/ 172 h 682"/>
                  <a:gd name="T4" fmla="*/ 160 w 653"/>
                  <a:gd name="T5" fmla="*/ 194 h 682"/>
                  <a:gd name="T6" fmla="*/ 172 w 653"/>
                  <a:gd name="T7" fmla="*/ 186 h 682"/>
                  <a:gd name="T8" fmla="*/ 194 w 653"/>
                  <a:gd name="T9" fmla="*/ 248 h 682"/>
                  <a:gd name="T10" fmla="*/ 242 w 653"/>
                  <a:gd name="T11" fmla="*/ 332 h 682"/>
                  <a:gd name="T12" fmla="*/ 326 w 653"/>
                  <a:gd name="T13" fmla="*/ 420 h 682"/>
                  <a:gd name="T14" fmla="*/ 368 w 653"/>
                  <a:gd name="T15" fmla="*/ 442 h 682"/>
                  <a:gd name="T16" fmla="*/ 422 w 653"/>
                  <a:gd name="T17" fmla="*/ 490 h 682"/>
                  <a:gd name="T18" fmla="*/ 436 w 653"/>
                  <a:gd name="T19" fmla="*/ 524 h 682"/>
                  <a:gd name="T20" fmla="*/ 484 w 653"/>
                  <a:gd name="T21" fmla="*/ 544 h 682"/>
                  <a:gd name="T22" fmla="*/ 507 w 653"/>
                  <a:gd name="T23" fmla="*/ 620 h 682"/>
                  <a:gd name="T24" fmla="*/ 484 w 653"/>
                  <a:gd name="T25" fmla="*/ 642 h 682"/>
                  <a:gd name="T26" fmla="*/ 470 w 653"/>
                  <a:gd name="T27" fmla="*/ 676 h 682"/>
                  <a:gd name="T28" fmla="*/ 507 w 653"/>
                  <a:gd name="T29" fmla="*/ 676 h 682"/>
                  <a:gd name="T30" fmla="*/ 527 w 653"/>
                  <a:gd name="T31" fmla="*/ 642 h 682"/>
                  <a:gd name="T32" fmla="*/ 561 w 653"/>
                  <a:gd name="T33" fmla="*/ 620 h 682"/>
                  <a:gd name="T34" fmla="*/ 569 w 653"/>
                  <a:gd name="T35" fmla="*/ 586 h 682"/>
                  <a:gd name="T36" fmla="*/ 541 w 653"/>
                  <a:gd name="T37" fmla="*/ 560 h 682"/>
                  <a:gd name="T38" fmla="*/ 555 w 653"/>
                  <a:gd name="T39" fmla="*/ 518 h 682"/>
                  <a:gd name="T40" fmla="*/ 575 w 653"/>
                  <a:gd name="T41" fmla="*/ 504 h 682"/>
                  <a:gd name="T42" fmla="*/ 611 w 653"/>
                  <a:gd name="T43" fmla="*/ 518 h 682"/>
                  <a:gd name="T44" fmla="*/ 625 w 653"/>
                  <a:gd name="T45" fmla="*/ 544 h 682"/>
                  <a:gd name="T46" fmla="*/ 653 w 653"/>
                  <a:gd name="T47" fmla="*/ 530 h 682"/>
                  <a:gd name="T48" fmla="*/ 625 w 653"/>
                  <a:gd name="T49" fmla="*/ 482 h 682"/>
                  <a:gd name="T50" fmla="*/ 561 w 653"/>
                  <a:gd name="T51" fmla="*/ 454 h 682"/>
                  <a:gd name="T52" fmla="*/ 521 w 653"/>
                  <a:gd name="T53" fmla="*/ 434 h 682"/>
                  <a:gd name="T54" fmla="*/ 521 w 653"/>
                  <a:gd name="T55" fmla="*/ 414 h 682"/>
                  <a:gd name="T56" fmla="*/ 458 w 653"/>
                  <a:gd name="T57" fmla="*/ 394 h 682"/>
                  <a:gd name="T58" fmla="*/ 408 w 653"/>
                  <a:gd name="T59" fmla="*/ 338 h 682"/>
                  <a:gd name="T60" fmla="*/ 388 w 653"/>
                  <a:gd name="T61" fmla="*/ 276 h 682"/>
                  <a:gd name="T62" fmla="*/ 360 w 653"/>
                  <a:gd name="T63" fmla="*/ 242 h 682"/>
                  <a:gd name="T64" fmla="*/ 318 w 653"/>
                  <a:gd name="T65" fmla="*/ 214 h 682"/>
                  <a:gd name="T66" fmla="*/ 318 w 653"/>
                  <a:gd name="T67" fmla="*/ 172 h 682"/>
                  <a:gd name="T68" fmla="*/ 318 w 653"/>
                  <a:gd name="T69" fmla="*/ 146 h 682"/>
                  <a:gd name="T70" fmla="*/ 326 w 653"/>
                  <a:gd name="T71" fmla="*/ 118 h 682"/>
                  <a:gd name="T72" fmla="*/ 368 w 653"/>
                  <a:gd name="T73" fmla="*/ 110 h 682"/>
                  <a:gd name="T74" fmla="*/ 388 w 653"/>
                  <a:gd name="T75" fmla="*/ 110 h 682"/>
                  <a:gd name="T76" fmla="*/ 402 w 653"/>
                  <a:gd name="T77" fmla="*/ 90 h 682"/>
                  <a:gd name="T78" fmla="*/ 402 w 653"/>
                  <a:gd name="T79" fmla="*/ 56 h 682"/>
                  <a:gd name="T80" fmla="*/ 368 w 653"/>
                  <a:gd name="T81" fmla="*/ 42 h 682"/>
                  <a:gd name="T82" fmla="*/ 340 w 653"/>
                  <a:gd name="T83" fmla="*/ 22 h 682"/>
                  <a:gd name="T84" fmla="*/ 298 w 653"/>
                  <a:gd name="T85" fmla="*/ 8 h 682"/>
                  <a:gd name="T86" fmla="*/ 264 w 653"/>
                  <a:gd name="T87" fmla="*/ 14 h 682"/>
                  <a:gd name="T88" fmla="*/ 242 w 653"/>
                  <a:gd name="T89" fmla="*/ 0 h 682"/>
                  <a:gd name="T90" fmla="*/ 228 w 653"/>
                  <a:gd name="T91" fmla="*/ 22 h 682"/>
                  <a:gd name="T92" fmla="*/ 208 w 653"/>
                  <a:gd name="T93" fmla="*/ 42 h 682"/>
                  <a:gd name="T94" fmla="*/ 180 w 653"/>
                  <a:gd name="T95" fmla="*/ 28 h 682"/>
                  <a:gd name="T96" fmla="*/ 160 w 653"/>
                  <a:gd name="T97" fmla="*/ 42 h 682"/>
                  <a:gd name="T98" fmla="*/ 132 w 653"/>
                  <a:gd name="T99" fmla="*/ 50 h 682"/>
                  <a:gd name="T100" fmla="*/ 110 w 653"/>
                  <a:gd name="T101" fmla="*/ 22 h 682"/>
                  <a:gd name="T102" fmla="*/ 76 w 653"/>
                  <a:gd name="T103" fmla="*/ 50 h 682"/>
                  <a:gd name="T104" fmla="*/ 28 w 653"/>
                  <a:gd name="T105" fmla="*/ 56 h 682"/>
                  <a:gd name="T106" fmla="*/ 34 w 653"/>
                  <a:gd name="T107" fmla="*/ 90 h 682"/>
                  <a:gd name="T108" fmla="*/ 0 w 653"/>
                  <a:gd name="T109" fmla="*/ 104 h 682"/>
                  <a:gd name="T110" fmla="*/ 20 w 653"/>
                  <a:gd name="T111" fmla="*/ 132 h 682"/>
                  <a:gd name="T112" fmla="*/ 14 w 653"/>
                  <a:gd name="T113" fmla="*/ 172 h 682"/>
                  <a:gd name="T114" fmla="*/ 42 w 653"/>
                  <a:gd name="T115" fmla="*/ 200 h 682"/>
                  <a:gd name="T116" fmla="*/ 28 w 653"/>
                  <a:gd name="T117" fmla="*/ 22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53" h="682">
                    <a:moveTo>
                      <a:pt x="28" y="220"/>
                    </a:moveTo>
                    <a:lnTo>
                      <a:pt x="42" y="214"/>
                    </a:lnTo>
                    <a:lnTo>
                      <a:pt x="48" y="208"/>
                    </a:lnTo>
                    <a:lnTo>
                      <a:pt x="56" y="208"/>
                    </a:lnTo>
                    <a:lnTo>
                      <a:pt x="62" y="208"/>
                    </a:lnTo>
                    <a:lnTo>
                      <a:pt x="76" y="200"/>
                    </a:lnTo>
                    <a:lnTo>
                      <a:pt x="84" y="194"/>
                    </a:lnTo>
                    <a:lnTo>
                      <a:pt x="84" y="186"/>
                    </a:lnTo>
                    <a:lnTo>
                      <a:pt x="90" y="180"/>
                    </a:lnTo>
                    <a:lnTo>
                      <a:pt x="96" y="172"/>
                    </a:lnTo>
                    <a:lnTo>
                      <a:pt x="110" y="172"/>
                    </a:lnTo>
                    <a:lnTo>
                      <a:pt x="118" y="172"/>
                    </a:lnTo>
                    <a:lnTo>
                      <a:pt x="132" y="186"/>
                    </a:lnTo>
                    <a:lnTo>
                      <a:pt x="138" y="180"/>
                    </a:lnTo>
                    <a:lnTo>
                      <a:pt x="160" y="194"/>
                    </a:lnTo>
                    <a:lnTo>
                      <a:pt x="160" y="186"/>
                    </a:lnTo>
                    <a:lnTo>
                      <a:pt x="166" y="180"/>
                    </a:lnTo>
                    <a:lnTo>
                      <a:pt x="172" y="180"/>
                    </a:lnTo>
                    <a:lnTo>
                      <a:pt x="180" y="180"/>
                    </a:lnTo>
                    <a:lnTo>
                      <a:pt x="172" y="186"/>
                    </a:lnTo>
                    <a:lnTo>
                      <a:pt x="172" y="194"/>
                    </a:lnTo>
                    <a:lnTo>
                      <a:pt x="180" y="200"/>
                    </a:lnTo>
                    <a:lnTo>
                      <a:pt x="172" y="208"/>
                    </a:lnTo>
                    <a:lnTo>
                      <a:pt x="186" y="220"/>
                    </a:lnTo>
                    <a:lnTo>
                      <a:pt x="194" y="248"/>
                    </a:lnTo>
                    <a:lnTo>
                      <a:pt x="200" y="276"/>
                    </a:lnTo>
                    <a:lnTo>
                      <a:pt x="208" y="284"/>
                    </a:lnTo>
                    <a:lnTo>
                      <a:pt x="222" y="318"/>
                    </a:lnTo>
                    <a:lnTo>
                      <a:pt x="228" y="318"/>
                    </a:lnTo>
                    <a:lnTo>
                      <a:pt x="242" y="332"/>
                    </a:lnTo>
                    <a:lnTo>
                      <a:pt x="250" y="346"/>
                    </a:lnTo>
                    <a:lnTo>
                      <a:pt x="256" y="352"/>
                    </a:lnTo>
                    <a:lnTo>
                      <a:pt x="264" y="358"/>
                    </a:lnTo>
                    <a:lnTo>
                      <a:pt x="284" y="380"/>
                    </a:lnTo>
                    <a:lnTo>
                      <a:pt x="326" y="420"/>
                    </a:lnTo>
                    <a:lnTo>
                      <a:pt x="332" y="420"/>
                    </a:lnTo>
                    <a:lnTo>
                      <a:pt x="340" y="434"/>
                    </a:lnTo>
                    <a:lnTo>
                      <a:pt x="354" y="434"/>
                    </a:lnTo>
                    <a:lnTo>
                      <a:pt x="360" y="448"/>
                    </a:lnTo>
                    <a:lnTo>
                      <a:pt x="368" y="442"/>
                    </a:lnTo>
                    <a:lnTo>
                      <a:pt x="388" y="462"/>
                    </a:lnTo>
                    <a:lnTo>
                      <a:pt x="396" y="470"/>
                    </a:lnTo>
                    <a:lnTo>
                      <a:pt x="402" y="476"/>
                    </a:lnTo>
                    <a:lnTo>
                      <a:pt x="408" y="476"/>
                    </a:lnTo>
                    <a:lnTo>
                      <a:pt x="422" y="490"/>
                    </a:lnTo>
                    <a:lnTo>
                      <a:pt x="430" y="490"/>
                    </a:lnTo>
                    <a:lnTo>
                      <a:pt x="436" y="496"/>
                    </a:lnTo>
                    <a:lnTo>
                      <a:pt x="436" y="510"/>
                    </a:lnTo>
                    <a:lnTo>
                      <a:pt x="436" y="518"/>
                    </a:lnTo>
                    <a:lnTo>
                      <a:pt x="436" y="524"/>
                    </a:lnTo>
                    <a:lnTo>
                      <a:pt x="450" y="530"/>
                    </a:lnTo>
                    <a:lnTo>
                      <a:pt x="458" y="530"/>
                    </a:lnTo>
                    <a:lnTo>
                      <a:pt x="464" y="530"/>
                    </a:lnTo>
                    <a:lnTo>
                      <a:pt x="478" y="538"/>
                    </a:lnTo>
                    <a:lnTo>
                      <a:pt x="484" y="544"/>
                    </a:lnTo>
                    <a:lnTo>
                      <a:pt x="484" y="552"/>
                    </a:lnTo>
                    <a:lnTo>
                      <a:pt x="493" y="558"/>
                    </a:lnTo>
                    <a:lnTo>
                      <a:pt x="499" y="578"/>
                    </a:lnTo>
                    <a:lnTo>
                      <a:pt x="507" y="600"/>
                    </a:lnTo>
                    <a:lnTo>
                      <a:pt x="507" y="620"/>
                    </a:lnTo>
                    <a:lnTo>
                      <a:pt x="499" y="628"/>
                    </a:lnTo>
                    <a:lnTo>
                      <a:pt x="493" y="628"/>
                    </a:lnTo>
                    <a:lnTo>
                      <a:pt x="484" y="628"/>
                    </a:lnTo>
                    <a:lnTo>
                      <a:pt x="484" y="634"/>
                    </a:lnTo>
                    <a:lnTo>
                      <a:pt x="484" y="642"/>
                    </a:lnTo>
                    <a:lnTo>
                      <a:pt x="484" y="648"/>
                    </a:lnTo>
                    <a:lnTo>
                      <a:pt x="484" y="654"/>
                    </a:lnTo>
                    <a:lnTo>
                      <a:pt x="478" y="662"/>
                    </a:lnTo>
                    <a:lnTo>
                      <a:pt x="470" y="668"/>
                    </a:lnTo>
                    <a:lnTo>
                      <a:pt x="470" y="676"/>
                    </a:lnTo>
                    <a:lnTo>
                      <a:pt x="478" y="682"/>
                    </a:lnTo>
                    <a:lnTo>
                      <a:pt x="484" y="682"/>
                    </a:lnTo>
                    <a:lnTo>
                      <a:pt x="493" y="682"/>
                    </a:lnTo>
                    <a:lnTo>
                      <a:pt x="499" y="682"/>
                    </a:lnTo>
                    <a:lnTo>
                      <a:pt x="507" y="676"/>
                    </a:lnTo>
                    <a:lnTo>
                      <a:pt x="513" y="676"/>
                    </a:lnTo>
                    <a:lnTo>
                      <a:pt x="513" y="668"/>
                    </a:lnTo>
                    <a:lnTo>
                      <a:pt x="527" y="662"/>
                    </a:lnTo>
                    <a:lnTo>
                      <a:pt x="527" y="654"/>
                    </a:lnTo>
                    <a:lnTo>
                      <a:pt x="527" y="642"/>
                    </a:lnTo>
                    <a:lnTo>
                      <a:pt x="535" y="634"/>
                    </a:lnTo>
                    <a:lnTo>
                      <a:pt x="541" y="628"/>
                    </a:lnTo>
                    <a:lnTo>
                      <a:pt x="549" y="620"/>
                    </a:lnTo>
                    <a:lnTo>
                      <a:pt x="555" y="620"/>
                    </a:lnTo>
                    <a:lnTo>
                      <a:pt x="561" y="620"/>
                    </a:lnTo>
                    <a:lnTo>
                      <a:pt x="569" y="620"/>
                    </a:lnTo>
                    <a:lnTo>
                      <a:pt x="569" y="614"/>
                    </a:lnTo>
                    <a:lnTo>
                      <a:pt x="569" y="606"/>
                    </a:lnTo>
                    <a:lnTo>
                      <a:pt x="569" y="600"/>
                    </a:lnTo>
                    <a:lnTo>
                      <a:pt x="569" y="586"/>
                    </a:lnTo>
                    <a:lnTo>
                      <a:pt x="569" y="578"/>
                    </a:lnTo>
                    <a:lnTo>
                      <a:pt x="569" y="572"/>
                    </a:lnTo>
                    <a:lnTo>
                      <a:pt x="561" y="566"/>
                    </a:lnTo>
                    <a:lnTo>
                      <a:pt x="549" y="572"/>
                    </a:lnTo>
                    <a:lnTo>
                      <a:pt x="541" y="560"/>
                    </a:lnTo>
                    <a:lnTo>
                      <a:pt x="539" y="542"/>
                    </a:lnTo>
                    <a:lnTo>
                      <a:pt x="541" y="530"/>
                    </a:lnTo>
                    <a:lnTo>
                      <a:pt x="549" y="530"/>
                    </a:lnTo>
                    <a:lnTo>
                      <a:pt x="549" y="524"/>
                    </a:lnTo>
                    <a:lnTo>
                      <a:pt x="555" y="518"/>
                    </a:lnTo>
                    <a:lnTo>
                      <a:pt x="549" y="518"/>
                    </a:lnTo>
                    <a:lnTo>
                      <a:pt x="555" y="510"/>
                    </a:lnTo>
                    <a:lnTo>
                      <a:pt x="561" y="504"/>
                    </a:lnTo>
                    <a:lnTo>
                      <a:pt x="569" y="504"/>
                    </a:lnTo>
                    <a:lnTo>
                      <a:pt x="575" y="504"/>
                    </a:lnTo>
                    <a:lnTo>
                      <a:pt x="575" y="510"/>
                    </a:lnTo>
                    <a:lnTo>
                      <a:pt x="589" y="518"/>
                    </a:lnTo>
                    <a:lnTo>
                      <a:pt x="597" y="518"/>
                    </a:lnTo>
                    <a:lnTo>
                      <a:pt x="603" y="518"/>
                    </a:lnTo>
                    <a:lnTo>
                      <a:pt x="611" y="518"/>
                    </a:lnTo>
                    <a:lnTo>
                      <a:pt x="617" y="518"/>
                    </a:lnTo>
                    <a:lnTo>
                      <a:pt x="617" y="524"/>
                    </a:lnTo>
                    <a:lnTo>
                      <a:pt x="617" y="530"/>
                    </a:lnTo>
                    <a:lnTo>
                      <a:pt x="625" y="538"/>
                    </a:lnTo>
                    <a:lnTo>
                      <a:pt x="625" y="544"/>
                    </a:lnTo>
                    <a:lnTo>
                      <a:pt x="631" y="552"/>
                    </a:lnTo>
                    <a:lnTo>
                      <a:pt x="637" y="552"/>
                    </a:lnTo>
                    <a:lnTo>
                      <a:pt x="645" y="552"/>
                    </a:lnTo>
                    <a:lnTo>
                      <a:pt x="653" y="544"/>
                    </a:lnTo>
                    <a:lnTo>
                      <a:pt x="653" y="530"/>
                    </a:lnTo>
                    <a:lnTo>
                      <a:pt x="653" y="518"/>
                    </a:lnTo>
                    <a:lnTo>
                      <a:pt x="653" y="510"/>
                    </a:lnTo>
                    <a:lnTo>
                      <a:pt x="637" y="504"/>
                    </a:lnTo>
                    <a:lnTo>
                      <a:pt x="631" y="490"/>
                    </a:lnTo>
                    <a:lnTo>
                      <a:pt x="625" y="482"/>
                    </a:lnTo>
                    <a:lnTo>
                      <a:pt x="611" y="476"/>
                    </a:lnTo>
                    <a:lnTo>
                      <a:pt x="597" y="476"/>
                    </a:lnTo>
                    <a:lnTo>
                      <a:pt x="589" y="470"/>
                    </a:lnTo>
                    <a:lnTo>
                      <a:pt x="583" y="462"/>
                    </a:lnTo>
                    <a:lnTo>
                      <a:pt x="561" y="454"/>
                    </a:lnTo>
                    <a:lnTo>
                      <a:pt x="555" y="448"/>
                    </a:lnTo>
                    <a:lnTo>
                      <a:pt x="549" y="442"/>
                    </a:lnTo>
                    <a:lnTo>
                      <a:pt x="541" y="442"/>
                    </a:lnTo>
                    <a:lnTo>
                      <a:pt x="527" y="442"/>
                    </a:lnTo>
                    <a:lnTo>
                      <a:pt x="521" y="434"/>
                    </a:lnTo>
                    <a:lnTo>
                      <a:pt x="507" y="428"/>
                    </a:lnTo>
                    <a:lnTo>
                      <a:pt x="499" y="428"/>
                    </a:lnTo>
                    <a:lnTo>
                      <a:pt x="507" y="420"/>
                    </a:lnTo>
                    <a:lnTo>
                      <a:pt x="513" y="420"/>
                    </a:lnTo>
                    <a:lnTo>
                      <a:pt x="521" y="414"/>
                    </a:lnTo>
                    <a:lnTo>
                      <a:pt x="521" y="400"/>
                    </a:lnTo>
                    <a:lnTo>
                      <a:pt x="499" y="394"/>
                    </a:lnTo>
                    <a:lnTo>
                      <a:pt x="493" y="394"/>
                    </a:lnTo>
                    <a:lnTo>
                      <a:pt x="470" y="394"/>
                    </a:lnTo>
                    <a:lnTo>
                      <a:pt x="458" y="394"/>
                    </a:lnTo>
                    <a:lnTo>
                      <a:pt x="444" y="386"/>
                    </a:lnTo>
                    <a:lnTo>
                      <a:pt x="436" y="372"/>
                    </a:lnTo>
                    <a:lnTo>
                      <a:pt x="430" y="366"/>
                    </a:lnTo>
                    <a:lnTo>
                      <a:pt x="416" y="352"/>
                    </a:lnTo>
                    <a:lnTo>
                      <a:pt x="408" y="338"/>
                    </a:lnTo>
                    <a:lnTo>
                      <a:pt x="396" y="324"/>
                    </a:lnTo>
                    <a:lnTo>
                      <a:pt x="396" y="310"/>
                    </a:lnTo>
                    <a:lnTo>
                      <a:pt x="402" y="304"/>
                    </a:lnTo>
                    <a:lnTo>
                      <a:pt x="396" y="290"/>
                    </a:lnTo>
                    <a:lnTo>
                      <a:pt x="388" y="276"/>
                    </a:lnTo>
                    <a:lnTo>
                      <a:pt x="388" y="268"/>
                    </a:lnTo>
                    <a:lnTo>
                      <a:pt x="382" y="262"/>
                    </a:lnTo>
                    <a:lnTo>
                      <a:pt x="382" y="248"/>
                    </a:lnTo>
                    <a:lnTo>
                      <a:pt x="374" y="248"/>
                    </a:lnTo>
                    <a:lnTo>
                      <a:pt x="360" y="242"/>
                    </a:lnTo>
                    <a:lnTo>
                      <a:pt x="346" y="234"/>
                    </a:lnTo>
                    <a:lnTo>
                      <a:pt x="340" y="234"/>
                    </a:lnTo>
                    <a:lnTo>
                      <a:pt x="326" y="228"/>
                    </a:lnTo>
                    <a:lnTo>
                      <a:pt x="326" y="220"/>
                    </a:lnTo>
                    <a:lnTo>
                      <a:pt x="318" y="214"/>
                    </a:lnTo>
                    <a:lnTo>
                      <a:pt x="318" y="208"/>
                    </a:lnTo>
                    <a:lnTo>
                      <a:pt x="312" y="194"/>
                    </a:lnTo>
                    <a:lnTo>
                      <a:pt x="318" y="186"/>
                    </a:lnTo>
                    <a:lnTo>
                      <a:pt x="318" y="180"/>
                    </a:lnTo>
                    <a:lnTo>
                      <a:pt x="318" y="172"/>
                    </a:lnTo>
                    <a:lnTo>
                      <a:pt x="326" y="166"/>
                    </a:lnTo>
                    <a:lnTo>
                      <a:pt x="332" y="160"/>
                    </a:lnTo>
                    <a:lnTo>
                      <a:pt x="332" y="152"/>
                    </a:lnTo>
                    <a:lnTo>
                      <a:pt x="326" y="152"/>
                    </a:lnTo>
                    <a:lnTo>
                      <a:pt x="318" y="146"/>
                    </a:lnTo>
                    <a:lnTo>
                      <a:pt x="318" y="138"/>
                    </a:lnTo>
                    <a:lnTo>
                      <a:pt x="312" y="138"/>
                    </a:lnTo>
                    <a:lnTo>
                      <a:pt x="318" y="132"/>
                    </a:lnTo>
                    <a:lnTo>
                      <a:pt x="326" y="132"/>
                    </a:lnTo>
                    <a:lnTo>
                      <a:pt x="326" y="118"/>
                    </a:lnTo>
                    <a:lnTo>
                      <a:pt x="340" y="118"/>
                    </a:lnTo>
                    <a:lnTo>
                      <a:pt x="346" y="118"/>
                    </a:lnTo>
                    <a:lnTo>
                      <a:pt x="354" y="118"/>
                    </a:lnTo>
                    <a:lnTo>
                      <a:pt x="360" y="118"/>
                    </a:lnTo>
                    <a:lnTo>
                      <a:pt x="368" y="110"/>
                    </a:lnTo>
                    <a:lnTo>
                      <a:pt x="374" y="110"/>
                    </a:lnTo>
                    <a:lnTo>
                      <a:pt x="374" y="104"/>
                    </a:lnTo>
                    <a:lnTo>
                      <a:pt x="382" y="104"/>
                    </a:lnTo>
                    <a:lnTo>
                      <a:pt x="388" y="104"/>
                    </a:lnTo>
                    <a:lnTo>
                      <a:pt x="388" y="110"/>
                    </a:lnTo>
                    <a:lnTo>
                      <a:pt x="396" y="118"/>
                    </a:lnTo>
                    <a:lnTo>
                      <a:pt x="396" y="104"/>
                    </a:lnTo>
                    <a:lnTo>
                      <a:pt x="402" y="104"/>
                    </a:lnTo>
                    <a:lnTo>
                      <a:pt x="408" y="96"/>
                    </a:lnTo>
                    <a:lnTo>
                      <a:pt x="402" y="90"/>
                    </a:lnTo>
                    <a:lnTo>
                      <a:pt x="396" y="84"/>
                    </a:lnTo>
                    <a:lnTo>
                      <a:pt x="408" y="76"/>
                    </a:lnTo>
                    <a:lnTo>
                      <a:pt x="408" y="70"/>
                    </a:lnTo>
                    <a:lnTo>
                      <a:pt x="402" y="62"/>
                    </a:lnTo>
                    <a:lnTo>
                      <a:pt x="402" y="56"/>
                    </a:lnTo>
                    <a:lnTo>
                      <a:pt x="402" y="50"/>
                    </a:lnTo>
                    <a:lnTo>
                      <a:pt x="396" y="50"/>
                    </a:lnTo>
                    <a:lnTo>
                      <a:pt x="388" y="42"/>
                    </a:lnTo>
                    <a:lnTo>
                      <a:pt x="374" y="42"/>
                    </a:lnTo>
                    <a:lnTo>
                      <a:pt x="368" y="42"/>
                    </a:lnTo>
                    <a:lnTo>
                      <a:pt x="360" y="42"/>
                    </a:lnTo>
                    <a:lnTo>
                      <a:pt x="354" y="42"/>
                    </a:lnTo>
                    <a:lnTo>
                      <a:pt x="346" y="36"/>
                    </a:lnTo>
                    <a:lnTo>
                      <a:pt x="340" y="28"/>
                    </a:lnTo>
                    <a:lnTo>
                      <a:pt x="340" y="22"/>
                    </a:lnTo>
                    <a:lnTo>
                      <a:pt x="332" y="14"/>
                    </a:lnTo>
                    <a:lnTo>
                      <a:pt x="326" y="8"/>
                    </a:lnTo>
                    <a:lnTo>
                      <a:pt x="312" y="8"/>
                    </a:lnTo>
                    <a:lnTo>
                      <a:pt x="304" y="8"/>
                    </a:lnTo>
                    <a:lnTo>
                      <a:pt x="298" y="8"/>
                    </a:lnTo>
                    <a:lnTo>
                      <a:pt x="292" y="8"/>
                    </a:lnTo>
                    <a:lnTo>
                      <a:pt x="284" y="0"/>
                    </a:lnTo>
                    <a:lnTo>
                      <a:pt x="276" y="0"/>
                    </a:lnTo>
                    <a:lnTo>
                      <a:pt x="276" y="8"/>
                    </a:lnTo>
                    <a:lnTo>
                      <a:pt x="264" y="14"/>
                    </a:lnTo>
                    <a:lnTo>
                      <a:pt x="256" y="14"/>
                    </a:lnTo>
                    <a:lnTo>
                      <a:pt x="250" y="14"/>
                    </a:lnTo>
                    <a:lnTo>
                      <a:pt x="250" y="8"/>
                    </a:lnTo>
                    <a:lnTo>
                      <a:pt x="250" y="0"/>
                    </a:lnTo>
                    <a:lnTo>
                      <a:pt x="242" y="0"/>
                    </a:lnTo>
                    <a:lnTo>
                      <a:pt x="236" y="0"/>
                    </a:lnTo>
                    <a:lnTo>
                      <a:pt x="236" y="8"/>
                    </a:lnTo>
                    <a:lnTo>
                      <a:pt x="236" y="14"/>
                    </a:lnTo>
                    <a:lnTo>
                      <a:pt x="236" y="22"/>
                    </a:lnTo>
                    <a:lnTo>
                      <a:pt x="228" y="22"/>
                    </a:lnTo>
                    <a:lnTo>
                      <a:pt x="222" y="14"/>
                    </a:lnTo>
                    <a:lnTo>
                      <a:pt x="214" y="22"/>
                    </a:lnTo>
                    <a:lnTo>
                      <a:pt x="208" y="28"/>
                    </a:lnTo>
                    <a:lnTo>
                      <a:pt x="214" y="36"/>
                    </a:lnTo>
                    <a:lnTo>
                      <a:pt x="208" y="42"/>
                    </a:lnTo>
                    <a:lnTo>
                      <a:pt x="200" y="36"/>
                    </a:lnTo>
                    <a:lnTo>
                      <a:pt x="194" y="36"/>
                    </a:lnTo>
                    <a:lnTo>
                      <a:pt x="186" y="36"/>
                    </a:lnTo>
                    <a:lnTo>
                      <a:pt x="180" y="36"/>
                    </a:lnTo>
                    <a:lnTo>
                      <a:pt x="180" y="28"/>
                    </a:lnTo>
                    <a:lnTo>
                      <a:pt x="172" y="22"/>
                    </a:lnTo>
                    <a:lnTo>
                      <a:pt x="166" y="22"/>
                    </a:lnTo>
                    <a:lnTo>
                      <a:pt x="166" y="28"/>
                    </a:lnTo>
                    <a:lnTo>
                      <a:pt x="166" y="42"/>
                    </a:lnTo>
                    <a:lnTo>
                      <a:pt x="160" y="42"/>
                    </a:lnTo>
                    <a:lnTo>
                      <a:pt x="152" y="50"/>
                    </a:lnTo>
                    <a:lnTo>
                      <a:pt x="146" y="56"/>
                    </a:lnTo>
                    <a:lnTo>
                      <a:pt x="146" y="62"/>
                    </a:lnTo>
                    <a:lnTo>
                      <a:pt x="138" y="56"/>
                    </a:lnTo>
                    <a:lnTo>
                      <a:pt x="132" y="50"/>
                    </a:lnTo>
                    <a:lnTo>
                      <a:pt x="124" y="42"/>
                    </a:lnTo>
                    <a:lnTo>
                      <a:pt x="124" y="36"/>
                    </a:lnTo>
                    <a:lnTo>
                      <a:pt x="124" y="28"/>
                    </a:lnTo>
                    <a:lnTo>
                      <a:pt x="118" y="22"/>
                    </a:lnTo>
                    <a:lnTo>
                      <a:pt x="110" y="22"/>
                    </a:lnTo>
                    <a:lnTo>
                      <a:pt x="104" y="28"/>
                    </a:lnTo>
                    <a:lnTo>
                      <a:pt x="104" y="36"/>
                    </a:lnTo>
                    <a:lnTo>
                      <a:pt x="96" y="50"/>
                    </a:lnTo>
                    <a:lnTo>
                      <a:pt x="90" y="50"/>
                    </a:lnTo>
                    <a:lnTo>
                      <a:pt x="76" y="50"/>
                    </a:lnTo>
                    <a:lnTo>
                      <a:pt x="68" y="42"/>
                    </a:lnTo>
                    <a:lnTo>
                      <a:pt x="42" y="50"/>
                    </a:lnTo>
                    <a:lnTo>
                      <a:pt x="34" y="50"/>
                    </a:lnTo>
                    <a:lnTo>
                      <a:pt x="34" y="56"/>
                    </a:lnTo>
                    <a:lnTo>
                      <a:pt x="28" y="56"/>
                    </a:lnTo>
                    <a:lnTo>
                      <a:pt x="28" y="62"/>
                    </a:lnTo>
                    <a:lnTo>
                      <a:pt x="34" y="70"/>
                    </a:lnTo>
                    <a:lnTo>
                      <a:pt x="34" y="76"/>
                    </a:lnTo>
                    <a:lnTo>
                      <a:pt x="42" y="84"/>
                    </a:lnTo>
                    <a:lnTo>
                      <a:pt x="34" y="90"/>
                    </a:lnTo>
                    <a:lnTo>
                      <a:pt x="28" y="96"/>
                    </a:lnTo>
                    <a:lnTo>
                      <a:pt x="20" y="104"/>
                    </a:lnTo>
                    <a:lnTo>
                      <a:pt x="14" y="104"/>
                    </a:lnTo>
                    <a:lnTo>
                      <a:pt x="6" y="104"/>
                    </a:lnTo>
                    <a:lnTo>
                      <a:pt x="0" y="104"/>
                    </a:lnTo>
                    <a:lnTo>
                      <a:pt x="0" y="110"/>
                    </a:lnTo>
                    <a:lnTo>
                      <a:pt x="6" y="118"/>
                    </a:lnTo>
                    <a:lnTo>
                      <a:pt x="14" y="118"/>
                    </a:lnTo>
                    <a:lnTo>
                      <a:pt x="20" y="126"/>
                    </a:lnTo>
                    <a:lnTo>
                      <a:pt x="20" y="132"/>
                    </a:lnTo>
                    <a:lnTo>
                      <a:pt x="20" y="138"/>
                    </a:lnTo>
                    <a:lnTo>
                      <a:pt x="14" y="146"/>
                    </a:lnTo>
                    <a:lnTo>
                      <a:pt x="14" y="152"/>
                    </a:lnTo>
                    <a:lnTo>
                      <a:pt x="14" y="166"/>
                    </a:lnTo>
                    <a:lnTo>
                      <a:pt x="14" y="172"/>
                    </a:lnTo>
                    <a:lnTo>
                      <a:pt x="20" y="186"/>
                    </a:lnTo>
                    <a:lnTo>
                      <a:pt x="28" y="186"/>
                    </a:lnTo>
                    <a:lnTo>
                      <a:pt x="42" y="186"/>
                    </a:lnTo>
                    <a:lnTo>
                      <a:pt x="48" y="194"/>
                    </a:lnTo>
                    <a:lnTo>
                      <a:pt x="42" y="200"/>
                    </a:lnTo>
                    <a:lnTo>
                      <a:pt x="42" y="208"/>
                    </a:lnTo>
                    <a:lnTo>
                      <a:pt x="34" y="214"/>
                    </a:lnTo>
                    <a:lnTo>
                      <a:pt x="28" y="220"/>
                    </a:lnTo>
                    <a:lnTo>
                      <a:pt x="28" y="220"/>
                    </a:lnTo>
                    <a:lnTo>
                      <a:pt x="28" y="220"/>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1" name="Freeform 45"/>
              <p:cNvSpPr>
                <a:spLocks/>
              </p:cNvSpPr>
              <p:nvPr/>
            </p:nvSpPr>
            <p:spPr bwMode="gray">
              <a:xfrm>
                <a:off x="4104632" y="3514604"/>
                <a:ext cx="393788" cy="206421"/>
              </a:xfrm>
              <a:custGeom>
                <a:avLst/>
                <a:gdLst>
                  <a:gd name="T0" fmla="*/ 36 w 248"/>
                  <a:gd name="T1" fmla="*/ 104 h 130"/>
                  <a:gd name="T2" fmla="*/ 42 w 248"/>
                  <a:gd name="T3" fmla="*/ 96 h 130"/>
                  <a:gd name="T4" fmla="*/ 36 w 248"/>
                  <a:gd name="T5" fmla="*/ 82 h 130"/>
                  <a:gd name="T6" fmla="*/ 48 w 248"/>
                  <a:gd name="T7" fmla="*/ 82 h 130"/>
                  <a:gd name="T8" fmla="*/ 42 w 248"/>
                  <a:gd name="T9" fmla="*/ 62 h 130"/>
                  <a:gd name="T10" fmla="*/ 36 w 248"/>
                  <a:gd name="T11" fmla="*/ 68 h 130"/>
                  <a:gd name="T12" fmla="*/ 22 w 248"/>
                  <a:gd name="T13" fmla="*/ 82 h 130"/>
                  <a:gd name="T14" fmla="*/ 0 w 248"/>
                  <a:gd name="T15" fmla="*/ 74 h 130"/>
                  <a:gd name="T16" fmla="*/ 22 w 248"/>
                  <a:gd name="T17" fmla="*/ 48 h 130"/>
                  <a:gd name="T18" fmla="*/ 28 w 248"/>
                  <a:gd name="T19" fmla="*/ 34 h 130"/>
                  <a:gd name="T20" fmla="*/ 56 w 248"/>
                  <a:gd name="T21" fmla="*/ 28 h 130"/>
                  <a:gd name="T22" fmla="*/ 62 w 248"/>
                  <a:gd name="T23" fmla="*/ 6 h 130"/>
                  <a:gd name="T24" fmla="*/ 76 w 248"/>
                  <a:gd name="T25" fmla="*/ 6 h 130"/>
                  <a:gd name="T26" fmla="*/ 90 w 248"/>
                  <a:gd name="T27" fmla="*/ 0 h 130"/>
                  <a:gd name="T28" fmla="*/ 98 w 248"/>
                  <a:gd name="T29" fmla="*/ 0 h 130"/>
                  <a:gd name="T30" fmla="*/ 104 w 248"/>
                  <a:gd name="T31" fmla="*/ 0 h 130"/>
                  <a:gd name="T32" fmla="*/ 126 w 248"/>
                  <a:gd name="T33" fmla="*/ 6 h 130"/>
                  <a:gd name="T34" fmla="*/ 138 w 248"/>
                  <a:gd name="T35" fmla="*/ 6 h 130"/>
                  <a:gd name="T36" fmla="*/ 152 w 248"/>
                  <a:gd name="T37" fmla="*/ 6 h 130"/>
                  <a:gd name="T38" fmla="*/ 174 w 248"/>
                  <a:gd name="T39" fmla="*/ 6 h 130"/>
                  <a:gd name="T40" fmla="*/ 180 w 248"/>
                  <a:gd name="T41" fmla="*/ 14 h 130"/>
                  <a:gd name="T42" fmla="*/ 186 w 248"/>
                  <a:gd name="T43" fmla="*/ 20 h 130"/>
                  <a:gd name="T44" fmla="*/ 200 w 248"/>
                  <a:gd name="T45" fmla="*/ 34 h 130"/>
                  <a:gd name="T46" fmla="*/ 194 w 248"/>
                  <a:gd name="T47" fmla="*/ 48 h 130"/>
                  <a:gd name="T48" fmla="*/ 200 w 248"/>
                  <a:gd name="T49" fmla="*/ 54 h 130"/>
                  <a:gd name="T50" fmla="*/ 214 w 248"/>
                  <a:gd name="T51" fmla="*/ 62 h 130"/>
                  <a:gd name="T52" fmla="*/ 248 w 248"/>
                  <a:gd name="T53" fmla="*/ 68 h 130"/>
                  <a:gd name="T54" fmla="*/ 242 w 248"/>
                  <a:gd name="T55" fmla="*/ 74 h 130"/>
                  <a:gd name="T56" fmla="*/ 242 w 248"/>
                  <a:gd name="T57" fmla="*/ 90 h 130"/>
                  <a:gd name="T58" fmla="*/ 228 w 248"/>
                  <a:gd name="T59" fmla="*/ 82 h 130"/>
                  <a:gd name="T60" fmla="*/ 214 w 248"/>
                  <a:gd name="T61" fmla="*/ 96 h 130"/>
                  <a:gd name="T62" fmla="*/ 214 w 248"/>
                  <a:gd name="T63" fmla="*/ 110 h 130"/>
                  <a:gd name="T64" fmla="*/ 200 w 248"/>
                  <a:gd name="T65" fmla="*/ 104 h 130"/>
                  <a:gd name="T66" fmla="*/ 186 w 248"/>
                  <a:gd name="T67" fmla="*/ 104 h 130"/>
                  <a:gd name="T68" fmla="*/ 180 w 248"/>
                  <a:gd name="T69" fmla="*/ 90 h 130"/>
                  <a:gd name="T70" fmla="*/ 174 w 248"/>
                  <a:gd name="T71" fmla="*/ 96 h 130"/>
                  <a:gd name="T72" fmla="*/ 166 w 248"/>
                  <a:gd name="T73" fmla="*/ 110 h 130"/>
                  <a:gd name="T74" fmla="*/ 152 w 248"/>
                  <a:gd name="T75" fmla="*/ 124 h 130"/>
                  <a:gd name="T76" fmla="*/ 146 w 248"/>
                  <a:gd name="T77" fmla="*/ 124 h 130"/>
                  <a:gd name="T78" fmla="*/ 132 w 248"/>
                  <a:gd name="T79" fmla="*/ 110 h 130"/>
                  <a:gd name="T80" fmla="*/ 132 w 248"/>
                  <a:gd name="T81" fmla="*/ 96 h 130"/>
                  <a:gd name="T82" fmla="*/ 118 w 248"/>
                  <a:gd name="T83" fmla="*/ 90 h 130"/>
                  <a:gd name="T84" fmla="*/ 112 w 248"/>
                  <a:gd name="T85" fmla="*/ 104 h 130"/>
                  <a:gd name="T86" fmla="*/ 98 w 248"/>
                  <a:gd name="T87" fmla="*/ 116 h 130"/>
                  <a:gd name="T88" fmla="*/ 76 w 248"/>
                  <a:gd name="T89" fmla="*/ 110 h 130"/>
                  <a:gd name="T90" fmla="*/ 42 w 248"/>
                  <a:gd name="T91" fmla="*/ 110 h 130"/>
                  <a:gd name="T92" fmla="*/ 42 w 248"/>
                  <a:gd name="T93" fmla="*/ 11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8" h="130">
                    <a:moveTo>
                      <a:pt x="42" y="110"/>
                    </a:moveTo>
                    <a:lnTo>
                      <a:pt x="36" y="104"/>
                    </a:lnTo>
                    <a:lnTo>
                      <a:pt x="36" y="96"/>
                    </a:lnTo>
                    <a:lnTo>
                      <a:pt x="42" y="96"/>
                    </a:lnTo>
                    <a:lnTo>
                      <a:pt x="36" y="90"/>
                    </a:lnTo>
                    <a:lnTo>
                      <a:pt x="36" y="82"/>
                    </a:lnTo>
                    <a:lnTo>
                      <a:pt x="42" y="82"/>
                    </a:lnTo>
                    <a:lnTo>
                      <a:pt x="48" y="82"/>
                    </a:lnTo>
                    <a:lnTo>
                      <a:pt x="48" y="74"/>
                    </a:lnTo>
                    <a:lnTo>
                      <a:pt x="42" y="62"/>
                    </a:lnTo>
                    <a:lnTo>
                      <a:pt x="36" y="62"/>
                    </a:lnTo>
                    <a:lnTo>
                      <a:pt x="36" y="68"/>
                    </a:lnTo>
                    <a:lnTo>
                      <a:pt x="28" y="68"/>
                    </a:lnTo>
                    <a:lnTo>
                      <a:pt x="22" y="82"/>
                    </a:lnTo>
                    <a:lnTo>
                      <a:pt x="8" y="90"/>
                    </a:lnTo>
                    <a:lnTo>
                      <a:pt x="0" y="74"/>
                    </a:lnTo>
                    <a:lnTo>
                      <a:pt x="8" y="62"/>
                    </a:lnTo>
                    <a:lnTo>
                      <a:pt x="22" y="48"/>
                    </a:lnTo>
                    <a:lnTo>
                      <a:pt x="22" y="42"/>
                    </a:lnTo>
                    <a:lnTo>
                      <a:pt x="28" y="34"/>
                    </a:lnTo>
                    <a:lnTo>
                      <a:pt x="42" y="34"/>
                    </a:lnTo>
                    <a:lnTo>
                      <a:pt x="56" y="28"/>
                    </a:lnTo>
                    <a:lnTo>
                      <a:pt x="62" y="14"/>
                    </a:lnTo>
                    <a:lnTo>
                      <a:pt x="62" y="6"/>
                    </a:lnTo>
                    <a:lnTo>
                      <a:pt x="70" y="0"/>
                    </a:lnTo>
                    <a:lnTo>
                      <a:pt x="76" y="6"/>
                    </a:lnTo>
                    <a:lnTo>
                      <a:pt x="84" y="14"/>
                    </a:lnTo>
                    <a:lnTo>
                      <a:pt x="90" y="0"/>
                    </a:lnTo>
                    <a:lnTo>
                      <a:pt x="98" y="6"/>
                    </a:lnTo>
                    <a:lnTo>
                      <a:pt x="98" y="0"/>
                    </a:lnTo>
                    <a:lnTo>
                      <a:pt x="104" y="6"/>
                    </a:lnTo>
                    <a:lnTo>
                      <a:pt x="104" y="0"/>
                    </a:lnTo>
                    <a:lnTo>
                      <a:pt x="118" y="6"/>
                    </a:lnTo>
                    <a:lnTo>
                      <a:pt x="126" y="6"/>
                    </a:lnTo>
                    <a:lnTo>
                      <a:pt x="132" y="6"/>
                    </a:lnTo>
                    <a:lnTo>
                      <a:pt x="138" y="6"/>
                    </a:lnTo>
                    <a:lnTo>
                      <a:pt x="146" y="6"/>
                    </a:lnTo>
                    <a:lnTo>
                      <a:pt x="152" y="6"/>
                    </a:lnTo>
                    <a:lnTo>
                      <a:pt x="160" y="6"/>
                    </a:lnTo>
                    <a:lnTo>
                      <a:pt x="174" y="6"/>
                    </a:lnTo>
                    <a:lnTo>
                      <a:pt x="174" y="14"/>
                    </a:lnTo>
                    <a:lnTo>
                      <a:pt x="180" y="14"/>
                    </a:lnTo>
                    <a:lnTo>
                      <a:pt x="186" y="14"/>
                    </a:lnTo>
                    <a:lnTo>
                      <a:pt x="186" y="20"/>
                    </a:lnTo>
                    <a:lnTo>
                      <a:pt x="200" y="28"/>
                    </a:lnTo>
                    <a:lnTo>
                      <a:pt x="200" y="34"/>
                    </a:lnTo>
                    <a:lnTo>
                      <a:pt x="194" y="42"/>
                    </a:lnTo>
                    <a:lnTo>
                      <a:pt x="194" y="48"/>
                    </a:lnTo>
                    <a:lnTo>
                      <a:pt x="200" y="48"/>
                    </a:lnTo>
                    <a:lnTo>
                      <a:pt x="200" y="54"/>
                    </a:lnTo>
                    <a:lnTo>
                      <a:pt x="208" y="54"/>
                    </a:lnTo>
                    <a:lnTo>
                      <a:pt x="214" y="62"/>
                    </a:lnTo>
                    <a:lnTo>
                      <a:pt x="222" y="68"/>
                    </a:lnTo>
                    <a:lnTo>
                      <a:pt x="248" y="68"/>
                    </a:lnTo>
                    <a:lnTo>
                      <a:pt x="242" y="68"/>
                    </a:lnTo>
                    <a:lnTo>
                      <a:pt x="242" y="74"/>
                    </a:lnTo>
                    <a:lnTo>
                      <a:pt x="242" y="82"/>
                    </a:lnTo>
                    <a:lnTo>
                      <a:pt x="242" y="90"/>
                    </a:lnTo>
                    <a:lnTo>
                      <a:pt x="236" y="90"/>
                    </a:lnTo>
                    <a:lnTo>
                      <a:pt x="228" y="82"/>
                    </a:lnTo>
                    <a:lnTo>
                      <a:pt x="222" y="90"/>
                    </a:lnTo>
                    <a:lnTo>
                      <a:pt x="214" y="96"/>
                    </a:lnTo>
                    <a:lnTo>
                      <a:pt x="222" y="104"/>
                    </a:lnTo>
                    <a:lnTo>
                      <a:pt x="214" y="110"/>
                    </a:lnTo>
                    <a:lnTo>
                      <a:pt x="208" y="104"/>
                    </a:lnTo>
                    <a:lnTo>
                      <a:pt x="200" y="104"/>
                    </a:lnTo>
                    <a:lnTo>
                      <a:pt x="194" y="104"/>
                    </a:lnTo>
                    <a:lnTo>
                      <a:pt x="186" y="104"/>
                    </a:lnTo>
                    <a:lnTo>
                      <a:pt x="186" y="96"/>
                    </a:lnTo>
                    <a:lnTo>
                      <a:pt x="180" y="90"/>
                    </a:lnTo>
                    <a:lnTo>
                      <a:pt x="174" y="90"/>
                    </a:lnTo>
                    <a:lnTo>
                      <a:pt x="174" y="96"/>
                    </a:lnTo>
                    <a:lnTo>
                      <a:pt x="174" y="110"/>
                    </a:lnTo>
                    <a:lnTo>
                      <a:pt x="166" y="110"/>
                    </a:lnTo>
                    <a:lnTo>
                      <a:pt x="160" y="116"/>
                    </a:lnTo>
                    <a:lnTo>
                      <a:pt x="152" y="124"/>
                    </a:lnTo>
                    <a:lnTo>
                      <a:pt x="152" y="130"/>
                    </a:lnTo>
                    <a:lnTo>
                      <a:pt x="146" y="124"/>
                    </a:lnTo>
                    <a:lnTo>
                      <a:pt x="138" y="116"/>
                    </a:lnTo>
                    <a:lnTo>
                      <a:pt x="132" y="110"/>
                    </a:lnTo>
                    <a:lnTo>
                      <a:pt x="132" y="104"/>
                    </a:lnTo>
                    <a:lnTo>
                      <a:pt x="132" y="96"/>
                    </a:lnTo>
                    <a:lnTo>
                      <a:pt x="126" y="90"/>
                    </a:lnTo>
                    <a:lnTo>
                      <a:pt x="118" y="90"/>
                    </a:lnTo>
                    <a:lnTo>
                      <a:pt x="112" y="96"/>
                    </a:lnTo>
                    <a:lnTo>
                      <a:pt x="112" y="104"/>
                    </a:lnTo>
                    <a:lnTo>
                      <a:pt x="104" y="116"/>
                    </a:lnTo>
                    <a:lnTo>
                      <a:pt x="98" y="116"/>
                    </a:lnTo>
                    <a:lnTo>
                      <a:pt x="84" y="116"/>
                    </a:lnTo>
                    <a:lnTo>
                      <a:pt x="76" y="110"/>
                    </a:lnTo>
                    <a:lnTo>
                      <a:pt x="48" y="116"/>
                    </a:lnTo>
                    <a:lnTo>
                      <a:pt x="42" y="110"/>
                    </a:lnTo>
                    <a:lnTo>
                      <a:pt x="42" y="110"/>
                    </a:lnTo>
                    <a:lnTo>
                      <a:pt x="42" y="11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2" name="Freeform 46"/>
              <p:cNvSpPr>
                <a:spLocks/>
              </p:cNvSpPr>
              <p:nvPr>
                <p:custDataLst>
                  <p:tags r:id="rId142"/>
                </p:custDataLst>
              </p:nvPr>
            </p:nvSpPr>
            <p:spPr bwMode="gray">
              <a:xfrm>
                <a:off x="4412675" y="3425684"/>
                <a:ext cx="639905" cy="292165"/>
              </a:xfrm>
              <a:custGeom>
                <a:avLst/>
                <a:gdLst>
                  <a:gd name="T0" fmla="*/ 347 w 403"/>
                  <a:gd name="T1" fmla="*/ 164 h 184"/>
                  <a:gd name="T2" fmla="*/ 341 w 403"/>
                  <a:gd name="T3" fmla="*/ 164 h 184"/>
                  <a:gd name="T4" fmla="*/ 319 w 403"/>
                  <a:gd name="T5" fmla="*/ 164 h 184"/>
                  <a:gd name="T6" fmla="*/ 298 w 403"/>
                  <a:gd name="T7" fmla="*/ 164 h 184"/>
                  <a:gd name="T8" fmla="*/ 284 w 403"/>
                  <a:gd name="T9" fmla="*/ 178 h 184"/>
                  <a:gd name="T10" fmla="*/ 262 w 403"/>
                  <a:gd name="T11" fmla="*/ 184 h 184"/>
                  <a:gd name="T12" fmla="*/ 242 w 403"/>
                  <a:gd name="T13" fmla="*/ 178 h 184"/>
                  <a:gd name="T14" fmla="*/ 228 w 403"/>
                  <a:gd name="T15" fmla="*/ 178 h 184"/>
                  <a:gd name="T16" fmla="*/ 200 w 403"/>
                  <a:gd name="T17" fmla="*/ 164 h 184"/>
                  <a:gd name="T18" fmla="*/ 174 w 403"/>
                  <a:gd name="T19" fmla="*/ 164 h 184"/>
                  <a:gd name="T20" fmla="*/ 152 w 403"/>
                  <a:gd name="T21" fmla="*/ 150 h 184"/>
                  <a:gd name="T22" fmla="*/ 138 w 403"/>
                  <a:gd name="T23" fmla="*/ 130 h 184"/>
                  <a:gd name="T24" fmla="*/ 110 w 403"/>
                  <a:gd name="T25" fmla="*/ 130 h 184"/>
                  <a:gd name="T26" fmla="*/ 90 w 403"/>
                  <a:gd name="T27" fmla="*/ 124 h 184"/>
                  <a:gd name="T28" fmla="*/ 70 w 403"/>
                  <a:gd name="T29" fmla="*/ 138 h 184"/>
                  <a:gd name="T30" fmla="*/ 62 w 403"/>
                  <a:gd name="T31" fmla="*/ 124 h 184"/>
                  <a:gd name="T32" fmla="*/ 20 w 403"/>
                  <a:gd name="T33" fmla="*/ 116 h 184"/>
                  <a:gd name="T34" fmla="*/ 6 w 403"/>
                  <a:gd name="T35" fmla="*/ 104 h 184"/>
                  <a:gd name="T36" fmla="*/ 6 w 403"/>
                  <a:gd name="T37" fmla="*/ 88 h 184"/>
                  <a:gd name="T38" fmla="*/ 20 w 403"/>
                  <a:gd name="T39" fmla="*/ 76 h 184"/>
                  <a:gd name="T40" fmla="*/ 40 w 403"/>
                  <a:gd name="T41" fmla="*/ 88 h 184"/>
                  <a:gd name="T42" fmla="*/ 62 w 403"/>
                  <a:gd name="T43" fmla="*/ 88 h 184"/>
                  <a:gd name="T44" fmla="*/ 82 w 403"/>
                  <a:gd name="T45" fmla="*/ 88 h 184"/>
                  <a:gd name="T46" fmla="*/ 104 w 403"/>
                  <a:gd name="T47" fmla="*/ 82 h 184"/>
                  <a:gd name="T48" fmla="*/ 124 w 403"/>
                  <a:gd name="T49" fmla="*/ 88 h 184"/>
                  <a:gd name="T50" fmla="*/ 152 w 403"/>
                  <a:gd name="T51" fmla="*/ 82 h 184"/>
                  <a:gd name="T52" fmla="*/ 166 w 403"/>
                  <a:gd name="T53" fmla="*/ 82 h 184"/>
                  <a:gd name="T54" fmla="*/ 186 w 403"/>
                  <a:gd name="T55" fmla="*/ 96 h 184"/>
                  <a:gd name="T56" fmla="*/ 194 w 403"/>
                  <a:gd name="T57" fmla="*/ 104 h 184"/>
                  <a:gd name="T58" fmla="*/ 200 w 403"/>
                  <a:gd name="T59" fmla="*/ 88 h 184"/>
                  <a:gd name="T60" fmla="*/ 194 w 403"/>
                  <a:gd name="T61" fmla="*/ 68 h 184"/>
                  <a:gd name="T62" fmla="*/ 186 w 403"/>
                  <a:gd name="T63" fmla="*/ 42 h 184"/>
                  <a:gd name="T64" fmla="*/ 222 w 403"/>
                  <a:gd name="T65" fmla="*/ 28 h 184"/>
                  <a:gd name="T66" fmla="*/ 236 w 403"/>
                  <a:gd name="T67" fmla="*/ 20 h 184"/>
                  <a:gd name="T68" fmla="*/ 250 w 403"/>
                  <a:gd name="T69" fmla="*/ 14 h 184"/>
                  <a:gd name="T70" fmla="*/ 284 w 403"/>
                  <a:gd name="T71" fmla="*/ 20 h 184"/>
                  <a:gd name="T72" fmla="*/ 290 w 403"/>
                  <a:gd name="T73" fmla="*/ 0 h 184"/>
                  <a:gd name="T74" fmla="*/ 319 w 403"/>
                  <a:gd name="T75" fmla="*/ 0 h 184"/>
                  <a:gd name="T76" fmla="*/ 341 w 403"/>
                  <a:gd name="T77" fmla="*/ 6 h 184"/>
                  <a:gd name="T78" fmla="*/ 369 w 403"/>
                  <a:gd name="T79" fmla="*/ 14 h 184"/>
                  <a:gd name="T80" fmla="*/ 381 w 403"/>
                  <a:gd name="T81" fmla="*/ 28 h 184"/>
                  <a:gd name="T82" fmla="*/ 403 w 403"/>
                  <a:gd name="T83" fmla="*/ 34 h 184"/>
                  <a:gd name="T84" fmla="*/ 395 w 403"/>
                  <a:gd name="T85" fmla="*/ 54 h 184"/>
                  <a:gd name="T86" fmla="*/ 395 w 403"/>
                  <a:gd name="T87" fmla="*/ 88 h 184"/>
                  <a:gd name="T88" fmla="*/ 389 w 403"/>
                  <a:gd name="T89" fmla="*/ 88 h 184"/>
                  <a:gd name="T90" fmla="*/ 375 w 403"/>
                  <a:gd name="T91" fmla="*/ 96 h 184"/>
                  <a:gd name="T92" fmla="*/ 381 w 403"/>
                  <a:gd name="T93" fmla="*/ 116 h 184"/>
                  <a:gd name="T94" fmla="*/ 369 w 403"/>
                  <a:gd name="T95" fmla="*/ 144 h 184"/>
                  <a:gd name="T96" fmla="*/ 355 w 403"/>
                  <a:gd name="T97" fmla="*/ 164 h 184"/>
                  <a:gd name="T98" fmla="*/ 355 w 403"/>
                  <a:gd name="T99" fmla="*/ 158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3" h="184">
                    <a:moveTo>
                      <a:pt x="355" y="158"/>
                    </a:moveTo>
                    <a:lnTo>
                      <a:pt x="355" y="164"/>
                    </a:lnTo>
                    <a:lnTo>
                      <a:pt x="347" y="164"/>
                    </a:lnTo>
                    <a:lnTo>
                      <a:pt x="347" y="172"/>
                    </a:lnTo>
                    <a:lnTo>
                      <a:pt x="341" y="172"/>
                    </a:lnTo>
                    <a:lnTo>
                      <a:pt x="341" y="164"/>
                    </a:lnTo>
                    <a:lnTo>
                      <a:pt x="333" y="164"/>
                    </a:lnTo>
                    <a:lnTo>
                      <a:pt x="327" y="164"/>
                    </a:lnTo>
                    <a:lnTo>
                      <a:pt x="319" y="164"/>
                    </a:lnTo>
                    <a:lnTo>
                      <a:pt x="313" y="164"/>
                    </a:lnTo>
                    <a:lnTo>
                      <a:pt x="305" y="164"/>
                    </a:lnTo>
                    <a:lnTo>
                      <a:pt x="298" y="164"/>
                    </a:lnTo>
                    <a:lnTo>
                      <a:pt x="290" y="164"/>
                    </a:lnTo>
                    <a:lnTo>
                      <a:pt x="290" y="172"/>
                    </a:lnTo>
                    <a:lnTo>
                      <a:pt x="284" y="178"/>
                    </a:lnTo>
                    <a:lnTo>
                      <a:pt x="276" y="178"/>
                    </a:lnTo>
                    <a:lnTo>
                      <a:pt x="270" y="178"/>
                    </a:lnTo>
                    <a:lnTo>
                      <a:pt x="262" y="184"/>
                    </a:lnTo>
                    <a:lnTo>
                      <a:pt x="256" y="184"/>
                    </a:lnTo>
                    <a:lnTo>
                      <a:pt x="250" y="178"/>
                    </a:lnTo>
                    <a:lnTo>
                      <a:pt x="242" y="178"/>
                    </a:lnTo>
                    <a:lnTo>
                      <a:pt x="236" y="178"/>
                    </a:lnTo>
                    <a:lnTo>
                      <a:pt x="228" y="172"/>
                    </a:lnTo>
                    <a:lnTo>
                      <a:pt x="228" y="178"/>
                    </a:lnTo>
                    <a:lnTo>
                      <a:pt x="214" y="172"/>
                    </a:lnTo>
                    <a:lnTo>
                      <a:pt x="208" y="172"/>
                    </a:lnTo>
                    <a:lnTo>
                      <a:pt x="200" y="164"/>
                    </a:lnTo>
                    <a:lnTo>
                      <a:pt x="186" y="164"/>
                    </a:lnTo>
                    <a:lnTo>
                      <a:pt x="180" y="164"/>
                    </a:lnTo>
                    <a:lnTo>
                      <a:pt x="174" y="164"/>
                    </a:lnTo>
                    <a:lnTo>
                      <a:pt x="166" y="164"/>
                    </a:lnTo>
                    <a:lnTo>
                      <a:pt x="160" y="158"/>
                    </a:lnTo>
                    <a:lnTo>
                      <a:pt x="152" y="150"/>
                    </a:lnTo>
                    <a:lnTo>
                      <a:pt x="152" y="144"/>
                    </a:lnTo>
                    <a:lnTo>
                      <a:pt x="144" y="138"/>
                    </a:lnTo>
                    <a:lnTo>
                      <a:pt x="138" y="130"/>
                    </a:lnTo>
                    <a:lnTo>
                      <a:pt x="124" y="130"/>
                    </a:lnTo>
                    <a:lnTo>
                      <a:pt x="118" y="130"/>
                    </a:lnTo>
                    <a:lnTo>
                      <a:pt x="110" y="130"/>
                    </a:lnTo>
                    <a:lnTo>
                      <a:pt x="104" y="130"/>
                    </a:lnTo>
                    <a:lnTo>
                      <a:pt x="96" y="124"/>
                    </a:lnTo>
                    <a:lnTo>
                      <a:pt x="90" y="124"/>
                    </a:lnTo>
                    <a:lnTo>
                      <a:pt x="90" y="130"/>
                    </a:lnTo>
                    <a:lnTo>
                      <a:pt x="76" y="138"/>
                    </a:lnTo>
                    <a:lnTo>
                      <a:pt x="70" y="138"/>
                    </a:lnTo>
                    <a:lnTo>
                      <a:pt x="62" y="138"/>
                    </a:lnTo>
                    <a:lnTo>
                      <a:pt x="62" y="130"/>
                    </a:lnTo>
                    <a:lnTo>
                      <a:pt x="62" y="124"/>
                    </a:lnTo>
                    <a:lnTo>
                      <a:pt x="56" y="124"/>
                    </a:lnTo>
                    <a:lnTo>
                      <a:pt x="28" y="124"/>
                    </a:lnTo>
                    <a:lnTo>
                      <a:pt x="20" y="116"/>
                    </a:lnTo>
                    <a:lnTo>
                      <a:pt x="14" y="110"/>
                    </a:lnTo>
                    <a:lnTo>
                      <a:pt x="6" y="110"/>
                    </a:lnTo>
                    <a:lnTo>
                      <a:pt x="6" y="104"/>
                    </a:lnTo>
                    <a:lnTo>
                      <a:pt x="0" y="104"/>
                    </a:lnTo>
                    <a:lnTo>
                      <a:pt x="0" y="96"/>
                    </a:lnTo>
                    <a:lnTo>
                      <a:pt x="6" y="88"/>
                    </a:lnTo>
                    <a:lnTo>
                      <a:pt x="6" y="82"/>
                    </a:lnTo>
                    <a:lnTo>
                      <a:pt x="14" y="76"/>
                    </a:lnTo>
                    <a:lnTo>
                      <a:pt x="20" y="76"/>
                    </a:lnTo>
                    <a:lnTo>
                      <a:pt x="28" y="82"/>
                    </a:lnTo>
                    <a:lnTo>
                      <a:pt x="34" y="88"/>
                    </a:lnTo>
                    <a:lnTo>
                      <a:pt x="40" y="88"/>
                    </a:lnTo>
                    <a:lnTo>
                      <a:pt x="48" y="96"/>
                    </a:lnTo>
                    <a:lnTo>
                      <a:pt x="56" y="88"/>
                    </a:lnTo>
                    <a:lnTo>
                      <a:pt x="62" y="88"/>
                    </a:lnTo>
                    <a:lnTo>
                      <a:pt x="70" y="76"/>
                    </a:lnTo>
                    <a:lnTo>
                      <a:pt x="82" y="82"/>
                    </a:lnTo>
                    <a:lnTo>
                      <a:pt x="82" y="88"/>
                    </a:lnTo>
                    <a:lnTo>
                      <a:pt x="90" y="88"/>
                    </a:lnTo>
                    <a:lnTo>
                      <a:pt x="96" y="88"/>
                    </a:lnTo>
                    <a:lnTo>
                      <a:pt x="104" y="82"/>
                    </a:lnTo>
                    <a:lnTo>
                      <a:pt x="110" y="88"/>
                    </a:lnTo>
                    <a:lnTo>
                      <a:pt x="118" y="88"/>
                    </a:lnTo>
                    <a:lnTo>
                      <a:pt x="124" y="88"/>
                    </a:lnTo>
                    <a:lnTo>
                      <a:pt x="132" y="82"/>
                    </a:lnTo>
                    <a:lnTo>
                      <a:pt x="138" y="82"/>
                    </a:lnTo>
                    <a:lnTo>
                      <a:pt x="152" y="82"/>
                    </a:lnTo>
                    <a:lnTo>
                      <a:pt x="160" y="82"/>
                    </a:lnTo>
                    <a:lnTo>
                      <a:pt x="166" y="88"/>
                    </a:lnTo>
                    <a:lnTo>
                      <a:pt x="166" y="82"/>
                    </a:lnTo>
                    <a:lnTo>
                      <a:pt x="174" y="82"/>
                    </a:lnTo>
                    <a:lnTo>
                      <a:pt x="186" y="88"/>
                    </a:lnTo>
                    <a:lnTo>
                      <a:pt x="186" y="96"/>
                    </a:lnTo>
                    <a:lnTo>
                      <a:pt x="186" y="104"/>
                    </a:lnTo>
                    <a:lnTo>
                      <a:pt x="194" y="110"/>
                    </a:lnTo>
                    <a:lnTo>
                      <a:pt x="194" y="104"/>
                    </a:lnTo>
                    <a:lnTo>
                      <a:pt x="200" y="104"/>
                    </a:lnTo>
                    <a:lnTo>
                      <a:pt x="200" y="96"/>
                    </a:lnTo>
                    <a:lnTo>
                      <a:pt x="200" y="88"/>
                    </a:lnTo>
                    <a:lnTo>
                      <a:pt x="194" y="82"/>
                    </a:lnTo>
                    <a:lnTo>
                      <a:pt x="194" y="76"/>
                    </a:lnTo>
                    <a:lnTo>
                      <a:pt x="194" y="68"/>
                    </a:lnTo>
                    <a:lnTo>
                      <a:pt x="186" y="62"/>
                    </a:lnTo>
                    <a:lnTo>
                      <a:pt x="186" y="54"/>
                    </a:lnTo>
                    <a:lnTo>
                      <a:pt x="186" y="42"/>
                    </a:lnTo>
                    <a:lnTo>
                      <a:pt x="208" y="42"/>
                    </a:lnTo>
                    <a:lnTo>
                      <a:pt x="214" y="34"/>
                    </a:lnTo>
                    <a:lnTo>
                      <a:pt x="222" y="28"/>
                    </a:lnTo>
                    <a:lnTo>
                      <a:pt x="222" y="20"/>
                    </a:lnTo>
                    <a:lnTo>
                      <a:pt x="228" y="20"/>
                    </a:lnTo>
                    <a:lnTo>
                      <a:pt x="236" y="20"/>
                    </a:lnTo>
                    <a:lnTo>
                      <a:pt x="242" y="20"/>
                    </a:lnTo>
                    <a:lnTo>
                      <a:pt x="242" y="14"/>
                    </a:lnTo>
                    <a:lnTo>
                      <a:pt x="250" y="14"/>
                    </a:lnTo>
                    <a:lnTo>
                      <a:pt x="256" y="20"/>
                    </a:lnTo>
                    <a:lnTo>
                      <a:pt x="270" y="20"/>
                    </a:lnTo>
                    <a:lnTo>
                      <a:pt x="284" y="20"/>
                    </a:lnTo>
                    <a:lnTo>
                      <a:pt x="290" y="14"/>
                    </a:lnTo>
                    <a:lnTo>
                      <a:pt x="290" y="6"/>
                    </a:lnTo>
                    <a:lnTo>
                      <a:pt x="290" y="0"/>
                    </a:lnTo>
                    <a:lnTo>
                      <a:pt x="298" y="0"/>
                    </a:lnTo>
                    <a:lnTo>
                      <a:pt x="313" y="0"/>
                    </a:lnTo>
                    <a:lnTo>
                      <a:pt x="319" y="0"/>
                    </a:lnTo>
                    <a:lnTo>
                      <a:pt x="327" y="0"/>
                    </a:lnTo>
                    <a:lnTo>
                      <a:pt x="333" y="6"/>
                    </a:lnTo>
                    <a:lnTo>
                      <a:pt x="341" y="6"/>
                    </a:lnTo>
                    <a:lnTo>
                      <a:pt x="355" y="6"/>
                    </a:lnTo>
                    <a:lnTo>
                      <a:pt x="361" y="14"/>
                    </a:lnTo>
                    <a:lnTo>
                      <a:pt x="369" y="14"/>
                    </a:lnTo>
                    <a:lnTo>
                      <a:pt x="369" y="20"/>
                    </a:lnTo>
                    <a:lnTo>
                      <a:pt x="375" y="28"/>
                    </a:lnTo>
                    <a:lnTo>
                      <a:pt x="381" y="28"/>
                    </a:lnTo>
                    <a:lnTo>
                      <a:pt x="389" y="28"/>
                    </a:lnTo>
                    <a:lnTo>
                      <a:pt x="395" y="28"/>
                    </a:lnTo>
                    <a:lnTo>
                      <a:pt x="403" y="34"/>
                    </a:lnTo>
                    <a:lnTo>
                      <a:pt x="395" y="42"/>
                    </a:lnTo>
                    <a:lnTo>
                      <a:pt x="403" y="54"/>
                    </a:lnTo>
                    <a:lnTo>
                      <a:pt x="395" y="54"/>
                    </a:lnTo>
                    <a:lnTo>
                      <a:pt x="403" y="68"/>
                    </a:lnTo>
                    <a:lnTo>
                      <a:pt x="403" y="82"/>
                    </a:lnTo>
                    <a:lnTo>
                      <a:pt x="395" y="88"/>
                    </a:lnTo>
                    <a:lnTo>
                      <a:pt x="395" y="96"/>
                    </a:lnTo>
                    <a:lnTo>
                      <a:pt x="389" y="96"/>
                    </a:lnTo>
                    <a:lnTo>
                      <a:pt x="389" y="88"/>
                    </a:lnTo>
                    <a:lnTo>
                      <a:pt x="381" y="88"/>
                    </a:lnTo>
                    <a:lnTo>
                      <a:pt x="375" y="88"/>
                    </a:lnTo>
                    <a:lnTo>
                      <a:pt x="375" y="96"/>
                    </a:lnTo>
                    <a:lnTo>
                      <a:pt x="381" y="104"/>
                    </a:lnTo>
                    <a:lnTo>
                      <a:pt x="381" y="110"/>
                    </a:lnTo>
                    <a:lnTo>
                      <a:pt x="381" y="116"/>
                    </a:lnTo>
                    <a:lnTo>
                      <a:pt x="375" y="116"/>
                    </a:lnTo>
                    <a:lnTo>
                      <a:pt x="375" y="130"/>
                    </a:lnTo>
                    <a:lnTo>
                      <a:pt x="369" y="144"/>
                    </a:lnTo>
                    <a:lnTo>
                      <a:pt x="361" y="144"/>
                    </a:lnTo>
                    <a:lnTo>
                      <a:pt x="355" y="158"/>
                    </a:lnTo>
                    <a:lnTo>
                      <a:pt x="355" y="164"/>
                    </a:lnTo>
                    <a:lnTo>
                      <a:pt x="355" y="158"/>
                    </a:lnTo>
                    <a:lnTo>
                      <a:pt x="355" y="158"/>
                    </a:lnTo>
                    <a:lnTo>
                      <a:pt x="355" y="158"/>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3" name="Freeform 47"/>
              <p:cNvSpPr>
                <a:spLocks/>
              </p:cNvSpPr>
              <p:nvPr>
                <p:custDataLst>
                  <p:tags r:id="rId143"/>
                </p:custDataLst>
              </p:nvPr>
            </p:nvSpPr>
            <p:spPr bwMode="gray">
              <a:xfrm>
                <a:off x="4193551" y="2673042"/>
                <a:ext cx="741528" cy="930481"/>
              </a:xfrm>
              <a:custGeom>
                <a:avLst/>
                <a:gdLst>
                  <a:gd name="T0" fmla="*/ 14 w 467"/>
                  <a:gd name="T1" fmla="*/ 358 h 586"/>
                  <a:gd name="T2" fmla="*/ 14 w 467"/>
                  <a:gd name="T3" fmla="*/ 392 h 586"/>
                  <a:gd name="T4" fmla="*/ 62 w 467"/>
                  <a:gd name="T5" fmla="*/ 426 h 586"/>
                  <a:gd name="T6" fmla="*/ 62 w 467"/>
                  <a:gd name="T7" fmla="*/ 454 h 586"/>
                  <a:gd name="T8" fmla="*/ 48 w 467"/>
                  <a:gd name="T9" fmla="*/ 502 h 586"/>
                  <a:gd name="T10" fmla="*/ 48 w 467"/>
                  <a:gd name="T11" fmla="*/ 538 h 586"/>
                  <a:gd name="T12" fmla="*/ 84 w 467"/>
                  <a:gd name="T13" fmla="*/ 538 h 586"/>
                  <a:gd name="T14" fmla="*/ 118 w 467"/>
                  <a:gd name="T15" fmla="*/ 544 h 586"/>
                  <a:gd name="T16" fmla="*/ 154 w 467"/>
                  <a:gd name="T17" fmla="*/ 550 h 586"/>
                  <a:gd name="T18" fmla="*/ 188 w 467"/>
                  <a:gd name="T19" fmla="*/ 572 h 586"/>
                  <a:gd name="T20" fmla="*/ 222 w 467"/>
                  <a:gd name="T21" fmla="*/ 564 h 586"/>
                  <a:gd name="T22" fmla="*/ 258 w 467"/>
                  <a:gd name="T23" fmla="*/ 564 h 586"/>
                  <a:gd name="T24" fmla="*/ 298 w 467"/>
                  <a:gd name="T25" fmla="*/ 558 h 586"/>
                  <a:gd name="T26" fmla="*/ 326 w 467"/>
                  <a:gd name="T27" fmla="*/ 572 h 586"/>
                  <a:gd name="T28" fmla="*/ 340 w 467"/>
                  <a:gd name="T29" fmla="*/ 572 h 586"/>
                  <a:gd name="T30" fmla="*/ 326 w 467"/>
                  <a:gd name="T31" fmla="*/ 538 h 586"/>
                  <a:gd name="T32" fmla="*/ 360 w 467"/>
                  <a:gd name="T33" fmla="*/ 502 h 586"/>
                  <a:gd name="T34" fmla="*/ 382 w 467"/>
                  <a:gd name="T35" fmla="*/ 490 h 586"/>
                  <a:gd name="T36" fmla="*/ 354 w 467"/>
                  <a:gd name="T37" fmla="*/ 462 h 586"/>
                  <a:gd name="T38" fmla="*/ 326 w 467"/>
                  <a:gd name="T39" fmla="*/ 414 h 586"/>
                  <a:gd name="T40" fmla="*/ 306 w 467"/>
                  <a:gd name="T41" fmla="*/ 372 h 586"/>
                  <a:gd name="T42" fmla="*/ 320 w 467"/>
                  <a:gd name="T43" fmla="*/ 352 h 586"/>
                  <a:gd name="T44" fmla="*/ 368 w 467"/>
                  <a:gd name="T45" fmla="*/ 344 h 586"/>
                  <a:gd name="T46" fmla="*/ 424 w 467"/>
                  <a:gd name="T47" fmla="*/ 310 h 586"/>
                  <a:gd name="T48" fmla="*/ 465 w 467"/>
                  <a:gd name="T49" fmla="*/ 308 h 586"/>
                  <a:gd name="T50" fmla="*/ 459 w 467"/>
                  <a:gd name="T51" fmla="*/ 264 h 586"/>
                  <a:gd name="T52" fmla="*/ 453 w 467"/>
                  <a:gd name="T53" fmla="*/ 210 h 586"/>
                  <a:gd name="T54" fmla="*/ 434 w 467"/>
                  <a:gd name="T55" fmla="*/ 180 h 586"/>
                  <a:gd name="T56" fmla="*/ 443 w 467"/>
                  <a:gd name="T57" fmla="*/ 140 h 586"/>
                  <a:gd name="T58" fmla="*/ 410 w 467"/>
                  <a:gd name="T59" fmla="*/ 98 h 586"/>
                  <a:gd name="T60" fmla="*/ 382 w 467"/>
                  <a:gd name="T61" fmla="*/ 70 h 586"/>
                  <a:gd name="T62" fmla="*/ 354 w 467"/>
                  <a:gd name="T63" fmla="*/ 70 h 586"/>
                  <a:gd name="T64" fmla="*/ 312 w 467"/>
                  <a:gd name="T65" fmla="*/ 84 h 586"/>
                  <a:gd name="T66" fmla="*/ 284 w 467"/>
                  <a:gd name="T67" fmla="*/ 70 h 586"/>
                  <a:gd name="T68" fmla="*/ 278 w 467"/>
                  <a:gd name="T69" fmla="*/ 56 h 586"/>
                  <a:gd name="T70" fmla="*/ 250 w 467"/>
                  <a:gd name="T71" fmla="*/ 42 h 586"/>
                  <a:gd name="T72" fmla="*/ 236 w 467"/>
                  <a:gd name="T73" fmla="*/ 22 h 586"/>
                  <a:gd name="T74" fmla="*/ 196 w 467"/>
                  <a:gd name="T75" fmla="*/ 0 h 586"/>
                  <a:gd name="T76" fmla="*/ 188 w 467"/>
                  <a:gd name="T77" fmla="*/ 42 h 586"/>
                  <a:gd name="T78" fmla="*/ 188 w 467"/>
                  <a:gd name="T79" fmla="*/ 64 h 586"/>
                  <a:gd name="T80" fmla="*/ 216 w 467"/>
                  <a:gd name="T81" fmla="*/ 104 h 586"/>
                  <a:gd name="T82" fmla="*/ 174 w 467"/>
                  <a:gd name="T83" fmla="*/ 90 h 586"/>
                  <a:gd name="T84" fmla="*/ 160 w 467"/>
                  <a:gd name="T85" fmla="*/ 112 h 586"/>
                  <a:gd name="T86" fmla="*/ 146 w 467"/>
                  <a:gd name="T87" fmla="*/ 104 h 586"/>
                  <a:gd name="T88" fmla="*/ 112 w 467"/>
                  <a:gd name="T89" fmla="*/ 84 h 586"/>
                  <a:gd name="T90" fmla="*/ 104 w 467"/>
                  <a:gd name="T91" fmla="*/ 104 h 586"/>
                  <a:gd name="T92" fmla="*/ 104 w 467"/>
                  <a:gd name="T93" fmla="*/ 138 h 586"/>
                  <a:gd name="T94" fmla="*/ 98 w 467"/>
                  <a:gd name="T95" fmla="*/ 172 h 586"/>
                  <a:gd name="T96" fmla="*/ 84 w 467"/>
                  <a:gd name="T97" fmla="*/ 214 h 586"/>
                  <a:gd name="T98" fmla="*/ 36 w 467"/>
                  <a:gd name="T99" fmla="*/ 214 h 586"/>
                  <a:gd name="T100" fmla="*/ 22 w 467"/>
                  <a:gd name="T101" fmla="*/ 256 h 586"/>
                  <a:gd name="T102" fmla="*/ 0 w 467"/>
                  <a:gd name="T103" fmla="*/ 296 h 586"/>
                  <a:gd name="T104" fmla="*/ 0 w 467"/>
                  <a:gd name="T105" fmla="*/ 318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7" h="586">
                    <a:moveTo>
                      <a:pt x="0" y="332"/>
                    </a:moveTo>
                    <a:lnTo>
                      <a:pt x="0" y="338"/>
                    </a:lnTo>
                    <a:lnTo>
                      <a:pt x="8" y="344"/>
                    </a:lnTo>
                    <a:lnTo>
                      <a:pt x="14" y="352"/>
                    </a:lnTo>
                    <a:lnTo>
                      <a:pt x="14" y="358"/>
                    </a:lnTo>
                    <a:lnTo>
                      <a:pt x="14" y="366"/>
                    </a:lnTo>
                    <a:lnTo>
                      <a:pt x="14" y="372"/>
                    </a:lnTo>
                    <a:lnTo>
                      <a:pt x="14" y="380"/>
                    </a:lnTo>
                    <a:lnTo>
                      <a:pt x="8" y="380"/>
                    </a:lnTo>
                    <a:lnTo>
                      <a:pt x="14" y="392"/>
                    </a:lnTo>
                    <a:lnTo>
                      <a:pt x="22" y="406"/>
                    </a:lnTo>
                    <a:lnTo>
                      <a:pt x="28" y="414"/>
                    </a:lnTo>
                    <a:lnTo>
                      <a:pt x="42" y="420"/>
                    </a:lnTo>
                    <a:lnTo>
                      <a:pt x="56" y="420"/>
                    </a:lnTo>
                    <a:lnTo>
                      <a:pt x="62" y="426"/>
                    </a:lnTo>
                    <a:lnTo>
                      <a:pt x="70" y="426"/>
                    </a:lnTo>
                    <a:lnTo>
                      <a:pt x="76" y="426"/>
                    </a:lnTo>
                    <a:lnTo>
                      <a:pt x="84" y="434"/>
                    </a:lnTo>
                    <a:lnTo>
                      <a:pt x="70" y="448"/>
                    </a:lnTo>
                    <a:lnTo>
                      <a:pt x="62" y="454"/>
                    </a:lnTo>
                    <a:lnTo>
                      <a:pt x="56" y="468"/>
                    </a:lnTo>
                    <a:lnTo>
                      <a:pt x="56" y="476"/>
                    </a:lnTo>
                    <a:lnTo>
                      <a:pt x="48" y="482"/>
                    </a:lnTo>
                    <a:lnTo>
                      <a:pt x="48" y="490"/>
                    </a:lnTo>
                    <a:lnTo>
                      <a:pt x="48" y="502"/>
                    </a:lnTo>
                    <a:lnTo>
                      <a:pt x="48" y="510"/>
                    </a:lnTo>
                    <a:lnTo>
                      <a:pt x="42" y="516"/>
                    </a:lnTo>
                    <a:lnTo>
                      <a:pt x="42" y="532"/>
                    </a:lnTo>
                    <a:lnTo>
                      <a:pt x="42" y="530"/>
                    </a:lnTo>
                    <a:lnTo>
                      <a:pt x="48" y="538"/>
                    </a:lnTo>
                    <a:lnTo>
                      <a:pt x="48" y="530"/>
                    </a:lnTo>
                    <a:lnTo>
                      <a:pt x="62" y="538"/>
                    </a:lnTo>
                    <a:lnTo>
                      <a:pt x="70" y="538"/>
                    </a:lnTo>
                    <a:lnTo>
                      <a:pt x="76" y="538"/>
                    </a:lnTo>
                    <a:lnTo>
                      <a:pt x="84" y="538"/>
                    </a:lnTo>
                    <a:lnTo>
                      <a:pt x="90" y="538"/>
                    </a:lnTo>
                    <a:lnTo>
                      <a:pt x="98" y="538"/>
                    </a:lnTo>
                    <a:lnTo>
                      <a:pt x="104" y="538"/>
                    </a:lnTo>
                    <a:lnTo>
                      <a:pt x="118" y="538"/>
                    </a:lnTo>
                    <a:lnTo>
                      <a:pt x="118" y="544"/>
                    </a:lnTo>
                    <a:lnTo>
                      <a:pt x="126" y="544"/>
                    </a:lnTo>
                    <a:lnTo>
                      <a:pt x="132" y="544"/>
                    </a:lnTo>
                    <a:lnTo>
                      <a:pt x="132" y="550"/>
                    </a:lnTo>
                    <a:lnTo>
                      <a:pt x="146" y="558"/>
                    </a:lnTo>
                    <a:lnTo>
                      <a:pt x="154" y="550"/>
                    </a:lnTo>
                    <a:lnTo>
                      <a:pt x="160" y="550"/>
                    </a:lnTo>
                    <a:lnTo>
                      <a:pt x="166" y="558"/>
                    </a:lnTo>
                    <a:lnTo>
                      <a:pt x="174" y="564"/>
                    </a:lnTo>
                    <a:lnTo>
                      <a:pt x="180" y="564"/>
                    </a:lnTo>
                    <a:lnTo>
                      <a:pt x="188" y="572"/>
                    </a:lnTo>
                    <a:lnTo>
                      <a:pt x="196" y="564"/>
                    </a:lnTo>
                    <a:lnTo>
                      <a:pt x="202" y="564"/>
                    </a:lnTo>
                    <a:lnTo>
                      <a:pt x="208" y="550"/>
                    </a:lnTo>
                    <a:lnTo>
                      <a:pt x="222" y="558"/>
                    </a:lnTo>
                    <a:lnTo>
                      <a:pt x="222" y="564"/>
                    </a:lnTo>
                    <a:lnTo>
                      <a:pt x="228" y="564"/>
                    </a:lnTo>
                    <a:lnTo>
                      <a:pt x="236" y="564"/>
                    </a:lnTo>
                    <a:lnTo>
                      <a:pt x="244" y="558"/>
                    </a:lnTo>
                    <a:lnTo>
                      <a:pt x="250" y="564"/>
                    </a:lnTo>
                    <a:lnTo>
                      <a:pt x="258" y="564"/>
                    </a:lnTo>
                    <a:lnTo>
                      <a:pt x="264" y="564"/>
                    </a:lnTo>
                    <a:lnTo>
                      <a:pt x="272" y="558"/>
                    </a:lnTo>
                    <a:lnTo>
                      <a:pt x="278" y="558"/>
                    </a:lnTo>
                    <a:lnTo>
                      <a:pt x="292" y="558"/>
                    </a:lnTo>
                    <a:lnTo>
                      <a:pt x="298" y="558"/>
                    </a:lnTo>
                    <a:lnTo>
                      <a:pt x="306" y="564"/>
                    </a:lnTo>
                    <a:lnTo>
                      <a:pt x="306" y="558"/>
                    </a:lnTo>
                    <a:lnTo>
                      <a:pt x="312" y="558"/>
                    </a:lnTo>
                    <a:lnTo>
                      <a:pt x="326" y="564"/>
                    </a:lnTo>
                    <a:lnTo>
                      <a:pt x="326" y="572"/>
                    </a:lnTo>
                    <a:lnTo>
                      <a:pt x="326" y="578"/>
                    </a:lnTo>
                    <a:lnTo>
                      <a:pt x="334" y="586"/>
                    </a:lnTo>
                    <a:lnTo>
                      <a:pt x="334" y="578"/>
                    </a:lnTo>
                    <a:lnTo>
                      <a:pt x="340" y="578"/>
                    </a:lnTo>
                    <a:lnTo>
                      <a:pt x="340" y="572"/>
                    </a:lnTo>
                    <a:lnTo>
                      <a:pt x="340" y="564"/>
                    </a:lnTo>
                    <a:lnTo>
                      <a:pt x="334" y="558"/>
                    </a:lnTo>
                    <a:lnTo>
                      <a:pt x="334" y="550"/>
                    </a:lnTo>
                    <a:lnTo>
                      <a:pt x="334" y="544"/>
                    </a:lnTo>
                    <a:lnTo>
                      <a:pt x="326" y="538"/>
                    </a:lnTo>
                    <a:lnTo>
                      <a:pt x="326" y="530"/>
                    </a:lnTo>
                    <a:lnTo>
                      <a:pt x="326" y="516"/>
                    </a:lnTo>
                    <a:lnTo>
                      <a:pt x="348" y="516"/>
                    </a:lnTo>
                    <a:lnTo>
                      <a:pt x="354" y="510"/>
                    </a:lnTo>
                    <a:lnTo>
                      <a:pt x="360" y="502"/>
                    </a:lnTo>
                    <a:lnTo>
                      <a:pt x="360" y="496"/>
                    </a:lnTo>
                    <a:lnTo>
                      <a:pt x="368" y="496"/>
                    </a:lnTo>
                    <a:lnTo>
                      <a:pt x="374" y="496"/>
                    </a:lnTo>
                    <a:lnTo>
                      <a:pt x="382" y="496"/>
                    </a:lnTo>
                    <a:lnTo>
                      <a:pt x="382" y="490"/>
                    </a:lnTo>
                    <a:lnTo>
                      <a:pt x="382" y="482"/>
                    </a:lnTo>
                    <a:lnTo>
                      <a:pt x="374" y="476"/>
                    </a:lnTo>
                    <a:lnTo>
                      <a:pt x="368" y="468"/>
                    </a:lnTo>
                    <a:lnTo>
                      <a:pt x="360" y="462"/>
                    </a:lnTo>
                    <a:lnTo>
                      <a:pt x="354" y="462"/>
                    </a:lnTo>
                    <a:lnTo>
                      <a:pt x="348" y="454"/>
                    </a:lnTo>
                    <a:lnTo>
                      <a:pt x="340" y="440"/>
                    </a:lnTo>
                    <a:lnTo>
                      <a:pt x="334" y="426"/>
                    </a:lnTo>
                    <a:lnTo>
                      <a:pt x="326" y="420"/>
                    </a:lnTo>
                    <a:lnTo>
                      <a:pt x="326" y="414"/>
                    </a:lnTo>
                    <a:lnTo>
                      <a:pt x="326" y="400"/>
                    </a:lnTo>
                    <a:lnTo>
                      <a:pt x="320" y="392"/>
                    </a:lnTo>
                    <a:lnTo>
                      <a:pt x="312" y="386"/>
                    </a:lnTo>
                    <a:lnTo>
                      <a:pt x="312" y="372"/>
                    </a:lnTo>
                    <a:lnTo>
                      <a:pt x="306" y="372"/>
                    </a:lnTo>
                    <a:lnTo>
                      <a:pt x="298" y="358"/>
                    </a:lnTo>
                    <a:lnTo>
                      <a:pt x="298" y="344"/>
                    </a:lnTo>
                    <a:lnTo>
                      <a:pt x="306" y="352"/>
                    </a:lnTo>
                    <a:lnTo>
                      <a:pt x="306" y="358"/>
                    </a:lnTo>
                    <a:lnTo>
                      <a:pt x="320" y="352"/>
                    </a:lnTo>
                    <a:lnTo>
                      <a:pt x="326" y="358"/>
                    </a:lnTo>
                    <a:lnTo>
                      <a:pt x="340" y="358"/>
                    </a:lnTo>
                    <a:lnTo>
                      <a:pt x="354" y="352"/>
                    </a:lnTo>
                    <a:lnTo>
                      <a:pt x="360" y="352"/>
                    </a:lnTo>
                    <a:lnTo>
                      <a:pt x="368" y="344"/>
                    </a:lnTo>
                    <a:lnTo>
                      <a:pt x="374" y="344"/>
                    </a:lnTo>
                    <a:lnTo>
                      <a:pt x="396" y="332"/>
                    </a:lnTo>
                    <a:lnTo>
                      <a:pt x="402" y="324"/>
                    </a:lnTo>
                    <a:lnTo>
                      <a:pt x="410" y="318"/>
                    </a:lnTo>
                    <a:lnTo>
                      <a:pt x="424" y="310"/>
                    </a:lnTo>
                    <a:lnTo>
                      <a:pt x="430" y="318"/>
                    </a:lnTo>
                    <a:lnTo>
                      <a:pt x="430" y="324"/>
                    </a:lnTo>
                    <a:lnTo>
                      <a:pt x="438" y="324"/>
                    </a:lnTo>
                    <a:lnTo>
                      <a:pt x="445" y="318"/>
                    </a:lnTo>
                    <a:lnTo>
                      <a:pt x="465" y="308"/>
                    </a:lnTo>
                    <a:lnTo>
                      <a:pt x="463" y="292"/>
                    </a:lnTo>
                    <a:lnTo>
                      <a:pt x="467" y="282"/>
                    </a:lnTo>
                    <a:lnTo>
                      <a:pt x="459" y="276"/>
                    </a:lnTo>
                    <a:lnTo>
                      <a:pt x="461" y="272"/>
                    </a:lnTo>
                    <a:lnTo>
                      <a:pt x="459" y="264"/>
                    </a:lnTo>
                    <a:lnTo>
                      <a:pt x="459" y="248"/>
                    </a:lnTo>
                    <a:lnTo>
                      <a:pt x="465" y="238"/>
                    </a:lnTo>
                    <a:lnTo>
                      <a:pt x="457" y="222"/>
                    </a:lnTo>
                    <a:lnTo>
                      <a:pt x="459" y="216"/>
                    </a:lnTo>
                    <a:lnTo>
                      <a:pt x="453" y="210"/>
                    </a:lnTo>
                    <a:lnTo>
                      <a:pt x="451" y="206"/>
                    </a:lnTo>
                    <a:lnTo>
                      <a:pt x="453" y="196"/>
                    </a:lnTo>
                    <a:lnTo>
                      <a:pt x="440" y="190"/>
                    </a:lnTo>
                    <a:lnTo>
                      <a:pt x="438" y="184"/>
                    </a:lnTo>
                    <a:lnTo>
                      <a:pt x="434" y="180"/>
                    </a:lnTo>
                    <a:lnTo>
                      <a:pt x="440" y="174"/>
                    </a:lnTo>
                    <a:lnTo>
                      <a:pt x="445" y="168"/>
                    </a:lnTo>
                    <a:lnTo>
                      <a:pt x="438" y="158"/>
                    </a:lnTo>
                    <a:lnTo>
                      <a:pt x="445" y="148"/>
                    </a:lnTo>
                    <a:lnTo>
                      <a:pt x="443" y="140"/>
                    </a:lnTo>
                    <a:lnTo>
                      <a:pt x="438" y="138"/>
                    </a:lnTo>
                    <a:lnTo>
                      <a:pt x="436" y="130"/>
                    </a:lnTo>
                    <a:lnTo>
                      <a:pt x="430" y="112"/>
                    </a:lnTo>
                    <a:lnTo>
                      <a:pt x="410" y="112"/>
                    </a:lnTo>
                    <a:lnTo>
                      <a:pt x="410" y="98"/>
                    </a:lnTo>
                    <a:lnTo>
                      <a:pt x="410" y="84"/>
                    </a:lnTo>
                    <a:lnTo>
                      <a:pt x="396" y="84"/>
                    </a:lnTo>
                    <a:lnTo>
                      <a:pt x="388" y="84"/>
                    </a:lnTo>
                    <a:lnTo>
                      <a:pt x="388" y="76"/>
                    </a:lnTo>
                    <a:lnTo>
                      <a:pt x="382" y="70"/>
                    </a:lnTo>
                    <a:lnTo>
                      <a:pt x="382" y="64"/>
                    </a:lnTo>
                    <a:lnTo>
                      <a:pt x="374" y="64"/>
                    </a:lnTo>
                    <a:lnTo>
                      <a:pt x="368" y="70"/>
                    </a:lnTo>
                    <a:lnTo>
                      <a:pt x="360" y="70"/>
                    </a:lnTo>
                    <a:lnTo>
                      <a:pt x="354" y="70"/>
                    </a:lnTo>
                    <a:lnTo>
                      <a:pt x="340" y="76"/>
                    </a:lnTo>
                    <a:lnTo>
                      <a:pt x="326" y="84"/>
                    </a:lnTo>
                    <a:lnTo>
                      <a:pt x="320" y="76"/>
                    </a:lnTo>
                    <a:lnTo>
                      <a:pt x="320" y="84"/>
                    </a:lnTo>
                    <a:lnTo>
                      <a:pt x="312" y="84"/>
                    </a:lnTo>
                    <a:lnTo>
                      <a:pt x="298" y="84"/>
                    </a:lnTo>
                    <a:lnTo>
                      <a:pt x="292" y="84"/>
                    </a:lnTo>
                    <a:lnTo>
                      <a:pt x="278" y="76"/>
                    </a:lnTo>
                    <a:lnTo>
                      <a:pt x="284" y="76"/>
                    </a:lnTo>
                    <a:lnTo>
                      <a:pt x="284" y="70"/>
                    </a:lnTo>
                    <a:lnTo>
                      <a:pt x="292" y="70"/>
                    </a:lnTo>
                    <a:lnTo>
                      <a:pt x="292" y="64"/>
                    </a:lnTo>
                    <a:lnTo>
                      <a:pt x="292" y="56"/>
                    </a:lnTo>
                    <a:lnTo>
                      <a:pt x="284" y="56"/>
                    </a:lnTo>
                    <a:lnTo>
                      <a:pt x="278" y="56"/>
                    </a:lnTo>
                    <a:lnTo>
                      <a:pt x="272" y="64"/>
                    </a:lnTo>
                    <a:lnTo>
                      <a:pt x="264" y="48"/>
                    </a:lnTo>
                    <a:lnTo>
                      <a:pt x="258" y="48"/>
                    </a:lnTo>
                    <a:lnTo>
                      <a:pt x="250" y="48"/>
                    </a:lnTo>
                    <a:lnTo>
                      <a:pt x="250" y="42"/>
                    </a:lnTo>
                    <a:lnTo>
                      <a:pt x="244" y="42"/>
                    </a:lnTo>
                    <a:lnTo>
                      <a:pt x="236" y="42"/>
                    </a:lnTo>
                    <a:lnTo>
                      <a:pt x="236" y="36"/>
                    </a:lnTo>
                    <a:lnTo>
                      <a:pt x="244" y="28"/>
                    </a:lnTo>
                    <a:lnTo>
                      <a:pt x="236" y="22"/>
                    </a:lnTo>
                    <a:lnTo>
                      <a:pt x="228" y="14"/>
                    </a:lnTo>
                    <a:lnTo>
                      <a:pt x="222" y="8"/>
                    </a:lnTo>
                    <a:lnTo>
                      <a:pt x="208" y="8"/>
                    </a:lnTo>
                    <a:lnTo>
                      <a:pt x="202" y="0"/>
                    </a:lnTo>
                    <a:lnTo>
                      <a:pt x="196" y="0"/>
                    </a:lnTo>
                    <a:lnTo>
                      <a:pt x="196" y="14"/>
                    </a:lnTo>
                    <a:lnTo>
                      <a:pt x="196" y="22"/>
                    </a:lnTo>
                    <a:lnTo>
                      <a:pt x="202" y="28"/>
                    </a:lnTo>
                    <a:lnTo>
                      <a:pt x="202" y="36"/>
                    </a:lnTo>
                    <a:lnTo>
                      <a:pt x="188" y="42"/>
                    </a:lnTo>
                    <a:lnTo>
                      <a:pt x="180" y="42"/>
                    </a:lnTo>
                    <a:lnTo>
                      <a:pt x="180" y="48"/>
                    </a:lnTo>
                    <a:lnTo>
                      <a:pt x="188" y="48"/>
                    </a:lnTo>
                    <a:lnTo>
                      <a:pt x="188" y="56"/>
                    </a:lnTo>
                    <a:lnTo>
                      <a:pt x="188" y="64"/>
                    </a:lnTo>
                    <a:lnTo>
                      <a:pt x="202" y="70"/>
                    </a:lnTo>
                    <a:lnTo>
                      <a:pt x="196" y="76"/>
                    </a:lnTo>
                    <a:lnTo>
                      <a:pt x="202" y="84"/>
                    </a:lnTo>
                    <a:lnTo>
                      <a:pt x="216" y="90"/>
                    </a:lnTo>
                    <a:lnTo>
                      <a:pt x="216" y="104"/>
                    </a:lnTo>
                    <a:lnTo>
                      <a:pt x="208" y="90"/>
                    </a:lnTo>
                    <a:lnTo>
                      <a:pt x="202" y="84"/>
                    </a:lnTo>
                    <a:lnTo>
                      <a:pt x="188" y="84"/>
                    </a:lnTo>
                    <a:lnTo>
                      <a:pt x="174" y="84"/>
                    </a:lnTo>
                    <a:lnTo>
                      <a:pt x="174" y="90"/>
                    </a:lnTo>
                    <a:lnTo>
                      <a:pt x="174" y="104"/>
                    </a:lnTo>
                    <a:lnTo>
                      <a:pt x="174" y="112"/>
                    </a:lnTo>
                    <a:lnTo>
                      <a:pt x="166" y="118"/>
                    </a:lnTo>
                    <a:lnTo>
                      <a:pt x="166" y="124"/>
                    </a:lnTo>
                    <a:lnTo>
                      <a:pt x="160" y="112"/>
                    </a:lnTo>
                    <a:lnTo>
                      <a:pt x="160" y="104"/>
                    </a:lnTo>
                    <a:lnTo>
                      <a:pt x="160" y="98"/>
                    </a:lnTo>
                    <a:lnTo>
                      <a:pt x="154" y="98"/>
                    </a:lnTo>
                    <a:lnTo>
                      <a:pt x="154" y="104"/>
                    </a:lnTo>
                    <a:lnTo>
                      <a:pt x="146" y="104"/>
                    </a:lnTo>
                    <a:lnTo>
                      <a:pt x="146" y="98"/>
                    </a:lnTo>
                    <a:lnTo>
                      <a:pt x="154" y="90"/>
                    </a:lnTo>
                    <a:lnTo>
                      <a:pt x="138" y="84"/>
                    </a:lnTo>
                    <a:lnTo>
                      <a:pt x="126" y="84"/>
                    </a:lnTo>
                    <a:lnTo>
                      <a:pt x="112" y="84"/>
                    </a:lnTo>
                    <a:lnTo>
                      <a:pt x="104" y="84"/>
                    </a:lnTo>
                    <a:lnTo>
                      <a:pt x="104" y="90"/>
                    </a:lnTo>
                    <a:lnTo>
                      <a:pt x="98" y="98"/>
                    </a:lnTo>
                    <a:lnTo>
                      <a:pt x="98" y="104"/>
                    </a:lnTo>
                    <a:lnTo>
                      <a:pt x="104" y="104"/>
                    </a:lnTo>
                    <a:lnTo>
                      <a:pt x="104" y="112"/>
                    </a:lnTo>
                    <a:lnTo>
                      <a:pt x="112" y="118"/>
                    </a:lnTo>
                    <a:lnTo>
                      <a:pt x="104" y="124"/>
                    </a:lnTo>
                    <a:lnTo>
                      <a:pt x="104" y="132"/>
                    </a:lnTo>
                    <a:lnTo>
                      <a:pt x="104" y="138"/>
                    </a:lnTo>
                    <a:lnTo>
                      <a:pt x="104" y="146"/>
                    </a:lnTo>
                    <a:lnTo>
                      <a:pt x="98" y="146"/>
                    </a:lnTo>
                    <a:lnTo>
                      <a:pt x="98" y="152"/>
                    </a:lnTo>
                    <a:lnTo>
                      <a:pt x="98" y="166"/>
                    </a:lnTo>
                    <a:lnTo>
                      <a:pt x="98" y="172"/>
                    </a:lnTo>
                    <a:lnTo>
                      <a:pt x="90" y="180"/>
                    </a:lnTo>
                    <a:lnTo>
                      <a:pt x="98" y="186"/>
                    </a:lnTo>
                    <a:lnTo>
                      <a:pt x="98" y="194"/>
                    </a:lnTo>
                    <a:lnTo>
                      <a:pt x="90" y="214"/>
                    </a:lnTo>
                    <a:lnTo>
                      <a:pt x="84" y="214"/>
                    </a:lnTo>
                    <a:lnTo>
                      <a:pt x="76" y="214"/>
                    </a:lnTo>
                    <a:lnTo>
                      <a:pt x="70" y="214"/>
                    </a:lnTo>
                    <a:lnTo>
                      <a:pt x="62" y="214"/>
                    </a:lnTo>
                    <a:lnTo>
                      <a:pt x="56" y="206"/>
                    </a:lnTo>
                    <a:lnTo>
                      <a:pt x="36" y="214"/>
                    </a:lnTo>
                    <a:lnTo>
                      <a:pt x="22" y="220"/>
                    </a:lnTo>
                    <a:lnTo>
                      <a:pt x="22" y="228"/>
                    </a:lnTo>
                    <a:lnTo>
                      <a:pt x="22" y="234"/>
                    </a:lnTo>
                    <a:lnTo>
                      <a:pt x="22" y="248"/>
                    </a:lnTo>
                    <a:lnTo>
                      <a:pt x="22" y="256"/>
                    </a:lnTo>
                    <a:lnTo>
                      <a:pt x="8" y="262"/>
                    </a:lnTo>
                    <a:lnTo>
                      <a:pt x="8" y="268"/>
                    </a:lnTo>
                    <a:lnTo>
                      <a:pt x="8" y="276"/>
                    </a:lnTo>
                    <a:lnTo>
                      <a:pt x="8" y="282"/>
                    </a:lnTo>
                    <a:lnTo>
                      <a:pt x="0" y="296"/>
                    </a:lnTo>
                    <a:lnTo>
                      <a:pt x="8" y="296"/>
                    </a:lnTo>
                    <a:lnTo>
                      <a:pt x="8" y="304"/>
                    </a:lnTo>
                    <a:lnTo>
                      <a:pt x="8" y="310"/>
                    </a:lnTo>
                    <a:lnTo>
                      <a:pt x="0" y="310"/>
                    </a:lnTo>
                    <a:lnTo>
                      <a:pt x="0" y="318"/>
                    </a:lnTo>
                    <a:lnTo>
                      <a:pt x="0" y="324"/>
                    </a:lnTo>
                    <a:lnTo>
                      <a:pt x="0" y="332"/>
                    </a:lnTo>
                    <a:lnTo>
                      <a:pt x="0" y="332"/>
                    </a:lnTo>
                    <a:lnTo>
                      <a:pt x="0" y="332"/>
                    </a:lnTo>
                    <a:close/>
                  </a:path>
                </a:pathLst>
              </a:custGeom>
              <a:solidFill>
                <a:srgbClr val="CBFCFF"/>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solidFill>
                    <a:schemeClr val="bg1"/>
                  </a:solidFill>
                </a:endParaRPr>
              </a:p>
            </p:txBody>
          </p:sp>
          <p:sp>
            <p:nvSpPr>
              <p:cNvPr id="804" name="Freeform 48"/>
              <p:cNvSpPr>
                <a:spLocks/>
              </p:cNvSpPr>
              <p:nvPr/>
            </p:nvSpPr>
            <p:spPr bwMode="gray">
              <a:xfrm>
                <a:off x="4473013" y="2444391"/>
                <a:ext cx="196894" cy="254057"/>
              </a:xfrm>
              <a:custGeom>
                <a:avLst/>
                <a:gdLst>
                  <a:gd name="T0" fmla="*/ 28 w 124"/>
                  <a:gd name="T1" fmla="*/ 146 h 160"/>
                  <a:gd name="T2" fmla="*/ 50 w 124"/>
                  <a:gd name="T3" fmla="*/ 152 h 160"/>
                  <a:gd name="T4" fmla="*/ 48 w 124"/>
                  <a:gd name="T5" fmla="*/ 160 h 160"/>
                  <a:gd name="T6" fmla="*/ 62 w 124"/>
                  <a:gd name="T7" fmla="*/ 152 h 160"/>
                  <a:gd name="T8" fmla="*/ 48 w 124"/>
                  <a:gd name="T9" fmla="*/ 138 h 160"/>
                  <a:gd name="T10" fmla="*/ 62 w 124"/>
                  <a:gd name="T11" fmla="*/ 132 h 160"/>
                  <a:gd name="T12" fmla="*/ 56 w 124"/>
                  <a:gd name="T13" fmla="*/ 118 h 160"/>
                  <a:gd name="T14" fmla="*/ 62 w 124"/>
                  <a:gd name="T15" fmla="*/ 110 h 160"/>
                  <a:gd name="T16" fmla="*/ 70 w 124"/>
                  <a:gd name="T17" fmla="*/ 104 h 160"/>
                  <a:gd name="T18" fmla="*/ 84 w 124"/>
                  <a:gd name="T19" fmla="*/ 96 h 160"/>
                  <a:gd name="T20" fmla="*/ 98 w 124"/>
                  <a:gd name="T21" fmla="*/ 82 h 160"/>
                  <a:gd name="T22" fmla="*/ 98 w 124"/>
                  <a:gd name="T23" fmla="*/ 62 h 160"/>
                  <a:gd name="T24" fmla="*/ 112 w 124"/>
                  <a:gd name="T25" fmla="*/ 56 h 160"/>
                  <a:gd name="T26" fmla="*/ 118 w 124"/>
                  <a:gd name="T27" fmla="*/ 62 h 160"/>
                  <a:gd name="T28" fmla="*/ 124 w 124"/>
                  <a:gd name="T29" fmla="*/ 48 h 160"/>
                  <a:gd name="T30" fmla="*/ 118 w 124"/>
                  <a:gd name="T31" fmla="*/ 34 h 160"/>
                  <a:gd name="T32" fmla="*/ 104 w 124"/>
                  <a:gd name="T33" fmla="*/ 34 h 160"/>
                  <a:gd name="T34" fmla="*/ 98 w 124"/>
                  <a:gd name="T35" fmla="*/ 28 h 160"/>
                  <a:gd name="T36" fmla="*/ 104 w 124"/>
                  <a:gd name="T37" fmla="*/ 14 h 160"/>
                  <a:gd name="T38" fmla="*/ 104 w 124"/>
                  <a:gd name="T39" fmla="*/ 6 h 160"/>
                  <a:gd name="T40" fmla="*/ 98 w 124"/>
                  <a:gd name="T41" fmla="*/ 0 h 160"/>
                  <a:gd name="T42" fmla="*/ 90 w 124"/>
                  <a:gd name="T43" fmla="*/ 6 h 160"/>
                  <a:gd name="T44" fmla="*/ 70 w 124"/>
                  <a:gd name="T45" fmla="*/ 6 h 160"/>
                  <a:gd name="T46" fmla="*/ 70 w 124"/>
                  <a:gd name="T47" fmla="*/ 20 h 160"/>
                  <a:gd name="T48" fmla="*/ 70 w 124"/>
                  <a:gd name="T49" fmla="*/ 34 h 160"/>
                  <a:gd name="T50" fmla="*/ 62 w 124"/>
                  <a:gd name="T51" fmla="*/ 20 h 160"/>
                  <a:gd name="T52" fmla="*/ 56 w 124"/>
                  <a:gd name="T53" fmla="*/ 20 h 160"/>
                  <a:gd name="T54" fmla="*/ 48 w 124"/>
                  <a:gd name="T55" fmla="*/ 14 h 160"/>
                  <a:gd name="T56" fmla="*/ 42 w 124"/>
                  <a:gd name="T57" fmla="*/ 28 h 160"/>
                  <a:gd name="T58" fmla="*/ 36 w 124"/>
                  <a:gd name="T59" fmla="*/ 34 h 160"/>
                  <a:gd name="T60" fmla="*/ 28 w 124"/>
                  <a:gd name="T61" fmla="*/ 20 h 160"/>
                  <a:gd name="T62" fmla="*/ 22 w 124"/>
                  <a:gd name="T63" fmla="*/ 14 h 160"/>
                  <a:gd name="T64" fmla="*/ 14 w 124"/>
                  <a:gd name="T65" fmla="*/ 20 h 160"/>
                  <a:gd name="T66" fmla="*/ 8 w 124"/>
                  <a:gd name="T67" fmla="*/ 34 h 160"/>
                  <a:gd name="T68" fmla="*/ 8 w 124"/>
                  <a:gd name="T69" fmla="*/ 56 h 160"/>
                  <a:gd name="T70" fmla="*/ 8 w 124"/>
                  <a:gd name="T71" fmla="*/ 70 h 160"/>
                  <a:gd name="T72" fmla="*/ 8 w 124"/>
                  <a:gd name="T73" fmla="*/ 82 h 160"/>
                  <a:gd name="T74" fmla="*/ 8 w 124"/>
                  <a:gd name="T75" fmla="*/ 96 h 160"/>
                  <a:gd name="T76" fmla="*/ 14 w 124"/>
                  <a:gd name="T77" fmla="*/ 104 h 160"/>
                  <a:gd name="T78" fmla="*/ 22 w 124"/>
                  <a:gd name="T79" fmla="*/ 118 h 160"/>
                  <a:gd name="T80" fmla="*/ 22 w 124"/>
                  <a:gd name="T81" fmla="*/ 138 h 160"/>
                  <a:gd name="T82" fmla="*/ 22 w 124"/>
                  <a:gd name="T83" fmla="*/ 152 h 160"/>
                  <a:gd name="T84" fmla="*/ 22 w 124"/>
                  <a:gd name="T85" fmla="*/ 14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4" h="160">
                    <a:moveTo>
                      <a:pt x="22" y="146"/>
                    </a:moveTo>
                    <a:lnTo>
                      <a:pt x="28" y="146"/>
                    </a:lnTo>
                    <a:lnTo>
                      <a:pt x="36" y="152"/>
                    </a:lnTo>
                    <a:lnTo>
                      <a:pt x="50" y="152"/>
                    </a:lnTo>
                    <a:lnTo>
                      <a:pt x="52" y="156"/>
                    </a:lnTo>
                    <a:lnTo>
                      <a:pt x="48" y="160"/>
                    </a:lnTo>
                    <a:lnTo>
                      <a:pt x="56" y="152"/>
                    </a:lnTo>
                    <a:lnTo>
                      <a:pt x="62" y="152"/>
                    </a:lnTo>
                    <a:lnTo>
                      <a:pt x="56" y="146"/>
                    </a:lnTo>
                    <a:lnTo>
                      <a:pt x="48" y="138"/>
                    </a:lnTo>
                    <a:lnTo>
                      <a:pt x="56" y="132"/>
                    </a:lnTo>
                    <a:lnTo>
                      <a:pt x="62" y="132"/>
                    </a:lnTo>
                    <a:lnTo>
                      <a:pt x="56" y="124"/>
                    </a:lnTo>
                    <a:lnTo>
                      <a:pt x="56" y="118"/>
                    </a:lnTo>
                    <a:lnTo>
                      <a:pt x="62" y="118"/>
                    </a:lnTo>
                    <a:lnTo>
                      <a:pt x="62" y="110"/>
                    </a:lnTo>
                    <a:lnTo>
                      <a:pt x="62" y="104"/>
                    </a:lnTo>
                    <a:lnTo>
                      <a:pt x="70" y="104"/>
                    </a:lnTo>
                    <a:lnTo>
                      <a:pt x="76" y="96"/>
                    </a:lnTo>
                    <a:lnTo>
                      <a:pt x="84" y="96"/>
                    </a:lnTo>
                    <a:lnTo>
                      <a:pt x="84" y="90"/>
                    </a:lnTo>
                    <a:lnTo>
                      <a:pt x="98" y="82"/>
                    </a:lnTo>
                    <a:lnTo>
                      <a:pt x="104" y="70"/>
                    </a:lnTo>
                    <a:lnTo>
                      <a:pt x="98" y="62"/>
                    </a:lnTo>
                    <a:lnTo>
                      <a:pt x="104" y="56"/>
                    </a:lnTo>
                    <a:lnTo>
                      <a:pt x="112" y="56"/>
                    </a:lnTo>
                    <a:lnTo>
                      <a:pt x="112" y="62"/>
                    </a:lnTo>
                    <a:lnTo>
                      <a:pt x="118" y="62"/>
                    </a:lnTo>
                    <a:lnTo>
                      <a:pt x="124" y="56"/>
                    </a:lnTo>
                    <a:lnTo>
                      <a:pt x="124" y="48"/>
                    </a:lnTo>
                    <a:lnTo>
                      <a:pt x="124" y="42"/>
                    </a:lnTo>
                    <a:lnTo>
                      <a:pt x="118" y="34"/>
                    </a:lnTo>
                    <a:lnTo>
                      <a:pt x="112" y="34"/>
                    </a:lnTo>
                    <a:lnTo>
                      <a:pt x="104" y="34"/>
                    </a:lnTo>
                    <a:lnTo>
                      <a:pt x="104" y="28"/>
                    </a:lnTo>
                    <a:lnTo>
                      <a:pt x="98" y="28"/>
                    </a:lnTo>
                    <a:lnTo>
                      <a:pt x="98" y="20"/>
                    </a:lnTo>
                    <a:lnTo>
                      <a:pt x="104" y="14"/>
                    </a:lnTo>
                    <a:lnTo>
                      <a:pt x="112" y="14"/>
                    </a:lnTo>
                    <a:lnTo>
                      <a:pt x="104" y="6"/>
                    </a:lnTo>
                    <a:lnTo>
                      <a:pt x="104" y="0"/>
                    </a:lnTo>
                    <a:lnTo>
                      <a:pt x="98" y="0"/>
                    </a:lnTo>
                    <a:lnTo>
                      <a:pt x="90" y="0"/>
                    </a:lnTo>
                    <a:lnTo>
                      <a:pt x="90" y="6"/>
                    </a:lnTo>
                    <a:lnTo>
                      <a:pt x="76" y="6"/>
                    </a:lnTo>
                    <a:lnTo>
                      <a:pt x="70" y="6"/>
                    </a:lnTo>
                    <a:lnTo>
                      <a:pt x="62" y="14"/>
                    </a:lnTo>
                    <a:lnTo>
                      <a:pt x="70" y="20"/>
                    </a:lnTo>
                    <a:lnTo>
                      <a:pt x="70" y="28"/>
                    </a:lnTo>
                    <a:lnTo>
                      <a:pt x="70" y="34"/>
                    </a:lnTo>
                    <a:lnTo>
                      <a:pt x="70" y="28"/>
                    </a:lnTo>
                    <a:lnTo>
                      <a:pt x="62" y="20"/>
                    </a:lnTo>
                    <a:lnTo>
                      <a:pt x="56" y="28"/>
                    </a:lnTo>
                    <a:lnTo>
                      <a:pt x="56" y="20"/>
                    </a:lnTo>
                    <a:lnTo>
                      <a:pt x="56" y="14"/>
                    </a:lnTo>
                    <a:lnTo>
                      <a:pt x="48" y="14"/>
                    </a:lnTo>
                    <a:lnTo>
                      <a:pt x="42" y="20"/>
                    </a:lnTo>
                    <a:lnTo>
                      <a:pt x="42" y="28"/>
                    </a:lnTo>
                    <a:lnTo>
                      <a:pt x="36" y="28"/>
                    </a:lnTo>
                    <a:lnTo>
                      <a:pt x="36" y="34"/>
                    </a:lnTo>
                    <a:lnTo>
                      <a:pt x="36" y="28"/>
                    </a:lnTo>
                    <a:lnTo>
                      <a:pt x="28" y="20"/>
                    </a:lnTo>
                    <a:lnTo>
                      <a:pt x="22" y="20"/>
                    </a:lnTo>
                    <a:lnTo>
                      <a:pt x="22" y="14"/>
                    </a:lnTo>
                    <a:lnTo>
                      <a:pt x="14" y="14"/>
                    </a:lnTo>
                    <a:lnTo>
                      <a:pt x="14" y="20"/>
                    </a:lnTo>
                    <a:lnTo>
                      <a:pt x="8" y="28"/>
                    </a:lnTo>
                    <a:lnTo>
                      <a:pt x="8" y="34"/>
                    </a:lnTo>
                    <a:lnTo>
                      <a:pt x="8" y="48"/>
                    </a:lnTo>
                    <a:lnTo>
                      <a:pt x="8" y="56"/>
                    </a:lnTo>
                    <a:lnTo>
                      <a:pt x="8" y="62"/>
                    </a:lnTo>
                    <a:lnTo>
                      <a:pt x="8" y="70"/>
                    </a:lnTo>
                    <a:lnTo>
                      <a:pt x="8" y="76"/>
                    </a:lnTo>
                    <a:lnTo>
                      <a:pt x="8" y="82"/>
                    </a:lnTo>
                    <a:lnTo>
                      <a:pt x="0" y="90"/>
                    </a:lnTo>
                    <a:lnTo>
                      <a:pt x="8" y="96"/>
                    </a:lnTo>
                    <a:lnTo>
                      <a:pt x="14" y="96"/>
                    </a:lnTo>
                    <a:lnTo>
                      <a:pt x="14" y="104"/>
                    </a:lnTo>
                    <a:lnTo>
                      <a:pt x="22" y="110"/>
                    </a:lnTo>
                    <a:lnTo>
                      <a:pt x="22" y="118"/>
                    </a:lnTo>
                    <a:lnTo>
                      <a:pt x="22" y="124"/>
                    </a:lnTo>
                    <a:lnTo>
                      <a:pt x="22" y="138"/>
                    </a:lnTo>
                    <a:lnTo>
                      <a:pt x="22" y="146"/>
                    </a:lnTo>
                    <a:lnTo>
                      <a:pt x="22" y="152"/>
                    </a:lnTo>
                    <a:lnTo>
                      <a:pt x="22" y="146"/>
                    </a:lnTo>
                    <a:lnTo>
                      <a:pt x="22" y="146"/>
                    </a:lnTo>
                    <a:lnTo>
                      <a:pt x="22" y="146"/>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5" name="Freeform 49"/>
              <p:cNvSpPr>
                <a:spLocks/>
              </p:cNvSpPr>
              <p:nvPr>
                <p:custDataLst>
                  <p:tags r:id="rId144"/>
                </p:custDataLst>
              </p:nvPr>
            </p:nvSpPr>
            <p:spPr bwMode="gray">
              <a:xfrm>
                <a:off x="3952198" y="3012842"/>
                <a:ext cx="254057" cy="263584"/>
              </a:xfrm>
              <a:custGeom>
                <a:avLst/>
                <a:gdLst>
                  <a:gd name="T0" fmla="*/ 146 w 160"/>
                  <a:gd name="T1" fmla="*/ 28 h 166"/>
                  <a:gd name="T2" fmla="*/ 132 w 160"/>
                  <a:gd name="T3" fmla="*/ 14 h 166"/>
                  <a:gd name="T4" fmla="*/ 118 w 160"/>
                  <a:gd name="T5" fmla="*/ 22 h 166"/>
                  <a:gd name="T6" fmla="*/ 112 w 160"/>
                  <a:gd name="T7" fmla="*/ 14 h 166"/>
                  <a:gd name="T8" fmla="*/ 84 w 160"/>
                  <a:gd name="T9" fmla="*/ 8 h 166"/>
                  <a:gd name="T10" fmla="*/ 76 w 160"/>
                  <a:gd name="T11" fmla="*/ 22 h 166"/>
                  <a:gd name="T12" fmla="*/ 56 w 160"/>
                  <a:gd name="T13" fmla="*/ 22 h 166"/>
                  <a:gd name="T14" fmla="*/ 50 w 160"/>
                  <a:gd name="T15" fmla="*/ 14 h 166"/>
                  <a:gd name="T16" fmla="*/ 36 w 160"/>
                  <a:gd name="T17" fmla="*/ 8 h 166"/>
                  <a:gd name="T18" fmla="*/ 28 w 160"/>
                  <a:gd name="T19" fmla="*/ 0 h 166"/>
                  <a:gd name="T20" fmla="*/ 14 w 160"/>
                  <a:gd name="T21" fmla="*/ 0 h 166"/>
                  <a:gd name="T22" fmla="*/ 0 w 160"/>
                  <a:gd name="T23" fmla="*/ 14 h 166"/>
                  <a:gd name="T24" fmla="*/ 0 w 160"/>
                  <a:gd name="T25" fmla="*/ 28 h 166"/>
                  <a:gd name="T26" fmla="*/ 8 w 160"/>
                  <a:gd name="T27" fmla="*/ 42 h 166"/>
                  <a:gd name="T28" fmla="*/ 14 w 160"/>
                  <a:gd name="T29" fmla="*/ 48 h 166"/>
                  <a:gd name="T30" fmla="*/ 20 w 160"/>
                  <a:gd name="T31" fmla="*/ 56 h 166"/>
                  <a:gd name="T32" fmla="*/ 28 w 160"/>
                  <a:gd name="T33" fmla="*/ 62 h 166"/>
                  <a:gd name="T34" fmla="*/ 36 w 160"/>
                  <a:gd name="T35" fmla="*/ 70 h 166"/>
                  <a:gd name="T36" fmla="*/ 50 w 160"/>
                  <a:gd name="T37" fmla="*/ 84 h 166"/>
                  <a:gd name="T38" fmla="*/ 62 w 160"/>
                  <a:gd name="T39" fmla="*/ 84 h 166"/>
                  <a:gd name="T40" fmla="*/ 62 w 160"/>
                  <a:gd name="T41" fmla="*/ 104 h 166"/>
                  <a:gd name="T42" fmla="*/ 62 w 160"/>
                  <a:gd name="T43" fmla="*/ 118 h 166"/>
                  <a:gd name="T44" fmla="*/ 76 w 160"/>
                  <a:gd name="T45" fmla="*/ 118 h 166"/>
                  <a:gd name="T46" fmla="*/ 84 w 160"/>
                  <a:gd name="T47" fmla="*/ 110 h 166"/>
                  <a:gd name="T48" fmla="*/ 90 w 160"/>
                  <a:gd name="T49" fmla="*/ 124 h 166"/>
                  <a:gd name="T50" fmla="*/ 98 w 160"/>
                  <a:gd name="T51" fmla="*/ 138 h 166"/>
                  <a:gd name="T52" fmla="*/ 104 w 160"/>
                  <a:gd name="T53" fmla="*/ 144 h 166"/>
                  <a:gd name="T54" fmla="*/ 118 w 160"/>
                  <a:gd name="T55" fmla="*/ 158 h 166"/>
                  <a:gd name="T56" fmla="*/ 126 w 160"/>
                  <a:gd name="T57" fmla="*/ 158 h 166"/>
                  <a:gd name="T58" fmla="*/ 134 w 160"/>
                  <a:gd name="T59" fmla="*/ 158 h 166"/>
                  <a:gd name="T60" fmla="*/ 134 w 160"/>
                  <a:gd name="T61" fmla="*/ 138 h 166"/>
                  <a:gd name="T62" fmla="*/ 134 w 160"/>
                  <a:gd name="T63" fmla="*/ 124 h 166"/>
                  <a:gd name="T64" fmla="*/ 148 w 160"/>
                  <a:gd name="T65" fmla="*/ 110 h 166"/>
                  <a:gd name="T66" fmla="*/ 154 w 160"/>
                  <a:gd name="T67" fmla="*/ 104 h 166"/>
                  <a:gd name="T68" fmla="*/ 160 w 160"/>
                  <a:gd name="T69" fmla="*/ 98 h 166"/>
                  <a:gd name="T70" fmla="*/ 160 w 160"/>
                  <a:gd name="T71" fmla="*/ 84 h 166"/>
                  <a:gd name="T72" fmla="*/ 160 w 160"/>
                  <a:gd name="T73" fmla="*/ 70 h 166"/>
                  <a:gd name="T74" fmla="*/ 160 w 160"/>
                  <a:gd name="T75" fmla="*/ 56 h 166"/>
                  <a:gd name="T76" fmla="*/ 160 w 160"/>
                  <a:gd name="T77" fmla="*/ 42 h 166"/>
                  <a:gd name="T78" fmla="*/ 160 w 160"/>
                  <a:gd name="T79" fmla="*/ 4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 h="166">
                    <a:moveTo>
                      <a:pt x="160" y="42"/>
                    </a:moveTo>
                    <a:lnTo>
                      <a:pt x="146" y="28"/>
                    </a:lnTo>
                    <a:lnTo>
                      <a:pt x="140" y="22"/>
                    </a:lnTo>
                    <a:lnTo>
                      <a:pt x="132" y="14"/>
                    </a:lnTo>
                    <a:lnTo>
                      <a:pt x="126" y="14"/>
                    </a:lnTo>
                    <a:lnTo>
                      <a:pt x="118" y="22"/>
                    </a:lnTo>
                    <a:lnTo>
                      <a:pt x="112" y="22"/>
                    </a:lnTo>
                    <a:lnTo>
                      <a:pt x="112" y="14"/>
                    </a:lnTo>
                    <a:lnTo>
                      <a:pt x="90" y="8"/>
                    </a:lnTo>
                    <a:lnTo>
                      <a:pt x="84" y="8"/>
                    </a:lnTo>
                    <a:lnTo>
                      <a:pt x="76" y="14"/>
                    </a:lnTo>
                    <a:lnTo>
                      <a:pt x="76" y="22"/>
                    </a:lnTo>
                    <a:lnTo>
                      <a:pt x="62" y="22"/>
                    </a:lnTo>
                    <a:lnTo>
                      <a:pt x="56" y="22"/>
                    </a:lnTo>
                    <a:lnTo>
                      <a:pt x="50" y="22"/>
                    </a:lnTo>
                    <a:lnTo>
                      <a:pt x="50" y="14"/>
                    </a:lnTo>
                    <a:lnTo>
                      <a:pt x="42" y="8"/>
                    </a:lnTo>
                    <a:lnTo>
                      <a:pt x="36" y="8"/>
                    </a:lnTo>
                    <a:lnTo>
                      <a:pt x="36" y="0"/>
                    </a:lnTo>
                    <a:lnTo>
                      <a:pt x="28" y="0"/>
                    </a:lnTo>
                    <a:lnTo>
                      <a:pt x="20" y="8"/>
                    </a:lnTo>
                    <a:lnTo>
                      <a:pt x="14" y="0"/>
                    </a:lnTo>
                    <a:lnTo>
                      <a:pt x="14" y="8"/>
                    </a:lnTo>
                    <a:lnTo>
                      <a:pt x="0" y="14"/>
                    </a:lnTo>
                    <a:lnTo>
                      <a:pt x="0" y="22"/>
                    </a:lnTo>
                    <a:lnTo>
                      <a:pt x="0" y="28"/>
                    </a:lnTo>
                    <a:lnTo>
                      <a:pt x="0" y="34"/>
                    </a:lnTo>
                    <a:lnTo>
                      <a:pt x="8" y="42"/>
                    </a:lnTo>
                    <a:lnTo>
                      <a:pt x="8" y="48"/>
                    </a:lnTo>
                    <a:lnTo>
                      <a:pt x="14" y="48"/>
                    </a:lnTo>
                    <a:lnTo>
                      <a:pt x="20" y="48"/>
                    </a:lnTo>
                    <a:lnTo>
                      <a:pt x="20" y="56"/>
                    </a:lnTo>
                    <a:lnTo>
                      <a:pt x="20" y="62"/>
                    </a:lnTo>
                    <a:lnTo>
                      <a:pt x="28" y="62"/>
                    </a:lnTo>
                    <a:lnTo>
                      <a:pt x="36" y="62"/>
                    </a:lnTo>
                    <a:lnTo>
                      <a:pt x="36" y="70"/>
                    </a:lnTo>
                    <a:lnTo>
                      <a:pt x="42" y="84"/>
                    </a:lnTo>
                    <a:lnTo>
                      <a:pt x="50" y="84"/>
                    </a:lnTo>
                    <a:lnTo>
                      <a:pt x="56" y="84"/>
                    </a:lnTo>
                    <a:lnTo>
                      <a:pt x="62" y="84"/>
                    </a:lnTo>
                    <a:lnTo>
                      <a:pt x="62" y="98"/>
                    </a:lnTo>
                    <a:lnTo>
                      <a:pt x="62" y="104"/>
                    </a:lnTo>
                    <a:lnTo>
                      <a:pt x="56" y="110"/>
                    </a:lnTo>
                    <a:lnTo>
                      <a:pt x="62" y="118"/>
                    </a:lnTo>
                    <a:lnTo>
                      <a:pt x="70" y="118"/>
                    </a:lnTo>
                    <a:lnTo>
                      <a:pt x="76" y="118"/>
                    </a:lnTo>
                    <a:lnTo>
                      <a:pt x="76" y="110"/>
                    </a:lnTo>
                    <a:lnTo>
                      <a:pt x="84" y="110"/>
                    </a:lnTo>
                    <a:lnTo>
                      <a:pt x="84" y="118"/>
                    </a:lnTo>
                    <a:lnTo>
                      <a:pt x="90" y="124"/>
                    </a:lnTo>
                    <a:lnTo>
                      <a:pt x="90" y="132"/>
                    </a:lnTo>
                    <a:lnTo>
                      <a:pt x="98" y="138"/>
                    </a:lnTo>
                    <a:lnTo>
                      <a:pt x="98" y="144"/>
                    </a:lnTo>
                    <a:lnTo>
                      <a:pt x="104" y="144"/>
                    </a:lnTo>
                    <a:lnTo>
                      <a:pt x="112" y="152"/>
                    </a:lnTo>
                    <a:lnTo>
                      <a:pt x="118" y="158"/>
                    </a:lnTo>
                    <a:lnTo>
                      <a:pt x="118" y="166"/>
                    </a:lnTo>
                    <a:lnTo>
                      <a:pt x="126" y="158"/>
                    </a:lnTo>
                    <a:lnTo>
                      <a:pt x="132" y="158"/>
                    </a:lnTo>
                    <a:lnTo>
                      <a:pt x="134" y="158"/>
                    </a:lnTo>
                    <a:lnTo>
                      <a:pt x="138" y="146"/>
                    </a:lnTo>
                    <a:lnTo>
                      <a:pt x="134" y="138"/>
                    </a:lnTo>
                    <a:lnTo>
                      <a:pt x="134" y="132"/>
                    </a:lnTo>
                    <a:lnTo>
                      <a:pt x="134" y="124"/>
                    </a:lnTo>
                    <a:lnTo>
                      <a:pt x="140" y="118"/>
                    </a:lnTo>
                    <a:lnTo>
                      <a:pt x="148" y="110"/>
                    </a:lnTo>
                    <a:lnTo>
                      <a:pt x="154" y="110"/>
                    </a:lnTo>
                    <a:lnTo>
                      <a:pt x="154" y="104"/>
                    </a:lnTo>
                    <a:lnTo>
                      <a:pt x="154" y="98"/>
                    </a:lnTo>
                    <a:lnTo>
                      <a:pt x="160" y="98"/>
                    </a:lnTo>
                    <a:lnTo>
                      <a:pt x="160" y="90"/>
                    </a:lnTo>
                    <a:lnTo>
                      <a:pt x="160" y="84"/>
                    </a:lnTo>
                    <a:lnTo>
                      <a:pt x="154" y="84"/>
                    </a:lnTo>
                    <a:lnTo>
                      <a:pt x="160" y="70"/>
                    </a:lnTo>
                    <a:lnTo>
                      <a:pt x="160" y="62"/>
                    </a:lnTo>
                    <a:lnTo>
                      <a:pt x="160" y="56"/>
                    </a:lnTo>
                    <a:lnTo>
                      <a:pt x="160" y="48"/>
                    </a:lnTo>
                    <a:lnTo>
                      <a:pt x="160" y="42"/>
                    </a:lnTo>
                    <a:lnTo>
                      <a:pt x="160" y="42"/>
                    </a:lnTo>
                    <a:lnTo>
                      <a:pt x="160" y="42"/>
                    </a:lnTo>
                    <a:close/>
                  </a:path>
                </a:pathLst>
              </a:custGeom>
              <a:solidFill>
                <a:srgbClr val="73C37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6" name="Freeform 50"/>
              <p:cNvSpPr>
                <a:spLocks/>
              </p:cNvSpPr>
              <p:nvPr/>
            </p:nvSpPr>
            <p:spPr bwMode="gray">
              <a:xfrm>
                <a:off x="4161794" y="3187506"/>
                <a:ext cx="53987" cy="88920"/>
              </a:xfrm>
              <a:custGeom>
                <a:avLst/>
                <a:gdLst>
                  <a:gd name="T0" fmla="*/ 2 w 34"/>
                  <a:gd name="T1" fmla="*/ 48 h 56"/>
                  <a:gd name="T2" fmla="*/ 4 w 34"/>
                  <a:gd name="T3" fmla="*/ 36 h 56"/>
                  <a:gd name="T4" fmla="*/ 0 w 34"/>
                  <a:gd name="T5" fmla="*/ 28 h 56"/>
                  <a:gd name="T6" fmla="*/ 0 w 34"/>
                  <a:gd name="T7" fmla="*/ 22 h 56"/>
                  <a:gd name="T8" fmla="*/ 0 w 34"/>
                  <a:gd name="T9" fmla="*/ 14 h 56"/>
                  <a:gd name="T10" fmla="*/ 8 w 34"/>
                  <a:gd name="T11" fmla="*/ 8 h 56"/>
                  <a:gd name="T12" fmla="*/ 14 w 34"/>
                  <a:gd name="T13" fmla="*/ 0 h 56"/>
                  <a:gd name="T14" fmla="*/ 22 w 34"/>
                  <a:gd name="T15" fmla="*/ 8 h 56"/>
                  <a:gd name="T16" fmla="*/ 22 w 34"/>
                  <a:gd name="T17" fmla="*/ 14 h 56"/>
                  <a:gd name="T18" fmla="*/ 28 w 34"/>
                  <a:gd name="T19" fmla="*/ 22 h 56"/>
                  <a:gd name="T20" fmla="*/ 34 w 34"/>
                  <a:gd name="T21" fmla="*/ 28 h 56"/>
                  <a:gd name="T22" fmla="*/ 34 w 34"/>
                  <a:gd name="T23" fmla="*/ 34 h 56"/>
                  <a:gd name="T24" fmla="*/ 34 w 34"/>
                  <a:gd name="T25" fmla="*/ 42 h 56"/>
                  <a:gd name="T26" fmla="*/ 34 w 34"/>
                  <a:gd name="T27" fmla="*/ 48 h 56"/>
                  <a:gd name="T28" fmla="*/ 34 w 34"/>
                  <a:gd name="T29" fmla="*/ 56 h 56"/>
                  <a:gd name="T30" fmla="*/ 28 w 34"/>
                  <a:gd name="T31" fmla="*/ 56 h 56"/>
                  <a:gd name="T32" fmla="*/ 2 w 34"/>
                  <a:gd name="T33" fmla="*/ 48 h 56"/>
                  <a:gd name="T34" fmla="*/ 2 w 34"/>
                  <a:gd name="T35" fmla="*/ 48 h 56"/>
                  <a:gd name="T36" fmla="*/ 2 w 34"/>
                  <a:gd name="T37"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6">
                    <a:moveTo>
                      <a:pt x="2" y="48"/>
                    </a:moveTo>
                    <a:lnTo>
                      <a:pt x="4" y="36"/>
                    </a:lnTo>
                    <a:lnTo>
                      <a:pt x="0" y="28"/>
                    </a:lnTo>
                    <a:lnTo>
                      <a:pt x="0" y="22"/>
                    </a:lnTo>
                    <a:lnTo>
                      <a:pt x="0" y="14"/>
                    </a:lnTo>
                    <a:lnTo>
                      <a:pt x="8" y="8"/>
                    </a:lnTo>
                    <a:lnTo>
                      <a:pt x="14" y="0"/>
                    </a:lnTo>
                    <a:lnTo>
                      <a:pt x="22" y="8"/>
                    </a:lnTo>
                    <a:lnTo>
                      <a:pt x="22" y="14"/>
                    </a:lnTo>
                    <a:lnTo>
                      <a:pt x="28" y="22"/>
                    </a:lnTo>
                    <a:lnTo>
                      <a:pt x="34" y="28"/>
                    </a:lnTo>
                    <a:lnTo>
                      <a:pt x="34" y="34"/>
                    </a:lnTo>
                    <a:lnTo>
                      <a:pt x="34" y="42"/>
                    </a:lnTo>
                    <a:lnTo>
                      <a:pt x="34" y="48"/>
                    </a:lnTo>
                    <a:lnTo>
                      <a:pt x="34" y="56"/>
                    </a:lnTo>
                    <a:lnTo>
                      <a:pt x="28" y="56"/>
                    </a:lnTo>
                    <a:lnTo>
                      <a:pt x="2" y="48"/>
                    </a:lnTo>
                    <a:lnTo>
                      <a:pt x="2" y="48"/>
                    </a:lnTo>
                    <a:lnTo>
                      <a:pt x="2" y="48"/>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7" name="Freeform 51"/>
              <p:cNvSpPr>
                <a:spLocks/>
              </p:cNvSpPr>
              <p:nvPr>
                <p:custDataLst>
                  <p:tags r:id="rId145"/>
                </p:custDataLst>
              </p:nvPr>
            </p:nvSpPr>
            <p:spPr bwMode="gray">
              <a:xfrm>
                <a:off x="4072875" y="2815949"/>
                <a:ext cx="298516" cy="276286"/>
              </a:xfrm>
              <a:custGeom>
                <a:avLst/>
                <a:gdLst>
                  <a:gd name="T0" fmla="*/ 166 w 188"/>
                  <a:gd name="T1" fmla="*/ 28 h 174"/>
                  <a:gd name="T2" fmla="*/ 160 w 188"/>
                  <a:gd name="T3" fmla="*/ 0 h 174"/>
                  <a:gd name="T4" fmla="*/ 146 w 188"/>
                  <a:gd name="T5" fmla="*/ 8 h 174"/>
                  <a:gd name="T6" fmla="*/ 132 w 188"/>
                  <a:gd name="T7" fmla="*/ 8 h 174"/>
                  <a:gd name="T8" fmla="*/ 124 w 188"/>
                  <a:gd name="T9" fmla="*/ 8 h 174"/>
                  <a:gd name="T10" fmla="*/ 112 w 188"/>
                  <a:gd name="T11" fmla="*/ 8 h 174"/>
                  <a:gd name="T12" fmla="*/ 90 w 188"/>
                  <a:gd name="T13" fmla="*/ 22 h 174"/>
                  <a:gd name="T14" fmla="*/ 90 w 188"/>
                  <a:gd name="T15" fmla="*/ 36 h 174"/>
                  <a:gd name="T16" fmla="*/ 90 w 188"/>
                  <a:gd name="T17" fmla="*/ 50 h 174"/>
                  <a:gd name="T18" fmla="*/ 76 w 188"/>
                  <a:gd name="T19" fmla="*/ 76 h 174"/>
                  <a:gd name="T20" fmla="*/ 62 w 188"/>
                  <a:gd name="T21" fmla="*/ 76 h 174"/>
                  <a:gd name="T22" fmla="*/ 70 w 188"/>
                  <a:gd name="T23" fmla="*/ 56 h 174"/>
                  <a:gd name="T24" fmla="*/ 70 w 188"/>
                  <a:gd name="T25" fmla="*/ 50 h 174"/>
                  <a:gd name="T26" fmla="*/ 76 w 188"/>
                  <a:gd name="T27" fmla="*/ 36 h 174"/>
                  <a:gd name="T28" fmla="*/ 56 w 188"/>
                  <a:gd name="T29" fmla="*/ 28 h 174"/>
                  <a:gd name="T30" fmla="*/ 56 w 188"/>
                  <a:gd name="T31" fmla="*/ 28 h 174"/>
                  <a:gd name="T32" fmla="*/ 48 w 188"/>
                  <a:gd name="T33" fmla="*/ 56 h 174"/>
                  <a:gd name="T34" fmla="*/ 42 w 188"/>
                  <a:gd name="T35" fmla="*/ 70 h 174"/>
                  <a:gd name="T36" fmla="*/ 34 w 188"/>
                  <a:gd name="T37" fmla="*/ 76 h 174"/>
                  <a:gd name="T38" fmla="*/ 14 w 188"/>
                  <a:gd name="T39" fmla="*/ 84 h 174"/>
                  <a:gd name="T40" fmla="*/ 20 w 188"/>
                  <a:gd name="T41" fmla="*/ 98 h 174"/>
                  <a:gd name="T42" fmla="*/ 8 w 188"/>
                  <a:gd name="T43" fmla="*/ 112 h 174"/>
                  <a:gd name="T44" fmla="*/ 0 w 188"/>
                  <a:gd name="T45" fmla="*/ 98 h 174"/>
                  <a:gd name="T46" fmla="*/ 0 w 188"/>
                  <a:gd name="T47" fmla="*/ 112 h 174"/>
                  <a:gd name="T48" fmla="*/ 8 w 188"/>
                  <a:gd name="T49" fmla="*/ 126 h 174"/>
                  <a:gd name="T50" fmla="*/ 34 w 188"/>
                  <a:gd name="T51" fmla="*/ 138 h 174"/>
                  <a:gd name="T52" fmla="*/ 42 w 188"/>
                  <a:gd name="T53" fmla="*/ 146 h 174"/>
                  <a:gd name="T54" fmla="*/ 56 w 188"/>
                  <a:gd name="T55" fmla="*/ 138 h 174"/>
                  <a:gd name="T56" fmla="*/ 70 w 188"/>
                  <a:gd name="T57" fmla="*/ 152 h 174"/>
                  <a:gd name="T58" fmla="*/ 82 w 188"/>
                  <a:gd name="T59" fmla="*/ 174 h 174"/>
                  <a:gd name="T60" fmla="*/ 96 w 188"/>
                  <a:gd name="T61" fmla="*/ 160 h 174"/>
                  <a:gd name="T62" fmla="*/ 96 w 188"/>
                  <a:gd name="T63" fmla="*/ 138 h 174"/>
                  <a:gd name="T64" fmla="*/ 112 w 188"/>
                  <a:gd name="T65" fmla="*/ 126 h 174"/>
                  <a:gd name="T66" fmla="*/ 138 w 188"/>
                  <a:gd name="T67" fmla="*/ 126 h 174"/>
                  <a:gd name="T68" fmla="*/ 152 w 188"/>
                  <a:gd name="T69" fmla="*/ 126 h 174"/>
                  <a:gd name="T70" fmla="*/ 166 w 188"/>
                  <a:gd name="T71" fmla="*/ 126 h 174"/>
                  <a:gd name="T72" fmla="*/ 174 w 188"/>
                  <a:gd name="T73" fmla="*/ 98 h 174"/>
                  <a:gd name="T74" fmla="*/ 174 w 188"/>
                  <a:gd name="T75" fmla="*/ 84 h 174"/>
                  <a:gd name="T76" fmla="*/ 174 w 188"/>
                  <a:gd name="T77" fmla="*/ 64 h 174"/>
                  <a:gd name="T78" fmla="*/ 180 w 188"/>
                  <a:gd name="T79" fmla="*/ 56 h 174"/>
                  <a:gd name="T80" fmla="*/ 180 w 188"/>
                  <a:gd name="T81" fmla="*/ 42 h 174"/>
                  <a:gd name="T82" fmla="*/ 188 w 188"/>
                  <a:gd name="T83" fmla="*/ 28 h 174"/>
                  <a:gd name="T84" fmla="*/ 174 w 188"/>
                  <a:gd name="T85" fmla="*/ 28 h 174"/>
                  <a:gd name="T86" fmla="*/ 174 w 188"/>
                  <a:gd name="T87" fmla="*/ 2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 h="174">
                    <a:moveTo>
                      <a:pt x="174" y="28"/>
                    </a:moveTo>
                    <a:lnTo>
                      <a:pt x="166" y="28"/>
                    </a:lnTo>
                    <a:lnTo>
                      <a:pt x="166" y="0"/>
                    </a:lnTo>
                    <a:lnTo>
                      <a:pt x="160" y="0"/>
                    </a:lnTo>
                    <a:lnTo>
                      <a:pt x="152" y="0"/>
                    </a:lnTo>
                    <a:lnTo>
                      <a:pt x="146" y="8"/>
                    </a:lnTo>
                    <a:lnTo>
                      <a:pt x="132" y="14"/>
                    </a:lnTo>
                    <a:lnTo>
                      <a:pt x="132" y="8"/>
                    </a:lnTo>
                    <a:lnTo>
                      <a:pt x="132" y="0"/>
                    </a:lnTo>
                    <a:lnTo>
                      <a:pt x="124" y="8"/>
                    </a:lnTo>
                    <a:lnTo>
                      <a:pt x="118" y="8"/>
                    </a:lnTo>
                    <a:lnTo>
                      <a:pt x="112" y="8"/>
                    </a:lnTo>
                    <a:lnTo>
                      <a:pt x="96" y="14"/>
                    </a:lnTo>
                    <a:lnTo>
                      <a:pt x="90" y="22"/>
                    </a:lnTo>
                    <a:lnTo>
                      <a:pt x="90" y="28"/>
                    </a:lnTo>
                    <a:lnTo>
                      <a:pt x="90" y="36"/>
                    </a:lnTo>
                    <a:lnTo>
                      <a:pt x="90" y="42"/>
                    </a:lnTo>
                    <a:lnTo>
                      <a:pt x="90" y="50"/>
                    </a:lnTo>
                    <a:lnTo>
                      <a:pt x="90" y="64"/>
                    </a:lnTo>
                    <a:lnTo>
                      <a:pt x="76" y="76"/>
                    </a:lnTo>
                    <a:lnTo>
                      <a:pt x="70" y="76"/>
                    </a:lnTo>
                    <a:lnTo>
                      <a:pt x="62" y="76"/>
                    </a:lnTo>
                    <a:lnTo>
                      <a:pt x="62" y="64"/>
                    </a:lnTo>
                    <a:lnTo>
                      <a:pt x="70" y="56"/>
                    </a:lnTo>
                    <a:lnTo>
                      <a:pt x="62" y="56"/>
                    </a:lnTo>
                    <a:lnTo>
                      <a:pt x="70" y="50"/>
                    </a:lnTo>
                    <a:lnTo>
                      <a:pt x="76" y="42"/>
                    </a:lnTo>
                    <a:lnTo>
                      <a:pt x="76" y="36"/>
                    </a:lnTo>
                    <a:lnTo>
                      <a:pt x="70" y="28"/>
                    </a:lnTo>
                    <a:lnTo>
                      <a:pt x="56" y="28"/>
                    </a:lnTo>
                    <a:lnTo>
                      <a:pt x="56" y="22"/>
                    </a:lnTo>
                    <a:lnTo>
                      <a:pt x="56" y="28"/>
                    </a:lnTo>
                    <a:lnTo>
                      <a:pt x="48" y="42"/>
                    </a:lnTo>
                    <a:lnTo>
                      <a:pt x="48" y="56"/>
                    </a:lnTo>
                    <a:lnTo>
                      <a:pt x="42" y="64"/>
                    </a:lnTo>
                    <a:lnTo>
                      <a:pt x="42" y="70"/>
                    </a:lnTo>
                    <a:lnTo>
                      <a:pt x="34" y="70"/>
                    </a:lnTo>
                    <a:lnTo>
                      <a:pt x="34" y="76"/>
                    </a:lnTo>
                    <a:lnTo>
                      <a:pt x="28" y="84"/>
                    </a:lnTo>
                    <a:lnTo>
                      <a:pt x="14" y="84"/>
                    </a:lnTo>
                    <a:lnTo>
                      <a:pt x="14" y="98"/>
                    </a:lnTo>
                    <a:lnTo>
                      <a:pt x="20" y="98"/>
                    </a:lnTo>
                    <a:lnTo>
                      <a:pt x="20" y="104"/>
                    </a:lnTo>
                    <a:lnTo>
                      <a:pt x="8" y="112"/>
                    </a:lnTo>
                    <a:lnTo>
                      <a:pt x="8" y="98"/>
                    </a:lnTo>
                    <a:lnTo>
                      <a:pt x="0" y="98"/>
                    </a:lnTo>
                    <a:lnTo>
                      <a:pt x="0" y="104"/>
                    </a:lnTo>
                    <a:lnTo>
                      <a:pt x="0" y="112"/>
                    </a:lnTo>
                    <a:lnTo>
                      <a:pt x="0" y="126"/>
                    </a:lnTo>
                    <a:lnTo>
                      <a:pt x="8" y="126"/>
                    </a:lnTo>
                    <a:lnTo>
                      <a:pt x="14" y="132"/>
                    </a:lnTo>
                    <a:lnTo>
                      <a:pt x="34" y="138"/>
                    </a:lnTo>
                    <a:lnTo>
                      <a:pt x="34" y="146"/>
                    </a:lnTo>
                    <a:lnTo>
                      <a:pt x="42" y="146"/>
                    </a:lnTo>
                    <a:lnTo>
                      <a:pt x="48" y="138"/>
                    </a:lnTo>
                    <a:lnTo>
                      <a:pt x="56" y="138"/>
                    </a:lnTo>
                    <a:lnTo>
                      <a:pt x="62" y="146"/>
                    </a:lnTo>
                    <a:lnTo>
                      <a:pt x="70" y="152"/>
                    </a:lnTo>
                    <a:lnTo>
                      <a:pt x="82" y="168"/>
                    </a:lnTo>
                    <a:lnTo>
                      <a:pt x="82" y="174"/>
                    </a:lnTo>
                    <a:lnTo>
                      <a:pt x="96" y="168"/>
                    </a:lnTo>
                    <a:lnTo>
                      <a:pt x="96" y="160"/>
                    </a:lnTo>
                    <a:lnTo>
                      <a:pt x="96" y="146"/>
                    </a:lnTo>
                    <a:lnTo>
                      <a:pt x="96" y="138"/>
                    </a:lnTo>
                    <a:lnTo>
                      <a:pt x="96" y="132"/>
                    </a:lnTo>
                    <a:lnTo>
                      <a:pt x="112" y="126"/>
                    </a:lnTo>
                    <a:lnTo>
                      <a:pt x="132" y="118"/>
                    </a:lnTo>
                    <a:lnTo>
                      <a:pt x="138" y="126"/>
                    </a:lnTo>
                    <a:lnTo>
                      <a:pt x="146" y="126"/>
                    </a:lnTo>
                    <a:lnTo>
                      <a:pt x="152" y="126"/>
                    </a:lnTo>
                    <a:lnTo>
                      <a:pt x="160" y="126"/>
                    </a:lnTo>
                    <a:lnTo>
                      <a:pt x="166" y="126"/>
                    </a:lnTo>
                    <a:lnTo>
                      <a:pt x="174" y="104"/>
                    </a:lnTo>
                    <a:lnTo>
                      <a:pt x="174" y="98"/>
                    </a:lnTo>
                    <a:lnTo>
                      <a:pt x="166" y="90"/>
                    </a:lnTo>
                    <a:lnTo>
                      <a:pt x="174" y="84"/>
                    </a:lnTo>
                    <a:lnTo>
                      <a:pt x="174" y="76"/>
                    </a:lnTo>
                    <a:lnTo>
                      <a:pt x="174" y="64"/>
                    </a:lnTo>
                    <a:lnTo>
                      <a:pt x="174" y="56"/>
                    </a:lnTo>
                    <a:lnTo>
                      <a:pt x="180" y="56"/>
                    </a:lnTo>
                    <a:lnTo>
                      <a:pt x="180" y="50"/>
                    </a:lnTo>
                    <a:lnTo>
                      <a:pt x="180" y="42"/>
                    </a:lnTo>
                    <a:lnTo>
                      <a:pt x="180" y="36"/>
                    </a:lnTo>
                    <a:lnTo>
                      <a:pt x="188" y="28"/>
                    </a:lnTo>
                    <a:lnTo>
                      <a:pt x="180" y="22"/>
                    </a:lnTo>
                    <a:lnTo>
                      <a:pt x="174" y="28"/>
                    </a:lnTo>
                    <a:lnTo>
                      <a:pt x="174" y="28"/>
                    </a:lnTo>
                    <a:lnTo>
                      <a:pt x="174" y="28"/>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8" name="Freeform 52"/>
              <p:cNvSpPr>
                <a:spLocks/>
              </p:cNvSpPr>
              <p:nvPr/>
            </p:nvSpPr>
            <p:spPr bwMode="gray">
              <a:xfrm>
                <a:off x="4517473" y="2352295"/>
                <a:ext cx="177840" cy="107974"/>
              </a:xfrm>
              <a:custGeom>
                <a:avLst/>
                <a:gdLst>
                  <a:gd name="T0" fmla="*/ 8 w 112"/>
                  <a:gd name="T1" fmla="*/ 68 h 68"/>
                  <a:gd name="T2" fmla="*/ 8 w 112"/>
                  <a:gd name="T3" fmla="*/ 62 h 68"/>
                  <a:gd name="T4" fmla="*/ 8 w 112"/>
                  <a:gd name="T5" fmla="*/ 54 h 68"/>
                  <a:gd name="T6" fmla="*/ 14 w 112"/>
                  <a:gd name="T7" fmla="*/ 48 h 68"/>
                  <a:gd name="T8" fmla="*/ 22 w 112"/>
                  <a:gd name="T9" fmla="*/ 48 h 68"/>
                  <a:gd name="T10" fmla="*/ 28 w 112"/>
                  <a:gd name="T11" fmla="*/ 48 h 68"/>
                  <a:gd name="T12" fmla="*/ 34 w 112"/>
                  <a:gd name="T13" fmla="*/ 48 h 68"/>
                  <a:gd name="T14" fmla="*/ 42 w 112"/>
                  <a:gd name="T15" fmla="*/ 48 h 68"/>
                  <a:gd name="T16" fmla="*/ 50 w 112"/>
                  <a:gd name="T17" fmla="*/ 48 h 68"/>
                  <a:gd name="T18" fmla="*/ 56 w 112"/>
                  <a:gd name="T19" fmla="*/ 42 h 68"/>
                  <a:gd name="T20" fmla="*/ 64 w 112"/>
                  <a:gd name="T21" fmla="*/ 42 h 68"/>
                  <a:gd name="T22" fmla="*/ 76 w 112"/>
                  <a:gd name="T23" fmla="*/ 42 h 68"/>
                  <a:gd name="T24" fmla="*/ 84 w 112"/>
                  <a:gd name="T25" fmla="*/ 48 h 68"/>
                  <a:gd name="T26" fmla="*/ 92 w 112"/>
                  <a:gd name="T27" fmla="*/ 54 h 68"/>
                  <a:gd name="T28" fmla="*/ 92 w 112"/>
                  <a:gd name="T29" fmla="*/ 48 h 68"/>
                  <a:gd name="T30" fmla="*/ 98 w 112"/>
                  <a:gd name="T31" fmla="*/ 42 h 68"/>
                  <a:gd name="T32" fmla="*/ 106 w 112"/>
                  <a:gd name="T33" fmla="*/ 34 h 68"/>
                  <a:gd name="T34" fmla="*/ 106 w 112"/>
                  <a:gd name="T35" fmla="*/ 20 h 68"/>
                  <a:gd name="T36" fmla="*/ 98 w 112"/>
                  <a:gd name="T37" fmla="*/ 20 h 68"/>
                  <a:gd name="T38" fmla="*/ 98 w 112"/>
                  <a:gd name="T39" fmla="*/ 14 h 68"/>
                  <a:gd name="T40" fmla="*/ 106 w 112"/>
                  <a:gd name="T41" fmla="*/ 6 h 68"/>
                  <a:gd name="T42" fmla="*/ 112 w 112"/>
                  <a:gd name="T43" fmla="*/ 0 h 68"/>
                  <a:gd name="T44" fmla="*/ 106 w 112"/>
                  <a:gd name="T45" fmla="*/ 0 h 68"/>
                  <a:gd name="T46" fmla="*/ 98 w 112"/>
                  <a:gd name="T47" fmla="*/ 6 h 68"/>
                  <a:gd name="T48" fmla="*/ 92 w 112"/>
                  <a:gd name="T49" fmla="*/ 6 h 68"/>
                  <a:gd name="T50" fmla="*/ 84 w 112"/>
                  <a:gd name="T51" fmla="*/ 6 h 68"/>
                  <a:gd name="T52" fmla="*/ 76 w 112"/>
                  <a:gd name="T53" fmla="*/ 14 h 68"/>
                  <a:gd name="T54" fmla="*/ 70 w 112"/>
                  <a:gd name="T55" fmla="*/ 14 h 68"/>
                  <a:gd name="T56" fmla="*/ 64 w 112"/>
                  <a:gd name="T57" fmla="*/ 20 h 68"/>
                  <a:gd name="T58" fmla="*/ 56 w 112"/>
                  <a:gd name="T59" fmla="*/ 28 h 68"/>
                  <a:gd name="T60" fmla="*/ 56 w 112"/>
                  <a:gd name="T61" fmla="*/ 34 h 68"/>
                  <a:gd name="T62" fmla="*/ 50 w 112"/>
                  <a:gd name="T63" fmla="*/ 42 h 68"/>
                  <a:gd name="T64" fmla="*/ 42 w 112"/>
                  <a:gd name="T65" fmla="*/ 42 h 68"/>
                  <a:gd name="T66" fmla="*/ 34 w 112"/>
                  <a:gd name="T67" fmla="*/ 42 h 68"/>
                  <a:gd name="T68" fmla="*/ 14 w 112"/>
                  <a:gd name="T69" fmla="*/ 42 h 68"/>
                  <a:gd name="T70" fmla="*/ 8 w 112"/>
                  <a:gd name="T71" fmla="*/ 42 h 68"/>
                  <a:gd name="T72" fmla="*/ 0 w 112"/>
                  <a:gd name="T73" fmla="*/ 48 h 68"/>
                  <a:gd name="T74" fmla="*/ 0 w 112"/>
                  <a:gd name="T75" fmla="*/ 54 h 68"/>
                  <a:gd name="T76" fmla="*/ 8 w 112"/>
                  <a:gd name="T77" fmla="*/ 68 h 68"/>
                  <a:gd name="T78" fmla="*/ 8 w 112"/>
                  <a:gd name="T79" fmla="*/ 68 h 68"/>
                  <a:gd name="T80" fmla="*/ 8 w 112"/>
                  <a:gd name="T8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68">
                    <a:moveTo>
                      <a:pt x="8" y="68"/>
                    </a:moveTo>
                    <a:lnTo>
                      <a:pt x="8" y="62"/>
                    </a:lnTo>
                    <a:lnTo>
                      <a:pt x="8" y="54"/>
                    </a:lnTo>
                    <a:lnTo>
                      <a:pt x="14" y="48"/>
                    </a:lnTo>
                    <a:lnTo>
                      <a:pt x="22" y="48"/>
                    </a:lnTo>
                    <a:lnTo>
                      <a:pt x="28" y="48"/>
                    </a:lnTo>
                    <a:lnTo>
                      <a:pt x="34" y="48"/>
                    </a:lnTo>
                    <a:lnTo>
                      <a:pt x="42" y="48"/>
                    </a:lnTo>
                    <a:lnTo>
                      <a:pt x="50" y="48"/>
                    </a:lnTo>
                    <a:lnTo>
                      <a:pt x="56" y="42"/>
                    </a:lnTo>
                    <a:lnTo>
                      <a:pt x="64" y="42"/>
                    </a:lnTo>
                    <a:lnTo>
                      <a:pt x="76" y="42"/>
                    </a:lnTo>
                    <a:lnTo>
                      <a:pt x="84" y="48"/>
                    </a:lnTo>
                    <a:lnTo>
                      <a:pt x="92" y="54"/>
                    </a:lnTo>
                    <a:lnTo>
                      <a:pt x="92" y="48"/>
                    </a:lnTo>
                    <a:lnTo>
                      <a:pt x="98" y="42"/>
                    </a:lnTo>
                    <a:lnTo>
                      <a:pt x="106" y="34"/>
                    </a:lnTo>
                    <a:lnTo>
                      <a:pt x="106" y="20"/>
                    </a:lnTo>
                    <a:lnTo>
                      <a:pt x="98" y="20"/>
                    </a:lnTo>
                    <a:lnTo>
                      <a:pt x="98" y="14"/>
                    </a:lnTo>
                    <a:lnTo>
                      <a:pt x="106" y="6"/>
                    </a:lnTo>
                    <a:lnTo>
                      <a:pt x="112" y="0"/>
                    </a:lnTo>
                    <a:lnTo>
                      <a:pt x="106" y="0"/>
                    </a:lnTo>
                    <a:lnTo>
                      <a:pt x="98" y="6"/>
                    </a:lnTo>
                    <a:lnTo>
                      <a:pt x="92" y="6"/>
                    </a:lnTo>
                    <a:lnTo>
                      <a:pt x="84" y="6"/>
                    </a:lnTo>
                    <a:lnTo>
                      <a:pt x="76" y="14"/>
                    </a:lnTo>
                    <a:lnTo>
                      <a:pt x="70" y="14"/>
                    </a:lnTo>
                    <a:lnTo>
                      <a:pt x="64" y="20"/>
                    </a:lnTo>
                    <a:lnTo>
                      <a:pt x="56" y="28"/>
                    </a:lnTo>
                    <a:lnTo>
                      <a:pt x="56" y="34"/>
                    </a:lnTo>
                    <a:lnTo>
                      <a:pt x="50" y="42"/>
                    </a:lnTo>
                    <a:lnTo>
                      <a:pt x="42" y="42"/>
                    </a:lnTo>
                    <a:lnTo>
                      <a:pt x="34" y="42"/>
                    </a:lnTo>
                    <a:lnTo>
                      <a:pt x="14" y="42"/>
                    </a:lnTo>
                    <a:lnTo>
                      <a:pt x="8" y="42"/>
                    </a:lnTo>
                    <a:lnTo>
                      <a:pt x="0" y="48"/>
                    </a:lnTo>
                    <a:lnTo>
                      <a:pt x="0" y="54"/>
                    </a:lnTo>
                    <a:lnTo>
                      <a:pt x="8" y="68"/>
                    </a:lnTo>
                    <a:lnTo>
                      <a:pt x="8" y="68"/>
                    </a:lnTo>
                    <a:lnTo>
                      <a:pt x="8" y="68"/>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9" name="Freeform 53"/>
              <p:cNvSpPr>
                <a:spLocks/>
              </p:cNvSpPr>
              <p:nvPr/>
            </p:nvSpPr>
            <p:spPr bwMode="gray">
              <a:xfrm>
                <a:off x="4596866" y="2615879"/>
                <a:ext cx="53987" cy="53987"/>
              </a:xfrm>
              <a:custGeom>
                <a:avLst/>
                <a:gdLst>
                  <a:gd name="T0" fmla="*/ 34 w 34"/>
                  <a:gd name="T1" fmla="*/ 34 h 34"/>
                  <a:gd name="T2" fmla="*/ 26 w 34"/>
                  <a:gd name="T3" fmla="*/ 34 h 34"/>
                  <a:gd name="T4" fmla="*/ 14 w 34"/>
                  <a:gd name="T5" fmla="*/ 34 h 34"/>
                  <a:gd name="T6" fmla="*/ 14 w 34"/>
                  <a:gd name="T7" fmla="*/ 28 h 34"/>
                  <a:gd name="T8" fmla="*/ 0 w 34"/>
                  <a:gd name="T9" fmla="*/ 28 h 34"/>
                  <a:gd name="T10" fmla="*/ 0 w 34"/>
                  <a:gd name="T11" fmla="*/ 14 h 34"/>
                  <a:gd name="T12" fmla="*/ 0 w 34"/>
                  <a:gd name="T13" fmla="*/ 6 h 34"/>
                  <a:gd name="T14" fmla="*/ 6 w 34"/>
                  <a:gd name="T15" fmla="*/ 6 h 34"/>
                  <a:gd name="T16" fmla="*/ 6 w 34"/>
                  <a:gd name="T17" fmla="*/ 0 h 34"/>
                  <a:gd name="T18" fmla="*/ 14 w 34"/>
                  <a:gd name="T19" fmla="*/ 6 h 34"/>
                  <a:gd name="T20" fmla="*/ 20 w 34"/>
                  <a:gd name="T21" fmla="*/ 0 h 34"/>
                  <a:gd name="T22" fmla="*/ 26 w 34"/>
                  <a:gd name="T23" fmla="*/ 6 h 34"/>
                  <a:gd name="T24" fmla="*/ 34 w 34"/>
                  <a:gd name="T25" fmla="*/ 6 h 34"/>
                  <a:gd name="T26" fmla="*/ 34 w 34"/>
                  <a:gd name="T27" fmla="*/ 14 h 34"/>
                  <a:gd name="T28" fmla="*/ 34 w 34"/>
                  <a:gd name="T29" fmla="*/ 20 h 34"/>
                  <a:gd name="T30" fmla="*/ 34 w 34"/>
                  <a:gd name="T31" fmla="*/ 28 h 34"/>
                  <a:gd name="T32" fmla="*/ 34 w 34"/>
                  <a:gd name="T33" fmla="*/ 34 h 34"/>
                  <a:gd name="T34" fmla="*/ 26 w 34"/>
                  <a:gd name="T35" fmla="*/ 34 h 34"/>
                  <a:gd name="T36" fmla="*/ 34 w 34"/>
                  <a:gd name="T37" fmla="*/ 34 h 34"/>
                  <a:gd name="T38" fmla="*/ 34 w 34"/>
                  <a:gd name="T39" fmla="*/ 34 h 34"/>
                  <a:gd name="T40" fmla="*/ 34 w 34"/>
                  <a:gd name="T4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34">
                    <a:moveTo>
                      <a:pt x="34" y="34"/>
                    </a:moveTo>
                    <a:lnTo>
                      <a:pt x="26" y="34"/>
                    </a:lnTo>
                    <a:lnTo>
                      <a:pt x="14" y="34"/>
                    </a:lnTo>
                    <a:lnTo>
                      <a:pt x="14" y="28"/>
                    </a:lnTo>
                    <a:lnTo>
                      <a:pt x="0" y="28"/>
                    </a:lnTo>
                    <a:lnTo>
                      <a:pt x="0" y="14"/>
                    </a:lnTo>
                    <a:lnTo>
                      <a:pt x="0" y="6"/>
                    </a:lnTo>
                    <a:lnTo>
                      <a:pt x="6" y="6"/>
                    </a:lnTo>
                    <a:lnTo>
                      <a:pt x="6" y="0"/>
                    </a:lnTo>
                    <a:lnTo>
                      <a:pt x="14" y="6"/>
                    </a:lnTo>
                    <a:lnTo>
                      <a:pt x="20" y="0"/>
                    </a:lnTo>
                    <a:lnTo>
                      <a:pt x="26" y="6"/>
                    </a:lnTo>
                    <a:lnTo>
                      <a:pt x="34" y="6"/>
                    </a:lnTo>
                    <a:lnTo>
                      <a:pt x="34" y="14"/>
                    </a:lnTo>
                    <a:lnTo>
                      <a:pt x="34" y="20"/>
                    </a:lnTo>
                    <a:lnTo>
                      <a:pt x="34" y="28"/>
                    </a:lnTo>
                    <a:lnTo>
                      <a:pt x="34" y="34"/>
                    </a:lnTo>
                    <a:lnTo>
                      <a:pt x="26" y="34"/>
                    </a:lnTo>
                    <a:lnTo>
                      <a:pt x="34" y="34"/>
                    </a:lnTo>
                    <a:lnTo>
                      <a:pt x="34" y="34"/>
                    </a:lnTo>
                    <a:lnTo>
                      <a:pt x="34" y="34"/>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0" name="Freeform 54"/>
              <p:cNvSpPr>
                <a:spLocks/>
              </p:cNvSpPr>
              <p:nvPr/>
            </p:nvSpPr>
            <p:spPr bwMode="gray">
              <a:xfrm>
                <a:off x="4666731" y="2558716"/>
                <a:ext cx="111150" cy="130204"/>
              </a:xfrm>
              <a:custGeom>
                <a:avLst/>
                <a:gdLst>
                  <a:gd name="T0" fmla="*/ 34 w 70"/>
                  <a:gd name="T1" fmla="*/ 82 h 82"/>
                  <a:gd name="T2" fmla="*/ 20 w 70"/>
                  <a:gd name="T3" fmla="*/ 76 h 82"/>
                  <a:gd name="T4" fmla="*/ 28 w 70"/>
                  <a:gd name="T5" fmla="*/ 76 h 82"/>
                  <a:gd name="T6" fmla="*/ 28 w 70"/>
                  <a:gd name="T7" fmla="*/ 68 h 82"/>
                  <a:gd name="T8" fmla="*/ 20 w 70"/>
                  <a:gd name="T9" fmla="*/ 68 h 82"/>
                  <a:gd name="T10" fmla="*/ 6 w 70"/>
                  <a:gd name="T11" fmla="*/ 68 h 82"/>
                  <a:gd name="T12" fmla="*/ 0 w 70"/>
                  <a:gd name="T13" fmla="*/ 62 h 82"/>
                  <a:gd name="T14" fmla="*/ 0 w 70"/>
                  <a:gd name="T15" fmla="*/ 56 h 82"/>
                  <a:gd name="T16" fmla="*/ 6 w 70"/>
                  <a:gd name="T17" fmla="*/ 48 h 82"/>
                  <a:gd name="T18" fmla="*/ 0 w 70"/>
                  <a:gd name="T19" fmla="*/ 42 h 82"/>
                  <a:gd name="T20" fmla="*/ 0 w 70"/>
                  <a:gd name="T21" fmla="*/ 34 h 82"/>
                  <a:gd name="T22" fmla="*/ 6 w 70"/>
                  <a:gd name="T23" fmla="*/ 28 h 82"/>
                  <a:gd name="T24" fmla="*/ 14 w 70"/>
                  <a:gd name="T25" fmla="*/ 28 h 82"/>
                  <a:gd name="T26" fmla="*/ 20 w 70"/>
                  <a:gd name="T27" fmla="*/ 22 h 82"/>
                  <a:gd name="T28" fmla="*/ 20 w 70"/>
                  <a:gd name="T29" fmla="*/ 14 h 82"/>
                  <a:gd name="T30" fmla="*/ 28 w 70"/>
                  <a:gd name="T31" fmla="*/ 14 h 82"/>
                  <a:gd name="T32" fmla="*/ 28 w 70"/>
                  <a:gd name="T33" fmla="*/ 22 h 82"/>
                  <a:gd name="T34" fmla="*/ 20 w 70"/>
                  <a:gd name="T35" fmla="*/ 28 h 82"/>
                  <a:gd name="T36" fmla="*/ 28 w 70"/>
                  <a:gd name="T37" fmla="*/ 34 h 82"/>
                  <a:gd name="T38" fmla="*/ 34 w 70"/>
                  <a:gd name="T39" fmla="*/ 34 h 82"/>
                  <a:gd name="T40" fmla="*/ 34 w 70"/>
                  <a:gd name="T41" fmla="*/ 28 h 82"/>
                  <a:gd name="T42" fmla="*/ 34 w 70"/>
                  <a:gd name="T43" fmla="*/ 22 h 82"/>
                  <a:gd name="T44" fmla="*/ 42 w 70"/>
                  <a:gd name="T45" fmla="*/ 22 h 82"/>
                  <a:gd name="T46" fmla="*/ 48 w 70"/>
                  <a:gd name="T47" fmla="*/ 22 h 82"/>
                  <a:gd name="T48" fmla="*/ 56 w 70"/>
                  <a:gd name="T49" fmla="*/ 14 h 82"/>
                  <a:gd name="T50" fmla="*/ 48 w 70"/>
                  <a:gd name="T51" fmla="*/ 8 h 82"/>
                  <a:gd name="T52" fmla="*/ 42 w 70"/>
                  <a:gd name="T53" fmla="*/ 8 h 82"/>
                  <a:gd name="T54" fmla="*/ 48 w 70"/>
                  <a:gd name="T55" fmla="*/ 0 h 82"/>
                  <a:gd name="T56" fmla="*/ 56 w 70"/>
                  <a:gd name="T57" fmla="*/ 0 h 82"/>
                  <a:gd name="T58" fmla="*/ 70 w 70"/>
                  <a:gd name="T59" fmla="*/ 0 h 82"/>
                  <a:gd name="T60" fmla="*/ 62 w 70"/>
                  <a:gd name="T61" fmla="*/ 8 h 82"/>
                  <a:gd name="T62" fmla="*/ 70 w 70"/>
                  <a:gd name="T63" fmla="*/ 8 h 82"/>
                  <a:gd name="T64" fmla="*/ 62 w 70"/>
                  <a:gd name="T65" fmla="*/ 14 h 82"/>
                  <a:gd name="T66" fmla="*/ 70 w 70"/>
                  <a:gd name="T67" fmla="*/ 28 h 82"/>
                  <a:gd name="T68" fmla="*/ 62 w 70"/>
                  <a:gd name="T69" fmla="*/ 34 h 82"/>
                  <a:gd name="T70" fmla="*/ 48 w 70"/>
                  <a:gd name="T71" fmla="*/ 48 h 82"/>
                  <a:gd name="T72" fmla="*/ 56 w 70"/>
                  <a:gd name="T73" fmla="*/ 56 h 82"/>
                  <a:gd name="T74" fmla="*/ 48 w 70"/>
                  <a:gd name="T75" fmla="*/ 68 h 82"/>
                  <a:gd name="T76" fmla="*/ 42 w 70"/>
                  <a:gd name="T77" fmla="*/ 68 h 82"/>
                  <a:gd name="T78" fmla="*/ 34 w 70"/>
                  <a:gd name="T79" fmla="*/ 76 h 82"/>
                  <a:gd name="T80" fmla="*/ 42 w 70"/>
                  <a:gd name="T81" fmla="*/ 82 h 82"/>
                  <a:gd name="T82" fmla="*/ 34 w 70"/>
                  <a:gd name="T83" fmla="*/ 82 h 82"/>
                  <a:gd name="T84" fmla="*/ 34 w 70"/>
                  <a:gd name="T85" fmla="*/ 82 h 82"/>
                  <a:gd name="T86" fmla="*/ 34 w 70"/>
                  <a:gd name="T8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 h="82">
                    <a:moveTo>
                      <a:pt x="34" y="82"/>
                    </a:moveTo>
                    <a:lnTo>
                      <a:pt x="20" y="76"/>
                    </a:lnTo>
                    <a:lnTo>
                      <a:pt x="28" y="76"/>
                    </a:lnTo>
                    <a:lnTo>
                      <a:pt x="28" y="68"/>
                    </a:lnTo>
                    <a:lnTo>
                      <a:pt x="20" y="68"/>
                    </a:lnTo>
                    <a:lnTo>
                      <a:pt x="6" y="68"/>
                    </a:lnTo>
                    <a:lnTo>
                      <a:pt x="0" y="62"/>
                    </a:lnTo>
                    <a:lnTo>
                      <a:pt x="0" y="56"/>
                    </a:lnTo>
                    <a:lnTo>
                      <a:pt x="6" y="48"/>
                    </a:lnTo>
                    <a:lnTo>
                      <a:pt x="0" y="42"/>
                    </a:lnTo>
                    <a:lnTo>
                      <a:pt x="0" y="34"/>
                    </a:lnTo>
                    <a:lnTo>
                      <a:pt x="6" y="28"/>
                    </a:lnTo>
                    <a:lnTo>
                      <a:pt x="14" y="28"/>
                    </a:lnTo>
                    <a:lnTo>
                      <a:pt x="20" y="22"/>
                    </a:lnTo>
                    <a:lnTo>
                      <a:pt x="20" y="14"/>
                    </a:lnTo>
                    <a:lnTo>
                      <a:pt x="28" y="14"/>
                    </a:lnTo>
                    <a:lnTo>
                      <a:pt x="28" y="22"/>
                    </a:lnTo>
                    <a:lnTo>
                      <a:pt x="20" y="28"/>
                    </a:lnTo>
                    <a:lnTo>
                      <a:pt x="28" y="34"/>
                    </a:lnTo>
                    <a:lnTo>
                      <a:pt x="34" y="34"/>
                    </a:lnTo>
                    <a:lnTo>
                      <a:pt x="34" y="28"/>
                    </a:lnTo>
                    <a:lnTo>
                      <a:pt x="34" y="22"/>
                    </a:lnTo>
                    <a:lnTo>
                      <a:pt x="42" y="22"/>
                    </a:lnTo>
                    <a:lnTo>
                      <a:pt x="48" y="22"/>
                    </a:lnTo>
                    <a:lnTo>
                      <a:pt x="56" y="14"/>
                    </a:lnTo>
                    <a:lnTo>
                      <a:pt x="48" y="8"/>
                    </a:lnTo>
                    <a:lnTo>
                      <a:pt x="42" y="8"/>
                    </a:lnTo>
                    <a:lnTo>
                      <a:pt x="48" y="0"/>
                    </a:lnTo>
                    <a:lnTo>
                      <a:pt x="56" y="0"/>
                    </a:lnTo>
                    <a:lnTo>
                      <a:pt x="70" y="0"/>
                    </a:lnTo>
                    <a:lnTo>
                      <a:pt x="62" y="8"/>
                    </a:lnTo>
                    <a:lnTo>
                      <a:pt x="70" y="8"/>
                    </a:lnTo>
                    <a:lnTo>
                      <a:pt x="62" y="14"/>
                    </a:lnTo>
                    <a:lnTo>
                      <a:pt x="70" y="28"/>
                    </a:lnTo>
                    <a:lnTo>
                      <a:pt x="62" y="34"/>
                    </a:lnTo>
                    <a:lnTo>
                      <a:pt x="48" y="48"/>
                    </a:lnTo>
                    <a:lnTo>
                      <a:pt x="56" y="56"/>
                    </a:lnTo>
                    <a:lnTo>
                      <a:pt x="48" y="68"/>
                    </a:lnTo>
                    <a:lnTo>
                      <a:pt x="42" y="68"/>
                    </a:lnTo>
                    <a:lnTo>
                      <a:pt x="34" y="76"/>
                    </a:lnTo>
                    <a:lnTo>
                      <a:pt x="42" y="82"/>
                    </a:lnTo>
                    <a:lnTo>
                      <a:pt x="34" y="82"/>
                    </a:lnTo>
                    <a:lnTo>
                      <a:pt x="34" y="82"/>
                    </a:lnTo>
                    <a:lnTo>
                      <a:pt x="34" y="82"/>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1" name="Freeform 55"/>
              <p:cNvSpPr>
                <a:spLocks/>
              </p:cNvSpPr>
              <p:nvPr/>
            </p:nvSpPr>
            <p:spPr bwMode="gray">
              <a:xfrm>
                <a:off x="4654029" y="2701623"/>
                <a:ext cx="44460" cy="31757"/>
              </a:xfrm>
              <a:custGeom>
                <a:avLst/>
                <a:gdLst>
                  <a:gd name="T0" fmla="*/ 22 w 28"/>
                  <a:gd name="T1" fmla="*/ 20 h 20"/>
                  <a:gd name="T2" fmla="*/ 14 w 28"/>
                  <a:gd name="T3" fmla="*/ 20 h 20"/>
                  <a:gd name="T4" fmla="*/ 8 w 28"/>
                  <a:gd name="T5" fmla="*/ 14 h 20"/>
                  <a:gd name="T6" fmla="*/ 0 w 28"/>
                  <a:gd name="T7" fmla="*/ 8 h 20"/>
                  <a:gd name="T8" fmla="*/ 0 w 28"/>
                  <a:gd name="T9" fmla="*/ 0 h 20"/>
                  <a:gd name="T10" fmla="*/ 8 w 28"/>
                  <a:gd name="T11" fmla="*/ 0 h 20"/>
                  <a:gd name="T12" fmla="*/ 14 w 28"/>
                  <a:gd name="T13" fmla="*/ 0 h 20"/>
                  <a:gd name="T14" fmla="*/ 14 w 28"/>
                  <a:gd name="T15" fmla="*/ 8 h 20"/>
                  <a:gd name="T16" fmla="*/ 22 w 28"/>
                  <a:gd name="T17" fmla="*/ 8 h 20"/>
                  <a:gd name="T18" fmla="*/ 28 w 28"/>
                  <a:gd name="T19" fmla="*/ 14 h 20"/>
                  <a:gd name="T20" fmla="*/ 28 w 28"/>
                  <a:gd name="T21" fmla="*/ 20 h 20"/>
                  <a:gd name="T22" fmla="*/ 22 w 28"/>
                  <a:gd name="T23" fmla="*/ 20 h 20"/>
                  <a:gd name="T24" fmla="*/ 22 w 28"/>
                  <a:gd name="T25" fmla="*/ 20 h 20"/>
                  <a:gd name="T26" fmla="*/ 22 w 28"/>
                  <a:gd name="T2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20">
                    <a:moveTo>
                      <a:pt x="22" y="20"/>
                    </a:moveTo>
                    <a:lnTo>
                      <a:pt x="14" y="20"/>
                    </a:lnTo>
                    <a:lnTo>
                      <a:pt x="8" y="14"/>
                    </a:lnTo>
                    <a:lnTo>
                      <a:pt x="0" y="8"/>
                    </a:lnTo>
                    <a:lnTo>
                      <a:pt x="0" y="0"/>
                    </a:lnTo>
                    <a:lnTo>
                      <a:pt x="8" y="0"/>
                    </a:lnTo>
                    <a:lnTo>
                      <a:pt x="14" y="0"/>
                    </a:lnTo>
                    <a:lnTo>
                      <a:pt x="14" y="8"/>
                    </a:lnTo>
                    <a:lnTo>
                      <a:pt x="22" y="8"/>
                    </a:lnTo>
                    <a:lnTo>
                      <a:pt x="28" y="14"/>
                    </a:lnTo>
                    <a:lnTo>
                      <a:pt x="28" y="20"/>
                    </a:lnTo>
                    <a:lnTo>
                      <a:pt x="22" y="20"/>
                    </a:lnTo>
                    <a:lnTo>
                      <a:pt x="22" y="20"/>
                    </a:lnTo>
                    <a:lnTo>
                      <a:pt x="22" y="20"/>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2" name="Freeform 56"/>
              <p:cNvSpPr>
                <a:spLocks/>
              </p:cNvSpPr>
              <p:nvPr/>
            </p:nvSpPr>
            <p:spPr bwMode="gray">
              <a:xfrm>
                <a:off x="4711192" y="2701623"/>
                <a:ext cx="22230" cy="31757"/>
              </a:xfrm>
              <a:custGeom>
                <a:avLst/>
                <a:gdLst>
                  <a:gd name="T0" fmla="*/ 0 w 14"/>
                  <a:gd name="T1" fmla="*/ 14 h 20"/>
                  <a:gd name="T2" fmla="*/ 0 w 14"/>
                  <a:gd name="T3" fmla="*/ 8 h 20"/>
                  <a:gd name="T4" fmla="*/ 0 w 14"/>
                  <a:gd name="T5" fmla="*/ 0 h 20"/>
                  <a:gd name="T6" fmla="*/ 8 w 14"/>
                  <a:gd name="T7" fmla="*/ 8 h 20"/>
                  <a:gd name="T8" fmla="*/ 14 w 14"/>
                  <a:gd name="T9" fmla="*/ 8 h 20"/>
                  <a:gd name="T10" fmla="*/ 14 w 14"/>
                  <a:gd name="T11" fmla="*/ 14 h 20"/>
                  <a:gd name="T12" fmla="*/ 8 w 14"/>
                  <a:gd name="T13" fmla="*/ 14 h 20"/>
                  <a:gd name="T14" fmla="*/ 8 w 14"/>
                  <a:gd name="T15" fmla="*/ 20 h 20"/>
                  <a:gd name="T16" fmla="*/ 0 w 14"/>
                  <a:gd name="T17" fmla="*/ 14 h 20"/>
                  <a:gd name="T18" fmla="*/ 0 w 14"/>
                  <a:gd name="T19" fmla="*/ 14 h 20"/>
                  <a:gd name="T20" fmla="*/ 0 w 14"/>
                  <a:gd name="T21"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20">
                    <a:moveTo>
                      <a:pt x="0" y="14"/>
                    </a:moveTo>
                    <a:lnTo>
                      <a:pt x="0" y="8"/>
                    </a:lnTo>
                    <a:lnTo>
                      <a:pt x="0" y="0"/>
                    </a:lnTo>
                    <a:lnTo>
                      <a:pt x="8" y="8"/>
                    </a:lnTo>
                    <a:lnTo>
                      <a:pt x="14" y="8"/>
                    </a:lnTo>
                    <a:lnTo>
                      <a:pt x="14" y="14"/>
                    </a:lnTo>
                    <a:lnTo>
                      <a:pt x="8" y="14"/>
                    </a:lnTo>
                    <a:lnTo>
                      <a:pt x="8" y="20"/>
                    </a:lnTo>
                    <a:lnTo>
                      <a:pt x="0" y="14"/>
                    </a:lnTo>
                    <a:lnTo>
                      <a:pt x="0" y="14"/>
                    </a:lnTo>
                    <a:lnTo>
                      <a:pt x="0" y="14"/>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3" name="Freeform 57"/>
              <p:cNvSpPr>
                <a:spLocks/>
              </p:cNvSpPr>
              <p:nvPr>
                <p:custDataLst>
                  <p:tags r:id="rId146"/>
                </p:custDataLst>
              </p:nvPr>
            </p:nvSpPr>
            <p:spPr bwMode="gray">
              <a:xfrm>
                <a:off x="4973186" y="3460617"/>
                <a:ext cx="555748" cy="349328"/>
              </a:xfrm>
              <a:custGeom>
                <a:avLst/>
                <a:gdLst>
                  <a:gd name="T0" fmla="*/ 56 w 350"/>
                  <a:gd name="T1" fmla="*/ 48 h 220"/>
                  <a:gd name="T2" fmla="*/ 70 w 350"/>
                  <a:gd name="T3" fmla="*/ 54 h 220"/>
                  <a:gd name="T4" fmla="*/ 84 w 350"/>
                  <a:gd name="T5" fmla="*/ 68 h 220"/>
                  <a:gd name="T6" fmla="*/ 104 w 350"/>
                  <a:gd name="T7" fmla="*/ 68 h 220"/>
                  <a:gd name="T8" fmla="*/ 114 w 350"/>
                  <a:gd name="T9" fmla="*/ 68 h 220"/>
                  <a:gd name="T10" fmla="*/ 138 w 350"/>
                  <a:gd name="T11" fmla="*/ 62 h 220"/>
                  <a:gd name="T12" fmla="*/ 138 w 350"/>
                  <a:gd name="T13" fmla="*/ 54 h 220"/>
                  <a:gd name="T14" fmla="*/ 150 w 350"/>
                  <a:gd name="T15" fmla="*/ 46 h 220"/>
                  <a:gd name="T16" fmla="*/ 166 w 350"/>
                  <a:gd name="T17" fmla="*/ 48 h 220"/>
                  <a:gd name="T18" fmla="*/ 188 w 350"/>
                  <a:gd name="T19" fmla="*/ 40 h 220"/>
                  <a:gd name="T20" fmla="*/ 208 w 350"/>
                  <a:gd name="T21" fmla="*/ 26 h 220"/>
                  <a:gd name="T22" fmla="*/ 222 w 350"/>
                  <a:gd name="T23" fmla="*/ 12 h 220"/>
                  <a:gd name="T24" fmla="*/ 230 w 350"/>
                  <a:gd name="T25" fmla="*/ 0 h 220"/>
                  <a:gd name="T26" fmla="*/ 242 w 350"/>
                  <a:gd name="T27" fmla="*/ 0 h 220"/>
                  <a:gd name="T28" fmla="*/ 264 w 350"/>
                  <a:gd name="T29" fmla="*/ 0 h 220"/>
                  <a:gd name="T30" fmla="*/ 278 w 350"/>
                  <a:gd name="T31" fmla="*/ 0 h 220"/>
                  <a:gd name="T32" fmla="*/ 284 w 350"/>
                  <a:gd name="T33" fmla="*/ 6 h 220"/>
                  <a:gd name="T34" fmla="*/ 304 w 350"/>
                  <a:gd name="T35" fmla="*/ 6 h 220"/>
                  <a:gd name="T36" fmla="*/ 322 w 350"/>
                  <a:gd name="T37" fmla="*/ 20 h 220"/>
                  <a:gd name="T38" fmla="*/ 334 w 350"/>
                  <a:gd name="T39" fmla="*/ 20 h 220"/>
                  <a:gd name="T40" fmla="*/ 350 w 350"/>
                  <a:gd name="T41" fmla="*/ 32 h 220"/>
                  <a:gd name="T42" fmla="*/ 348 w 350"/>
                  <a:gd name="T43" fmla="*/ 52 h 220"/>
                  <a:gd name="T44" fmla="*/ 328 w 350"/>
                  <a:gd name="T45" fmla="*/ 68 h 220"/>
                  <a:gd name="T46" fmla="*/ 314 w 350"/>
                  <a:gd name="T47" fmla="*/ 74 h 220"/>
                  <a:gd name="T48" fmla="*/ 306 w 350"/>
                  <a:gd name="T49" fmla="*/ 98 h 220"/>
                  <a:gd name="T50" fmla="*/ 300 w 350"/>
                  <a:gd name="T51" fmla="*/ 112 h 220"/>
                  <a:gd name="T52" fmla="*/ 288 w 350"/>
                  <a:gd name="T53" fmla="*/ 138 h 220"/>
                  <a:gd name="T54" fmla="*/ 274 w 350"/>
                  <a:gd name="T55" fmla="*/ 148 h 220"/>
                  <a:gd name="T56" fmla="*/ 262 w 350"/>
                  <a:gd name="T57" fmla="*/ 164 h 220"/>
                  <a:gd name="T58" fmla="*/ 252 w 350"/>
                  <a:gd name="T59" fmla="*/ 174 h 220"/>
                  <a:gd name="T60" fmla="*/ 244 w 350"/>
                  <a:gd name="T61" fmla="*/ 186 h 220"/>
                  <a:gd name="T62" fmla="*/ 214 w 350"/>
                  <a:gd name="T63" fmla="*/ 178 h 220"/>
                  <a:gd name="T64" fmla="*/ 208 w 350"/>
                  <a:gd name="T65" fmla="*/ 186 h 220"/>
                  <a:gd name="T66" fmla="*/ 188 w 350"/>
                  <a:gd name="T67" fmla="*/ 192 h 220"/>
                  <a:gd name="T68" fmla="*/ 166 w 350"/>
                  <a:gd name="T69" fmla="*/ 192 h 220"/>
                  <a:gd name="T70" fmla="*/ 146 w 350"/>
                  <a:gd name="T71" fmla="*/ 200 h 220"/>
                  <a:gd name="T72" fmla="*/ 132 w 350"/>
                  <a:gd name="T73" fmla="*/ 206 h 220"/>
                  <a:gd name="T74" fmla="*/ 118 w 350"/>
                  <a:gd name="T75" fmla="*/ 220 h 220"/>
                  <a:gd name="T76" fmla="*/ 96 w 350"/>
                  <a:gd name="T77" fmla="*/ 214 h 220"/>
                  <a:gd name="T78" fmla="*/ 84 w 350"/>
                  <a:gd name="T79" fmla="*/ 214 h 220"/>
                  <a:gd name="T80" fmla="*/ 70 w 350"/>
                  <a:gd name="T81" fmla="*/ 206 h 220"/>
                  <a:gd name="T82" fmla="*/ 62 w 350"/>
                  <a:gd name="T83" fmla="*/ 200 h 220"/>
                  <a:gd name="T84" fmla="*/ 48 w 350"/>
                  <a:gd name="T85" fmla="*/ 192 h 220"/>
                  <a:gd name="T86" fmla="*/ 34 w 350"/>
                  <a:gd name="T87" fmla="*/ 178 h 220"/>
                  <a:gd name="T88" fmla="*/ 28 w 350"/>
                  <a:gd name="T89" fmla="*/ 164 h 220"/>
                  <a:gd name="T90" fmla="*/ 20 w 350"/>
                  <a:gd name="T91" fmla="*/ 152 h 220"/>
                  <a:gd name="T92" fmla="*/ 14 w 350"/>
                  <a:gd name="T93" fmla="*/ 138 h 220"/>
                  <a:gd name="T94" fmla="*/ 0 w 350"/>
                  <a:gd name="T95" fmla="*/ 144 h 220"/>
                  <a:gd name="T96" fmla="*/ 8 w 350"/>
                  <a:gd name="T97" fmla="*/ 124 h 220"/>
                  <a:gd name="T98" fmla="*/ 20 w 350"/>
                  <a:gd name="T99" fmla="*/ 110 h 220"/>
                  <a:gd name="T100" fmla="*/ 28 w 350"/>
                  <a:gd name="T101" fmla="*/ 96 h 220"/>
                  <a:gd name="T102" fmla="*/ 28 w 350"/>
                  <a:gd name="T103" fmla="*/ 82 h 220"/>
                  <a:gd name="T104" fmla="*/ 20 w 350"/>
                  <a:gd name="T105" fmla="*/ 68 h 220"/>
                  <a:gd name="T106" fmla="*/ 32 w 350"/>
                  <a:gd name="T107" fmla="*/ 66 h 220"/>
                  <a:gd name="T108" fmla="*/ 42 w 350"/>
                  <a:gd name="T109" fmla="*/ 72 h 220"/>
                  <a:gd name="T110" fmla="*/ 48 w 350"/>
                  <a:gd name="T111" fmla="*/ 62 h 220"/>
                  <a:gd name="T112" fmla="*/ 40 w 350"/>
                  <a:gd name="T113" fmla="*/ 36 h 220"/>
                  <a:gd name="T114" fmla="*/ 40 w 350"/>
                  <a:gd name="T115" fmla="*/ 3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0" h="220">
                    <a:moveTo>
                      <a:pt x="40" y="36"/>
                    </a:moveTo>
                    <a:lnTo>
                      <a:pt x="56" y="48"/>
                    </a:lnTo>
                    <a:lnTo>
                      <a:pt x="62" y="54"/>
                    </a:lnTo>
                    <a:lnTo>
                      <a:pt x="70" y="54"/>
                    </a:lnTo>
                    <a:lnTo>
                      <a:pt x="76" y="62"/>
                    </a:lnTo>
                    <a:lnTo>
                      <a:pt x="84" y="68"/>
                    </a:lnTo>
                    <a:lnTo>
                      <a:pt x="96" y="68"/>
                    </a:lnTo>
                    <a:lnTo>
                      <a:pt x="104" y="68"/>
                    </a:lnTo>
                    <a:lnTo>
                      <a:pt x="112" y="68"/>
                    </a:lnTo>
                    <a:lnTo>
                      <a:pt x="114" y="68"/>
                    </a:lnTo>
                    <a:lnTo>
                      <a:pt x="132" y="62"/>
                    </a:lnTo>
                    <a:lnTo>
                      <a:pt x="138" y="62"/>
                    </a:lnTo>
                    <a:lnTo>
                      <a:pt x="134" y="56"/>
                    </a:lnTo>
                    <a:lnTo>
                      <a:pt x="138" y="54"/>
                    </a:lnTo>
                    <a:lnTo>
                      <a:pt x="138" y="48"/>
                    </a:lnTo>
                    <a:lnTo>
                      <a:pt x="150" y="46"/>
                    </a:lnTo>
                    <a:lnTo>
                      <a:pt x="158" y="48"/>
                    </a:lnTo>
                    <a:lnTo>
                      <a:pt x="166" y="48"/>
                    </a:lnTo>
                    <a:lnTo>
                      <a:pt x="174" y="48"/>
                    </a:lnTo>
                    <a:lnTo>
                      <a:pt x="188" y="40"/>
                    </a:lnTo>
                    <a:lnTo>
                      <a:pt x="194" y="34"/>
                    </a:lnTo>
                    <a:lnTo>
                      <a:pt x="208" y="26"/>
                    </a:lnTo>
                    <a:lnTo>
                      <a:pt x="214" y="20"/>
                    </a:lnTo>
                    <a:lnTo>
                      <a:pt x="222" y="12"/>
                    </a:lnTo>
                    <a:lnTo>
                      <a:pt x="222" y="6"/>
                    </a:lnTo>
                    <a:lnTo>
                      <a:pt x="230" y="0"/>
                    </a:lnTo>
                    <a:lnTo>
                      <a:pt x="236" y="0"/>
                    </a:lnTo>
                    <a:lnTo>
                      <a:pt x="242" y="0"/>
                    </a:lnTo>
                    <a:lnTo>
                      <a:pt x="256" y="0"/>
                    </a:lnTo>
                    <a:lnTo>
                      <a:pt x="264" y="0"/>
                    </a:lnTo>
                    <a:lnTo>
                      <a:pt x="270" y="0"/>
                    </a:lnTo>
                    <a:lnTo>
                      <a:pt x="278" y="0"/>
                    </a:lnTo>
                    <a:lnTo>
                      <a:pt x="278" y="6"/>
                    </a:lnTo>
                    <a:lnTo>
                      <a:pt x="284" y="6"/>
                    </a:lnTo>
                    <a:lnTo>
                      <a:pt x="292" y="12"/>
                    </a:lnTo>
                    <a:lnTo>
                      <a:pt x="304" y="6"/>
                    </a:lnTo>
                    <a:lnTo>
                      <a:pt x="318" y="12"/>
                    </a:lnTo>
                    <a:lnTo>
                      <a:pt x="322" y="20"/>
                    </a:lnTo>
                    <a:lnTo>
                      <a:pt x="326" y="18"/>
                    </a:lnTo>
                    <a:lnTo>
                      <a:pt x="334" y="20"/>
                    </a:lnTo>
                    <a:lnTo>
                      <a:pt x="340" y="26"/>
                    </a:lnTo>
                    <a:lnTo>
                      <a:pt x="350" y="32"/>
                    </a:lnTo>
                    <a:lnTo>
                      <a:pt x="350" y="40"/>
                    </a:lnTo>
                    <a:lnTo>
                      <a:pt x="348" y="52"/>
                    </a:lnTo>
                    <a:lnTo>
                      <a:pt x="338" y="62"/>
                    </a:lnTo>
                    <a:lnTo>
                      <a:pt x="328" y="68"/>
                    </a:lnTo>
                    <a:lnTo>
                      <a:pt x="322" y="72"/>
                    </a:lnTo>
                    <a:lnTo>
                      <a:pt x="314" y="74"/>
                    </a:lnTo>
                    <a:lnTo>
                      <a:pt x="308" y="84"/>
                    </a:lnTo>
                    <a:lnTo>
                      <a:pt x="306" y="98"/>
                    </a:lnTo>
                    <a:lnTo>
                      <a:pt x="302" y="104"/>
                    </a:lnTo>
                    <a:lnTo>
                      <a:pt x="300" y="112"/>
                    </a:lnTo>
                    <a:lnTo>
                      <a:pt x="296" y="130"/>
                    </a:lnTo>
                    <a:lnTo>
                      <a:pt x="288" y="138"/>
                    </a:lnTo>
                    <a:lnTo>
                      <a:pt x="284" y="146"/>
                    </a:lnTo>
                    <a:lnTo>
                      <a:pt x="274" y="148"/>
                    </a:lnTo>
                    <a:lnTo>
                      <a:pt x="274" y="156"/>
                    </a:lnTo>
                    <a:lnTo>
                      <a:pt x="262" y="164"/>
                    </a:lnTo>
                    <a:lnTo>
                      <a:pt x="260" y="166"/>
                    </a:lnTo>
                    <a:lnTo>
                      <a:pt x="252" y="174"/>
                    </a:lnTo>
                    <a:lnTo>
                      <a:pt x="248" y="180"/>
                    </a:lnTo>
                    <a:lnTo>
                      <a:pt x="244" y="186"/>
                    </a:lnTo>
                    <a:lnTo>
                      <a:pt x="222" y="186"/>
                    </a:lnTo>
                    <a:lnTo>
                      <a:pt x="214" y="178"/>
                    </a:lnTo>
                    <a:lnTo>
                      <a:pt x="208" y="178"/>
                    </a:lnTo>
                    <a:lnTo>
                      <a:pt x="208" y="186"/>
                    </a:lnTo>
                    <a:lnTo>
                      <a:pt x="194" y="192"/>
                    </a:lnTo>
                    <a:lnTo>
                      <a:pt x="188" y="192"/>
                    </a:lnTo>
                    <a:lnTo>
                      <a:pt x="180" y="186"/>
                    </a:lnTo>
                    <a:lnTo>
                      <a:pt x="166" y="192"/>
                    </a:lnTo>
                    <a:lnTo>
                      <a:pt x="158" y="200"/>
                    </a:lnTo>
                    <a:lnTo>
                      <a:pt x="146" y="200"/>
                    </a:lnTo>
                    <a:lnTo>
                      <a:pt x="138" y="200"/>
                    </a:lnTo>
                    <a:lnTo>
                      <a:pt x="132" y="206"/>
                    </a:lnTo>
                    <a:lnTo>
                      <a:pt x="126" y="214"/>
                    </a:lnTo>
                    <a:lnTo>
                      <a:pt x="118" y="220"/>
                    </a:lnTo>
                    <a:lnTo>
                      <a:pt x="112" y="220"/>
                    </a:lnTo>
                    <a:lnTo>
                      <a:pt x="96" y="214"/>
                    </a:lnTo>
                    <a:lnTo>
                      <a:pt x="90" y="214"/>
                    </a:lnTo>
                    <a:lnTo>
                      <a:pt x="84" y="214"/>
                    </a:lnTo>
                    <a:lnTo>
                      <a:pt x="76" y="214"/>
                    </a:lnTo>
                    <a:lnTo>
                      <a:pt x="70" y="206"/>
                    </a:lnTo>
                    <a:lnTo>
                      <a:pt x="62" y="206"/>
                    </a:lnTo>
                    <a:lnTo>
                      <a:pt x="62" y="200"/>
                    </a:lnTo>
                    <a:lnTo>
                      <a:pt x="56" y="200"/>
                    </a:lnTo>
                    <a:lnTo>
                      <a:pt x="48" y="192"/>
                    </a:lnTo>
                    <a:lnTo>
                      <a:pt x="42" y="186"/>
                    </a:lnTo>
                    <a:lnTo>
                      <a:pt x="34" y="178"/>
                    </a:lnTo>
                    <a:lnTo>
                      <a:pt x="28" y="172"/>
                    </a:lnTo>
                    <a:lnTo>
                      <a:pt x="28" y="164"/>
                    </a:lnTo>
                    <a:lnTo>
                      <a:pt x="28" y="158"/>
                    </a:lnTo>
                    <a:lnTo>
                      <a:pt x="20" y="152"/>
                    </a:lnTo>
                    <a:lnTo>
                      <a:pt x="14" y="144"/>
                    </a:lnTo>
                    <a:lnTo>
                      <a:pt x="14" y="138"/>
                    </a:lnTo>
                    <a:lnTo>
                      <a:pt x="0" y="138"/>
                    </a:lnTo>
                    <a:lnTo>
                      <a:pt x="0" y="144"/>
                    </a:lnTo>
                    <a:lnTo>
                      <a:pt x="0" y="138"/>
                    </a:lnTo>
                    <a:lnTo>
                      <a:pt x="8" y="124"/>
                    </a:lnTo>
                    <a:lnTo>
                      <a:pt x="14" y="124"/>
                    </a:lnTo>
                    <a:lnTo>
                      <a:pt x="20" y="110"/>
                    </a:lnTo>
                    <a:lnTo>
                      <a:pt x="20" y="96"/>
                    </a:lnTo>
                    <a:lnTo>
                      <a:pt x="28" y="96"/>
                    </a:lnTo>
                    <a:lnTo>
                      <a:pt x="28" y="90"/>
                    </a:lnTo>
                    <a:lnTo>
                      <a:pt x="28" y="82"/>
                    </a:lnTo>
                    <a:lnTo>
                      <a:pt x="20" y="76"/>
                    </a:lnTo>
                    <a:lnTo>
                      <a:pt x="20" y="68"/>
                    </a:lnTo>
                    <a:lnTo>
                      <a:pt x="28" y="68"/>
                    </a:lnTo>
                    <a:lnTo>
                      <a:pt x="32" y="66"/>
                    </a:lnTo>
                    <a:lnTo>
                      <a:pt x="34" y="70"/>
                    </a:lnTo>
                    <a:lnTo>
                      <a:pt x="42" y="72"/>
                    </a:lnTo>
                    <a:lnTo>
                      <a:pt x="42" y="68"/>
                    </a:lnTo>
                    <a:lnTo>
                      <a:pt x="48" y="62"/>
                    </a:lnTo>
                    <a:lnTo>
                      <a:pt x="44" y="48"/>
                    </a:lnTo>
                    <a:lnTo>
                      <a:pt x="40" y="36"/>
                    </a:lnTo>
                    <a:lnTo>
                      <a:pt x="40" y="36"/>
                    </a:lnTo>
                    <a:lnTo>
                      <a:pt x="40" y="36"/>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4" name="Freeform 58"/>
              <p:cNvSpPr>
                <a:spLocks/>
              </p:cNvSpPr>
              <p:nvPr>
                <p:custDataLst>
                  <p:tags r:id="rId147"/>
                </p:custDataLst>
              </p:nvPr>
            </p:nvSpPr>
            <p:spPr bwMode="gray">
              <a:xfrm>
                <a:off x="5589273" y="4581641"/>
                <a:ext cx="155609" cy="107974"/>
              </a:xfrm>
              <a:custGeom>
                <a:avLst/>
                <a:gdLst>
                  <a:gd name="T0" fmla="*/ 0 w 98"/>
                  <a:gd name="T1" fmla="*/ 6 h 68"/>
                  <a:gd name="T2" fmla="*/ 14 w 98"/>
                  <a:gd name="T3" fmla="*/ 0 h 68"/>
                  <a:gd name="T4" fmla="*/ 20 w 98"/>
                  <a:gd name="T5" fmla="*/ 0 h 68"/>
                  <a:gd name="T6" fmla="*/ 28 w 98"/>
                  <a:gd name="T7" fmla="*/ 6 h 68"/>
                  <a:gd name="T8" fmla="*/ 34 w 98"/>
                  <a:gd name="T9" fmla="*/ 12 h 68"/>
                  <a:gd name="T10" fmla="*/ 48 w 98"/>
                  <a:gd name="T11" fmla="*/ 12 h 68"/>
                  <a:gd name="T12" fmla="*/ 62 w 98"/>
                  <a:gd name="T13" fmla="*/ 20 h 68"/>
                  <a:gd name="T14" fmla="*/ 70 w 98"/>
                  <a:gd name="T15" fmla="*/ 26 h 68"/>
                  <a:gd name="T16" fmla="*/ 76 w 98"/>
                  <a:gd name="T17" fmla="*/ 26 h 68"/>
                  <a:gd name="T18" fmla="*/ 84 w 98"/>
                  <a:gd name="T19" fmla="*/ 34 h 68"/>
                  <a:gd name="T20" fmla="*/ 84 w 98"/>
                  <a:gd name="T21" fmla="*/ 40 h 68"/>
                  <a:gd name="T22" fmla="*/ 90 w 98"/>
                  <a:gd name="T23" fmla="*/ 46 h 68"/>
                  <a:gd name="T24" fmla="*/ 98 w 98"/>
                  <a:gd name="T25" fmla="*/ 54 h 68"/>
                  <a:gd name="T26" fmla="*/ 98 w 98"/>
                  <a:gd name="T27" fmla="*/ 68 h 68"/>
                  <a:gd name="T28" fmla="*/ 90 w 98"/>
                  <a:gd name="T29" fmla="*/ 68 h 68"/>
                  <a:gd name="T30" fmla="*/ 84 w 98"/>
                  <a:gd name="T31" fmla="*/ 54 h 68"/>
                  <a:gd name="T32" fmla="*/ 76 w 98"/>
                  <a:gd name="T33" fmla="*/ 46 h 68"/>
                  <a:gd name="T34" fmla="*/ 70 w 98"/>
                  <a:gd name="T35" fmla="*/ 40 h 68"/>
                  <a:gd name="T36" fmla="*/ 56 w 98"/>
                  <a:gd name="T37" fmla="*/ 34 h 68"/>
                  <a:gd name="T38" fmla="*/ 48 w 98"/>
                  <a:gd name="T39" fmla="*/ 26 h 68"/>
                  <a:gd name="T40" fmla="*/ 34 w 98"/>
                  <a:gd name="T41" fmla="*/ 20 h 68"/>
                  <a:gd name="T42" fmla="*/ 28 w 98"/>
                  <a:gd name="T43" fmla="*/ 12 h 68"/>
                  <a:gd name="T44" fmla="*/ 14 w 98"/>
                  <a:gd name="T45" fmla="*/ 12 h 68"/>
                  <a:gd name="T46" fmla="*/ 6 w 98"/>
                  <a:gd name="T47" fmla="*/ 12 h 68"/>
                  <a:gd name="T48" fmla="*/ 0 w 98"/>
                  <a:gd name="T49" fmla="*/ 6 h 68"/>
                  <a:gd name="T50" fmla="*/ 0 w 98"/>
                  <a:gd name="T51" fmla="*/ 6 h 68"/>
                  <a:gd name="T52" fmla="*/ 0 w 98"/>
                  <a:gd name="T53" fmla="*/ 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68">
                    <a:moveTo>
                      <a:pt x="0" y="6"/>
                    </a:moveTo>
                    <a:lnTo>
                      <a:pt x="14" y="0"/>
                    </a:lnTo>
                    <a:lnTo>
                      <a:pt x="20" y="0"/>
                    </a:lnTo>
                    <a:lnTo>
                      <a:pt x="28" y="6"/>
                    </a:lnTo>
                    <a:lnTo>
                      <a:pt x="34" y="12"/>
                    </a:lnTo>
                    <a:lnTo>
                      <a:pt x="48" y="12"/>
                    </a:lnTo>
                    <a:lnTo>
                      <a:pt x="62" y="20"/>
                    </a:lnTo>
                    <a:lnTo>
                      <a:pt x="70" y="26"/>
                    </a:lnTo>
                    <a:lnTo>
                      <a:pt x="76" y="26"/>
                    </a:lnTo>
                    <a:lnTo>
                      <a:pt x="84" y="34"/>
                    </a:lnTo>
                    <a:lnTo>
                      <a:pt x="84" y="40"/>
                    </a:lnTo>
                    <a:lnTo>
                      <a:pt x="90" y="46"/>
                    </a:lnTo>
                    <a:lnTo>
                      <a:pt x="98" y="54"/>
                    </a:lnTo>
                    <a:lnTo>
                      <a:pt x="98" y="68"/>
                    </a:lnTo>
                    <a:lnTo>
                      <a:pt x="90" y="68"/>
                    </a:lnTo>
                    <a:lnTo>
                      <a:pt x="84" y="54"/>
                    </a:lnTo>
                    <a:lnTo>
                      <a:pt x="76" y="46"/>
                    </a:lnTo>
                    <a:lnTo>
                      <a:pt x="70" y="40"/>
                    </a:lnTo>
                    <a:lnTo>
                      <a:pt x="56" y="34"/>
                    </a:lnTo>
                    <a:lnTo>
                      <a:pt x="48" y="26"/>
                    </a:lnTo>
                    <a:lnTo>
                      <a:pt x="34" y="20"/>
                    </a:lnTo>
                    <a:lnTo>
                      <a:pt x="28" y="12"/>
                    </a:lnTo>
                    <a:lnTo>
                      <a:pt x="14" y="12"/>
                    </a:lnTo>
                    <a:lnTo>
                      <a:pt x="6" y="12"/>
                    </a:lnTo>
                    <a:lnTo>
                      <a:pt x="0" y="6"/>
                    </a:lnTo>
                    <a:lnTo>
                      <a:pt x="0" y="6"/>
                    </a:lnTo>
                    <a:lnTo>
                      <a:pt x="0" y="6"/>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5" name="Freeform 59"/>
              <p:cNvSpPr>
                <a:spLocks/>
              </p:cNvSpPr>
              <p:nvPr/>
            </p:nvSpPr>
            <p:spPr bwMode="gray">
              <a:xfrm>
                <a:off x="5157377" y="1018500"/>
                <a:ext cx="53987" cy="66690"/>
              </a:xfrm>
              <a:custGeom>
                <a:avLst/>
                <a:gdLst>
                  <a:gd name="T0" fmla="*/ 6 w 34"/>
                  <a:gd name="T1" fmla="*/ 42 h 42"/>
                  <a:gd name="T2" fmla="*/ 14 w 34"/>
                  <a:gd name="T3" fmla="*/ 34 h 42"/>
                  <a:gd name="T4" fmla="*/ 14 w 34"/>
                  <a:gd name="T5" fmla="*/ 28 h 42"/>
                  <a:gd name="T6" fmla="*/ 20 w 34"/>
                  <a:gd name="T7" fmla="*/ 28 h 42"/>
                  <a:gd name="T8" fmla="*/ 28 w 34"/>
                  <a:gd name="T9" fmla="*/ 28 h 42"/>
                  <a:gd name="T10" fmla="*/ 34 w 34"/>
                  <a:gd name="T11" fmla="*/ 8 h 42"/>
                  <a:gd name="T12" fmla="*/ 28 w 34"/>
                  <a:gd name="T13" fmla="*/ 0 h 42"/>
                  <a:gd name="T14" fmla="*/ 20 w 34"/>
                  <a:gd name="T15" fmla="*/ 0 h 42"/>
                  <a:gd name="T16" fmla="*/ 20 w 34"/>
                  <a:gd name="T17" fmla="*/ 8 h 42"/>
                  <a:gd name="T18" fmla="*/ 14 w 34"/>
                  <a:gd name="T19" fmla="*/ 8 h 42"/>
                  <a:gd name="T20" fmla="*/ 6 w 34"/>
                  <a:gd name="T21" fmla="*/ 8 h 42"/>
                  <a:gd name="T22" fmla="*/ 6 w 34"/>
                  <a:gd name="T23" fmla="*/ 14 h 42"/>
                  <a:gd name="T24" fmla="*/ 6 w 34"/>
                  <a:gd name="T25" fmla="*/ 22 h 42"/>
                  <a:gd name="T26" fmla="*/ 0 w 34"/>
                  <a:gd name="T27" fmla="*/ 28 h 42"/>
                  <a:gd name="T28" fmla="*/ 6 w 34"/>
                  <a:gd name="T29" fmla="*/ 34 h 42"/>
                  <a:gd name="T30" fmla="*/ 6 w 34"/>
                  <a:gd name="T31" fmla="*/ 42 h 42"/>
                  <a:gd name="T32" fmla="*/ 6 w 34"/>
                  <a:gd name="T33" fmla="*/ 42 h 42"/>
                  <a:gd name="T34" fmla="*/ 6 w 34"/>
                  <a:gd name="T3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42">
                    <a:moveTo>
                      <a:pt x="6" y="42"/>
                    </a:moveTo>
                    <a:lnTo>
                      <a:pt x="14" y="34"/>
                    </a:lnTo>
                    <a:lnTo>
                      <a:pt x="14" y="28"/>
                    </a:lnTo>
                    <a:lnTo>
                      <a:pt x="20" y="28"/>
                    </a:lnTo>
                    <a:lnTo>
                      <a:pt x="28" y="28"/>
                    </a:lnTo>
                    <a:lnTo>
                      <a:pt x="34" y="8"/>
                    </a:lnTo>
                    <a:lnTo>
                      <a:pt x="28" y="0"/>
                    </a:lnTo>
                    <a:lnTo>
                      <a:pt x="20" y="0"/>
                    </a:lnTo>
                    <a:lnTo>
                      <a:pt x="20" y="8"/>
                    </a:lnTo>
                    <a:lnTo>
                      <a:pt x="14" y="8"/>
                    </a:lnTo>
                    <a:lnTo>
                      <a:pt x="6" y="8"/>
                    </a:lnTo>
                    <a:lnTo>
                      <a:pt x="6" y="14"/>
                    </a:lnTo>
                    <a:lnTo>
                      <a:pt x="6" y="22"/>
                    </a:lnTo>
                    <a:lnTo>
                      <a:pt x="0" y="28"/>
                    </a:lnTo>
                    <a:lnTo>
                      <a:pt x="6" y="34"/>
                    </a:lnTo>
                    <a:lnTo>
                      <a:pt x="6" y="42"/>
                    </a:lnTo>
                    <a:lnTo>
                      <a:pt x="6" y="42"/>
                    </a:lnTo>
                    <a:lnTo>
                      <a:pt x="6" y="42"/>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6" name="Freeform 60"/>
              <p:cNvSpPr>
                <a:spLocks/>
              </p:cNvSpPr>
              <p:nvPr>
                <p:custDataLst>
                  <p:tags r:id="rId148"/>
                </p:custDataLst>
              </p:nvPr>
            </p:nvSpPr>
            <p:spPr bwMode="gray">
              <a:xfrm>
                <a:off x="4365040" y="802551"/>
                <a:ext cx="1398899" cy="1495757"/>
              </a:xfrm>
              <a:custGeom>
                <a:avLst/>
                <a:gdLst>
                  <a:gd name="T0" fmla="*/ 256 w 881"/>
                  <a:gd name="T1" fmla="*/ 866 h 942"/>
                  <a:gd name="T2" fmla="*/ 304 w 881"/>
                  <a:gd name="T3" fmla="*/ 804 h 942"/>
                  <a:gd name="T4" fmla="*/ 318 w 881"/>
                  <a:gd name="T5" fmla="*/ 716 h 942"/>
                  <a:gd name="T6" fmla="*/ 312 w 881"/>
                  <a:gd name="T7" fmla="*/ 646 h 942"/>
                  <a:gd name="T8" fmla="*/ 318 w 881"/>
                  <a:gd name="T9" fmla="*/ 556 h 942"/>
                  <a:gd name="T10" fmla="*/ 383 w 881"/>
                  <a:gd name="T11" fmla="*/ 536 h 942"/>
                  <a:gd name="T12" fmla="*/ 395 w 881"/>
                  <a:gd name="T13" fmla="*/ 468 h 942"/>
                  <a:gd name="T14" fmla="*/ 431 w 881"/>
                  <a:gd name="T15" fmla="*/ 378 h 942"/>
                  <a:gd name="T16" fmla="*/ 485 w 881"/>
                  <a:gd name="T17" fmla="*/ 308 h 942"/>
                  <a:gd name="T18" fmla="*/ 521 w 881"/>
                  <a:gd name="T19" fmla="*/ 240 h 942"/>
                  <a:gd name="T20" fmla="*/ 569 w 881"/>
                  <a:gd name="T21" fmla="*/ 220 h 942"/>
                  <a:gd name="T22" fmla="*/ 611 w 881"/>
                  <a:gd name="T23" fmla="*/ 150 h 942"/>
                  <a:gd name="T24" fmla="*/ 665 w 881"/>
                  <a:gd name="T25" fmla="*/ 192 h 942"/>
                  <a:gd name="T26" fmla="*/ 735 w 881"/>
                  <a:gd name="T27" fmla="*/ 172 h 942"/>
                  <a:gd name="T28" fmla="*/ 769 w 881"/>
                  <a:gd name="T29" fmla="*/ 96 h 942"/>
                  <a:gd name="T30" fmla="*/ 833 w 881"/>
                  <a:gd name="T31" fmla="*/ 116 h 942"/>
                  <a:gd name="T32" fmla="*/ 835 w 881"/>
                  <a:gd name="T33" fmla="*/ 140 h 942"/>
                  <a:gd name="T34" fmla="*/ 867 w 881"/>
                  <a:gd name="T35" fmla="*/ 82 h 942"/>
                  <a:gd name="T36" fmla="*/ 867 w 881"/>
                  <a:gd name="T37" fmla="*/ 34 h 942"/>
                  <a:gd name="T38" fmla="*/ 797 w 881"/>
                  <a:gd name="T39" fmla="*/ 48 h 942"/>
                  <a:gd name="T40" fmla="*/ 777 w 881"/>
                  <a:gd name="T41" fmla="*/ 20 h 942"/>
                  <a:gd name="T42" fmla="*/ 749 w 881"/>
                  <a:gd name="T43" fmla="*/ 20 h 942"/>
                  <a:gd name="T44" fmla="*/ 721 w 881"/>
                  <a:gd name="T45" fmla="*/ 62 h 942"/>
                  <a:gd name="T46" fmla="*/ 721 w 881"/>
                  <a:gd name="T47" fmla="*/ 14 h 942"/>
                  <a:gd name="T48" fmla="*/ 687 w 881"/>
                  <a:gd name="T49" fmla="*/ 48 h 942"/>
                  <a:gd name="T50" fmla="*/ 651 w 881"/>
                  <a:gd name="T51" fmla="*/ 82 h 942"/>
                  <a:gd name="T52" fmla="*/ 611 w 881"/>
                  <a:gd name="T53" fmla="*/ 88 h 942"/>
                  <a:gd name="T54" fmla="*/ 583 w 881"/>
                  <a:gd name="T55" fmla="*/ 130 h 942"/>
                  <a:gd name="T56" fmla="*/ 561 w 881"/>
                  <a:gd name="T57" fmla="*/ 150 h 942"/>
                  <a:gd name="T58" fmla="*/ 521 w 881"/>
                  <a:gd name="T59" fmla="*/ 178 h 942"/>
                  <a:gd name="T60" fmla="*/ 493 w 881"/>
                  <a:gd name="T61" fmla="*/ 212 h 942"/>
                  <a:gd name="T62" fmla="*/ 479 w 881"/>
                  <a:gd name="T63" fmla="*/ 226 h 942"/>
                  <a:gd name="T64" fmla="*/ 457 w 881"/>
                  <a:gd name="T65" fmla="*/ 246 h 942"/>
                  <a:gd name="T66" fmla="*/ 457 w 881"/>
                  <a:gd name="T67" fmla="*/ 274 h 942"/>
                  <a:gd name="T68" fmla="*/ 431 w 881"/>
                  <a:gd name="T69" fmla="*/ 302 h 942"/>
                  <a:gd name="T70" fmla="*/ 381 w 881"/>
                  <a:gd name="T71" fmla="*/ 336 h 942"/>
                  <a:gd name="T72" fmla="*/ 375 w 881"/>
                  <a:gd name="T73" fmla="*/ 370 h 942"/>
                  <a:gd name="T74" fmla="*/ 353 w 881"/>
                  <a:gd name="T75" fmla="*/ 412 h 942"/>
                  <a:gd name="T76" fmla="*/ 341 w 881"/>
                  <a:gd name="T77" fmla="*/ 446 h 942"/>
                  <a:gd name="T78" fmla="*/ 318 w 881"/>
                  <a:gd name="T79" fmla="*/ 488 h 942"/>
                  <a:gd name="T80" fmla="*/ 270 w 881"/>
                  <a:gd name="T81" fmla="*/ 496 h 942"/>
                  <a:gd name="T82" fmla="*/ 236 w 881"/>
                  <a:gd name="T83" fmla="*/ 550 h 942"/>
                  <a:gd name="T84" fmla="*/ 188 w 881"/>
                  <a:gd name="T85" fmla="*/ 578 h 942"/>
                  <a:gd name="T86" fmla="*/ 152 w 881"/>
                  <a:gd name="T87" fmla="*/ 584 h 942"/>
                  <a:gd name="T88" fmla="*/ 110 w 881"/>
                  <a:gd name="T89" fmla="*/ 598 h 942"/>
                  <a:gd name="T90" fmla="*/ 76 w 881"/>
                  <a:gd name="T91" fmla="*/ 618 h 942"/>
                  <a:gd name="T92" fmla="*/ 62 w 881"/>
                  <a:gd name="T93" fmla="*/ 640 h 942"/>
                  <a:gd name="T94" fmla="*/ 28 w 881"/>
                  <a:gd name="T95" fmla="*/ 668 h 942"/>
                  <a:gd name="T96" fmla="*/ 28 w 881"/>
                  <a:gd name="T97" fmla="*/ 702 h 942"/>
                  <a:gd name="T98" fmla="*/ 34 w 881"/>
                  <a:gd name="T99" fmla="*/ 750 h 942"/>
                  <a:gd name="T100" fmla="*/ 48 w 881"/>
                  <a:gd name="T101" fmla="*/ 776 h 942"/>
                  <a:gd name="T102" fmla="*/ 14 w 881"/>
                  <a:gd name="T103" fmla="*/ 804 h 942"/>
                  <a:gd name="T104" fmla="*/ 34 w 881"/>
                  <a:gd name="T105" fmla="*/ 846 h 942"/>
                  <a:gd name="T106" fmla="*/ 14 w 881"/>
                  <a:gd name="T107" fmla="*/ 894 h 942"/>
                  <a:gd name="T108" fmla="*/ 90 w 881"/>
                  <a:gd name="T109" fmla="*/ 942 h 942"/>
                  <a:gd name="T110" fmla="*/ 160 w 881"/>
                  <a:gd name="T111" fmla="*/ 894 h 942"/>
                  <a:gd name="T112" fmla="*/ 214 w 881"/>
                  <a:gd name="T113" fmla="*/ 852 h 942"/>
                  <a:gd name="T114" fmla="*/ 228 w 881"/>
                  <a:gd name="T115" fmla="*/ 838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81" h="942">
                    <a:moveTo>
                      <a:pt x="242" y="880"/>
                    </a:moveTo>
                    <a:lnTo>
                      <a:pt x="250" y="880"/>
                    </a:lnTo>
                    <a:lnTo>
                      <a:pt x="250" y="886"/>
                    </a:lnTo>
                    <a:lnTo>
                      <a:pt x="256" y="894"/>
                    </a:lnTo>
                    <a:lnTo>
                      <a:pt x="264" y="886"/>
                    </a:lnTo>
                    <a:lnTo>
                      <a:pt x="264" y="880"/>
                    </a:lnTo>
                    <a:lnTo>
                      <a:pt x="264" y="874"/>
                    </a:lnTo>
                    <a:lnTo>
                      <a:pt x="256" y="866"/>
                    </a:lnTo>
                    <a:lnTo>
                      <a:pt x="270" y="852"/>
                    </a:lnTo>
                    <a:lnTo>
                      <a:pt x="270" y="846"/>
                    </a:lnTo>
                    <a:lnTo>
                      <a:pt x="278" y="838"/>
                    </a:lnTo>
                    <a:lnTo>
                      <a:pt x="278" y="832"/>
                    </a:lnTo>
                    <a:lnTo>
                      <a:pt x="284" y="826"/>
                    </a:lnTo>
                    <a:lnTo>
                      <a:pt x="292" y="826"/>
                    </a:lnTo>
                    <a:lnTo>
                      <a:pt x="298" y="826"/>
                    </a:lnTo>
                    <a:lnTo>
                      <a:pt x="304" y="804"/>
                    </a:lnTo>
                    <a:lnTo>
                      <a:pt x="304" y="784"/>
                    </a:lnTo>
                    <a:lnTo>
                      <a:pt x="304" y="776"/>
                    </a:lnTo>
                    <a:lnTo>
                      <a:pt x="304" y="770"/>
                    </a:lnTo>
                    <a:lnTo>
                      <a:pt x="298" y="756"/>
                    </a:lnTo>
                    <a:lnTo>
                      <a:pt x="298" y="750"/>
                    </a:lnTo>
                    <a:lnTo>
                      <a:pt x="318" y="736"/>
                    </a:lnTo>
                    <a:lnTo>
                      <a:pt x="318" y="728"/>
                    </a:lnTo>
                    <a:lnTo>
                      <a:pt x="318" y="716"/>
                    </a:lnTo>
                    <a:lnTo>
                      <a:pt x="318" y="708"/>
                    </a:lnTo>
                    <a:lnTo>
                      <a:pt x="312" y="702"/>
                    </a:lnTo>
                    <a:lnTo>
                      <a:pt x="304" y="694"/>
                    </a:lnTo>
                    <a:lnTo>
                      <a:pt x="304" y="686"/>
                    </a:lnTo>
                    <a:lnTo>
                      <a:pt x="304" y="680"/>
                    </a:lnTo>
                    <a:lnTo>
                      <a:pt x="312" y="668"/>
                    </a:lnTo>
                    <a:lnTo>
                      <a:pt x="312" y="660"/>
                    </a:lnTo>
                    <a:lnTo>
                      <a:pt x="312" y="646"/>
                    </a:lnTo>
                    <a:lnTo>
                      <a:pt x="304" y="640"/>
                    </a:lnTo>
                    <a:lnTo>
                      <a:pt x="304" y="632"/>
                    </a:lnTo>
                    <a:lnTo>
                      <a:pt x="304" y="618"/>
                    </a:lnTo>
                    <a:lnTo>
                      <a:pt x="312" y="612"/>
                    </a:lnTo>
                    <a:lnTo>
                      <a:pt x="312" y="598"/>
                    </a:lnTo>
                    <a:lnTo>
                      <a:pt x="312" y="584"/>
                    </a:lnTo>
                    <a:lnTo>
                      <a:pt x="312" y="570"/>
                    </a:lnTo>
                    <a:lnTo>
                      <a:pt x="318" y="556"/>
                    </a:lnTo>
                    <a:lnTo>
                      <a:pt x="326" y="550"/>
                    </a:lnTo>
                    <a:lnTo>
                      <a:pt x="341" y="544"/>
                    </a:lnTo>
                    <a:lnTo>
                      <a:pt x="341" y="550"/>
                    </a:lnTo>
                    <a:lnTo>
                      <a:pt x="347" y="550"/>
                    </a:lnTo>
                    <a:lnTo>
                      <a:pt x="355" y="544"/>
                    </a:lnTo>
                    <a:lnTo>
                      <a:pt x="361" y="536"/>
                    </a:lnTo>
                    <a:lnTo>
                      <a:pt x="369" y="536"/>
                    </a:lnTo>
                    <a:lnTo>
                      <a:pt x="383" y="536"/>
                    </a:lnTo>
                    <a:lnTo>
                      <a:pt x="389" y="528"/>
                    </a:lnTo>
                    <a:lnTo>
                      <a:pt x="383" y="516"/>
                    </a:lnTo>
                    <a:lnTo>
                      <a:pt x="383" y="508"/>
                    </a:lnTo>
                    <a:lnTo>
                      <a:pt x="383" y="502"/>
                    </a:lnTo>
                    <a:lnTo>
                      <a:pt x="375" y="488"/>
                    </a:lnTo>
                    <a:lnTo>
                      <a:pt x="383" y="480"/>
                    </a:lnTo>
                    <a:lnTo>
                      <a:pt x="395" y="474"/>
                    </a:lnTo>
                    <a:lnTo>
                      <a:pt x="395" y="468"/>
                    </a:lnTo>
                    <a:lnTo>
                      <a:pt x="403" y="446"/>
                    </a:lnTo>
                    <a:lnTo>
                      <a:pt x="403" y="440"/>
                    </a:lnTo>
                    <a:lnTo>
                      <a:pt x="403" y="432"/>
                    </a:lnTo>
                    <a:lnTo>
                      <a:pt x="403" y="418"/>
                    </a:lnTo>
                    <a:lnTo>
                      <a:pt x="409" y="412"/>
                    </a:lnTo>
                    <a:lnTo>
                      <a:pt x="417" y="398"/>
                    </a:lnTo>
                    <a:lnTo>
                      <a:pt x="417" y="384"/>
                    </a:lnTo>
                    <a:lnTo>
                      <a:pt x="431" y="378"/>
                    </a:lnTo>
                    <a:lnTo>
                      <a:pt x="445" y="370"/>
                    </a:lnTo>
                    <a:lnTo>
                      <a:pt x="451" y="364"/>
                    </a:lnTo>
                    <a:lnTo>
                      <a:pt x="451" y="358"/>
                    </a:lnTo>
                    <a:lnTo>
                      <a:pt x="451" y="344"/>
                    </a:lnTo>
                    <a:lnTo>
                      <a:pt x="465" y="336"/>
                    </a:lnTo>
                    <a:lnTo>
                      <a:pt x="479" y="324"/>
                    </a:lnTo>
                    <a:lnTo>
                      <a:pt x="479" y="316"/>
                    </a:lnTo>
                    <a:lnTo>
                      <a:pt x="485" y="308"/>
                    </a:lnTo>
                    <a:lnTo>
                      <a:pt x="479" y="296"/>
                    </a:lnTo>
                    <a:lnTo>
                      <a:pt x="471" y="288"/>
                    </a:lnTo>
                    <a:lnTo>
                      <a:pt x="479" y="282"/>
                    </a:lnTo>
                    <a:lnTo>
                      <a:pt x="485" y="274"/>
                    </a:lnTo>
                    <a:lnTo>
                      <a:pt x="507" y="260"/>
                    </a:lnTo>
                    <a:lnTo>
                      <a:pt x="507" y="254"/>
                    </a:lnTo>
                    <a:lnTo>
                      <a:pt x="513" y="240"/>
                    </a:lnTo>
                    <a:lnTo>
                      <a:pt x="521" y="240"/>
                    </a:lnTo>
                    <a:lnTo>
                      <a:pt x="535" y="246"/>
                    </a:lnTo>
                    <a:lnTo>
                      <a:pt x="541" y="246"/>
                    </a:lnTo>
                    <a:lnTo>
                      <a:pt x="541" y="240"/>
                    </a:lnTo>
                    <a:lnTo>
                      <a:pt x="541" y="226"/>
                    </a:lnTo>
                    <a:lnTo>
                      <a:pt x="555" y="220"/>
                    </a:lnTo>
                    <a:lnTo>
                      <a:pt x="563" y="226"/>
                    </a:lnTo>
                    <a:lnTo>
                      <a:pt x="569" y="226"/>
                    </a:lnTo>
                    <a:lnTo>
                      <a:pt x="569" y="220"/>
                    </a:lnTo>
                    <a:lnTo>
                      <a:pt x="575" y="198"/>
                    </a:lnTo>
                    <a:lnTo>
                      <a:pt x="589" y="206"/>
                    </a:lnTo>
                    <a:lnTo>
                      <a:pt x="589" y="198"/>
                    </a:lnTo>
                    <a:lnTo>
                      <a:pt x="589" y="186"/>
                    </a:lnTo>
                    <a:lnTo>
                      <a:pt x="589" y="178"/>
                    </a:lnTo>
                    <a:lnTo>
                      <a:pt x="603" y="178"/>
                    </a:lnTo>
                    <a:lnTo>
                      <a:pt x="603" y="164"/>
                    </a:lnTo>
                    <a:lnTo>
                      <a:pt x="611" y="150"/>
                    </a:lnTo>
                    <a:lnTo>
                      <a:pt x="617" y="150"/>
                    </a:lnTo>
                    <a:lnTo>
                      <a:pt x="625" y="158"/>
                    </a:lnTo>
                    <a:lnTo>
                      <a:pt x="639" y="164"/>
                    </a:lnTo>
                    <a:lnTo>
                      <a:pt x="639" y="172"/>
                    </a:lnTo>
                    <a:lnTo>
                      <a:pt x="645" y="186"/>
                    </a:lnTo>
                    <a:lnTo>
                      <a:pt x="653" y="186"/>
                    </a:lnTo>
                    <a:lnTo>
                      <a:pt x="659" y="186"/>
                    </a:lnTo>
                    <a:lnTo>
                      <a:pt x="665" y="192"/>
                    </a:lnTo>
                    <a:lnTo>
                      <a:pt x="687" y="192"/>
                    </a:lnTo>
                    <a:lnTo>
                      <a:pt x="693" y="186"/>
                    </a:lnTo>
                    <a:lnTo>
                      <a:pt x="701" y="186"/>
                    </a:lnTo>
                    <a:lnTo>
                      <a:pt x="707" y="198"/>
                    </a:lnTo>
                    <a:lnTo>
                      <a:pt x="721" y="192"/>
                    </a:lnTo>
                    <a:lnTo>
                      <a:pt x="729" y="192"/>
                    </a:lnTo>
                    <a:lnTo>
                      <a:pt x="729" y="186"/>
                    </a:lnTo>
                    <a:lnTo>
                      <a:pt x="735" y="172"/>
                    </a:lnTo>
                    <a:lnTo>
                      <a:pt x="743" y="164"/>
                    </a:lnTo>
                    <a:lnTo>
                      <a:pt x="743" y="158"/>
                    </a:lnTo>
                    <a:lnTo>
                      <a:pt x="743" y="150"/>
                    </a:lnTo>
                    <a:lnTo>
                      <a:pt x="743" y="144"/>
                    </a:lnTo>
                    <a:lnTo>
                      <a:pt x="749" y="130"/>
                    </a:lnTo>
                    <a:lnTo>
                      <a:pt x="749" y="102"/>
                    </a:lnTo>
                    <a:lnTo>
                      <a:pt x="755" y="96"/>
                    </a:lnTo>
                    <a:lnTo>
                      <a:pt x="769" y="96"/>
                    </a:lnTo>
                    <a:lnTo>
                      <a:pt x="783" y="88"/>
                    </a:lnTo>
                    <a:lnTo>
                      <a:pt x="791" y="82"/>
                    </a:lnTo>
                    <a:lnTo>
                      <a:pt x="797" y="82"/>
                    </a:lnTo>
                    <a:lnTo>
                      <a:pt x="791" y="96"/>
                    </a:lnTo>
                    <a:lnTo>
                      <a:pt x="811" y="102"/>
                    </a:lnTo>
                    <a:lnTo>
                      <a:pt x="817" y="102"/>
                    </a:lnTo>
                    <a:lnTo>
                      <a:pt x="825" y="110"/>
                    </a:lnTo>
                    <a:lnTo>
                      <a:pt x="833" y="116"/>
                    </a:lnTo>
                    <a:lnTo>
                      <a:pt x="833" y="124"/>
                    </a:lnTo>
                    <a:lnTo>
                      <a:pt x="825" y="130"/>
                    </a:lnTo>
                    <a:lnTo>
                      <a:pt x="825" y="144"/>
                    </a:lnTo>
                    <a:lnTo>
                      <a:pt x="825" y="150"/>
                    </a:lnTo>
                    <a:lnTo>
                      <a:pt x="825" y="158"/>
                    </a:lnTo>
                    <a:lnTo>
                      <a:pt x="825" y="164"/>
                    </a:lnTo>
                    <a:lnTo>
                      <a:pt x="833" y="164"/>
                    </a:lnTo>
                    <a:lnTo>
                      <a:pt x="835" y="140"/>
                    </a:lnTo>
                    <a:lnTo>
                      <a:pt x="845" y="124"/>
                    </a:lnTo>
                    <a:lnTo>
                      <a:pt x="859" y="116"/>
                    </a:lnTo>
                    <a:lnTo>
                      <a:pt x="875" y="112"/>
                    </a:lnTo>
                    <a:lnTo>
                      <a:pt x="881" y="88"/>
                    </a:lnTo>
                    <a:lnTo>
                      <a:pt x="879" y="88"/>
                    </a:lnTo>
                    <a:lnTo>
                      <a:pt x="867" y="88"/>
                    </a:lnTo>
                    <a:lnTo>
                      <a:pt x="859" y="88"/>
                    </a:lnTo>
                    <a:lnTo>
                      <a:pt x="867" y="82"/>
                    </a:lnTo>
                    <a:lnTo>
                      <a:pt x="867" y="68"/>
                    </a:lnTo>
                    <a:lnTo>
                      <a:pt x="859" y="62"/>
                    </a:lnTo>
                    <a:lnTo>
                      <a:pt x="867" y="62"/>
                    </a:lnTo>
                    <a:lnTo>
                      <a:pt x="873" y="54"/>
                    </a:lnTo>
                    <a:lnTo>
                      <a:pt x="873" y="48"/>
                    </a:lnTo>
                    <a:lnTo>
                      <a:pt x="873" y="40"/>
                    </a:lnTo>
                    <a:lnTo>
                      <a:pt x="867" y="40"/>
                    </a:lnTo>
                    <a:lnTo>
                      <a:pt x="867" y="34"/>
                    </a:lnTo>
                    <a:lnTo>
                      <a:pt x="853" y="34"/>
                    </a:lnTo>
                    <a:lnTo>
                      <a:pt x="839" y="40"/>
                    </a:lnTo>
                    <a:lnTo>
                      <a:pt x="839" y="26"/>
                    </a:lnTo>
                    <a:lnTo>
                      <a:pt x="825" y="26"/>
                    </a:lnTo>
                    <a:lnTo>
                      <a:pt x="817" y="20"/>
                    </a:lnTo>
                    <a:lnTo>
                      <a:pt x="803" y="34"/>
                    </a:lnTo>
                    <a:lnTo>
                      <a:pt x="803" y="40"/>
                    </a:lnTo>
                    <a:lnTo>
                      <a:pt x="797" y="48"/>
                    </a:lnTo>
                    <a:lnTo>
                      <a:pt x="791" y="34"/>
                    </a:lnTo>
                    <a:lnTo>
                      <a:pt x="791" y="26"/>
                    </a:lnTo>
                    <a:lnTo>
                      <a:pt x="797" y="20"/>
                    </a:lnTo>
                    <a:lnTo>
                      <a:pt x="797" y="14"/>
                    </a:lnTo>
                    <a:lnTo>
                      <a:pt x="797" y="0"/>
                    </a:lnTo>
                    <a:lnTo>
                      <a:pt x="791" y="0"/>
                    </a:lnTo>
                    <a:lnTo>
                      <a:pt x="777" y="14"/>
                    </a:lnTo>
                    <a:lnTo>
                      <a:pt x="777" y="20"/>
                    </a:lnTo>
                    <a:lnTo>
                      <a:pt x="763" y="26"/>
                    </a:lnTo>
                    <a:lnTo>
                      <a:pt x="763" y="48"/>
                    </a:lnTo>
                    <a:lnTo>
                      <a:pt x="763" y="54"/>
                    </a:lnTo>
                    <a:lnTo>
                      <a:pt x="755" y="48"/>
                    </a:lnTo>
                    <a:lnTo>
                      <a:pt x="755" y="40"/>
                    </a:lnTo>
                    <a:lnTo>
                      <a:pt x="749" y="34"/>
                    </a:lnTo>
                    <a:lnTo>
                      <a:pt x="749" y="26"/>
                    </a:lnTo>
                    <a:lnTo>
                      <a:pt x="749" y="20"/>
                    </a:lnTo>
                    <a:lnTo>
                      <a:pt x="749" y="14"/>
                    </a:lnTo>
                    <a:lnTo>
                      <a:pt x="741" y="14"/>
                    </a:lnTo>
                    <a:lnTo>
                      <a:pt x="741" y="20"/>
                    </a:lnTo>
                    <a:lnTo>
                      <a:pt x="741" y="26"/>
                    </a:lnTo>
                    <a:lnTo>
                      <a:pt x="735" y="40"/>
                    </a:lnTo>
                    <a:lnTo>
                      <a:pt x="727" y="54"/>
                    </a:lnTo>
                    <a:lnTo>
                      <a:pt x="721" y="68"/>
                    </a:lnTo>
                    <a:lnTo>
                      <a:pt x="721" y="62"/>
                    </a:lnTo>
                    <a:lnTo>
                      <a:pt x="721" y="54"/>
                    </a:lnTo>
                    <a:lnTo>
                      <a:pt x="721" y="40"/>
                    </a:lnTo>
                    <a:lnTo>
                      <a:pt x="735" y="34"/>
                    </a:lnTo>
                    <a:lnTo>
                      <a:pt x="735" y="26"/>
                    </a:lnTo>
                    <a:lnTo>
                      <a:pt x="741" y="14"/>
                    </a:lnTo>
                    <a:lnTo>
                      <a:pt x="749" y="6"/>
                    </a:lnTo>
                    <a:lnTo>
                      <a:pt x="741" y="0"/>
                    </a:lnTo>
                    <a:lnTo>
                      <a:pt x="721" y="14"/>
                    </a:lnTo>
                    <a:lnTo>
                      <a:pt x="713" y="6"/>
                    </a:lnTo>
                    <a:lnTo>
                      <a:pt x="707" y="14"/>
                    </a:lnTo>
                    <a:lnTo>
                      <a:pt x="707" y="20"/>
                    </a:lnTo>
                    <a:lnTo>
                      <a:pt x="721" y="26"/>
                    </a:lnTo>
                    <a:lnTo>
                      <a:pt x="701" y="34"/>
                    </a:lnTo>
                    <a:lnTo>
                      <a:pt x="693" y="26"/>
                    </a:lnTo>
                    <a:lnTo>
                      <a:pt x="687" y="34"/>
                    </a:lnTo>
                    <a:lnTo>
                      <a:pt x="687" y="48"/>
                    </a:lnTo>
                    <a:lnTo>
                      <a:pt x="679" y="48"/>
                    </a:lnTo>
                    <a:lnTo>
                      <a:pt x="687" y="54"/>
                    </a:lnTo>
                    <a:lnTo>
                      <a:pt x="673" y="68"/>
                    </a:lnTo>
                    <a:lnTo>
                      <a:pt x="665" y="54"/>
                    </a:lnTo>
                    <a:lnTo>
                      <a:pt x="659" y="62"/>
                    </a:lnTo>
                    <a:lnTo>
                      <a:pt x="659" y="68"/>
                    </a:lnTo>
                    <a:lnTo>
                      <a:pt x="659" y="76"/>
                    </a:lnTo>
                    <a:lnTo>
                      <a:pt x="651" y="82"/>
                    </a:lnTo>
                    <a:lnTo>
                      <a:pt x="645" y="76"/>
                    </a:lnTo>
                    <a:lnTo>
                      <a:pt x="637" y="76"/>
                    </a:lnTo>
                    <a:lnTo>
                      <a:pt x="637" y="82"/>
                    </a:lnTo>
                    <a:lnTo>
                      <a:pt x="631" y="76"/>
                    </a:lnTo>
                    <a:lnTo>
                      <a:pt x="623" y="76"/>
                    </a:lnTo>
                    <a:lnTo>
                      <a:pt x="617" y="82"/>
                    </a:lnTo>
                    <a:lnTo>
                      <a:pt x="617" y="88"/>
                    </a:lnTo>
                    <a:lnTo>
                      <a:pt x="611" y="88"/>
                    </a:lnTo>
                    <a:lnTo>
                      <a:pt x="603" y="96"/>
                    </a:lnTo>
                    <a:lnTo>
                      <a:pt x="603" y="110"/>
                    </a:lnTo>
                    <a:lnTo>
                      <a:pt x="611" y="116"/>
                    </a:lnTo>
                    <a:lnTo>
                      <a:pt x="611" y="130"/>
                    </a:lnTo>
                    <a:lnTo>
                      <a:pt x="603" y="124"/>
                    </a:lnTo>
                    <a:lnTo>
                      <a:pt x="597" y="116"/>
                    </a:lnTo>
                    <a:lnTo>
                      <a:pt x="589" y="116"/>
                    </a:lnTo>
                    <a:lnTo>
                      <a:pt x="583" y="130"/>
                    </a:lnTo>
                    <a:lnTo>
                      <a:pt x="575" y="116"/>
                    </a:lnTo>
                    <a:lnTo>
                      <a:pt x="569" y="124"/>
                    </a:lnTo>
                    <a:lnTo>
                      <a:pt x="569" y="138"/>
                    </a:lnTo>
                    <a:lnTo>
                      <a:pt x="575" y="150"/>
                    </a:lnTo>
                    <a:lnTo>
                      <a:pt x="575" y="158"/>
                    </a:lnTo>
                    <a:lnTo>
                      <a:pt x="569" y="150"/>
                    </a:lnTo>
                    <a:lnTo>
                      <a:pt x="561" y="138"/>
                    </a:lnTo>
                    <a:lnTo>
                      <a:pt x="561" y="150"/>
                    </a:lnTo>
                    <a:lnTo>
                      <a:pt x="555" y="164"/>
                    </a:lnTo>
                    <a:lnTo>
                      <a:pt x="547" y="158"/>
                    </a:lnTo>
                    <a:lnTo>
                      <a:pt x="547" y="144"/>
                    </a:lnTo>
                    <a:lnTo>
                      <a:pt x="541" y="150"/>
                    </a:lnTo>
                    <a:lnTo>
                      <a:pt x="541" y="172"/>
                    </a:lnTo>
                    <a:lnTo>
                      <a:pt x="535" y="172"/>
                    </a:lnTo>
                    <a:lnTo>
                      <a:pt x="527" y="172"/>
                    </a:lnTo>
                    <a:lnTo>
                      <a:pt x="521" y="178"/>
                    </a:lnTo>
                    <a:lnTo>
                      <a:pt x="527" y="186"/>
                    </a:lnTo>
                    <a:lnTo>
                      <a:pt x="521" y="192"/>
                    </a:lnTo>
                    <a:lnTo>
                      <a:pt x="513" y="198"/>
                    </a:lnTo>
                    <a:lnTo>
                      <a:pt x="513" y="206"/>
                    </a:lnTo>
                    <a:lnTo>
                      <a:pt x="521" y="212"/>
                    </a:lnTo>
                    <a:lnTo>
                      <a:pt x="513" y="220"/>
                    </a:lnTo>
                    <a:lnTo>
                      <a:pt x="493" y="220"/>
                    </a:lnTo>
                    <a:lnTo>
                      <a:pt x="493" y="212"/>
                    </a:lnTo>
                    <a:lnTo>
                      <a:pt x="485" y="220"/>
                    </a:lnTo>
                    <a:lnTo>
                      <a:pt x="485" y="226"/>
                    </a:lnTo>
                    <a:lnTo>
                      <a:pt x="485" y="240"/>
                    </a:lnTo>
                    <a:lnTo>
                      <a:pt x="485" y="246"/>
                    </a:lnTo>
                    <a:lnTo>
                      <a:pt x="479" y="260"/>
                    </a:lnTo>
                    <a:lnTo>
                      <a:pt x="479" y="246"/>
                    </a:lnTo>
                    <a:lnTo>
                      <a:pt x="479" y="234"/>
                    </a:lnTo>
                    <a:lnTo>
                      <a:pt x="479" y="226"/>
                    </a:lnTo>
                    <a:lnTo>
                      <a:pt x="471" y="234"/>
                    </a:lnTo>
                    <a:lnTo>
                      <a:pt x="465" y="234"/>
                    </a:lnTo>
                    <a:lnTo>
                      <a:pt x="457" y="234"/>
                    </a:lnTo>
                    <a:lnTo>
                      <a:pt x="451" y="240"/>
                    </a:lnTo>
                    <a:lnTo>
                      <a:pt x="457" y="240"/>
                    </a:lnTo>
                    <a:lnTo>
                      <a:pt x="465" y="246"/>
                    </a:lnTo>
                    <a:lnTo>
                      <a:pt x="465" y="254"/>
                    </a:lnTo>
                    <a:lnTo>
                      <a:pt x="457" y="246"/>
                    </a:lnTo>
                    <a:lnTo>
                      <a:pt x="451" y="254"/>
                    </a:lnTo>
                    <a:lnTo>
                      <a:pt x="443" y="246"/>
                    </a:lnTo>
                    <a:lnTo>
                      <a:pt x="437" y="246"/>
                    </a:lnTo>
                    <a:lnTo>
                      <a:pt x="437" y="260"/>
                    </a:lnTo>
                    <a:lnTo>
                      <a:pt x="431" y="268"/>
                    </a:lnTo>
                    <a:lnTo>
                      <a:pt x="451" y="260"/>
                    </a:lnTo>
                    <a:lnTo>
                      <a:pt x="457" y="268"/>
                    </a:lnTo>
                    <a:lnTo>
                      <a:pt x="457" y="274"/>
                    </a:lnTo>
                    <a:lnTo>
                      <a:pt x="443" y="274"/>
                    </a:lnTo>
                    <a:lnTo>
                      <a:pt x="437" y="274"/>
                    </a:lnTo>
                    <a:lnTo>
                      <a:pt x="431" y="282"/>
                    </a:lnTo>
                    <a:lnTo>
                      <a:pt x="431" y="288"/>
                    </a:lnTo>
                    <a:lnTo>
                      <a:pt x="443" y="288"/>
                    </a:lnTo>
                    <a:lnTo>
                      <a:pt x="443" y="302"/>
                    </a:lnTo>
                    <a:lnTo>
                      <a:pt x="437" y="302"/>
                    </a:lnTo>
                    <a:lnTo>
                      <a:pt x="431" y="302"/>
                    </a:lnTo>
                    <a:lnTo>
                      <a:pt x="423" y="308"/>
                    </a:lnTo>
                    <a:lnTo>
                      <a:pt x="417" y="316"/>
                    </a:lnTo>
                    <a:lnTo>
                      <a:pt x="403" y="308"/>
                    </a:lnTo>
                    <a:lnTo>
                      <a:pt x="395" y="316"/>
                    </a:lnTo>
                    <a:lnTo>
                      <a:pt x="395" y="324"/>
                    </a:lnTo>
                    <a:lnTo>
                      <a:pt x="395" y="330"/>
                    </a:lnTo>
                    <a:lnTo>
                      <a:pt x="389" y="330"/>
                    </a:lnTo>
                    <a:lnTo>
                      <a:pt x="381" y="336"/>
                    </a:lnTo>
                    <a:lnTo>
                      <a:pt x="389" y="344"/>
                    </a:lnTo>
                    <a:lnTo>
                      <a:pt x="381" y="350"/>
                    </a:lnTo>
                    <a:lnTo>
                      <a:pt x="367" y="350"/>
                    </a:lnTo>
                    <a:lnTo>
                      <a:pt x="375" y="358"/>
                    </a:lnTo>
                    <a:lnTo>
                      <a:pt x="381" y="364"/>
                    </a:lnTo>
                    <a:lnTo>
                      <a:pt x="389" y="358"/>
                    </a:lnTo>
                    <a:lnTo>
                      <a:pt x="389" y="370"/>
                    </a:lnTo>
                    <a:lnTo>
                      <a:pt x="375" y="370"/>
                    </a:lnTo>
                    <a:lnTo>
                      <a:pt x="367" y="370"/>
                    </a:lnTo>
                    <a:lnTo>
                      <a:pt x="367" y="378"/>
                    </a:lnTo>
                    <a:lnTo>
                      <a:pt x="375" y="384"/>
                    </a:lnTo>
                    <a:lnTo>
                      <a:pt x="367" y="392"/>
                    </a:lnTo>
                    <a:lnTo>
                      <a:pt x="361" y="392"/>
                    </a:lnTo>
                    <a:lnTo>
                      <a:pt x="353" y="398"/>
                    </a:lnTo>
                    <a:lnTo>
                      <a:pt x="347" y="406"/>
                    </a:lnTo>
                    <a:lnTo>
                      <a:pt x="353" y="412"/>
                    </a:lnTo>
                    <a:lnTo>
                      <a:pt x="353" y="418"/>
                    </a:lnTo>
                    <a:lnTo>
                      <a:pt x="347" y="426"/>
                    </a:lnTo>
                    <a:lnTo>
                      <a:pt x="341" y="418"/>
                    </a:lnTo>
                    <a:lnTo>
                      <a:pt x="341" y="412"/>
                    </a:lnTo>
                    <a:lnTo>
                      <a:pt x="332" y="426"/>
                    </a:lnTo>
                    <a:lnTo>
                      <a:pt x="332" y="432"/>
                    </a:lnTo>
                    <a:lnTo>
                      <a:pt x="341" y="432"/>
                    </a:lnTo>
                    <a:lnTo>
                      <a:pt x="341" y="446"/>
                    </a:lnTo>
                    <a:lnTo>
                      <a:pt x="332" y="454"/>
                    </a:lnTo>
                    <a:lnTo>
                      <a:pt x="326" y="454"/>
                    </a:lnTo>
                    <a:lnTo>
                      <a:pt x="326" y="468"/>
                    </a:lnTo>
                    <a:lnTo>
                      <a:pt x="318" y="474"/>
                    </a:lnTo>
                    <a:lnTo>
                      <a:pt x="312" y="474"/>
                    </a:lnTo>
                    <a:lnTo>
                      <a:pt x="312" y="480"/>
                    </a:lnTo>
                    <a:lnTo>
                      <a:pt x="318" y="480"/>
                    </a:lnTo>
                    <a:lnTo>
                      <a:pt x="318" y="488"/>
                    </a:lnTo>
                    <a:lnTo>
                      <a:pt x="318" y="496"/>
                    </a:lnTo>
                    <a:lnTo>
                      <a:pt x="312" y="502"/>
                    </a:lnTo>
                    <a:lnTo>
                      <a:pt x="298" y="496"/>
                    </a:lnTo>
                    <a:lnTo>
                      <a:pt x="298" y="488"/>
                    </a:lnTo>
                    <a:lnTo>
                      <a:pt x="290" y="480"/>
                    </a:lnTo>
                    <a:lnTo>
                      <a:pt x="284" y="488"/>
                    </a:lnTo>
                    <a:lnTo>
                      <a:pt x="276" y="496"/>
                    </a:lnTo>
                    <a:lnTo>
                      <a:pt x="270" y="496"/>
                    </a:lnTo>
                    <a:lnTo>
                      <a:pt x="264" y="496"/>
                    </a:lnTo>
                    <a:lnTo>
                      <a:pt x="264" y="508"/>
                    </a:lnTo>
                    <a:lnTo>
                      <a:pt x="256" y="516"/>
                    </a:lnTo>
                    <a:lnTo>
                      <a:pt x="250" y="528"/>
                    </a:lnTo>
                    <a:lnTo>
                      <a:pt x="242" y="528"/>
                    </a:lnTo>
                    <a:lnTo>
                      <a:pt x="236" y="528"/>
                    </a:lnTo>
                    <a:lnTo>
                      <a:pt x="236" y="536"/>
                    </a:lnTo>
                    <a:lnTo>
                      <a:pt x="236" y="550"/>
                    </a:lnTo>
                    <a:lnTo>
                      <a:pt x="228" y="544"/>
                    </a:lnTo>
                    <a:lnTo>
                      <a:pt x="222" y="550"/>
                    </a:lnTo>
                    <a:lnTo>
                      <a:pt x="214" y="556"/>
                    </a:lnTo>
                    <a:lnTo>
                      <a:pt x="208" y="550"/>
                    </a:lnTo>
                    <a:lnTo>
                      <a:pt x="202" y="556"/>
                    </a:lnTo>
                    <a:lnTo>
                      <a:pt x="194" y="564"/>
                    </a:lnTo>
                    <a:lnTo>
                      <a:pt x="188" y="564"/>
                    </a:lnTo>
                    <a:lnTo>
                      <a:pt x="188" y="578"/>
                    </a:lnTo>
                    <a:lnTo>
                      <a:pt x="180" y="570"/>
                    </a:lnTo>
                    <a:lnTo>
                      <a:pt x="172" y="570"/>
                    </a:lnTo>
                    <a:lnTo>
                      <a:pt x="180" y="578"/>
                    </a:lnTo>
                    <a:lnTo>
                      <a:pt x="180" y="584"/>
                    </a:lnTo>
                    <a:lnTo>
                      <a:pt x="172" y="584"/>
                    </a:lnTo>
                    <a:lnTo>
                      <a:pt x="166" y="578"/>
                    </a:lnTo>
                    <a:lnTo>
                      <a:pt x="160" y="584"/>
                    </a:lnTo>
                    <a:lnTo>
                      <a:pt x="152" y="584"/>
                    </a:lnTo>
                    <a:lnTo>
                      <a:pt x="146" y="584"/>
                    </a:lnTo>
                    <a:lnTo>
                      <a:pt x="138" y="584"/>
                    </a:lnTo>
                    <a:lnTo>
                      <a:pt x="138" y="592"/>
                    </a:lnTo>
                    <a:lnTo>
                      <a:pt x="146" y="604"/>
                    </a:lnTo>
                    <a:lnTo>
                      <a:pt x="138" y="604"/>
                    </a:lnTo>
                    <a:lnTo>
                      <a:pt x="130" y="604"/>
                    </a:lnTo>
                    <a:lnTo>
                      <a:pt x="118" y="598"/>
                    </a:lnTo>
                    <a:lnTo>
                      <a:pt x="110" y="598"/>
                    </a:lnTo>
                    <a:lnTo>
                      <a:pt x="104" y="604"/>
                    </a:lnTo>
                    <a:lnTo>
                      <a:pt x="110" y="612"/>
                    </a:lnTo>
                    <a:lnTo>
                      <a:pt x="110" y="618"/>
                    </a:lnTo>
                    <a:lnTo>
                      <a:pt x="104" y="618"/>
                    </a:lnTo>
                    <a:lnTo>
                      <a:pt x="90" y="618"/>
                    </a:lnTo>
                    <a:lnTo>
                      <a:pt x="82" y="632"/>
                    </a:lnTo>
                    <a:lnTo>
                      <a:pt x="82" y="618"/>
                    </a:lnTo>
                    <a:lnTo>
                      <a:pt x="76" y="618"/>
                    </a:lnTo>
                    <a:lnTo>
                      <a:pt x="68" y="626"/>
                    </a:lnTo>
                    <a:lnTo>
                      <a:pt x="62" y="618"/>
                    </a:lnTo>
                    <a:lnTo>
                      <a:pt x="56" y="618"/>
                    </a:lnTo>
                    <a:lnTo>
                      <a:pt x="48" y="618"/>
                    </a:lnTo>
                    <a:lnTo>
                      <a:pt x="48" y="626"/>
                    </a:lnTo>
                    <a:lnTo>
                      <a:pt x="48" y="632"/>
                    </a:lnTo>
                    <a:lnTo>
                      <a:pt x="56" y="640"/>
                    </a:lnTo>
                    <a:lnTo>
                      <a:pt x="62" y="640"/>
                    </a:lnTo>
                    <a:lnTo>
                      <a:pt x="62" y="646"/>
                    </a:lnTo>
                    <a:lnTo>
                      <a:pt x="56" y="646"/>
                    </a:lnTo>
                    <a:lnTo>
                      <a:pt x="48" y="654"/>
                    </a:lnTo>
                    <a:lnTo>
                      <a:pt x="34" y="654"/>
                    </a:lnTo>
                    <a:lnTo>
                      <a:pt x="34" y="660"/>
                    </a:lnTo>
                    <a:lnTo>
                      <a:pt x="42" y="668"/>
                    </a:lnTo>
                    <a:lnTo>
                      <a:pt x="42" y="674"/>
                    </a:lnTo>
                    <a:lnTo>
                      <a:pt x="28" y="668"/>
                    </a:lnTo>
                    <a:lnTo>
                      <a:pt x="28" y="674"/>
                    </a:lnTo>
                    <a:lnTo>
                      <a:pt x="28" y="680"/>
                    </a:lnTo>
                    <a:lnTo>
                      <a:pt x="34" y="694"/>
                    </a:lnTo>
                    <a:lnTo>
                      <a:pt x="48" y="694"/>
                    </a:lnTo>
                    <a:lnTo>
                      <a:pt x="48" y="702"/>
                    </a:lnTo>
                    <a:lnTo>
                      <a:pt x="42" y="702"/>
                    </a:lnTo>
                    <a:lnTo>
                      <a:pt x="28" y="694"/>
                    </a:lnTo>
                    <a:lnTo>
                      <a:pt x="28" y="702"/>
                    </a:lnTo>
                    <a:lnTo>
                      <a:pt x="28" y="708"/>
                    </a:lnTo>
                    <a:lnTo>
                      <a:pt x="34" y="722"/>
                    </a:lnTo>
                    <a:lnTo>
                      <a:pt x="42" y="728"/>
                    </a:lnTo>
                    <a:lnTo>
                      <a:pt x="34" y="736"/>
                    </a:lnTo>
                    <a:lnTo>
                      <a:pt x="28" y="728"/>
                    </a:lnTo>
                    <a:lnTo>
                      <a:pt x="20" y="736"/>
                    </a:lnTo>
                    <a:lnTo>
                      <a:pt x="20" y="742"/>
                    </a:lnTo>
                    <a:lnTo>
                      <a:pt x="34" y="750"/>
                    </a:lnTo>
                    <a:lnTo>
                      <a:pt x="28" y="750"/>
                    </a:lnTo>
                    <a:lnTo>
                      <a:pt x="20" y="750"/>
                    </a:lnTo>
                    <a:lnTo>
                      <a:pt x="20" y="756"/>
                    </a:lnTo>
                    <a:lnTo>
                      <a:pt x="28" y="764"/>
                    </a:lnTo>
                    <a:lnTo>
                      <a:pt x="34" y="770"/>
                    </a:lnTo>
                    <a:lnTo>
                      <a:pt x="48" y="770"/>
                    </a:lnTo>
                    <a:lnTo>
                      <a:pt x="62" y="764"/>
                    </a:lnTo>
                    <a:lnTo>
                      <a:pt x="48" y="776"/>
                    </a:lnTo>
                    <a:lnTo>
                      <a:pt x="42" y="784"/>
                    </a:lnTo>
                    <a:lnTo>
                      <a:pt x="34" y="790"/>
                    </a:lnTo>
                    <a:lnTo>
                      <a:pt x="48" y="804"/>
                    </a:lnTo>
                    <a:lnTo>
                      <a:pt x="42" y="804"/>
                    </a:lnTo>
                    <a:lnTo>
                      <a:pt x="34" y="804"/>
                    </a:lnTo>
                    <a:lnTo>
                      <a:pt x="28" y="812"/>
                    </a:lnTo>
                    <a:lnTo>
                      <a:pt x="20" y="804"/>
                    </a:lnTo>
                    <a:lnTo>
                      <a:pt x="14" y="804"/>
                    </a:lnTo>
                    <a:lnTo>
                      <a:pt x="6" y="818"/>
                    </a:lnTo>
                    <a:lnTo>
                      <a:pt x="6" y="826"/>
                    </a:lnTo>
                    <a:lnTo>
                      <a:pt x="0" y="838"/>
                    </a:lnTo>
                    <a:lnTo>
                      <a:pt x="6" y="846"/>
                    </a:lnTo>
                    <a:lnTo>
                      <a:pt x="20" y="826"/>
                    </a:lnTo>
                    <a:lnTo>
                      <a:pt x="34" y="826"/>
                    </a:lnTo>
                    <a:lnTo>
                      <a:pt x="34" y="832"/>
                    </a:lnTo>
                    <a:lnTo>
                      <a:pt x="34" y="846"/>
                    </a:lnTo>
                    <a:lnTo>
                      <a:pt x="28" y="846"/>
                    </a:lnTo>
                    <a:lnTo>
                      <a:pt x="28" y="860"/>
                    </a:lnTo>
                    <a:lnTo>
                      <a:pt x="20" y="866"/>
                    </a:lnTo>
                    <a:lnTo>
                      <a:pt x="20" y="860"/>
                    </a:lnTo>
                    <a:lnTo>
                      <a:pt x="14" y="866"/>
                    </a:lnTo>
                    <a:lnTo>
                      <a:pt x="14" y="874"/>
                    </a:lnTo>
                    <a:lnTo>
                      <a:pt x="14" y="886"/>
                    </a:lnTo>
                    <a:lnTo>
                      <a:pt x="14" y="894"/>
                    </a:lnTo>
                    <a:lnTo>
                      <a:pt x="28" y="908"/>
                    </a:lnTo>
                    <a:lnTo>
                      <a:pt x="48" y="914"/>
                    </a:lnTo>
                    <a:lnTo>
                      <a:pt x="34" y="928"/>
                    </a:lnTo>
                    <a:lnTo>
                      <a:pt x="48" y="936"/>
                    </a:lnTo>
                    <a:lnTo>
                      <a:pt x="56" y="928"/>
                    </a:lnTo>
                    <a:lnTo>
                      <a:pt x="56" y="942"/>
                    </a:lnTo>
                    <a:lnTo>
                      <a:pt x="76" y="942"/>
                    </a:lnTo>
                    <a:lnTo>
                      <a:pt x="90" y="942"/>
                    </a:lnTo>
                    <a:lnTo>
                      <a:pt x="104" y="936"/>
                    </a:lnTo>
                    <a:lnTo>
                      <a:pt x="104" y="942"/>
                    </a:lnTo>
                    <a:lnTo>
                      <a:pt x="118" y="936"/>
                    </a:lnTo>
                    <a:lnTo>
                      <a:pt x="124" y="928"/>
                    </a:lnTo>
                    <a:lnTo>
                      <a:pt x="130" y="914"/>
                    </a:lnTo>
                    <a:lnTo>
                      <a:pt x="138" y="908"/>
                    </a:lnTo>
                    <a:lnTo>
                      <a:pt x="160" y="900"/>
                    </a:lnTo>
                    <a:lnTo>
                      <a:pt x="160" y="894"/>
                    </a:lnTo>
                    <a:lnTo>
                      <a:pt x="166" y="886"/>
                    </a:lnTo>
                    <a:lnTo>
                      <a:pt x="180" y="886"/>
                    </a:lnTo>
                    <a:lnTo>
                      <a:pt x="180" y="894"/>
                    </a:lnTo>
                    <a:lnTo>
                      <a:pt x="188" y="900"/>
                    </a:lnTo>
                    <a:lnTo>
                      <a:pt x="202" y="894"/>
                    </a:lnTo>
                    <a:lnTo>
                      <a:pt x="202" y="880"/>
                    </a:lnTo>
                    <a:lnTo>
                      <a:pt x="214" y="866"/>
                    </a:lnTo>
                    <a:lnTo>
                      <a:pt x="214" y="852"/>
                    </a:lnTo>
                    <a:lnTo>
                      <a:pt x="208" y="846"/>
                    </a:lnTo>
                    <a:lnTo>
                      <a:pt x="222" y="832"/>
                    </a:lnTo>
                    <a:lnTo>
                      <a:pt x="228" y="826"/>
                    </a:lnTo>
                    <a:lnTo>
                      <a:pt x="236" y="818"/>
                    </a:lnTo>
                    <a:lnTo>
                      <a:pt x="242" y="818"/>
                    </a:lnTo>
                    <a:lnTo>
                      <a:pt x="242" y="832"/>
                    </a:lnTo>
                    <a:lnTo>
                      <a:pt x="236" y="838"/>
                    </a:lnTo>
                    <a:lnTo>
                      <a:pt x="228" y="838"/>
                    </a:lnTo>
                    <a:lnTo>
                      <a:pt x="228" y="852"/>
                    </a:lnTo>
                    <a:lnTo>
                      <a:pt x="236" y="852"/>
                    </a:lnTo>
                    <a:lnTo>
                      <a:pt x="256" y="866"/>
                    </a:lnTo>
                    <a:lnTo>
                      <a:pt x="242" y="880"/>
                    </a:lnTo>
                    <a:lnTo>
                      <a:pt x="242" y="880"/>
                    </a:lnTo>
                    <a:lnTo>
                      <a:pt x="242" y="88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7" name="Freeform 61"/>
              <p:cNvSpPr>
                <a:spLocks/>
              </p:cNvSpPr>
              <p:nvPr>
                <p:custDataLst>
                  <p:tags r:id="rId149"/>
                </p:custDataLst>
              </p:nvPr>
            </p:nvSpPr>
            <p:spPr bwMode="gray">
              <a:xfrm>
                <a:off x="4749300" y="1085189"/>
                <a:ext cx="757406" cy="1575150"/>
              </a:xfrm>
              <a:custGeom>
                <a:avLst/>
                <a:gdLst>
                  <a:gd name="T0" fmla="*/ 465 w 477"/>
                  <a:gd name="T1" fmla="*/ 180 h 992"/>
                  <a:gd name="T2" fmla="*/ 465 w 477"/>
                  <a:gd name="T3" fmla="*/ 130 h 992"/>
                  <a:gd name="T4" fmla="*/ 443 w 477"/>
                  <a:gd name="T5" fmla="*/ 104 h 992"/>
                  <a:gd name="T6" fmla="*/ 451 w 477"/>
                  <a:gd name="T7" fmla="*/ 68 h 992"/>
                  <a:gd name="T8" fmla="*/ 409 w 477"/>
                  <a:gd name="T9" fmla="*/ 34 h 992"/>
                  <a:gd name="T10" fmla="*/ 375 w 477"/>
                  <a:gd name="T11" fmla="*/ 8 h 992"/>
                  <a:gd name="T12" fmla="*/ 347 w 477"/>
                  <a:gd name="T13" fmla="*/ 28 h 992"/>
                  <a:gd name="T14" fmla="*/ 311 w 477"/>
                  <a:gd name="T15" fmla="*/ 42 h 992"/>
                  <a:gd name="T16" fmla="*/ 277 w 477"/>
                  <a:gd name="T17" fmla="*/ 62 h 992"/>
                  <a:gd name="T18" fmla="*/ 237 w 477"/>
                  <a:gd name="T19" fmla="*/ 104 h 992"/>
                  <a:gd name="T20" fmla="*/ 237 w 477"/>
                  <a:gd name="T21" fmla="*/ 144 h 992"/>
                  <a:gd name="T22" fmla="*/ 201 w 477"/>
                  <a:gd name="T23" fmla="*/ 192 h 992"/>
                  <a:gd name="T24" fmla="*/ 159 w 477"/>
                  <a:gd name="T25" fmla="*/ 240 h 992"/>
                  <a:gd name="T26" fmla="*/ 153 w 477"/>
                  <a:gd name="T27" fmla="*/ 296 h 992"/>
                  <a:gd name="T28" fmla="*/ 139 w 477"/>
                  <a:gd name="T29" fmla="*/ 338 h 992"/>
                  <a:gd name="T30" fmla="*/ 111 w 477"/>
                  <a:gd name="T31" fmla="*/ 366 h 992"/>
                  <a:gd name="T32" fmla="*/ 76 w 477"/>
                  <a:gd name="T33" fmla="*/ 380 h 992"/>
                  <a:gd name="T34" fmla="*/ 62 w 477"/>
                  <a:gd name="T35" fmla="*/ 442 h 992"/>
                  <a:gd name="T36" fmla="*/ 68 w 477"/>
                  <a:gd name="T37" fmla="*/ 490 h 992"/>
                  <a:gd name="T38" fmla="*/ 76 w 477"/>
                  <a:gd name="T39" fmla="*/ 530 h 992"/>
                  <a:gd name="T40" fmla="*/ 56 w 477"/>
                  <a:gd name="T41" fmla="*/ 580 h 992"/>
                  <a:gd name="T42" fmla="*/ 56 w 477"/>
                  <a:gd name="T43" fmla="*/ 648 h 992"/>
                  <a:gd name="T44" fmla="*/ 28 w 477"/>
                  <a:gd name="T45" fmla="*/ 670 h 992"/>
                  <a:gd name="T46" fmla="*/ 20 w 477"/>
                  <a:gd name="T47" fmla="*/ 710 h 992"/>
                  <a:gd name="T48" fmla="*/ 0 w 477"/>
                  <a:gd name="T49" fmla="*/ 704 h 992"/>
                  <a:gd name="T50" fmla="*/ 0 w 477"/>
                  <a:gd name="T51" fmla="*/ 752 h 992"/>
                  <a:gd name="T52" fmla="*/ 14 w 477"/>
                  <a:gd name="T53" fmla="*/ 772 h 992"/>
                  <a:gd name="T54" fmla="*/ 14 w 477"/>
                  <a:gd name="T55" fmla="*/ 814 h 992"/>
                  <a:gd name="T56" fmla="*/ 14 w 477"/>
                  <a:gd name="T57" fmla="*/ 862 h 992"/>
                  <a:gd name="T58" fmla="*/ 42 w 477"/>
                  <a:gd name="T59" fmla="*/ 902 h 992"/>
                  <a:gd name="T60" fmla="*/ 28 w 477"/>
                  <a:gd name="T61" fmla="*/ 930 h 992"/>
                  <a:gd name="T62" fmla="*/ 42 w 477"/>
                  <a:gd name="T63" fmla="*/ 964 h 992"/>
                  <a:gd name="T64" fmla="*/ 56 w 477"/>
                  <a:gd name="T65" fmla="*/ 992 h 992"/>
                  <a:gd name="T66" fmla="*/ 99 w 477"/>
                  <a:gd name="T67" fmla="*/ 986 h 992"/>
                  <a:gd name="T68" fmla="*/ 119 w 477"/>
                  <a:gd name="T69" fmla="*/ 952 h 992"/>
                  <a:gd name="T70" fmla="*/ 153 w 477"/>
                  <a:gd name="T71" fmla="*/ 938 h 992"/>
                  <a:gd name="T72" fmla="*/ 181 w 477"/>
                  <a:gd name="T73" fmla="*/ 930 h 992"/>
                  <a:gd name="T74" fmla="*/ 209 w 477"/>
                  <a:gd name="T75" fmla="*/ 876 h 992"/>
                  <a:gd name="T76" fmla="*/ 209 w 477"/>
                  <a:gd name="T77" fmla="*/ 840 h 992"/>
                  <a:gd name="T78" fmla="*/ 223 w 477"/>
                  <a:gd name="T79" fmla="*/ 800 h 992"/>
                  <a:gd name="T80" fmla="*/ 209 w 477"/>
                  <a:gd name="T81" fmla="*/ 758 h 992"/>
                  <a:gd name="T82" fmla="*/ 249 w 477"/>
                  <a:gd name="T83" fmla="*/ 738 h 992"/>
                  <a:gd name="T84" fmla="*/ 277 w 477"/>
                  <a:gd name="T85" fmla="*/ 724 h 992"/>
                  <a:gd name="T86" fmla="*/ 291 w 477"/>
                  <a:gd name="T87" fmla="*/ 690 h 992"/>
                  <a:gd name="T88" fmla="*/ 291 w 477"/>
                  <a:gd name="T89" fmla="*/ 654 h 992"/>
                  <a:gd name="T90" fmla="*/ 277 w 477"/>
                  <a:gd name="T91" fmla="*/ 620 h 992"/>
                  <a:gd name="T92" fmla="*/ 249 w 477"/>
                  <a:gd name="T93" fmla="*/ 592 h 992"/>
                  <a:gd name="T94" fmla="*/ 249 w 477"/>
                  <a:gd name="T95" fmla="*/ 566 h 992"/>
                  <a:gd name="T96" fmla="*/ 249 w 477"/>
                  <a:gd name="T97" fmla="*/ 524 h 992"/>
                  <a:gd name="T98" fmla="*/ 243 w 477"/>
                  <a:gd name="T99" fmla="*/ 482 h 992"/>
                  <a:gd name="T100" fmla="*/ 277 w 477"/>
                  <a:gd name="T101" fmla="*/ 462 h 992"/>
                  <a:gd name="T102" fmla="*/ 313 w 477"/>
                  <a:gd name="T103" fmla="*/ 428 h 992"/>
                  <a:gd name="T104" fmla="*/ 347 w 477"/>
                  <a:gd name="T105" fmla="*/ 406 h 992"/>
                  <a:gd name="T106" fmla="*/ 367 w 477"/>
                  <a:gd name="T107" fmla="*/ 372 h 992"/>
                  <a:gd name="T108" fmla="*/ 389 w 477"/>
                  <a:gd name="T109" fmla="*/ 330 h 992"/>
                  <a:gd name="T110" fmla="*/ 389 w 477"/>
                  <a:gd name="T111" fmla="*/ 282 h 992"/>
                  <a:gd name="T112" fmla="*/ 417 w 477"/>
                  <a:gd name="T113" fmla="*/ 254 h 992"/>
                  <a:gd name="T114" fmla="*/ 429 w 477"/>
                  <a:gd name="T115" fmla="*/ 228 h 992"/>
                  <a:gd name="T116" fmla="*/ 471 w 477"/>
                  <a:gd name="T117" fmla="*/ 228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7" h="992">
                    <a:moveTo>
                      <a:pt x="477" y="220"/>
                    </a:moveTo>
                    <a:lnTo>
                      <a:pt x="477" y="206"/>
                    </a:lnTo>
                    <a:lnTo>
                      <a:pt x="471" y="200"/>
                    </a:lnTo>
                    <a:lnTo>
                      <a:pt x="465" y="186"/>
                    </a:lnTo>
                    <a:lnTo>
                      <a:pt x="465" y="180"/>
                    </a:lnTo>
                    <a:lnTo>
                      <a:pt x="465" y="166"/>
                    </a:lnTo>
                    <a:lnTo>
                      <a:pt x="465" y="152"/>
                    </a:lnTo>
                    <a:lnTo>
                      <a:pt x="471" y="144"/>
                    </a:lnTo>
                    <a:lnTo>
                      <a:pt x="465" y="138"/>
                    </a:lnTo>
                    <a:lnTo>
                      <a:pt x="465" y="130"/>
                    </a:lnTo>
                    <a:lnTo>
                      <a:pt x="457" y="124"/>
                    </a:lnTo>
                    <a:lnTo>
                      <a:pt x="457" y="116"/>
                    </a:lnTo>
                    <a:lnTo>
                      <a:pt x="457" y="110"/>
                    </a:lnTo>
                    <a:lnTo>
                      <a:pt x="457" y="104"/>
                    </a:lnTo>
                    <a:lnTo>
                      <a:pt x="443" y="104"/>
                    </a:lnTo>
                    <a:lnTo>
                      <a:pt x="451" y="96"/>
                    </a:lnTo>
                    <a:lnTo>
                      <a:pt x="451" y="90"/>
                    </a:lnTo>
                    <a:lnTo>
                      <a:pt x="451" y="82"/>
                    </a:lnTo>
                    <a:lnTo>
                      <a:pt x="451" y="76"/>
                    </a:lnTo>
                    <a:lnTo>
                      <a:pt x="451" y="68"/>
                    </a:lnTo>
                    <a:lnTo>
                      <a:pt x="443" y="62"/>
                    </a:lnTo>
                    <a:lnTo>
                      <a:pt x="443" y="48"/>
                    </a:lnTo>
                    <a:lnTo>
                      <a:pt x="437" y="48"/>
                    </a:lnTo>
                    <a:lnTo>
                      <a:pt x="423" y="42"/>
                    </a:lnTo>
                    <a:lnTo>
                      <a:pt x="409" y="34"/>
                    </a:lnTo>
                    <a:lnTo>
                      <a:pt x="403" y="34"/>
                    </a:lnTo>
                    <a:lnTo>
                      <a:pt x="395" y="28"/>
                    </a:lnTo>
                    <a:lnTo>
                      <a:pt x="387" y="28"/>
                    </a:lnTo>
                    <a:lnTo>
                      <a:pt x="387" y="14"/>
                    </a:lnTo>
                    <a:lnTo>
                      <a:pt x="375" y="8"/>
                    </a:lnTo>
                    <a:lnTo>
                      <a:pt x="361" y="0"/>
                    </a:lnTo>
                    <a:lnTo>
                      <a:pt x="347" y="0"/>
                    </a:lnTo>
                    <a:lnTo>
                      <a:pt x="347" y="8"/>
                    </a:lnTo>
                    <a:lnTo>
                      <a:pt x="347" y="20"/>
                    </a:lnTo>
                    <a:lnTo>
                      <a:pt x="347" y="28"/>
                    </a:lnTo>
                    <a:lnTo>
                      <a:pt x="333" y="20"/>
                    </a:lnTo>
                    <a:lnTo>
                      <a:pt x="327" y="42"/>
                    </a:lnTo>
                    <a:lnTo>
                      <a:pt x="327" y="48"/>
                    </a:lnTo>
                    <a:lnTo>
                      <a:pt x="319" y="48"/>
                    </a:lnTo>
                    <a:lnTo>
                      <a:pt x="311" y="42"/>
                    </a:lnTo>
                    <a:lnTo>
                      <a:pt x="297" y="48"/>
                    </a:lnTo>
                    <a:lnTo>
                      <a:pt x="297" y="62"/>
                    </a:lnTo>
                    <a:lnTo>
                      <a:pt x="297" y="68"/>
                    </a:lnTo>
                    <a:lnTo>
                      <a:pt x="291" y="68"/>
                    </a:lnTo>
                    <a:lnTo>
                      <a:pt x="277" y="62"/>
                    </a:lnTo>
                    <a:lnTo>
                      <a:pt x="271" y="62"/>
                    </a:lnTo>
                    <a:lnTo>
                      <a:pt x="263" y="76"/>
                    </a:lnTo>
                    <a:lnTo>
                      <a:pt x="263" y="82"/>
                    </a:lnTo>
                    <a:lnTo>
                      <a:pt x="243" y="96"/>
                    </a:lnTo>
                    <a:lnTo>
                      <a:pt x="237" y="104"/>
                    </a:lnTo>
                    <a:lnTo>
                      <a:pt x="229" y="110"/>
                    </a:lnTo>
                    <a:lnTo>
                      <a:pt x="237" y="116"/>
                    </a:lnTo>
                    <a:lnTo>
                      <a:pt x="243" y="130"/>
                    </a:lnTo>
                    <a:lnTo>
                      <a:pt x="237" y="138"/>
                    </a:lnTo>
                    <a:lnTo>
                      <a:pt x="237" y="144"/>
                    </a:lnTo>
                    <a:lnTo>
                      <a:pt x="223" y="158"/>
                    </a:lnTo>
                    <a:lnTo>
                      <a:pt x="207" y="166"/>
                    </a:lnTo>
                    <a:lnTo>
                      <a:pt x="207" y="180"/>
                    </a:lnTo>
                    <a:lnTo>
                      <a:pt x="207" y="186"/>
                    </a:lnTo>
                    <a:lnTo>
                      <a:pt x="201" y="192"/>
                    </a:lnTo>
                    <a:lnTo>
                      <a:pt x="187" y="200"/>
                    </a:lnTo>
                    <a:lnTo>
                      <a:pt x="173" y="206"/>
                    </a:lnTo>
                    <a:lnTo>
                      <a:pt x="173" y="220"/>
                    </a:lnTo>
                    <a:lnTo>
                      <a:pt x="167" y="234"/>
                    </a:lnTo>
                    <a:lnTo>
                      <a:pt x="159" y="240"/>
                    </a:lnTo>
                    <a:lnTo>
                      <a:pt x="159" y="254"/>
                    </a:lnTo>
                    <a:lnTo>
                      <a:pt x="159" y="262"/>
                    </a:lnTo>
                    <a:lnTo>
                      <a:pt x="159" y="268"/>
                    </a:lnTo>
                    <a:lnTo>
                      <a:pt x="153" y="290"/>
                    </a:lnTo>
                    <a:lnTo>
                      <a:pt x="153" y="296"/>
                    </a:lnTo>
                    <a:lnTo>
                      <a:pt x="139" y="302"/>
                    </a:lnTo>
                    <a:lnTo>
                      <a:pt x="133" y="310"/>
                    </a:lnTo>
                    <a:lnTo>
                      <a:pt x="139" y="324"/>
                    </a:lnTo>
                    <a:lnTo>
                      <a:pt x="139" y="330"/>
                    </a:lnTo>
                    <a:lnTo>
                      <a:pt x="139" y="338"/>
                    </a:lnTo>
                    <a:lnTo>
                      <a:pt x="147" y="352"/>
                    </a:lnTo>
                    <a:lnTo>
                      <a:pt x="139" y="358"/>
                    </a:lnTo>
                    <a:lnTo>
                      <a:pt x="125" y="358"/>
                    </a:lnTo>
                    <a:lnTo>
                      <a:pt x="119" y="358"/>
                    </a:lnTo>
                    <a:lnTo>
                      <a:pt x="111" y="366"/>
                    </a:lnTo>
                    <a:lnTo>
                      <a:pt x="105" y="372"/>
                    </a:lnTo>
                    <a:lnTo>
                      <a:pt x="97" y="372"/>
                    </a:lnTo>
                    <a:lnTo>
                      <a:pt x="97" y="366"/>
                    </a:lnTo>
                    <a:lnTo>
                      <a:pt x="82" y="372"/>
                    </a:lnTo>
                    <a:lnTo>
                      <a:pt x="76" y="380"/>
                    </a:lnTo>
                    <a:lnTo>
                      <a:pt x="68" y="392"/>
                    </a:lnTo>
                    <a:lnTo>
                      <a:pt x="68" y="406"/>
                    </a:lnTo>
                    <a:lnTo>
                      <a:pt x="68" y="420"/>
                    </a:lnTo>
                    <a:lnTo>
                      <a:pt x="68" y="434"/>
                    </a:lnTo>
                    <a:lnTo>
                      <a:pt x="62" y="442"/>
                    </a:lnTo>
                    <a:lnTo>
                      <a:pt x="62" y="456"/>
                    </a:lnTo>
                    <a:lnTo>
                      <a:pt x="62" y="462"/>
                    </a:lnTo>
                    <a:lnTo>
                      <a:pt x="68" y="468"/>
                    </a:lnTo>
                    <a:lnTo>
                      <a:pt x="68" y="482"/>
                    </a:lnTo>
                    <a:lnTo>
                      <a:pt x="68" y="490"/>
                    </a:lnTo>
                    <a:lnTo>
                      <a:pt x="62" y="504"/>
                    </a:lnTo>
                    <a:lnTo>
                      <a:pt x="62" y="510"/>
                    </a:lnTo>
                    <a:lnTo>
                      <a:pt x="62" y="516"/>
                    </a:lnTo>
                    <a:lnTo>
                      <a:pt x="68" y="524"/>
                    </a:lnTo>
                    <a:lnTo>
                      <a:pt x="76" y="530"/>
                    </a:lnTo>
                    <a:lnTo>
                      <a:pt x="76" y="538"/>
                    </a:lnTo>
                    <a:lnTo>
                      <a:pt x="76" y="552"/>
                    </a:lnTo>
                    <a:lnTo>
                      <a:pt x="76" y="558"/>
                    </a:lnTo>
                    <a:lnTo>
                      <a:pt x="56" y="572"/>
                    </a:lnTo>
                    <a:lnTo>
                      <a:pt x="56" y="580"/>
                    </a:lnTo>
                    <a:lnTo>
                      <a:pt x="62" y="592"/>
                    </a:lnTo>
                    <a:lnTo>
                      <a:pt x="62" y="600"/>
                    </a:lnTo>
                    <a:lnTo>
                      <a:pt x="62" y="606"/>
                    </a:lnTo>
                    <a:lnTo>
                      <a:pt x="62" y="628"/>
                    </a:lnTo>
                    <a:lnTo>
                      <a:pt x="56" y="648"/>
                    </a:lnTo>
                    <a:lnTo>
                      <a:pt x="48" y="648"/>
                    </a:lnTo>
                    <a:lnTo>
                      <a:pt x="42" y="648"/>
                    </a:lnTo>
                    <a:lnTo>
                      <a:pt x="34" y="654"/>
                    </a:lnTo>
                    <a:lnTo>
                      <a:pt x="34" y="662"/>
                    </a:lnTo>
                    <a:lnTo>
                      <a:pt x="28" y="670"/>
                    </a:lnTo>
                    <a:lnTo>
                      <a:pt x="28" y="676"/>
                    </a:lnTo>
                    <a:lnTo>
                      <a:pt x="14" y="690"/>
                    </a:lnTo>
                    <a:lnTo>
                      <a:pt x="20" y="696"/>
                    </a:lnTo>
                    <a:lnTo>
                      <a:pt x="20" y="704"/>
                    </a:lnTo>
                    <a:lnTo>
                      <a:pt x="20" y="710"/>
                    </a:lnTo>
                    <a:lnTo>
                      <a:pt x="14" y="718"/>
                    </a:lnTo>
                    <a:lnTo>
                      <a:pt x="6" y="710"/>
                    </a:lnTo>
                    <a:lnTo>
                      <a:pt x="6" y="704"/>
                    </a:lnTo>
                    <a:lnTo>
                      <a:pt x="0" y="704"/>
                    </a:lnTo>
                    <a:lnTo>
                      <a:pt x="0" y="704"/>
                    </a:lnTo>
                    <a:lnTo>
                      <a:pt x="0" y="718"/>
                    </a:lnTo>
                    <a:lnTo>
                      <a:pt x="0" y="724"/>
                    </a:lnTo>
                    <a:lnTo>
                      <a:pt x="0" y="738"/>
                    </a:lnTo>
                    <a:lnTo>
                      <a:pt x="0" y="744"/>
                    </a:lnTo>
                    <a:lnTo>
                      <a:pt x="0" y="752"/>
                    </a:lnTo>
                    <a:lnTo>
                      <a:pt x="0" y="758"/>
                    </a:lnTo>
                    <a:lnTo>
                      <a:pt x="0" y="766"/>
                    </a:lnTo>
                    <a:lnTo>
                      <a:pt x="8" y="766"/>
                    </a:lnTo>
                    <a:lnTo>
                      <a:pt x="8" y="780"/>
                    </a:lnTo>
                    <a:lnTo>
                      <a:pt x="14" y="772"/>
                    </a:lnTo>
                    <a:lnTo>
                      <a:pt x="20" y="780"/>
                    </a:lnTo>
                    <a:lnTo>
                      <a:pt x="14" y="794"/>
                    </a:lnTo>
                    <a:lnTo>
                      <a:pt x="14" y="800"/>
                    </a:lnTo>
                    <a:lnTo>
                      <a:pt x="14" y="806"/>
                    </a:lnTo>
                    <a:lnTo>
                      <a:pt x="14" y="814"/>
                    </a:lnTo>
                    <a:lnTo>
                      <a:pt x="14" y="828"/>
                    </a:lnTo>
                    <a:lnTo>
                      <a:pt x="14" y="834"/>
                    </a:lnTo>
                    <a:lnTo>
                      <a:pt x="20" y="840"/>
                    </a:lnTo>
                    <a:lnTo>
                      <a:pt x="14" y="848"/>
                    </a:lnTo>
                    <a:lnTo>
                      <a:pt x="14" y="862"/>
                    </a:lnTo>
                    <a:lnTo>
                      <a:pt x="20" y="868"/>
                    </a:lnTo>
                    <a:lnTo>
                      <a:pt x="28" y="868"/>
                    </a:lnTo>
                    <a:lnTo>
                      <a:pt x="28" y="890"/>
                    </a:lnTo>
                    <a:lnTo>
                      <a:pt x="42" y="896"/>
                    </a:lnTo>
                    <a:lnTo>
                      <a:pt x="42" y="902"/>
                    </a:lnTo>
                    <a:lnTo>
                      <a:pt x="42" y="910"/>
                    </a:lnTo>
                    <a:lnTo>
                      <a:pt x="34" y="910"/>
                    </a:lnTo>
                    <a:lnTo>
                      <a:pt x="34" y="918"/>
                    </a:lnTo>
                    <a:lnTo>
                      <a:pt x="28" y="924"/>
                    </a:lnTo>
                    <a:lnTo>
                      <a:pt x="28" y="930"/>
                    </a:lnTo>
                    <a:lnTo>
                      <a:pt x="28" y="938"/>
                    </a:lnTo>
                    <a:lnTo>
                      <a:pt x="34" y="944"/>
                    </a:lnTo>
                    <a:lnTo>
                      <a:pt x="34" y="952"/>
                    </a:lnTo>
                    <a:lnTo>
                      <a:pt x="42" y="958"/>
                    </a:lnTo>
                    <a:lnTo>
                      <a:pt x="42" y="964"/>
                    </a:lnTo>
                    <a:lnTo>
                      <a:pt x="42" y="980"/>
                    </a:lnTo>
                    <a:lnTo>
                      <a:pt x="34" y="986"/>
                    </a:lnTo>
                    <a:lnTo>
                      <a:pt x="42" y="992"/>
                    </a:lnTo>
                    <a:lnTo>
                      <a:pt x="48" y="986"/>
                    </a:lnTo>
                    <a:lnTo>
                      <a:pt x="56" y="992"/>
                    </a:lnTo>
                    <a:lnTo>
                      <a:pt x="76" y="986"/>
                    </a:lnTo>
                    <a:lnTo>
                      <a:pt x="84" y="992"/>
                    </a:lnTo>
                    <a:lnTo>
                      <a:pt x="90" y="992"/>
                    </a:lnTo>
                    <a:lnTo>
                      <a:pt x="99" y="992"/>
                    </a:lnTo>
                    <a:lnTo>
                      <a:pt x="99" y="986"/>
                    </a:lnTo>
                    <a:lnTo>
                      <a:pt x="99" y="972"/>
                    </a:lnTo>
                    <a:lnTo>
                      <a:pt x="99" y="958"/>
                    </a:lnTo>
                    <a:lnTo>
                      <a:pt x="105" y="952"/>
                    </a:lnTo>
                    <a:lnTo>
                      <a:pt x="111" y="952"/>
                    </a:lnTo>
                    <a:lnTo>
                      <a:pt x="119" y="952"/>
                    </a:lnTo>
                    <a:lnTo>
                      <a:pt x="125" y="944"/>
                    </a:lnTo>
                    <a:lnTo>
                      <a:pt x="119" y="944"/>
                    </a:lnTo>
                    <a:lnTo>
                      <a:pt x="125" y="938"/>
                    </a:lnTo>
                    <a:lnTo>
                      <a:pt x="139" y="930"/>
                    </a:lnTo>
                    <a:lnTo>
                      <a:pt x="153" y="938"/>
                    </a:lnTo>
                    <a:lnTo>
                      <a:pt x="153" y="944"/>
                    </a:lnTo>
                    <a:lnTo>
                      <a:pt x="161" y="944"/>
                    </a:lnTo>
                    <a:lnTo>
                      <a:pt x="175" y="944"/>
                    </a:lnTo>
                    <a:lnTo>
                      <a:pt x="181" y="944"/>
                    </a:lnTo>
                    <a:lnTo>
                      <a:pt x="181" y="930"/>
                    </a:lnTo>
                    <a:lnTo>
                      <a:pt x="181" y="924"/>
                    </a:lnTo>
                    <a:lnTo>
                      <a:pt x="195" y="902"/>
                    </a:lnTo>
                    <a:lnTo>
                      <a:pt x="195" y="890"/>
                    </a:lnTo>
                    <a:lnTo>
                      <a:pt x="201" y="882"/>
                    </a:lnTo>
                    <a:lnTo>
                      <a:pt x="209" y="876"/>
                    </a:lnTo>
                    <a:lnTo>
                      <a:pt x="209" y="868"/>
                    </a:lnTo>
                    <a:lnTo>
                      <a:pt x="201" y="868"/>
                    </a:lnTo>
                    <a:lnTo>
                      <a:pt x="209" y="854"/>
                    </a:lnTo>
                    <a:lnTo>
                      <a:pt x="215" y="848"/>
                    </a:lnTo>
                    <a:lnTo>
                      <a:pt x="209" y="840"/>
                    </a:lnTo>
                    <a:lnTo>
                      <a:pt x="209" y="834"/>
                    </a:lnTo>
                    <a:lnTo>
                      <a:pt x="209" y="828"/>
                    </a:lnTo>
                    <a:lnTo>
                      <a:pt x="215" y="820"/>
                    </a:lnTo>
                    <a:lnTo>
                      <a:pt x="215" y="814"/>
                    </a:lnTo>
                    <a:lnTo>
                      <a:pt x="223" y="800"/>
                    </a:lnTo>
                    <a:lnTo>
                      <a:pt x="223" y="794"/>
                    </a:lnTo>
                    <a:lnTo>
                      <a:pt x="223" y="786"/>
                    </a:lnTo>
                    <a:lnTo>
                      <a:pt x="215" y="772"/>
                    </a:lnTo>
                    <a:lnTo>
                      <a:pt x="229" y="766"/>
                    </a:lnTo>
                    <a:lnTo>
                      <a:pt x="209" y="758"/>
                    </a:lnTo>
                    <a:lnTo>
                      <a:pt x="215" y="752"/>
                    </a:lnTo>
                    <a:lnTo>
                      <a:pt x="229" y="758"/>
                    </a:lnTo>
                    <a:lnTo>
                      <a:pt x="237" y="758"/>
                    </a:lnTo>
                    <a:lnTo>
                      <a:pt x="249" y="744"/>
                    </a:lnTo>
                    <a:lnTo>
                      <a:pt x="249" y="738"/>
                    </a:lnTo>
                    <a:lnTo>
                      <a:pt x="249" y="730"/>
                    </a:lnTo>
                    <a:lnTo>
                      <a:pt x="257" y="730"/>
                    </a:lnTo>
                    <a:lnTo>
                      <a:pt x="263" y="730"/>
                    </a:lnTo>
                    <a:lnTo>
                      <a:pt x="271" y="738"/>
                    </a:lnTo>
                    <a:lnTo>
                      <a:pt x="277" y="724"/>
                    </a:lnTo>
                    <a:lnTo>
                      <a:pt x="285" y="718"/>
                    </a:lnTo>
                    <a:lnTo>
                      <a:pt x="299" y="710"/>
                    </a:lnTo>
                    <a:lnTo>
                      <a:pt x="285" y="704"/>
                    </a:lnTo>
                    <a:lnTo>
                      <a:pt x="285" y="696"/>
                    </a:lnTo>
                    <a:lnTo>
                      <a:pt x="291" y="690"/>
                    </a:lnTo>
                    <a:lnTo>
                      <a:pt x="299" y="690"/>
                    </a:lnTo>
                    <a:lnTo>
                      <a:pt x="313" y="670"/>
                    </a:lnTo>
                    <a:lnTo>
                      <a:pt x="305" y="662"/>
                    </a:lnTo>
                    <a:lnTo>
                      <a:pt x="305" y="648"/>
                    </a:lnTo>
                    <a:lnTo>
                      <a:pt x="291" y="654"/>
                    </a:lnTo>
                    <a:lnTo>
                      <a:pt x="291" y="648"/>
                    </a:lnTo>
                    <a:lnTo>
                      <a:pt x="291" y="640"/>
                    </a:lnTo>
                    <a:lnTo>
                      <a:pt x="285" y="634"/>
                    </a:lnTo>
                    <a:lnTo>
                      <a:pt x="277" y="628"/>
                    </a:lnTo>
                    <a:lnTo>
                      <a:pt x="277" y="620"/>
                    </a:lnTo>
                    <a:lnTo>
                      <a:pt x="277" y="614"/>
                    </a:lnTo>
                    <a:lnTo>
                      <a:pt x="263" y="620"/>
                    </a:lnTo>
                    <a:lnTo>
                      <a:pt x="257" y="614"/>
                    </a:lnTo>
                    <a:lnTo>
                      <a:pt x="249" y="606"/>
                    </a:lnTo>
                    <a:lnTo>
                      <a:pt x="249" y="592"/>
                    </a:lnTo>
                    <a:lnTo>
                      <a:pt x="243" y="586"/>
                    </a:lnTo>
                    <a:lnTo>
                      <a:pt x="243" y="580"/>
                    </a:lnTo>
                    <a:lnTo>
                      <a:pt x="237" y="572"/>
                    </a:lnTo>
                    <a:lnTo>
                      <a:pt x="243" y="572"/>
                    </a:lnTo>
                    <a:lnTo>
                      <a:pt x="249" y="566"/>
                    </a:lnTo>
                    <a:lnTo>
                      <a:pt x="249" y="552"/>
                    </a:lnTo>
                    <a:lnTo>
                      <a:pt x="249" y="544"/>
                    </a:lnTo>
                    <a:lnTo>
                      <a:pt x="249" y="530"/>
                    </a:lnTo>
                    <a:lnTo>
                      <a:pt x="257" y="530"/>
                    </a:lnTo>
                    <a:lnTo>
                      <a:pt x="249" y="524"/>
                    </a:lnTo>
                    <a:lnTo>
                      <a:pt x="257" y="516"/>
                    </a:lnTo>
                    <a:lnTo>
                      <a:pt x="257" y="504"/>
                    </a:lnTo>
                    <a:lnTo>
                      <a:pt x="263" y="496"/>
                    </a:lnTo>
                    <a:lnTo>
                      <a:pt x="263" y="482"/>
                    </a:lnTo>
                    <a:lnTo>
                      <a:pt x="243" y="482"/>
                    </a:lnTo>
                    <a:lnTo>
                      <a:pt x="243" y="468"/>
                    </a:lnTo>
                    <a:lnTo>
                      <a:pt x="249" y="462"/>
                    </a:lnTo>
                    <a:lnTo>
                      <a:pt x="263" y="468"/>
                    </a:lnTo>
                    <a:lnTo>
                      <a:pt x="271" y="462"/>
                    </a:lnTo>
                    <a:lnTo>
                      <a:pt x="277" y="462"/>
                    </a:lnTo>
                    <a:lnTo>
                      <a:pt x="285" y="456"/>
                    </a:lnTo>
                    <a:lnTo>
                      <a:pt x="291" y="456"/>
                    </a:lnTo>
                    <a:lnTo>
                      <a:pt x="305" y="448"/>
                    </a:lnTo>
                    <a:lnTo>
                      <a:pt x="299" y="442"/>
                    </a:lnTo>
                    <a:lnTo>
                      <a:pt x="313" y="428"/>
                    </a:lnTo>
                    <a:lnTo>
                      <a:pt x="305" y="420"/>
                    </a:lnTo>
                    <a:lnTo>
                      <a:pt x="319" y="420"/>
                    </a:lnTo>
                    <a:lnTo>
                      <a:pt x="327" y="406"/>
                    </a:lnTo>
                    <a:lnTo>
                      <a:pt x="333" y="414"/>
                    </a:lnTo>
                    <a:lnTo>
                      <a:pt x="347" y="406"/>
                    </a:lnTo>
                    <a:lnTo>
                      <a:pt x="341" y="400"/>
                    </a:lnTo>
                    <a:lnTo>
                      <a:pt x="347" y="392"/>
                    </a:lnTo>
                    <a:lnTo>
                      <a:pt x="353" y="392"/>
                    </a:lnTo>
                    <a:lnTo>
                      <a:pt x="367" y="386"/>
                    </a:lnTo>
                    <a:lnTo>
                      <a:pt x="367" y="372"/>
                    </a:lnTo>
                    <a:lnTo>
                      <a:pt x="367" y="366"/>
                    </a:lnTo>
                    <a:lnTo>
                      <a:pt x="367" y="358"/>
                    </a:lnTo>
                    <a:lnTo>
                      <a:pt x="375" y="344"/>
                    </a:lnTo>
                    <a:lnTo>
                      <a:pt x="381" y="344"/>
                    </a:lnTo>
                    <a:lnTo>
                      <a:pt x="389" y="330"/>
                    </a:lnTo>
                    <a:lnTo>
                      <a:pt x="395" y="324"/>
                    </a:lnTo>
                    <a:lnTo>
                      <a:pt x="389" y="318"/>
                    </a:lnTo>
                    <a:lnTo>
                      <a:pt x="389" y="310"/>
                    </a:lnTo>
                    <a:lnTo>
                      <a:pt x="389" y="296"/>
                    </a:lnTo>
                    <a:lnTo>
                      <a:pt x="389" y="282"/>
                    </a:lnTo>
                    <a:lnTo>
                      <a:pt x="395" y="276"/>
                    </a:lnTo>
                    <a:lnTo>
                      <a:pt x="395" y="268"/>
                    </a:lnTo>
                    <a:lnTo>
                      <a:pt x="395" y="262"/>
                    </a:lnTo>
                    <a:lnTo>
                      <a:pt x="403" y="254"/>
                    </a:lnTo>
                    <a:lnTo>
                      <a:pt x="417" y="254"/>
                    </a:lnTo>
                    <a:lnTo>
                      <a:pt x="417" y="240"/>
                    </a:lnTo>
                    <a:lnTo>
                      <a:pt x="417" y="228"/>
                    </a:lnTo>
                    <a:lnTo>
                      <a:pt x="417" y="220"/>
                    </a:lnTo>
                    <a:lnTo>
                      <a:pt x="423" y="220"/>
                    </a:lnTo>
                    <a:lnTo>
                      <a:pt x="429" y="228"/>
                    </a:lnTo>
                    <a:lnTo>
                      <a:pt x="443" y="214"/>
                    </a:lnTo>
                    <a:lnTo>
                      <a:pt x="451" y="220"/>
                    </a:lnTo>
                    <a:lnTo>
                      <a:pt x="457" y="220"/>
                    </a:lnTo>
                    <a:lnTo>
                      <a:pt x="465" y="220"/>
                    </a:lnTo>
                    <a:lnTo>
                      <a:pt x="471" y="228"/>
                    </a:lnTo>
                    <a:lnTo>
                      <a:pt x="477" y="220"/>
                    </a:lnTo>
                    <a:lnTo>
                      <a:pt x="477" y="220"/>
                    </a:lnTo>
                    <a:lnTo>
                      <a:pt x="477" y="220"/>
                    </a:lnTo>
                    <a:close/>
                  </a:path>
                </a:pathLst>
              </a:custGeom>
              <a:solidFill>
                <a:srgbClr val="CBFCFF"/>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8" name="Freeform 62"/>
              <p:cNvSpPr>
                <a:spLocks/>
              </p:cNvSpPr>
              <p:nvPr>
                <p:custDataLst>
                  <p:tags r:id="rId150"/>
                </p:custDataLst>
              </p:nvPr>
            </p:nvSpPr>
            <p:spPr bwMode="gray">
              <a:xfrm>
                <a:off x="5322514" y="932755"/>
                <a:ext cx="652608" cy="1190889"/>
              </a:xfrm>
              <a:custGeom>
                <a:avLst/>
                <a:gdLst>
                  <a:gd name="T0" fmla="*/ 222 w 411"/>
                  <a:gd name="T1" fmla="*/ 68 h 750"/>
                  <a:gd name="T2" fmla="*/ 228 w 411"/>
                  <a:gd name="T3" fmla="*/ 34 h 750"/>
                  <a:gd name="T4" fmla="*/ 186 w 411"/>
                  <a:gd name="T5" fmla="*/ 14 h 750"/>
                  <a:gd name="T6" fmla="*/ 166 w 411"/>
                  <a:gd name="T7" fmla="*/ 14 h 750"/>
                  <a:gd name="T8" fmla="*/ 138 w 411"/>
                  <a:gd name="T9" fmla="*/ 62 h 750"/>
                  <a:gd name="T10" fmla="*/ 130 w 411"/>
                  <a:gd name="T11" fmla="*/ 88 h 750"/>
                  <a:gd name="T12" fmla="*/ 104 w 411"/>
                  <a:gd name="T13" fmla="*/ 116 h 750"/>
                  <a:gd name="T14" fmla="*/ 62 w 411"/>
                  <a:gd name="T15" fmla="*/ 110 h 750"/>
                  <a:gd name="T16" fmla="*/ 34 w 411"/>
                  <a:gd name="T17" fmla="*/ 88 h 750"/>
                  <a:gd name="T18" fmla="*/ 6 w 411"/>
                  <a:gd name="T19" fmla="*/ 68 h 750"/>
                  <a:gd name="T20" fmla="*/ 26 w 411"/>
                  <a:gd name="T21" fmla="*/ 110 h 750"/>
                  <a:gd name="T22" fmla="*/ 48 w 411"/>
                  <a:gd name="T23" fmla="*/ 130 h 750"/>
                  <a:gd name="T24" fmla="*/ 82 w 411"/>
                  <a:gd name="T25" fmla="*/ 158 h 750"/>
                  <a:gd name="T26" fmla="*/ 90 w 411"/>
                  <a:gd name="T27" fmla="*/ 186 h 750"/>
                  <a:gd name="T28" fmla="*/ 96 w 411"/>
                  <a:gd name="T29" fmla="*/ 206 h 750"/>
                  <a:gd name="T30" fmla="*/ 104 w 411"/>
                  <a:gd name="T31" fmla="*/ 234 h 750"/>
                  <a:gd name="T32" fmla="*/ 104 w 411"/>
                  <a:gd name="T33" fmla="*/ 276 h 750"/>
                  <a:gd name="T34" fmla="*/ 116 w 411"/>
                  <a:gd name="T35" fmla="*/ 316 h 750"/>
                  <a:gd name="T36" fmla="*/ 144 w 411"/>
                  <a:gd name="T37" fmla="*/ 330 h 750"/>
                  <a:gd name="T38" fmla="*/ 152 w 411"/>
                  <a:gd name="T39" fmla="*/ 364 h 750"/>
                  <a:gd name="T40" fmla="*/ 152 w 411"/>
                  <a:gd name="T41" fmla="*/ 384 h 750"/>
                  <a:gd name="T42" fmla="*/ 124 w 411"/>
                  <a:gd name="T43" fmla="*/ 414 h 750"/>
                  <a:gd name="T44" fmla="*/ 96 w 411"/>
                  <a:gd name="T45" fmla="*/ 454 h 750"/>
                  <a:gd name="T46" fmla="*/ 82 w 411"/>
                  <a:gd name="T47" fmla="*/ 482 h 750"/>
                  <a:gd name="T48" fmla="*/ 68 w 411"/>
                  <a:gd name="T49" fmla="*/ 496 h 750"/>
                  <a:gd name="T50" fmla="*/ 40 w 411"/>
                  <a:gd name="T51" fmla="*/ 510 h 750"/>
                  <a:gd name="T52" fmla="*/ 26 w 411"/>
                  <a:gd name="T53" fmla="*/ 558 h 750"/>
                  <a:gd name="T54" fmla="*/ 26 w 411"/>
                  <a:gd name="T55" fmla="*/ 592 h 750"/>
                  <a:gd name="T56" fmla="*/ 40 w 411"/>
                  <a:gd name="T57" fmla="*/ 640 h 750"/>
                  <a:gd name="T58" fmla="*/ 26 w 411"/>
                  <a:gd name="T59" fmla="*/ 682 h 750"/>
                  <a:gd name="T60" fmla="*/ 82 w 411"/>
                  <a:gd name="T61" fmla="*/ 710 h 750"/>
                  <a:gd name="T62" fmla="*/ 104 w 411"/>
                  <a:gd name="T63" fmla="*/ 744 h 750"/>
                  <a:gd name="T64" fmla="*/ 144 w 411"/>
                  <a:gd name="T65" fmla="*/ 736 h 750"/>
                  <a:gd name="T66" fmla="*/ 172 w 411"/>
                  <a:gd name="T67" fmla="*/ 730 h 750"/>
                  <a:gd name="T68" fmla="*/ 222 w 411"/>
                  <a:gd name="T69" fmla="*/ 716 h 750"/>
                  <a:gd name="T70" fmla="*/ 236 w 411"/>
                  <a:gd name="T71" fmla="*/ 710 h 750"/>
                  <a:gd name="T72" fmla="*/ 270 w 411"/>
                  <a:gd name="T73" fmla="*/ 688 h 750"/>
                  <a:gd name="T74" fmla="*/ 312 w 411"/>
                  <a:gd name="T75" fmla="*/ 654 h 750"/>
                  <a:gd name="T76" fmla="*/ 338 w 411"/>
                  <a:gd name="T77" fmla="*/ 620 h 750"/>
                  <a:gd name="T78" fmla="*/ 361 w 411"/>
                  <a:gd name="T79" fmla="*/ 592 h 750"/>
                  <a:gd name="T80" fmla="*/ 367 w 411"/>
                  <a:gd name="T81" fmla="*/ 558 h 750"/>
                  <a:gd name="T82" fmla="*/ 389 w 411"/>
                  <a:gd name="T83" fmla="*/ 522 h 750"/>
                  <a:gd name="T84" fmla="*/ 395 w 411"/>
                  <a:gd name="T85" fmla="*/ 482 h 750"/>
                  <a:gd name="T86" fmla="*/ 338 w 411"/>
                  <a:gd name="T87" fmla="*/ 454 h 750"/>
                  <a:gd name="T88" fmla="*/ 338 w 411"/>
                  <a:gd name="T89" fmla="*/ 440 h 750"/>
                  <a:gd name="T90" fmla="*/ 338 w 411"/>
                  <a:gd name="T91" fmla="*/ 414 h 750"/>
                  <a:gd name="T92" fmla="*/ 326 w 411"/>
                  <a:gd name="T93" fmla="*/ 392 h 750"/>
                  <a:gd name="T94" fmla="*/ 318 w 411"/>
                  <a:gd name="T95" fmla="*/ 364 h 750"/>
                  <a:gd name="T96" fmla="*/ 304 w 411"/>
                  <a:gd name="T97" fmla="*/ 350 h 750"/>
                  <a:gd name="T98" fmla="*/ 304 w 411"/>
                  <a:gd name="T99" fmla="*/ 322 h 750"/>
                  <a:gd name="T100" fmla="*/ 304 w 411"/>
                  <a:gd name="T101" fmla="*/ 288 h 750"/>
                  <a:gd name="T102" fmla="*/ 270 w 411"/>
                  <a:gd name="T103" fmla="*/ 248 h 750"/>
                  <a:gd name="T104" fmla="*/ 256 w 411"/>
                  <a:gd name="T105" fmla="*/ 206 h 750"/>
                  <a:gd name="T106" fmla="*/ 262 w 411"/>
                  <a:gd name="T107" fmla="*/ 172 h 750"/>
                  <a:gd name="T108" fmla="*/ 236 w 411"/>
                  <a:gd name="T109" fmla="*/ 130 h 750"/>
                  <a:gd name="T110" fmla="*/ 214 w 411"/>
                  <a:gd name="T111" fmla="*/ 102 h 750"/>
                  <a:gd name="T112" fmla="*/ 228 w 411"/>
                  <a:gd name="T113" fmla="*/ 82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1" h="750">
                    <a:moveTo>
                      <a:pt x="228" y="82"/>
                    </a:moveTo>
                    <a:lnTo>
                      <a:pt x="222" y="82"/>
                    </a:lnTo>
                    <a:lnTo>
                      <a:pt x="222" y="74"/>
                    </a:lnTo>
                    <a:lnTo>
                      <a:pt x="222" y="68"/>
                    </a:lnTo>
                    <a:lnTo>
                      <a:pt x="222" y="62"/>
                    </a:lnTo>
                    <a:lnTo>
                      <a:pt x="222" y="48"/>
                    </a:lnTo>
                    <a:lnTo>
                      <a:pt x="228" y="40"/>
                    </a:lnTo>
                    <a:lnTo>
                      <a:pt x="228" y="34"/>
                    </a:lnTo>
                    <a:lnTo>
                      <a:pt x="222" y="26"/>
                    </a:lnTo>
                    <a:lnTo>
                      <a:pt x="214" y="20"/>
                    </a:lnTo>
                    <a:lnTo>
                      <a:pt x="206" y="20"/>
                    </a:lnTo>
                    <a:lnTo>
                      <a:pt x="186" y="14"/>
                    </a:lnTo>
                    <a:lnTo>
                      <a:pt x="194" y="0"/>
                    </a:lnTo>
                    <a:lnTo>
                      <a:pt x="186" y="0"/>
                    </a:lnTo>
                    <a:lnTo>
                      <a:pt x="180" y="6"/>
                    </a:lnTo>
                    <a:lnTo>
                      <a:pt x="166" y="14"/>
                    </a:lnTo>
                    <a:lnTo>
                      <a:pt x="152" y="14"/>
                    </a:lnTo>
                    <a:lnTo>
                      <a:pt x="144" y="20"/>
                    </a:lnTo>
                    <a:lnTo>
                      <a:pt x="144" y="48"/>
                    </a:lnTo>
                    <a:lnTo>
                      <a:pt x="138" y="62"/>
                    </a:lnTo>
                    <a:lnTo>
                      <a:pt x="138" y="68"/>
                    </a:lnTo>
                    <a:lnTo>
                      <a:pt x="138" y="74"/>
                    </a:lnTo>
                    <a:lnTo>
                      <a:pt x="138" y="82"/>
                    </a:lnTo>
                    <a:lnTo>
                      <a:pt x="130" y="88"/>
                    </a:lnTo>
                    <a:lnTo>
                      <a:pt x="124" y="102"/>
                    </a:lnTo>
                    <a:lnTo>
                      <a:pt x="124" y="110"/>
                    </a:lnTo>
                    <a:lnTo>
                      <a:pt x="116" y="110"/>
                    </a:lnTo>
                    <a:lnTo>
                      <a:pt x="104" y="116"/>
                    </a:lnTo>
                    <a:lnTo>
                      <a:pt x="96" y="102"/>
                    </a:lnTo>
                    <a:lnTo>
                      <a:pt x="90" y="102"/>
                    </a:lnTo>
                    <a:lnTo>
                      <a:pt x="82" y="110"/>
                    </a:lnTo>
                    <a:lnTo>
                      <a:pt x="62" y="110"/>
                    </a:lnTo>
                    <a:lnTo>
                      <a:pt x="54" y="102"/>
                    </a:lnTo>
                    <a:lnTo>
                      <a:pt x="48" y="102"/>
                    </a:lnTo>
                    <a:lnTo>
                      <a:pt x="40" y="102"/>
                    </a:lnTo>
                    <a:lnTo>
                      <a:pt x="34" y="88"/>
                    </a:lnTo>
                    <a:lnTo>
                      <a:pt x="34" y="82"/>
                    </a:lnTo>
                    <a:lnTo>
                      <a:pt x="20" y="74"/>
                    </a:lnTo>
                    <a:lnTo>
                      <a:pt x="14" y="68"/>
                    </a:lnTo>
                    <a:lnTo>
                      <a:pt x="6" y="68"/>
                    </a:lnTo>
                    <a:lnTo>
                      <a:pt x="0" y="82"/>
                    </a:lnTo>
                    <a:lnTo>
                      <a:pt x="0" y="96"/>
                    </a:lnTo>
                    <a:lnTo>
                      <a:pt x="14" y="102"/>
                    </a:lnTo>
                    <a:lnTo>
                      <a:pt x="26" y="110"/>
                    </a:lnTo>
                    <a:lnTo>
                      <a:pt x="26" y="124"/>
                    </a:lnTo>
                    <a:lnTo>
                      <a:pt x="34" y="124"/>
                    </a:lnTo>
                    <a:lnTo>
                      <a:pt x="40" y="130"/>
                    </a:lnTo>
                    <a:lnTo>
                      <a:pt x="48" y="130"/>
                    </a:lnTo>
                    <a:lnTo>
                      <a:pt x="62" y="138"/>
                    </a:lnTo>
                    <a:lnTo>
                      <a:pt x="76" y="144"/>
                    </a:lnTo>
                    <a:lnTo>
                      <a:pt x="82" y="144"/>
                    </a:lnTo>
                    <a:lnTo>
                      <a:pt x="82" y="158"/>
                    </a:lnTo>
                    <a:lnTo>
                      <a:pt x="90" y="164"/>
                    </a:lnTo>
                    <a:lnTo>
                      <a:pt x="90" y="172"/>
                    </a:lnTo>
                    <a:lnTo>
                      <a:pt x="90" y="178"/>
                    </a:lnTo>
                    <a:lnTo>
                      <a:pt x="90" y="186"/>
                    </a:lnTo>
                    <a:lnTo>
                      <a:pt x="90" y="192"/>
                    </a:lnTo>
                    <a:lnTo>
                      <a:pt x="82" y="198"/>
                    </a:lnTo>
                    <a:lnTo>
                      <a:pt x="96" y="198"/>
                    </a:lnTo>
                    <a:lnTo>
                      <a:pt x="96" y="206"/>
                    </a:lnTo>
                    <a:lnTo>
                      <a:pt x="96" y="212"/>
                    </a:lnTo>
                    <a:lnTo>
                      <a:pt x="96" y="220"/>
                    </a:lnTo>
                    <a:lnTo>
                      <a:pt x="104" y="226"/>
                    </a:lnTo>
                    <a:lnTo>
                      <a:pt x="104" y="234"/>
                    </a:lnTo>
                    <a:lnTo>
                      <a:pt x="110" y="240"/>
                    </a:lnTo>
                    <a:lnTo>
                      <a:pt x="104" y="248"/>
                    </a:lnTo>
                    <a:lnTo>
                      <a:pt x="104" y="262"/>
                    </a:lnTo>
                    <a:lnTo>
                      <a:pt x="104" y="276"/>
                    </a:lnTo>
                    <a:lnTo>
                      <a:pt x="104" y="282"/>
                    </a:lnTo>
                    <a:lnTo>
                      <a:pt x="110" y="296"/>
                    </a:lnTo>
                    <a:lnTo>
                      <a:pt x="116" y="302"/>
                    </a:lnTo>
                    <a:lnTo>
                      <a:pt x="116" y="316"/>
                    </a:lnTo>
                    <a:lnTo>
                      <a:pt x="124" y="316"/>
                    </a:lnTo>
                    <a:lnTo>
                      <a:pt x="130" y="322"/>
                    </a:lnTo>
                    <a:lnTo>
                      <a:pt x="144" y="322"/>
                    </a:lnTo>
                    <a:lnTo>
                      <a:pt x="144" y="330"/>
                    </a:lnTo>
                    <a:lnTo>
                      <a:pt x="152" y="336"/>
                    </a:lnTo>
                    <a:lnTo>
                      <a:pt x="152" y="344"/>
                    </a:lnTo>
                    <a:lnTo>
                      <a:pt x="152" y="350"/>
                    </a:lnTo>
                    <a:lnTo>
                      <a:pt x="152" y="364"/>
                    </a:lnTo>
                    <a:lnTo>
                      <a:pt x="152" y="372"/>
                    </a:lnTo>
                    <a:lnTo>
                      <a:pt x="158" y="378"/>
                    </a:lnTo>
                    <a:lnTo>
                      <a:pt x="158" y="384"/>
                    </a:lnTo>
                    <a:lnTo>
                      <a:pt x="152" y="384"/>
                    </a:lnTo>
                    <a:lnTo>
                      <a:pt x="144" y="384"/>
                    </a:lnTo>
                    <a:lnTo>
                      <a:pt x="138" y="384"/>
                    </a:lnTo>
                    <a:lnTo>
                      <a:pt x="138" y="392"/>
                    </a:lnTo>
                    <a:lnTo>
                      <a:pt x="124" y="414"/>
                    </a:lnTo>
                    <a:lnTo>
                      <a:pt x="124" y="420"/>
                    </a:lnTo>
                    <a:lnTo>
                      <a:pt x="116" y="434"/>
                    </a:lnTo>
                    <a:lnTo>
                      <a:pt x="110" y="440"/>
                    </a:lnTo>
                    <a:lnTo>
                      <a:pt x="96" y="454"/>
                    </a:lnTo>
                    <a:lnTo>
                      <a:pt x="96" y="462"/>
                    </a:lnTo>
                    <a:lnTo>
                      <a:pt x="96" y="468"/>
                    </a:lnTo>
                    <a:lnTo>
                      <a:pt x="82" y="474"/>
                    </a:lnTo>
                    <a:lnTo>
                      <a:pt x="82" y="482"/>
                    </a:lnTo>
                    <a:lnTo>
                      <a:pt x="82" y="474"/>
                    </a:lnTo>
                    <a:lnTo>
                      <a:pt x="76" y="482"/>
                    </a:lnTo>
                    <a:lnTo>
                      <a:pt x="68" y="488"/>
                    </a:lnTo>
                    <a:lnTo>
                      <a:pt x="68" y="496"/>
                    </a:lnTo>
                    <a:lnTo>
                      <a:pt x="68" y="510"/>
                    </a:lnTo>
                    <a:lnTo>
                      <a:pt x="54" y="516"/>
                    </a:lnTo>
                    <a:lnTo>
                      <a:pt x="48" y="510"/>
                    </a:lnTo>
                    <a:lnTo>
                      <a:pt x="40" y="510"/>
                    </a:lnTo>
                    <a:lnTo>
                      <a:pt x="40" y="522"/>
                    </a:lnTo>
                    <a:lnTo>
                      <a:pt x="26" y="536"/>
                    </a:lnTo>
                    <a:lnTo>
                      <a:pt x="26" y="550"/>
                    </a:lnTo>
                    <a:lnTo>
                      <a:pt x="26" y="558"/>
                    </a:lnTo>
                    <a:lnTo>
                      <a:pt x="34" y="564"/>
                    </a:lnTo>
                    <a:lnTo>
                      <a:pt x="34" y="578"/>
                    </a:lnTo>
                    <a:lnTo>
                      <a:pt x="26" y="586"/>
                    </a:lnTo>
                    <a:lnTo>
                      <a:pt x="26" y="592"/>
                    </a:lnTo>
                    <a:lnTo>
                      <a:pt x="40" y="598"/>
                    </a:lnTo>
                    <a:lnTo>
                      <a:pt x="40" y="606"/>
                    </a:lnTo>
                    <a:lnTo>
                      <a:pt x="40" y="620"/>
                    </a:lnTo>
                    <a:lnTo>
                      <a:pt x="40" y="640"/>
                    </a:lnTo>
                    <a:lnTo>
                      <a:pt x="40" y="654"/>
                    </a:lnTo>
                    <a:lnTo>
                      <a:pt x="26" y="660"/>
                    </a:lnTo>
                    <a:lnTo>
                      <a:pt x="26" y="674"/>
                    </a:lnTo>
                    <a:lnTo>
                      <a:pt x="26" y="682"/>
                    </a:lnTo>
                    <a:lnTo>
                      <a:pt x="40" y="702"/>
                    </a:lnTo>
                    <a:lnTo>
                      <a:pt x="62" y="702"/>
                    </a:lnTo>
                    <a:lnTo>
                      <a:pt x="68" y="710"/>
                    </a:lnTo>
                    <a:lnTo>
                      <a:pt x="82" y="710"/>
                    </a:lnTo>
                    <a:lnTo>
                      <a:pt x="90" y="710"/>
                    </a:lnTo>
                    <a:lnTo>
                      <a:pt x="96" y="724"/>
                    </a:lnTo>
                    <a:lnTo>
                      <a:pt x="96" y="736"/>
                    </a:lnTo>
                    <a:lnTo>
                      <a:pt x="104" y="744"/>
                    </a:lnTo>
                    <a:lnTo>
                      <a:pt x="110" y="750"/>
                    </a:lnTo>
                    <a:lnTo>
                      <a:pt x="130" y="750"/>
                    </a:lnTo>
                    <a:lnTo>
                      <a:pt x="138" y="750"/>
                    </a:lnTo>
                    <a:lnTo>
                      <a:pt x="144" y="736"/>
                    </a:lnTo>
                    <a:lnTo>
                      <a:pt x="152" y="730"/>
                    </a:lnTo>
                    <a:lnTo>
                      <a:pt x="158" y="744"/>
                    </a:lnTo>
                    <a:lnTo>
                      <a:pt x="166" y="736"/>
                    </a:lnTo>
                    <a:lnTo>
                      <a:pt x="172" y="730"/>
                    </a:lnTo>
                    <a:lnTo>
                      <a:pt x="186" y="724"/>
                    </a:lnTo>
                    <a:lnTo>
                      <a:pt x="206" y="716"/>
                    </a:lnTo>
                    <a:lnTo>
                      <a:pt x="214" y="716"/>
                    </a:lnTo>
                    <a:lnTo>
                      <a:pt x="222" y="716"/>
                    </a:lnTo>
                    <a:lnTo>
                      <a:pt x="222" y="710"/>
                    </a:lnTo>
                    <a:lnTo>
                      <a:pt x="222" y="702"/>
                    </a:lnTo>
                    <a:lnTo>
                      <a:pt x="228" y="696"/>
                    </a:lnTo>
                    <a:lnTo>
                      <a:pt x="236" y="710"/>
                    </a:lnTo>
                    <a:lnTo>
                      <a:pt x="242" y="702"/>
                    </a:lnTo>
                    <a:lnTo>
                      <a:pt x="256" y="696"/>
                    </a:lnTo>
                    <a:lnTo>
                      <a:pt x="262" y="682"/>
                    </a:lnTo>
                    <a:lnTo>
                      <a:pt x="270" y="688"/>
                    </a:lnTo>
                    <a:lnTo>
                      <a:pt x="284" y="688"/>
                    </a:lnTo>
                    <a:lnTo>
                      <a:pt x="290" y="688"/>
                    </a:lnTo>
                    <a:lnTo>
                      <a:pt x="298" y="682"/>
                    </a:lnTo>
                    <a:lnTo>
                      <a:pt x="312" y="654"/>
                    </a:lnTo>
                    <a:lnTo>
                      <a:pt x="318" y="648"/>
                    </a:lnTo>
                    <a:lnTo>
                      <a:pt x="326" y="634"/>
                    </a:lnTo>
                    <a:lnTo>
                      <a:pt x="332" y="626"/>
                    </a:lnTo>
                    <a:lnTo>
                      <a:pt x="338" y="620"/>
                    </a:lnTo>
                    <a:lnTo>
                      <a:pt x="346" y="606"/>
                    </a:lnTo>
                    <a:lnTo>
                      <a:pt x="353" y="586"/>
                    </a:lnTo>
                    <a:lnTo>
                      <a:pt x="353" y="592"/>
                    </a:lnTo>
                    <a:lnTo>
                      <a:pt x="361" y="592"/>
                    </a:lnTo>
                    <a:lnTo>
                      <a:pt x="367" y="586"/>
                    </a:lnTo>
                    <a:lnTo>
                      <a:pt x="361" y="578"/>
                    </a:lnTo>
                    <a:lnTo>
                      <a:pt x="367" y="572"/>
                    </a:lnTo>
                    <a:lnTo>
                      <a:pt x="367" y="558"/>
                    </a:lnTo>
                    <a:lnTo>
                      <a:pt x="375" y="550"/>
                    </a:lnTo>
                    <a:lnTo>
                      <a:pt x="381" y="544"/>
                    </a:lnTo>
                    <a:lnTo>
                      <a:pt x="381" y="536"/>
                    </a:lnTo>
                    <a:lnTo>
                      <a:pt x="389" y="522"/>
                    </a:lnTo>
                    <a:lnTo>
                      <a:pt x="403" y="516"/>
                    </a:lnTo>
                    <a:lnTo>
                      <a:pt x="411" y="502"/>
                    </a:lnTo>
                    <a:lnTo>
                      <a:pt x="403" y="488"/>
                    </a:lnTo>
                    <a:lnTo>
                      <a:pt x="395" y="482"/>
                    </a:lnTo>
                    <a:lnTo>
                      <a:pt x="375" y="474"/>
                    </a:lnTo>
                    <a:lnTo>
                      <a:pt x="353" y="468"/>
                    </a:lnTo>
                    <a:lnTo>
                      <a:pt x="346" y="462"/>
                    </a:lnTo>
                    <a:lnTo>
                      <a:pt x="338" y="454"/>
                    </a:lnTo>
                    <a:lnTo>
                      <a:pt x="332" y="454"/>
                    </a:lnTo>
                    <a:lnTo>
                      <a:pt x="326" y="440"/>
                    </a:lnTo>
                    <a:lnTo>
                      <a:pt x="332" y="440"/>
                    </a:lnTo>
                    <a:lnTo>
                      <a:pt x="338" y="440"/>
                    </a:lnTo>
                    <a:lnTo>
                      <a:pt x="346" y="434"/>
                    </a:lnTo>
                    <a:lnTo>
                      <a:pt x="346" y="426"/>
                    </a:lnTo>
                    <a:lnTo>
                      <a:pt x="346" y="420"/>
                    </a:lnTo>
                    <a:lnTo>
                      <a:pt x="338" y="414"/>
                    </a:lnTo>
                    <a:lnTo>
                      <a:pt x="338" y="406"/>
                    </a:lnTo>
                    <a:lnTo>
                      <a:pt x="326" y="406"/>
                    </a:lnTo>
                    <a:lnTo>
                      <a:pt x="326" y="398"/>
                    </a:lnTo>
                    <a:lnTo>
                      <a:pt x="326" y="392"/>
                    </a:lnTo>
                    <a:lnTo>
                      <a:pt x="312" y="384"/>
                    </a:lnTo>
                    <a:lnTo>
                      <a:pt x="326" y="378"/>
                    </a:lnTo>
                    <a:lnTo>
                      <a:pt x="318" y="372"/>
                    </a:lnTo>
                    <a:lnTo>
                      <a:pt x="318" y="364"/>
                    </a:lnTo>
                    <a:lnTo>
                      <a:pt x="312" y="372"/>
                    </a:lnTo>
                    <a:lnTo>
                      <a:pt x="304" y="364"/>
                    </a:lnTo>
                    <a:lnTo>
                      <a:pt x="304" y="358"/>
                    </a:lnTo>
                    <a:lnTo>
                      <a:pt x="304" y="350"/>
                    </a:lnTo>
                    <a:lnTo>
                      <a:pt x="304" y="344"/>
                    </a:lnTo>
                    <a:lnTo>
                      <a:pt x="298" y="336"/>
                    </a:lnTo>
                    <a:lnTo>
                      <a:pt x="298" y="330"/>
                    </a:lnTo>
                    <a:lnTo>
                      <a:pt x="304" y="322"/>
                    </a:lnTo>
                    <a:lnTo>
                      <a:pt x="298" y="310"/>
                    </a:lnTo>
                    <a:lnTo>
                      <a:pt x="304" y="302"/>
                    </a:lnTo>
                    <a:lnTo>
                      <a:pt x="304" y="296"/>
                    </a:lnTo>
                    <a:lnTo>
                      <a:pt x="304" y="288"/>
                    </a:lnTo>
                    <a:lnTo>
                      <a:pt x="298" y="276"/>
                    </a:lnTo>
                    <a:lnTo>
                      <a:pt x="290" y="262"/>
                    </a:lnTo>
                    <a:lnTo>
                      <a:pt x="284" y="254"/>
                    </a:lnTo>
                    <a:lnTo>
                      <a:pt x="270" y="248"/>
                    </a:lnTo>
                    <a:lnTo>
                      <a:pt x="270" y="240"/>
                    </a:lnTo>
                    <a:lnTo>
                      <a:pt x="262" y="234"/>
                    </a:lnTo>
                    <a:lnTo>
                      <a:pt x="256" y="220"/>
                    </a:lnTo>
                    <a:lnTo>
                      <a:pt x="256" y="206"/>
                    </a:lnTo>
                    <a:lnTo>
                      <a:pt x="256" y="198"/>
                    </a:lnTo>
                    <a:lnTo>
                      <a:pt x="256" y="186"/>
                    </a:lnTo>
                    <a:lnTo>
                      <a:pt x="262" y="178"/>
                    </a:lnTo>
                    <a:lnTo>
                      <a:pt x="262" y="172"/>
                    </a:lnTo>
                    <a:lnTo>
                      <a:pt x="262" y="158"/>
                    </a:lnTo>
                    <a:lnTo>
                      <a:pt x="248" y="144"/>
                    </a:lnTo>
                    <a:lnTo>
                      <a:pt x="236" y="138"/>
                    </a:lnTo>
                    <a:lnTo>
                      <a:pt x="236" y="130"/>
                    </a:lnTo>
                    <a:lnTo>
                      <a:pt x="228" y="124"/>
                    </a:lnTo>
                    <a:lnTo>
                      <a:pt x="222" y="116"/>
                    </a:lnTo>
                    <a:lnTo>
                      <a:pt x="214" y="110"/>
                    </a:lnTo>
                    <a:lnTo>
                      <a:pt x="214" y="102"/>
                    </a:lnTo>
                    <a:lnTo>
                      <a:pt x="222" y="96"/>
                    </a:lnTo>
                    <a:lnTo>
                      <a:pt x="222" y="88"/>
                    </a:lnTo>
                    <a:lnTo>
                      <a:pt x="228" y="82"/>
                    </a:lnTo>
                    <a:lnTo>
                      <a:pt x="228" y="82"/>
                    </a:lnTo>
                    <a:lnTo>
                      <a:pt x="228" y="82"/>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9" name="Freeform 63"/>
              <p:cNvSpPr>
                <a:spLocks/>
              </p:cNvSpPr>
              <p:nvPr>
                <p:custDataLst>
                  <p:tags r:id="rId151"/>
                </p:custDataLst>
              </p:nvPr>
            </p:nvSpPr>
            <p:spPr bwMode="gray">
              <a:xfrm>
                <a:off x="5494002" y="3952851"/>
                <a:ext cx="573215" cy="358855"/>
              </a:xfrm>
              <a:custGeom>
                <a:avLst/>
                <a:gdLst>
                  <a:gd name="T0" fmla="*/ 56 w 361"/>
                  <a:gd name="T1" fmla="*/ 220 h 226"/>
                  <a:gd name="T2" fmla="*/ 84 w 361"/>
                  <a:gd name="T3" fmla="*/ 220 h 226"/>
                  <a:gd name="T4" fmla="*/ 104 w 361"/>
                  <a:gd name="T5" fmla="*/ 226 h 226"/>
                  <a:gd name="T6" fmla="*/ 118 w 361"/>
                  <a:gd name="T7" fmla="*/ 212 h 226"/>
                  <a:gd name="T8" fmla="*/ 132 w 361"/>
                  <a:gd name="T9" fmla="*/ 206 h 226"/>
                  <a:gd name="T10" fmla="*/ 140 w 361"/>
                  <a:gd name="T11" fmla="*/ 206 h 226"/>
                  <a:gd name="T12" fmla="*/ 152 w 361"/>
                  <a:gd name="T13" fmla="*/ 212 h 226"/>
                  <a:gd name="T14" fmla="*/ 160 w 361"/>
                  <a:gd name="T15" fmla="*/ 220 h 226"/>
                  <a:gd name="T16" fmla="*/ 180 w 361"/>
                  <a:gd name="T17" fmla="*/ 212 h 226"/>
                  <a:gd name="T18" fmla="*/ 202 w 361"/>
                  <a:gd name="T19" fmla="*/ 212 h 226"/>
                  <a:gd name="T20" fmla="*/ 222 w 361"/>
                  <a:gd name="T21" fmla="*/ 206 h 226"/>
                  <a:gd name="T22" fmla="*/ 243 w 361"/>
                  <a:gd name="T23" fmla="*/ 200 h 226"/>
                  <a:gd name="T24" fmla="*/ 236 w 361"/>
                  <a:gd name="T25" fmla="*/ 186 h 226"/>
                  <a:gd name="T26" fmla="*/ 251 w 361"/>
                  <a:gd name="T27" fmla="*/ 186 h 226"/>
                  <a:gd name="T28" fmla="*/ 259 w 361"/>
                  <a:gd name="T29" fmla="*/ 178 h 226"/>
                  <a:gd name="T30" fmla="*/ 269 w 361"/>
                  <a:gd name="T31" fmla="*/ 166 h 226"/>
                  <a:gd name="T32" fmla="*/ 279 w 361"/>
                  <a:gd name="T33" fmla="*/ 158 h 226"/>
                  <a:gd name="T34" fmla="*/ 293 w 361"/>
                  <a:gd name="T35" fmla="*/ 158 h 226"/>
                  <a:gd name="T36" fmla="*/ 299 w 361"/>
                  <a:gd name="T37" fmla="*/ 164 h 226"/>
                  <a:gd name="T38" fmla="*/ 319 w 361"/>
                  <a:gd name="T39" fmla="*/ 164 h 226"/>
                  <a:gd name="T40" fmla="*/ 341 w 361"/>
                  <a:gd name="T41" fmla="*/ 158 h 226"/>
                  <a:gd name="T42" fmla="*/ 333 w 361"/>
                  <a:gd name="T43" fmla="*/ 144 h 226"/>
                  <a:gd name="T44" fmla="*/ 327 w 361"/>
                  <a:gd name="T45" fmla="*/ 130 h 226"/>
                  <a:gd name="T46" fmla="*/ 305 w 361"/>
                  <a:gd name="T47" fmla="*/ 138 h 226"/>
                  <a:gd name="T48" fmla="*/ 305 w 361"/>
                  <a:gd name="T49" fmla="*/ 116 h 226"/>
                  <a:gd name="T50" fmla="*/ 319 w 361"/>
                  <a:gd name="T51" fmla="*/ 110 h 226"/>
                  <a:gd name="T52" fmla="*/ 327 w 361"/>
                  <a:gd name="T53" fmla="*/ 96 h 226"/>
                  <a:gd name="T54" fmla="*/ 319 w 361"/>
                  <a:gd name="T55" fmla="*/ 76 h 226"/>
                  <a:gd name="T56" fmla="*/ 327 w 361"/>
                  <a:gd name="T57" fmla="*/ 62 h 226"/>
                  <a:gd name="T58" fmla="*/ 341 w 361"/>
                  <a:gd name="T59" fmla="*/ 48 h 226"/>
                  <a:gd name="T60" fmla="*/ 361 w 361"/>
                  <a:gd name="T61" fmla="*/ 42 h 226"/>
                  <a:gd name="T62" fmla="*/ 353 w 361"/>
                  <a:gd name="T63" fmla="*/ 20 h 226"/>
                  <a:gd name="T64" fmla="*/ 319 w 361"/>
                  <a:gd name="T65" fmla="*/ 8 h 226"/>
                  <a:gd name="T66" fmla="*/ 307 w 361"/>
                  <a:gd name="T67" fmla="*/ 8 h 226"/>
                  <a:gd name="T68" fmla="*/ 285 w 361"/>
                  <a:gd name="T69" fmla="*/ 6 h 226"/>
                  <a:gd name="T70" fmla="*/ 265 w 361"/>
                  <a:gd name="T71" fmla="*/ 6 h 226"/>
                  <a:gd name="T72" fmla="*/ 228 w 361"/>
                  <a:gd name="T73" fmla="*/ 6 h 226"/>
                  <a:gd name="T74" fmla="*/ 208 w 361"/>
                  <a:gd name="T75" fmla="*/ 28 h 226"/>
                  <a:gd name="T76" fmla="*/ 180 w 361"/>
                  <a:gd name="T77" fmla="*/ 48 h 226"/>
                  <a:gd name="T78" fmla="*/ 160 w 361"/>
                  <a:gd name="T79" fmla="*/ 54 h 226"/>
                  <a:gd name="T80" fmla="*/ 140 w 361"/>
                  <a:gd name="T81" fmla="*/ 48 h 226"/>
                  <a:gd name="T82" fmla="*/ 118 w 361"/>
                  <a:gd name="T83" fmla="*/ 48 h 226"/>
                  <a:gd name="T84" fmla="*/ 90 w 361"/>
                  <a:gd name="T85" fmla="*/ 48 h 226"/>
                  <a:gd name="T86" fmla="*/ 70 w 361"/>
                  <a:gd name="T87" fmla="*/ 42 h 226"/>
                  <a:gd name="T88" fmla="*/ 42 w 361"/>
                  <a:gd name="T89" fmla="*/ 42 h 226"/>
                  <a:gd name="T90" fmla="*/ 36 w 361"/>
                  <a:gd name="T91" fmla="*/ 28 h 226"/>
                  <a:gd name="T92" fmla="*/ 22 w 361"/>
                  <a:gd name="T93" fmla="*/ 14 h 226"/>
                  <a:gd name="T94" fmla="*/ 14 w 361"/>
                  <a:gd name="T95" fmla="*/ 28 h 226"/>
                  <a:gd name="T96" fmla="*/ 0 w 361"/>
                  <a:gd name="T97" fmla="*/ 34 h 226"/>
                  <a:gd name="T98" fmla="*/ 8 w 361"/>
                  <a:gd name="T99" fmla="*/ 62 h 226"/>
                  <a:gd name="T100" fmla="*/ 14 w 361"/>
                  <a:gd name="T101" fmla="*/ 76 h 226"/>
                  <a:gd name="T102" fmla="*/ 28 w 361"/>
                  <a:gd name="T103" fmla="*/ 76 h 226"/>
                  <a:gd name="T104" fmla="*/ 28 w 361"/>
                  <a:gd name="T105" fmla="*/ 90 h 226"/>
                  <a:gd name="T106" fmla="*/ 14 w 361"/>
                  <a:gd name="T107" fmla="*/ 102 h 226"/>
                  <a:gd name="T108" fmla="*/ 14 w 361"/>
                  <a:gd name="T109" fmla="*/ 124 h 226"/>
                  <a:gd name="T110" fmla="*/ 8 w 361"/>
                  <a:gd name="T111" fmla="*/ 138 h 226"/>
                  <a:gd name="T112" fmla="*/ 8 w 361"/>
                  <a:gd name="T113" fmla="*/ 158 h 226"/>
                  <a:gd name="T114" fmla="*/ 28 w 361"/>
                  <a:gd name="T115" fmla="*/ 172 h 226"/>
                  <a:gd name="T116" fmla="*/ 42 w 361"/>
                  <a:gd name="T117" fmla="*/ 186 h 226"/>
                  <a:gd name="T118" fmla="*/ 48 w 361"/>
                  <a:gd name="T119" fmla="*/ 200 h 226"/>
                  <a:gd name="T120" fmla="*/ 42 w 361"/>
                  <a:gd name="T121" fmla="*/ 212 h 226"/>
                  <a:gd name="T122" fmla="*/ 42 w 361"/>
                  <a:gd name="T123" fmla="*/ 22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1" h="226">
                    <a:moveTo>
                      <a:pt x="42" y="220"/>
                    </a:moveTo>
                    <a:lnTo>
                      <a:pt x="56" y="220"/>
                    </a:lnTo>
                    <a:lnTo>
                      <a:pt x="70" y="220"/>
                    </a:lnTo>
                    <a:lnTo>
                      <a:pt x="84" y="220"/>
                    </a:lnTo>
                    <a:lnTo>
                      <a:pt x="98" y="220"/>
                    </a:lnTo>
                    <a:lnTo>
                      <a:pt x="104" y="226"/>
                    </a:lnTo>
                    <a:lnTo>
                      <a:pt x="118" y="220"/>
                    </a:lnTo>
                    <a:lnTo>
                      <a:pt x="118" y="212"/>
                    </a:lnTo>
                    <a:lnTo>
                      <a:pt x="124" y="212"/>
                    </a:lnTo>
                    <a:lnTo>
                      <a:pt x="132" y="206"/>
                    </a:lnTo>
                    <a:lnTo>
                      <a:pt x="140" y="212"/>
                    </a:lnTo>
                    <a:lnTo>
                      <a:pt x="140" y="206"/>
                    </a:lnTo>
                    <a:lnTo>
                      <a:pt x="146" y="206"/>
                    </a:lnTo>
                    <a:lnTo>
                      <a:pt x="152" y="212"/>
                    </a:lnTo>
                    <a:lnTo>
                      <a:pt x="160" y="212"/>
                    </a:lnTo>
                    <a:lnTo>
                      <a:pt x="160" y="220"/>
                    </a:lnTo>
                    <a:lnTo>
                      <a:pt x="174" y="212"/>
                    </a:lnTo>
                    <a:lnTo>
                      <a:pt x="180" y="212"/>
                    </a:lnTo>
                    <a:lnTo>
                      <a:pt x="186" y="212"/>
                    </a:lnTo>
                    <a:lnTo>
                      <a:pt x="202" y="212"/>
                    </a:lnTo>
                    <a:lnTo>
                      <a:pt x="208" y="206"/>
                    </a:lnTo>
                    <a:lnTo>
                      <a:pt x="222" y="206"/>
                    </a:lnTo>
                    <a:lnTo>
                      <a:pt x="236" y="206"/>
                    </a:lnTo>
                    <a:lnTo>
                      <a:pt x="243" y="200"/>
                    </a:lnTo>
                    <a:lnTo>
                      <a:pt x="236" y="192"/>
                    </a:lnTo>
                    <a:lnTo>
                      <a:pt x="236" y="186"/>
                    </a:lnTo>
                    <a:lnTo>
                      <a:pt x="243" y="186"/>
                    </a:lnTo>
                    <a:lnTo>
                      <a:pt x="251" y="186"/>
                    </a:lnTo>
                    <a:lnTo>
                      <a:pt x="251" y="178"/>
                    </a:lnTo>
                    <a:lnTo>
                      <a:pt x="259" y="178"/>
                    </a:lnTo>
                    <a:lnTo>
                      <a:pt x="261" y="166"/>
                    </a:lnTo>
                    <a:lnTo>
                      <a:pt x="269" y="166"/>
                    </a:lnTo>
                    <a:lnTo>
                      <a:pt x="271" y="164"/>
                    </a:lnTo>
                    <a:lnTo>
                      <a:pt x="279" y="158"/>
                    </a:lnTo>
                    <a:lnTo>
                      <a:pt x="285" y="158"/>
                    </a:lnTo>
                    <a:lnTo>
                      <a:pt x="293" y="158"/>
                    </a:lnTo>
                    <a:lnTo>
                      <a:pt x="299" y="158"/>
                    </a:lnTo>
                    <a:lnTo>
                      <a:pt x="299" y="164"/>
                    </a:lnTo>
                    <a:lnTo>
                      <a:pt x="305" y="164"/>
                    </a:lnTo>
                    <a:lnTo>
                      <a:pt x="319" y="164"/>
                    </a:lnTo>
                    <a:lnTo>
                      <a:pt x="341" y="164"/>
                    </a:lnTo>
                    <a:lnTo>
                      <a:pt x="341" y="158"/>
                    </a:lnTo>
                    <a:lnTo>
                      <a:pt x="341" y="144"/>
                    </a:lnTo>
                    <a:lnTo>
                      <a:pt x="333" y="144"/>
                    </a:lnTo>
                    <a:lnTo>
                      <a:pt x="327" y="138"/>
                    </a:lnTo>
                    <a:lnTo>
                      <a:pt x="327" y="130"/>
                    </a:lnTo>
                    <a:lnTo>
                      <a:pt x="313" y="130"/>
                    </a:lnTo>
                    <a:lnTo>
                      <a:pt x="305" y="138"/>
                    </a:lnTo>
                    <a:lnTo>
                      <a:pt x="305" y="124"/>
                    </a:lnTo>
                    <a:lnTo>
                      <a:pt x="305" y="116"/>
                    </a:lnTo>
                    <a:lnTo>
                      <a:pt x="313" y="110"/>
                    </a:lnTo>
                    <a:lnTo>
                      <a:pt x="319" y="110"/>
                    </a:lnTo>
                    <a:lnTo>
                      <a:pt x="319" y="102"/>
                    </a:lnTo>
                    <a:lnTo>
                      <a:pt x="327" y="96"/>
                    </a:lnTo>
                    <a:lnTo>
                      <a:pt x="319" y="90"/>
                    </a:lnTo>
                    <a:lnTo>
                      <a:pt x="319" y="76"/>
                    </a:lnTo>
                    <a:lnTo>
                      <a:pt x="327" y="76"/>
                    </a:lnTo>
                    <a:lnTo>
                      <a:pt x="327" y="62"/>
                    </a:lnTo>
                    <a:lnTo>
                      <a:pt x="327" y="48"/>
                    </a:lnTo>
                    <a:lnTo>
                      <a:pt x="341" y="48"/>
                    </a:lnTo>
                    <a:lnTo>
                      <a:pt x="355" y="48"/>
                    </a:lnTo>
                    <a:lnTo>
                      <a:pt x="361" y="42"/>
                    </a:lnTo>
                    <a:lnTo>
                      <a:pt x="353" y="24"/>
                    </a:lnTo>
                    <a:lnTo>
                      <a:pt x="353" y="20"/>
                    </a:lnTo>
                    <a:lnTo>
                      <a:pt x="327" y="10"/>
                    </a:lnTo>
                    <a:lnTo>
                      <a:pt x="319" y="8"/>
                    </a:lnTo>
                    <a:lnTo>
                      <a:pt x="313" y="8"/>
                    </a:lnTo>
                    <a:lnTo>
                      <a:pt x="307" y="8"/>
                    </a:lnTo>
                    <a:lnTo>
                      <a:pt x="291" y="10"/>
                    </a:lnTo>
                    <a:lnTo>
                      <a:pt x="285" y="6"/>
                    </a:lnTo>
                    <a:lnTo>
                      <a:pt x="271" y="6"/>
                    </a:lnTo>
                    <a:lnTo>
                      <a:pt x="265" y="6"/>
                    </a:lnTo>
                    <a:lnTo>
                      <a:pt x="257" y="0"/>
                    </a:lnTo>
                    <a:lnTo>
                      <a:pt x="228" y="6"/>
                    </a:lnTo>
                    <a:lnTo>
                      <a:pt x="222" y="14"/>
                    </a:lnTo>
                    <a:lnTo>
                      <a:pt x="208" y="28"/>
                    </a:lnTo>
                    <a:lnTo>
                      <a:pt x="194" y="42"/>
                    </a:lnTo>
                    <a:lnTo>
                      <a:pt x="180" y="48"/>
                    </a:lnTo>
                    <a:lnTo>
                      <a:pt x="174" y="54"/>
                    </a:lnTo>
                    <a:lnTo>
                      <a:pt x="160" y="54"/>
                    </a:lnTo>
                    <a:lnTo>
                      <a:pt x="146" y="48"/>
                    </a:lnTo>
                    <a:lnTo>
                      <a:pt x="140" y="48"/>
                    </a:lnTo>
                    <a:lnTo>
                      <a:pt x="124" y="48"/>
                    </a:lnTo>
                    <a:lnTo>
                      <a:pt x="118" y="48"/>
                    </a:lnTo>
                    <a:lnTo>
                      <a:pt x="104" y="48"/>
                    </a:lnTo>
                    <a:lnTo>
                      <a:pt x="90" y="48"/>
                    </a:lnTo>
                    <a:lnTo>
                      <a:pt x="84" y="42"/>
                    </a:lnTo>
                    <a:lnTo>
                      <a:pt x="70" y="42"/>
                    </a:lnTo>
                    <a:lnTo>
                      <a:pt x="56" y="42"/>
                    </a:lnTo>
                    <a:lnTo>
                      <a:pt x="42" y="42"/>
                    </a:lnTo>
                    <a:lnTo>
                      <a:pt x="36" y="34"/>
                    </a:lnTo>
                    <a:lnTo>
                      <a:pt x="36" y="28"/>
                    </a:lnTo>
                    <a:lnTo>
                      <a:pt x="36" y="14"/>
                    </a:lnTo>
                    <a:lnTo>
                      <a:pt x="22" y="14"/>
                    </a:lnTo>
                    <a:lnTo>
                      <a:pt x="28" y="14"/>
                    </a:lnTo>
                    <a:lnTo>
                      <a:pt x="14" y="28"/>
                    </a:lnTo>
                    <a:lnTo>
                      <a:pt x="8" y="34"/>
                    </a:lnTo>
                    <a:lnTo>
                      <a:pt x="0" y="34"/>
                    </a:lnTo>
                    <a:lnTo>
                      <a:pt x="8" y="48"/>
                    </a:lnTo>
                    <a:lnTo>
                      <a:pt x="8" y="62"/>
                    </a:lnTo>
                    <a:lnTo>
                      <a:pt x="14" y="68"/>
                    </a:lnTo>
                    <a:lnTo>
                      <a:pt x="14" y="76"/>
                    </a:lnTo>
                    <a:lnTo>
                      <a:pt x="22" y="76"/>
                    </a:lnTo>
                    <a:lnTo>
                      <a:pt x="28" y="76"/>
                    </a:lnTo>
                    <a:lnTo>
                      <a:pt x="36" y="82"/>
                    </a:lnTo>
                    <a:lnTo>
                      <a:pt x="28" y="90"/>
                    </a:lnTo>
                    <a:lnTo>
                      <a:pt x="28" y="96"/>
                    </a:lnTo>
                    <a:lnTo>
                      <a:pt x="14" y="102"/>
                    </a:lnTo>
                    <a:lnTo>
                      <a:pt x="14" y="110"/>
                    </a:lnTo>
                    <a:lnTo>
                      <a:pt x="14" y="124"/>
                    </a:lnTo>
                    <a:lnTo>
                      <a:pt x="8" y="124"/>
                    </a:lnTo>
                    <a:lnTo>
                      <a:pt x="8" y="138"/>
                    </a:lnTo>
                    <a:lnTo>
                      <a:pt x="8" y="144"/>
                    </a:lnTo>
                    <a:lnTo>
                      <a:pt x="8" y="158"/>
                    </a:lnTo>
                    <a:lnTo>
                      <a:pt x="22" y="164"/>
                    </a:lnTo>
                    <a:lnTo>
                      <a:pt x="28" y="172"/>
                    </a:lnTo>
                    <a:lnTo>
                      <a:pt x="36" y="178"/>
                    </a:lnTo>
                    <a:lnTo>
                      <a:pt x="42" y="186"/>
                    </a:lnTo>
                    <a:lnTo>
                      <a:pt x="48" y="192"/>
                    </a:lnTo>
                    <a:lnTo>
                      <a:pt x="48" y="200"/>
                    </a:lnTo>
                    <a:lnTo>
                      <a:pt x="48" y="206"/>
                    </a:lnTo>
                    <a:lnTo>
                      <a:pt x="42" y="212"/>
                    </a:lnTo>
                    <a:lnTo>
                      <a:pt x="42" y="220"/>
                    </a:lnTo>
                    <a:lnTo>
                      <a:pt x="42" y="220"/>
                    </a:lnTo>
                    <a:lnTo>
                      <a:pt x="42" y="220"/>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0" name="Freeform 64"/>
              <p:cNvSpPr>
                <a:spLocks/>
              </p:cNvSpPr>
              <p:nvPr>
                <p:custDataLst>
                  <p:tags r:id="rId152"/>
                </p:custDataLst>
              </p:nvPr>
            </p:nvSpPr>
            <p:spPr bwMode="gray">
              <a:xfrm>
                <a:off x="5347919" y="3454265"/>
                <a:ext cx="792339" cy="590681"/>
              </a:xfrm>
              <a:custGeom>
                <a:avLst/>
                <a:gdLst>
                  <a:gd name="T0" fmla="*/ 110 w 499"/>
                  <a:gd name="T1" fmla="*/ 312 h 372"/>
                  <a:gd name="T2" fmla="*/ 110 w 499"/>
                  <a:gd name="T3" fmla="*/ 292 h 372"/>
                  <a:gd name="T4" fmla="*/ 76 w 499"/>
                  <a:gd name="T5" fmla="*/ 300 h 372"/>
                  <a:gd name="T6" fmla="*/ 48 w 499"/>
                  <a:gd name="T7" fmla="*/ 292 h 372"/>
                  <a:gd name="T8" fmla="*/ 40 w 499"/>
                  <a:gd name="T9" fmla="*/ 278 h 372"/>
                  <a:gd name="T10" fmla="*/ 40 w 499"/>
                  <a:gd name="T11" fmla="*/ 258 h 372"/>
                  <a:gd name="T12" fmla="*/ 20 w 499"/>
                  <a:gd name="T13" fmla="*/ 250 h 372"/>
                  <a:gd name="T14" fmla="*/ 12 w 499"/>
                  <a:gd name="T15" fmla="*/ 224 h 372"/>
                  <a:gd name="T16" fmla="*/ 6 w 499"/>
                  <a:gd name="T17" fmla="*/ 202 h 372"/>
                  <a:gd name="T18" fmla="*/ 6 w 499"/>
                  <a:gd name="T19" fmla="*/ 190 h 372"/>
                  <a:gd name="T20" fmla="*/ 28 w 499"/>
                  <a:gd name="T21" fmla="*/ 162 h 372"/>
                  <a:gd name="T22" fmla="*/ 42 w 499"/>
                  <a:gd name="T23" fmla="*/ 142 h 372"/>
                  <a:gd name="T24" fmla="*/ 62 w 499"/>
                  <a:gd name="T25" fmla="*/ 126 h 372"/>
                  <a:gd name="T26" fmla="*/ 68 w 499"/>
                  <a:gd name="T27" fmla="*/ 86 h 372"/>
                  <a:gd name="T28" fmla="*/ 90 w 499"/>
                  <a:gd name="T29" fmla="*/ 72 h 372"/>
                  <a:gd name="T30" fmla="*/ 110 w 499"/>
                  <a:gd name="T31" fmla="*/ 52 h 372"/>
                  <a:gd name="T32" fmla="*/ 112 w 499"/>
                  <a:gd name="T33" fmla="*/ 24 h 372"/>
                  <a:gd name="T34" fmla="*/ 154 w 499"/>
                  <a:gd name="T35" fmla="*/ 32 h 372"/>
                  <a:gd name="T36" fmla="*/ 180 w 499"/>
                  <a:gd name="T37" fmla="*/ 30 h 372"/>
                  <a:gd name="T38" fmla="*/ 220 w 499"/>
                  <a:gd name="T39" fmla="*/ 36 h 372"/>
                  <a:gd name="T40" fmla="*/ 248 w 499"/>
                  <a:gd name="T41" fmla="*/ 20 h 372"/>
                  <a:gd name="T42" fmla="*/ 274 w 499"/>
                  <a:gd name="T43" fmla="*/ 16 h 372"/>
                  <a:gd name="T44" fmla="*/ 310 w 499"/>
                  <a:gd name="T45" fmla="*/ 6 h 372"/>
                  <a:gd name="T46" fmla="*/ 353 w 499"/>
                  <a:gd name="T47" fmla="*/ 30 h 372"/>
                  <a:gd name="T48" fmla="*/ 381 w 499"/>
                  <a:gd name="T49" fmla="*/ 64 h 372"/>
                  <a:gd name="T50" fmla="*/ 395 w 499"/>
                  <a:gd name="T51" fmla="*/ 92 h 372"/>
                  <a:gd name="T52" fmla="*/ 415 w 499"/>
                  <a:gd name="T53" fmla="*/ 120 h 372"/>
                  <a:gd name="T54" fmla="*/ 409 w 499"/>
                  <a:gd name="T55" fmla="*/ 140 h 372"/>
                  <a:gd name="T56" fmla="*/ 415 w 499"/>
                  <a:gd name="T57" fmla="*/ 160 h 372"/>
                  <a:gd name="T58" fmla="*/ 415 w 499"/>
                  <a:gd name="T59" fmla="*/ 196 h 372"/>
                  <a:gd name="T60" fmla="*/ 445 w 499"/>
                  <a:gd name="T61" fmla="*/ 208 h 372"/>
                  <a:gd name="T62" fmla="*/ 459 w 499"/>
                  <a:gd name="T63" fmla="*/ 200 h 372"/>
                  <a:gd name="T64" fmla="*/ 485 w 499"/>
                  <a:gd name="T65" fmla="*/ 208 h 372"/>
                  <a:gd name="T66" fmla="*/ 499 w 499"/>
                  <a:gd name="T67" fmla="*/ 236 h 372"/>
                  <a:gd name="T68" fmla="*/ 485 w 499"/>
                  <a:gd name="T69" fmla="*/ 258 h 372"/>
                  <a:gd name="T70" fmla="*/ 471 w 499"/>
                  <a:gd name="T71" fmla="*/ 250 h 372"/>
                  <a:gd name="T72" fmla="*/ 457 w 499"/>
                  <a:gd name="T73" fmla="*/ 258 h 372"/>
                  <a:gd name="T74" fmla="*/ 457 w 499"/>
                  <a:gd name="T75" fmla="*/ 278 h 372"/>
                  <a:gd name="T76" fmla="*/ 451 w 499"/>
                  <a:gd name="T77" fmla="*/ 292 h 372"/>
                  <a:gd name="T78" fmla="*/ 457 w 499"/>
                  <a:gd name="T79" fmla="*/ 320 h 372"/>
                  <a:gd name="T80" fmla="*/ 449 w 499"/>
                  <a:gd name="T81" fmla="*/ 342 h 372"/>
                  <a:gd name="T82" fmla="*/ 409 w 499"/>
                  <a:gd name="T83" fmla="*/ 326 h 372"/>
                  <a:gd name="T84" fmla="*/ 381 w 499"/>
                  <a:gd name="T85" fmla="*/ 324 h 372"/>
                  <a:gd name="T86" fmla="*/ 353 w 499"/>
                  <a:gd name="T87" fmla="*/ 316 h 372"/>
                  <a:gd name="T88" fmla="*/ 306 w 499"/>
                  <a:gd name="T89" fmla="*/ 342 h 372"/>
                  <a:gd name="T90" fmla="*/ 270 w 499"/>
                  <a:gd name="T91" fmla="*/ 370 h 372"/>
                  <a:gd name="T92" fmla="*/ 236 w 499"/>
                  <a:gd name="T93" fmla="*/ 366 h 372"/>
                  <a:gd name="T94" fmla="*/ 200 w 499"/>
                  <a:gd name="T95" fmla="*/ 366 h 372"/>
                  <a:gd name="T96" fmla="*/ 166 w 499"/>
                  <a:gd name="T97" fmla="*/ 360 h 372"/>
                  <a:gd name="T98" fmla="*/ 130 w 499"/>
                  <a:gd name="T99" fmla="*/ 356 h 372"/>
                  <a:gd name="T100" fmla="*/ 124 w 499"/>
                  <a:gd name="T101" fmla="*/ 334 h 372"/>
                  <a:gd name="T102" fmla="*/ 124 w 499"/>
                  <a:gd name="T103" fmla="*/ 33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99" h="372">
                    <a:moveTo>
                      <a:pt x="124" y="330"/>
                    </a:moveTo>
                    <a:lnTo>
                      <a:pt x="116" y="316"/>
                    </a:lnTo>
                    <a:lnTo>
                      <a:pt x="110" y="312"/>
                    </a:lnTo>
                    <a:lnTo>
                      <a:pt x="110" y="306"/>
                    </a:lnTo>
                    <a:lnTo>
                      <a:pt x="116" y="300"/>
                    </a:lnTo>
                    <a:lnTo>
                      <a:pt x="110" y="292"/>
                    </a:lnTo>
                    <a:lnTo>
                      <a:pt x="96" y="300"/>
                    </a:lnTo>
                    <a:lnTo>
                      <a:pt x="90" y="306"/>
                    </a:lnTo>
                    <a:lnTo>
                      <a:pt x="76" y="300"/>
                    </a:lnTo>
                    <a:lnTo>
                      <a:pt x="68" y="292"/>
                    </a:lnTo>
                    <a:lnTo>
                      <a:pt x="62" y="292"/>
                    </a:lnTo>
                    <a:lnTo>
                      <a:pt x="48" y="292"/>
                    </a:lnTo>
                    <a:lnTo>
                      <a:pt x="40" y="292"/>
                    </a:lnTo>
                    <a:lnTo>
                      <a:pt x="40" y="286"/>
                    </a:lnTo>
                    <a:lnTo>
                      <a:pt x="40" y="278"/>
                    </a:lnTo>
                    <a:lnTo>
                      <a:pt x="48" y="272"/>
                    </a:lnTo>
                    <a:lnTo>
                      <a:pt x="48" y="264"/>
                    </a:lnTo>
                    <a:lnTo>
                      <a:pt x="40" y="258"/>
                    </a:lnTo>
                    <a:lnTo>
                      <a:pt x="34" y="250"/>
                    </a:lnTo>
                    <a:lnTo>
                      <a:pt x="26" y="250"/>
                    </a:lnTo>
                    <a:lnTo>
                      <a:pt x="20" y="250"/>
                    </a:lnTo>
                    <a:lnTo>
                      <a:pt x="20" y="236"/>
                    </a:lnTo>
                    <a:lnTo>
                      <a:pt x="12" y="230"/>
                    </a:lnTo>
                    <a:lnTo>
                      <a:pt x="12" y="224"/>
                    </a:lnTo>
                    <a:lnTo>
                      <a:pt x="12" y="210"/>
                    </a:lnTo>
                    <a:lnTo>
                      <a:pt x="12" y="202"/>
                    </a:lnTo>
                    <a:lnTo>
                      <a:pt x="6" y="202"/>
                    </a:lnTo>
                    <a:lnTo>
                      <a:pt x="0" y="202"/>
                    </a:lnTo>
                    <a:lnTo>
                      <a:pt x="6" y="188"/>
                    </a:lnTo>
                    <a:lnTo>
                      <a:pt x="6" y="190"/>
                    </a:lnTo>
                    <a:lnTo>
                      <a:pt x="14" y="176"/>
                    </a:lnTo>
                    <a:lnTo>
                      <a:pt x="20" y="168"/>
                    </a:lnTo>
                    <a:lnTo>
                      <a:pt x="28" y="162"/>
                    </a:lnTo>
                    <a:lnTo>
                      <a:pt x="34" y="154"/>
                    </a:lnTo>
                    <a:lnTo>
                      <a:pt x="42" y="148"/>
                    </a:lnTo>
                    <a:lnTo>
                      <a:pt x="42" y="142"/>
                    </a:lnTo>
                    <a:lnTo>
                      <a:pt x="48" y="142"/>
                    </a:lnTo>
                    <a:lnTo>
                      <a:pt x="56" y="134"/>
                    </a:lnTo>
                    <a:lnTo>
                      <a:pt x="62" y="126"/>
                    </a:lnTo>
                    <a:lnTo>
                      <a:pt x="62" y="106"/>
                    </a:lnTo>
                    <a:lnTo>
                      <a:pt x="68" y="100"/>
                    </a:lnTo>
                    <a:lnTo>
                      <a:pt x="68" y="86"/>
                    </a:lnTo>
                    <a:lnTo>
                      <a:pt x="76" y="78"/>
                    </a:lnTo>
                    <a:lnTo>
                      <a:pt x="82" y="72"/>
                    </a:lnTo>
                    <a:lnTo>
                      <a:pt x="90" y="72"/>
                    </a:lnTo>
                    <a:lnTo>
                      <a:pt x="96" y="64"/>
                    </a:lnTo>
                    <a:lnTo>
                      <a:pt x="104" y="58"/>
                    </a:lnTo>
                    <a:lnTo>
                      <a:pt x="110" y="52"/>
                    </a:lnTo>
                    <a:lnTo>
                      <a:pt x="110" y="44"/>
                    </a:lnTo>
                    <a:lnTo>
                      <a:pt x="98" y="28"/>
                    </a:lnTo>
                    <a:lnTo>
                      <a:pt x="112" y="24"/>
                    </a:lnTo>
                    <a:lnTo>
                      <a:pt x="130" y="24"/>
                    </a:lnTo>
                    <a:lnTo>
                      <a:pt x="144" y="28"/>
                    </a:lnTo>
                    <a:lnTo>
                      <a:pt x="154" y="32"/>
                    </a:lnTo>
                    <a:lnTo>
                      <a:pt x="162" y="36"/>
                    </a:lnTo>
                    <a:lnTo>
                      <a:pt x="174" y="40"/>
                    </a:lnTo>
                    <a:lnTo>
                      <a:pt x="180" y="30"/>
                    </a:lnTo>
                    <a:lnTo>
                      <a:pt x="192" y="28"/>
                    </a:lnTo>
                    <a:lnTo>
                      <a:pt x="200" y="28"/>
                    </a:lnTo>
                    <a:lnTo>
                      <a:pt x="220" y="36"/>
                    </a:lnTo>
                    <a:lnTo>
                      <a:pt x="228" y="32"/>
                    </a:lnTo>
                    <a:lnTo>
                      <a:pt x="242" y="20"/>
                    </a:lnTo>
                    <a:lnTo>
                      <a:pt x="248" y="20"/>
                    </a:lnTo>
                    <a:lnTo>
                      <a:pt x="260" y="20"/>
                    </a:lnTo>
                    <a:lnTo>
                      <a:pt x="272" y="20"/>
                    </a:lnTo>
                    <a:lnTo>
                      <a:pt x="274" y="16"/>
                    </a:lnTo>
                    <a:lnTo>
                      <a:pt x="278" y="8"/>
                    </a:lnTo>
                    <a:lnTo>
                      <a:pt x="298" y="0"/>
                    </a:lnTo>
                    <a:lnTo>
                      <a:pt x="310" y="6"/>
                    </a:lnTo>
                    <a:lnTo>
                      <a:pt x="324" y="10"/>
                    </a:lnTo>
                    <a:lnTo>
                      <a:pt x="333" y="16"/>
                    </a:lnTo>
                    <a:lnTo>
                      <a:pt x="353" y="30"/>
                    </a:lnTo>
                    <a:lnTo>
                      <a:pt x="351" y="54"/>
                    </a:lnTo>
                    <a:lnTo>
                      <a:pt x="367" y="58"/>
                    </a:lnTo>
                    <a:lnTo>
                      <a:pt x="381" y="64"/>
                    </a:lnTo>
                    <a:lnTo>
                      <a:pt x="381" y="78"/>
                    </a:lnTo>
                    <a:lnTo>
                      <a:pt x="387" y="86"/>
                    </a:lnTo>
                    <a:lnTo>
                      <a:pt x="395" y="92"/>
                    </a:lnTo>
                    <a:lnTo>
                      <a:pt x="409" y="100"/>
                    </a:lnTo>
                    <a:lnTo>
                      <a:pt x="409" y="106"/>
                    </a:lnTo>
                    <a:lnTo>
                      <a:pt x="415" y="120"/>
                    </a:lnTo>
                    <a:lnTo>
                      <a:pt x="415" y="126"/>
                    </a:lnTo>
                    <a:lnTo>
                      <a:pt x="415" y="140"/>
                    </a:lnTo>
                    <a:lnTo>
                      <a:pt x="409" y="140"/>
                    </a:lnTo>
                    <a:lnTo>
                      <a:pt x="409" y="146"/>
                    </a:lnTo>
                    <a:lnTo>
                      <a:pt x="409" y="154"/>
                    </a:lnTo>
                    <a:lnTo>
                      <a:pt x="415" y="160"/>
                    </a:lnTo>
                    <a:lnTo>
                      <a:pt x="415" y="168"/>
                    </a:lnTo>
                    <a:lnTo>
                      <a:pt x="415" y="182"/>
                    </a:lnTo>
                    <a:lnTo>
                      <a:pt x="415" y="196"/>
                    </a:lnTo>
                    <a:lnTo>
                      <a:pt x="423" y="206"/>
                    </a:lnTo>
                    <a:lnTo>
                      <a:pt x="437" y="202"/>
                    </a:lnTo>
                    <a:lnTo>
                      <a:pt x="445" y="208"/>
                    </a:lnTo>
                    <a:lnTo>
                      <a:pt x="449" y="210"/>
                    </a:lnTo>
                    <a:lnTo>
                      <a:pt x="453" y="208"/>
                    </a:lnTo>
                    <a:lnTo>
                      <a:pt x="459" y="200"/>
                    </a:lnTo>
                    <a:lnTo>
                      <a:pt x="475" y="202"/>
                    </a:lnTo>
                    <a:lnTo>
                      <a:pt x="479" y="206"/>
                    </a:lnTo>
                    <a:lnTo>
                      <a:pt x="485" y="208"/>
                    </a:lnTo>
                    <a:lnTo>
                      <a:pt x="493" y="220"/>
                    </a:lnTo>
                    <a:lnTo>
                      <a:pt x="499" y="210"/>
                    </a:lnTo>
                    <a:lnTo>
                      <a:pt x="499" y="236"/>
                    </a:lnTo>
                    <a:lnTo>
                      <a:pt x="491" y="250"/>
                    </a:lnTo>
                    <a:lnTo>
                      <a:pt x="485" y="250"/>
                    </a:lnTo>
                    <a:lnTo>
                      <a:pt x="485" y="258"/>
                    </a:lnTo>
                    <a:lnTo>
                      <a:pt x="477" y="264"/>
                    </a:lnTo>
                    <a:lnTo>
                      <a:pt x="471" y="264"/>
                    </a:lnTo>
                    <a:lnTo>
                      <a:pt x="471" y="250"/>
                    </a:lnTo>
                    <a:lnTo>
                      <a:pt x="463" y="244"/>
                    </a:lnTo>
                    <a:lnTo>
                      <a:pt x="457" y="250"/>
                    </a:lnTo>
                    <a:lnTo>
                      <a:pt x="457" y="258"/>
                    </a:lnTo>
                    <a:lnTo>
                      <a:pt x="451" y="272"/>
                    </a:lnTo>
                    <a:lnTo>
                      <a:pt x="451" y="278"/>
                    </a:lnTo>
                    <a:lnTo>
                      <a:pt x="457" y="278"/>
                    </a:lnTo>
                    <a:lnTo>
                      <a:pt x="463" y="278"/>
                    </a:lnTo>
                    <a:lnTo>
                      <a:pt x="457" y="286"/>
                    </a:lnTo>
                    <a:lnTo>
                      <a:pt x="451" y="292"/>
                    </a:lnTo>
                    <a:lnTo>
                      <a:pt x="451" y="300"/>
                    </a:lnTo>
                    <a:lnTo>
                      <a:pt x="451" y="312"/>
                    </a:lnTo>
                    <a:lnTo>
                      <a:pt x="457" y="320"/>
                    </a:lnTo>
                    <a:lnTo>
                      <a:pt x="451" y="334"/>
                    </a:lnTo>
                    <a:lnTo>
                      <a:pt x="451" y="340"/>
                    </a:lnTo>
                    <a:lnTo>
                      <a:pt x="449" y="342"/>
                    </a:lnTo>
                    <a:lnTo>
                      <a:pt x="423" y="328"/>
                    </a:lnTo>
                    <a:lnTo>
                      <a:pt x="415" y="328"/>
                    </a:lnTo>
                    <a:lnTo>
                      <a:pt x="409" y="326"/>
                    </a:lnTo>
                    <a:lnTo>
                      <a:pt x="403" y="326"/>
                    </a:lnTo>
                    <a:lnTo>
                      <a:pt x="387" y="328"/>
                    </a:lnTo>
                    <a:lnTo>
                      <a:pt x="381" y="324"/>
                    </a:lnTo>
                    <a:lnTo>
                      <a:pt x="367" y="324"/>
                    </a:lnTo>
                    <a:lnTo>
                      <a:pt x="361" y="324"/>
                    </a:lnTo>
                    <a:lnTo>
                      <a:pt x="353" y="316"/>
                    </a:lnTo>
                    <a:lnTo>
                      <a:pt x="324" y="324"/>
                    </a:lnTo>
                    <a:lnTo>
                      <a:pt x="318" y="326"/>
                    </a:lnTo>
                    <a:lnTo>
                      <a:pt x="306" y="342"/>
                    </a:lnTo>
                    <a:lnTo>
                      <a:pt x="290" y="358"/>
                    </a:lnTo>
                    <a:lnTo>
                      <a:pt x="274" y="362"/>
                    </a:lnTo>
                    <a:lnTo>
                      <a:pt x="270" y="370"/>
                    </a:lnTo>
                    <a:lnTo>
                      <a:pt x="254" y="372"/>
                    </a:lnTo>
                    <a:lnTo>
                      <a:pt x="242" y="366"/>
                    </a:lnTo>
                    <a:lnTo>
                      <a:pt x="236" y="366"/>
                    </a:lnTo>
                    <a:lnTo>
                      <a:pt x="220" y="366"/>
                    </a:lnTo>
                    <a:lnTo>
                      <a:pt x="212" y="366"/>
                    </a:lnTo>
                    <a:lnTo>
                      <a:pt x="200" y="366"/>
                    </a:lnTo>
                    <a:lnTo>
                      <a:pt x="186" y="366"/>
                    </a:lnTo>
                    <a:lnTo>
                      <a:pt x="176" y="360"/>
                    </a:lnTo>
                    <a:lnTo>
                      <a:pt x="166" y="360"/>
                    </a:lnTo>
                    <a:lnTo>
                      <a:pt x="150" y="360"/>
                    </a:lnTo>
                    <a:lnTo>
                      <a:pt x="138" y="360"/>
                    </a:lnTo>
                    <a:lnTo>
                      <a:pt x="130" y="356"/>
                    </a:lnTo>
                    <a:lnTo>
                      <a:pt x="128" y="346"/>
                    </a:lnTo>
                    <a:lnTo>
                      <a:pt x="126" y="336"/>
                    </a:lnTo>
                    <a:lnTo>
                      <a:pt x="124" y="334"/>
                    </a:lnTo>
                    <a:lnTo>
                      <a:pt x="124" y="330"/>
                    </a:lnTo>
                    <a:lnTo>
                      <a:pt x="124" y="330"/>
                    </a:lnTo>
                    <a:lnTo>
                      <a:pt x="124" y="33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2" name="Freeform 66"/>
              <p:cNvSpPr>
                <a:spLocks/>
              </p:cNvSpPr>
              <p:nvPr>
                <p:custDataLst>
                  <p:tags r:id="rId153"/>
                </p:custDataLst>
              </p:nvPr>
            </p:nvSpPr>
            <p:spPr bwMode="gray">
              <a:xfrm>
                <a:off x="5312987" y="4235489"/>
                <a:ext cx="604972" cy="641492"/>
              </a:xfrm>
              <a:custGeom>
                <a:avLst/>
                <a:gdLst>
                  <a:gd name="T0" fmla="*/ 214 w 381"/>
                  <a:gd name="T1" fmla="*/ 40 h 404"/>
                  <a:gd name="T2" fmla="*/ 248 w 381"/>
                  <a:gd name="T3" fmla="*/ 24 h 404"/>
                  <a:gd name="T4" fmla="*/ 278 w 381"/>
                  <a:gd name="T5" fmla="*/ 32 h 404"/>
                  <a:gd name="T6" fmla="*/ 318 w 381"/>
                  <a:gd name="T7" fmla="*/ 32 h 404"/>
                  <a:gd name="T8" fmla="*/ 348 w 381"/>
                  <a:gd name="T9" fmla="*/ 12 h 404"/>
                  <a:gd name="T10" fmla="*/ 381 w 381"/>
                  <a:gd name="T11" fmla="*/ 12 h 404"/>
                  <a:gd name="T12" fmla="*/ 369 w 381"/>
                  <a:gd name="T13" fmla="*/ 42 h 404"/>
                  <a:gd name="T14" fmla="*/ 355 w 381"/>
                  <a:gd name="T15" fmla="*/ 82 h 404"/>
                  <a:gd name="T16" fmla="*/ 292 w 381"/>
                  <a:gd name="T17" fmla="*/ 68 h 404"/>
                  <a:gd name="T18" fmla="*/ 264 w 381"/>
                  <a:gd name="T19" fmla="*/ 74 h 404"/>
                  <a:gd name="T20" fmla="*/ 242 w 381"/>
                  <a:gd name="T21" fmla="*/ 88 h 404"/>
                  <a:gd name="T22" fmla="*/ 228 w 381"/>
                  <a:gd name="T23" fmla="*/ 108 h 404"/>
                  <a:gd name="T24" fmla="*/ 242 w 381"/>
                  <a:gd name="T25" fmla="*/ 136 h 404"/>
                  <a:gd name="T26" fmla="*/ 222 w 381"/>
                  <a:gd name="T27" fmla="*/ 130 h 404"/>
                  <a:gd name="T28" fmla="*/ 208 w 381"/>
                  <a:gd name="T29" fmla="*/ 136 h 404"/>
                  <a:gd name="T30" fmla="*/ 202 w 381"/>
                  <a:gd name="T31" fmla="*/ 144 h 404"/>
                  <a:gd name="T32" fmla="*/ 180 w 381"/>
                  <a:gd name="T33" fmla="*/ 130 h 404"/>
                  <a:gd name="T34" fmla="*/ 146 w 381"/>
                  <a:gd name="T35" fmla="*/ 102 h 404"/>
                  <a:gd name="T36" fmla="*/ 146 w 381"/>
                  <a:gd name="T37" fmla="*/ 144 h 404"/>
                  <a:gd name="T38" fmla="*/ 202 w 381"/>
                  <a:gd name="T39" fmla="*/ 192 h 404"/>
                  <a:gd name="T40" fmla="*/ 180 w 381"/>
                  <a:gd name="T41" fmla="*/ 184 h 404"/>
                  <a:gd name="T42" fmla="*/ 166 w 381"/>
                  <a:gd name="T43" fmla="*/ 204 h 404"/>
                  <a:gd name="T44" fmla="*/ 174 w 381"/>
                  <a:gd name="T45" fmla="*/ 232 h 404"/>
                  <a:gd name="T46" fmla="*/ 228 w 381"/>
                  <a:gd name="T47" fmla="*/ 266 h 404"/>
                  <a:gd name="T48" fmla="*/ 236 w 381"/>
                  <a:gd name="T49" fmla="*/ 308 h 404"/>
                  <a:gd name="T50" fmla="*/ 188 w 381"/>
                  <a:gd name="T51" fmla="*/ 308 h 404"/>
                  <a:gd name="T52" fmla="*/ 214 w 381"/>
                  <a:gd name="T53" fmla="*/ 328 h 404"/>
                  <a:gd name="T54" fmla="*/ 174 w 381"/>
                  <a:gd name="T55" fmla="*/ 328 h 404"/>
                  <a:gd name="T56" fmla="*/ 174 w 381"/>
                  <a:gd name="T57" fmla="*/ 356 h 404"/>
                  <a:gd name="T58" fmla="*/ 202 w 381"/>
                  <a:gd name="T59" fmla="*/ 390 h 404"/>
                  <a:gd name="T60" fmla="*/ 158 w 381"/>
                  <a:gd name="T61" fmla="*/ 384 h 404"/>
                  <a:gd name="T62" fmla="*/ 152 w 381"/>
                  <a:gd name="T63" fmla="*/ 404 h 404"/>
                  <a:gd name="T64" fmla="*/ 124 w 381"/>
                  <a:gd name="T65" fmla="*/ 378 h 404"/>
                  <a:gd name="T66" fmla="*/ 112 w 381"/>
                  <a:gd name="T67" fmla="*/ 370 h 404"/>
                  <a:gd name="T68" fmla="*/ 90 w 381"/>
                  <a:gd name="T69" fmla="*/ 370 h 404"/>
                  <a:gd name="T70" fmla="*/ 90 w 381"/>
                  <a:gd name="T71" fmla="*/ 328 h 404"/>
                  <a:gd name="T72" fmla="*/ 62 w 381"/>
                  <a:gd name="T73" fmla="*/ 294 h 404"/>
                  <a:gd name="T74" fmla="*/ 90 w 381"/>
                  <a:gd name="T75" fmla="*/ 280 h 404"/>
                  <a:gd name="T76" fmla="*/ 124 w 381"/>
                  <a:gd name="T77" fmla="*/ 274 h 404"/>
                  <a:gd name="T78" fmla="*/ 152 w 381"/>
                  <a:gd name="T79" fmla="*/ 288 h 404"/>
                  <a:gd name="T80" fmla="*/ 166 w 381"/>
                  <a:gd name="T81" fmla="*/ 274 h 404"/>
                  <a:gd name="T82" fmla="*/ 132 w 381"/>
                  <a:gd name="T83" fmla="*/ 260 h 404"/>
                  <a:gd name="T84" fmla="*/ 82 w 381"/>
                  <a:gd name="T85" fmla="*/ 260 h 404"/>
                  <a:gd name="T86" fmla="*/ 48 w 381"/>
                  <a:gd name="T87" fmla="*/ 254 h 404"/>
                  <a:gd name="T88" fmla="*/ 42 w 381"/>
                  <a:gd name="T89" fmla="*/ 226 h 404"/>
                  <a:gd name="T90" fmla="*/ 56 w 381"/>
                  <a:gd name="T91" fmla="*/ 212 h 404"/>
                  <a:gd name="T92" fmla="*/ 28 w 381"/>
                  <a:gd name="T93" fmla="*/ 198 h 404"/>
                  <a:gd name="T94" fmla="*/ 6 w 381"/>
                  <a:gd name="T95" fmla="*/ 170 h 404"/>
                  <a:gd name="T96" fmla="*/ 34 w 381"/>
                  <a:gd name="T97" fmla="*/ 144 h 404"/>
                  <a:gd name="T98" fmla="*/ 56 w 381"/>
                  <a:gd name="T99" fmla="*/ 108 h 404"/>
                  <a:gd name="T100" fmla="*/ 48 w 381"/>
                  <a:gd name="T101" fmla="*/ 74 h 404"/>
                  <a:gd name="T102" fmla="*/ 82 w 381"/>
                  <a:gd name="T103" fmla="*/ 74 h 404"/>
                  <a:gd name="T104" fmla="*/ 132 w 381"/>
                  <a:gd name="T105" fmla="*/ 60 h 404"/>
                  <a:gd name="T106" fmla="*/ 174 w 381"/>
                  <a:gd name="T107" fmla="*/ 4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1" h="404">
                    <a:moveTo>
                      <a:pt x="158" y="40"/>
                    </a:moveTo>
                    <a:lnTo>
                      <a:pt x="174" y="40"/>
                    </a:lnTo>
                    <a:lnTo>
                      <a:pt x="188" y="40"/>
                    </a:lnTo>
                    <a:lnTo>
                      <a:pt x="202" y="40"/>
                    </a:lnTo>
                    <a:lnTo>
                      <a:pt x="214" y="40"/>
                    </a:lnTo>
                    <a:lnTo>
                      <a:pt x="222" y="46"/>
                    </a:lnTo>
                    <a:lnTo>
                      <a:pt x="232" y="40"/>
                    </a:lnTo>
                    <a:lnTo>
                      <a:pt x="228" y="32"/>
                    </a:lnTo>
                    <a:lnTo>
                      <a:pt x="234" y="30"/>
                    </a:lnTo>
                    <a:lnTo>
                      <a:pt x="248" y="24"/>
                    </a:lnTo>
                    <a:lnTo>
                      <a:pt x="256" y="30"/>
                    </a:lnTo>
                    <a:lnTo>
                      <a:pt x="262" y="24"/>
                    </a:lnTo>
                    <a:lnTo>
                      <a:pt x="264" y="24"/>
                    </a:lnTo>
                    <a:lnTo>
                      <a:pt x="270" y="32"/>
                    </a:lnTo>
                    <a:lnTo>
                      <a:pt x="278" y="32"/>
                    </a:lnTo>
                    <a:lnTo>
                      <a:pt x="278" y="40"/>
                    </a:lnTo>
                    <a:lnTo>
                      <a:pt x="292" y="32"/>
                    </a:lnTo>
                    <a:lnTo>
                      <a:pt x="298" y="32"/>
                    </a:lnTo>
                    <a:lnTo>
                      <a:pt x="304" y="32"/>
                    </a:lnTo>
                    <a:lnTo>
                      <a:pt x="318" y="32"/>
                    </a:lnTo>
                    <a:lnTo>
                      <a:pt x="326" y="26"/>
                    </a:lnTo>
                    <a:lnTo>
                      <a:pt x="340" y="26"/>
                    </a:lnTo>
                    <a:lnTo>
                      <a:pt x="355" y="26"/>
                    </a:lnTo>
                    <a:lnTo>
                      <a:pt x="352" y="20"/>
                    </a:lnTo>
                    <a:lnTo>
                      <a:pt x="348" y="12"/>
                    </a:lnTo>
                    <a:lnTo>
                      <a:pt x="348" y="6"/>
                    </a:lnTo>
                    <a:lnTo>
                      <a:pt x="361" y="0"/>
                    </a:lnTo>
                    <a:lnTo>
                      <a:pt x="371" y="6"/>
                    </a:lnTo>
                    <a:lnTo>
                      <a:pt x="375" y="12"/>
                    </a:lnTo>
                    <a:lnTo>
                      <a:pt x="381" y="12"/>
                    </a:lnTo>
                    <a:lnTo>
                      <a:pt x="381" y="20"/>
                    </a:lnTo>
                    <a:lnTo>
                      <a:pt x="381" y="26"/>
                    </a:lnTo>
                    <a:lnTo>
                      <a:pt x="375" y="32"/>
                    </a:lnTo>
                    <a:lnTo>
                      <a:pt x="379" y="40"/>
                    </a:lnTo>
                    <a:lnTo>
                      <a:pt x="369" y="42"/>
                    </a:lnTo>
                    <a:lnTo>
                      <a:pt x="371" y="46"/>
                    </a:lnTo>
                    <a:lnTo>
                      <a:pt x="367" y="60"/>
                    </a:lnTo>
                    <a:lnTo>
                      <a:pt x="361" y="68"/>
                    </a:lnTo>
                    <a:lnTo>
                      <a:pt x="361" y="74"/>
                    </a:lnTo>
                    <a:lnTo>
                      <a:pt x="355" y="82"/>
                    </a:lnTo>
                    <a:lnTo>
                      <a:pt x="346" y="82"/>
                    </a:lnTo>
                    <a:lnTo>
                      <a:pt x="340" y="74"/>
                    </a:lnTo>
                    <a:lnTo>
                      <a:pt x="318" y="74"/>
                    </a:lnTo>
                    <a:lnTo>
                      <a:pt x="304" y="68"/>
                    </a:lnTo>
                    <a:lnTo>
                      <a:pt x="292" y="68"/>
                    </a:lnTo>
                    <a:lnTo>
                      <a:pt x="284" y="68"/>
                    </a:lnTo>
                    <a:lnTo>
                      <a:pt x="292" y="74"/>
                    </a:lnTo>
                    <a:lnTo>
                      <a:pt x="284" y="82"/>
                    </a:lnTo>
                    <a:lnTo>
                      <a:pt x="270" y="82"/>
                    </a:lnTo>
                    <a:lnTo>
                      <a:pt x="264" y="74"/>
                    </a:lnTo>
                    <a:lnTo>
                      <a:pt x="256" y="68"/>
                    </a:lnTo>
                    <a:lnTo>
                      <a:pt x="250" y="74"/>
                    </a:lnTo>
                    <a:lnTo>
                      <a:pt x="250" y="82"/>
                    </a:lnTo>
                    <a:lnTo>
                      <a:pt x="250" y="88"/>
                    </a:lnTo>
                    <a:lnTo>
                      <a:pt x="242" y="88"/>
                    </a:lnTo>
                    <a:lnTo>
                      <a:pt x="222" y="88"/>
                    </a:lnTo>
                    <a:lnTo>
                      <a:pt x="214" y="88"/>
                    </a:lnTo>
                    <a:lnTo>
                      <a:pt x="214" y="94"/>
                    </a:lnTo>
                    <a:lnTo>
                      <a:pt x="222" y="102"/>
                    </a:lnTo>
                    <a:lnTo>
                      <a:pt x="228" y="108"/>
                    </a:lnTo>
                    <a:lnTo>
                      <a:pt x="242" y="116"/>
                    </a:lnTo>
                    <a:lnTo>
                      <a:pt x="256" y="122"/>
                    </a:lnTo>
                    <a:lnTo>
                      <a:pt x="264" y="122"/>
                    </a:lnTo>
                    <a:lnTo>
                      <a:pt x="256" y="130"/>
                    </a:lnTo>
                    <a:lnTo>
                      <a:pt x="242" y="136"/>
                    </a:lnTo>
                    <a:lnTo>
                      <a:pt x="228" y="136"/>
                    </a:lnTo>
                    <a:lnTo>
                      <a:pt x="228" y="122"/>
                    </a:lnTo>
                    <a:lnTo>
                      <a:pt x="222" y="122"/>
                    </a:lnTo>
                    <a:lnTo>
                      <a:pt x="214" y="122"/>
                    </a:lnTo>
                    <a:lnTo>
                      <a:pt x="222" y="130"/>
                    </a:lnTo>
                    <a:lnTo>
                      <a:pt x="228" y="144"/>
                    </a:lnTo>
                    <a:lnTo>
                      <a:pt x="236" y="144"/>
                    </a:lnTo>
                    <a:lnTo>
                      <a:pt x="236" y="150"/>
                    </a:lnTo>
                    <a:lnTo>
                      <a:pt x="214" y="144"/>
                    </a:lnTo>
                    <a:lnTo>
                      <a:pt x="208" y="136"/>
                    </a:lnTo>
                    <a:lnTo>
                      <a:pt x="202" y="130"/>
                    </a:lnTo>
                    <a:lnTo>
                      <a:pt x="194" y="122"/>
                    </a:lnTo>
                    <a:lnTo>
                      <a:pt x="194" y="130"/>
                    </a:lnTo>
                    <a:lnTo>
                      <a:pt x="194" y="136"/>
                    </a:lnTo>
                    <a:lnTo>
                      <a:pt x="202" y="144"/>
                    </a:lnTo>
                    <a:lnTo>
                      <a:pt x="214" y="150"/>
                    </a:lnTo>
                    <a:lnTo>
                      <a:pt x="214" y="156"/>
                    </a:lnTo>
                    <a:lnTo>
                      <a:pt x="202" y="150"/>
                    </a:lnTo>
                    <a:lnTo>
                      <a:pt x="188" y="144"/>
                    </a:lnTo>
                    <a:lnTo>
                      <a:pt x="180" y="130"/>
                    </a:lnTo>
                    <a:lnTo>
                      <a:pt x="174" y="116"/>
                    </a:lnTo>
                    <a:lnTo>
                      <a:pt x="166" y="108"/>
                    </a:lnTo>
                    <a:lnTo>
                      <a:pt x="166" y="94"/>
                    </a:lnTo>
                    <a:lnTo>
                      <a:pt x="158" y="94"/>
                    </a:lnTo>
                    <a:lnTo>
                      <a:pt x="146" y="102"/>
                    </a:lnTo>
                    <a:lnTo>
                      <a:pt x="138" y="108"/>
                    </a:lnTo>
                    <a:lnTo>
                      <a:pt x="146" y="116"/>
                    </a:lnTo>
                    <a:lnTo>
                      <a:pt x="146" y="122"/>
                    </a:lnTo>
                    <a:lnTo>
                      <a:pt x="146" y="130"/>
                    </a:lnTo>
                    <a:lnTo>
                      <a:pt x="146" y="144"/>
                    </a:lnTo>
                    <a:lnTo>
                      <a:pt x="152" y="150"/>
                    </a:lnTo>
                    <a:lnTo>
                      <a:pt x="166" y="156"/>
                    </a:lnTo>
                    <a:lnTo>
                      <a:pt x="174" y="170"/>
                    </a:lnTo>
                    <a:lnTo>
                      <a:pt x="194" y="192"/>
                    </a:lnTo>
                    <a:lnTo>
                      <a:pt x="202" y="192"/>
                    </a:lnTo>
                    <a:lnTo>
                      <a:pt x="194" y="204"/>
                    </a:lnTo>
                    <a:lnTo>
                      <a:pt x="188" y="204"/>
                    </a:lnTo>
                    <a:lnTo>
                      <a:pt x="188" y="198"/>
                    </a:lnTo>
                    <a:lnTo>
                      <a:pt x="188" y="192"/>
                    </a:lnTo>
                    <a:lnTo>
                      <a:pt x="180" y="184"/>
                    </a:lnTo>
                    <a:lnTo>
                      <a:pt x="166" y="184"/>
                    </a:lnTo>
                    <a:lnTo>
                      <a:pt x="158" y="184"/>
                    </a:lnTo>
                    <a:lnTo>
                      <a:pt x="152" y="192"/>
                    </a:lnTo>
                    <a:lnTo>
                      <a:pt x="158" y="204"/>
                    </a:lnTo>
                    <a:lnTo>
                      <a:pt x="166" y="204"/>
                    </a:lnTo>
                    <a:lnTo>
                      <a:pt x="166" y="212"/>
                    </a:lnTo>
                    <a:lnTo>
                      <a:pt x="158" y="220"/>
                    </a:lnTo>
                    <a:lnTo>
                      <a:pt x="152" y="226"/>
                    </a:lnTo>
                    <a:lnTo>
                      <a:pt x="158" y="232"/>
                    </a:lnTo>
                    <a:lnTo>
                      <a:pt x="174" y="232"/>
                    </a:lnTo>
                    <a:lnTo>
                      <a:pt x="188" y="240"/>
                    </a:lnTo>
                    <a:lnTo>
                      <a:pt x="202" y="246"/>
                    </a:lnTo>
                    <a:lnTo>
                      <a:pt x="208" y="246"/>
                    </a:lnTo>
                    <a:lnTo>
                      <a:pt x="214" y="260"/>
                    </a:lnTo>
                    <a:lnTo>
                      <a:pt x="228" y="266"/>
                    </a:lnTo>
                    <a:lnTo>
                      <a:pt x="236" y="266"/>
                    </a:lnTo>
                    <a:lnTo>
                      <a:pt x="236" y="280"/>
                    </a:lnTo>
                    <a:lnTo>
                      <a:pt x="236" y="294"/>
                    </a:lnTo>
                    <a:lnTo>
                      <a:pt x="236" y="302"/>
                    </a:lnTo>
                    <a:lnTo>
                      <a:pt x="236" y="308"/>
                    </a:lnTo>
                    <a:lnTo>
                      <a:pt x="222" y="302"/>
                    </a:lnTo>
                    <a:lnTo>
                      <a:pt x="214" y="288"/>
                    </a:lnTo>
                    <a:lnTo>
                      <a:pt x="208" y="288"/>
                    </a:lnTo>
                    <a:lnTo>
                      <a:pt x="194" y="302"/>
                    </a:lnTo>
                    <a:lnTo>
                      <a:pt x="188" y="308"/>
                    </a:lnTo>
                    <a:lnTo>
                      <a:pt x="188" y="314"/>
                    </a:lnTo>
                    <a:lnTo>
                      <a:pt x="194" y="322"/>
                    </a:lnTo>
                    <a:lnTo>
                      <a:pt x="202" y="322"/>
                    </a:lnTo>
                    <a:lnTo>
                      <a:pt x="214" y="314"/>
                    </a:lnTo>
                    <a:lnTo>
                      <a:pt x="214" y="328"/>
                    </a:lnTo>
                    <a:lnTo>
                      <a:pt x="202" y="336"/>
                    </a:lnTo>
                    <a:lnTo>
                      <a:pt x="188" y="342"/>
                    </a:lnTo>
                    <a:lnTo>
                      <a:pt x="180" y="342"/>
                    </a:lnTo>
                    <a:lnTo>
                      <a:pt x="174" y="336"/>
                    </a:lnTo>
                    <a:lnTo>
                      <a:pt x="174" y="328"/>
                    </a:lnTo>
                    <a:lnTo>
                      <a:pt x="166" y="322"/>
                    </a:lnTo>
                    <a:lnTo>
                      <a:pt x="158" y="322"/>
                    </a:lnTo>
                    <a:lnTo>
                      <a:pt x="158" y="336"/>
                    </a:lnTo>
                    <a:lnTo>
                      <a:pt x="166" y="342"/>
                    </a:lnTo>
                    <a:lnTo>
                      <a:pt x="174" y="356"/>
                    </a:lnTo>
                    <a:lnTo>
                      <a:pt x="180" y="356"/>
                    </a:lnTo>
                    <a:lnTo>
                      <a:pt x="180" y="370"/>
                    </a:lnTo>
                    <a:lnTo>
                      <a:pt x="188" y="378"/>
                    </a:lnTo>
                    <a:lnTo>
                      <a:pt x="188" y="384"/>
                    </a:lnTo>
                    <a:lnTo>
                      <a:pt x="202" y="390"/>
                    </a:lnTo>
                    <a:lnTo>
                      <a:pt x="202" y="398"/>
                    </a:lnTo>
                    <a:lnTo>
                      <a:pt x="174" y="398"/>
                    </a:lnTo>
                    <a:lnTo>
                      <a:pt x="166" y="398"/>
                    </a:lnTo>
                    <a:lnTo>
                      <a:pt x="166" y="384"/>
                    </a:lnTo>
                    <a:lnTo>
                      <a:pt x="158" y="384"/>
                    </a:lnTo>
                    <a:lnTo>
                      <a:pt x="158" y="370"/>
                    </a:lnTo>
                    <a:lnTo>
                      <a:pt x="152" y="378"/>
                    </a:lnTo>
                    <a:lnTo>
                      <a:pt x="152" y="384"/>
                    </a:lnTo>
                    <a:lnTo>
                      <a:pt x="152" y="390"/>
                    </a:lnTo>
                    <a:lnTo>
                      <a:pt x="152" y="404"/>
                    </a:lnTo>
                    <a:lnTo>
                      <a:pt x="146" y="404"/>
                    </a:lnTo>
                    <a:lnTo>
                      <a:pt x="138" y="390"/>
                    </a:lnTo>
                    <a:lnTo>
                      <a:pt x="132" y="390"/>
                    </a:lnTo>
                    <a:lnTo>
                      <a:pt x="124" y="384"/>
                    </a:lnTo>
                    <a:lnTo>
                      <a:pt x="124" y="378"/>
                    </a:lnTo>
                    <a:lnTo>
                      <a:pt x="124" y="370"/>
                    </a:lnTo>
                    <a:lnTo>
                      <a:pt x="124" y="364"/>
                    </a:lnTo>
                    <a:lnTo>
                      <a:pt x="118" y="356"/>
                    </a:lnTo>
                    <a:lnTo>
                      <a:pt x="112" y="364"/>
                    </a:lnTo>
                    <a:lnTo>
                      <a:pt x="112" y="370"/>
                    </a:lnTo>
                    <a:lnTo>
                      <a:pt x="118" y="378"/>
                    </a:lnTo>
                    <a:lnTo>
                      <a:pt x="112" y="384"/>
                    </a:lnTo>
                    <a:lnTo>
                      <a:pt x="104" y="384"/>
                    </a:lnTo>
                    <a:lnTo>
                      <a:pt x="96" y="384"/>
                    </a:lnTo>
                    <a:lnTo>
                      <a:pt x="90" y="370"/>
                    </a:lnTo>
                    <a:lnTo>
                      <a:pt x="90" y="364"/>
                    </a:lnTo>
                    <a:lnTo>
                      <a:pt x="90" y="356"/>
                    </a:lnTo>
                    <a:lnTo>
                      <a:pt x="82" y="350"/>
                    </a:lnTo>
                    <a:lnTo>
                      <a:pt x="90" y="342"/>
                    </a:lnTo>
                    <a:lnTo>
                      <a:pt x="90" y="328"/>
                    </a:lnTo>
                    <a:lnTo>
                      <a:pt x="90" y="322"/>
                    </a:lnTo>
                    <a:lnTo>
                      <a:pt x="82" y="314"/>
                    </a:lnTo>
                    <a:lnTo>
                      <a:pt x="76" y="308"/>
                    </a:lnTo>
                    <a:lnTo>
                      <a:pt x="70" y="308"/>
                    </a:lnTo>
                    <a:lnTo>
                      <a:pt x="62" y="294"/>
                    </a:lnTo>
                    <a:lnTo>
                      <a:pt x="62" y="288"/>
                    </a:lnTo>
                    <a:lnTo>
                      <a:pt x="70" y="280"/>
                    </a:lnTo>
                    <a:lnTo>
                      <a:pt x="76" y="280"/>
                    </a:lnTo>
                    <a:lnTo>
                      <a:pt x="82" y="280"/>
                    </a:lnTo>
                    <a:lnTo>
                      <a:pt x="90" y="280"/>
                    </a:lnTo>
                    <a:lnTo>
                      <a:pt x="96" y="280"/>
                    </a:lnTo>
                    <a:lnTo>
                      <a:pt x="104" y="274"/>
                    </a:lnTo>
                    <a:lnTo>
                      <a:pt x="112" y="274"/>
                    </a:lnTo>
                    <a:lnTo>
                      <a:pt x="118" y="274"/>
                    </a:lnTo>
                    <a:lnTo>
                      <a:pt x="124" y="274"/>
                    </a:lnTo>
                    <a:lnTo>
                      <a:pt x="132" y="274"/>
                    </a:lnTo>
                    <a:lnTo>
                      <a:pt x="132" y="280"/>
                    </a:lnTo>
                    <a:lnTo>
                      <a:pt x="146" y="274"/>
                    </a:lnTo>
                    <a:lnTo>
                      <a:pt x="152" y="280"/>
                    </a:lnTo>
                    <a:lnTo>
                      <a:pt x="152" y="288"/>
                    </a:lnTo>
                    <a:lnTo>
                      <a:pt x="158" y="294"/>
                    </a:lnTo>
                    <a:lnTo>
                      <a:pt x="166" y="288"/>
                    </a:lnTo>
                    <a:lnTo>
                      <a:pt x="174" y="288"/>
                    </a:lnTo>
                    <a:lnTo>
                      <a:pt x="180" y="280"/>
                    </a:lnTo>
                    <a:lnTo>
                      <a:pt x="166" y="274"/>
                    </a:lnTo>
                    <a:lnTo>
                      <a:pt x="158" y="266"/>
                    </a:lnTo>
                    <a:lnTo>
                      <a:pt x="152" y="260"/>
                    </a:lnTo>
                    <a:lnTo>
                      <a:pt x="138" y="260"/>
                    </a:lnTo>
                    <a:lnTo>
                      <a:pt x="138" y="266"/>
                    </a:lnTo>
                    <a:lnTo>
                      <a:pt x="132" y="260"/>
                    </a:lnTo>
                    <a:lnTo>
                      <a:pt x="124" y="254"/>
                    </a:lnTo>
                    <a:lnTo>
                      <a:pt x="112" y="254"/>
                    </a:lnTo>
                    <a:lnTo>
                      <a:pt x="104" y="254"/>
                    </a:lnTo>
                    <a:lnTo>
                      <a:pt x="96" y="254"/>
                    </a:lnTo>
                    <a:lnTo>
                      <a:pt x="82" y="260"/>
                    </a:lnTo>
                    <a:lnTo>
                      <a:pt x="82" y="254"/>
                    </a:lnTo>
                    <a:lnTo>
                      <a:pt x="76" y="254"/>
                    </a:lnTo>
                    <a:lnTo>
                      <a:pt x="70" y="254"/>
                    </a:lnTo>
                    <a:lnTo>
                      <a:pt x="62" y="260"/>
                    </a:lnTo>
                    <a:lnTo>
                      <a:pt x="48" y="254"/>
                    </a:lnTo>
                    <a:lnTo>
                      <a:pt x="42" y="254"/>
                    </a:lnTo>
                    <a:lnTo>
                      <a:pt x="42" y="246"/>
                    </a:lnTo>
                    <a:lnTo>
                      <a:pt x="42" y="240"/>
                    </a:lnTo>
                    <a:lnTo>
                      <a:pt x="34" y="232"/>
                    </a:lnTo>
                    <a:lnTo>
                      <a:pt x="42" y="226"/>
                    </a:lnTo>
                    <a:lnTo>
                      <a:pt x="48" y="226"/>
                    </a:lnTo>
                    <a:lnTo>
                      <a:pt x="62" y="226"/>
                    </a:lnTo>
                    <a:lnTo>
                      <a:pt x="62" y="220"/>
                    </a:lnTo>
                    <a:lnTo>
                      <a:pt x="62" y="212"/>
                    </a:lnTo>
                    <a:lnTo>
                      <a:pt x="56" y="212"/>
                    </a:lnTo>
                    <a:lnTo>
                      <a:pt x="48" y="212"/>
                    </a:lnTo>
                    <a:lnTo>
                      <a:pt x="42" y="212"/>
                    </a:lnTo>
                    <a:lnTo>
                      <a:pt x="34" y="220"/>
                    </a:lnTo>
                    <a:lnTo>
                      <a:pt x="28" y="212"/>
                    </a:lnTo>
                    <a:lnTo>
                      <a:pt x="28" y="198"/>
                    </a:lnTo>
                    <a:lnTo>
                      <a:pt x="28" y="192"/>
                    </a:lnTo>
                    <a:lnTo>
                      <a:pt x="14" y="192"/>
                    </a:lnTo>
                    <a:lnTo>
                      <a:pt x="6" y="184"/>
                    </a:lnTo>
                    <a:lnTo>
                      <a:pt x="0" y="170"/>
                    </a:lnTo>
                    <a:lnTo>
                      <a:pt x="6" y="170"/>
                    </a:lnTo>
                    <a:lnTo>
                      <a:pt x="6" y="164"/>
                    </a:lnTo>
                    <a:lnTo>
                      <a:pt x="6" y="156"/>
                    </a:lnTo>
                    <a:lnTo>
                      <a:pt x="14" y="150"/>
                    </a:lnTo>
                    <a:lnTo>
                      <a:pt x="22" y="150"/>
                    </a:lnTo>
                    <a:lnTo>
                      <a:pt x="34" y="144"/>
                    </a:lnTo>
                    <a:lnTo>
                      <a:pt x="28" y="136"/>
                    </a:lnTo>
                    <a:lnTo>
                      <a:pt x="34" y="136"/>
                    </a:lnTo>
                    <a:lnTo>
                      <a:pt x="42" y="130"/>
                    </a:lnTo>
                    <a:lnTo>
                      <a:pt x="48" y="116"/>
                    </a:lnTo>
                    <a:lnTo>
                      <a:pt x="56" y="108"/>
                    </a:lnTo>
                    <a:lnTo>
                      <a:pt x="56" y="102"/>
                    </a:lnTo>
                    <a:lnTo>
                      <a:pt x="56" y="94"/>
                    </a:lnTo>
                    <a:lnTo>
                      <a:pt x="48" y="88"/>
                    </a:lnTo>
                    <a:lnTo>
                      <a:pt x="42" y="82"/>
                    </a:lnTo>
                    <a:lnTo>
                      <a:pt x="48" y="74"/>
                    </a:lnTo>
                    <a:lnTo>
                      <a:pt x="56" y="74"/>
                    </a:lnTo>
                    <a:lnTo>
                      <a:pt x="56" y="68"/>
                    </a:lnTo>
                    <a:lnTo>
                      <a:pt x="62" y="74"/>
                    </a:lnTo>
                    <a:lnTo>
                      <a:pt x="76" y="74"/>
                    </a:lnTo>
                    <a:lnTo>
                      <a:pt x="82" y="74"/>
                    </a:lnTo>
                    <a:lnTo>
                      <a:pt x="96" y="68"/>
                    </a:lnTo>
                    <a:lnTo>
                      <a:pt x="112" y="68"/>
                    </a:lnTo>
                    <a:lnTo>
                      <a:pt x="118" y="60"/>
                    </a:lnTo>
                    <a:lnTo>
                      <a:pt x="124" y="54"/>
                    </a:lnTo>
                    <a:lnTo>
                      <a:pt x="132" y="60"/>
                    </a:lnTo>
                    <a:lnTo>
                      <a:pt x="138" y="60"/>
                    </a:lnTo>
                    <a:lnTo>
                      <a:pt x="146" y="60"/>
                    </a:lnTo>
                    <a:lnTo>
                      <a:pt x="152" y="54"/>
                    </a:lnTo>
                    <a:lnTo>
                      <a:pt x="158" y="46"/>
                    </a:lnTo>
                    <a:lnTo>
                      <a:pt x="174" y="40"/>
                    </a:lnTo>
                    <a:lnTo>
                      <a:pt x="158" y="40"/>
                    </a:lnTo>
                    <a:lnTo>
                      <a:pt x="158" y="40"/>
                    </a:lnTo>
                    <a:lnTo>
                      <a:pt x="158" y="40"/>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3" name="Freeform 69"/>
              <p:cNvSpPr>
                <a:spLocks/>
              </p:cNvSpPr>
              <p:nvPr/>
            </p:nvSpPr>
            <p:spPr bwMode="gray">
              <a:xfrm>
                <a:off x="3629863" y="3990959"/>
                <a:ext cx="44460" cy="41284"/>
              </a:xfrm>
              <a:custGeom>
                <a:avLst/>
                <a:gdLst>
                  <a:gd name="T0" fmla="*/ 0 w 28"/>
                  <a:gd name="T1" fmla="*/ 10 h 26"/>
                  <a:gd name="T2" fmla="*/ 4 w 28"/>
                  <a:gd name="T3" fmla="*/ 4 h 26"/>
                  <a:gd name="T4" fmla="*/ 8 w 28"/>
                  <a:gd name="T5" fmla="*/ 2 h 26"/>
                  <a:gd name="T6" fmla="*/ 16 w 28"/>
                  <a:gd name="T7" fmla="*/ 0 h 26"/>
                  <a:gd name="T8" fmla="*/ 22 w 28"/>
                  <a:gd name="T9" fmla="*/ 0 h 26"/>
                  <a:gd name="T10" fmla="*/ 28 w 28"/>
                  <a:gd name="T11" fmla="*/ 10 h 26"/>
                  <a:gd name="T12" fmla="*/ 28 w 28"/>
                  <a:gd name="T13" fmla="*/ 20 h 26"/>
                  <a:gd name="T14" fmla="*/ 22 w 28"/>
                  <a:gd name="T15" fmla="*/ 26 h 26"/>
                  <a:gd name="T16" fmla="*/ 16 w 28"/>
                  <a:gd name="T17" fmla="*/ 26 h 26"/>
                  <a:gd name="T18" fmla="*/ 10 w 28"/>
                  <a:gd name="T19" fmla="*/ 26 h 26"/>
                  <a:gd name="T20" fmla="*/ 4 w 28"/>
                  <a:gd name="T21" fmla="*/ 22 h 26"/>
                  <a:gd name="T22" fmla="*/ 0 w 28"/>
                  <a:gd name="T23" fmla="*/ 10 h 26"/>
                  <a:gd name="T24" fmla="*/ 0 w 28"/>
                  <a:gd name="T25" fmla="*/ 10 h 26"/>
                  <a:gd name="T26" fmla="*/ 0 w 28"/>
                  <a:gd name="T2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26">
                    <a:moveTo>
                      <a:pt x="0" y="10"/>
                    </a:moveTo>
                    <a:lnTo>
                      <a:pt x="4" y="4"/>
                    </a:lnTo>
                    <a:lnTo>
                      <a:pt x="8" y="2"/>
                    </a:lnTo>
                    <a:lnTo>
                      <a:pt x="16" y="0"/>
                    </a:lnTo>
                    <a:lnTo>
                      <a:pt x="22" y="0"/>
                    </a:lnTo>
                    <a:lnTo>
                      <a:pt x="28" y="10"/>
                    </a:lnTo>
                    <a:lnTo>
                      <a:pt x="28" y="20"/>
                    </a:lnTo>
                    <a:lnTo>
                      <a:pt x="22" y="26"/>
                    </a:lnTo>
                    <a:lnTo>
                      <a:pt x="16" y="26"/>
                    </a:lnTo>
                    <a:lnTo>
                      <a:pt x="10" y="26"/>
                    </a:lnTo>
                    <a:lnTo>
                      <a:pt x="4" y="22"/>
                    </a:lnTo>
                    <a:lnTo>
                      <a:pt x="0" y="10"/>
                    </a:lnTo>
                    <a:lnTo>
                      <a:pt x="0" y="10"/>
                    </a:lnTo>
                    <a:lnTo>
                      <a:pt x="0" y="10"/>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4" name="Freeform 70"/>
              <p:cNvSpPr>
                <a:spLocks/>
              </p:cNvSpPr>
              <p:nvPr/>
            </p:nvSpPr>
            <p:spPr bwMode="gray">
              <a:xfrm>
                <a:off x="4412675" y="3568591"/>
                <a:ext cx="31757" cy="34933"/>
              </a:xfrm>
              <a:custGeom>
                <a:avLst/>
                <a:gdLst>
                  <a:gd name="T0" fmla="*/ 10 w 20"/>
                  <a:gd name="T1" fmla="*/ 0 h 22"/>
                  <a:gd name="T2" fmla="*/ 20 w 20"/>
                  <a:gd name="T3" fmla="*/ 6 h 22"/>
                  <a:gd name="T4" fmla="*/ 20 w 20"/>
                  <a:gd name="T5" fmla="*/ 18 h 22"/>
                  <a:gd name="T6" fmla="*/ 16 w 20"/>
                  <a:gd name="T7" fmla="*/ 22 h 22"/>
                  <a:gd name="T8" fmla="*/ 10 w 20"/>
                  <a:gd name="T9" fmla="*/ 22 h 22"/>
                  <a:gd name="T10" fmla="*/ 4 w 20"/>
                  <a:gd name="T11" fmla="*/ 22 h 22"/>
                  <a:gd name="T12" fmla="*/ 0 w 20"/>
                  <a:gd name="T13" fmla="*/ 18 h 22"/>
                  <a:gd name="T14" fmla="*/ 0 w 20"/>
                  <a:gd name="T15" fmla="*/ 6 h 22"/>
                  <a:gd name="T16" fmla="*/ 8 w 20"/>
                  <a:gd name="T17" fmla="*/ 2 h 22"/>
                  <a:gd name="T18" fmla="*/ 10 w 20"/>
                  <a:gd name="T19" fmla="*/ 0 h 22"/>
                  <a:gd name="T20" fmla="*/ 10 w 20"/>
                  <a:gd name="T21" fmla="*/ 0 h 22"/>
                  <a:gd name="T22" fmla="*/ 10 w 2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2">
                    <a:moveTo>
                      <a:pt x="10" y="0"/>
                    </a:moveTo>
                    <a:lnTo>
                      <a:pt x="20" y="6"/>
                    </a:lnTo>
                    <a:lnTo>
                      <a:pt x="20" y="18"/>
                    </a:lnTo>
                    <a:lnTo>
                      <a:pt x="16" y="22"/>
                    </a:lnTo>
                    <a:lnTo>
                      <a:pt x="10" y="22"/>
                    </a:lnTo>
                    <a:lnTo>
                      <a:pt x="4" y="22"/>
                    </a:lnTo>
                    <a:lnTo>
                      <a:pt x="0" y="18"/>
                    </a:lnTo>
                    <a:lnTo>
                      <a:pt x="0" y="6"/>
                    </a:lnTo>
                    <a:lnTo>
                      <a:pt x="8" y="2"/>
                    </a:lnTo>
                    <a:lnTo>
                      <a:pt x="10" y="0"/>
                    </a:lnTo>
                    <a:lnTo>
                      <a:pt x="10" y="0"/>
                    </a:lnTo>
                    <a:lnTo>
                      <a:pt x="10" y="0"/>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5" name="Line 71"/>
              <p:cNvSpPr>
                <a:spLocks noChangeShapeType="1"/>
              </p:cNvSpPr>
              <p:nvPr/>
            </p:nvSpPr>
            <p:spPr bwMode="gray">
              <a:xfrm>
                <a:off x="5039876" y="3295480"/>
                <a:ext cx="0" cy="0"/>
              </a:xfrm>
              <a:prstGeom prst="line">
                <a:avLst/>
              </a:prstGeom>
              <a:solidFill>
                <a:schemeClr val="bg2">
                  <a:lumMod val="40000"/>
                  <a:lumOff val="60000"/>
                </a:schemeClr>
              </a:solid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826" name="Line 72"/>
              <p:cNvSpPr>
                <a:spLocks noChangeShapeType="1"/>
              </p:cNvSpPr>
              <p:nvPr/>
            </p:nvSpPr>
            <p:spPr bwMode="gray">
              <a:xfrm>
                <a:off x="5039876" y="3295480"/>
                <a:ext cx="0" cy="0"/>
              </a:xfrm>
              <a:prstGeom prst="line">
                <a:avLst/>
              </a:prstGeom>
              <a:solidFill>
                <a:schemeClr val="bg2">
                  <a:lumMod val="40000"/>
                  <a:lumOff val="60000"/>
                </a:schemeClr>
              </a:solid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827" name="Freeform 73"/>
              <p:cNvSpPr>
                <a:spLocks/>
              </p:cNvSpPr>
              <p:nvPr>
                <p:custDataLst>
                  <p:tags r:id="rId154"/>
                </p:custDataLst>
              </p:nvPr>
            </p:nvSpPr>
            <p:spPr bwMode="gray">
              <a:xfrm>
                <a:off x="4669907" y="3158925"/>
                <a:ext cx="570039" cy="314395"/>
              </a:xfrm>
              <a:custGeom>
                <a:avLst/>
                <a:gdLst>
                  <a:gd name="T0" fmla="*/ 133 w 179"/>
                  <a:gd name="T1" fmla="*/ 19 h 99"/>
                  <a:gd name="T2" fmla="*/ 114 w 179"/>
                  <a:gd name="T3" fmla="*/ 13 h 99"/>
                  <a:gd name="T4" fmla="*/ 95 w 179"/>
                  <a:gd name="T5" fmla="*/ 5 h 99"/>
                  <a:gd name="T6" fmla="*/ 79 w 179"/>
                  <a:gd name="T7" fmla="*/ 2 h 99"/>
                  <a:gd name="T8" fmla="*/ 72 w 179"/>
                  <a:gd name="T9" fmla="*/ 6 h 99"/>
                  <a:gd name="T10" fmla="*/ 65 w 179"/>
                  <a:gd name="T11" fmla="*/ 9 h 99"/>
                  <a:gd name="T12" fmla="*/ 62 w 179"/>
                  <a:gd name="T13" fmla="*/ 2 h 99"/>
                  <a:gd name="T14" fmla="*/ 51 w 179"/>
                  <a:gd name="T15" fmla="*/ 9 h 99"/>
                  <a:gd name="T16" fmla="*/ 37 w 179"/>
                  <a:gd name="T17" fmla="*/ 19 h 99"/>
                  <a:gd name="T18" fmla="*/ 30 w 179"/>
                  <a:gd name="T19" fmla="*/ 23 h 99"/>
                  <a:gd name="T20" fmla="*/ 20 w 179"/>
                  <a:gd name="T21" fmla="*/ 26 h 99"/>
                  <a:gd name="T22" fmla="*/ 10 w 179"/>
                  <a:gd name="T23" fmla="*/ 23 h 99"/>
                  <a:gd name="T24" fmla="*/ 3 w 179"/>
                  <a:gd name="T25" fmla="*/ 23 h 99"/>
                  <a:gd name="T26" fmla="*/ 0 w 179"/>
                  <a:gd name="T27" fmla="*/ 26 h 99"/>
                  <a:gd name="T28" fmla="*/ 7 w 179"/>
                  <a:gd name="T29" fmla="*/ 33 h 99"/>
                  <a:gd name="T30" fmla="*/ 10 w 179"/>
                  <a:gd name="T31" fmla="*/ 43 h 99"/>
                  <a:gd name="T32" fmla="*/ 13 w 179"/>
                  <a:gd name="T33" fmla="*/ 54 h 99"/>
                  <a:gd name="T34" fmla="*/ 17 w 179"/>
                  <a:gd name="T35" fmla="*/ 60 h 99"/>
                  <a:gd name="T36" fmla="*/ 24 w 179"/>
                  <a:gd name="T37" fmla="*/ 74 h 99"/>
                  <a:gd name="T38" fmla="*/ 30 w 179"/>
                  <a:gd name="T39" fmla="*/ 78 h 99"/>
                  <a:gd name="T40" fmla="*/ 36 w 179"/>
                  <a:gd name="T41" fmla="*/ 84 h 99"/>
                  <a:gd name="T42" fmla="*/ 41 w 179"/>
                  <a:gd name="T43" fmla="*/ 91 h 99"/>
                  <a:gd name="T44" fmla="*/ 48 w 179"/>
                  <a:gd name="T45" fmla="*/ 95 h 99"/>
                  <a:gd name="T46" fmla="*/ 62 w 179"/>
                  <a:gd name="T47" fmla="*/ 95 h 99"/>
                  <a:gd name="T48" fmla="*/ 65 w 179"/>
                  <a:gd name="T49" fmla="*/ 88 h 99"/>
                  <a:gd name="T50" fmla="*/ 68 w 179"/>
                  <a:gd name="T51" fmla="*/ 84 h 99"/>
                  <a:gd name="T52" fmla="*/ 79 w 179"/>
                  <a:gd name="T53" fmla="*/ 84 h 99"/>
                  <a:gd name="T54" fmla="*/ 86 w 179"/>
                  <a:gd name="T55" fmla="*/ 88 h 99"/>
                  <a:gd name="T56" fmla="*/ 96 w 179"/>
                  <a:gd name="T57" fmla="*/ 88 h 99"/>
                  <a:gd name="T58" fmla="*/ 100 w 179"/>
                  <a:gd name="T59" fmla="*/ 93 h 99"/>
                  <a:gd name="T60" fmla="*/ 106 w 179"/>
                  <a:gd name="T61" fmla="*/ 98 h 99"/>
                  <a:gd name="T62" fmla="*/ 110 w 179"/>
                  <a:gd name="T63" fmla="*/ 99 h 99"/>
                  <a:gd name="T64" fmla="*/ 113 w 179"/>
                  <a:gd name="T65" fmla="*/ 99 h 99"/>
                  <a:gd name="T66" fmla="*/ 151 w 179"/>
                  <a:gd name="T67" fmla="*/ 71 h 99"/>
                  <a:gd name="T68" fmla="*/ 152 w 179"/>
                  <a:gd name="T69" fmla="*/ 66 h 99"/>
                  <a:gd name="T70" fmla="*/ 163 w 179"/>
                  <a:gd name="T71" fmla="*/ 66 h 99"/>
                  <a:gd name="T72" fmla="*/ 178 w 179"/>
                  <a:gd name="T73" fmla="*/ 60 h 99"/>
                  <a:gd name="T74" fmla="*/ 179 w 179"/>
                  <a:gd name="T75" fmla="*/ 52 h 99"/>
                  <a:gd name="T76" fmla="*/ 172 w 179"/>
                  <a:gd name="T77" fmla="*/ 44 h 99"/>
                  <a:gd name="T78" fmla="*/ 155 w 179"/>
                  <a:gd name="T79" fmla="*/ 39 h 99"/>
                  <a:gd name="T80" fmla="*/ 139 w 179"/>
                  <a:gd name="T81" fmla="*/ 28 h 99"/>
                  <a:gd name="T82" fmla="*/ 123 w 179"/>
                  <a:gd name="T83" fmla="*/ 3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9" h="99">
                    <a:moveTo>
                      <a:pt x="121" y="20"/>
                    </a:moveTo>
                    <a:cubicBezTo>
                      <a:pt x="133" y="19"/>
                      <a:pt x="133" y="19"/>
                      <a:pt x="133" y="19"/>
                    </a:cubicBezTo>
                    <a:cubicBezTo>
                      <a:pt x="121" y="17"/>
                      <a:pt x="121" y="17"/>
                      <a:pt x="121" y="17"/>
                    </a:cubicBezTo>
                    <a:cubicBezTo>
                      <a:pt x="114" y="13"/>
                      <a:pt x="114" y="13"/>
                      <a:pt x="114" y="13"/>
                    </a:cubicBezTo>
                    <a:cubicBezTo>
                      <a:pt x="106" y="10"/>
                      <a:pt x="106" y="10"/>
                      <a:pt x="106" y="10"/>
                    </a:cubicBezTo>
                    <a:cubicBezTo>
                      <a:pt x="95" y="5"/>
                      <a:pt x="95" y="5"/>
                      <a:pt x="95" y="5"/>
                    </a:cubicBezTo>
                    <a:cubicBezTo>
                      <a:pt x="89" y="0"/>
                      <a:pt x="89" y="0"/>
                      <a:pt x="89" y="0"/>
                    </a:cubicBezTo>
                    <a:cubicBezTo>
                      <a:pt x="79" y="2"/>
                      <a:pt x="79" y="2"/>
                      <a:pt x="79" y="2"/>
                    </a:cubicBezTo>
                    <a:cubicBezTo>
                      <a:pt x="72" y="2"/>
                      <a:pt x="72" y="2"/>
                      <a:pt x="72" y="2"/>
                    </a:cubicBezTo>
                    <a:cubicBezTo>
                      <a:pt x="72" y="6"/>
                      <a:pt x="72" y="6"/>
                      <a:pt x="72" y="6"/>
                    </a:cubicBezTo>
                    <a:cubicBezTo>
                      <a:pt x="68" y="9"/>
                      <a:pt x="68" y="9"/>
                      <a:pt x="68" y="9"/>
                    </a:cubicBezTo>
                    <a:cubicBezTo>
                      <a:pt x="65" y="9"/>
                      <a:pt x="65" y="9"/>
                      <a:pt x="65" y="9"/>
                    </a:cubicBezTo>
                    <a:cubicBezTo>
                      <a:pt x="65" y="6"/>
                      <a:pt x="65" y="6"/>
                      <a:pt x="65" y="6"/>
                    </a:cubicBezTo>
                    <a:cubicBezTo>
                      <a:pt x="62" y="2"/>
                      <a:pt x="62" y="2"/>
                      <a:pt x="62" y="2"/>
                    </a:cubicBezTo>
                    <a:cubicBezTo>
                      <a:pt x="55" y="6"/>
                      <a:pt x="55" y="6"/>
                      <a:pt x="55" y="6"/>
                    </a:cubicBezTo>
                    <a:cubicBezTo>
                      <a:pt x="51" y="9"/>
                      <a:pt x="51" y="9"/>
                      <a:pt x="51" y="9"/>
                    </a:cubicBezTo>
                    <a:cubicBezTo>
                      <a:pt x="48" y="13"/>
                      <a:pt x="48" y="13"/>
                      <a:pt x="48" y="13"/>
                    </a:cubicBezTo>
                    <a:cubicBezTo>
                      <a:pt x="37" y="19"/>
                      <a:pt x="37" y="19"/>
                      <a:pt x="37" y="19"/>
                    </a:cubicBezTo>
                    <a:cubicBezTo>
                      <a:pt x="34" y="19"/>
                      <a:pt x="34" y="19"/>
                      <a:pt x="34" y="19"/>
                    </a:cubicBezTo>
                    <a:cubicBezTo>
                      <a:pt x="30" y="23"/>
                      <a:pt x="30" y="23"/>
                      <a:pt x="30" y="23"/>
                    </a:cubicBezTo>
                    <a:cubicBezTo>
                      <a:pt x="27" y="23"/>
                      <a:pt x="27" y="23"/>
                      <a:pt x="27" y="23"/>
                    </a:cubicBezTo>
                    <a:cubicBezTo>
                      <a:pt x="20" y="26"/>
                      <a:pt x="20" y="26"/>
                      <a:pt x="20" y="26"/>
                    </a:cubicBezTo>
                    <a:cubicBezTo>
                      <a:pt x="13" y="26"/>
                      <a:pt x="13" y="26"/>
                      <a:pt x="13" y="26"/>
                    </a:cubicBezTo>
                    <a:cubicBezTo>
                      <a:pt x="10" y="23"/>
                      <a:pt x="10" y="23"/>
                      <a:pt x="10" y="23"/>
                    </a:cubicBezTo>
                    <a:cubicBezTo>
                      <a:pt x="3" y="26"/>
                      <a:pt x="3" y="26"/>
                      <a:pt x="3" y="26"/>
                    </a:cubicBezTo>
                    <a:cubicBezTo>
                      <a:pt x="3" y="23"/>
                      <a:pt x="3" y="23"/>
                      <a:pt x="3" y="23"/>
                    </a:cubicBezTo>
                    <a:cubicBezTo>
                      <a:pt x="0" y="19"/>
                      <a:pt x="0" y="19"/>
                      <a:pt x="0" y="19"/>
                    </a:cubicBezTo>
                    <a:cubicBezTo>
                      <a:pt x="0" y="26"/>
                      <a:pt x="0" y="26"/>
                      <a:pt x="0" y="26"/>
                    </a:cubicBezTo>
                    <a:cubicBezTo>
                      <a:pt x="3" y="33"/>
                      <a:pt x="3" y="33"/>
                      <a:pt x="3" y="33"/>
                    </a:cubicBezTo>
                    <a:cubicBezTo>
                      <a:pt x="7" y="33"/>
                      <a:pt x="7" y="33"/>
                      <a:pt x="7" y="33"/>
                    </a:cubicBezTo>
                    <a:cubicBezTo>
                      <a:pt x="7" y="40"/>
                      <a:pt x="7" y="40"/>
                      <a:pt x="7" y="40"/>
                    </a:cubicBezTo>
                    <a:cubicBezTo>
                      <a:pt x="10" y="43"/>
                      <a:pt x="10" y="43"/>
                      <a:pt x="10" y="43"/>
                    </a:cubicBezTo>
                    <a:cubicBezTo>
                      <a:pt x="13" y="47"/>
                      <a:pt x="13" y="47"/>
                      <a:pt x="13" y="47"/>
                    </a:cubicBezTo>
                    <a:cubicBezTo>
                      <a:pt x="13" y="54"/>
                      <a:pt x="13" y="54"/>
                      <a:pt x="13" y="54"/>
                    </a:cubicBezTo>
                    <a:cubicBezTo>
                      <a:pt x="13" y="57"/>
                      <a:pt x="13" y="57"/>
                      <a:pt x="13" y="57"/>
                    </a:cubicBezTo>
                    <a:cubicBezTo>
                      <a:pt x="17" y="60"/>
                      <a:pt x="17" y="60"/>
                      <a:pt x="17" y="60"/>
                    </a:cubicBezTo>
                    <a:cubicBezTo>
                      <a:pt x="20" y="67"/>
                      <a:pt x="20" y="67"/>
                      <a:pt x="20" y="67"/>
                    </a:cubicBezTo>
                    <a:cubicBezTo>
                      <a:pt x="24" y="74"/>
                      <a:pt x="24" y="74"/>
                      <a:pt x="24" y="74"/>
                    </a:cubicBezTo>
                    <a:cubicBezTo>
                      <a:pt x="27" y="78"/>
                      <a:pt x="27" y="78"/>
                      <a:pt x="27" y="78"/>
                    </a:cubicBezTo>
                    <a:cubicBezTo>
                      <a:pt x="30" y="78"/>
                      <a:pt x="30" y="78"/>
                      <a:pt x="30" y="78"/>
                    </a:cubicBezTo>
                    <a:cubicBezTo>
                      <a:pt x="33" y="81"/>
                      <a:pt x="33" y="81"/>
                      <a:pt x="33" y="81"/>
                    </a:cubicBezTo>
                    <a:cubicBezTo>
                      <a:pt x="36" y="84"/>
                      <a:pt x="36" y="84"/>
                      <a:pt x="36" y="84"/>
                    </a:cubicBezTo>
                    <a:cubicBezTo>
                      <a:pt x="39" y="88"/>
                      <a:pt x="39" y="88"/>
                      <a:pt x="39" y="88"/>
                    </a:cubicBezTo>
                    <a:cubicBezTo>
                      <a:pt x="41" y="91"/>
                      <a:pt x="41" y="91"/>
                      <a:pt x="41" y="91"/>
                    </a:cubicBezTo>
                    <a:cubicBezTo>
                      <a:pt x="44" y="91"/>
                      <a:pt x="44" y="91"/>
                      <a:pt x="44" y="91"/>
                    </a:cubicBezTo>
                    <a:cubicBezTo>
                      <a:pt x="48" y="95"/>
                      <a:pt x="48" y="95"/>
                      <a:pt x="48" y="95"/>
                    </a:cubicBezTo>
                    <a:cubicBezTo>
                      <a:pt x="55" y="95"/>
                      <a:pt x="55" y="95"/>
                      <a:pt x="55" y="95"/>
                    </a:cubicBezTo>
                    <a:cubicBezTo>
                      <a:pt x="62" y="95"/>
                      <a:pt x="62" y="95"/>
                      <a:pt x="62" y="95"/>
                    </a:cubicBezTo>
                    <a:cubicBezTo>
                      <a:pt x="65" y="91"/>
                      <a:pt x="65" y="91"/>
                      <a:pt x="65" y="91"/>
                    </a:cubicBezTo>
                    <a:cubicBezTo>
                      <a:pt x="65" y="88"/>
                      <a:pt x="65" y="88"/>
                      <a:pt x="65" y="88"/>
                    </a:cubicBezTo>
                    <a:cubicBezTo>
                      <a:pt x="66" y="86"/>
                      <a:pt x="66" y="86"/>
                      <a:pt x="66" y="86"/>
                    </a:cubicBezTo>
                    <a:cubicBezTo>
                      <a:pt x="68" y="84"/>
                      <a:pt x="68" y="84"/>
                      <a:pt x="68" y="84"/>
                    </a:cubicBezTo>
                    <a:cubicBezTo>
                      <a:pt x="75" y="84"/>
                      <a:pt x="75" y="84"/>
                      <a:pt x="75" y="84"/>
                    </a:cubicBezTo>
                    <a:cubicBezTo>
                      <a:pt x="79" y="84"/>
                      <a:pt x="79" y="84"/>
                      <a:pt x="79" y="84"/>
                    </a:cubicBezTo>
                    <a:cubicBezTo>
                      <a:pt x="82" y="84"/>
                      <a:pt x="82" y="84"/>
                      <a:pt x="82" y="84"/>
                    </a:cubicBezTo>
                    <a:cubicBezTo>
                      <a:pt x="86" y="88"/>
                      <a:pt x="86" y="88"/>
                      <a:pt x="86" y="88"/>
                    </a:cubicBezTo>
                    <a:cubicBezTo>
                      <a:pt x="89" y="88"/>
                      <a:pt x="89" y="88"/>
                      <a:pt x="89" y="88"/>
                    </a:cubicBezTo>
                    <a:cubicBezTo>
                      <a:pt x="96" y="88"/>
                      <a:pt x="96" y="88"/>
                      <a:pt x="96" y="88"/>
                    </a:cubicBezTo>
                    <a:cubicBezTo>
                      <a:pt x="97" y="91"/>
                      <a:pt x="97" y="91"/>
                      <a:pt x="97" y="91"/>
                    </a:cubicBezTo>
                    <a:cubicBezTo>
                      <a:pt x="100" y="93"/>
                      <a:pt x="100" y="93"/>
                      <a:pt x="100" y="93"/>
                    </a:cubicBezTo>
                    <a:cubicBezTo>
                      <a:pt x="101" y="95"/>
                      <a:pt x="101" y="95"/>
                      <a:pt x="101" y="95"/>
                    </a:cubicBezTo>
                    <a:cubicBezTo>
                      <a:pt x="106" y="98"/>
                      <a:pt x="106" y="98"/>
                      <a:pt x="106" y="98"/>
                    </a:cubicBezTo>
                    <a:cubicBezTo>
                      <a:pt x="109" y="99"/>
                      <a:pt x="109" y="99"/>
                      <a:pt x="109" y="99"/>
                    </a:cubicBezTo>
                    <a:cubicBezTo>
                      <a:pt x="110" y="99"/>
                      <a:pt x="110" y="99"/>
                      <a:pt x="110" y="99"/>
                    </a:cubicBezTo>
                    <a:cubicBezTo>
                      <a:pt x="110" y="98"/>
                      <a:pt x="110" y="98"/>
                      <a:pt x="110" y="98"/>
                    </a:cubicBezTo>
                    <a:cubicBezTo>
                      <a:pt x="110" y="98"/>
                      <a:pt x="111" y="99"/>
                      <a:pt x="113" y="99"/>
                    </a:cubicBezTo>
                    <a:cubicBezTo>
                      <a:pt x="121" y="95"/>
                      <a:pt x="140" y="93"/>
                      <a:pt x="145" y="77"/>
                    </a:cubicBezTo>
                    <a:cubicBezTo>
                      <a:pt x="147" y="75"/>
                      <a:pt x="148" y="73"/>
                      <a:pt x="151" y="71"/>
                    </a:cubicBezTo>
                    <a:cubicBezTo>
                      <a:pt x="152" y="67"/>
                      <a:pt x="150" y="69"/>
                      <a:pt x="152" y="66"/>
                    </a:cubicBezTo>
                    <a:cubicBezTo>
                      <a:pt x="152" y="64"/>
                      <a:pt x="152" y="66"/>
                      <a:pt x="152" y="66"/>
                    </a:cubicBezTo>
                    <a:cubicBezTo>
                      <a:pt x="154" y="66"/>
                      <a:pt x="154" y="66"/>
                      <a:pt x="156" y="66"/>
                    </a:cubicBezTo>
                    <a:cubicBezTo>
                      <a:pt x="158" y="66"/>
                      <a:pt x="162" y="66"/>
                      <a:pt x="163" y="66"/>
                    </a:cubicBezTo>
                    <a:cubicBezTo>
                      <a:pt x="163" y="62"/>
                      <a:pt x="165" y="60"/>
                      <a:pt x="167" y="60"/>
                    </a:cubicBezTo>
                    <a:cubicBezTo>
                      <a:pt x="169" y="60"/>
                      <a:pt x="177" y="60"/>
                      <a:pt x="178" y="60"/>
                    </a:cubicBezTo>
                    <a:cubicBezTo>
                      <a:pt x="176" y="56"/>
                      <a:pt x="176" y="56"/>
                      <a:pt x="176" y="56"/>
                    </a:cubicBezTo>
                    <a:cubicBezTo>
                      <a:pt x="179" y="52"/>
                      <a:pt x="179" y="52"/>
                      <a:pt x="179" y="52"/>
                    </a:cubicBezTo>
                    <a:cubicBezTo>
                      <a:pt x="170" y="50"/>
                      <a:pt x="170" y="50"/>
                      <a:pt x="170" y="50"/>
                    </a:cubicBezTo>
                    <a:cubicBezTo>
                      <a:pt x="172" y="44"/>
                      <a:pt x="172" y="44"/>
                      <a:pt x="172" y="44"/>
                    </a:cubicBezTo>
                    <a:cubicBezTo>
                      <a:pt x="165" y="40"/>
                      <a:pt x="165" y="40"/>
                      <a:pt x="165" y="40"/>
                    </a:cubicBezTo>
                    <a:cubicBezTo>
                      <a:pt x="155" y="39"/>
                      <a:pt x="155" y="39"/>
                      <a:pt x="155" y="39"/>
                    </a:cubicBezTo>
                    <a:cubicBezTo>
                      <a:pt x="146" y="29"/>
                      <a:pt x="146" y="29"/>
                      <a:pt x="146" y="29"/>
                    </a:cubicBezTo>
                    <a:cubicBezTo>
                      <a:pt x="139" y="28"/>
                      <a:pt x="139" y="28"/>
                      <a:pt x="139" y="28"/>
                    </a:cubicBezTo>
                    <a:cubicBezTo>
                      <a:pt x="135" y="26"/>
                      <a:pt x="135" y="26"/>
                      <a:pt x="135" y="26"/>
                    </a:cubicBezTo>
                    <a:cubicBezTo>
                      <a:pt x="123" y="33"/>
                      <a:pt x="123" y="33"/>
                      <a:pt x="123" y="33"/>
                    </a:cubicBezTo>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8" name="Freeform 74"/>
              <p:cNvSpPr>
                <a:spLocks/>
              </p:cNvSpPr>
              <p:nvPr/>
            </p:nvSpPr>
            <p:spPr bwMode="gray">
              <a:xfrm>
                <a:off x="5281230" y="2666690"/>
                <a:ext cx="247705" cy="114326"/>
              </a:xfrm>
              <a:custGeom>
                <a:avLst/>
                <a:gdLst>
                  <a:gd name="T0" fmla="*/ 152 w 156"/>
                  <a:gd name="T1" fmla="*/ 30 h 72"/>
                  <a:gd name="T2" fmla="*/ 150 w 156"/>
                  <a:gd name="T3" fmla="*/ 26 h 72"/>
                  <a:gd name="T4" fmla="*/ 146 w 156"/>
                  <a:gd name="T5" fmla="*/ 26 h 72"/>
                  <a:gd name="T6" fmla="*/ 144 w 156"/>
                  <a:gd name="T7" fmla="*/ 20 h 72"/>
                  <a:gd name="T8" fmla="*/ 142 w 156"/>
                  <a:gd name="T9" fmla="*/ 16 h 72"/>
                  <a:gd name="T10" fmla="*/ 122 w 156"/>
                  <a:gd name="T11" fmla="*/ 18 h 72"/>
                  <a:gd name="T12" fmla="*/ 120 w 156"/>
                  <a:gd name="T13" fmla="*/ 20 h 72"/>
                  <a:gd name="T14" fmla="*/ 116 w 156"/>
                  <a:gd name="T15" fmla="*/ 16 h 72"/>
                  <a:gd name="T16" fmla="*/ 114 w 156"/>
                  <a:gd name="T17" fmla="*/ 16 h 72"/>
                  <a:gd name="T18" fmla="*/ 110 w 156"/>
                  <a:gd name="T19" fmla="*/ 14 h 72"/>
                  <a:gd name="T20" fmla="*/ 102 w 156"/>
                  <a:gd name="T21" fmla="*/ 12 h 72"/>
                  <a:gd name="T22" fmla="*/ 92 w 156"/>
                  <a:gd name="T23" fmla="*/ 8 h 72"/>
                  <a:gd name="T24" fmla="*/ 84 w 156"/>
                  <a:gd name="T25" fmla="*/ 0 h 72"/>
                  <a:gd name="T26" fmla="*/ 80 w 156"/>
                  <a:gd name="T27" fmla="*/ 4 h 72"/>
                  <a:gd name="T28" fmla="*/ 78 w 156"/>
                  <a:gd name="T29" fmla="*/ 6 h 72"/>
                  <a:gd name="T30" fmla="*/ 78 w 156"/>
                  <a:gd name="T31" fmla="*/ 6 h 72"/>
                  <a:gd name="T32" fmla="*/ 76 w 156"/>
                  <a:gd name="T33" fmla="*/ 8 h 72"/>
                  <a:gd name="T34" fmla="*/ 76 w 156"/>
                  <a:gd name="T35" fmla="*/ 12 h 72"/>
                  <a:gd name="T36" fmla="*/ 78 w 156"/>
                  <a:gd name="T37" fmla="*/ 26 h 72"/>
                  <a:gd name="T38" fmla="*/ 72 w 156"/>
                  <a:gd name="T39" fmla="*/ 30 h 72"/>
                  <a:gd name="T40" fmla="*/ 70 w 156"/>
                  <a:gd name="T41" fmla="*/ 30 h 72"/>
                  <a:gd name="T42" fmla="*/ 66 w 156"/>
                  <a:gd name="T43" fmla="*/ 30 h 72"/>
                  <a:gd name="T44" fmla="*/ 48 w 156"/>
                  <a:gd name="T45" fmla="*/ 26 h 72"/>
                  <a:gd name="T46" fmla="*/ 44 w 156"/>
                  <a:gd name="T47" fmla="*/ 26 h 72"/>
                  <a:gd name="T48" fmla="*/ 46 w 156"/>
                  <a:gd name="T49" fmla="*/ 24 h 72"/>
                  <a:gd name="T50" fmla="*/ 58 w 156"/>
                  <a:gd name="T51" fmla="*/ 10 h 72"/>
                  <a:gd name="T52" fmla="*/ 62 w 156"/>
                  <a:gd name="T53" fmla="*/ 8 h 72"/>
                  <a:gd name="T54" fmla="*/ 62 w 156"/>
                  <a:gd name="T55" fmla="*/ 6 h 72"/>
                  <a:gd name="T56" fmla="*/ 64 w 156"/>
                  <a:gd name="T57" fmla="*/ 4 h 72"/>
                  <a:gd name="T58" fmla="*/ 66 w 156"/>
                  <a:gd name="T59" fmla="*/ 2 h 72"/>
                  <a:gd name="T60" fmla="*/ 64 w 156"/>
                  <a:gd name="T61" fmla="*/ 0 h 72"/>
                  <a:gd name="T62" fmla="*/ 42 w 156"/>
                  <a:gd name="T63" fmla="*/ 24 h 72"/>
                  <a:gd name="T64" fmla="*/ 26 w 156"/>
                  <a:gd name="T65" fmla="*/ 26 h 72"/>
                  <a:gd name="T66" fmla="*/ 20 w 156"/>
                  <a:gd name="T67" fmla="*/ 24 h 72"/>
                  <a:gd name="T68" fmla="*/ 16 w 156"/>
                  <a:gd name="T69" fmla="*/ 28 h 72"/>
                  <a:gd name="T70" fmla="*/ 18 w 156"/>
                  <a:gd name="T71" fmla="*/ 36 h 72"/>
                  <a:gd name="T72" fmla="*/ 16 w 156"/>
                  <a:gd name="T73" fmla="*/ 44 h 72"/>
                  <a:gd name="T74" fmla="*/ 14 w 156"/>
                  <a:gd name="T75" fmla="*/ 46 h 72"/>
                  <a:gd name="T76" fmla="*/ 14 w 156"/>
                  <a:gd name="T77" fmla="*/ 48 h 72"/>
                  <a:gd name="T78" fmla="*/ 6 w 156"/>
                  <a:gd name="T79" fmla="*/ 60 h 72"/>
                  <a:gd name="T80" fmla="*/ 0 w 156"/>
                  <a:gd name="T81" fmla="*/ 64 h 72"/>
                  <a:gd name="T82" fmla="*/ 18 w 156"/>
                  <a:gd name="T83" fmla="*/ 66 h 72"/>
                  <a:gd name="T84" fmla="*/ 102 w 156"/>
                  <a:gd name="T85" fmla="*/ 70 h 72"/>
                  <a:gd name="T86" fmla="*/ 152 w 156"/>
                  <a:gd name="T87" fmla="*/ 72 h 72"/>
                  <a:gd name="T88" fmla="*/ 148 w 156"/>
                  <a:gd name="T89" fmla="*/ 56 h 72"/>
                  <a:gd name="T90" fmla="*/ 150 w 156"/>
                  <a:gd name="T91" fmla="*/ 48 h 72"/>
                  <a:gd name="T92" fmla="*/ 150 w 156"/>
                  <a:gd name="T93" fmla="*/ 44 h 72"/>
                  <a:gd name="T94" fmla="*/ 150 w 156"/>
                  <a:gd name="T95" fmla="*/ 44 h 72"/>
                  <a:gd name="T96" fmla="*/ 152 w 156"/>
                  <a:gd name="T97" fmla="*/ 42 h 72"/>
                  <a:gd name="T98" fmla="*/ 156 w 156"/>
                  <a:gd name="T99" fmla="*/ 38 h 72"/>
                  <a:gd name="T100" fmla="*/ 156 w 156"/>
                  <a:gd name="T101" fmla="*/ 3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6" h="72">
                    <a:moveTo>
                      <a:pt x="156" y="32"/>
                    </a:moveTo>
                    <a:lnTo>
                      <a:pt x="156" y="32"/>
                    </a:lnTo>
                    <a:lnTo>
                      <a:pt x="154" y="30"/>
                    </a:lnTo>
                    <a:lnTo>
                      <a:pt x="152" y="30"/>
                    </a:lnTo>
                    <a:lnTo>
                      <a:pt x="152" y="28"/>
                    </a:lnTo>
                    <a:lnTo>
                      <a:pt x="152" y="28"/>
                    </a:lnTo>
                    <a:lnTo>
                      <a:pt x="152" y="28"/>
                    </a:lnTo>
                    <a:lnTo>
                      <a:pt x="150" y="26"/>
                    </a:lnTo>
                    <a:lnTo>
                      <a:pt x="150" y="26"/>
                    </a:lnTo>
                    <a:lnTo>
                      <a:pt x="150" y="26"/>
                    </a:lnTo>
                    <a:lnTo>
                      <a:pt x="150" y="26"/>
                    </a:lnTo>
                    <a:lnTo>
                      <a:pt x="146" y="26"/>
                    </a:lnTo>
                    <a:lnTo>
                      <a:pt x="146" y="26"/>
                    </a:lnTo>
                    <a:lnTo>
                      <a:pt x="146" y="24"/>
                    </a:lnTo>
                    <a:lnTo>
                      <a:pt x="144" y="22"/>
                    </a:lnTo>
                    <a:lnTo>
                      <a:pt x="144" y="20"/>
                    </a:lnTo>
                    <a:lnTo>
                      <a:pt x="144" y="18"/>
                    </a:lnTo>
                    <a:lnTo>
                      <a:pt x="144" y="18"/>
                    </a:lnTo>
                    <a:lnTo>
                      <a:pt x="142" y="16"/>
                    </a:lnTo>
                    <a:lnTo>
                      <a:pt x="142" y="16"/>
                    </a:lnTo>
                    <a:lnTo>
                      <a:pt x="136" y="18"/>
                    </a:lnTo>
                    <a:lnTo>
                      <a:pt x="128" y="16"/>
                    </a:lnTo>
                    <a:lnTo>
                      <a:pt x="128" y="16"/>
                    </a:lnTo>
                    <a:lnTo>
                      <a:pt x="122" y="18"/>
                    </a:lnTo>
                    <a:lnTo>
                      <a:pt x="122" y="18"/>
                    </a:lnTo>
                    <a:lnTo>
                      <a:pt x="122" y="20"/>
                    </a:lnTo>
                    <a:lnTo>
                      <a:pt x="120" y="20"/>
                    </a:lnTo>
                    <a:lnTo>
                      <a:pt x="120" y="20"/>
                    </a:lnTo>
                    <a:lnTo>
                      <a:pt x="118" y="20"/>
                    </a:lnTo>
                    <a:lnTo>
                      <a:pt x="116" y="18"/>
                    </a:lnTo>
                    <a:lnTo>
                      <a:pt x="116" y="18"/>
                    </a:lnTo>
                    <a:lnTo>
                      <a:pt x="116" y="16"/>
                    </a:lnTo>
                    <a:lnTo>
                      <a:pt x="116" y="16"/>
                    </a:lnTo>
                    <a:lnTo>
                      <a:pt x="116" y="14"/>
                    </a:lnTo>
                    <a:lnTo>
                      <a:pt x="114" y="14"/>
                    </a:lnTo>
                    <a:lnTo>
                      <a:pt x="114" y="16"/>
                    </a:lnTo>
                    <a:lnTo>
                      <a:pt x="112" y="16"/>
                    </a:lnTo>
                    <a:lnTo>
                      <a:pt x="112" y="16"/>
                    </a:lnTo>
                    <a:lnTo>
                      <a:pt x="112" y="16"/>
                    </a:lnTo>
                    <a:lnTo>
                      <a:pt x="110" y="14"/>
                    </a:lnTo>
                    <a:lnTo>
                      <a:pt x="108" y="14"/>
                    </a:lnTo>
                    <a:lnTo>
                      <a:pt x="106" y="12"/>
                    </a:lnTo>
                    <a:lnTo>
                      <a:pt x="104" y="12"/>
                    </a:lnTo>
                    <a:lnTo>
                      <a:pt x="102" y="12"/>
                    </a:lnTo>
                    <a:lnTo>
                      <a:pt x="102" y="10"/>
                    </a:lnTo>
                    <a:lnTo>
                      <a:pt x="98" y="8"/>
                    </a:lnTo>
                    <a:lnTo>
                      <a:pt x="96" y="8"/>
                    </a:lnTo>
                    <a:lnTo>
                      <a:pt x="92" y="8"/>
                    </a:lnTo>
                    <a:lnTo>
                      <a:pt x="90" y="6"/>
                    </a:lnTo>
                    <a:lnTo>
                      <a:pt x="86" y="0"/>
                    </a:lnTo>
                    <a:lnTo>
                      <a:pt x="86" y="0"/>
                    </a:lnTo>
                    <a:lnTo>
                      <a:pt x="84" y="0"/>
                    </a:lnTo>
                    <a:lnTo>
                      <a:pt x="80" y="2"/>
                    </a:lnTo>
                    <a:lnTo>
                      <a:pt x="80" y="4"/>
                    </a:lnTo>
                    <a:lnTo>
                      <a:pt x="80" y="4"/>
                    </a:lnTo>
                    <a:lnTo>
                      <a:pt x="80" y="4"/>
                    </a:lnTo>
                    <a:lnTo>
                      <a:pt x="80" y="6"/>
                    </a:lnTo>
                    <a:lnTo>
                      <a:pt x="80" y="6"/>
                    </a:lnTo>
                    <a:lnTo>
                      <a:pt x="80" y="6"/>
                    </a:lnTo>
                    <a:lnTo>
                      <a:pt x="78" y="6"/>
                    </a:lnTo>
                    <a:lnTo>
                      <a:pt x="78" y="6"/>
                    </a:lnTo>
                    <a:lnTo>
                      <a:pt x="78" y="6"/>
                    </a:lnTo>
                    <a:lnTo>
                      <a:pt x="78" y="6"/>
                    </a:lnTo>
                    <a:lnTo>
                      <a:pt x="78" y="6"/>
                    </a:lnTo>
                    <a:lnTo>
                      <a:pt x="76" y="6"/>
                    </a:lnTo>
                    <a:lnTo>
                      <a:pt x="76" y="6"/>
                    </a:lnTo>
                    <a:lnTo>
                      <a:pt x="76" y="8"/>
                    </a:lnTo>
                    <a:lnTo>
                      <a:pt x="76" y="8"/>
                    </a:lnTo>
                    <a:lnTo>
                      <a:pt x="76" y="8"/>
                    </a:lnTo>
                    <a:lnTo>
                      <a:pt x="76" y="10"/>
                    </a:lnTo>
                    <a:lnTo>
                      <a:pt x="76" y="10"/>
                    </a:lnTo>
                    <a:lnTo>
                      <a:pt x="76" y="12"/>
                    </a:lnTo>
                    <a:lnTo>
                      <a:pt x="78" y="22"/>
                    </a:lnTo>
                    <a:lnTo>
                      <a:pt x="78" y="24"/>
                    </a:lnTo>
                    <a:lnTo>
                      <a:pt x="80" y="26"/>
                    </a:lnTo>
                    <a:lnTo>
                      <a:pt x="78" y="26"/>
                    </a:lnTo>
                    <a:lnTo>
                      <a:pt x="76" y="28"/>
                    </a:lnTo>
                    <a:lnTo>
                      <a:pt x="72" y="28"/>
                    </a:lnTo>
                    <a:lnTo>
                      <a:pt x="72" y="30"/>
                    </a:lnTo>
                    <a:lnTo>
                      <a:pt x="72" y="30"/>
                    </a:lnTo>
                    <a:lnTo>
                      <a:pt x="72" y="30"/>
                    </a:lnTo>
                    <a:lnTo>
                      <a:pt x="72" y="30"/>
                    </a:lnTo>
                    <a:lnTo>
                      <a:pt x="72" y="30"/>
                    </a:lnTo>
                    <a:lnTo>
                      <a:pt x="70" y="30"/>
                    </a:lnTo>
                    <a:lnTo>
                      <a:pt x="70" y="28"/>
                    </a:lnTo>
                    <a:lnTo>
                      <a:pt x="70" y="30"/>
                    </a:lnTo>
                    <a:lnTo>
                      <a:pt x="70" y="30"/>
                    </a:lnTo>
                    <a:lnTo>
                      <a:pt x="66" y="30"/>
                    </a:lnTo>
                    <a:lnTo>
                      <a:pt x="60" y="30"/>
                    </a:lnTo>
                    <a:lnTo>
                      <a:pt x="58" y="26"/>
                    </a:lnTo>
                    <a:lnTo>
                      <a:pt x="56" y="26"/>
                    </a:lnTo>
                    <a:lnTo>
                      <a:pt x="48" y="26"/>
                    </a:lnTo>
                    <a:lnTo>
                      <a:pt x="46" y="26"/>
                    </a:lnTo>
                    <a:lnTo>
                      <a:pt x="46" y="26"/>
                    </a:lnTo>
                    <a:lnTo>
                      <a:pt x="46" y="26"/>
                    </a:lnTo>
                    <a:lnTo>
                      <a:pt x="44" y="26"/>
                    </a:lnTo>
                    <a:lnTo>
                      <a:pt x="44" y="24"/>
                    </a:lnTo>
                    <a:lnTo>
                      <a:pt x="44" y="24"/>
                    </a:lnTo>
                    <a:lnTo>
                      <a:pt x="46" y="24"/>
                    </a:lnTo>
                    <a:lnTo>
                      <a:pt x="46" y="24"/>
                    </a:lnTo>
                    <a:lnTo>
                      <a:pt x="46" y="24"/>
                    </a:lnTo>
                    <a:lnTo>
                      <a:pt x="52" y="18"/>
                    </a:lnTo>
                    <a:lnTo>
                      <a:pt x="56" y="14"/>
                    </a:lnTo>
                    <a:lnTo>
                      <a:pt x="58" y="10"/>
                    </a:lnTo>
                    <a:lnTo>
                      <a:pt x="60" y="10"/>
                    </a:lnTo>
                    <a:lnTo>
                      <a:pt x="60" y="8"/>
                    </a:lnTo>
                    <a:lnTo>
                      <a:pt x="60" y="8"/>
                    </a:lnTo>
                    <a:lnTo>
                      <a:pt x="62" y="8"/>
                    </a:lnTo>
                    <a:lnTo>
                      <a:pt x="62" y="6"/>
                    </a:lnTo>
                    <a:lnTo>
                      <a:pt x="62" y="6"/>
                    </a:lnTo>
                    <a:lnTo>
                      <a:pt x="62" y="6"/>
                    </a:lnTo>
                    <a:lnTo>
                      <a:pt x="62" y="6"/>
                    </a:lnTo>
                    <a:lnTo>
                      <a:pt x="62" y="6"/>
                    </a:lnTo>
                    <a:lnTo>
                      <a:pt x="62" y="4"/>
                    </a:lnTo>
                    <a:lnTo>
                      <a:pt x="64" y="4"/>
                    </a:lnTo>
                    <a:lnTo>
                      <a:pt x="64" y="4"/>
                    </a:lnTo>
                    <a:lnTo>
                      <a:pt x="64" y="4"/>
                    </a:lnTo>
                    <a:lnTo>
                      <a:pt x="64" y="4"/>
                    </a:lnTo>
                    <a:lnTo>
                      <a:pt x="64" y="2"/>
                    </a:lnTo>
                    <a:lnTo>
                      <a:pt x="66" y="2"/>
                    </a:lnTo>
                    <a:lnTo>
                      <a:pt x="66" y="0"/>
                    </a:lnTo>
                    <a:lnTo>
                      <a:pt x="66" y="0"/>
                    </a:lnTo>
                    <a:lnTo>
                      <a:pt x="66" y="0"/>
                    </a:lnTo>
                    <a:lnTo>
                      <a:pt x="64" y="0"/>
                    </a:lnTo>
                    <a:lnTo>
                      <a:pt x="58" y="8"/>
                    </a:lnTo>
                    <a:lnTo>
                      <a:pt x="58" y="8"/>
                    </a:lnTo>
                    <a:lnTo>
                      <a:pt x="50" y="18"/>
                    </a:lnTo>
                    <a:lnTo>
                      <a:pt x="42" y="24"/>
                    </a:lnTo>
                    <a:lnTo>
                      <a:pt x="38" y="26"/>
                    </a:lnTo>
                    <a:lnTo>
                      <a:pt x="36" y="26"/>
                    </a:lnTo>
                    <a:lnTo>
                      <a:pt x="30" y="26"/>
                    </a:lnTo>
                    <a:lnTo>
                      <a:pt x="26" y="26"/>
                    </a:lnTo>
                    <a:lnTo>
                      <a:pt x="22" y="26"/>
                    </a:lnTo>
                    <a:lnTo>
                      <a:pt x="22" y="26"/>
                    </a:lnTo>
                    <a:lnTo>
                      <a:pt x="20" y="26"/>
                    </a:lnTo>
                    <a:lnTo>
                      <a:pt x="20" y="24"/>
                    </a:lnTo>
                    <a:lnTo>
                      <a:pt x="18" y="24"/>
                    </a:lnTo>
                    <a:lnTo>
                      <a:pt x="18" y="26"/>
                    </a:lnTo>
                    <a:lnTo>
                      <a:pt x="16" y="28"/>
                    </a:lnTo>
                    <a:lnTo>
                      <a:pt x="16" y="28"/>
                    </a:lnTo>
                    <a:lnTo>
                      <a:pt x="16" y="30"/>
                    </a:lnTo>
                    <a:lnTo>
                      <a:pt x="16" y="32"/>
                    </a:lnTo>
                    <a:lnTo>
                      <a:pt x="16" y="32"/>
                    </a:lnTo>
                    <a:lnTo>
                      <a:pt x="18" y="36"/>
                    </a:lnTo>
                    <a:lnTo>
                      <a:pt x="18" y="38"/>
                    </a:lnTo>
                    <a:lnTo>
                      <a:pt x="18" y="40"/>
                    </a:lnTo>
                    <a:lnTo>
                      <a:pt x="18" y="40"/>
                    </a:lnTo>
                    <a:lnTo>
                      <a:pt x="16" y="44"/>
                    </a:lnTo>
                    <a:lnTo>
                      <a:pt x="16" y="46"/>
                    </a:lnTo>
                    <a:lnTo>
                      <a:pt x="14" y="46"/>
                    </a:lnTo>
                    <a:lnTo>
                      <a:pt x="14" y="46"/>
                    </a:lnTo>
                    <a:lnTo>
                      <a:pt x="14" y="46"/>
                    </a:lnTo>
                    <a:lnTo>
                      <a:pt x="14" y="48"/>
                    </a:lnTo>
                    <a:lnTo>
                      <a:pt x="14" y="48"/>
                    </a:lnTo>
                    <a:lnTo>
                      <a:pt x="14" y="48"/>
                    </a:lnTo>
                    <a:lnTo>
                      <a:pt x="14" y="48"/>
                    </a:lnTo>
                    <a:lnTo>
                      <a:pt x="14" y="48"/>
                    </a:lnTo>
                    <a:lnTo>
                      <a:pt x="14" y="48"/>
                    </a:lnTo>
                    <a:lnTo>
                      <a:pt x="12" y="54"/>
                    </a:lnTo>
                    <a:lnTo>
                      <a:pt x="6" y="60"/>
                    </a:lnTo>
                    <a:lnTo>
                      <a:pt x="2" y="64"/>
                    </a:lnTo>
                    <a:lnTo>
                      <a:pt x="2" y="64"/>
                    </a:lnTo>
                    <a:lnTo>
                      <a:pt x="0" y="64"/>
                    </a:lnTo>
                    <a:lnTo>
                      <a:pt x="0" y="64"/>
                    </a:lnTo>
                    <a:lnTo>
                      <a:pt x="2" y="64"/>
                    </a:lnTo>
                    <a:lnTo>
                      <a:pt x="4" y="66"/>
                    </a:lnTo>
                    <a:lnTo>
                      <a:pt x="8" y="66"/>
                    </a:lnTo>
                    <a:lnTo>
                      <a:pt x="18" y="66"/>
                    </a:lnTo>
                    <a:lnTo>
                      <a:pt x="36" y="68"/>
                    </a:lnTo>
                    <a:lnTo>
                      <a:pt x="64" y="68"/>
                    </a:lnTo>
                    <a:lnTo>
                      <a:pt x="82" y="70"/>
                    </a:lnTo>
                    <a:lnTo>
                      <a:pt x="102" y="70"/>
                    </a:lnTo>
                    <a:lnTo>
                      <a:pt x="128" y="72"/>
                    </a:lnTo>
                    <a:lnTo>
                      <a:pt x="140" y="72"/>
                    </a:lnTo>
                    <a:lnTo>
                      <a:pt x="150" y="72"/>
                    </a:lnTo>
                    <a:lnTo>
                      <a:pt x="152" y="72"/>
                    </a:lnTo>
                    <a:lnTo>
                      <a:pt x="150" y="68"/>
                    </a:lnTo>
                    <a:lnTo>
                      <a:pt x="148" y="64"/>
                    </a:lnTo>
                    <a:lnTo>
                      <a:pt x="148" y="62"/>
                    </a:lnTo>
                    <a:lnTo>
                      <a:pt x="148" y="56"/>
                    </a:lnTo>
                    <a:lnTo>
                      <a:pt x="150" y="52"/>
                    </a:lnTo>
                    <a:lnTo>
                      <a:pt x="150" y="50"/>
                    </a:lnTo>
                    <a:lnTo>
                      <a:pt x="150" y="50"/>
                    </a:lnTo>
                    <a:lnTo>
                      <a:pt x="150" y="48"/>
                    </a:lnTo>
                    <a:lnTo>
                      <a:pt x="150" y="48"/>
                    </a:lnTo>
                    <a:lnTo>
                      <a:pt x="150" y="46"/>
                    </a:lnTo>
                    <a:lnTo>
                      <a:pt x="150" y="44"/>
                    </a:lnTo>
                    <a:lnTo>
                      <a:pt x="150" y="44"/>
                    </a:lnTo>
                    <a:lnTo>
                      <a:pt x="150" y="44"/>
                    </a:lnTo>
                    <a:lnTo>
                      <a:pt x="150" y="44"/>
                    </a:lnTo>
                    <a:lnTo>
                      <a:pt x="150" y="44"/>
                    </a:lnTo>
                    <a:lnTo>
                      <a:pt x="150" y="44"/>
                    </a:lnTo>
                    <a:lnTo>
                      <a:pt x="152" y="44"/>
                    </a:lnTo>
                    <a:lnTo>
                      <a:pt x="152" y="42"/>
                    </a:lnTo>
                    <a:lnTo>
                      <a:pt x="152" y="42"/>
                    </a:lnTo>
                    <a:lnTo>
                      <a:pt x="152" y="42"/>
                    </a:lnTo>
                    <a:lnTo>
                      <a:pt x="154" y="42"/>
                    </a:lnTo>
                    <a:lnTo>
                      <a:pt x="156" y="40"/>
                    </a:lnTo>
                    <a:lnTo>
                      <a:pt x="156" y="40"/>
                    </a:lnTo>
                    <a:lnTo>
                      <a:pt x="156" y="38"/>
                    </a:lnTo>
                    <a:lnTo>
                      <a:pt x="156" y="36"/>
                    </a:lnTo>
                    <a:lnTo>
                      <a:pt x="156" y="36"/>
                    </a:lnTo>
                    <a:lnTo>
                      <a:pt x="156" y="32"/>
                    </a:lnTo>
                    <a:lnTo>
                      <a:pt x="156" y="32"/>
                    </a:lnTo>
                    <a:lnTo>
                      <a:pt x="156" y="32"/>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9" name="Freeform 75"/>
              <p:cNvSpPr>
                <a:spLocks/>
              </p:cNvSpPr>
              <p:nvPr>
                <p:custDataLst>
                  <p:tags r:id="rId155"/>
                </p:custDataLst>
              </p:nvPr>
            </p:nvSpPr>
            <p:spPr bwMode="gray">
              <a:xfrm>
                <a:off x="4860450" y="2720678"/>
                <a:ext cx="766933" cy="676425"/>
              </a:xfrm>
              <a:custGeom>
                <a:avLst/>
                <a:gdLst>
                  <a:gd name="T0" fmla="*/ 473 w 483"/>
                  <a:gd name="T1" fmla="*/ 284 h 426"/>
                  <a:gd name="T2" fmla="*/ 461 w 483"/>
                  <a:gd name="T3" fmla="*/ 258 h 426"/>
                  <a:gd name="T4" fmla="*/ 455 w 483"/>
                  <a:gd name="T5" fmla="*/ 240 h 426"/>
                  <a:gd name="T6" fmla="*/ 459 w 483"/>
                  <a:gd name="T7" fmla="*/ 228 h 426"/>
                  <a:gd name="T8" fmla="*/ 459 w 483"/>
                  <a:gd name="T9" fmla="*/ 208 h 426"/>
                  <a:gd name="T10" fmla="*/ 447 w 483"/>
                  <a:gd name="T11" fmla="*/ 200 h 426"/>
                  <a:gd name="T12" fmla="*/ 473 w 483"/>
                  <a:gd name="T13" fmla="*/ 162 h 426"/>
                  <a:gd name="T14" fmla="*/ 471 w 483"/>
                  <a:gd name="T15" fmla="*/ 132 h 426"/>
                  <a:gd name="T16" fmla="*/ 453 w 483"/>
                  <a:gd name="T17" fmla="*/ 74 h 426"/>
                  <a:gd name="T18" fmla="*/ 449 w 483"/>
                  <a:gd name="T19" fmla="*/ 52 h 426"/>
                  <a:gd name="T20" fmla="*/ 429 w 483"/>
                  <a:gd name="T21" fmla="*/ 38 h 426"/>
                  <a:gd name="T22" fmla="*/ 273 w 483"/>
                  <a:gd name="T23" fmla="*/ 32 h 426"/>
                  <a:gd name="T24" fmla="*/ 219 w 483"/>
                  <a:gd name="T25" fmla="*/ 34 h 426"/>
                  <a:gd name="T26" fmla="*/ 209 w 483"/>
                  <a:gd name="T27" fmla="*/ 10 h 426"/>
                  <a:gd name="T28" fmla="*/ 225 w 483"/>
                  <a:gd name="T29" fmla="*/ 18 h 426"/>
                  <a:gd name="T30" fmla="*/ 135 w 483"/>
                  <a:gd name="T31" fmla="*/ 20 h 426"/>
                  <a:gd name="T32" fmla="*/ 109 w 483"/>
                  <a:gd name="T33" fmla="*/ 38 h 426"/>
                  <a:gd name="T34" fmla="*/ 101 w 483"/>
                  <a:gd name="T35" fmla="*/ 46 h 426"/>
                  <a:gd name="T36" fmla="*/ 4 w 483"/>
                  <a:gd name="T37" fmla="*/ 72 h 426"/>
                  <a:gd name="T38" fmla="*/ 14 w 483"/>
                  <a:gd name="T39" fmla="*/ 76 h 426"/>
                  <a:gd name="T40" fmla="*/ 23 w 483"/>
                  <a:gd name="T41" fmla="*/ 78 h 426"/>
                  <a:gd name="T42" fmla="*/ 25 w 483"/>
                  <a:gd name="T43" fmla="*/ 92 h 426"/>
                  <a:gd name="T44" fmla="*/ 10 w 483"/>
                  <a:gd name="T45" fmla="*/ 84 h 426"/>
                  <a:gd name="T46" fmla="*/ 10 w 483"/>
                  <a:gd name="T47" fmla="*/ 104 h 426"/>
                  <a:gd name="T48" fmla="*/ 14 w 483"/>
                  <a:gd name="T49" fmla="*/ 130 h 426"/>
                  <a:gd name="T50" fmla="*/ 8 w 483"/>
                  <a:gd name="T51" fmla="*/ 156 h 426"/>
                  <a:gd name="T52" fmla="*/ 23 w 483"/>
                  <a:gd name="T53" fmla="*/ 192 h 426"/>
                  <a:gd name="T54" fmla="*/ 29 w 483"/>
                  <a:gd name="T55" fmla="*/ 214 h 426"/>
                  <a:gd name="T56" fmla="*/ 29 w 483"/>
                  <a:gd name="T57" fmla="*/ 248 h 426"/>
                  <a:gd name="T58" fmla="*/ 45 w 483"/>
                  <a:gd name="T59" fmla="*/ 268 h 426"/>
                  <a:gd name="T60" fmla="*/ 43 w 483"/>
                  <a:gd name="T61" fmla="*/ 292 h 426"/>
                  <a:gd name="T62" fmla="*/ 49 w 483"/>
                  <a:gd name="T63" fmla="*/ 288 h 426"/>
                  <a:gd name="T64" fmla="*/ 61 w 483"/>
                  <a:gd name="T65" fmla="*/ 300 h 426"/>
                  <a:gd name="T66" fmla="*/ 87 w 483"/>
                  <a:gd name="T67" fmla="*/ 310 h 426"/>
                  <a:gd name="T68" fmla="*/ 103 w 483"/>
                  <a:gd name="T69" fmla="*/ 310 h 426"/>
                  <a:gd name="T70" fmla="*/ 105 w 483"/>
                  <a:gd name="T71" fmla="*/ 324 h 426"/>
                  <a:gd name="T72" fmla="*/ 109 w 483"/>
                  <a:gd name="T73" fmla="*/ 332 h 426"/>
                  <a:gd name="T74" fmla="*/ 129 w 483"/>
                  <a:gd name="T75" fmla="*/ 346 h 426"/>
                  <a:gd name="T76" fmla="*/ 141 w 483"/>
                  <a:gd name="T77" fmla="*/ 340 h 426"/>
                  <a:gd name="T78" fmla="*/ 147 w 483"/>
                  <a:gd name="T79" fmla="*/ 330 h 426"/>
                  <a:gd name="T80" fmla="*/ 157 w 483"/>
                  <a:gd name="T81" fmla="*/ 338 h 426"/>
                  <a:gd name="T82" fmla="*/ 175 w 483"/>
                  <a:gd name="T83" fmla="*/ 336 h 426"/>
                  <a:gd name="T84" fmla="*/ 173 w 483"/>
                  <a:gd name="T85" fmla="*/ 348 h 426"/>
                  <a:gd name="T86" fmla="*/ 189 w 483"/>
                  <a:gd name="T87" fmla="*/ 354 h 426"/>
                  <a:gd name="T88" fmla="*/ 203 w 483"/>
                  <a:gd name="T89" fmla="*/ 362 h 426"/>
                  <a:gd name="T90" fmla="*/ 221 w 483"/>
                  <a:gd name="T91" fmla="*/ 378 h 426"/>
                  <a:gd name="T92" fmla="*/ 235 w 483"/>
                  <a:gd name="T93" fmla="*/ 396 h 426"/>
                  <a:gd name="T94" fmla="*/ 245 w 483"/>
                  <a:gd name="T95" fmla="*/ 394 h 426"/>
                  <a:gd name="T96" fmla="*/ 263 w 483"/>
                  <a:gd name="T97" fmla="*/ 394 h 426"/>
                  <a:gd name="T98" fmla="*/ 275 w 483"/>
                  <a:gd name="T99" fmla="*/ 406 h 426"/>
                  <a:gd name="T100" fmla="*/ 289 w 483"/>
                  <a:gd name="T101" fmla="*/ 410 h 426"/>
                  <a:gd name="T102" fmla="*/ 305 w 483"/>
                  <a:gd name="T103" fmla="*/ 398 h 426"/>
                  <a:gd name="T104" fmla="*/ 329 w 483"/>
                  <a:gd name="T105" fmla="*/ 404 h 426"/>
                  <a:gd name="T106" fmla="*/ 345 w 483"/>
                  <a:gd name="T107" fmla="*/ 394 h 426"/>
                  <a:gd name="T108" fmla="*/ 371 w 483"/>
                  <a:gd name="T109" fmla="*/ 400 h 426"/>
                  <a:gd name="T110" fmla="*/ 391 w 483"/>
                  <a:gd name="T111" fmla="*/ 416 h 426"/>
                  <a:gd name="T112" fmla="*/ 421 w 483"/>
                  <a:gd name="T113" fmla="*/ 426 h 426"/>
                  <a:gd name="T114" fmla="*/ 415 w 483"/>
                  <a:gd name="T115" fmla="*/ 408 h 426"/>
                  <a:gd name="T116" fmla="*/ 423 w 483"/>
                  <a:gd name="T117" fmla="*/ 372 h 426"/>
                  <a:gd name="T118" fmla="*/ 463 w 483"/>
                  <a:gd name="T119" fmla="*/ 330 h 426"/>
                  <a:gd name="T120" fmla="*/ 479 w 483"/>
                  <a:gd name="T121" fmla="*/ 30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3" h="426">
                    <a:moveTo>
                      <a:pt x="475" y="298"/>
                    </a:moveTo>
                    <a:lnTo>
                      <a:pt x="477" y="298"/>
                    </a:lnTo>
                    <a:lnTo>
                      <a:pt x="477" y="298"/>
                    </a:lnTo>
                    <a:lnTo>
                      <a:pt x="479" y="298"/>
                    </a:lnTo>
                    <a:lnTo>
                      <a:pt x="481" y="298"/>
                    </a:lnTo>
                    <a:lnTo>
                      <a:pt x="481" y="298"/>
                    </a:lnTo>
                    <a:lnTo>
                      <a:pt x="483" y="298"/>
                    </a:lnTo>
                    <a:lnTo>
                      <a:pt x="483" y="296"/>
                    </a:lnTo>
                    <a:lnTo>
                      <a:pt x="483" y="296"/>
                    </a:lnTo>
                    <a:lnTo>
                      <a:pt x="479" y="292"/>
                    </a:lnTo>
                    <a:lnTo>
                      <a:pt x="475" y="290"/>
                    </a:lnTo>
                    <a:lnTo>
                      <a:pt x="475" y="290"/>
                    </a:lnTo>
                    <a:lnTo>
                      <a:pt x="475" y="288"/>
                    </a:lnTo>
                    <a:lnTo>
                      <a:pt x="475" y="288"/>
                    </a:lnTo>
                    <a:lnTo>
                      <a:pt x="475" y="286"/>
                    </a:lnTo>
                    <a:lnTo>
                      <a:pt x="475" y="286"/>
                    </a:lnTo>
                    <a:lnTo>
                      <a:pt x="473" y="286"/>
                    </a:lnTo>
                    <a:lnTo>
                      <a:pt x="473" y="286"/>
                    </a:lnTo>
                    <a:lnTo>
                      <a:pt x="473" y="286"/>
                    </a:lnTo>
                    <a:lnTo>
                      <a:pt x="473" y="284"/>
                    </a:lnTo>
                    <a:lnTo>
                      <a:pt x="473" y="284"/>
                    </a:lnTo>
                    <a:lnTo>
                      <a:pt x="473" y="282"/>
                    </a:lnTo>
                    <a:lnTo>
                      <a:pt x="471" y="280"/>
                    </a:lnTo>
                    <a:lnTo>
                      <a:pt x="471" y="278"/>
                    </a:lnTo>
                    <a:lnTo>
                      <a:pt x="469" y="278"/>
                    </a:lnTo>
                    <a:lnTo>
                      <a:pt x="471" y="276"/>
                    </a:lnTo>
                    <a:lnTo>
                      <a:pt x="471" y="276"/>
                    </a:lnTo>
                    <a:lnTo>
                      <a:pt x="471" y="276"/>
                    </a:lnTo>
                    <a:lnTo>
                      <a:pt x="467" y="274"/>
                    </a:lnTo>
                    <a:lnTo>
                      <a:pt x="465" y="272"/>
                    </a:lnTo>
                    <a:lnTo>
                      <a:pt x="465" y="270"/>
                    </a:lnTo>
                    <a:lnTo>
                      <a:pt x="461" y="264"/>
                    </a:lnTo>
                    <a:lnTo>
                      <a:pt x="461" y="264"/>
                    </a:lnTo>
                    <a:lnTo>
                      <a:pt x="461" y="264"/>
                    </a:lnTo>
                    <a:lnTo>
                      <a:pt x="459" y="264"/>
                    </a:lnTo>
                    <a:lnTo>
                      <a:pt x="459" y="262"/>
                    </a:lnTo>
                    <a:lnTo>
                      <a:pt x="459" y="262"/>
                    </a:lnTo>
                    <a:lnTo>
                      <a:pt x="459" y="260"/>
                    </a:lnTo>
                    <a:lnTo>
                      <a:pt x="461" y="260"/>
                    </a:lnTo>
                    <a:lnTo>
                      <a:pt x="461" y="260"/>
                    </a:lnTo>
                    <a:lnTo>
                      <a:pt x="461" y="258"/>
                    </a:lnTo>
                    <a:lnTo>
                      <a:pt x="461" y="258"/>
                    </a:lnTo>
                    <a:lnTo>
                      <a:pt x="461" y="258"/>
                    </a:lnTo>
                    <a:lnTo>
                      <a:pt x="463" y="258"/>
                    </a:lnTo>
                    <a:lnTo>
                      <a:pt x="461" y="256"/>
                    </a:lnTo>
                    <a:lnTo>
                      <a:pt x="461" y="254"/>
                    </a:lnTo>
                    <a:lnTo>
                      <a:pt x="459" y="254"/>
                    </a:lnTo>
                    <a:lnTo>
                      <a:pt x="461" y="252"/>
                    </a:lnTo>
                    <a:lnTo>
                      <a:pt x="461" y="252"/>
                    </a:lnTo>
                    <a:lnTo>
                      <a:pt x="459" y="250"/>
                    </a:lnTo>
                    <a:lnTo>
                      <a:pt x="459" y="250"/>
                    </a:lnTo>
                    <a:lnTo>
                      <a:pt x="457" y="250"/>
                    </a:lnTo>
                    <a:lnTo>
                      <a:pt x="457" y="248"/>
                    </a:lnTo>
                    <a:lnTo>
                      <a:pt x="457" y="248"/>
                    </a:lnTo>
                    <a:lnTo>
                      <a:pt x="457" y="248"/>
                    </a:lnTo>
                    <a:lnTo>
                      <a:pt x="457" y="248"/>
                    </a:lnTo>
                    <a:lnTo>
                      <a:pt x="455" y="246"/>
                    </a:lnTo>
                    <a:lnTo>
                      <a:pt x="455" y="246"/>
                    </a:lnTo>
                    <a:lnTo>
                      <a:pt x="457" y="246"/>
                    </a:lnTo>
                    <a:lnTo>
                      <a:pt x="455" y="244"/>
                    </a:lnTo>
                    <a:lnTo>
                      <a:pt x="455" y="244"/>
                    </a:lnTo>
                    <a:lnTo>
                      <a:pt x="455" y="242"/>
                    </a:lnTo>
                    <a:lnTo>
                      <a:pt x="455" y="240"/>
                    </a:lnTo>
                    <a:lnTo>
                      <a:pt x="455" y="240"/>
                    </a:lnTo>
                    <a:lnTo>
                      <a:pt x="455" y="240"/>
                    </a:lnTo>
                    <a:lnTo>
                      <a:pt x="455" y="238"/>
                    </a:lnTo>
                    <a:lnTo>
                      <a:pt x="455" y="238"/>
                    </a:lnTo>
                    <a:lnTo>
                      <a:pt x="455" y="238"/>
                    </a:lnTo>
                    <a:lnTo>
                      <a:pt x="455" y="238"/>
                    </a:lnTo>
                    <a:lnTo>
                      <a:pt x="455" y="238"/>
                    </a:lnTo>
                    <a:lnTo>
                      <a:pt x="455" y="236"/>
                    </a:lnTo>
                    <a:lnTo>
                      <a:pt x="455" y="236"/>
                    </a:lnTo>
                    <a:lnTo>
                      <a:pt x="455" y="236"/>
                    </a:lnTo>
                    <a:lnTo>
                      <a:pt x="455" y="236"/>
                    </a:lnTo>
                    <a:lnTo>
                      <a:pt x="455" y="236"/>
                    </a:lnTo>
                    <a:lnTo>
                      <a:pt x="455" y="234"/>
                    </a:lnTo>
                    <a:lnTo>
                      <a:pt x="455" y="234"/>
                    </a:lnTo>
                    <a:lnTo>
                      <a:pt x="455" y="234"/>
                    </a:lnTo>
                    <a:lnTo>
                      <a:pt x="455" y="232"/>
                    </a:lnTo>
                    <a:lnTo>
                      <a:pt x="455" y="232"/>
                    </a:lnTo>
                    <a:lnTo>
                      <a:pt x="457" y="230"/>
                    </a:lnTo>
                    <a:lnTo>
                      <a:pt x="457" y="230"/>
                    </a:lnTo>
                    <a:lnTo>
                      <a:pt x="459" y="230"/>
                    </a:lnTo>
                    <a:lnTo>
                      <a:pt x="459" y="228"/>
                    </a:lnTo>
                    <a:lnTo>
                      <a:pt x="457" y="226"/>
                    </a:lnTo>
                    <a:lnTo>
                      <a:pt x="457" y="226"/>
                    </a:lnTo>
                    <a:lnTo>
                      <a:pt x="457" y="224"/>
                    </a:lnTo>
                    <a:lnTo>
                      <a:pt x="457" y="224"/>
                    </a:lnTo>
                    <a:lnTo>
                      <a:pt x="459" y="222"/>
                    </a:lnTo>
                    <a:lnTo>
                      <a:pt x="459" y="222"/>
                    </a:lnTo>
                    <a:lnTo>
                      <a:pt x="459" y="222"/>
                    </a:lnTo>
                    <a:lnTo>
                      <a:pt x="459" y="222"/>
                    </a:lnTo>
                    <a:lnTo>
                      <a:pt x="459" y="222"/>
                    </a:lnTo>
                    <a:lnTo>
                      <a:pt x="459" y="220"/>
                    </a:lnTo>
                    <a:lnTo>
                      <a:pt x="459" y="218"/>
                    </a:lnTo>
                    <a:lnTo>
                      <a:pt x="459" y="216"/>
                    </a:lnTo>
                    <a:lnTo>
                      <a:pt x="461" y="214"/>
                    </a:lnTo>
                    <a:lnTo>
                      <a:pt x="461" y="214"/>
                    </a:lnTo>
                    <a:lnTo>
                      <a:pt x="461" y="214"/>
                    </a:lnTo>
                    <a:lnTo>
                      <a:pt x="461" y="210"/>
                    </a:lnTo>
                    <a:lnTo>
                      <a:pt x="459" y="210"/>
                    </a:lnTo>
                    <a:lnTo>
                      <a:pt x="459" y="208"/>
                    </a:lnTo>
                    <a:lnTo>
                      <a:pt x="459" y="208"/>
                    </a:lnTo>
                    <a:lnTo>
                      <a:pt x="459" y="208"/>
                    </a:lnTo>
                    <a:lnTo>
                      <a:pt x="459" y="208"/>
                    </a:lnTo>
                    <a:lnTo>
                      <a:pt x="457" y="206"/>
                    </a:lnTo>
                    <a:lnTo>
                      <a:pt x="457" y="206"/>
                    </a:lnTo>
                    <a:lnTo>
                      <a:pt x="457" y="206"/>
                    </a:lnTo>
                    <a:lnTo>
                      <a:pt x="457" y="206"/>
                    </a:lnTo>
                    <a:lnTo>
                      <a:pt x="455" y="206"/>
                    </a:lnTo>
                    <a:lnTo>
                      <a:pt x="453" y="206"/>
                    </a:lnTo>
                    <a:lnTo>
                      <a:pt x="451" y="202"/>
                    </a:lnTo>
                    <a:lnTo>
                      <a:pt x="453" y="202"/>
                    </a:lnTo>
                    <a:lnTo>
                      <a:pt x="453" y="202"/>
                    </a:lnTo>
                    <a:lnTo>
                      <a:pt x="453" y="200"/>
                    </a:lnTo>
                    <a:lnTo>
                      <a:pt x="451" y="202"/>
                    </a:lnTo>
                    <a:lnTo>
                      <a:pt x="451" y="202"/>
                    </a:lnTo>
                    <a:lnTo>
                      <a:pt x="451" y="200"/>
                    </a:lnTo>
                    <a:lnTo>
                      <a:pt x="451" y="200"/>
                    </a:lnTo>
                    <a:lnTo>
                      <a:pt x="449" y="202"/>
                    </a:lnTo>
                    <a:lnTo>
                      <a:pt x="449" y="202"/>
                    </a:lnTo>
                    <a:lnTo>
                      <a:pt x="449" y="200"/>
                    </a:lnTo>
                    <a:lnTo>
                      <a:pt x="449" y="200"/>
                    </a:lnTo>
                    <a:lnTo>
                      <a:pt x="447" y="200"/>
                    </a:lnTo>
                    <a:lnTo>
                      <a:pt x="447" y="200"/>
                    </a:lnTo>
                    <a:lnTo>
                      <a:pt x="447" y="200"/>
                    </a:lnTo>
                    <a:lnTo>
                      <a:pt x="447" y="200"/>
                    </a:lnTo>
                    <a:lnTo>
                      <a:pt x="447" y="200"/>
                    </a:lnTo>
                    <a:lnTo>
                      <a:pt x="443" y="198"/>
                    </a:lnTo>
                    <a:lnTo>
                      <a:pt x="443" y="198"/>
                    </a:lnTo>
                    <a:lnTo>
                      <a:pt x="443" y="198"/>
                    </a:lnTo>
                    <a:lnTo>
                      <a:pt x="439" y="198"/>
                    </a:lnTo>
                    <a:lnTo>
                      <a:pt x="437" y="196"/>
                    </a:lnTo>
                    <a:lnTo>
                      <a:pt x="439" y="196"/>
                    </a:lnTo>
                    <a:lnTo>
                      <a:pt x="437" y="194"/>
                    </a:lnTo>
                    <a:lnTo>
                      <a:pt x="437" y="194"/>
                    </a:lnTo>
                    <a:lnTo>
                      <a:pt x="437" y="194"/>
                    </a:lnTo>
                    <a:lnTo>
                      <a:pt x="437" y="192"/>
                    </a:lnTo>
                    <a:lnTo>
                      <a:pt x="439" y="188"/>
                    </a:lnTo>
                    <a:lnTo>
                      <a:pt x="439" y="188"/>
                    </a:lnTo>
                    <a:lnTo>
                      <a:pt x="441" y="184"/>
                    </a:lnTo>
                    <a:lnTo>
                      <a:pt x="447" y="176"/>
                    </a:lnTo>
                    <a:lnTo>
                      <a:pt x="451" y="174"/>
                    </a:lnTo>
                    <a:lnTo>
                      <a:pt x="457" y="172"/>
                    </a:lnTo>
                    <a:lnTo>
                      <a:pt x="465" y="168"/>
                    </a:lnTo>
                    <a:lnTo>
                      <a:pt x="471" y="164"/>
                    </a:lnTo>
                    <a:lnTo>
                      <a:pt x="473" y="162"/>
                    </a:lnTo>
                    <a:lnTo>
                      <a:pt x="473" y="160"/>
                    </a:lnTo>
                    <a:lnTo>
                      <a:pt x="473" y="158"/>
                    </a:lnTo>
                    <a:lnTo>
                      <a:pt x="473" y="148"/>
                    </a:lnTo>
                    <a:lnTo>
                      <a:pt x="473" y="148"/>
                    </a:lnTo>
                    <a:lnTo>
                      <a:pt x="473" y="148"/>
                    </a:lnTo>
                    <a:lnTo>
                      <a:pt x="473" y="146"/>
                    </a:lnTo>
                    <a:lnTo>
                      <a:pt x="471" y="146"/>
                    </a:lnTo>
                    <a:lnTo>
                      <a:pt x="473" y="146"/>
                    </a:lnTo>
                    <a:lnTo>
                      <a:pt x="473" y="144"/>
                    </a:lnTo>
                    <a:lnTo>
                      <a:pt x="473" y="144"/>
                    </a:lnTo>
                    <a:lnTo>
                      <a:pt x="473" y="144"/>
                    </a:lnTo>
                    <a:lnTo>
                      <a:pt x="473" y="142"/>
                    </a:lnTo>
                    <a:lnTo>
                      <a:pt x="473" y="140"/>
                    </a:lnTo>
                    <a:lnTo>
                      <a:pt x="473" y="140"/>
                    </a:lnTo>
                    <a:lnTo>
                      <a:pt x="473" y="140"/>
                    </a:lnTo>
                    <a:lnTo>
                      <a:pt x="471" y="138"/>
                    </a:lnTo>
                    <a:lnTo>
                      <a:pt x="471" y="136"/>
                    </a:lnTo>
                    <a:lnTo>
                      <a:pt x="471" y="136"/>
                    </a:lnTo>
                    <a:lnTo>
                      <a:pt x="471" y="134"/>
                    </a:lnTo>
                    <a:lnTo>
                      <a:pt x="471" y="132"/>
                    </a:lnTo>
                    <a:lnTo>
                      <a:pt x="471" y="132"/>
                    </a:lnTo>
                    <a:lnTo>
                      <a:pt x="471" y="130"/>
                    </a:lnTo>
                    <a:lnTo>
                      <a:pt x="471" y="130"/>
                    </a:lnTo>
                    <a:lnTo>
                      <a:pt x="471" y="128"/>
                    </a:lnTo>
                    <a:lnTo>
                      <a:pt x="471" y="128"/>
                    </a:lnTo>
                    <a:lnTo>
                      <a:pt x="469" y="126"/>
                    </a:lnTo>
                    <a:lnTo>
                      <a:pt x="469" y="126"/>
                    </a:lnTo>
                    <a:lnTo>
                      <a:pt x="469" y="124"/>
                    </a:lnTo>
                    <a:lnTo>
                      <a:pt x="467" y="124"/>
                    </a:lnTo>
                    <a:lnTo>
                      <a:pt x="467" y="122"/>
                    </a:lnTo>
                    <a:lnTo>
                      <a:pt x="467" y="120"/>
                    </a:lnTo>
                    <a:lnTo>
                      <a:pt x="465" y="114"/>
                    </a:lnTo>
                    <a:lnTo>
                      <a:pt x="463" y="110"/>
                    </a:lnTo>
                    <a:lnTo>
                      <a:pt x="461" y="106"/>
                    </a:lnTo>
                    <a:lnTo>
                      <a:pt x="457" y="94"/>
                    </a:lnTo>
                    <a:lnTo>
                      <a:pt x="455" y="90"/>
                    </a:lnTo>
                    <a:lnTo>
                      <a:pt x="455" y="84"/>
                    </a:lnTo>
                    <a:lnTo>
                      <a:pt x="455" y="84"/>
                    </a:lnTo>
                    <a:lnTo>
                      <a:pt x="455" y="82"/>
                    </a:lnTo>
                    <a:lnTo>
                      <a:pt x="453" y="78"/>
                    </a:lnTo>
                    <a:lnTo>
                      <a:pt x="453" y="76"/>
                    </a:lnTo>
                    <a:lnTo>
                      <a:pt x="453" y="74"/>
                    </a:lnTo>
                    <a:lnTo>
                      <a:pt x="453" y="72"/>
                    </a:lnTo>
                    <a:lnTo>
                      <a:pt x="453" y="70"/>
                    </a:lnTo>
                    <a:lnTo>
                      <a:pt x="453" y="70"/>
                    </a:lnTo>
                    <a:lnTo>
                      <a:pt x="453" y="68"/>
                    </a:lnTo>
                    <a:lnTo>
                      <a:pt x="453" y="68"/>
                    </a:lnTo>
                    <a:lnTo>
                      <a:pt x="451" y="68"/>
                    </a:lnTo>
                    <a:lnTo>
                      <a:pt x="451" y="68"/>
                    </a:lnTo>
                    <a:lnTo>
                      <a:pt x="451" y="68"/>
                    </a:lnTo>
                    <a:lnTo>
                      <a:pt x="451" y="66"/>
                    </a:lnTo>
                    <a:lnTo>
                      <a:pt x="451" y="66"/>
                    </a:lnTo>
                    <a:lnTo>
                      <a:pt x="451" y="66"/>
                    </a:lnTo>
                    <a:lnTo>
                      <a:pt x="451" y="66"/>
                    </a:lnTo>
                    <a:lnTo>
                      <a:pt x="451" y="64"/>
                    </a:lnTo>
                    <a:lnTo>
                      <a:pt x="453" y="64"/>
                    </a:lnTo>
                    <a:lnTo>
                      <a:pt x="453" y="62"/>
                    </a:lnTo>
                    <a:lnTo>
                      <a:pt x="451" y="58"/>
                    </a:lnTo>
                    <a:lnTo>
                      <a:pt x="451" y="56"/>
                    </a:lnTo>
                    <a:lnTo>
                      <a:pt x="451" y="54"/>
                    </a:lnTo>
                    <a:lnTo>
                      <a:pt x="451" y="54"/>
                    </a:lnTo>
                    <a:lnTo>
                      <a:pt x="449" y="52"/>
                    </a:lnTo>
                    <a:lnTo>
                      <a:pt x="449" y="52"/>
                    </a:lnTo>
                    <a:lnTo>
                      <a:pt x="447" y="52"/>
                    </a:lnTo>
                    <a:lnTo>
                      <a:pt x="447" y="52"/>
                    </a:lnTo>
                    <a:lnTo>
                      <a:pt x="447" y="50"/>
                    </a:lnTo>
                    <a:lnTo>
                      <a:pt x="447" y="50"/>
                    </a:lnTo>
                    <a:lnTo>
                      <a:pt x="445" y="48"/>
                    </a:lnTo>
                    <a:lnTo>
                      <a:pt x="445" y="48"/>
                    </a:lnTo>
                    <a:lnTo>
                      <a:pt x="445" y="48"/>
                    </a:lnTo>
                    <a:lnTo>
                      <a:pt x="441" y="46"/>
                    </a:lnTo>
                    <a:lnTo>
                      <a:pt x="439" y="44"/>
                    </a:lnTo>
                    <a:lnTo>
                      <a:pt x="435" y="42"/>
                    </a:lnTo>
                    <a:lnTo>
                      <a:pt x="435" y="42"/>
                    </a:lnTo>
                    <a:lnTo>
                      <a:pt x="433" y="42"/>
                    </a:lnTo>
                    <a:lnTo>
                      <a:pt x="433" y="42"/>
                    </a:lnTo>
                    <a:lnTo>
                      <a:pt x="431" y="42"/>
                    </a:lnTo>
                    <a:lnTo>
                      <a:pt x="431" y="42"/>
                    </a:lnTo>
                    <a:lnTo>
                      <a:pt x="431" y="40"/>
                    </a:lnTo>
                    <a:lnTo>
                      <a:pt x="431" y="40"/>
                    </a:lnTo>
                    <a:lnTo>
                      <a:pt x="431" y="40"/>
                    </a:lnTo>
                    <a:lnTo>
                      <a:pt x="431" y="38"/>
                    </a:lnTo>
                    <a:lnTo>
                      <a:pt x="429" y="38"/>
                    </a:lnTo>
                    <a:lnTo>
                      <a:pt x="429" y="38"/>
                    </a:lnTo>
                    <a:lnTo>
                      <a:pt x="427" y="38"/>
                    </a:lnTo>
                    <a:lnTo>
                      <a:pt x="427" y="38"/>
                    </a:lnTo>
                    <a:lnTo>
                      <a:pt x="427" y="36"/>
                    </a:lnTo>
                    <a:lnTo>
                      <a:pt x="427" y="36"/>
                    </a:lnTo>
                    <a:lnTo>
                      <a:pt x="427" y="36"/>
                    </a:lnTo>
                    <a:lnTo>
                      <a:pt x="425" y="36"/>
                    </a:lnTo>
                    <a:lnTo>
                      <a:pt x="425" y="36"/>
                    </a:lnTo>
                    <a:lnTo>
                      <a:pt x="421" y="34"/>
                    </a:lnTo>
                    <a:lnTo>
                      <a:pt x="421" y="34"/>
                    </a:lnTo>
                    <a:lnTo>
                      <a:pt x="419" y="36"/>
                    </a:lnTo>
                    <a:lnTo>
                      <a:pt x="419" y="38"/>
                    </a:lnTo>
                    <a:lnTo>
                      <a:pt x="417" y="38"/>
                    </a:lnTo>
                    <a:lnTo>
                      <a:pt x="415" y="38"/>
                    </a:lnTo>
                    <a:lnTo>
                      <a:pt x="405" y="38"/>
                    </a:lnTo>
                    <a:lnTo>
                      <a:pt x="393" y="38"/>
                    </a:lnTo>
                    <a:lnTo>
                      <a:pt x="367" y="36"/>
                    </a:lnTo>
                    <a:lnTo>
                      <a:pt x="347" y="36"/>
                    </a:lnTo>
                    <a:lnTo>
                      <a:pt x="329" y="34"/>
                    </a:lnTo>
                    <a:lnTo>
                      <a:pt x="301" y="34"/>
                    </a:lnTo>
                    <a:lnTo>
                      <a:pt x="283" y="32"/>
                    </a:lnTo>
                    <a:lnTo>
                      <a:pt x="273" y="32"/>
                    </a:lnTo>
                    <a:lnTo>
                      <a:pt x="269" y="32"/>
                    </a:lnTo>
                    <a:lnTo>
                      <a:pt x="267" y="30"/>
                    </a:lnTo>
                    <a:lnTo>
                      <a:pt x="265" y="30"/>
                    </a:lnTo>
                    <a:lnTo>
                      <a:pt x="265" y="30"/>
                    </a:lnTo>
                    <a:lnTo>
                      <a:pt x="261" y="34"/>
                    </a:lnTo>
                    <a:lnTo>
                      <a:pt x="261" y="34"/>
                    </a:lnTo>
                    <a:lnTo>
                      <a:pt x="259" y="34"/>
                    </a:lnTo>
                    <a:lnTo>
                      <a:pt x="255" y="36"/>
                    </a:lnTo>
                    <a:lnTo>
                      <a:pt x="237" y="38"/>
                    </a:lnTo>
                    <a:lnTo>
                      <a:pt x="235" y="38"/>
                    </a:lnTo>
                    <a:lnTo>
                      <a:pt x="235" y="38"/>
                    </a:lnTo>
                    <a:lnTo>
                      <a:pt x="233" y="38"/>
                    </a:lnTo>
                    <a:lnTo>
                      <a:pt x="233" y="38"/>
                    </a:lnTo>
                    <a:lnTo>
                      <a:pt x="231" y="38"/>
                    </a:lnTo>
                    <a:lnTo>
                      <a:pt x="223" y="36"/>
                    </a:lnTo>
                    <a:lnTo>
                      <a:pt x="221" y="34"/>
                    </a:lnTo>
                    <a:lnTo>
                      <a:pt x="221" y="34"/>
                    </a:lnTo>
                    <a:lnTo>
                      <a:pt x="221" y="34"/>
                    </a:lnTo>
                    <a:lnTo>
                      <a:pt x="219" y="34"/>
                    </a:lnTo>
                    <a:lnTo>
                      <a:pt x="219" y="34"/>
                    </a:lnTo>
                    <a:lnTo>
                      <a:pt x="219" y="34"/>
                    </a:lnTo>
                    <a:lnTo>
                      <a:pt x="217" y="32"/>
                    </a:lnTo>
                    <a:lnTo>
                      <a:pt x="217" y="32"/>
                    </a:lnTo>
                    <a:lnTo>
                      <a:pt x="215" y="30"/>
                    </a:lnTo>
                    <a:lnTo>
                      <a:pt x="215" y="28"/>
                    </a:lnTo>
                    <a:lnTo>
                      <a:pt x="215" y="24"/>
                    </a:lnTo>
                    <a:lnTo>
                      <a:pt x="215" y="24"/>
                    </a:lnTo>
                    <a:lnTo>
                      <a:pt x="215" y="22"/>
                    </a:lnTo>
                    <a:lnTo>
                      <a:pt x="213" y="18"/>
                    </a:lnTo>
                    <a:lnTo>
                      <a:pt x="213" y="18"/>
                    </a:lnTo>
                    <a:lnTo>
                      <a:pt x="213" y="16"/>
                    </a:lnTo>
                    <a:lnTo>
                      <a:pt x="213" y="16"/>
                    </a:lnTo>
                    <a:lnTo>
                      <a:pt x="213" y="16"/>
                    </a:lnTo>
                    <a:lnTo>
                      <a:pt x="211" y="16"/>
                    </a:lnTo>
                    <a:lnTo>
                      <a:pt x="211" y="16"/>
                    </a:lnTo>
                    <a:lnTo>
                      <a:pt x="211" y="14"/>
                    </a:lnTo>
                    <a:lnTo>
                      <a:pt x="211" y="14"/>
                    </a:lnTo>
                    <a:lnTo>
                      <a:pt x="211" y="14"/>
                    </a:lnTo>
                    <a:lnTo>
                      <a:pt x="211" y="14"/>
                    </a:lnTo>
                    <a:lnTo>
                      <a:pt x="211" y="12"/>
                    </a:lnTo>
                    <a:lnTo>
                      <a:pt x="211" y="10"/>
                    </a:lnTo>
                    <a:lnTo>
                      <a:pt x="209" y="10"/>
                    </a:lnTo>
                    <a:lnTo>
                      <a:pt x="209" y="10"/>
                    </a:lnTo>
                    <a:lnTo>
                      <a:pt x="209" y="10"/>
                    </a:lnTo>
                    <a:lnTo>
                      <a:pt x="209" y="8"/>
                    </a:lnTo>
                    <a:lnTo>
                      <a:pt x="209" y="8"/>
                    </a:lnTo>
                    <a:lnTo>
                      <a:pt x="209" y="8"/>
                    </a:lnTo>
                    <a:lnTo>
                      <a:pt x="209" y="6"/>
                    </a:lnTo>
                    <a:lnTo>
                      <a:pt x="209" y="4"/>
                    </a:lnTo>
                    <a:lnTo>
                      <a:pt x="209" y="4"/>
                    </a:lnTo>
                    <a:lnTo>
                      <a:pt x="209" y="4"/>
                    </a:lnTo>
                    <a:lnTo>
                      <a:pt x="211" y="6"/>
                    </a:lnTo>
                    <a:lnTo>
                      <a:pt x="213" y="6"/>
                    </a:lnTo>
                    <a:lnTo>
                      <a:pt x="215" y="8"/>
                    </a:lnTo>
                    <a:lnTo>
                      <a:pt x="217" y="10"/>
                    </a:lnTo>
                    <a:lnTo>
                      <a:pt x="219" y="10"/>
                    </a:lnTo>
                    <a:lnTo>
                      <a:pt x="219" y="10"/>
                    </a:lnTo>
                    <a:lnTo>
                      <a:pt x="219" y="10"/>
                    </a:lnTo>
                    <a:lnTo>
                      <a:pt x="221" y="12"/>
                    </a:lnTo>
                    <a:lnTo>
                      <a:pt x="223" y="12"/>
                    </a:lnTo>
                    <a:lnTo>
                      <a:pt x="225" y="14"/>
                    </a:lnTo>
                    <a:lnTo>
                      <a:pt x="225" y="16"/>
                    </a:lnTo>
                    <a:lnTo>
                      <a:pt x="225" y="18"/>
                    </a:lnTo>
                    <a:lnTo>
                      <a:pt x="227" y="18"/>
                    </a:lnTo>
                    <a:lnTo>
                      <a:pt x="227" y="18"/>
                    </a:lnTo>
                    <a:lnTo>
                      <a:pt x="227" y="20"/>
                    </a:lnTo>
                    <a:lnTo>
                      <a:pt x="227" y="20"/>
                    </a:lnTo>
                    <a:lnTo>
                      <a:pt x="229" y="20"/>
                    </a:lnTo>
                    <a:lnTo>
                      <a:pt x="229" y="18"/>
                    </a:lnTo>
                    <a:lnTo>
                      <a:pt x="227" y="16"/>
                    </a:lnTo>
                    <a:lnTo>
                      <a:pt x="227" y="16"/>
                    </a:lnTo>
                    <a:lnTo>
                      <a:pt x="225" y="12"/>
                    </a:lnTo>
                    <a:lnTo>
                      <a:pt x="207" y="2"/>
                    </a:lnTo>
                    <a:lnTo>
                      <a:pt x="207" y="2"/>
                    </a:lnTo>
                    <a:lnTo>
                      <a:pt x="207" y="2"/>
                    </a:lnTo>
                    <a:lnTo>
                      <a:pt x="205" y="0"/>
                    </a:lnTo>
                    <a:lnTo>
                      <a:pt x="203" y="0"/>
                    </a:lnTo>
                    <a:lnTo>
                      <a:pt x="195" y="0"/>
                    </a:lnTo>
                    <a:lnTo>
                      <a:pt x="183" y="2"/>
                    </a:lnTo>
                    <a:lnTo>
                      <a:pt x="175" y="4"/>
                    </a:lnTo>
                    <a:lnTo>
                      <a:pt x="157" y="8"/>
                    </a:lnTo>
                    <a:lnTo>
                      <a:pt x="141" y="14"/>
                    </a:lnTo>
                    <a:lnTo>
                      <a:pt x="137" y="18"/>
                    </a:lnTo>
                    <a:lnTo>
                      <a:pt x="135" y="20"/>
                    </a:lnTo>
                    <a:lnTo>
                      <a:pt x="133" y="20"/>
                    </a:lnTo>
                    <a:lnTo>
                      <a:pt x="129" y="22"/>
                    </a:lnTo>
                    <a:lnTo>
                      <a:pt x="119" y="22"/>
                    </a:lnTo>
                    <a:lnTo>
                      <a:pt x="115" y="24"/>
                    </a:lnTo>
                    <a:lnTo>
                      <a:pt x="115" y="26"/>
                    </a:lnTo>
                    <a:lnTo>
                      <a:pt x="113" y="28"/>
                    </a:lnTo>
                    <a:lnTo>
                      <a:pt x="115" y="28"/>
                    </a:lnTo>
                    <a:lnTo>
                      <a:pt x="115" y="26"/>
                    </a:lnTo>
                    <a:lnTo>
                      <a:pt x="115" y="28"/>
                    </a:lnTo>
                    <a:lnTo>
                      <a:pt x="115" y="28"/>
                    </a:lnTo>
                    <a:lnTo>
                      <a:pt x="113" y="28"/>
                    </a:lnTo>
                    <a:lnTo>
                      <a:pt x="113" y="30"/>
                    </a:lnTo>
                    <a:lnTo>
                      <a:pt x="113" y="28"/>
                    </a:lnTo>
                    <a:lnTo>
                      <a:pt x="113" y="28"/>
                    </a:lnTo>
                    <a:lnTo>
                      <a:pt x="113" y="28"/>
                    </a:lnTo>
                    <a:lnTo>
                      <a:pt x="107" y="34"/>
                    </a:lnTo>
                    <a:lnTo>
                      <a:pt x="105" y="38"/>
                    </a:lnTo>
                    <a:lnTo>
                      <a:pt x="105" y="38"/>
                    </a:lnTo>
                    <a:lnTo>
                      <a:pt x="107" y="36"/>
                    </a:lnTo>
                    <a:lnTo>
                      <a:pt x="107" y="36"/>
                    </a:lnTo>
                    <a:lnTo>
                      <a:pt x="109" y="38"/>
                    </a:lnTo>
                    <a:lnTo>
                      <a:pt x="107" y="38"/>
                    </a:lnTo>
                    <a:lnTo>
                      <a:pt x="105" y="40"/>
                    </a:lnTo>
                    <a:lnTo>
                      <a:pt x="105" y="40"/>
                    </a:lnTo>
                    <a:lnTo>
                      <a:pt x="105" y="40"/>
                    </a:lnTo>
                    <a:lnTo>
                      <a:pt x="103" y="40"/>
                    </a:lnTo>
                    <a:lnTo>
                      <a:pt x="103" y="40"/>
                    </a:lnTo>
                    <a:lnTo>
                      <a:pt x="103" y="40"/>
                    </a:lnTo>
                    <a:lnTo>
                      <a:pt x="105" y="38"/>
                    </a:lnTo>
                    <a:lnTo>
                      <a:pt x="105" y="38"/>
                    </a:lnTo>
                    <a:lnTo>
                      <a:pt x="101" y="42"/>
                    </a:lnTo>
                    <a:lnTo>
                      <a:pt x="101" y="42"/>
                    </a:lnTo>
                    <a:lnTo>
                      <a:pt x="99" y="44"/>
                    </a:lnTo>
                    <a:lnTo>
                      <a:pt x="101" y="42"/>
                    </a:lnTo>
                    <a:lnTo>
                      <a:pt x="103" y="42"/>
                    </a:lnTo>
                    <a:lnTo>
                      <a:pt x="101" y="44"/>
                    </a:lnTo>
                    <a:lnTo>
                      <a:pt x="103" y="44"/>
                    </a:lnTo>
                    <a:lnTo>
                      <a:pt x="103" y="44"/>
                    </a:lnTo>
                    <a:lnTo>
                      <a:pt x="101" y="44"/>
                    </a:lnTo>
                    <a:lnTo>
                      <a:pt x="101" y="44"/>
                    </a:lnTo>
                    <a:lnTo>
                      <a:pt x="101" y="44"/>
                    </a:lnTo>
                    <a:lnTo>
                      <a:pt x="101" y="46"/>
                    </a:lnTo>
                    <a:lnTo>
                      <a:pt x="97" y="46"/>
                    </a:lnTo>
                    <a:lnTo>
                      <a:pt x="95" y="46"/>
                    </a:lnTo>
                    <a:lnTo>
                      <a:pt x="97" y="44"/>
                    </a:lnTo>
                    <a:lnTo>
                      <a:pt x="99" y="44"/>
                    </a:lnTo>
                    <a:lnTo>
                      <a:pt x="93" y="46"/>
                    </a:lnTo>
                    <a:lnTo>
                      <a:pt x="85" y="46"/>
                    </a:lnTo>
                    <a:lnTo>
                      <a:pt x="75" y="50"/>
                    </a:lnTo>
                    <a:lnTo>
                      <a:pt x="67" y="52"/>
                    </a:lnTo>
                    <a:lnTo>
                      <a:pt x="57" y="54"/>
                    </a:lnTo>
                    <a:lnTo>
                      <a:pt x="45" y="60"/>
                    </a:lnTo>
                    <a:lnTo>
                      <a:pt x="33" y="62"/>
                    </a:lnTo>
                    <a:lnTo>
                      <a:pt x="20" y="68"/>
                    </a:lnTo>
                    <a:lnTo>
                      <a:pt x="16" y="70"/>
                    </a:lnTo>
                    <a:lnTo>
                      <a:pt x="14" y="72"/>
                    </a:lnTo>
                    <a:lnTo>
                      <a:pt x="12" y="72"/>
                    </a:lnTo>
                    <a:lnTo>
                      <a:pt x="8" y="72"/>
                    </a:lnTo>
                    <a:lnTo>
                      <a:pt x="6" y="70"/>
                    </a:lnTo>
                    <a:lnTo>
                      <a:pt x="6" y="70"/>
                    </a:lnTo>
                    <a:lnTo>
                      <a:pt x="4" y="70"/>
                    </a:lnTo>
                    <a:lnTo>
                      <a:pt x="4" y="72"/>
                    </a:lnTo>
                    <a:lnTo>
                      <a:pt x="4" y="72"/>
                    </a:lnTo>
                    <a:lnTo>
                      <a:pt x="2" y="72"/>
                    </a:lnTo>
                    <a:lnTo>
                      <a:pt x="4" y="74"/>
                    </a:lnTo>
                    <a:lnTo>
                      <a:pt x="4" y="74"/>
                    </a:lnTo>
                    <a:lnTo>
                      <a:pt x="6" y="76"/>
                    </a:lnTo>
                    <a:lnTo>
                      <a:pt x="8" y="78"/>
                    </a:lnTo>
                    <a:lnTo>
                      <a:pt x="8" y="78"/>
                    </a:lnTo>
                    <a:lnTo>
                      <a:pt x="10" y="78"/>
                    </a:lnTo>
                    <a:lnTo>
                      <a:pt x="10" y="78"/>
                    </a:lnTo>
                    <a:lnTo>
                      <a:pt x="10" y="78"/>
                    </a:lnTo>
                    <a:lnTo>
                      <a:pt x="10" y="78"/>
                    </a:lnTo>
                    <a:lnTo>
                      <a:pt x="10" y="78"/>
                    </a:lnTo>
                    <a:lnTo>
                      <a:pt x="10" y="78"/>
                    </a:lnTo>
                    <a:lnTo>
                      <a:pt x="10" y="78"/>
                    </a:lnTo>
                    <a:lnTo>
                      <a:pt x="10" y="78"/>
                    </a:lnTo>
                    <a:lnTo>
                      <a:pt x="12" y="78"/>
                    </a:lnTo>
                    <a:lnTo>
                      <a:pt x="14" y="78"/>
                    </a:lnTo>
                    <a:lnTo>
                      <a:pt x="14" y="78"/>
                    </a:lnTo>
                    <a:lnTo>
                      <a:pt x="14" y="78"/>
                    </a:lnTo>
                    <a:lnTo>
                      <a:pt x="14" y="76"/>
                    </a:lnTo>
                    <a:lnTo>
                      <a:pt x="14" y="76"/>
                    </a:lnTo>
                    <a:lnTo>
                      <a:pt x="14" y="76"/>
                    </a:lnTo>
                    <a:lnTo>
                      <a:pt x="14" y="74"/>
                    </a:lnTo>
                    <a:lnTo>
                      <a:pt x="12" y="74"/>
                    </a:lnTo>
                    <a:lnTo>
                      <a:pt x="12" y="74"/>
                    </a:lnTo>
                    <a:lnTo>
                      <a:pt x="12" y="74"/>
                    </a:lnTo>
                    <a:lnTo>
                      <a:pt x="14" y="74"/>
                    </a:lnTo>
                    <a:lnTo>
                      <a:pt x="14" y="72"/>
                    </a:lnTo>
                    <a:lnTo>
                      <a:pt x="14" y="74"/>
                    </a:lnTo>
                    <a:lnTo>
                      <a:pt x="14" y="74"/>
                    </a:lnTo>
                    <a:lnTo>
                      <a:pt x="14" y="74"/>
                    </a:lnTo>
                    <a:lnTo>
                      <a:pt x="16" y="72"/>
                    </a:lnTo>
                    <a:lnTo>
                      <a:pt x="16" y="72"/>
                    </a:lnTo>
                    <a:lnTo>
                      <a:pt x="16" y="72"/>
                    </a:lnTo>
                    <a:lnTo>
                      <a:pt x="14" y="74"/>
                    </a:lnTo>
                    <a:lnTo>
                      <a:pt x="16" y="76"/>
                    </a:lnTo>
                    <a:lnTo>
                      <a:pt x="23" y="76"/>
                    </a:lnTo>
                    <a:lnTo>
                      <a:pt x="23" y="76"/>
                    </a:lnTo>
                    <a:lnTo>
                      <a:pt x="25" y="78"/>
                    </a:lnTo>
                    <a:lnTo>
                      <a:pt x="23" y="78"/>
                    </a:lnTo>
                    <a:lnTo>
                      <a:pt x="23" y="78"/>
                    </a:lnTo>
                    <a:lnTo>
                      <a:pt x="23" y="78"/>
                    </a:lnTo>
                    <a:lnTo>
                      <a:pt x="23" y="78"/>
                    </a:lnTo>
                    <a:lnTo>
                      <a:pt x="23" y="80"/>
                    </a:lnTo>
                    <a:lnTo>
                      <a:pt x="23" y="80"/>
                    </a:lnTo>
                    <a:lnTo>
                      <a:pt x="25" y="80"/>
                    </a:lnTo>
                    <a:lnTo>
                      <a:pt x="25" y="78"/>
                    </a:lnTo>
                    <a:lnTo>
                      <a:pt x="25" y="78"/>
                    </a:lnTo>
                    <a:lnTo>
                      <a:pt x="25" y="78"/>
                    </a:lnTo>
                    <a:lnTo>
                      <a:pt x="25" y="76"/>
                    </a:lnTo>
                    <a:lnTo>
                      <a:pt x="25" y="76"/>
                    </a:lnTo>
                    <a:lnTo>
                      <a:pt x="25" y="78"/>
                    </a:lnTo>
                    <a:lnTo>
                      <a:pt x="25" y="80"/>
                    </a:lnTo>
                    <a:lnTo>
                      <a:pt x="25" y="80"/>
                    </a:lnTo>
                    <a:lnTo>
                      <a:pt x="25" y="82"/>
                    </a:lnTo>
                    <a:lnTo>
                      <a:pt x="25" y="82"/>
                    </a:lnTo>
                    <a:lnTo>
                      <a:pt x="25" y="82"/>
                    </a:lnTo>
                    <a:lnTo>
                      <a:pt x="23" y="84"/>
                    </a:lnTo>
                    <a:lnTo>
                      <a:pt x="23" y="82"/>
                    </a:lnTo>
                    <a:lnTo>
                      <a:pt x="20" y="86"/>
                    </a:lnTo>
                    <a:lnTo>
                      <a:pt x="20" y="88"/>
                    </a:lnTo>
                    <a:lnTo>
                      <a:pt x="23" y="90"/>
                    </a:lnTo>
                    <a:lnTo>
                      <a:pt x="23" y="92"/>
                    </a:lnTo>
                    <a:lnTo>
                      <a:pt x="25" y="92"/>
                    </a:lnTo>
                    <a:lnTo>
                      <a:pt x="25" y="92"/>
                    </a:lnTo>
                    <a:lnTo>
                      <a:pt x="25" y="92"/>
                    </a:lnTo>
                    <a:lnTo>
                      <a:pt x="25" y="92"/>
                    </a:lnTo>
                    <a:lnTo>
                      <a:pt x="25" y="92"/>
                    </a:lnTo>
                    <a:lnTo>
                      <a:pt x="25" y="94"/>
                    </a:lnTo>
                    <a:lnTo>
                      <a:pt x="25" y="94"/>
                    </a:lnTo>
                    <a:lnTo>
                      <a:pt x="25" y="94"/>
                    </a:lnTo>
                    <a:lnTo>
                      <a:pt x="25" y="96"/>
                    </a:lnTo>
                    <a:lnTo>
                      <a:pt x="25" y="96"/>
                    </a:lnTo>
                    <a:lnTo>
                      <a:pt x="23" y="96"/>
                    </a:lnTo>
                    <a:lnTo>
                      <a:pt x="20" y="92"/>
                    </a:lnTo>
                    <a:lnTo>
                      <a:pt x="20" y="92"/>
                    </a:lnTo>
                    <a:lnTo>
                      <a:pt x="20" y="90"/>
                    </a:lnTo>
                    <a:lnTo>
                      <a:pt x="16" y="90"/>
                    </a:lnTo>
                    <a:lnTo>
                      <a:pt x="14" y="90"/>
                    </a:lnTo>
                    <a:lnTo>
                      <a:pt x="14" y="88"/>
                    </a:lnTo>
                    <a:lnTo>
                      <a:pt x="14" y="88"/>
                    </a:lnTo>
                    <a:lnTo>
                      <a:pt x="12" y="88"/>
                    </a:lnTo>
                    <a:lnTo>
                      <a:pt x="10" y="86"/>
                    </a:lnTo>
                    <a:lnTo>
                      <a:pt x="10" y="86"/>
                    </a:lnTo>
                    <a:lnTo>
                      <a:pt x="10" y="84"/>
                    </a:lnTo>
                    <a:lnTo>
                      <a:pt x="10" y="84"/>
                    </a:lnTo>
                    <a:lnTo>
                      <a:pt x="8" y="84"/>
                    </a:lnTo>
                    <a:lnTo>
                      <a:pt x="8" y="84"/>
                    </a:lnTo>
                    <a:lnTo>
                      <a:pt x="8" y="86"/>
                    </a:lnTo>
                    <a:lnTo>
                      <a:pt x="10" y="86"/>
                    </a:lnTo>
                    <a:lnTo>
                      <a:pt x="8" y="86"/>
                    </a:lnTo>
                    <a:lnTo>
                      <a:pt x="8" y="86"/>
                    </a:lnTo>
                    <a:lnTo>
                      <a:pt x="10" y="86"/>
                    </a:lnTo>
                    <a:lnTo>
                      <a:pt x="10" y="86"/>
                    </a:lnTo>
                    <a:lnTo>
                      <a:pt x="8" y="88"/>
                    </a:lnTo>
                    <a:lnTo>
                      <a:pt x="8" y="88"/>
                    </a:lnTo>
                    <a:lnTo>
                      <a:pt x="8" y="88"/>
                    </a:lnTo>
                    <a:lnTo>
                      <a:pt x="8" y="90"/>
                    </a:lnTo>
                    <a:lnTo>
                      <a:pt x="6" y="92"/>
                    </a:lnTo>
                    <a:lnTo>
                      <a:pt x="8" y="92"/>
                    </a:lnTo>
                    <a:lnTo>
                      <a:pt x="8" y="96"/>
                    </a:lnTo>
                    <a:lnTo>
                      <a:pt x="8" y="96"/>
                    </a:lnTo>
                    <a:lnTo>
                      <a:pt x="8" y="100"/>
                    </a:lnTo>
                    <a:lnTo>
                      <a:pt x="8" y="100"/>
                    </a:lnTo>
                    <a:lnTo>
                      <a:pt x="10" y="102"/>
                    </a:lnTo>
                    <a:lnTo>
                      <a:pt x="10" y="104"/>
                    </a:lnTo>
                    <a:lnTo>
                      <a:pt x="10" y="106"/>
                    </a:lnTo>
                    <a:lnTo>
                      <a:pt x="12" y="108"/>
                    </a:lnTo>
                    <a:lnTo>
                      <a:pt x="12" y="112"/>
                    </a:lnTo>
                    <a:lnTo>
                      <a:pt x="14" y="116"/>
                    </a:lnTo>
                    <a:lnTo>
                      <a:pt x="14" y="116"/>
                    </a:lnTo>
                    <a:lnTo>
                      <a:pt x="14" y="118"/>
                    </a:lnTo>
                    <a:lnTo>
                      <a:pt x="14" y="118"/>
                    </a:lnTo>
                    <a:lnTo>
                      <a:pt x="14" y="120"/>
                    </a:lnTo>
                    <a:lnTo>
                      <a:pt x="14" y="120"/>
                    </a:lnTo>
                    <a:lnTo>
                      <a:pt x="14" y="120"/>
                    </a:lnTo>
                    <a:lnTo>
                      <a:pt x="16" y="122"/>
                    </a:lnTo>
                    <a:lnTo>
                      <a:pt x="16" y="122"/>
                    </a:lnTo>
                    <a:lnTo>
                      <a:pt x="14" y="124"/>
                    </a:lnTo>
                    <a:lnTo>
                      <a:pt x="14" y="124"/>
                    </a:lnTo>
                    <a:lnTo>
                      <a:pt x="14" y="124"/>
                    </a:lnTo>
                    <a:lnTo>
                      <a:pt x="14" y="126"/>
                    </a:lnTo>
                    <a:lnTo>
                      <a:pt x="12" y="126"/>
                    </a:lnTo>
                    <a:lnTo>
                      <a:pt x="12" y="128"/>
                    </a:lnTo>
                    <a:lnTo>
                      <a:pt x="14" y="128"/>
                    </a:lnTo>
                    <a:lnTo>
                      <a:pt x="14" y="130"/>
                    </a:lnTo>
                    <a:lnTo>
                      <a:pt x="14" y="130"/>
                    </a:lnTo>
                    <a:lnTo>
                      <a:pt x="12" y="134"/>
                    </a:lnTo>
                    <a:lnTo>
                      <a:pt x="12" y="136"/>
                    </a:lnTo>
                    <a:lnTo>
                      <a:pt x="10" y="136"/>
                    </a:lnTo>
                    <a:lnTo>
                      <a:pt x="10" y="138"/>
                    </a:lnTo>
                    <a:lnTo>
                      <a:pt x="6" y="140"/>
                    </a:lnTo>
                    <a:lnTo>
                      <a:pt x="4" y="142"/>
                    </a:lnTo>
                    <a:lnTo>
                      <a:pt x="2" y="144"/>
                    </a:lnTo>
                    <a:lnTo>
                      <a:pt x="2" y="144"/>
                    </a:lnTo>
                    <a:lnTo>
                      <a:pt x="2" y="144"/>
                    </a:lnTo>
                    <a:lnTo>
                      <a:pt x="2" y="148"/>
                    </a:lnTo>
                    <a:lnTo>
                      <a:pt x="2" y="148"/>
                    </a:lnTo>
                    <a:lnTo>
                      <a:pt x="2" y="150"/>
                    </a:lnTo>
                    <a:lnTo>
                      <a:pt x="2" y="150"/>
                    </a:lnTo>
                    <a:lnTo>
                      <a:pt x="0" y="152"/>
                    </a:lnTo>
                    <a:lnTo>
                      <a:pt x="2" y="152"/>
                    </a:lnTo>
                    <a:lnTo>
                      <a:pt x="2" y="154"/>
                    </a:lnTo>
                    <a:lnTo>
                      <a:pt x="2" y="154"/>
                    </a:lnTo>
                    <a:lnTo>
                      <a:pt x="4" y="154"/>
                    </a:lnTo>
                    <a:lnTo>
                      <a:pt x="4" y="154"/>
                    </a:lnTo>
                    <a:lnTo>
                      <a:pt x="6" y="156"/>
                    </a:lnTo>
                    <a:lnTo>
                      <a:pt x="8" y="156"/>
                    </a:lnTo>
                    <a:lnTo>
                      <a:pt x="14" y="160"/>
                    </a:lnTo>
                    <a:lnTo>
                      <a:pt x="14" y="160"/>
                    </a:lnTo>
                    <a:lnTo>
                      <a:pt x="16" y="164"/>
                    </a:lnTo>
                    <a:lnTo>
                      <a:pt x="16" y="164"/>
                    </a:lnTo>
                    <a:lnTo>
                      <a:pt x="16" y="164"/>
                    </a:lnTo>
                    <a:lnTo>
                      <a:pt x="18" y="166"/>
                    </a:lnTo>
                    <a:lnTo>
                      <a:pt x="20" y="168"/>
                    </a:lnTo>
                    <a:lnTo>
                      <a:pt x="25" y="170"/>
                    </a:lnTo>
                    <a:lnTo>
                      <a:pt x="25" y="170"/>
                    </a:lnTo>
                    <a:lnTo>
                      <a:pt x="27" y="172"/>
                    </a:lnTo>
                    <a:lnTo>
                      <a:pt x="25" y="174"/>
                    </a:lnTo>
                    <a:lnTo>
                      <a:pt x="25" y="176"/>
                    </a:lnTo>
                    <a:lnTo>
                      <a:pt x="25" y="176"/>
                    </a:lnTo>
                    <a:lnTo>
                      <a:pt x="25" y="178"/>
                    </a:lnTo>
                    <a:lnTo>
                      <a:pt x="25" y="180"/>
                    </a:lnTo>
                    <a:lnTo>
                      <a:pt x="25" y="182"/>
                    </a:lnTo>
                    <a:lnTo>
                      <a:pt x="20" y="184"/>
                    </a:lnTo>
                    <a:lnTo>
                      <a:pt x="20" y="186"/>
                    </a:lnTo>
                    <a:lnTo>
                      <a:pt x="23" y="190"/>
                    </a:lnTo>
                    <a:lnTo>
                      <a:pt x="25" y="192"/>
                    </a:lnTo>
                    <a:lnTo>
                      <a:pt x="23" y="192"/>
                    </a:lnTo>
                    <a:lnTo>
                      <a:pt x="25" y="194"/>
                    </a:lnTo>
                    <a:lnTo>
                      <a:pt x="27" y="194"/>
                    </a:lnTo>
                    <a:lnTo>
                      <a:pt x="27" y="194"/>
                    </a:lnTo>
                    <a:lnTo>
                      <a:pt x="29" y="196"/>
                    </a:lnTo>
                    <a:lnTo>
                      <a:pt x="29" y="196"/>
                    </a:lnTo>
                    <a:lnTo>
                      <a:pt x="29" y="198"/>
                    </a:lnTo>
                    <a:lnTo>
                      <a:pt x="29" y="200"/>
                    </a:lnTo>
                    <a:lnTo>
                      <a:pt x="29" y="200"/>
                    </a:lnTo>
                    <a:lnTo>
                      <a:pt x="29" y="200"/>
                    </a:lnTo>
                    <a:lnTo>
                      <a:pt x="29" y="202"/>
                    </a:lnTo>
                    <a:lnTo>
                      <a:pt x="29" y="204"/>
                    </a:lnTo>
                    <a:lnTo>
                      <a:pt x="29" y="206"/>
                    </a:lnTo>
                    <a:lnTo>
                      <a:pt x="29" y="206"/>
                    </a:lnTo>
                    <a:lnTo>
                      <a:pt x="33" y="208"/>
                    </a:lnTo>
                    <a:lnTo>
                      <a:pt x="31" y="210"/>
                    </a:lnTo>
                    <a:lnTo>
                      <a:pt x="31" y="210"/>
                    </a:lnTo>
                    <a:lnTo>
                      <a:pt x="31" y="210"/>
                    </a:lnTo>
                    <a:lnTo>
                      <a:pt x="31" y="212"/>
                    </a:lnTo>
                    <a:lnTo>
                      <a:pt x="31" y="212"/>
                    </a:lnTo>
                    <a:lnTo>
                      <a:pt x="29" y="214"/>
                    </a:lnTo>
                    <a:lnTo>
                      <a:pt x="29" y="214"/>
                    </a:lnTo>
                    <a:lnTo>
                      <a:pt x="29" y="218"/>
                    </a:lnTo>
                    <a:lnTo>
                      <a:pt x="29" y="220"/>
                    </a:lnTo>
                    <a:lnTo>
                      <a:pt x="27" y="222"/>
                    </a:lnTo>
                    <a:lnTo>
                      <a:pt x="27" y="222"/>
                    </a:lnTo>
                    <a:lnTo>
                      <a:pt x="25" y="226"/>
                    </a:lnTo>
                    <a:lnTo>
                      <a:pt x="23" y="226"/>
                    </a:lnTo>
                    <a:lnTo>
                      <a:pt x="23" y="228"/>
                    </a:lnTo>
                    <a:lnTo>
                      <a:pt x="25" y="230"/>
                    </a:lnTo>
                    <a:lnTo>
                      <a:pt x="25" y="230"/>
                    </a:lnTo>
                    <a:lnTo>
                      <a:pt x="25" y="230"/>
                    </a:lnTo>
                    <a:lnTo>
                      <a:pt x="27" y="232"/>
                    </a:lnTo>
                    <a:lnTo>
                      <a:pt x="27" y="234"/>
                    </a:lnTo>
                    <a:lnTo>
                      <a:pt x="27" y="236"/>
                    </a:lnTo>
                    <a:lnTo>
                      <a:pt x="31" y="238"/>
                    </a:lnTo>
                    <a:lnTo>
                      <a:pt x="31" y="238"/>
                    </a:lnTo>
                    <a:lnTo>
                      <a:pt x="31" y="240"/>
                    </a:lnTo>
                    <a:lnTo>
                      <a:pt x="31" y="242"/>
                    </a:lnTo>
                    <a:lnTo>
                      <a:pt x="31" y="244"/>
                    </a:lnTo>
                    <a:lnTo>
                      <a:pt x="29" y="246"/>
                    </a:lnTo>
                    <a:lnTo>
                      <a:pt x="29" y="246"/>
                    </a:lnTo>
                    <a:lnTo>
                      <a:pt x="29" y="248"/>
                    </a:lnTo>
                    <a:lnTo>
                      <a:pt x="29" y="248"/>
                    </a:lnTo>
                    <a:lnTo>
                      <a:pt x="31" y="248"/>
                    </a:lnTo>
                    <a:lnTo>
                      <a:pt x="33" y="250"/>
                    </a:lnTo>
                    <a:lnTo>
                      <a:pt x="35" y="250"/>
                    </a:lnTo>
                    <a:lnTo>
                      <a:pt x="37" y="252"/>
                    </a:lnTo>
                    <a:lnTo>
                      <a:pt x="39" y="252"/>
                    </a:lnTo>
                    <a:lnTo>
                      <a:pt x="39" y="252"/>
                    </a:lnTo>
                    <a:lnTo>
                      <a:pt x="41" y="252"/>
                    </a:lnTo>
                    <a:lnTo>
                      <a:pt x="41" y="254"/>
                    </a:lnTo>
                    <a:lnTo>
                      <a:pt x="41" y="254"/>
                    </a:lnTo>
                    <a:lnTo>
                      <a:pt x="41" y="256"/>
                    </a:lnTo>
                    <a:lnTo>
                      <a:pt x="41" y="258"/>
                    </a:lnTo>
                    <a:lnTo>
                      <a:pt x="41" y="260"/>
                    </a:lnTo>
                    <a:lnTo>
                      <a:pt x="41" y="262"/>
                    </a:lnTo>
                    <a:lnTo>
                      <a:pt x="41" y="262"/>
                    </a:lnTo>
                    <a:lnTo>
                      <a:pt x="43" y="264"/>
                    </a:lnTo>
                    <a:lnTo>
                      <a:pt x="43" y="264"/>
                    </a:lnTo>
                    <a:lnTo>
                      <a:pt x="45" y="266"/>
                    </a:lnTo>
                    <a:lnTo>
                      <a:pt x="45" y="268"/>
                    </a:lnTo>
                    <a:lnTo>
                      <a:pt x="45" y="268"/>
                    </a:lnTo>
                    <a:lnTo>
                      <a:pt x="45" y="268"/>
                    </a:lnTo>
                    <a:lnTo>
                      <a:pt x="43" y="270"/>
                    </a:lnTo>
                    <a:lnTo>
                      <a:pt x="43" y="272"/>
                    </a:lnTo>
                    <a:lnTo>
                      <a:pt x="43" y="274"/>
                    </a:lnTo>
                    <a:lnTo>
                      <a:pt x="43" y="276"/>
                    </a:lnTo>
                    <a:lnTo>
                      <a:pt x="43" y="278"/>
                    </a:lnTo>
                    <a:lnTo>
                      <a:pt x="43" y="278"/>
                    </a:lnTo>
                    <a:lnTo>
                      <a:pt x="41" y="278"/>
                    </a:lnTo>
                    <a:lnTo>
                      <a:pt x="41" y="278"/>
                    </a:lnTo>
                    <a:lnTo>
                      <a:pt x="41" y="280"/>
                    </a:lnTo>
                    <a:lnTo>
                      <a:pt x="41" y="280"/>
                    </a:lnTo>
                    <a:lnTo>
                      <a:pt x="41" y="282"/>
                    </a:lnTo>
                    <a:lnTo>
                      <a:pt x="39" y="286"/>
                    </a:lnTo>
                    <a:lnTo>
                      <a:pt x="37" y="292"/>
                    </a:lnTo>
                    <a:lnTo>
                      <a:pt x="35" y="294"/>
                    </a:lnTo>
                    <a:lnTo>
                      <a:pt x="35" y="294"/>
                    </a:lnTo>
                    <a:lnTo>
                      <a:pt x="35" y="296"/>
                    </a:lnTo>
                    <a:lnTo>
                      <a:pt x="35" y="296"/>
                    </a:lnTo>
                    <a:lnTo>
                      <a:pt x="37" y="296"/>
                    </a:lnTo>
                    <a:lnTo>
                      <a:pt x="43" y="296"/>
                    </a:lnTo>
                    <a:lnTo>
                      <a:pt x="43" y="296"/>
                    </a:lnTo>
                    <a:lnTo>
                      <a:pt x="43" y="292"/>
                    </a:lnTo>
                    <a:lnTo>
                      <a:pt x="43" y="292"/>
                    </a:lnTo>
                    <a:lnTo>
                      <a:pt x="43" y="292"/>
                    </a:lnTo>
                    <a:lnTo>
                      <a:pt x="43" y="292"/>
                    </a:lnTo>
                    <a:lnTo>
                      <a:pt x="43" y="292"/>
                    </a:lnTo>
                    <a:lnTo>
                      <a:pt x="43" y="290"/>
                    </a:lnTo>
                    <a:lnTo>
                      <a:pt x="43" y="288"/>
                    </a:lnTo>
                    <a:lnTo>
                      <a:pt x="43" y="288"/>
                    </a:lnTo>
                    <a:lnTo>
                      <a:pt x="41" y="286"/>
                    </a:lnTo>
                    <a:lnTo>
                      <a:pt x="41" y="286"/>
                    </a:lnTo>
                    <a:lnTo>
                      <a:pt x="41" y="286"/>
                    </a:lnTo>
                    <a:lnTo>
                      <a:pt x="43" y="286"/>
                    </a:lnTo>
                    <a:lnTo>
                      <a:pt x="43" y="286"/>
                    </a:lnTo>
                    <a:lnTo>
                      <a:pt x="43" y="286"/>
                    </a:lnTo>
                    <a:lnTo>
                      <a:pt x="43" y="286"/>
                    </a:lnTo>
                    <a:lnTo>
                      <a:pt x="43" y="284"/>
                    </a:lnTo>
                    <a:lnTo>
                      <a:pt x="43" y="284"/>
                    </a:lnTo>
                    <a:lnTo>
                      <a:pt x="45" y="286"/>
                    </a:lnTo>
                    <a:lnTo>
                      <a:pt x="47" y="286"/>
                    </a:lnTo>
                    <a:lnTo>
                      <a:pt x="47" y="286"/>
                    </a:lnTo>
                    <a:lnTo>
                      <a:pt x="47" y="286"/>
                    </a:lnTo>
                    <a:lnTo>
                      <a:pt x="49" y="288"/>
                    </a:lnTo>
                    <a:lnTo>
                      <a:pt x="49" y="286"/>
                    </a:lnTo>
                    <a:lnTo>
                      <a:pt x="49" y="286"/>
                    </a:lnTo>
                    <a:lnTo>
                      <a:pt x="49" y="286"/>
                    </a:lnTo>
                    <a:lnTo>
                      <a:pt x="51" y="284"/>
                    </a:lnTo>
                    <a:lnTo>
                      <a:pt x="51" y="286"/>
                    </a:lnTo>
                    <a:lnTo>
                      <a:pt x="51" y="286"/>
                    </a:lnTo>
                    <a:lnTo>
                      <a:pt x="51" y="288"/>
                    </a:lnTo>
                    <a:lnTo>
                      <a:pt x="55" y="288"/>
                    </a:lnTo>
                    <a:lnTo>
                      <a:pt x="55" y="288"/>
                    </a:lnTo>
                    <a:lnTo>
                      <a:pt x="57" y="290"/>
                    </a:lnTo>
                    <a:lnTo>
                      <a:pt x="57" y="290"/>
                    </a:lnTo>
                    <a:lnTo>
                      <a:pt x="57" y="290"/>
                    </a:lnTo>
                    <a:lnTo>
                      <a:pt x="55" y="292"/>
                    </a:lnTo>
                    <a:lnTo>
                      <a:pt x="55" y="292"/>
                    </a:lnTo>
                    <a:lnTo>
                      <a:pt x="57" y="294"/>
                    </a:lnTo>
                    <a:lnTo>
                      <a:pt x="57" y="296"/>
                    </a:lnTo>
                    <a:lnTo>
                      <a:pt x="57" y="296"/>
                    </a:lnTo>
                    <a:lnTo>
                      <a:pt x="59" y="296"/>
                    </a:lnTo>
                    <a:lnTo>
                      <a:pt x="59" y="298"/>
                    </a:lnTo>
                    <a:lnTo>
                      <a:pt x="61" y="298"/>
                    </a:lnTo>
                    <a:lnTo>
                      <a:pt x="61" y="300"/>
                    </a:lnTo>
                    <a:lnTo>
                      <a:pt x="61" y="300"/>
                    </a:lnTo>
                    <a:lnTo>
                      <a:pt x="61" y="300"/>
                    </a:lnTo>
                    <a:lnTo>
                      <a:pt x="61" y="302"/>
                    </a:lnTo>
                    <a:lnTo>
                      <a:pt x="61" y="302"/>
                    </a:lnTo>
                    <a:lnTo>
                      <a:pt x="61" y="302"/>
                    </a:lnTo>
                    <a:lnTo>
                      <a:pt x="61" y="302"/>
                    </a:lnTo>
                    <a:lnTo>
                      <a:pt x="63" y="300"/>
                    </a:lnTo>
                    <a:lnTo>
                      <a:pt x="63" y="300"/>
                    </a:lnTo>
                    <a:lnTo>
                      <a:pt x="65" y="300"/>
                    </a:lnTo>
                    <a:lnTo>
                      <a:pt x="75" y="304"/>
                    </a:lnTo>
                    <a:lnTo>
                      <a:pt x="75" y="304"/>
                    </a:lnTo>
                    <a:lnTo>
                      <a:pt x="75" y="304"/>
                    </a:lnTo>
                    <a:lnTo>
                      <a:pt x="77" y="304"/>
                    </a:lnTo>
                    <a:lnTo>
                      <a:pt x="77" y="304"/>
                    </a:lnTo>
                    <a:lnTo>
                      <a:pt x="81" y="304"/>
                    </a:lnTo>
                    <a:lnTo>
                      <a:pt x="81" y="304"/>
                    </a:lnTo>
                    <a:lnTo>
                      <a:pt x="81" y="304"/>
                    </a:lnTo>
                    <a:lnTo>
                      <a:pt x="81" y="306"/>
                    </a:lnTo>
                    <a:lnTo>
                      <a:pt x="85" y="308"/>
                    </a:lnTo>
                    <a:lnTo>
                      <a:pt x="85" y="310"/>
                    </a:lnTo>
                    <a:lnTo>
                      <a:pt x="87" y="310"/>
                    </a:lnTo>
                    <a:lnTo>
                      <a:pt x="89" y="308"/>
                    </a:lnTo>
                    <a:lnTo>
                      <a:pt x="89" y="308"/>
                    </a:lnTo>
                    <a:lnTo>
                      <a:pt x="91" y="308"/>
                    </a:lnTo>
                    <a:lnTo>
                      <a:pt x="91" y="310"/>
                    </a:lnTo>
                    <a:lnTo>
                      <a:pt x="91" y="310"/>
                    </a:lnTo>
                    <a:lnTo>
                      <a:pt x="91" y="312"/>
                    </a:lnTo>
                    <a:lnTo>
                      <a:pt x="91" y="312"/>
                    </a:lnTo>
                    <a:lnTo>
                      <a:pt x="91" y="312"/>
                    </a:lnTo>
                    <a:lnTo>
                      <a:pt x="91" y="314"/>
                    </a:lnTo>
                    <a:lnTo>
                      <a:pt x="91" y="314"/>
                    </a:lnTo>
                    <a:lnTo>
                      <a:pt x="91" y="314"/>
                    </a:lnTo>
                    <a:lnTo>
                      <a:pt x="93" y="314"/>
                    </a:lnTo>
                    <a:lnTo>
                      <a:pt x="95" y="310"/>
                    </a:lnTo>
                    <a:lnTo>
                      <a:pt x="99" y="312"/>
                    </a:lnTo>
                    <a:lnTo>
                      <a:pt x="99" y="312"/>
                    </a:lnTo>
                    <a:lnTo>
                      <a:pt x="101" y="312"/>
                    </a:lnTo>
                    <a:lnTo>
                      <a:pt x="101" y="312"/>
                    </a:lnTo>
                    <a:lnTo>
                      <a:pt x="101" y="312"/>
                    </a:lnTo>
                    <a:lnTo>
                      <a:pt x="101" y="310"/>
                    </a:lnTo>
                    <a:lnTo>
                      <a:pt x="103" y="310"/>
                    </a:lnTo>
                    <a:lnTo>
                      <a:pt x="103" y="310"/>
                    </a:lnTo>
                    <a:lnTo>
                      <a:pt x="105" y="310"/>
                    </a:lnTo>
                    <a:lnTo>
                      <a:pt x="107" y="310"/>
                    </a:lnTo>
                    <a:lnTo>
                      <a:pt x="107" y="312"/>
                    </a:lnTo>
                    <a:lnTo>
                      <a:pt x="111" y="314"/>
                    </a:lnTo>
                    <a:lnTo>
                      <a:pt x="113" y="316"/>
                    </a:lnTo>
                    <a:lnTo>
                      <a:pt x="111" y="316"/>
                    </a:lnTo>
                    <a:lnTo>
                      <a:pt x="111" y="318"/>
                    </a:lnTo>
                    <a:lnTo>
                      <a:pt x="111" y="318"/>
                    </a:lnTo>
                    <a:lnTo>
                      <a:pt x="111" y="318"/>
                    </a:lnTo>
                    <a:lnTo>
                      <a:pt x="111" y="318"/>
                    </a:lnTo>
                    <a:lnTo>
                      <a:pt x="111" y="318"/>
                    </a:lnTo>
                    <a:lnTo>
                      <a:pt x="111" y="320"/>
                    </a:lnTo>
                    <a:lnTo>
                      <a:pt x="111" y="320"/>
                    </a:lnTo>
                    <a:lnTo>
                      <a:pt x="111" y="320"/>
                    </a:lnTo>
                    <a:lnTo>
                      <a:pt x="109" y="322"/>
                    </a:lnTo>
                    <a:lnTo>
                      <a:pt x="109" y="322"/>
                    </a:lnTo>
                    <a:lnTo>
                      <a:pt x="109" y="322"/>
                    </a:lnTo>
                    <a:lnTo>
                      <a:pt x="107" y="322"/>
                    </a:lnTo>
                    <a:lnTo>
                      <a:pt x="105" y="322"/>
                    </a:lnTo>
                    <a:lnTo>
                      <a:pt x="105" y="322"/>
                    </a:lnTo>
                    <a:lnTo>
                      <a:pt x="105" y="324"/>
                    </a:lnTo>
                    <a:lnTo>
                      <a:pt x="103" y="324"/>
                    </a:lnTo>
                    <a:lnTo>
                      <a:pt x="103" y="324"/>
                    </a:lnTo>
                    <a:lnTo>
                      <a:pt x="103" y="324"/>
                    </a:lnTo>
                    <a:lnTo>
                      <a:pt x="103" y="324"/>
                    </a:lnTo>
                    <a:lnTo>
                      <a:pt x="101" y="324"/>
                    </a:lnTo>
                    <a:lnTo>
                      <a:pt x="103" y="326"/>
                    </a:lnTo>
                    <a:lnTo>
                      <a:pt x="103" y="326"/>
                    </a:lnTo>
                    <a:lnTo>
                      <a:pt x="101" y="326"/>
                    </a:lnTo>
                    <a:lnTo>
                      <a:pt x="101" y="326"/>
                    </a:lnTo>
                    <a:lnTo>
                      <a:pt x="101" y="328"/>
                    </a:lnTo>
                    <a:lnTo>
                      <a:pt x="103" y="328"/>
                    </a:lnTo>
                    <a:lnTo>
                      <a:pt x="103" y="330"/>
                    </a:lnTo>
                    <a:lnTo>
                      <a:pt x="103" y="330"/>
                    </a:lnTo>
                    <a:lnTo>
                      <a:pt x="105" y="330"/>
                    </a:lnTo>
                    <a:lnTo>
                      <a:pt x="105" y="330"/>
                    </a:lnTo>
                    <a:lnTo>
                      <a:pt x="105" y="330"/>
                    </a:lnTo>
                    <a:lnTo>
                      <a:pt x="105" y="330"/>
                    </a:lnTo>
                    <a:lnTo>
                      <a:pt x="107" y="330"/>
                    </a:lnTo>
                    <a:lnTo>
                      <a:pt x="109" y="330"/>
                    </a:lnTo>
                    <a:lnTo>
                      <a:pt x="109" y="332"/>
                    </a:lnTo>
                    <a:lnTo>
                      <a:pt x="109" y="332"/>
                    </a:lnTo>
                    <a:lnTo>
                      <a:pt x="109" y="332"/>
                    </a:lnTo>
                    <a:lnTo>
                      <a:pt x="109" y="332"/>
                    </a:lnTo>
                    <a:lnTo>
                      <a:pt x="109" y="334"/>
                    </a:lnTo>
                    <a:lnTo>
                      <a:pt x="111" y="334"/>
                    </a:lnTo>
                    <a:lnTo>
                      <a:pt x="113" y="336"/>
                    </a:lnTo>
                    <a:lnTo>
                      <a:pt x="113" y="336"/>
                    </a:lnTo>
                    <a:lnTo>
                      <a:pt x="115" y="338"/>
                    </a:lnTo>
                    <a:lnTo>
                      <a:pt x="115" y="340"/>
                    </a:lnTo>
                    <a:lnTo>
                      <a:pt x="117" y="340"/>
                    </a:lnTo>
                    <a:lnTo>
                      <a:pt x="117" y="342"/>
                    </a:lnTo>
                    <a:lnTo>
                      <a:pt x="119" y="342"/>
                    </a:lnTo>
                    <a:lnTo>
                      <a:pt x="119" y="346"/>
                    </a:lnTo>
                    <a:lnTo>
                      <a:pt x="119" y="346"/>
                    </a:lnTo>
                    <a:lnTo>
                      <a:pt x="119" y="348"/>
                    </a:lnTo>
                    <a:lnTo>
                      <a:pt x="121" y="348"/>
                    </a:lnTo>
                    <a:lnTo>
                      <a:pt x="123" y="350"/>
                    </a:lnTo>
                    <a:lnTo>
                      <a:pt x="125" y="350"/>
                    </a:lnTo>
                    <a:lnTo>
                      <a:pt x="127" y="348"/>
                    </a:lnTo>
                    <a:lnTo>
                      <a:pt x="129" y="346"/>
                    </a:lnTo>
                    <a:lnTo>
                      <a:pt x="129" y="346"/>
                    </a:lnTo>
                    <a:lnTo>
                      <a:pt x="129" y="346"/>
                    </a:lnTo>
                    <a:lnTo>
                      <a:pt x="131" y="344"/>
                    </a:lnTo>
                    <a:lnTo>
                      <a:pt x="131" y="344"/>
                    </a:lnTo>
                    <a:lnTo>
                      <a:pt x="131" y="342"/>
                    </a:lnTo>
                    <a:lnTo>
                      <a:pt x="133" y="342"/>
                    </a:lnTo>
                    <a:lnTo>
                      <a:pt x="133" y="342"/>
                    </a:lnTo>
                    <a:lnTo>
                      <a:pt x="135" y="342"/>
                    </a:lnTo>
                    <a:lnTo>
                      <a:pt x="135" y="342"/>
                    </a:lnTo>
                    <a:lnTo>
                      <a:pt x="135" y="342"/>
                    </a:lnTo>
                    <a:lnTo>
                      <a:pt x="135" y="340"/>
                    </a:lnTo>
                    <a:lnTo>
                      <a:pt x="137" y="340"/>
                    </a:lnTo>
                    <a:lnTo>
                      <a:pt x="137" y="342"/>
                    </a:lnTo>
                    <a:lnTo>
                      <a:pt x="137" y="342"/>
                    </a:lnTo>
                    <a:lnTo>
                      <a:pt x="137" y="340"/>
                    </a:lnTo>
                    <a:lnTo>
                      <a:pt x="137" y="340"/>
                    </a:lnTo>
                    <a:lnTo>
                      <a:pt x="139" y="340"/>
                    </a:lnTo>
                    <a:lnTo>
                      <a:pt x="139" y="340"/>
                    </a:lnTo>
                    <a:lnTo>
                      <a:pt x="139" y="340"/>
                    </a:lnTo>
                    <a:lnTo>
                      <a:pt x="139" y="340"/>
                    </a:lnTo>
                    <a:lnTo>
                      <a:pt x="139" y="342"/>
                    </a:lnTo>
                    <a:lnTo>
                      <a:pt x="141" y="342"/>
                    </a:lnTo>
                    <a:lnTo>
                      <a:pt x="141" y="340"/>
                    </a:lnTo>
                    <a:lnTo>
                      <a:pt x="141" y="340"/>
                    </a:lnTo>
                    <a:lnTo>
                      <a:pt x="139" y="340"/>
                    </a:lnTo>
                    <a:lnTo>
                      <a:pt x="139" y="338"/>
                    </a:lnTo>
                    <a:lnTo>
                      <a:pt x="139" y="336"/>
                    </a:lnTo>
                    <a:lnTo>
                      <a:pt x="139" y="336"/>
                    </a:lnTo>
                    <a:lnTo>
                      <a:pt x="137" y="334"/>
                    </a:lnTo>
                    <a:lnTo>
                      <a:pt x="137" y="334"/>
                    </a:lnTo>
                    <a:lnTo>
                      <a:pt x="135" y="332"/>
                    </a:lnTo>
                    <a:lnTo>
                      <a:pt x="135" y="332"/>
                    </a:lnTo>
                    <a:lnTo>
                      <a:pt x="135" y="330"/>
                    </a:lnTo>
                    <a:lnTo>
                      <a:pt x="133" y="328"/>
                    </a:lnTo>
                    <a:lnTo>
                      <a:pt x="133" y="326"/>
                    </a:lnTo>
                    <a:lnTo>
                      <a:pt x="135" y="326"/>
                    </a:lnTo>
                    <a:lnTo>
                      <a:pt x="135" y="326"/>
                    </a:lnTo>
                    <a:lnTo>
                      <a:pt x="137" y="326"/>
                    </a:lnTo>
                    <a:lnTo>
                      <a:pt x="139" y="328"/>
                    </a:lnTo>
                    <a:lnTo>
                      <a:pt x="139" y="328"/>
                    </a:lnTo>
                    <a:lnTo>
                      <a:pt x="145" y="328"/>
                    </a:lnTo>
                    <a:lnTo>
                      <a:pt x="145" y="328"/>
                    </a:lnTo>
                    <a:lnTo>
                      <a:pt x="145" y="330"/>
                    </a:lnTo>
                    <a:lnTo>
                      <a:pt x="147" y="330"/>
                    </a:lnTo>
                    <a:lnTo>
                      <a:pt x="147" y="330"/>
                    </a:lnTo>
                    <a:lnTo>
                      <a:pt x="149" y="330"/>
                    </a:lnTo>
                    <a:lnTo>
                      <a:pt x="149" y="330"/>
                    </a:lnTo>
                    <a:lnTo>
                      <a:pt x="149" y="330"/>
                    </a:lnTo>
                    <a:lnTo>
                      <a:pt x="149" y="330"/>
                    </a:lnTo>
                    <a:lnTo>
                      <a:pt x="149" y="332"/>
                    </a:lnTo>
                    <a:lnTo>
                      <a:pt x="149" y="332"/>
                    </a:lnTo>
                    <a:lnTo>
                      <a:pt x="151" y="332"/>
                    </a:lnTo>
                    <a:lnTo>
                      <a:pt x="151" y="334"/>
                    </a:lnTo>
                    <a:lnTo>
                      <a:pt x="153" y="334"/>
                    </a:lnTo>
                    <a:lnTo>
                      <a:pt x="155" y="334"/>
                    </a:lnTo>
                    <a:lnTo>
                      <a:pt x="157" y="334"/>
                    </a:lnTo>
                    <a:lnTo>
                      <a:pt x="155" y="334"/>
                    </a:lnTo>
                    <a:lnTo>
                      <a:pt x="155" y="336"/>
                    </a:lnTo>
                    <a:lnTo>
                      <a:pt x="155" y="336"/>
                    </a:lnTo>
                    <a:lnTo>
                      <a:pt x="155" y="336"/>
                    </a:lnTo>
                    <a:lnTo>
                      <a:pt x="155" y="336"/>
                    </a:lnTo>
                    <a:lnTo>
                      <a:pt x="155" y="338"/>
                    </a:lnTo>
                    <a:lnTo>
                      <a:pt x="157" y="338"/>
                    </a:lnTo>
                    <a:lnTo>
                      <a:pt x="157" y="338"/>
                    </a:lnTo>
                    <a:lnTo>
                      <a:pt x="157" y="338"/>
                    </a:lnTo>
                    <a:lnTo>
                      <a:pt x="159" y="338"/>
                    </a:lnTo>
                    <a:lnTo>
                      <a:pt x="159" y="338"/>
                    </a:lnTo>
                    <a:lnTo>
                      <a:pt x="161" y="340"/>
                    </a:lnTo>
                    <a:lnTo>
                      <a:pt x="161" y="340"/>
                    </a:lnTo>
                    <a:lnTo>
                      <a:pt x="161" y="340"/>
                    </a:lnTo>
                    <a:lnTo>
                      <a:pt x="161" y="340"/>
                    </a:lnTo>
                    <a:lnTo>
                      <a:pt x="161" y="340"/>
                    </a:lnTo>
                    <a:lnTo>
                      <a:pt x="163" y="338"/>
                    </a:lnTo>
                    <a:lnTo>
                      <a:pt x="165" y="338"/>
                    </a:lnTo>
                    <a:lnTo>
                      <a:pt x="169" y="338"/>
                    </a:lnTo>
                    <a:lnTo>
                      <a:pt x="171" y="338"/>
                    </a:lnTo>
                    <a:lnTo>
                      <a:pt x="171" y="338"/>
                    </a:lnTo>
                    <a:lnTo>
                      <a:pt x="173" y="336"/>
                    </a:lnTo>
                    <a:lnTo>
                      <a:pt x="173" y="334"/>
                    </a:lnTo>
                    <a:lnTo>
                      <a:pt x="173" y="334"/>
                    </a:lnTo>
                    <a:lnTo>
                      <a:pt x="173" y="334"/>
                    </a:lnTo>
                    <a:lnTo>
                      <a:pt x="175" y="334"/>
                    </a:lnTo>
                    <a:lnTo>
                      <a:pt x="175" y="334"/>
                    </a:lnTo>
                    <a:lnTo>
                      <a:pt x="175" y="336"/>
                    </a:lnTo>
                    <a:lnTo>
                      <a:pt x="175" y="336"/>
                    </a:lnTo>
                    <a:lnTo>
                      <a:pt x="175" y="336"/>
                    </a:lnTo>
                    <a:lnTo>
                      <a:pt x="175" y="336"/>
                    </a:lnTo>
                    <a:lnTo>
                      <a:pt x="175" y="336"/>
                    </a:lnTo>
                    <a:lnTo>
                      <a:pt x="175" y="338"/>
                    </a:lnTo>
                    <a:lnTo>
                      <a:pt x="175" y="338"/>
                    </a:lnTo>
                    <a:lnTo>
                      <a:pt x="175" y="340"/>
                    </a:lnTo>
                    <a:lnTo>
                      <a:pt x="175" y="340"/>
                    </a:lnTo>
                    <a:lnTo>
                      <a:pt x="175" y="340"/>
                    </a:lnTo>
                    <a:lnTo>
                      <a:pt x="175" y="342"/>
                    </a:lnTo>
                    <a:lnTo>
                      <a:pt x="175" y="342"/>
                    </a:lnTo>
                    <a:lnTo>
                      <a:pt x="173" y="344"/>
                    </a:lnTo>
                    <a:lnTo>
                      <a:pt x="171" y="344"/>
                    </a:lnTo>
                    <a:lnTo>
                      <a:pt x="169" y="344"/>
                    </a:lnTo>
                    <a:lnTo>
                      <a:pt x="169" y="344"/>
                    </a:lnTo>
                    <a:lnTo>
                      <a:pt x="169" y="346"/>
                    </a:lnTo>
                    <a:lnTo>
                      <a:pt x="169" y="346"/>
                    </a:lnTo>
                    <a:lnTo>
                      <a:pt x="171" y="348"/>
                    </a:lnTo>
                    <a:lnTo>
                      <a:pt x="171" y="350"/>
                    </a:lnTo>
                    <a:lnTo>
                      <a:pt x="171" y="350"/>
                    </a:lnTo>
                    <a:lnTo>
                      <a:pt x="173" y="348"/>
                    </a:lnTo>
                    <a:lnTo>
                      <a:pt x="173" y="348"/>
                    </a:lnTo>
                    <a:lnTo>
                      <a:pt x="173" y="348"/>
                    </a:lnTo>
                    <a:lnTo>
                      <a:pt x="175" y="350"/>
                    </a:lnTo>
                    <a:lnTo>
                      <a:pt x="175" y="350"/>
                    </a:lnTo>
                    <a:lnTo>
                      <a:pt x="175" y="350"/>
                    </a:lnTo>
                    <a:lnTo>
                      <a:pt x="175" y="350"/>
                    </a:lnTo>
                    <a:lnTo>
                      <a:pt x="175" y="350"/>
                    </a:lnTo>
                    <a:lnTo>
                      <a:pt x="175" y="350"/>
                    </a:lnTo>
                    <a:lnTo>
                      <a:pt x="175" y="352"/>
                    </a:lnTo>
                    <a:lnTo>
                      <a:pt x="175" y="352"/>
                    </a:lnTo>
                    <a:lnTo>
                      <a:pt x="175" y="352"/>
                    </a:lnTo>
                    <a:lnTo>
                      <a:pt x="177" y="354"/>
                    </a:lnTo>
                    <a:lnTo>
                      <a:pt x="177" y="354"/>
                    </a:lnTo>
                    <a:lnTo>
                      <a:pt x="177" y="356"/>
                    </a:lnTo>
                    <a:lnTo>
                      <a:pt x="181" y="358"/>
                    </a:lnTo>
                    <a:lnTo>
                      <a:pt x="183" y="358"/>
                    </a:lnTo>
                    <a:lnTo>
                      <a:pt x="183" y="358"/>
                    </a:lnTo>
                    <a:lnTo>
                      <a:pt x="185" y="356"/>
                    </a:lnTo>
                    <a:lnTo>
                      <a:pt x="185" y="356"/>
                    </a:lnTo>
                    <a:lnTo>
                      <a:pt x="189" y="356"/>
                    </a:lnTo>
                    <a:lnTo>
                      <a:pt x="189" y="356"/>
                    </a:lnTo>
                    <a:lnTo>
                      <a:pt x="189" y="356"/>
                    </a:lnTo>
                    <a:lnTo>
                      <a:pt x="189" y="354"/>
                    </a:lnTo>
                    <a:lnTo>
                      <a:pt x="189" y="354"/>
                    </a:lnTo>
                    <a:lnTo>
                      <a:pt x="189" y="354"/>
                    </a:lnTo>
                    <a:lnTo>
                      <a:pt x="189" y="354"/>
                    </a:lnTo>
                    <a:lnTo>
                      <a:pt x="189" y="354"/>
                    </a:lnTo>
                    <a:lnTo>
                      <a:pt x="189" y="352"/>
                    </a:lnTo>
                    <a:lnTo>
                      <a:pt x="189" y="354"/>
                    </a:lnTo>
                    <a:lnTo>
                      <a:pt x="189" y="354"/>
                    </a:lnTo>
                    <a:lnTo>
                      <a:pt x="193" y="354"/>
                    </a:lnTo>
                    <a:lnTo>
                      <a:pt x="193" y="356"/>
                    </a:lnTo>
                    <a:lnTo>
                      <a:pt x="193" y="358"/>
                    </a:lnTo>
                    <a:lnTo>
                      <a:pt x="195" y="358"/>
                    </a:lnTo>
                    <a:lnTo>
                      <a:pt x="197" y="358"/>
                    </a:lnTo>
                    <a:lnTo>
                      <a:pt x="199" y="360"/>
                    </a:lnTo>
                    <a:lnTo>
                      <a:pt x="199" y="360"/>
                    </a:lnTo>
                    <a:lnTo>
                      <a:pt x="199" y="360"/>
                    </a:lnTo>
                    <a:lnTo>
                      <a:pt x="201" y="360"/>
                    </a:lnTo>
                    <a:lnTo>
                      <a:pt x="201" y="360"/>
                    </a:lnTo>
                    <a:lnTo>
                      <a:pt x="201" y="362"/>
                    </a:lnTo>
                    <a:lnTo>
                      <a:pt x="201" y="362"/>
                    </a:lnTo>
                    <a:lnTo>
                      <a:pt x="203" y="362"/>
                    </a:lnTo>
                    <a:lnTo>
                      <a:pt x="203" y="362"/>
                    </a:lnTo>
                    <a:lnTo>
                      <a:pt x="205" y="362"/>
                    </a:lnTo>
                    <a:lnTo>
                      <a:pt x="203" y="362"/>
                    </a:lnTo>
                    <a:lnTo>
                      <a:pt x="205" y="362"/>
                    </a:lnTo>
                    <a:lnTo>
                      <a:pt x="207" y="362"/>
                    </a:lnTo>
                    <a:lnTo>
                      <a:pt x="211" y="364"/>
                    </a:lnTo>
                    <a:lnTo>
                      <a:pt x="213" y="364"/>
                    </a:lnTo>
                    <a:lnTo>
                      <a:pt x="215" y="362"/>
                    </a:lnTo>
                    <a:lnTo>
                      <a:pt x="215" y="362"/>
                    </a:lnTo>
                    <a:lnTo>
                      <a:pt x="215" y="364"/>
                    </a:lnTo>
                    <a:lnTo>
                      <a:pt x="215" y="364"/>
                    </a:lnTo>
                    <a:lnTo>
                      <a:pt x="215" y="366"/>
                    </a:lnTo>
                    <a:lnTo>
                      <a:pt x="217" y="366"/>
                    </a:lnTo>
                    <a:lnTo>
                      <a:pt x="215" y="368"/>
                    </a:lnTo>
                    <a:lnTo>
                      <a:pt x="215" y="370"/>
                    </a:lnTo>
                    <a:lnTo>
                      <a:pt x="217" y="372"/>
                    </a:lnTo>
                    <a:lnTo>
                      <a:pt x="217" y="374"/>
                    </a:lnTo>
                    <a:lnTo>
                      <a:pt x="217" y="376"/>
                    </a:lnTo>
                    <a:lnTo>
                      <a:pt x="219" y="376"/>
                    </a:lnTo>
                    <a:lnTo>
                      <a:pt x="219" y="376"/>
                    </a:lnTo>
                    <a:lnTo>
                      <a:pt x="221" y="378"/>
                    </a:lnTo>
                    <a:lnTo>
                      <a:pt x="221" y="378"/>
                    </a:lnTo>
                    <a:lnTo>
                      <a:pt x="221" y="378"/>
                    </a:lnTo>
                    <a:lnTo>
                      <a:pt x="223" y="378"/>
                    </a:lnTo>
                    <a:lnTo>
                      <a:pt x="223" y="380"/>
                    </a:lnTo>
                    <a:lnTo>
                      <a:pt x="223" y="380"/>
                    </a:lnTo>
                    <a:lnTo>
                      <a:pt x="225" y="378"/>
                    </a:lnTo>
                    <a:lnTo>
                      <a:pt x="225" y="378"/>
                    </a:lnTo>
                    <a:lnTo>
                      <a:pt x="225" y="380"/>
                    </a:lnTo>
                    <a:lnTo>
                      <a:pt x="227" y="380"/>
                    </a:lnTo>
                    <a:lnTo>
                      <a:pt x="227" y="382"/>
                    </a:lnTo>
                    <a:lnTo>
                      <a:pt x="227" y="382"/>
                    </a:lnTo>
                    <a:lnTo>
                      <a:pt x="227" y="384"/>
                    </a:lnTo>
                    <a:lnTo>
                      <a:pt x="227" y="384"/>
                    </a:lnTo>
                    <a:lnTo>
                      <a:pt x="229" y="388"/>
                    </a:lnTo>
                    <a:lnTo>
                      <a:pt x="229" y="390"/>
                    </a:lnTo>
                    <a:lnTo>
                      <a:pt x="229" y="390"/>
                    </a:lnTo>
                    <a:lnTo>
                      <a:pt x="233" y="390"/>
                    </a:lnTo>
                    <a:lnTo>
                      <a:pt x="235" y="392"/>
                    </a:lnTo>
                    <a:lnTo>
                      <a:pt x="233" y="392"/>
                    </a:lnTo>
                    <a:lnTo>
                      <a:pt x="233" y="394"/>
                    </a:lnTo>
                    <a:lnTo>
                      <a:pt x="235" y="394"/>
                    </a:lnTo>
                    <a:lnTo>
                      <a:pt x="235" y="396"/>
                    </a:lnTo>
                    <a:lnTo>
                      <a:pt x="235" y="398"/>
                    </a:lnTo>
                    <a:lnTo>
                      <a:pt x="235" y="398"/>
                    </a:lnTo>
                    <a:lnTo>
                      <a:pt x="235" y="398"/>
                    </a:lnTo>
                    <a:lnTo>
                      <a:pt x="237" y="398"/>
                    </a:lnTo>
                    <a:lnTo>
                      <a:pt x="239" y="398"/>
                    </a:lnTo>
                    <a:lnTo>
                      <a:pt x="239" y="398"/>
                    </a:lnTo>
                    <a:lnTo>
                      <a:pt x="239" y="398"/>
                    </a:lnTo>
                    <a:lnTo>
                      <a:pt x="241" y="398"/>
                    </a:lnTo>
                    <a:lnTo>
                      <a:pt x="241" y="398"/>
                    </a:lnTo>
                    <a:lnTo>
                      <a:pt x="241" y="398"/>
                    </a:lnTo>
                    <a:lnTo>
                      <a:pt x="243" y="398"/>
                    </a:lnTo>
                    <a:lnTo>
                      <a:pt x="245" y="398"/>
                    </a:lnTo>
                    <a:lnTo>
                      <a:pt x="245" y="396"/>
                    </a:lnTo>
                    <a:lnTo>
                      <a:pt x="245" y="396"/>
                    </a:lnTo>
                    <a:lnTo>
                      <a:pt x="245" y="394"/>
                    </a:lnTo>
                    <a:lnTo>
                      <a:pt x="245" y="394"/>
                    </a:lnTo>
                    <a:lnTo>
                      <a:pt x="245" y="394"/>
                    </a:lnTo>
                    <a:lnTo>
                      <a:pt x="247" y="394"/>
                    </a:lnTo>
                    <a:lnTo>
                      <a:pt x="247" y="394"/>
                    </a:lnTo>
                    <a:lnTo>
                      <a:pt x="247" y="394"/>
                    </a:lnTo>
                    <a:lnTo>
                      <a:pt x="245" y="394"/>
                    </a:lnTo>
                    <a:lnTo>
                      <a:pt x="247" y="392"/>
                    </a:lnTo>
                    <a:lnTo>
                      <a:pt x="247" y="390"/>
                    </a:lnTo>
                    <a:lnTo>
                      <a:pt x="249" y="390"/>
                    </a:lnTo>
                    <a:lnTo>
                      <a:pt x="249" y="390"/>
                    </a:lnTo>
                    <a:lnTo>
                      <a:pt x="249" y="390"/>
                    </a:lnTo>
                    <a:lnTo>
                      <a:pt x="251" y="390"/>
                    </a:lnTo>
                    <a:lnTo>
                      <a:pt x="251" y="390"/>
                    </a:lnTo>
                    <a:lnTo>
                      <a:pt x="253" y="388"/>
                    </a:lnTo>
                    <a:lnTo>
                      <a:pt x="253" y="388"/>
                    </a:lnTo>
                    <a:lnTo>
                      <a:pt x="257" y="384"/>
                    </a:lnTo>
                    <a:lnTo>
                      <a:pt x="257" y="384"/>
                    </a:lnTo>
                    <a:lnTo>
                      <a:pt x="257" y="384"/>
                    </a:lnTo>
                    <a:lnTo>
                      <a:pt x="257" y="384"/>
                    </a:lnTo>
                    <a:lnTo>
                      <a:pt x="259" y="384"/>
                    </a:lnTo>
                    <a:lnTo>
                      <a:pt x="259" y="386"/>
                    </a:lnTo>
                    <a:lnTo>
                      <a:pt x="259" y="386"/>
                    </a:lnTo>
                    <a:lnTo>
                      <a:pt x="261" y="386"/>
                    </a:lnTo>
                    <a:lnTo>
                      <a:pt x="261" y="388"/>
                    </a:lnTo>
                    <a:lnTo>
                      <a:pt x="261" y="392"/>
                    </a:lnTo>
                    <a:lnTo>
                      <a:pt x="263" y="394"/>
                    </a:lnTo>
                    <a:lnTo>
                      <a:pt x="263" y="394"/>
                    </a:lnTo>
                    <a:lnTo>
                      <a:pt x="263" y="394"/>
                    </a:lnTo>
                    <a:lnTo>
                      <a:pt x="265" y="394"/>
                    </a:lnTo>
                    <a:lnTo>
                      <a:pt x="267" y="394"/>
                    </a:lnTo>
                    <a:lnTo>
                      <a:pt x="267" y="396"/>
                    </a:lnTo>
                    <a:lnTo>
                      <a:pt x="267" y="396"/>
                    </a:lnTo>
                    <a:lnTo>
                      <a:pt x="267" y="396"/>
                    </a:lnTo>
                    <a:lnTo>
                      <a:pt x="267" y="398"/>
                    </a:lnTo>
                    <a:lnTo>
                      <a:pt x="269" y="398"/>
                    </a:lnTo>
                    <a:lnTo>
                      <a:pt x="271" y="398"/>
                    </a:lnTo>
                    <a:lnTo>
                      <a:pt x="271" y="398"/>
                    </a:lnTo>
                    <a:lnTo>
                      <a:pt x="273" y="398"/>
                    </a:lnTo>
                    <a:lnTo>
                      <a:pt x="273" y="398"/>
                    </a:lnTo>
                    <a:lnTo>
                      <a:pt x="273" y="400"/>
                    </a:lnTo>
                    <a:lnTo>
                      <a:pt x="273" y="400"/>
                    </a:lnTo>
                    <a:lnTo>
                      <a:pt x="275" y="404"/>
                    </a:lnTo>
                    <a:lnTo>
                      <a:pt x="275" y="404"/>
                    </a:lnTo>
                    <a:lnTo>
                      <a:pt x="273" y="404"/>
                    </a:lnTo>
                    <a:lnTo>
                      <a:pt x="273" y="404"/>
                    </a:lnTo>
                    <a:lnTo>
                      <a:pt x="273" y="406"/>
                    </a:lnTo>
                    <a:lnTo>
                      <a:pt x="273" y="406"/>
                    </a:lnTo>
                    <a:lnTo>
                      <a:pt x="275" y="406"/>
                    </a:lnTo>
                    <a:lnTo>
                      <a:pt x="275" y="406"/>
                    </a:lnTo>
                    <a:lnTo>
                      <a:pt x="275" y="406"/>
                    </a:lnTo>
                    <a:lnTo>
                      <a:pt x="275" y="406"/>
                    </a:lnTo>
                    <a:lnTo>
                      <a:pt x="275" y="408"/>
                    </a:lnTo>
                    <a:lnTo>
                      <a:pt x="275" y="408"/>
                    </a:lnTo>
                    <a:lnTo>
                      <a:pt x="275" y="408"/>
                    </a:lnTo>
                    <a:lnTo>
                      <a:pt x="273" y="410"/>
                    </a:lnTo>
                    <a:lnTo>
                      <a:pt x="273" y="412"/>
                    </a:lnTo>
                    <a:lnTo>
                      <a:pt x="273" y="412"/>
                    </a:lnTo>
                    <a:lnTo>
                      <a:pt x="273" y="412"/>
                    </a:lnTo>
                    <a:lnTo>
                      <a:pt x="277" y="412"/>
                    </a:lnTo>
                    <a:lnTo>
                      <a:pt x="277" y="412"/>
                    </a:lnTo>
                    <a:lnTo>
                      <a:pt x="277" y="412"/>
                    </a:lnTo>
                    <a:lnTo>
                      <a:pt x="279" y="410"/>
                    </a:lnTo>
                    <a:lnTo>
                      <a:pt x="279" y="410"/>
                    </a:lnTo>
                    <a:lnTo>
                      <a:pt x="281" y="410"/>
                    </a:lnTo>
                    <a:lnTo>
                      <a:pt x="283" y="410"/>
                    </a:lnTo>
                    <a:lnTo>
                      <a:pt x="285" y="412"/>
                    </a:lnTo>
                    <a:lnTo>
                      <a:pt x="287" y="414"/>
                    </a:lnTo>
                    <a:lnTo>
                      <a:pt x="287" y="412"/>
                    </a:lnTo>
                    <a:lnTo>
                      <a:pt x="289" y="410"/>
                    </a:lnTo>
                    <a:lnTo>
                      <a:pt x="289" y="408"/>
                    </a:lnTo>
                    <a:lnTo>
                      <a:pt x="289" y="408"/>
                    </a:lnTo>
                    <a:lnTo>
                      <a:pt x="289" y="408"/>
                    </a:lnTo>
                    <a:lnTo>
                      <a:pt x="289" y="406"/>
                    </a:lnTo>
                    <a:lnTo>
                      <a:pt x="291" y="404"/>
                    </a:lnTo>
                    <a:lnTo>
                      <a:pt x="291" y="404"/>
                    </a:lnTo>
                    <a:lnTo>
                      <a:pt x="293" y="404"/>
                    </a:lnTo>
                    <a:lnTo>
                      <a:pt x="293" y="404"/>
                    </a:lnTo>
                    <a:lnTo>
                      <a:pt x="293" y="402"/>
                    </a:lnTo>
                    <a:lnTo>
                      <a:pt x="295" y="402"/>
                    </a:lnTo>
                    <a:lnTo>
                      <a:pt x="297" y="402"/>
                    </a:lnTo>
                    <a:lnTo>
                      <a:pt x="299" y="402"/>
                    </a:lnTo>
                    <a:lnTo>
                      <a:pt x="299" y="400"/>
                    </a:lnTo>
                    <a:lnTo>
                      <a:pt x="299" y="400"/>
                    </a:lnTo>
                    <a:lnTo>
                      <a:pt x="299" y="398"/>
                    </a:lnTo>
                    <a:lnTo>
                      <a:pt x="299" y="398"/>
                    </a:lnTo>
                    <a:lnTo>
                      <a:pt x="299" y="398"/>
                    </a:lnTo>
                    <a:lnTo>
                      <a:pt x="299" y="398"/>
                    </a:lnTo>
                    <a:lnTo>
                      <a:pt x="303" y="398"/>
                    </a:lnTo>
                    <a:lnTo>
                      <a:pt x="305" y="398"/>
                    </a:lnTo>
                    <a:lnTo>
                      <a:pt x="305" y="398"/>
                    </a:lnTo>
                    <a:lnTo>
                      <a:pt x="305" y="398"/>
                    </a:lnTo>
                    <a:lnTo>
                      <a:pt x="309" y="400"/>
                    </a:lnTo>
                    <a:lnTo>
                      <a:pt x="311" y="400"/>
                    </a:lnTo>
                    <a:lnTo>
                      <a:pt x="311" y="400"/>
                    </a:lnTo>
                    <a:lnTo>
                      <a:pt x="313" y="398"/>
                    </a:lnTo>
                    <a:lnTo>
                      <a:pt x="313" y="398"/>
                    </a:lnTo>
                    <a:lnTo>
                      <a:pt x="313" y="398"/>
                    </a:lnTo>
                    <a:lnTo>
                      <a:pt x="313" y="398"/>
                    </a:lnTo>
                    <a:lnTo>
                      <a:pt x="315" y="398"/>
                    </a:lnTo>
                    <a:lnTo>
                      <a:pt x="317" y="398"/>
                    </a:lnTo>
                    <a:lnTo>
                      <a:pt x="317" y="398"/>
                    </a:lnTo>
                    <a:lnTo>
                      <a:pt x="321" y="402"/>
                    </a:lnTo>
                    <a:lnTo>
                      <a:pt x="323" y="402"/>
                    </a:lnTo>
                    <a:lnTo>
                      <a:pt x="323" y="404"/>
                    </a:lnTo>
                    <a:lnTo>
                      <a:pt x="325" y="404"/>
                    </a:lnTo>
                    <a:lnTo>
                      <a:pt x="325" y="404"/>
                    </a:lnTo>
                    <a:lnTo>
                      <a:pt x="327" y="404"/>
                    </a:lnTo>
                    <a:lnTo>
                      <a:pt x="327" y="404"/>
                    </a:lnTo>
                    <a:lnTo>
                      <a:pt x="327" y="406"/>
                    </a:lnTo>
                    <a:lnTo>
                      <a:pt x="329" y="406"/>
                    </a:lnTo>
                    <a:lnTo>
                      <a:pt x="329" y="404"/>
                    </a:lnTo>
                    <a:lnTo>
                      <a:pt x="331" y="404"/>
                    </a:lnTo>
                    <a:lnTo>
                      <a:pt x="333" y="402"/>
                    </a:lnTo>
                    <a:lnTo>
                      <a:pt x="333" y="400"/>
                    </a:lnTo>
                    <a:lnTo>
                      <a:pt x="333" y="400"/>
                    </a:lnTo>
                    <a:lnTo>
                      <a:pt x="335" y="400"/>
                    </a:lnTo>
                    <a:lnTo>
                      <a:pt x="335" y="400"/>
                    </a:lnTo>
                    <a:lnTo>
                      <a:pt x="337" y="400"/>
                    </a:lnTo>
                    <a:lnTo>
                      <a:pt x="335" y="398"/>
                    </a:lnTo>
                    <a:lnTo>
                      <a:pt x="335" y="398"/>
                    </a:lnTo>
                    <a:lnTo>
                      <a:pt x="333" y="398"/>
                    </a:lnTo>
                    <a:lnTo>
                      <a:pt x="335" y="396"/>
                    </a:lnTo>
                    <a:lnTo>
                      <a:pt x="335" y="396"/>
                    </a:lnTo>
                    <a:lnTo>
                      <a:pt x="337" y="396"/>
                    </a:lnTo>
                    <a:lnTo>
                      <a:pt x="339" y="396"/>
                    </a:lnTo>
                    <a:lnTo>
                      <a:pt x="339" y="396"/>
                    </a:lnTo>
                    <a:lnTo>
                      <a:pt x="341" y="398"/>
                    </a:lnTo>
                    <a:lnTo>
                      <a:pt x="341" y="398"/>
                    </a:lnTo>
                    <a:lnTo>
                      <a:pt x="341" y="398"/>
                    </a:lnTo>
                    <a:lnTo>
                      <a:pt x="343" y="396"/>
                    </a:lnTo>
                    <a:lnTo>
                      <a:pt x="345" y="394"/>
                    </a:lnTo>
                    <a:lnTo>
                      <a:pt x="345" y="394"/>
                    </a:lnTo>
                    <a:lnTo>
                      <a:pt x="345" y="394"/>
                    </a:lnTo>
                    <a:lnTo>
                      <a:pt x="349" y="396"/>
                    </a:lnTo>
                    <a:lnTo>
                      <a:pt x="353" y="396"/>
                    </a:lnTo>
                    <a:lnTo>
                      <a:pt x="353" y="396"/>
                    </a:lnTo>
                    <a:lnTo>
                      <a:pt x="355" y="396"/>
                    </a:lnTo>
                    <a:lnTo>
                      <a:pt x="357" y="396"/>
                    </a:lnTo>
                    <a:lnTo>
                      <a:pt x="357" y="396"/>
                    </a:lnTo>
                    <a:lnTo>
                      <a:pt x="357" y="396"/>
                    </a:lnTo>
                    <a:lnTo>
                      <a:pt x="361" y="396"/>
                    </a:lnTo>
                    <a:lnTo>
                      <a:pt x="363" y="396"/>
                    </a:lnTo>
                    <a:lnTo>
                      <a:pt x="363" y="396"/>
                    </a:lnTo>
                    <a:lnTo>
                      <a:pt x="363" y="398"/>
                    </a:lnTo>
                    <a:lnTo>
                      <a:pt x="365" y="398"/>
                    </a:lnTo>
                    <a:lnTo>
                      <a:pt x="365" y="398"/>
                    </a:lnTo>
                    <a:lnTo>
                      <a:pt x="365" y="398"/>
                    </a:lnTo>
                    <a:lnTo>
                      <a:pt x="365" y="398"/>
                    </a:lnTo>
                    <a:lnTo>
                      <a:pt x="367" y="398"/>
                    </a:lnTo>
                    <a:lnTo>
                      <a:pt x="369" y="400"/>
                    </a:lnTo>
                    <a:lnTo>
                      <a:pt x="369" y="402"/>
                    </a:lnTo>
                    <a:lnTo>
                      <a:pt x="369" y="400"/>
                    </a:lnTo>
                    <a:lnTo>
                      <a:pt x="371" y="400"/>
                    </a:lnTo>
                    <a:lnTo>
                      <a:pt x="371" y="400"/>
                    </a:lnTo>
                    <a:lnTo>
                      <a:pt x="371" y="400"/>
                    </a:lnTo>
                    <a:lnTo>
                      <a:pt x="373" y="400"/>
                    </a:lnTo>
                    <a:lnTo>
                      <a:pt x="375" y="402"/>
                    </a:lnTo>
                    <a:lnTo>
                      <a:pt x="377" y="402"/>
                    </a:lnTo>
                    <a:lnTo>
                      <a:pt x="379" y="404"/>
                    </a:lnTo>
                    <a:lnTo>
                      <a:pt x="381" y="406"/>
                    </a:lnTo>
                    <a:lnTo>
                      <a:pt x="381" y="408"/>
                    </a:lnTo>
                    <a:lnTo>
                      <a:pt x="381" y="410"/>
                    </a:lnTo>
                    <a:lnTo>
                      <a:pt x="383" y="412"/>
                    </a:lnTo>
                    <a:lnTo>
                      <a:pt x="385" y="412"/>
                    </a:lnTo>
                    <a:lnTo>
                      <a:pt x="387" y="414"/>
                    </a:lnTo>
                    <a:lnTo>
                      <a:pt x="387" y="414"/>
                    </a:lnTo>
                    <a:lnTo>
                      <a:pt x="389" y="414"/>
                    </a:lnTo>
                    <a:lnTo>
                      <a:pt x="389" y="414"/>
                    </a:lnTo>
                    <a:lnTo>
                      <a:pt x="391" y="414"/>
                    </a:lnTo>
                    <a:lnTo>
                      <a:pt x="391" y="414"/>
                    </a:lnTo>
                    <a:lnTo>
                      <a:pt x="391" y="414"/>
                    </a:lnTo>
                    <a:lnTo>
                      <a:pt x="391" y="414"/>
                    </a:lnTo>
                    <a:lnTo>
                      <a:pt x="391" y="416"/>
                    </a:lnTo>
                    <a:lnTo>
                      <a:pt x="391" y="416"/>
                    </a:lnTo>
                    <a:lnTo>
                      <a:pt x="393" y="416"/>
                    </a:lnTo>
                    <a:lnTo>
                      <a:pt x="395" y="416"/>
                    </a:lnTo>
                    <a:lnTo>
                      <a:pt x="397" y="416"/>
                    </a:lnTo>
                    <a:lnTo>
                      <a:pt x="399" y="418"/>
                    </a:lnTo>
                    <a:lnTo>
                      <a:pt x="401" y="420"/>
                    </a:lnTo>
                    <a:lnTo>
                      <a:pt x="405" y="420"/>
                    </a:lnTo>
                    <a:lnTo>
                      <a:pt x="407" y="420"/>
                    </a:lnTo>
                    <a:lnTo>
                      <a:pt x="407" y="420"/>
                    </a:lnTo>
                    <a:lnTo>
                      <a:pt x="409" y="420"/>
                    </a:lnTo>
                    <a:lnTo>
                      <a:pt x="411" y="422"/>
                    </a:lnTo>
                    <a:lnTo>
                      <a:pt x="411" y="422"/>
                    </a:lnTo>
                    <a:lnTo>
                      <a:pt x="413" y="422"/>
                    </a:lnTo>
                    <a:lnTo>
                      <a:pt x="413" y="422"/>
                    </a:lnTo>
                    <a:lnTo>
                      <a:pt x="415" y="422"/>
                    </a:lnTo>
                    <a:lnTo>
                      <a:pt x="417" y="422"/>
                    </a:lnTo>
                    <a:lnTo>
                      <a:pt x="417" y="422"/>
                    </a:lnTo>
                    <a:lnTo>
                      <a:pt x="417" y="422"/>
                    </a:lnTo>
                    <a:lnTo>
                      <a:pt x="419" y="424"/>
                    </a:lnTo>
                    <a:lnTo>
                      <a:pt x="419" y="424"/>
                    </a:lnTo>
                    <a:lnTo>
                      <a:pt x="419" y="424"/>
                    </a:lnTo>
                    <a:lnTo>
                      <a:pt x="421" y="426"/>
                    </a:lnTo>
                    <a:lnTo>
                      <a:pt x="421" y="426"/>
                    </a:lnTo>
                    <a:lnTo>
                      <a:pt x="423" y="424"/>
                    </a:lnTo>
                    <a:lnTo>
                      <a:pt x="423" y="424"/>
                    </a:lnTo>
                    <a:lnTo>
                      <a:pt x="421" y="422"/>
                    </a:lnTo>
                    <a:lnTo>
                      <a:pt x="421" y="422"/>
                    </a:lnTo>
                    <a:lnTo>
                      <a:pt x="421" y="422"/>
                    </a:lnTo>
                    <a:lnTo>
                      <a:pt x="421" y="420"/>
                    </a:lnTo>
                    <a:lnTo>
                      <a:pt x="421" y="420"/>
                    </a:lnTo>
                    <a:lnTo>
                      <a:pt x="421" y="418"/>
                    </a:lnTo>
                    <a:lnTo>
                      <a:pt x="419" y="418"/>
                    </a:lnTo>
                    <a:lnTo>
                      <a:pt x="417" y="416"/>
                    </a:lnTo>
                    <a:lnTo>
                      <a:pt x="417" y="416"/>
                    </a:lnTo>
                    <a:lnTo>
                      <a:pt x="415" y="414"/>
                    </a:lnTo>
                    <a:lnTo>
                      <a:pt x="415" y="414"/>
                    </a:lnTo>
                    <a:lnTo>
                      <a:pt x="415" y="414"/>
                    </a:lnTo>
                    <a:lnTo>
                      <a:pt x="413" y="414"/>
                    </a:lnTo>
                    <a:lnTo>
                      <a:pt x="413" y="414"/>
                    </a:lnTo>
                    <a:lnTo>
                      <a:pt x="413" y="414"/>
                    </a:lnTo>
                    <a:lnTo>
                      <a:pt x="415" y="412"/>
                    </a:lnTo>
                    <a:lnTo>
                      <a:pt x="415" y="410"/>
                    </a:lnTo>
                    <a:lnTo>
                      <a:pt x="415" y="408"/>
                    </a:lnTo>
                    <a:lnTo>
                      <a:pt x="417" y="406"/>
                    </a:lnTo>
                    <a:lnTo>
                      <a:pt x="415" y="400"/>
                    </a:lnTo>
                    <a:lnTo>
                      <a:pt x="415" y="398"/>
                    </a:lnTo>
                    <a:lnTo>
                      <a:pt x="415" y="398"/>
                    </a:lnTo>
                    <a:lnTo>
                      <a:pt x="415" y="398"/>
                    </a:lnTo>
                    <a:lnTo>
                      <a:pt x="413" y="396"/>
                    </a:lnTo>
                    <a:lnTo>
                      <a:pt x="413" y="396"/>
                    </a:lnTo>
                    <a:lnTo>
                      <a:pt x="413" y="396"/>
                    </a:lnTo>
                    <a:lnTo>
                      <a:pt x="413" y="392"/>
                    </a:lnTo>
                    <a:lnTo>
                      <a:pt x="413" y="392"/>
                    </a:lnTo>
                    <a:lnTo>
                      <a:pt x="411" y="388"/>
                    </a:lnTo>
                    <a:lnTo>
                      <a:pt x="413" y="386"/>
                    </a:lnTo>
                    <a:lnTo>
                      <a:pt x="417" y="382"/>
                    </a:lnTo>
                    <a:lnTo>
                      <a:pt x="417" y="380"/>
                    </a:lnTo>
                    <a:lnTo>
                      <a:pt x="417" y="378"/>
                    </a:lnTo>
                    <a:lnTo>
                      <a:pt x="417" y="378"/>
                    </a:lnTo>
                    <a:lnTo>
                      <a:pt x="419" y="378"/>
                    </a:lnTo>
                    <a:lnTo>
                      <a:pt x="419" y="378"/>
                    </a:lnTo>
                    <a:lnTo>
                      <a:pt x="421" y="378"/>
                    </a:lnTo>
                    <a:lnTo>
                      <a:pt x="423" y="372"/>
                    </a:lnTo>
                    <a:lnTo>
                      <a:pt x="423" y="372"/>
                    </a:lnTo>
                    <a:lnTo>
                      <a:pt x="425" y="372"/>
                    </a:lnTo>
                    <a:lnTo>
                      <a:pt x="425" y="372"/>
                    </a:lnTo>
                    <a:lnTo>
                      <a:pt x="425" y="370"/>
                    </a:lnTo>
                    <a:lnTo>
                      <a:pt x="425" y="370"/>
                    </a:lnTo>
                    <a:lnTo>
                      <a:pt x="427" y="368"/>
                    </a:lnTo>
                    <a:lnTo>
                      <a:pt x="427" y="368"/>
                    </a:lnTo>
                    <a:lnTo>
                      <a:pt x="429" y="366"/>
                    </a:lnTo>
                    <a:lnTo>
                      <a:pt x="433" y="360"/>
                    </a:lnTo>
                    <a:lnTo>
                      <a:pt x="435" y="358"/>
                    </a:lnTo>
                    <a:lnTo>
                      <a:pt x="437" y="356"/>
                    </a:lnTo>
                    <a:lnTo>
                      <a:pt x="439" y="354"/>
                    </a:lnTo>
                    <a:lnTo>
                      <a:pt x="449" y="342"/>
                    </a:lnTo>
                    <a:lnTo>
                      <a:pt x="451" y="340"/>
                    </a:lnTo>
                    <a:lnTo>
                      <a:pt x="455" y="340"/>
                    </a:lnTo>
                    <a:lnTo>
                      <a:pt x="455" y="340"/>
                    </a:lnTo>
                    <a:lnTo>
                      <a:pt x="455" y="338"/>
                    </a:lnTo>
                    <a:lnTo>
                      <a:pt x="459" y="334"/>
                    </a:lnTo>
                    <a:lnTo>
                      <a:pt x="461" y="334"/>
                    </a:lnTo>
                    <a:lnTo>
                      <a:pt x="461" y="332"/>
                    </a:lnTo>
                    <a:lnTo>
                      <a:pt x="461" y="330"/>
                    </a:lnTo>
                    <a:lnTo>
                      <a:pt x="463" y="330"/>
                    </a:lnTo>
                    <a:lnTo>
                      <a:pt x="463" y="330"/>
                    </a:lnTo>
                    <a:lnTo>
                      <a:pt x="465" y="328"/>
                    </a:lnTo>
                    <a:lnTo>
                      <a:pt x="473" y="328"/>
                    </a:lnTo>
                    <a:lnTo>
                      <a:pt x="475" y="328"/>
                    </a:lnTo>
                    <a:lnTo>
                      <a:pt x="477" y="326"/>
                    </a:lnTo>
                    <a:lnTo>
                      <a:pt x="477" y="324"/>
                    </a:lnTo>
                    <a:lnTo>
                      <a:pt x="477" y="324"/>
                    </a:lnTo>
                    <a:lnTo>
                      <a:pt x="477" y="322"/>
                    </a:lnTo>
                    <a:lnTo>
                      <a:pt x="477" y="322"/>
                    </a:lnTo>
                    <a:lnTo>
                      <a:pt x="481" y="320"/>
                    </a:lnTo>
                    <a:lnTo>
                      <a:pt x="481" y="320"/>
                    </a:lnTo>
                    <a:lnTo>
                      <a:pt x="481" y="318"/>
                    </a:lnTo>
                    <a:lnTo>
                      <a:pt x="481" y="318"/>
                    </a:lnTo>
                    <a:lnTo>
                      <a:pt x="481" y="318"/>
                    </a:lnTo>
                    <a:lnTo>
                      <a:pt x="481" y="314"/>
                    </a:lnTo>
                    <a:lnTo>
                      <a:pt x="483" y="312"/>
                    </a:lnTo>
                    <a:lnTo>
                      <a:pt x="481" y="312"/>
                    </a:lnTo>
                    <a:lnTo>
                      <a:pt x="481" y="310"/>
                    </a:lnTo>
                    <a:lnTo>
                      <a:pt x="481" y="308"/>
                    </a:lnTo>
                    <a:lnTo>
                      <a:pt x="481" y="306"/>
                    </a:lnTo>
                    <a:lnTo>
                      <a:pt x="479" y="306"/>
                    </a:lnTo>
                    <a:lnTo>
                      <a:pt x="477" y="306"/>
                    </a:lnTo>
                    <a:lnTo>
                      <a:pt x="477" y="304"/>
                    </a:lnTo>
                    <a:lnTo>
                      <a:pt x="477" y="302"/>
                    </a:lnTo>
                    <a:lnTo>
                      <a:pt x="477" y="302"/>
                    </a:lnTo>
                    <a:lnTo>
                      <a:pt x="477" y="302"/>
                    </a:lnTo>
                    <a:lnTo>
                      <a:pt x="475" y="302"/>
                    </a:lnTo>
                    <a:lnTo>
                      <a:pt x="475" y="300"/>
                    </a:lnTo>
                    <a:lnTo>
                      <a:pt x="475" y="300"/>
                    </a:lnTo>
                    <a:lnTo>
                      <a:pt x="475" y="298"/>
                    </a:lnTo>
                    <a:close/>
                  </a:path>
                </a:pathLst>
              </a:custGeom>
              <a:solidFill>
                <a:srgbClr val="73C37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30" name="Freeform 76"/>
              <p:cNvSpPr>
                <a:spLocks/>
              </p:cNvSpPr>
              <p:nvPr>
                <p:custDataLst>
                  <p:tags r:id="rId156"/>
                </p:custDataLst>
              </p:nvPr>
            </p:nvSpPr>
            <p:spPr bwMode="gray">
              <a:xfrm>
                <a:off x="5030349" y="3330413"/>
                <a:ext cx="476356" cy="241353"/>
              </a:xfrm>
              <a:custGeom>
                <a:avLst/>
                <a:gdLst>
                  <a:gd name="T0" fmla="*/ 149 w 150"/>
                  <a:gd name="T1" fmla="*/ 20 h 76"/>
                  <a:gd name="T2" fmla="*/ 144 w 150"/>
                  <a:gd name="T3" fmla="*/ 16 h 76"/>
                  <a:gd name="T4" fmla="*/ 138 w 150"/>
                  <a:gd name="T5" fmla="*/ 14 h 76"/>
                  <a:gd name="T6" fmla="*/ 130 w 150"/>
                  <a:gd name="T7" fmla="*/ 7 h 76"/>
                  <a:gd name="T8" fmla="*/ 119 w 150"/>
                  <a:gd name="T9" fmla="*/ 6 h 76"/>
                  <a:gd name="T10" fmla="*/ 113 w 150"/>
                  <a:gd name="T11" fmla="*/ 10 h 76"/>
                  <a:gd name="T12" fmla="*/ 105 w 150"/>
                  <a:gd name="T13" fmla="*/ 6 h 76"/>
                  <a:gd name="T14" fmla="*/ 99 w 150"/>
                  <a:gd name="T15" fmla="*/ 5 h 76"/>
                  <a:gd name="T16" fmla="*/ 92 w 150"/>
                  <a:gd name="T17" fmla="*/ 3 h 76"/>
                  <a:gd name="T18" fmla="*/ 85 w 150"/>
                  <a:gd name="T19" fmla="*/ 10 h 76"/>
                  <a:gd name="T20" fmla="*/ 82 w 150"/>
                  <a:gd name="T21" fmla="*/ 6 h 76"/>
                  <a:gd name="T22" fmla="*/ 76 w 150"/>
                  <a:gd name="T23" fmla="*/ 0 h 76"/>
                  <a:gd name="T24" fmla="*/ 67 w 150"/>
                  <a:gd name="T25" fmla="*/ 7 h 76"/>
                  <a:gd name="T26" fmla="*/ 58 w 150"/>
                  <a:gd name="T27" fmla="*/ 6 h 76"/>
                  <a:gd name="T28" fmla="*/ 54 w 150"/>
                  <a:gd name="T29" fmla="*/ 6 h 76"/>
                  <a:gd name="T30" fmla="*/ 50 w 150"/>
                  <a:gd name="T31" fmla="*/ 12 h 76"/>
                  <a:gd name="T32" fmla="*/ 41 w 150"/>
                  <a:gd name="T33" fmla="*/ 12 h 76"/>
                  <a:gd name="T34" fmla="*/ 35 w 150"/>
                  <a:gd name="T35" fmla="*/ 19 h 76"/>
                  <a:gd name="T36" fmla="*/ 0 w 150"/>
                  <a:gd name="T37" fmla="*/ 45 h 76"/>
                  <a:gd name="T38" fmla="*/ 1 w 150"/>
                  <a:gd name="T39" fmla="*/ 51 h 76"/>
                  <a:gd name="T40" fmla="*/ 0 w 150"/>
                  <a:gd name="T41" fmla="*/ 58 h 76"/>
                  <a:gd name="T42" fmla="*/ 10 w 150"/>
                  <a:gd name="T43" fmla="*/ 65 h 76"/>
                  <a:gd name="T44" fmla="*/ 17 w 150"/>
                  <a:gd name="T45" fmla="*/ 71 h 76"/>
                  <a:gd name="T46" fmla="*/ 23 w 150"/>
                  <a:gd name="T47" fmla="*/ 75 h 76"/>
                  <a:gd name="T48" fmla="*/ 34 w 150"/>
                  <a:gd name="T49" fmla="*/ 75 h 76"/>
                  <a:gd name="T50" fmla="*/ 38 w 150"/>
                  <a:gd name="T51" fmla="*/ 75 h 76"/>
                  <a:gd name="T52" fmla="*/ 47 w 150"/>
                  <a:gd name="T53" fmla="*/ 72 h 76"/>
                  <a:gd name="T54" fmla="*/ 51 w 150"/>
                  <a:gd name="T55" fmla="*/ 68 h 76"/>
                  <a:gd name="T56" fmla="*/ 54 w 150"/>
                  <a:gd name="T57" fmla="*/ 65 h 76"/>
                  <a:gd name="T58" fmla="*/ 65 w 150"/>
                  <a:gd name="T59" fmla="*/ 65 h 76"/>
                  <a:gd name="T60" fmla="*/ 75 w 150"/>
                  <a:gd name="T61" fmla="*/ 61 h 76"/>
                  <a:gd name="T62" fmla="*/ 85 w 150"/>
                  <a:gd name="T63" fmla="*/ 54 h 76"/>
                  <a:gd name="T64" fmla="*/ 92 w 150"/>
                  <a:gd name="T65" fmla="*/ 47 h 76"/>
                  <a:gd name="T66" fmla="*/ 96 w 150"/>
                  <a:gd name="T67" fmla="*/ 41 h 76"/>
                  <a:gd name="T68" fmla="*/ 102 w 150"/>
                  <a:gd name="T69" fmla="*/ 41 h 76"/>
                  <a:gd name="T70" fmla="*/ 113 w 150"/>
                  <a:gd name="T71" fmla="*/ 41 h 76"/>
                  <a:gd name="T72" fmla="*/ 119 w 150"/>
                  <a:gd name="T73" fmla="*/ 41 h 76"/>
                  <a:gd name="T74" fmla="*/ 124 w 150"/>
                  <a:gd name="T75" fmla="*/ 45 h 76"/>
                  <a:gd name="T76" fmla="*/ 134 w 150"/>
                  <a:gd name="T77" fmla="*/ 45 h 76"/>
                  <a:gd name="T78" fmla="*/ 140 w 150"/>
                  <a:gd name="T79" fmla="*/ 44 h 76"/>
                  <a:gd name="T80" fmla="*/ 140 w 150"/>
                  <a:gd name="T81" fmla="*/ 37 h 76"/>
                  <a:gd name="T82" fmla="*/ 145 w 150"/>
                  <a:gd name="T83" fmla="*/ 34 h 76"/>
                  <a:gd name="T84" fmla="*/ 146 w 150"/>
                  <a:gd name="T85" fmla="*/ 2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76">
                    <a:moveTo>
                      <a:pt x="150" y="25"/>
                    </a:moveTo>
                    <a:cubicBezTo>
                      <a:pt x="149" y="20"/>
                      <a:pt x="149" y="20"/>
                      <a:pt x="149" y="20"/>
                    </a:cubicBezTo>
                    <a:cubicBezTo>
                      <a:pt x="146" y="17"/>
                      <a:pt x="146" y="17"/>
                      <a:pt x="146" y="17"/>
                    </a:cubicBezTo>
                    <a:cubicBezTo>
                      <a:pt x="144" y="16"/>
                      <a:pt x="144" y="16"/>
                      <a:pt x="144" y="16"/>
                    </a:cubicBezTo>
                    <a:cubicBezTo>
                      <a:pt x="142" y="16"/>
                      <a:pt x="142" y="16"/>
                      <a:pt x="142" y="16"/>
                    </a:cubicBezTo>
                    <a:cubicBezTo>
                      <a:pt x="138" y="14"/>
                      <a:pt x="138" y="14"/>
                      <a:pt x="138" y="14"/>
                    </a:cubicBezTo>
                    <a:cubicBezTo>
                      <a:pt x="135" y="9"/>
                      <a:pt x="135" y="9"/>
                      <a:pt x="135" y="9"/>
                    </a:cubicBezTo>
                    <a:cubicBezTo>
                      <a:pt x="130" y="7"/>
                      <a:pt x="130" y="7"/>
                      <a:pt x="130" y="7"/>
                    </a:cubicBezTo>
                    <a:cubicBezTo>
                      <a:pt x="124" y="6"/>
                      <a:pt x="124" y="6"/>
                      <a:pt x="124" y="6"/>
                    </a:cubicBezTo>
                    <a:cubicBezTo>
                      <a:pt x="119" y="6"/>
                      <a:pt x="119" y="6"/>
                      <a:pt x="119" y="6"/>
                    </a:cubicBezTo>
                    <a:cubicBezTo>
                      <a:pt x="115" y="7"/>
                      <a:pt x="115" y="7"/>
                      <a:pt x="115" y="7"/>
                    </a:cubicBezTo>
                    <a:cubicBezTo>
                      <a:pt x="113" y="10"/>
                      <a:pt x="113" y="10"/>
                      <a:pt x="113" y="10"/>
                    </a:cubicBezTo>
                    <a:cubicBezTo>
                      <a:pt x="107" y="8"/>
                      <a:pt x="107" y="8"/>
                      <a:pt x="107" y="8"/>
                    </a:cubicBezTo>
                    <a:cubicBezTo>
                      <a:pt x="105" y="6"/>
                      <a:pt x="105" y="6"/>
                      <a:pt x="105" y="6"/>
                    </a:cubicBezTo>
                    <a:cubicBezTo>
                      <a:pt x="102" y="2"/>
                      <a:pt x="102" y="2"/>
                      <a:pt x="102" y="2"/>
                    </a:cubicBezTo>
                    <a:cubicBezTo>
                      <a:pt x="99" y="5"/>
                      <a:pt x="99" y="5"/>
                      <a:pt x="99" y="5"/>
                    </a:cubicBezTo>
                    <a:cubicBezTo>
                      <a:pt x="96" y="6"/>
                      <a:pt x="96" y="6"/>
                      <a:pt x="96" y="6"/>
                    </a:cubicBezTo>
                    <a:cubicBezTo>
                      <a:pt x="92" y="3"/>
                      <a:pt x="92" y="3"/>
                      <a:pt x="92" y="3"/>
                    </a:cubicBezTo>
                    <a:cubicBezTo>
                      <a:pt x="85" y="6"/>
                      <a:pt x="85" y="6"/>
                      <a:pt x="85" y="6"/>
                    </a:cubicBezTo>
                    <a:cubicBezTo>
                      <a:pt x="85" y="10"/>
                      <a:pt x="85" y="10"/>
                      <a:pt x="85" y="10"/>
                    </a:cubicBezTo>
                    <a:cubicBezTo>
                      <a:pt x="83" y="7"/>
                      <a:pt x="83" y="7"/>
                      <a:pt x="83" y="7"/>
                    </a:cubicBezTo>
                    <a:cubicBezTo>
                      <a:pt x="82" y="6"/>
                      <a:pt x="82" y="6"/>
                      <a:pt x="82" y="6"/>
                    </a:cubicBezTo>
                    <a:cubicBezTo>
                      <a:pt x="78" y="3"/>
                      <a:pt x="78" y="3"/>
                      <a:pt x="78" y="3"/>
                    </a:cubicBezTo>
                    <a:cubicBezTo>
                      <a:pt x="76" y="0"/>
                      <a:pt x="76" y="0"/>
                      <a:pt x="76" y="0"/>
                    </a:cubicBezTo>
                    <a:cubicBezTo>
                      <a:pt x="70" y="4"/>
                      <a:pt x="70" y="4"/>
                      <a:pt x="70" y="4"/>
                    </a:cubicBezTo>
                    <a:cubicBezTo>
                      <a:pt x="67" y="7"/>
                      <a:pt x="67" y="7"/>
                      <a:pt x="67" y="7"/>
                    </a:cubicBezTo>
                    <a:cubicBezTo>
                      <a:pt x="65" y="6"/>
                      <a:pt x="65" y="6"/>
                      <a:pt x="65" y="6"/>
                    </a:cubicBezTo>
                    <a:cubicBezTo>
                      <a:pt x="58" y="6"/>
                      <a:pt x="58" y="6"/>
                      <a:pt x="58" y="6"/>
                    </a:cubicBezTo>
                    <a:cubicBezTo>
                      <a:pt x="57" y="6"/>
                      <a:pt x="57" y="6"/>
                      <a:pt x="57" y="6"/>
                    </a:cubicBezTo>
                    <a:cubicBezTo>
                      <a:pt x="56" y="6"/>
                      <a:pt x="54" y="6"/>
                      <a:pt x="54" y="6"/>
                    </a:cubicBezTo>
                    <a:cubicBezTo>
                      <a:pt x="52" y="6"/>
                      <a:pt x="50" y="8"/>
                      <a:pt x="50" y="10"/>
                    </a:cubicBezTo>
                    <a:cubicBezTo>
                      <a:pt x="50" y="12"/>
                      <a:pt x="50" y="12"/>
                      <a:pt x="50" y="12"/>
                    </a:cubicBezTo>
                    <a:cubicBezTo>
                      <a:pt x="50" y="12"/>
                      <a:pt x="50" y="12"/>
                      <a:pt x="49" y="12"/>
                    </a:cubicBezTo>
                    <a:cubicBezTo>
                      <a:pt x="47" y="12"/>
                      <a:pt x="45" y="12"/>
                      <a:pt x="41" y="12"/>
                    </a:cubicBezTo>
                    <a:cubicBezTo>
                      <a:pt x="39" y="12"/>
                      <a:pt x="39" y="12"/>
                      <a:pt x="39" y="12"/>
                    </a:cubicBezTo>
                    <a:cubicBezTo>
                      <a:pt x="37" y="17"/>
                      <a:pt x="35" y="19"/>
                      <a:pt x="35" y="19"/>
                    </a:cubicBezTo>
                    <a:cubicBezTo>
                      <a:pt x="34" y="21"/>
                      <a:pt x="34" y="21"/>
                      <a:pt x="32" y="23"/>
                    </a:cubicBezTo>
                    <a:cubicBezTo>
                      <a:pt x="30" y="37"/>
                      <a:pt x="9" y="42"/>
                      <a:pt x="0" y="45"/>
                    </a:cubicBezTo>
                    <a:cubicBezTo>
                      <a:pt x="2" y="48"/>
                      <a:pt x="2" y="48"/>
                      <a:pt x="2" y="48"/>
                    </a:cubicBezTo>
                    <a:cubicBezTo>
                      <a:pt x="1" y="51"/>
                      <a:pt x="1" y="51"/>
                      <a:pt x="1" y="51"/>
                    </a:cubicBezTo>
                    <a:cubicBezTo>
                      <a:pt x="5" y="56"/>
                      <a:pt x="5" y="56"/>
                      <a:pt x="5" y="56"/>
                    </a:cubicBezTo>
                    <a:cubicBezTo>
                      <a:pt x="0" y="58"/>
                      <a:pt x="0" y="58"/>
                      <a:pt x="0" y="58"/>
                    </a:cubicBezTo>
                    <a:cubicBezTo>
                      <a:pt x="4" y="65"/>
                      <a:pt x="4" y="65"/>
                      <a:pt x="4" y="65"/>
                    </a:cubicBezTo>
                    <a:cubicBezTo>
                      <a:pt x="10" y="65"/>
                      <a:pt x="10" y="65"/>
                      <a:pt x="10" y="65"/>
                    </a:cubicBezTo>
                    <a:cubicBezTo>
                      <a:pt x="13" y="68"/>
                      <a:pt x="13" y="68"/>
                      <a:pt x="13" y="68"/>
                    </a:cubicBezTo>
                    <a:cubicBezTo>
                      <a:pt x="17" y="71"/>
                      <a:pt x="17" y="71"/>
                      <a:pt x="17" y="71"/>
                    </a:cubicBezTo>
                    <a:cubicBezTo>
                      <a:pt x="20" y="73"/>
                      <a:pt x="20" y="73"/>
                      <a:pt x="20" y="73"/>
                    </a:cubicBezTo>
                    <a:cubicBezTo>
                      <a:pt x="23" y="75"/>
                      <a:pt x="23" y="75"/>
                      <a:pt x="23" y="75"/>
                    </a:cubicBezTo>
                    <a:cubicBezTo>
                      <a:pt x="30" y="76"/>
                      <a:pt x="30" y="76"/>
                      <a:pt x="30" y="76"/>
                    </a:cubicBezTo>
                    <a:cubicBezTo>
                      <a:pt x="34" y="75"/>
                      <a:pt x="34" y="75"/>
                      <a:pt x="34" y="75"/>
                    </a:cubicBezTo>
                    <a:cubicBezTo>
                      <a:pt x="37" y="75"/>
                      <a:pt x="37" y="75"/>
                      <a:pt x="37" y="75"/>
                    </a:cubicBezTo>
                    <a:cubicBezTo>
                      <a:pt x="38" y="75"/>
                      <a:pt x="38" y="75"/>
                      <a:pt x="38" y="75"/>
                    </a:cubicBezTo>
                    <a:cubicBezTo>
                      <a:pt x="44" y="72"/>
                      <a:pt x="44" y="72"/>
                      <a:pt x="44" y="72"/>
                    </a:cubicBezTo>
                    <a:cubicBezTo>
                      <a:pt x="47" y="72"/>
                      <a:pt x="47" y="72"/>
                      <a:pt x="47" y="72"/>
                    </a:cubicBezTo>
                    <a:cubicBezTo>
                      <a:pt x="50" y="71"/>
                      <a:pt x="50" y="71"/>
                      <a:pt x="50" y="71"/>
                    </a:cubicBezTo>
                    <a:cubicBezTo>
                      <a:pt x="51" y="68"/>
                      <a:pt x="51" y="68"/>
                      <a:pt x="51" y="68"/>
                    </a:cubicBezTo>
                    <a:cubicBezTo>
                      <a:pt x="53" y="65"/>
                      <a:pt x="53" y="65"/>
                      <a:pt x="53" y="65"/>
                    </a:cubicBezTo>
                    <a:cubicBezTo>
                      <a:pt x="54" y="65"/>
                      <a:pt x="54" y="65"/>
                      <a:pt x="54" y="65"/>
                    </a:cubicBezTo>
                    <a:cubicBezTo>
                      <a:pt x="61" y="65"/>
                      <a:pt x="61" y="65"/>
                      <a:pt x="61" y="65"/>
                    </a:cubicBezTo>
                    <a:cubicBezTo>
                      <a:pt x="65" y="65"/>
                      <a:pt x="65" y="65"/>
                      <a:pt x="65" y="65"/>
                    </a:cubicBezTo>
                    <a:cubicBezTo>
                      <a:pt x="68" y="65"/>
                      <a:pt x="68" y="65"/>
                      <a:pt x="68" y="65"/>
                    </a:cubicBezTo>
                    <a:cubicBezTo>
                      <a:pt x="75" y="61"/>
                      <a:pt x="75" y="61"/>
                      <a:pt x="75" y="61"/>
                    </a:cubicBezTo>
                    <a:cubicBezTo>
                      <a:pt x="78" y="58"/>
                      <a:pt x="78" y="58"/>
                      <a:pt x="78" y="58"/>
                    </a:cubicBezTo>
                    <a:cubicBezTo>
                      <a:pt x="85" y="54"/>
                      <a:pt x="85" y="54"/>
                      <a:pt x="85" y="54"/>
                    </a:cubicBezTo>
                    <a:cubicBezTo>
                      <a:pt x="89" y="51"/>
                      <a:pt x="89" y="51"/>
                      <a:pt x="89" y="51"/>
                    </a:cubicBezTo>
                    <a:cubicBezTo>
                      <a:pt x="92" y="47"/>
                      <a:pt x="92" y="47"/>
                      <a:pt x="92" y="47"/>
                    </a:cubicBezTo>
                    <a:cubicBezTo>
                      <a:pt x="92" y="44"/>
                      <a:pt x="92" y="44"/>
                      <a:pt x="92" y="44"/>
                    </a:cubicBezTo>
                    <a:cubicBezTo>
                      <a:pt x="96" y="41"/>
                      <a:pt x="96" y="41"/>
                      <a:pt x="96" y="41"/>
                    </a:cubicBezTo>
                    <a:cubicBezTo>
                      <a:pt x="99" y="41"/>
                      <a:pt x="99" y="41"/>
                      <a:pt x="99" y="41"/>
                    </a:cubicBezTo>
                    <a:cubicBezTo>
                      <a:pt x="102" y="41"/>
                      <a:pt x="102" y="41"/>
                      <a:pt x="102" y="41"/>
                    </a:cubicBezTo>
                    <a:cubicBezTo>
                      <a:pt x="109" y="41"/>
                      <a:pt x="109" y="41"/>
                      <a:pt x="109" y="41"/>
                    </a:cubicBezTo>
                    <a:cubicBezTo>
                      <a:pt x="113" y="41"/>
                      <a:pt x="113" y="41"/>
                      <a:pt x="113" y="41"/>
                    </a:cubicBezTo>
                    <a:cubicBezTo>
                      <a:pt x="114" y="41"/>
                      <a:pt x="114" y="41"/>
                      <a:pt x="114" y="41"/>
                    </a:cubicBezTo>
                    <a:cubicBezTo>
                      <a:pt x="119" y="41"/>
                      <a:pt x="119" y="41"/>
                      <a:pt x="119" y="41"/>
                    </a:cubicBezTo>
                    <a:cubicBezTo>
                      <a:pt x="119" y="46"/>
                      <a:pt x="119" y="46"/>
                      <a:pt x="119" y="46"/>
                    </a:cubicBezTo>
                    <a:cubicBezTo>
                      <a:pt x="124" y="45"/>
                      <a:pt x="124" y="45"/>
                      <a:pt x="124" y="45"/>
                    </a:cubicBezTo>
                    <a:cubicBezTo>
                      <a:pt x="128" y="49"/>
                      <a:pt x="128" y="49"/>
                      <a:pt x="128" y="49"/>
                    </a:cubicBezTo>
                    <a:cubicBezTo>
                      <a:pt x="134" y="45"/>
                      <a:pt x="134" y="45"/>
                      <a:pt x="134" y="45"/>
                    </a:cubicBezTo>
                    <a:cubicBezTo>
                      <a:pt x="140" y="48"/>
                      <a:pt x="140" y="48"/>
                      <a:pt x="140" y="48"/>
                    </a:cubicBezTo>
                    <a:cubicBezTo>
                      <a:pt x="140" y="44"/>
                      <a:pt x="140" y="44"/>
                      <a:pt x="140" y="44"/>
                    </a:cubicBezTo>
                    <a:cubicBezTo>
                      <a:pt x="139" y="41"/>
                      <a:pt x="139" y="41"/>
                      <a:pt x="139" y="41"/>
                    </a:cubicBezTo>
                    <a:cubicBezTo>
                      <a:pt x="140" y="37"/>
                      <a:pt x="140" y="37"/>
                      <a:pt x="140" y="37"/>
                    </a:cubicBezTo>
                    <a:cubicBezTo>
                      <a:pt x="142" y="34"/>
                      <a:pt x="142" y="34"/>
                      <a:pt x="142" y="34"/>
                    </a:cubicBezTo>
                    <a:cubicBezTo>
                      <a:pt x="145" y="34"/>
                      <a:pt x="145" y="34"/>
                      <a:pt x="145" y="34"/>
                    </a:cubicBezTo>
                    <a:cubicBezTo>
                      <a:pt x="144" y="30"/>
                      <a:pt x="144" y="30"/>
                      <a:pt x="144" y="30"/>
                    </a:cubicBezTo>
                    <a:cubicBezTo>
                      <a:pt x="146" y="28"/>
                      <a:pt x="146" y="28"/>
                      <a:pt x="146" y="28"/>
                    </a:cubicBezTo>
                    <a:lnTo>
                      <a:pt x="150" y="25"/>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grpSp>
        <p:sp>
          <p:nvSpPr>
            <p:cNvPr id="910" name="Rechteck 909"/>
            <p:cNvSpPr/>
            <p:nvPr>
              <p:custDataLst>
                <p:tags r:id="rId86"/>
              </p:custDataLst>
            </p:nvPr>
          </p:nvSpPr>
          <p:spPr bwMode="gray">
            <a:xfrm>
              <a:off x="2915820" y="397590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9</a:t>
              </a:r>
            </a:p>
          </p:txBody>
        </p:sp>
        <p:sp>
          <p:nvSpPr>
            <p:cNvPr id="911" name="Rechteck 910"/>
            <p:cNvSpPr/>
            <p:nvPr>
              <p:custDataLst>
                <p:tags r:id="rId87"/>
              </p:custDataLst>
            </p:nvPr>
          </p:nvSpPr>
          <p:spPr bwMode="gray">
            <a:xfrm>
              <a:off x="2876836" y="4119938"/>
              <a:ext cx="182964"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3</a:t>
              </a:r>
            </a:p>
          </p:txBody>
        </p:sp>
        <p:sp>
          <p:nvSpPr>
            <p:cNvPr id="916" name="Rechteck 915"/>
            <p:cNvSpPr/>
            <p:nvPr>
              <p:custDataLst>
                <p:tags r:id="rId88"/>
              </p:custDataLst>
            </p:nvPr>
          </p:nvSpPr>
          <p:spPr bwMode="gray">
            <a:xfrm>
              <a:off x="2303752" y="368787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20</a:t>
              </a:r>
            </a:p>
          </p:txBody>
        </p:sp>
        <p:sp>
          <p:nvSpPr>
            <p:cNvPr id="917" name="Rechteck 916"/>
            <p:cNvSpPr/>
            <p:nvPr>
              <p:custDataLst>
                <p:tags r:id="rId89"/>
              </p:custDataLst>
            </p:nvPr>
          </p:nvSpPr>
          <p:spPr bwMode="gray">
            <a:xfrm>
              <a:off x="2159732" y="383190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9</a:t>
              </a:r>
            </a:p>
          </p:txBody>
        </p:sp>
        <p:sp>
          <p:nvSpPr>
            <p:cNvPr id="919" name="Ellipse 918"/>
            <p:cNvSpPr/>
            <p:nvPr>
              <p:custDataLst>
                <p:tags r:id="rId90"/>
              </p:custDataLst>
            </p:nvPr>
          </p:nvSpPr>
          <p:spPr bwMode="gray">
            <a:xfrm rot="10800000">
              <a:off x="2483752" y="3831906"/>
              <a:ext cx="108000" cy="108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endParaRPr lang="en-US" sz="1067" dirty="0">
                <a:solidFill>
                  <a:schemeClr val="bg1"/>
                </a:solidFill>
              </a:endParaRPr>
            </a:p>
          </p:txBody>
        </p:sp>
        <p:sp>
          <p:nvSpPr>
            <p:cNvPr id="921" name="Rechteck 920"/>
            <p:cNvSpPr/>
            <p:nvPr>
              <p:custDataLst>
                <p:tags r:id="rId91"/>
              </p:custDataLst>
            </p:nvPr>
          </p:nvSpPr>
          <p:spPr bwMode="gray">
            <a:xfrm>
              <a:off x="3671932" y="3399838"/>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0</a:t>
              </a:r>
            </a:p>
          </p:txBody>
        </p:sp>
        <p:sp>
          <p:nvSpPr>
            <p:cNvPr id="922" name="Rechteck 921"/>
            <p:cNvSpPr/>
            <p:nvPr>
              <p:custDataLst>
                <p:tags r:id="rId92"/>
              </p:custDataLst>
            </p:nvPr>
          </p:nvSpPr>
          <p:spPr bwMode="gray">
            <a:xfrm>
              <a:off x="3527912" y="3543870"/>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1</a:t>
              </a:r>
            </a:p>
          </p:txBody>
        </p:sp>
        <p:sp>
          <p:nvSpPr>
            <p:cNvPr id="929" name="Ellipse 928"/>
            <p:cNvSpPr/>
            <p:nvPr>
              <p:custDataLst>
                <p:tags r:id="rId93"/>
              </p:custDataLst>
            </p:nvPr>
          </p:nvSpPr>
          <p:spPr bwMode="gray">
            <a:xfrm>
              <a:off x="4031923" y="2355741"/>
              <a:ext cx="108000" cy="108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endParaRPr lang="en-US" sz="1067" dirty="0">
                <a:solidFill>
                  <a:schemeClr val="bg1"/>
                </a:solidFill>
              </a:endParaRPr>
            </a:p>
          </p:txBody>
        </p:sp>
        <p:sp>
          <p:nvSpPr>
            <p:cNvPr id="932" name="Rechteck 931"/>
            <p:cNvSpPr/>
            <p:nvPr>
              <p:custDataLst>
                <p:tags r:id="rId94"/>
              </p:custDataLst>
            </p:nvPr>
          </p:nvSpPr>
          <p:spPr bwMode="gray">
            <a:xfrm>
              <a:off x="2627816" y="2823790"/>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a:t>
              </a:r>
            </a:p>
          </p:txBody>
        </p:sp>
        <p:sp>
          <p:nvSpPr>
            <p:cNvPr id="933" name="Rechteck 932"/>
            <p:cNvSpPr/>
            <p:nvPr>
              <p:custDataLst>
                <p:tags r:id="rId95"/>
              </p:custDataLst>
            </p:nvPr>
          </p:nvSpPr>
          <p:spPr bwMode="gray">
            <a:xfrm>
              <a:off x="2483796" y="295293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6</a:t>
              </a:r>
            </a:p>
          </p:txBody>
        </p:sp>
        <p:sp>
          <p:nvSpPr>
            <p:cNvPr id="935" name="Ellipse 934"/>
            <p:cNvSpPr/>
            <p:nvPr>
              <p:custDataLst>
                <p:tags r:id="rId96"/>
              </p:custDataLst>
            </p:nvPr>
          </p:nvSpPr>
          <p:spPr bwMode="gray">
            <a:xfrm>
              <a:off x="2807816" y="2952928"/>
              <a:ext cx="108000" cy="108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endParaRPr lang="en-US" sz="1067" dirty="0">
                <a:solidFill>
                  <a:schemeClr val="bg1"/>
                </a:solidFill>
              </a:endParaRPr>
            </a:p>
          </p:txBody>
        </p:sp>
        <p:sp>
          <p:nvSpPr>
            <p:cNvPr id="937" name="Rechteck 936"/>
            <p:cNvSpPr/>
            <p:nvPr>
              <p:custDataLst>
                <p:tags r:id="rId97"/>
              </p:custDataLst>
            </p:nvPr>
          </p:nvSpPr>
          <p:spPr bwMode="gray">
            <a:xfrm>
              <a:off x="4031972" y="2643758"/>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2</a:t>
              </a:r>
            </a:p>
          </p:txBody>
        </p:sp>
        <p:sp>
          <p:nvSpPr>
            <p:cNvPr id="938" name="Rechteck 937"/>
            <p:cNvSpPr/>
            <p:nvPr>
              <p:custDataLst>
                <p:tags r:id="rId98"/>
              </p:custDataLst>
            </p:nvPr>
          </p:nvSpPr>
          <p:spPr bwMode="gray">
            <a:xfrm>
              <a:off x="3887952" y="2787790"/>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4</a:t>
              </a:r>
            </a:p>
          </p:txBody>
        </p:sp>
        <p:sp>
          <p:nvSpPr>
            <p:cNvPr id="942" name="Rechteck 941"/>
            <p:cNvSpPr/>
            <p:nvPr>
              <p:custDataLst>
                <p:tags r:id="rId99"/>
              </p:custDataLst>
            </p:nvPr>
          </p:nvSpPr>
          <p:spPr bwMode="gray">
            <a:xfrm>
              <a:off x="4283972" y="3039798"/>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0</a:t>
              </a:r>
            </a:p>
          </p:txBody>
        </p:sp>
        <p:sp>
          <p:nvSpPr>
            <p:cNvPr id="943" name="Rechteck 942"/>
            <p:cNvSpPr/>
            <p:nvPr>
              <p:custDataLst>
                <p:tags r:id="rId100"/>
              </p:custDataLst>
            </p:nvPr>
          </p:nvSpPr>
          <p:spPr bwMode="gray">
            <a:xfrm>
              <a:off x="4172698" y="3183830"/>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2</a:t>
              </a:r>
            </a:p>
          </p:txBody>
        </p:sp>
        <p:sp>
          <p:nvSpPr>
            <p:cNvPr id="947" name="Rechteck 946"/>
            <p:cNvSpPr/>
            <p:nvPr>
              <p:custDataLst>
                <p:tags r:id="rId101"/>
              </p:custDataLst>
            </p:nvPr>
          </p:nvSpPr>
          <p:spPr bwMode="gray">
            <a:xfrm>
              <a:off x="5112064" y="289578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5</a:t>
              </a:r>
            </a:p>
          </p:txBody>
        </p:sp>
        <p:sp>
          <p:nvSpPr>
            <p:cNvPr id="948" name="Rechteck 947"/>
            <p:cNvSpPr/>
            <p:nvPr>
              <p:custDataLst>
                <p:tags r:id="rId102"/>
              </p:custDataLst>
            </p:nvPr>
          </p:nvSpPr>
          <p:spPr bwMode="gray">
            <a:xfrm>
              <a:off x="4968044" y="303981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4</a:t>
              </a:r>
            </a:p>
          </p:txBody>
        </p:sp>
        <p:sp>
          <p:nvSpPr>
            <p:cNvPr id="957" name="Rechteck 956"/>
            <p:cNvSpPr/>
            <p:nvPr>
              <p:custDataLst>
                <p:tags r:id="rId103"/>
              </p:custDataLst>
            </p:nvPr>
          </p:nvSpPr>
          <p:spPr bwMode="gray">
            <a:xfrm>
              <a:off x="6146773" y="301357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34</a:t>
              </a:r>
            </a:p>
          </p:txBody>
        </p:sp>
        <p:sp>
          <p:nvSpPr>
            <p:cNvPr id="958" name="Rechteck 957"/>
            <p:cNvSpPr/>
            <p:nvPr>
              <p:custDataLst>
                <p:tags r:id="rId104"/>
              </p:custDataLst>
            </p:nvPr>
          </p:nvSpPr>
          <p:spPr bwMode="gray">
            <a:xfrm>
              <a:off x="6002755" y="3157609"/>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1</a:t>
              </a:r>
            </a:p>
          </p:txBody>
        </p:sp>
        <p:sp>
          <p:nvSpPr>
            <p:cNvPr id="963" name="Rechteck 962"/>
            <p:cNvSpPr/>
            <p:nvPr>
              <p:custDataLst>
                <p:tags r:id="rId105"/>
              </p:custDataLst>
            </p:nvPr>
          </p:nvSpPr>
          <p:spPr bwMode="gray">
            <a:xfrm>
              <a:off x="5542125" y="3705565"/>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err="1">
                  <a:solidFill>
                    <a:schemeClr val="tx1"/>
                  </a:solidFill>
                </a:rPr>
                <a:t>na</a:t>
              </a:r>
              <a:endParaRPr lang="en-US" sz="1200" b="1" dirty="0">
                <a:solidFill>
                  <a:schemeClr val="tx1"/>
                </a:solidFill>
              </a:endParaRPr>
            </a:p>
          </p:txBody>
        </p:sp>
        <p:sp>
          <p:nvSpPr>
            <p:cNvPr id="964" name="Rechteck 963"/>
            <p:cNvSpPr/>
            <p:nvPr>
              <p:custDataLst>
                <p:tags r:id="rId106"/>
              </p:custDataLst>
            </p:nvPr>
          </p:nvSpPr>
          <p:spPr bwMode="gray">
            <a:xfrm>
              <a:off x="5436124" y="375989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endParaRPr lang="en-US" sz="1200" dirty="0">
                <a:solidFill>
                  <a:schemeClr val="bg1"/>
                </a:solidFill>
              </a:endParaRPr>
            </a:p>
          </p:txBody>
        </p:sp>
        <p:sp>
          <p:nvSpPr>
            <p:cNvPr id="968" name="Rechteck 967"/>
            <p:cNvSpPr/>
            <p:nvPr>
              <p:custDataLst>
                <p:tags r:id="rId107"/>
              </p:custDataLst>
            </p:nvPr>
          </p:nvSpPr>
          <p:spPr bwMode="gray">
            <a:xfrm>
              <a:off x="5686146" y="4018557"/>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8</a:t>
              </a:r>
            </a:p>
          </p:txBody>
        </p:sp>
        <p:sp>
          <p:nvSpPr>
            <p:cNvPr id="969" name="Rechteck 968"/>
            <p:cNvSpPr/>
            <p:nvPr>
              <p:custDataLst>
                <p:tags r:id="rId108"/>
              </p:custDataLst>
            </p:nvPr>
          </p:nvSpPr>
          <p:spPr bwMode="gray">
            <a:xfrm>
              <a:off x="5542125" y="4134011"/>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GB" sz="1200" dirty="0">
                  <a:solidFill>
                    <a:schemeClr val="tx1"/>
                  </a:solidFill>
                </a:rPr>
                <a:t>+1</a:t>
              </a:r>
              <a:endParaRPr lang="en-US" sz="1200" dirty="0">
                <a:solidFill>
                  <a:schemeClr val="tx1"/>
                </a:solidFill>
              </a:endParaRPr>
            </a:p>
          </p:txBody>
        </p:sp>
        <p:sp>
          <p:nvSpPr>
            <p:cNvPr id="971" name="Ellipse 970"/>
            <p:cNvSpPr/>
            <p:nvPr>
              <p:custDataLst>
                <p:tags r:id="rId109"/>
              </p:custDataLst>
            </p:nvPr>
          </p:nvSpPr>
          <p:spPr bwMode="gray">
            <a:xfrm>
              <a:off x="6660244" y="3953550"/>
              <a:ext cx="108000" cy="108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endParaRPr lang="en-US" sz="1067" dirty="0">
                <a:solidFill>
                  <a:schemeClr val="bg1"/>
                </a:solidFill>
              </a:endParaRPr>
            </a:p>
          </p:txBody>
        </p:sp>
        <p:cxnSp>
          <p:nvCxnSpPr>
            <p:cNvPr id="974" name="Gerade Verbindung 973"/>
            <p:cNvCxnSpPr>
              <a:cxnSpLocks/>
            </p:cNvCxnSpPr>
            <p:nvPr>
              <p:custDataLst>
                <p:tags r:id="rId110"/>
              </p:custDataLst>
            </p:nvPr>
          </p:nvCxnSpPr>
          <p:spPr bwMode="gray">
            <a:xfrm>
              <a:off x="4924012" y="3299863"/>
              <a:ext cx="1527078" cy="0"/>
            </a:xfrm>
            <a:prstGeom prst="line">
              <a:avLst/>
            </a:prstGeom>
            <a:ln cap="rnd">
              <a:solidFill>
                <a:schemeClr val="tx1"/>
              </a:solidFill>
              <a:headEnd type="oval" w="sm" len="sm"/>
              <a:tailEnd type="none"/>
            </a:ln>
          </p:spPr>
          <p:style>
            <a:lnRef idx="1">
              <a:schemeClr val="accent1"/>
            </a:lnRef>
            <a:fillRef idx="0">
              <a:schemeClr val="accent1"/>
            </a:fillRef>
            <a:effectRef idx="0">
              <a:schemeClr val="accent1"/>
            </a:effectRef>
            <a:fontRef idx="minor">
              <a:schemeClr val="tx1"/>
            </a:fontRef>
          </p:style>
        </p:cxnSp>
        <p:grpSp>
          <p:nvGrpSpPr>
            <p:cNvPr id="979" name="Gruppieren 978"/>
            <p:cNvGrpSpPr/>
            <p:nvPr/>
          </p:nvGrpSpPr>
          <p:grpSpPr bwMode="gray">
            <a:xfrm>
              <a:off x="2627944" y="3075806"/>
              <a:ext cx="1440000" cy="0"/>
              <a:chOff x="2627944" y="3075806"/>
              <a:chExt cx="1440000" cy="0"/>
            </a:xfrm>
          </p:grpSpPr>
          <p:cxnSp>
            <p:nvCxnSpPr>
              <p:cNvPr id="931" name="Gerade Verbindung 930"/>
              <p:cNvCxnSpPr/>
              <p:nvPr>
                <p:custDataLst>
                  <p:tags r:id="rId124"/>
                </p:custDataLst>
              </p:nvPr>
            </p:nvCxnSpPr>
            <p:spPr bwMode="gray">
              <a:xfrm>
                <a:off x="2627944" y="3075806"/>
                <a:ext cx="1440000" cy="0"/>
              </a:xfrm>
              <a:prstGeom prst="line">
                <a:avLst/>
              </a:prstGeom>
              <a:ln w="38100" cap="rnd">
                <a:solidFill>
                  <a:schemeClr val="bg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978" name="Gerade Verbindung 977"/>
              <p:cNvCxnSpPr/>
              <p:nvPr>
                <p:custDataLst>
                  <p:tags r:id="rId125"/>
                </p:custDataLst>
              </p:nvPr>
            </p:nvCxnSpPr>
            <p:spPr bwMode="gray">
              <a:xfrm>
                <a:off x="2627944" y="3075806"/>
                <a:ext cx="1440000" cy="0"/>
              </a:xfrm>
              <a:prstGeom prst="line">
                <a:avLst/>
              </a:prstGeom>
              <a:ln cap="rnd">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grpSp>
        <p:sp>
          <p:nvSpPr>
            <p:cNvPr id="980" name="Rechteck 979"/>
            <p:cNvSpPr/>
            <p:nvPr>
              <p:custDataLst>
                <p:tags r:id="rId111"/>
              </p:custDataLst>
            </p:nvPr>
          </p:nvSpPr>
          <p:spPr bwMode="gray">
            <a:xfrm>
              <a:off x="5704198" y="441601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5</a:t>
              </a:r>
            </a:p>
          </p:txBody>
        </p:sp>
        <p:sp>
          <p:nvSpPr>
            <p:cNvPr id="981" name="Rechteck 980"/>
            <p:cNvSpPr/>
            <p:nvPr>
              <p:custDataLst>
                <p:tags r:id="rId112"/>
              </p:custDataLst>
            </p:nvPr>
          </p:nvSpPr>
          <p:spPr bwMode="gray">
            <a:xfrm>
              <a:off x="5560177" y="454746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9</a:t>
              </a:r>
            </a:p>
          </p:txBody>
        </p:sp>
        <p:sp>
          <p:nvSpPr>
            <p:cNvPr id="989" name="Freihandform 988"/>
            <p:cNvSpPr/>
            <p:nvPr>
              <p:custDataLst>
                <p:tags r:id="rId113"/>
              </p:custDataLst>
            </p:nvPr>
          </p:nvSpPr>
          <p:spPr bwMode="gray">
            <a:xfrm flipV="1">
              <a:off x="4853758" y="3777134"/>
              <a:ext cx="1908002" cy="1152000"/>
            </a:xfrm>
            <a:custGeom>
              <a:avLst/>
              <a:gdLst>
                <a:gd name="connsiteX0" fmla="*/ 0 w 1574800"/>
                <a:gd name="connsiteY0" fmla="*/ 654050 h 654050"/>
                <a:gd name="connsiteX1" fmla="*/ 0 w 1574800"/>
                <a:gd name="connsiteY1" fmla="*/ 0 h 654050"/>
                <a:gd name="connsiteX2" fmla="*/ 1574800 w 1574800"/>
                <a:gd name="connsiteY2" fmla="*/ 0 h 654050"/>
              </a:gdLst>
              <a:ahLst/>
              <a:cxnLst>
                <a:cxn ang="0">
                  <a:pos x="connsiteX0" y="connsiteY0"/>
                </a:cxn>
                <a:cxn ang="0">
                  <a:pos x="connsiteX1" y="connsiteY1"/>
                </a:cxn>
                <a:cxn ang="0">
                  <a:pos x="connsiteX2" y="connsiteY2"/>
                </a:cxn>
              </a:cxnLst>
              <a:rect l="l" t="t" r="r" b="b"/>
              <a:pathLst>
                <a:path w="1574800" h="654050">
                  <a:moveTo>
                    <a:pt x="0" y="654050"/>
                  </a:moveTo>
                  <a:lnTo>
                    <a:pt x="0" y="0"/>
                  </a:lnTo>
                  <a:lnTo>
                    <a:pt x="1574800" y="0"/>
                  </a:lnTo>
                </a:path>
              </a:pathLst>
            </a:custGeom>
            <a:noFill/>
            <a:ln w="9525" cap="rnd">
              <a:solidFill>
                <a:schemeClr val="tx1"/>
              </a:solidFill>
              <a:head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991" name="Rechteck 990"/>
            <p:cNvSpPr/>
            <p:nvPr>
              <p:custDataLst>
                <p:tags r:id="rId114"/>
              </p:custDataLst>
            </p:nvPr>
          </p:nvSpPr>
          <p:spPr bwMode="gray">
            <a:xfrm>
              <a:off x="6939532" y="313872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3</a:t>
              </a:r>
            </a:p>
          </p:txBody>
        </p:sp>
        <p:sp>
          <p:nvSpPr>
            <p:cNvPr id="992" name="Rechteck 991"/>
            <p:cNvSpPr/>
            <p:nvPr>
              <p:custDataLst>
                <p:tags r:id="rId115"/>
              </p:custDataLst>
            </p:nvPr>
          </p:nvSpPr>
          <p:spPr bwMode="gray">
            <a:xfrm>
              <a:off x="6795511" y="328275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3</a:t>
              </a:r>
            </a:p>
          </p:txBody>
        </p:sp>
        <p:sp>
          <p:nvSpPr>
            <p:cNvPr id="994" name="Ellipse 993"/>
            <p:cNvSpPr/>
            <p:nvPr>
              <p:custDataLst>
                <p:tags r:id="rId116"/>
              </p:custDataLst>
            </p:nvPr>
          </p:nvSpPr>
          <p:spPr bwMode="gray">
            <a:xfrm>
              <a:off x="7695737" y="2977892"/>
              <a:ext cx="108000" cy="108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endParaRPr lang="en-US" sz="1067" dirty="0">
                <a:solidFill>
                  <a:schemeClr val="bg1"/>
                </a:solidFill>
              </a:endParaRPr>
            </a:p>
          </p:txBody>
        </p:sp>
        <p:cxnSp>
          <p:nvCxnSpPr>
            <p:cNvPr id="998" name="Gerade Verbindung 997"/>
            <p:cNvCxnSpPr/>
            <p:nvPr>
              <p:custDataLst>
                <p:tags r:id="rId117"/>
              </p:custDataLst>
            </p:nvPr>
          </p:nvCxnSpPr>
          <p:spPr bwMode="gray">
            <a:xfrm>
              <a:off x="5266211" y="3399842"/>
              <a:ext cx="1980005" cy="0"/>
            </a:xfrm>
            <a:prstGeom prst="line">
              <a:avLst/>
            </a:prstGeom>
            <a:ln cap="rnd">
              <a:solidFill>
                <a:schemeClr val="tx1"/>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1016" name="Rechteck 1015"/>
            <p:cNvSpPr/>
            <p:nvPr>
              <p:custDataLst>
                <p:tags r:id="rId118"/>
              </p:custDataLst>
            </p:nvPr>
          </p:nvSpPr>
          <p:spPr bwMode="gray">
            <a:xfrm>
              <a:off x="6480244" y="467361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33</a:t>
              </a:r>
            </a:p>
          </p:txBody>
        </p:sp>
        <p:sp>
          <p:nvSpPr>
            <p:cNvPr id="1017" name="Rechteck 1016"/>
            <p:cNvSpPr/>
            <p:nvPr>
              <p:custDataLst>
                <p:tags r:id="rId119"/>
              </p:custDataLst>
            </p:nvPr>
          </p:nvSpPr>
          <p:spPr bwMode="gray">
            <a:xfrm>
              <a:off x="6336224" y="481764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1</a:t>
              </a:r>
            </a:p>
          </p:txBody>
        </p:sp>
        <p:sp>
          <p:nvSpPr>
            <p:cNvPr id="1025" name="Rechteck 1024"/>
            <p:cNvSpPr/>
            <p:nvPr>
              <p:custDataLst>
                <p:tags r:id="rId120"/>
              </p:custDataLst>
            </p:nvPr>
          </p:nvSpPr>
          <p:spPr bwMode="gray">
            <a:xfrm>
              <a:off x="4717543" y="3456873"/>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bg1"/>
                  </a:solidFill>
                </a:rPr>
                <a:t>-27</a:t>
              </a:r>
            </a:p>
          </p:txBody>
        </p:sp>
        <p:sp>
          <p:nvSpPr>
            <p:cNvPr id="1026" name="Rechteck 1025"/>
            <p:cNvSpPr/>
            <p:nvPr>
              <p:custDataLst>
                <p:tags r:id="rId121"/>
              </p:custDataLst>
            </p:nvPr>
          </p:nvSpPr>
          <p:spPr bwMode="gray">
            <a:xfrm>
              <a:off x="4572028" y="357987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bg1"/>
                  </a:solidFill>
                </a:rPr>
                <a:t>+4</a:t>
              </a:r>
            </a:p>
          </p:txBody>
        </p:sp>
        <p:sp>
          <p:nvSpPr>
            <p:cNvPr id="1034" name="Rechteck 1033"/>
            <p:cNvSpPr/>
            <p:nvPr>
              <p:custDataLst>
                <p:tags r:id="rId122"/>
              </p:custDataLst>
            </p:nvPr>
          </p:nvSpPr>
          <p:spPr bwMode="gray">
            <a:xfrm>
              <a:off x="4391984" y="433594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5</a:t>
              </a:r>
            </a:p>
          </p:txBody>
        </p:sp>
        <p:sp>
          <p:nvSpPr>
            <p:cNvPr id="1035" name="Rechteck 1034"/>
            <p:cNvSpPr/>
            <p:nvPr>
              <p:custDataLst>
                <p:tags r:id="rId123"/>
              </p:custDataLst>
            </p:nvPr>
          </p:nvSpPr>
          <p:spPr bwMode="gray">
            <a:xfrm>
              <a:off x="4279438" y="447368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de-DE" sz="1200" dirty="0">
                  <a:solidFill>
                    <a:schemeClr val="tx1"/>
                  </a:solidFill>
                </a:rPr>
                <a:t>+7</a:t>
              </a:r>
              <a:endParaRPr lang="en-US" sz="1200" dirty="0">
                <a:solidFill>
                  <a:schemeClr val="tx1"/>
                </a:solidFill>
              </a:endParaRPr>
            </a:p>
          </p:txBody>
        </p:sp>
      </p:grpSp>
      <p:sp>
        <p:nvSpPr>
          <p:cNvPr id="192" name="Rechteck 191">
            <a:extLst>
              <a:ext uri="{FF2B5EF4-FFF2-40B4-BE49-F238E27FC236}">
                <a16:creationId xmlns:a16="http://schemas.microsoft.com/office/drawing/2014/main" id="{8CDEF71B-AD69-46E5-A52F-6DA82D02DF0F}"/>
              </a:ext>
            </a:extLst>
          </p:cNvPr>
          <p:cNvSpPr/>
          <p:nvPr>
            <p:custDataLst>
              <p:tags r:id="rId4"/>
            </p:custDataLst>
          </p:nvPr>
        </p:nvSpPr>
        <p:spPr bwMode="gray">
          <a:xfrm>
            <a:off x="6420808" y="2674706"/>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0</a:t>
            </a:r>
          </a:p>
        </p:txBody>
      </p:sp>
      <p:sp>
        <p:nvSpPr>
          <p:cNvPr id="198" name="Rechteck 197">
            <a:extLst>
              <a:ext uri="{FF2B5EF4-FFF2-40B4-BE49-F238E27FC236}">
                <a16:creationId xmlns:a16="http://schemas.microsoft.com/office/drawing/2014/main" id="{364FA076-8CFE-44C3-BE26-B8E411532D31}"/>
              </a:ext>
            </a:extLst>
          </p:cNvPr>
          <p:cNvSpPr/>
          <p:nvPr>
            <p:custDataLst>
              <p:tags r:id="rId5"/>
            </p:custDataLst>
          </p:nvPr>
        </p:nvSpPr>
        <p:spPr bwMode="gray">
          <a:xfrm>
            <a:off x="6246979" y="2866749"/>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12</a:t>
            </a:r>
          </a:p>
        </p:txBody>
      </p:sp>
      <p:sp>
        <p:nvSpPr>
          <p:cNvPr id="206" name="Rechteck 205">
            <a:extLst>
              <a:ext uri="{FF2B5EF4-FFF2-40B4-BE49-F238E27FC236}">
                <a16:creationId xmlns:a16="http://schemas.microsoft.com/office/drawing/2014/main" id="{1C8E8956-A32F-4F91-A6EF-7B6C5D7CE4B5}"/>
              </a:ext>
            </a:extLst>
          </p:cNvPr>
          <p:cNvSpPr/>
          <p:nvPr>
            <p:custDataLst>
              <p:tags r:id="rId6"/>
            </p:custDataLst>
          </p:nvPr>
        </p:nvSpPr>
        <p:spPr bwMode="gray">
          <a:xfrm>
            <a:off x="7277884" y="2214709"/>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bg1"/>
                </a:solidFill>
              </a:rPr>
              <a:t>-29</a:t>
            </a:r>
          </a:p>
        </p:txBody>
      </p:sp>
      <p:sp>
        <p:nvSpPr>
          <p:cNvPr id="216" name="Rechteck 215">
            <a:extLst>
              <a:ext uri="{FF2B5EF4-FFF2-40B4-BE49-F238E27FC236}">
                <a16:creationId xmlns:a16="http://schemas.microsoft.com/office/drawing/2014/main" id="{367D58A3-BB20-46FD-93D5-54C5192760E8}"/>
              </a:ext>
            </a:extLst>
          </p:cNvPr>
          <p:cNvSpPr/>
          <p:nvPr>
            <p:custDataLst>
              <p:tags r:id="rId7"/>
            </p:custDataLst>
          </p:nvPr>
        </p:nvSpPr>
        <p:spPr bwMode="gray">
          <a:xfrm>
            <a:off x="7104055" y="2406752"/>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bg1"/>
                </a:solidFill>
              </a:rPr>
              <a:t>+4</a:t>
            </a:r>
          </a:p>
        </p:txBody>
      </p:sp>
      <p:sp>
        <p:nvSpPr>
          <p:cNvPr id="221" name="Rechteck 220">
            <a:extLst>
              <a:ext uri="{FF2B5EF4-FFF2-40B4-BE49-F238E27FC236}">
                <a16:creationId xmlns:a16="http://schemas.microsoft.com/office/drawing/2014/main" id="{E4EC112A-1032-4137-92D3-EB4D611A3250}"/>
              </a:ext>
            </a:extLst>
          </p:cNvPr>
          <p:cNvSpPr/>
          <p:nvPr>
            <p:custDataLst>
              <p:tags r:id="rId8"/>
            </p:custDataLst>
          </p:nvPr>
        </p:nvSpPr>
        <p:spPr bwMode="gray">
          <a:xfrm>
            <a:off x="3786662" y="3068989"/>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endParaRPr lang="en-US" sz="1200" b="1" dirty="0">
              <a:solidFill>
                <a:schemeClr val="tx1"/>
              </a:solidFill>
            </a:endParaRPr>
          </a:p>
        </p:txBody>
      </p:sp>
      <p:sp>
        <p:nvSpPr>
          <p:cNvPr id="225" name="Rechteck 224">
            <a:extLst>
              <a:ext uri="{FF2B5EF4-FFF2-40B4-BE49-F238E27FC236}">
                <a16:creationId xmlns:a16="http://schemas.microsoft.com/office/drawing/2014/main" id="{09F6619A-2C01-4531-8440-206D08DE91FD}"/>
              </a:ext>
            </a:extLst>
          </p:cNvPr>
          <p:cNvSpPr/>
          <p:nvPr>
            <p:custDataLst>
              <p:tags r:id="rId9"/>
            </p:custDataLst>
          </p:nvPr>
        </p:nvSpPr>
        <p:spPr bwMode="gray">
          <a:xfrm>
            <a:off x="7779826" y="2691484"/>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52</a:t>
            </a:r>
          </a:p>
        </p:txBody>
      </p:sp>
      <p:sp>
        <p:nvSpPr>
          <p:cNvPr id="226" name="Rechteck 225">
            <a:extLst>
              <a:ext uri="{FF2B5EF4-FFF2-40B4-BE49-F238E27FC236}">
                <a16:creationId xmlns:a16="http://schemas.microsoft.com/office/drawing/2014/main" id="{4175E6EE-B99F-418B-87E4-73DBB925D2FA}"/>
              </a:ext>
            </a:extLst>
          </p:cNvPr>
          <p:cNvSpPr/>
          <p:nvPr>
            <p:custDataLst>
              <p:tags r:id="rId10"/>
            </p:custDataLst>
          </p:nvPr>
        </p:nvSpPr>
        <p:spPr bwMode="gray">
          <a:xfrm>
            <a:off x="7605997" y="2849971"/>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2</a:t>
            </a:r>
          </a:p>
        </p:txBody>
      </p:sp>
      <p:sp>
        <p:nvSpPr>
          <p:cNvPr id="228" name="Rechteck 227">
            <a:extLst>
              <a:ext uri="{FF2B5EF4-FFF2-40B4-BE49-F238E27FC236}">
                <a16:creationId xmlns:a16="http://schemas.microsoft.com/office/drawing/2014/main" id="{DE748FB1-2376-429B-A6BD-F786DAB5C008}"/>
              </a:ext>
            </a:extLst>
          </p:cNvPr>
          <p:cNvSpPr/>
          <p:nvPr>
            <p:custDataLst>
              <p:tags r:id="rId11"/>
            </p:custDataLst>
          </p:nvPr>
        </p:nvSpPr>
        <p:spPr bwMode="gray">
          <a:xfrm>
            <a:off x="8922128" y="3313668"/>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7</a:t>
            </a:r>
          </a:p>
        </p:txBody>
      </p:sp>
      <p:sp>
        <p:nvSpPr>
          <p:cNvPr id="229" name="Rechteck 228">
            <a:extLst>
              <a:ext uri="{FF2B5EF4-FFF2-40B4-BE49-F238E27FC236}">
                <a16:creationId xmlns:a16="http://schemas.microsoft.com/office/drawing/2014/main" id="{CFB87258-F801-48BA-B193-4053837C75F3}"/>
              </a:ext>
            </a:extLst>
          </p:cNvPr>
          <p:cNvSpPr/>
          <p:nvPr>
            <p:custDataLst>
              <p:tags r:id="rId12"/>
            </p:custDataLst>
          </p:nvPr>
        </p:nvSpPr>
        <p:spPr bwMode="gray">
          <a:xfrm>
            <a:off x="8748299" y="348893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8</a:t>
            </a:r>
          </a:p>
        </p:txBody>
      </p:sp>
      <p:sp>
        <p:nvSpPr>
          <p:cNvPr id="231" name="Rechteck 230">
            <a:extLst>
              <a:ext uri="{FF2B5EF4-FFF2-40B4-BE49-F238E27FC236}">
                <a16:creationId xmlns:a16="http://schemas.microsoft.com/office/drawing/2014/main" id="{4A824B33-3B0E-4E11-AD9A-B602B283BBF1}"/>
              </a:ext>
            </a:extLst>
          </p:cNvPr>
          <p:cNvSpPr/>
          <p:nvPr>
            <p:custDataLst>
              <p:tags r:id="rId13"/>
            </p:custDataLst>
          </p:nvPr>
        </p:nvSpPr>
        <p:spPr bwMode="gray">
          <a:xfrm>
            <a:off x="8251008" y="3045220"/>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1</a:t>
            </a:r>
          </a:p>
        </p:txBody>
      </p:sp>
      <p:sp>
        <p:nvSpPr>
          <p:cNvPr id="232" name="Rechteck 231">
            <a:extLst>
              <a:ext uri="{FF2B5EF4-FFF2-40B4-BE49-F238E27FC236}">
                <a16:creationId xmlns:a16="http://schemas.microsoft.com/office/drawing/2014/main" id="{2C697118-C9F2-4B6C-A7E4-EBA18D078C0B}"/>
              </a:ext>
            </a:extLst>
          </p:cNvPr>
          <p:cNvSpPr/>
          <p:nvPr>
            <p:custDataLst>
              <p:tags r:id="rId14"/>
            </p:custDataLst>
          </p:nvPr>
        </p:nvSpPr>
        <p:spPr bwMode="gray">
          <a:xfrm>
            <a:off x="8077179" y="3203707"/>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15</a:t>
            </a:r>
          </a:p>
        </p:txBody>
      </p:sp>
      <p:cxnSp>
        <p:nvCxnSpPr>
          <p:cNvPr id="234" name="Gerade Verbindung 997">
            <a:extLst>
              <a:ext uri="{FF2B5EF4-FFF2-40B4-BE49-F238E27FC236}">
                <a16:creationId xmlns:a16="http://schemas.microsoft.com/office/drawing/2014/main" id="{8EE88C56-6909-49FC-BBED-DB298FDD9DAE}"/>
              </a:ext>
            </a:extLst>
          </p:cNvPr>
          <p:cNvCxnSpPr>
            <a:cxnSpLocks/>
          </p:cNvCxnSpPr>
          <p:nvPr>
            <p:custDataLst>
              <p:tags r:id="rId15"/>
            </p:custDataLst>
          </p:nvPr>
        </p:nvCxnSpPr>
        <p:spPr bwMode="gray">
          <a:xfrm flipV="1">
            <a:off x="7661884" y="3011687"/>
            <a:ext cx="501800" cy="6148"/>
          </a:xfrm>
          <a:prstGeom prst="line">
            <a:avLst/>
          </a:prstGeom>
          <a:ln cap="rnd">
            <a:solidFill>
              <a:schemeClr val="tx1"/>
            </a:solidFill>
            <a:headEnd type="oval" w="sm" len="sm"/>
            <a:tailEnd type="none"/>
          </a:ln>
        </p:spPr>
        <p:style>
          <a:lnRef idx="1">
            <a:schemeClr val="accent1"/>
          </a:lnRef>
          <a:fillRef idx="0">
            <a:schemeClr val="accent1"/>
          </a:fillRef>
          <a:effectRef idx="0">
            <a:schemeClr val="accent1"/>
          </a:effectRef>
          <a:fontRef idx="minor">
            <a:schemeClr val="tx1"/>
          </a:fontRef>
        </p:style>
      </p:cxnSp>
      <p:cxnSp>
        <p:nvCxnSpPr>
          <p:cNvPr id="236" name="Gerade Verbindung 997">
            <a:extLst>
              <a:ext uri="{FF2B5EF4-FFF2-40B4-BE49-F238E27FC236}">
                <a16:creationId xmlns:a16="http://schemas.microsoft.com/office/drawing/2014/main" id="{C6C32F3A-6671-4349-A6A1-CC38BECDC670}"/>
              </a:ext>
            </a:extLst>
          </p:cNvPr>
          <p:cNvCxnSpPr>
            <a:cxnSpLocks/>
          </p:cNvCxnSpPr>
          <p:nvPr>
            <p:custDataLst>
              <p:tags r:id="rId16"/>
            </p:custDataLst>
          </p:nvPr>
        </p:nvCxnSpPr>
        <p:spPr bwMode="gray">
          <a:xfrm>
            <a:off x="7570665" y="3624157"/>
            <a:ext cx="1734013" cy="21582"/>
          </a:xfrm>
          <a:prstGeom prst="line">
            <a:avLst/>
          </a:prstGeom>
          <a:ln cap="rnd">
            <a:solidFill>
              <a:schemeClr val="tx1"/>
            </a:solidFill>
            <a:headEnd type="oval" w="sm" len="sm"/>
            <a:tailEnd type="none"/>
          </a:ln>
        </p:spPr>
        <p:style>
          <a:lnRef idx="1">
            <a:schemeClr val="accent1"/>
          </a:lnRef>
          <a:fillRef idx="0">
            <a:schemeClr val="accent1"/>
          </a:fillRef>
          <a:effectRef idx="0">
            <a:schemeClr val="accent1"/>
          </a:effectRef>
          <a:fontRef idx="minor">
            <a:schemeClr val="tx1"/>
          </a:fontRef>
        </p:style>
      </p:cxnSp>
      <p:cxnSp>
        <p:nvCxnSpPr>
          <p:cNvPr id="237" name="Gerade Verbindung 997">
            <a:extLst>
              <a:ext uri="{FF2B5EF4-FFF2-40B4-BE49-F238E27FC236}">
                <a16:creationId xmlns:a16="http://schemas.microsoft.com/office/drawing/2014/main" id="{CD2B5108-3EF0-4A96-B43A-7F85682C3B3E}"/>
              </a:ext>
            </a:extLst>
          </p:cNvPr>
          <p:cNvCxnSpPr>
            <a:cxnSpLocks/>
          </p:cNvCxnSpPr>
          <p:nvPr>
            <p:custDataLst>
              <p:tags r:id="rId17"/>
            </p:custDataLst>
          </p:nvPr>
        </p:nvCxnSpPr>
        <p:spPr bwMode="gray">
          <a:xfrm>
            <a:off x="7688405" y="3355417"/>
            <a:ext cx="932277" cy="10593"/>
          </a:xfrm>
          <a:prstGeom prst="line">
            <a:avLst/>
          </a:prstGeom>
          <a:ln cap="rnd">
            <a:solidFill>
              <a:schemeClr val="tx1"/>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238" name="Rechteck 237">
            <a:extLst>
              <a:ext uri="{FF2B5EF4-FFF2-40B4-BE49-F238E27FC236}">
                <a16:creationId xmlns:a16="http://schemas.microsoft.com/office/drawing/2014/main" id="{A3D78A8D-084A-433B-BE49-0148CE372A67}"/>
              </a:ext>
            </a:extLst>
          </p:cNvPr>
          <p:cNvSpPr/>
          <p:nvPr>
            <p:custDataLst>
              <p:tags r:id="rId18"/>
            </p:custDataLst>
          </p:nvPr>
        </p:nvSpPr>
        <p:spPr bwMode="gray">
          <a:xfrm>
            <a:off x="5802818" y="2962728"/>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8</a:t>
            </a:r>
          </a:p>
        </p:txBody>
      </p:sp>
      <p:sp>
        <p:nvSpPr>
          <p:cNvPr id="239" name="Rechteck 238">
            <a:extLst>
              <a:ext uri="{FF2B5EF4-FFF2-40B4-BE49-F238E27FC236}">
                <a16:creationId xmlns:a16="http://schemas.microsoft.com/office/drawing/2014/main" id="{3A57E9E1-33CA-4D58-B82D-FC112D49872B}"/>
              </a:ext>
            </a:extLst>
          </p:cNvPr>
          <p:cNvSpPr/>
          <p:nvPr>
            <p:custDataLst>
              <p:tags r:id="rId19"/>
            </p:custDataLst>
          </p:nvPr>
        </p:nvSpPr>
        <p:spPr bwMode="gray">
          <a:xfrm>
            <a:off x="5628989" y="313799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2</a:t>
            </a:r>
          </a:p>
        </p:txBody>
      </p:sp>
      <p:sp>
        <p:nvSpPr>
          <p:cNvPr id="14" name="Textfeld 13">
            <a:extLst>
              <a:ext uri="{FF2B5EF4-FFF2-40B4-BE49-F238E27FC236}">
                <a16:creationId xmlns:a16="http://schemas.microsoft.com/office/drawing/2014/main" id="{DB88D01E-B885-4E9F-A02C-86E958554558}"/>
              </a:ext>
            </a:extLst>
          </p:cNvPr>
          <p:cNvSpPr txBox="1"/>
          <p:nvPr/>
        </p:nvSpPr>
        <p:spPr>
          <a:xfrm>
            <a:off x="10183395" y="5553128"/>
            <a:ext cx="712855" cy="328418"/>
          </a:xfrm>
          <a:prstGeom prst="rect">
            <a:avLst/>
          </a:prstGeom>
          <a:solidFill>
            <a:srgbClr val="9B0009"/>
          </a:solidFill>
        </p:spPr>
        <p:txBody>
          <a:bodyPr wrap="none" lIns="0" tIns="0" rIns="0" bIns="0" rtlCol="0">
            <a:noAutofit/>
          </a:bodyPr>
          <a:lstStyle/>
          <a:p>
            <a:pPr>
              <a:lnSpc>
                <a:spcPct val="125000"/>
              </a:lnSpc>
              <a:buClr>
                <a:schemeClr val="tx2"/>
              </a:buClr>
            </a:pPr>
            <a:r>
              <a:rPr lang="es-ES_tradnl" sz="1600" dirty="0">
                <a:solidFill>
                  <a:schemeClr val="bg1"/>
                </a:solidFill>
              </a:rPr>
              <a:t>Turquía</a:t>
            </a:r>
          </a:p>
        </p:txBody>
      </p:sp>
      <p:sp>
        <p:nvSpPr>
          <p:cNvPr id="241" name="Rechteck 240">
            <a:extLst>
              <a:ext uri="{FF2B5EF4-FFF2-40B4-BE49-F238E27FC236}">
                <a16:creationId xmlns:a16="http://schemas.microsoft.com/office/drawing/2014/main" id="{78886C40-9725-46FE-A31F-00AC3D709778}"/>
              </a:ext>
            </a:extLst>
          </p:cNvPr>
          <p:cNvSpPr/>
          <p:nvPr>
            <p:custDataLst>
              <p:tags r:id="rId20"/>
            </p:custDataLst>
          </p:nvPr>
        </p:nvSpPr>
        <p:spPr bwMode="gray">
          <a:xfrm>
            <a:off x="11006360" y="556032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30</a:t>
            </a:r>
          </a:p>
        </p:txBody>
      </p:sp>
      <p:sp>
        <p:nvSpPr>
          <p:cNvPr id="242" name="Rechteck 241">
            <a:extLst>
              <a:ext uri="{FF2B5EF4-FFF2-40B4-BE49-F238E27FC236}">
                <a16:creationId xmlns:a16="http://schemas.microsoft.com/office/drawing/2014/main" id="{EE1671ED-38D7-475B-B5F3-473E3CE3A83B}"/>
              </a:ext>
            </a:extLst>
          </p:cNvPr>
          <p:cNvSpPr/>
          <p:nvPr>
            <p:custDataLst>
              <p:tags r:id="rId21"/>
            </p:custDataLst>
          </p:nvPr>
        </p:nvSpPr>
        <p:spPr bwMode="gray">
          <a:xfrm>
            <a:off x="10814332" y="575236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GB" sz="1200" dirty="0">
                <a:solidFill>
                  <a:schemeClr val="tx1"/>
                </a:solidFill>
              </a:rPr>
              <a:t>+4</a:t>
            </a:r>
            <a:endParaRPr lang="en-US" sz="1200" dirty="0">
              <a:solidFill>
                <a:schemeClr val="tx1"/>
              </a:solidFill>
            </a:endParaRPr>
          </a:p>
        </p:txBody>
      </p:sp>
      <p:sp>
        <p:nvSpPr>
          <p:cNvPr id="244" name="Rechteck 243">
            <a:extLst>
              <a:ext uri="{FF2B5EF4-FFF2-40B4-BE49-F238E27FC236}">
                <a16:creationId xmlns:a16="http://schemas.microsoft.com/office/drawing/2014/main" id="{F9061F18-33CD-4043-9AC6-AD32872EF77B}"/>
              </a:ext>
            </a:extLst>
          </p:cNvPr>
          <p:cNvSpPr/>
          <p:nvPr>
            <p:custDataLst>
              <p:tags r:id="rId22"/>
            </p:custDataLst>
          </p:nvPr>
        </p:nvSpPr>
        <p:spPr bwMode="gray">
          <a:xfrm>
            <a:off x="6479423" y="5181015"/>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0</a:t>
            </a:r>
          </a:p>
        </p:txBody>
      </p:sp>
      <p:sp>
        <p:nvSpPr>
          <p:cNvPr id="245" name="Rechteck 244">
            <a:extLst>
              <a:ext uri="{FF2B5EF4-FFF2-40B4-BE49-F238E27FC236}">
                <a16:creationId xmlns:a16="http://schemas.microsoft.com/office/drawing/2014/main" id="{4BFA3DBF-115D-4292-8D6D-0967618A0F6E}"/>
              </a:ext>
            </a:extLst>
          </p:cNvPr>
          <p:cNvSpPr/>
          <p:nvPr>
            <p:custDataLst>
              <p:tags r:id="rId23"/>
            </p:custDataLst>
          </p:nvPr>
        </p:nvSpPr>
        <p:spPr bwMode="gray">
          <a:xfrm>
            <a:off x="6256828" y="5345016"/>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1</a:t>
            </a:r>
          </a:p>
        </p:txBody>
      </p:sp>
      <p:sp>
        <p:nvSpPr>
          <p:cNvPr id="199" name="Rechteck 198">
            <a:extLst>
              <a:ext uri="{FF2B5EF4-FFF2-40B4-BE49-F238E27FC236}">
                <a16:creationId xmlns:a16="http://schemas.microsoft.com/office/drawing/2014/main" id="{C1860EA9-9C4E-4811-8E45-B66D3C65BD55}"/>
              </a:ext>
            </a:extLst>
          </p:cNvPr>
          <p:cNvSpPr/>
          <p:nvPr>
            <p:custDataLst>
              <p:tags r:id="rId24"/>
            </p:custDataLst>
          </p:nvPr>
        </p:nvSpPr>
        <p:spPr bwMode="gray">
          <a:xfrm>
            <a:off x="6796133" y="4707398"/>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bg1"/>
                </a:solidFill>
              </a:rPr>
              <a:t>-21</a:t>
            </a:r>
          </a:p>
        </p:txBody>
      </p:sp>
      <p:sp>
        <p:nvSpPr>
          <p:cNvPr id="235" name="Rechteck 234">
            <a:extLst>
              <a:ext uri="{FF2B5EF4-FFF2-40B4-BE49-F238E27FC236}">
                <a16:creationId xmlns:a16="http://schemas.microsoft.com/office/drawing/2014/main" id="{FE69300E-78FD-497F-849F-8ADDDFDD662E}"/>
              </a:ext>
            </a:extLst>
          </p:cNvPr>
          <p:cNvSpPr/>
          <p:nvPr>
            <p:custDataLst>
              <p:tags r:id="rId25"/>
            </p:custDataLst>
          </p:nvPr>
        </p:nvSpPr>
        <p:spPr bwMode="gray">
          <a:xfrm>
            <a:off x="6604109" y="4865886"/>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GB" sz="1200" dirty="0">
                <a:solidFill>
                  <a:schemeClr val="bg1"/>
                </a:solidFill>
              </a:rPr>
              <a:t>+5</a:t>
            </a:r>
            <a:endParaRPr lang="en-US" sz="1200" dirty="0">
              <a:solidFill>
                <a:schemeClr val="bg1"/>
              </a:solidFill>
            </a:endParaRPr>
          </a:p>
        </p:txBody>
      </p:sp>
      <p:sp>
        <p:nvSpPr>
          <p:cNvPr id="4" name="Rechteck 3">
            <a:extLst>
              <a:ext uri="{FF2B5EF4-FFF2-40B4-BE49-F238E27FC236}">
                <a16:creationId xmlns:a16="http://schemas.microsoft.com/office/drawing/2014/main" id="{312A48A4-EBE5-44EF-BD24-23D7BE103E28}"/>
              </a:ext>
            </a:extLst>
          </p:cNvPr>
          <p:cNvSpPr/>
          <p:nvPr/>
        </p:nvSpPr>
        <p:spPr>
          <a:xfrm>
            <a:off x="1018266" y="6205339"/>
            <a:ext cx="5036791" cy="215444"/>
          </a:xfrm>
          <a:prstGeom prst="rect">
            <a:avLst/>
          </a:prstGeom>
        </p:spPr>
        <p:txBody>
          <a:bodyPr wrap="square">
            <a:spAutoFit/>
          </a:bodyPr>
          <a:lstStyle/>
          <a:p>
            <a:r>
              <a:rPr lang="en-US" sz="800" dirty="0">
                <a:latin typeface="Arial" panose="020B0604020202020204" pitchFamily="34" charset="0"/>
              </a:rPr>
              <a:t>.</a:t>
            </a:r>
          </a:p>
        </p:txBody>
      </p:sp>
      <p:sp>
        <p:nvSpPr>
          <p:cNvPr id="230" name="Ellipse 983">
            <a:extLst>
              <a:ext uri="{FF2B5EF4-FFF2-40B4-BE49-F238E27FC236}">
                <a16:creationId xmlns:a16="http://schemas.microsoft.com/office/drawing/2014/main" id="{035F90D7-43F3-4DD0-9B6B-58FE037EFADE}"/>
              </a:ext>
            </a:extLst>
          </p:cNvPr>
          <p:cNvSpPr/>
          <p:nvPr>
            <p:custDataLst>
              <p:tags r:id="rId26"/>
            </p:custDataLst>
          </p:nvPr>
        </p:nvSpPr>
        <p:spPr bwMode="gray">
          <a:xfrm rot="11042170">
            <a:off x="7867388" y="6050116"/>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    </a:t>
            </a:r>
            <a:endParaRPr lang="en-US" sz="1067" dirty="0">
              <a:solidFill>
                <a:schemeClr val="bg1"/>
              </a:solidFill>
            </a:endParaRPr>
          </a:p>
        </p:txBody>
      </p:sp>
      <p:sp>
        <p:nvSpPr>
          <p:cNvPr id="249" name="Ellipse 1037">
            <a:extLst>
              <a:ext uri="{FF2B5EF4-FFF2-40B4-BE49-F238E27FC236}">
                <a16:creationId xmlns:a16="http://schemas.microsoft.com/office/drawing/2014/main" id="{749FA862-9F6C-4B03-A623-4CE01FFA0A42}"/>
              </a:ext>
            </a:extLst>
          </p:cNvPr>
          <p:cNvSpPr/>
          <p:nvPr>
            <p:custDataLst>
              <p:tags r:id="rId27"/>
            </p:custDataLst>
          </p:nvPr>
        </p:nvSpPr>
        <p:spPr bwMode="gray">
          <a:xfrm rot="13950022">
            <a:off x="11244000" y="5748713"/>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3" name="Ellipse 929">
            <a:extLst>
              <a:ext uri="{FF2B5EF4-FFF2-40B4-BE49-F238E27FC236}">
                <a16:creationId xmlns:a16="http://schemas.microsoft.com/office/drawing/2014/main" id="{66C72F82-8BE0-4468-9354-8D6808EE12FC}"/>
              </a:ext>
            </a:extLst>
          </p:cNvPr>
          <p:cNvSpPr/>
          <p:nvPr>
            <p:custDataLst>
              <p:tags r:id="rId28"/>
            </p:custDataLst>
          </p:nvPr>
        </p:nvSpPr>
        <p:spPr bwMode="gray">
          <a:xfrm rot="16949251">
            <a:off x="7514597" y="2404895"/>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5" name="Ellipse 264">
            <a:extLst>
              <a:ext uri="{FF2B5EF4-FFF2-40B4-BE49-F238E27FC236}">
                <a16:creationId xmlns:a16="http://schemas.microsoft.com/office/drawing/2014/main" id="{A428BA23-1806-4397-B9E2-35D05BEC7E05}"/>
              </a:ext>
            </a:extLst>
          </p:cNvPr>
          <p:cNvSpPr/>
          <p:nvPr>
            <p:custDataLst>
              <p:tags r:id="rId29"/>
            </p:custDataLst>
          </p:nvPr>
        </p:nvSpPr>
        <p:spPr bwMode="gray">
          <a:xfrm>
            <a:off x="8863233" y="6401076"/>
            <a:ext cx="143999"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7" name="Ellipse 266">
            <a:extLst>
              <a:ext uri="{FF2B5EF4-FFF2-40B4-BE49-F238E27FC236}">
                <a16:creationId xmlns:a16="http://schemas.microsoft.com/office/drawing/2014/main" id="{2210F1B1-9CE7-45CC-BC87-35D5CDBBB2FA}"/>
              </a:ext>
            </a:extLst>
          </p:cNvPr>
          <p:cNvSpPr/>
          <p:nvPr>
            <p:custDataLst>
              <p:tags r:id="rId30"/>
            </p:custDataLst>
          </p:nvPr>
        </p:nvSpPr>
        <p:spPr bwMode="gray">
          <a:xfrm rot="16358124">
            <a:off x="6644778" y="2851417"/>
            <a:ext cx="143999"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9" name="Ellipse 268">
            <a:extLst>
              <a:ext uri="{FF2B5EF4-FFF2-40B4-BE49-F238E27FC236}">
                <a16:creationId xmlns:a16="http://schemas.microsoft.com/office/drawing/2014/main" id="{6D9940FB-AD81-4EFE-BDE3-1C07D239009A}"/>
              </a:ext>
            </a:extLst>
          </p:cNvPr>
          <p:cNvSpPr/>
          <p:nvPr>
            <p:custDataLst>
              <p:tags r:id="rId31"/>
            </p:custDataLst>
          </p:nvPr>
        </p:nvSpPr>
        <p:spPr bwMode="gray">
          <a:xfrm rot="20205510">
            <a:off x="7061652" y="4054519"/>
            <a:ext cx="143999"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197" name="Ellipse 983">
            <a:extLst>
              <a:ext uri="{FF2B5EF4-FFF2-40B4-BE49-F238E27FC236}">
                <a16:creationId xmlns:a16="http://schemas.microsoft.com/office/drawing/2014/main" id="{8E6C3A94-3464-420D-A47E-A03211F241F7}"/>
              </a:ext>
            </a:extLst>
          </p:cNvPr>
          <p:cNvSpPr/>
          <p:nvPr>
            <p:custDataLst>
              <p:tags r:id="rId32"/>
            </p:custDataLst>
          </p:nvPr>
        </p:nvSpPr>
        <p:spPr bwMode="gray">
          <a:xfrm rot="11132088">
            <a:off x="9156310" y="3479852"/>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    </a:t>
            </a:r>
            <a:endParaRPr lang="en-US" sz="1067" dirty="0">
              <a:solidFill>
                <a:schemeClr val="bg1"/>
              </a:solidFill>
            </a:endParaRPr>
          </a:p>
        </p:txBody>
      </p:sp>
      <p:sp>
        <p:nvSpPr>
          <p:cNvPr id="203" name="Ellipse 1037">
            <a:extLst>
              <a:ext uri="{FF2B5EF4-FFF2-40B4-BE49-F238E27FC236}">
                <a16:creationId xmlns:a16="http://schemas.microsoft.com/office/drawing/2014/main" id="{2FADBBBE-C48A-4F33-915E-52F22BCB2801}"/>
              </a:ext>
            </a:extLst>
          </p:cNvPr>
          <p:cNvSpPr/>
          <p:nvPr>
            <p:custDataLst>
              <p:tags r:id="rId33"/>
            </p:custDataLst>
          </p:nvPr>
        </p:nvSpPr>
        <p:spPr bwMode="gray">
          <a:xfrm rot="14301959">
            <a:off x="9497357" y="4342013"/>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04" name="Ellipse 1037">
            <a:extLst>
              <a:ext uri="{FF2B5EF4-FFF2-40B4-BE49-F238E27FC236}">
                <a16:creationId xmlns:a16="http://schemas.microsoft.com/office/drawing/2014/main" id="{6702F170-3D73-4FF8-B8A6-1B7B295C7621}"/>
              </a:ext>
            </a:extLst>
          </p:cNvPr>
          <p:cNvSpPr/>
          <p:nvPr>
            <p:custDataLst>
              <p:tags r:id="rId34"/>
            </p:custDataLst>
          </p:nvPr>
        </p:nvSpPr>
        <p:spPr bwMode="gray">
          <a:xfrm rot="14019023">
            <a:off x="7026907" y="4864471"/>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05" name="Ellipse 983">
            <a:extLst>
              <a:ext uri="{FF2B5EF4-FFF2-40B4-BE49-F238E27FC236}">
                <a16:creationId xmlns:a16="http://schemas.microsoft.com/office/drawing/2014/main" id="{6BCA870B-C5C2-40C5-BD27-7B761F6E0C3A}"/>
              </a:ext>
            </a:extLst>
          </p:cNvPr>
          <p:cNvSpPr/>
          <p:nvPr>
            <p:custDataLst>
              <p:tags r:id="rId35"/>
            </p:custDataLst>
          </p:nvPr>
        </p:nvSpPr>
        <p:spPr bwMode="gray">
          <a:xfrm rot="10987271">
            <a:off x="6120564" y="5929244"/>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18" name="Ellipse 983">
            <a:extLst>
              <a:ext uri="{FF2B5EF4-FFF2-40B4-BE49-F238E27FC236}">
                <a16:creationId xmlns:a16="http://schemas.microsoft.com/office/drawing/2014/main" id="{59592152-8B2A-490E-A2D0-A531C2AD93D1}"/>
              </a:ext>
            </a:extLst>
          </p:cNvPr>
          <p:cNvSpPr/>
          <p:nvPr>
            <p:custDataLst>
              <p:tags r:id="rId36"/>
            </p:custDataLst>
          </p:nvPr>
        </p:nvSpPr>
        <p:spPr bwMode="gray">
          <a:xfrm rot="14112966">
            <a:off x="6024008" y="4225272"/>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23" name="Ellipse 983">
            <a:extLst>
              <a:ext uri="{FF2B5EF4-FFF2-40B4-BE49-F238E27FC236}">
                <a16:creationId xmlns:a16="http://schemas.microsoft.com/office/drawing/2014/main" id="{16BBA7E7-D0A5-47D2-91D5-2842902F0E11}"/>
              </a:ext>
            </a:extLst>
          </p:cNvPr>
          <p:cNvSpPr/>
          <p:nvPr>
            <p:custDataLst>
              <p:tags r:id="rId37"/>
            </p:custDataLst>
          </p:nvPr>
        </p:nvSpPr>
        <p:spPr bwMode="gray">
          <a:xfrm rot="16200000">
            <a:off x="7829164" y="5493506"/>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47" name="Ellipse 983">
            <a:extLst>
              <a:ext uri="{FF2B5EF4-FFF2-40B4-BE49-F238E27FC236}">
                <a16:creationId xmlns:a16="http://schemas.microsoft.com/office/drawing/2014/main" id="{DD6EE4D3-199B-49D8-8A2B-A219BC68E60C}"/>
              </a:ext>
            </a:extLst>
          </p:cNvPr>
          <p:cNvSpPr/>
          <p:nvPr>
            <p:custDataLst>
              <p:tags r:id="rId38"/>
            </p:custDataLst>
          </p:nvPr>
        </p:nvSpPr>
        <p:spPr bwMode="gray">
          <a:xfrm rot="13489791">
            <a:off x="6503026" y="4769505"/>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48" name="Ellipse 983">
            <a:extLst>
              <a:ext uri="{FF2B5EF4-FFF2-40B4-BE49-F238E27FC236}">
                <a16:creationId xmlns:a16="http://schemas.microsoft.com/office/drawing/2014/main" id="{DF01D697-5E31-40F8-B036-B184C8EBBA1D}"/>
              </a:ext>
            </a:extLst>
          </p:cNvPr>
          <p:cNvSpPr/>
          <p:nvPr>
            <p:custDataLst>
              <p:tags r:id="rId39"/>
            </p:custDataLst>
          </p:nvPr>
        </p:nvSpPr>
        <p:spPr bwMode="gray">
          <a:xfrm rot="16200000">
            <a:off x="6693754" y="5334111"/>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55" name="Ellipse 983">
            <a:extLst>
              <a:ext uri="{FF2B5EF4-FFF2-40B4-BE49-F238E27FC236}">
                <a16:creationId xmlns:a16="http://schemas.microsoft.com/office/drawing/2014/main" id="{1081602D-FBAF-4A8C-BCF1-A0E7DCBCA88B}"/>
              </a:ext>
            </a:extLst>
          </p:cNvPr>
          <p:cNvSpPr/>
          <p:nvPr>
            <p:custDataLst>
              <p:tags r:id="rId40"/>
            </p:custDataLst>
          </p:nvPr>
        </p:nvSpPr>
        <p:spPr bwMode="gray">
          <a:xfrm rot="13995634">
            <a:off x="2308343" y="3313668"/>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2" name="Rechteck 261">
            <a:extLst>
              <a:ext uri="{FF2B5EF4-FFF2-40B4-BE49-F238E27FC236}">
                <a16:creationId xmlns:a16="http://schemas.microsoft.com/office/drawing/2014/main" id="{9AA5B464-8949-44DB-811D-0647DED64504}"/>
              </a:ext>
            </a:extLst>
          </p:cNvPr>
          <p:cNvSpPr/>
          <p:nvPr>
            <p:custDataLst>
              <p:tags r:id="rId41"/>
            </p:custDataLst>
          </p:nvPr>
        </p:nvSpPr>
        <p:spPr bwMode="gray">
          <a:xfrm>
            <a:off x="9034685" y="4922148"/>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2</a:t>
            </a:r>
          </a:p>
        </p:txBody>
      </p:sp>
      <p:sp>
        <p:nvSpPr>
          <p:cNvPr id="264" name="Rechteck 263">
            <a:extLst>
              <a:ext uri="{FF2B5EF4-FFF2-40B4-BE49-F238E27FC236}">
                <a16:creationId xmlns:a16="http://schemas.microsoft.com/office/drawing/2014/main" id="{C6E0C5AA-640C-40E2-83CC-29939E52B120}"/>
              </a:ext>
            </a:extLst>
          </p:cNvPr>
          <p:cNvSpPr/>
          <p:nvPr>
            <p:custDataLst>
              <p:tags r:id="rId42"/>
            </p:custDataLst>
          </p:nvPr>
        </p:nvSpPr>
        <p:spPr bwMode="gray">
          <a:xfrm>
            <a:off x="8842657" y="5114188"/>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GB" sz="1200" dirty="0">
                <a:solidFill>
                  <a:schemeClr val="tx1"/>
                </a:solidFill>
              </a:rPr>
              <a:t>+11</a:t>
            </a:r>
            <a:endParaRPr lang="en-US" sz="1200" dirty="0">
              <a:solidFill>
                <a:schemeClr val="tx1"/>
              </a:solidFill>
            </a:endParaRPr>
          </a:p>
        </p:txBody>
      </p:sp>
      <p:sp>
        <p:nvSpPr>
          <p:cNvPr id="270" name="Ellipse 983">
            <a:extLst>
              <a:ext uri="{FF2B5EF4-FFF2-40B4-BE49-F238E27FC236}">
                <a16:creationId xmlns:a16="http://schemas.microsoft.com/office/drawing/2014/main" id="{15E0C9E8-4F27-47D9-B121-71D1C0A48929}"/>
              </a:ext>
            </a:extLst>
          </p:cNvPr>
          <p:cNvSpPr/>
          <p:nvPr>
            <p:custDataLst>
              <p:tags r:id="rId43"/>
            </p:custDataLst>
          </p:nvPr>
        </p:nvSpPr>
        <p:spPr bwMode="gray">
          <a:xfrm rot="10800000">
            <a:off x="9274685" y="5125449"/>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cxnSp>
        <p:nvCxnSpPr>
          <p:cNvPr id="273" name="Gerade Verbindung 997">
            <a:extLst>
              <a:ext uri="{FF2B5EF4-FFF2-40B4-BE49-F238E27FC236}">
                <a16:creationId xmlns:a16="http://schemas.microsoft.com/office/drawing/2014/main" id="{2483EDE8-A754-4139-9D9A-4DAAC3B77193}"/>
              </a:ext>
            </a:extLst>
          </p:cNvPr>
          <p:cNvCxnSpPr>
            <a:cxnSpLocks/>
          </p:cNvCxnSpPr>
          <p:nvPr>
            <p:custDataLst>
              <p:tags r:id="rId44"/>
            </p:custDataLst>
          </p:nvPr>
        </p:nvCxnSpPr>
        <p:spPr bwMode="gray">
          <a:xfrm>
            <a:off x="7175892" y="5296354"/>
            <a:ext cx="2220005" cy="0"/>
          </a:xfrm>
          <a:prstGeom prst="line">
            <a:avLst/>
          </a:prstGeom>
          <a:ln cap="rnd">
            <a:solidFill>
              <a:schemeClr val="tx1"/>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227" name="Ellipse 983">
            <a:extLst>
              <a:ext uri="{FF2B5EF4-FFF2-40B4-BE49-F238E27FC236}">
                <a16:creationId xmlns:a16="http://schemas.microsoft.com/office/drawing/2014/main" id="{882626F3-DE36-490A-8769-E2E7DDAA9C85}"/>
              </a:ext>
            </a:extLst>
          </p:cNvPr>
          <p:cNvSpPr/>
          <p:nvPr>
            <p:custDataLst>
              <p:tags r:id="rId45"/>
            </p:custDataLst>
          </p:nvPr>
        </p:nvSpPr>
        <p:spPr bwMode="gray">
          <a:xfrm rot="15992098">
            <a:off x="5129856" y="4695629"/>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33" name="Ellipse 983">
            <a:extLst>
              <a:ext uri="{FF2B5EF4-FFF2-40B4-BE49-F238E27FC236}">
                <a16:creationId xmlns:a16="http://schemas.microsoft.com/office/drawing/2014/main" id="{D68A1A49-54E6-47F6-94EA-4C078FBD247B}"/>
              </a:ext>
            </a:extLst>
          </p:cNvPr>
          <p:cNvSpPr/>
          <p:nvPr>
            <p:custDataLst>
              <p:tags r:id="rId46"/>
            </p:custDataLst>
          </p:nvPr>
        </p:nvSpPr>
        <p:spPr bwMode="gray">
          <a:xfrm rot="13789981">
            <a:off x="4122246" y="5450128"/>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40" name="Ellipse 983">
            <a:extLst>
              <a:ext uri="{FF2B5EF4-FFF2-40B4-BE49-F238E27FC236}">
                <a16:creationId xmlns:a16="http://schemas.microsoft.com/office/drawing/2014/main" id="{C75CCA4B-2CDC-4B29-B6A9-387E4D467D47}"/>
              </a:ext>
            </a:extLst>
          </p:cNvPr>
          <p:cNvSpPr/>
          <p:nvPr>
            <p:custDataLst>
              <p:tags r:id="rId47"/>
            </p:custDataLst>
          </p:nvPr>
        </p:nvSpPr>
        <p:spPr bwMode="gray">
          <a:xfrm rot="10800000">
            <a:off x="3351389" y="5076877"/>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43" name="Ellipse 983">
            <a:extLst>
              <a:ext uri="{FF2B5EF4-FFF2-40B4-BE49-F238E27FC236}">
                <a16:creationId xmlns:a16="http://schemas.microsoft.com/office/drawing/2014/main" id="{5B51065F-4DDF-4187-955C-98F6B071B387}"/>
              </a:ext>
            </a:extLst>
          </p:cNvPr>
          <p:cNvSpPr/>
          <p:nvPr>
            <p:custDataLst>
              <p:tags r:id="rId48"/>
            </p:custDataLst>
          </p:nvPr>
        </p:nvSpPr>
        <p:spPr bwMode="gray">
          <a:xfrm rot="10619432">
            <a:off x="3758308" y="3893685"/>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59" name="Ellipse 983">
            <a:extLst>
              <a:ext uri="{FF2B5EF4-FFF2-40B4-BE49-F238E27FC236}">
                <a16:creationId xmlns:a16="http://schemas.microsoft.com/office/drawing/2014/main" id="{7A9D2A9D-8BB2-49DE-95E0-A8BB2FE3DFA9}"/>
              </a:ext>
            </a:extLst>
          </p:cNvPr>
          <p:cNvSpPr/>
          <p:nvPr>
            <p:custDataLst>
              <p:tags r:id="rId49"/>
            </p:custDataLst>
          </p:nvPr>
        </p:nvSpPr>
        <p:spPr bwMode="gray">
          <a:xfrm rot="18165735">
            <a:off x="6048153" y="3138625"/>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0" name="Ellipse 983">
            <a:extLst>
              <a:ext uri="{FF2B5EF4-FFF2-40B4-BE49-F238E27FC236}">
                <a16:creationId xmlns:a16="http://schemas.microsoft.com/office/drawing/2014/main" id="{0F11600C-6E40-4029-9A0B-34A8935611E8}"/>
              </a:ext>
            </a:extLst>
          </p:cNvPr>
          <p:cNvSpPr/>
          <p:nvPr>
            <p:custDataLst>
              <p:tags r:id="rId50"/>
            </p:custDataLst>
          </p:nvPr>
        </p:nvSpPr>
        <p:spPr bwMode="gray">
          <a:xfrm rot="14519768">
            <a:off x="5601477" y="3687225"/>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71" name="Ellipse 929">
            <a:extLst>
              <a:ext uri="{FF2B5EF4-FFF2-40B4-BE49-F238E27FC236}">
                <a16:creationId xmlns:a16="http://schemas.microsoft.com/office/drawing/2014/main" id="{ADD60C2E-A634-4733-9092-409A1558D3F6}"/>
              </a:ext>
            </a:extLst>
          </p:cNvPr>
          <p:cNvSpPr/>
          <p:nvPr>
            <p:custDataLst>
              <p:tags r:id="rId51"/>
            </p:custDataLst>
          </p:nvPr>
        </p:nvSpPr>
        <p:spPr bwMode="gray">
          <a:xfrm rot="19092848">
            <a:off x="8431903" y="4192298"/>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72" name="Ellipse 929">
            <a:extLst>
              <a:ext uri="{FF2B5EF4-FFF2-40B4-BE49-F238E27FC236}">
                <a16:creationId xmlns:a16="http://schemas.microsoft.com/office/drawing/2014/main" id="{2D9453D8-7774-482E-976D-811C880D5DEB}"/>
              </a:ext>
            </a:extLst>
          </p:cNvPr>
          <p:cNvSpPr/>
          <p:nvPr>
            <p:custDataLst>
              <p:tags r:id="rId52"/>
            </p:custDataLst>
          </p:nvPr>
        </p:nvSpPr>
        <p:spPr bwMode="gray">
          <a:xfrm rot="13410256">
            <a:off x="8494150" y="3207187"/>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74" name="Ellipse 929">
            <a:extLst>
              <a:ext uri="{FF2B5EF4-FFF2-40B4-BE49-F238E27FC236}">
                <a16:creationId xmlns:a16="http://schemas.microsoft.com/office/drawing/2014/main" id="{38B2B4A7-32A8-45C6-8949-E3273EA6CC53}"/>
              </a:ext>
            </a:extLst>
          </p:cNvPr>
          <p:cNvSpPr/>
          <p:nvPr>
            <p:custDataLst>
              <p:tags r:id="rId53"/>
            </p:custDataLst>
          </p:nvPr>
        </p:nvSpPr>
        <p:spPr bwMode="gray">
          <a:xfrm rot="21151660">
            <a:off x="8006024" y="2862435"/>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20" name="Rechteck 219">
            <a:extLst>
              <a:ext uri="{FF2B5EF4-FFF2-40B4-BE49-F238E27FC236}">
                <a16:creationId xmlns:a16="http://schemas.microsoft.com/office/drawing/2014/main" id="{6C2B2BD7-D674-4FBF-9591-8295E65AD4D4}"/>
              </a:ext>
            </a:extLst>
          </p:cNvPr>
          <p:cNvSpPr/>
          <p:nvPr>
            <p:custDataLst>
              <p:tags r:id="rId54"/>
            </p:custDataLst>
          </p:nvPr>
        </p:nvSpPr>
        <p:spPr bwMode="gray">
          <a:xfrm>
            <a:off x="4740253" y="3491362"/>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2</a:t>
            </a:r>
          </a:p>
        </p:txBody>
      </p:sp>
      <p:sp>
        <p:nvSpPr>
          <p:cNvPr id="246" name="Rechteck 245">
            <a:extLst>
              <a:ext uri="{FF2B5EF4-FFF2-40B4-BE49-F238E27FC236}">
                <a16:creationId xmlns:a16="http://schemas.microsoft.com/office/drawing/2014/main" id="{2791910E-E4FA-44A0-94FC-78927DC6EA39}"/>
              </a:ext>
            </a:extLst>
          </p:cNvPr>
          <p:cNvSpPr/>
          <p:nvPr>
            <p:custDataLst>
              <p:tags r:id="rId55"/>
            </p:custDataLst>
          </p:nvPr>
        </p:nvSpPr>
        <p:spPr bwMode="gray">
          <a:xfrm>
            <a:off x="4748274" y="3674696"/>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1</a:t>
            </a:r>
          </a:p>
        </p:txBody>
      </p:sp>
      <p:sp>
        <p:nvSpPr>
          <p:cNvPr id="250" name="Ellipse 983">
            <a:extLst>
              <a:ext uri="{FF2B5EF4-FFF2-40B4-BE49-F238E27FC236}">
                <a16:creationId xmlns:a16="http://schemas.microsoft.com/office/drawing/2014/main" id="{06B0C920-4356-4B12-8BED-46898D9F0B87}"/>
              </a:ext>
            </a:extLst>
          </p:cNvPr>
          <p:cNvSpPr/>
          <p:nvPr>
            <p:custDataLst>
              <p:tags r:id="rId56"/>
            </p:custDataLst>
          </p:nvPr>
        </p:nvSpPr>
        <p:spPr bwMode="gray">
          <a:xfrm rot="16200000">
            <a:off x="5155653" y="3679062"/>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51" name="Subtitle 19">
            <a:extLst>
              <a:ext uri="{FF2B5EF4-FFF2-40B4-BE49-F238E27FC236}">
                <a16:creationId xmlns:a16="http://schemas.microsoft.com/office/drawing/2014/main" id="{F1E348C7-969D-42FC-A5D2-213676270864}"/>
              </a:ext>
            </a:extLst>
          </p:cNvPr>
          <p:cNvSpPr txBox="1">
            <a:spLocks/>
          </p:cNvSpPr>
          <p:nvPr/>
        </p:nvSpPr>
        <p:spPr>
          <a:xfrm>
            <a:off x="280771" y="980728"/>
            <a:ext cx="8641357" cy="360040"/>
          </a:xfrm>
          <a:prstGeom prst="rect">
            <a:avLst/>
          </a:prstGeom>
        </p:spPr>
        <p:txBody>
          <a:bodyPr/>
          <a:lstStyle>
            <a:lvl1pPr marL="266700" indent="-266700" algn="l" defTabSz="914400" rtl="0" eaLnBrk="1" latinLnBrk="0" hangingPunct="1">
              <a:lnSpc>
                <a:spcPct val="100000"/>
              </a:lnSpc>
              <a:spcBef>
                <a:spcPts val="1000"/>
              </a:spcBef>
              <a:buClrTx/>
              <a:buSzPct val="80000"/>
              <a:buFont typeface="Wingdings" panose="05000000000000000000" pitchFamily="2" charset="2"/>
              <a:buChar char="n"/>
              <a:defRPr sz="1600" kern="1200">
                <a:solidFill>
                  <a:schemeClr val="tx1"/>
                </a:solidFill>
                <a:latin typeface="+mn-lt"/>
                <a:ea typeface="+mn-ea"/>
                <a:cs typeface="+mn-cs"/>
              </a:defRPr>
            </a:lvl1pPr>
            <a:lvl2pPr marL="542925" indent="-276225" algn="l" defTabSz="914400" rtl="0" eaLnBrk="1" latinLnBrk="0" hangingPunct="1">
              <a:lnSpc>
                <a:spcPct val="100000"/>
              </a:lnSpc>
              <a:spcBef>
                <a:spcPts val="1000"/>
              </a:spcBef>
              <a:buClrTx/>
              <a:buSzPct val="80000"/>
              <a:buFont typeface="Wingdings" panose="05000000000000000000" pitchFamily="2" charset="2"/>
              <a:buChar char=""/>
              <a:defRPr sz="1600" kern="1200">
                <a:solidFill>
                  <a:schemeClr val="tx1"/>
                </a:solidFill>
                <a:latin typeface="+mn-lt"/>
                <a:ea typeface="+mn-ea"/>
                <a:cs typeface="+mn-cs"/>
              </a:defRPr>
            </a:lvl2pPr>
            <a:lvl3pPr marL="809625" indent="-266700" algn="l" defTabSz="914400" rtl="0" eaLnBrk="1" latinLnBrk="0" hangingPunct="1">
              <a:lnSpc>
                <a:spcPct val="100000"/>
              </a:lnSpc>
              <a:spcBef>
                <a:spcPts val="1000"/>
              </a:spcBef>
              <a:buClrTx/>
              <a:buSzPct val="100000"/>
              <a:buFont typeface="Courier New" panose="02070309020205020404" pitchFamily="49" charset="0"/>
              <a:buChar char="o"/>
              <a:defRPr sz="1600" kern="1200">
                <a:solidFill>
                  <a:schemeClr val="tx1"/>
                </a:solidFill>
                <a:latin typeface="+mn-lt"/>
                <a:ea typeface="+mn-ea"/>
                <a:cs typeface="+mn-cs"/>
              </a:defRPr>
            </a:lvl3pPr>
            <a:lvl4pPr marL="0" indent="0" algn="l" defTabSz="914400" rtl="0" eaLnBrk="1" latinLnBrk="0" hangingPunct="1">
              <a:lnSpc>
                <a:spcPct val="100000"/>
              </a:lnSpc>
              <a:spcBef>
                <a:spcPts val="1000"/>
              </a:spcBef>
              <a:buClrTx/>
              <a:buSzPct val="80000"/>
              <a:buFont typeface="Wingdings" panose="05000000000000000000" pitchFamily="2" charset="2"/>
              <a:buNone/>
              <a:defRPr sz="1600" kern="1200">
                <a:solidFill>
                  <a:schemeClr val="tx1"/>
                </a:solidFill>
                <a:latin typeface="+mn-lt"/>
                <a:ea typeface="+mn-ea"/>
                <a:cs typeface="+mn-cs"/>
              </a:defRPr>
            </a:lvl4pPr>
            <a:lvl5pPr marL="0" indent="0" algn="l" defTabSz="914400" rtl="0" eaLnBrk="1" latinLnBrk="0" hangingPunct="1">
              <a:lnSpc>
                <a:spcPct val="100000"/>
              </a:lnSpc>
              <a:spcBef>
                <a:spcPts val="1000"/>
              </a:spcBef>
              <a:buClrTx/>
              <a:buFont typeface="Wingdings 2" panose="05020102010507070707" pitchFamily="18" charset="2"/>
              <a:buNone/>
              <a:defRPr sz="1200" b="0" kern="1200">
                <a:solidFill>
                  <a:schemeClr val="tx1"/>
                </a:solidFill>
                <a:latin typeface="+mn-lt"/>
                <a:ea typeface="+mn-ea"/>
                <a:cs typeface="+mn-cs"/>
              </a:defRPr>
            </a:lvl5pPr>
            <a:lvl6pPr marL="266700" indent="-266700" algn="l" defTabSz="914400" rtl="0" eaLnBrk="1" latinLnBrk="0" hangingPunct="1">
              <a:lnSpc>
                <a:spcPct val="100000"/>
              </a:lnSpc>
              <a:spcBef>
                <a:spcPts val="600"/>
              </a:spcBef>
              <a:buClrTx/>
              <a:buSzPct val="80000"/>
              <a:buFont typeface="Wingdings" panose="05000000000000000000" pitchFamily="2" charset="2"/>
              <a:buChar char="n"/>
              <a:defRPr sz="1200" b="0" kern="1200">
                <a:solidFill>
                  <a:schemeClr val="tx1"/>
                </a:solidFill>
                <a:latin typeface="+mn-lt"/>
                <a:ea typeface="+mn-ea"/>
                <a:cs typeface="+mn-cs"/>
              </a:defRPr>
            </a:lvl6pPr>
            <a:lvl7pPr marL="542925" indent="-276225" algn="l" defTabSz="914400" rtl="0" eaLnBrk="1" latinLnBrk="0" hangingPunct="1">
              <a:lnSpc>
                <a:spcPct val="100000"/>
              </a:lnSpc>
              <a:spcBef>
                <a:spcPts val="600"/>
              </a:spcBef>
              <a:buClrTx/>
              <a:buSzPct val="80000"/>
              <a:buFont typeface="Wingdings" panose="05000000000000000000" pitchFamily="2" charset="2"/>
              <a:buChar char="o"/>
              <a:defRPr sz="1200" b="0" kern="1200">
                <a:solidFill>
                  <a:schemeClr val="tx1"/>
                </a:solidFill>
                <a:latin typeface="+mn-lt"/>
                <a:ea typeface="+mn-ea"/>
                <a:cs typeface="+mn-cs"/>
              </a:defRPr>
            </a:lvl7pPr>
            <a:lvl8pPr marL="809625" indent="-266700" algn="l" defTabSz="914400" rtl="0" eaLnBrk="1" latinLnBrk="0" hangingPunct="1">
              <a:lnSpc>
                <a:spcPct val="100000"/>
              </a:lnSpc>
              <a:spcBef>
                <a:spcPts val="600"/>
              </a:spcBef>
              <a:buClrTx/>
              <a:buSzPct val="100000"/>
              <a:buFont typeface="Courier New" panose="02070309020205020404" pitchFamily="49" charset="0"/>
              <a:buChar char="o"/>
              <a:defRPr sz="1200" b="0" kern="1200">
                <a:solidFill>
                  <a:schemeClr val="tx1"/>
                </a:solidFill>
                <a:latin typeface="+mn-lt"/>
                <a:ea typeface="+mn-ea"/>
                <a:cs typeface="+mn-cs"/>
              </a:defRPr>
            </a:lvl8pPr>
            <a:lvl9pPr marL="803275" indent="-268288" algn="l" defTabSz="914400" rtl="0" eaLnBrk="1" latinLnBrk="0" hangingPunct="1">
              <a:lnSpc>
                <a:spcPct val="100000"/>
              </a:lnSpc>
              <a:spcBef>
                <a:spcPts val="600"/>
              </a:spcBef>
              <a:buClrTx/>
              <a:buSzPct val="100000"/>
              <a:buFont typeface="Courier New" panose="02070309020205020404" pitchFamily="49" charset="0"/>
              <a:buChar char="o"/>
              <a:defRPr sz="1200" b="0" kern="1200">
                <a:solidFill>
                  <a:schemeClr val="tx1"/>
                </a:solidFill>
                <a:latin typeface="+mn-lt"/>
                <a:ea typeface="+mn-ea"/>
                <a:cs typeface="+mn-cs"/>
              </a:defRPr>
            </a:lvl9pPr>
          </a:lstStyle>
          <a:p>
            <a:pPr marL="0" indent="0">
              <a:buNone/>
            </a:pPr>
            <a:r>
              <a:rPr lang="es-ES_tradnl" sz="2000">
                <a:latin typeface="Lato Light" panose="020F0502020204030203" pitchFamily="34" charset="0"/>
                <a:ea typeface="Lato Light" panose="020F0502020204030203" pitchFamily="34" charset="0"/>
                <a:cs typeface="Lato Light" panose="020F0502020204030203" pitchFamily="34" charset="0"/>
              </a:rPr>
              <a:t>Diciembre 2023</a:t>
            </a:r>
          </a:p>
        </p:txBody>
      </p:sp>
      <p:sp>
        <p:nvSpPr>
          <p:cNvPr id="219" name="Freihandform: Form 218">
            <a:extLst>
              <a:ext uri="{FF2B5EF4-FFF2-40B4-BE49-F238E27FC236}">
                <a16:creationId xmlns:a16="http://schemas.microsoft.com/office/drawing/2014/main" id="{160AAE31-A1A8-41D2-B9A7-AE3A97A23B09}"/>
              </a:ext>
            </a:extLst>
          </p:cNvPr>
          <p:cNvSpPr/>
          <p:nvPr/>
        </p:nvSpPr>
        <p:spPr>
          <a:xfrm>
            <a:off x="8018304" y="4848334"/>
            <a:ext cx="196724" cy="128042"/>
          </a:xfrm>
          <a:custGeom>
            <a:avLst/>
            <a:gdLst>
              <a:gd name="connsiteX0" fmla="*/ 0 w 196724"/>
              <a:gd name="connsiteY0" fmla="*/ 128042 h 128042"/>
              <a:gd name="connsiteX1" fmla="*/ 3643 w 196724"/>
              <a:gd name="connsiteY1" fmla="*/ 109827 h 128042"/>
              <a:gd name="connsiteX2" fmla="*/ 14572 w 196724"/>
              <a:gd name="connsiteY2" fmla="*/ 102541 h 128042"/>
              <a:gd name="connsiteX3" fmla="*/ 21859 w 196724"/>
              <a:gd name="connsiteY3" fmla="*/ 91612 h 128042"/>
              <a:gd name="connsiteX4" fmla="*/ 32788 w 196724"/>
              <a:gd name="connsiteY4" fmla="*/ 87969 h 128042"/>
              <a:gd name="connsiteX5" fmla="*/ 76504 w 196724"/>
              <a:gd name="connsiteY5" fmla="*/ 84326 h 128042"/>
              <a:gd name="connsiteX6" fmla="*/ 54646 w 196724"/>
              <a:gd name="connsiteY6" fmla="*/ 51539 h 128042"/>
              <a:gd name="connsiteX7" fmla="*/ 58289 w 196724"/>
              <a:gd name="connsiteY7" fmla="*/ 26037 h 128042"/>
              <a:gd name="connsiteX8" fmla="*/ 69218 w 196724"/>
              <a:gd name="connsiteY8" fmla="*/ 22394 h 128042"/>
              <a:gd name="connsiteX9" fmla="*/ 80147 w 196724"/>
              <a:gd name="connsiteY9" fmla="*/ 11465 h 128042"/>
              <a:gd name="connsiteX10" fmla="*/ 87433 w 196724"/>
              <a:gd name="connsiteY10" fmla="*/ 536 h 128042"/>
              <a:gd name="connsiteX11" fmla="*/ 131149 w 196724"/>
              <a:gd name="connsiteY11" fmla="*/ 4179 h 128042"/>
              <a:gd name="connsiteX12" fmla="*/ 196724 w 196724"/>
              <a:gd name="connsiteY12" fmla="*/ 11465 h 12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24" h="128042">
                <a:moveTo>
                  <a:pt x="0" y="128042"/>
                </a:moveTo>
                <a:cubicBezTo>
                  <a:pt x="1214" y="121970"/>
                  <a:pt x="571" y="115203"/>
                  <a:pt x="3643" y="109827"/>
                </a:cubicBezTo>
                <a:cubicBezTo>
                  <a:pt x="5815" y="106026"/>
                  <a:pt x="11476" y="105637"/>
                  <a:pt x="14572" y="102541"/>
                </a:cubicBezTo>
                <a:cubicBezTo>
                  <a:pt x="17668" y="99445"/>
                  <a:pt x="18440" y="94347"/>
                  <a:pt x="21859" y="91612"/>
                </a:cubicBezTo>
                <a:cubicBezTo>
                  <a:pt x="24858" y="89213"/>
                  <a:pt x="28982" y="88477"/>
                  <a:pt x="32788" y="87969"/>
                </a:cubicBezTo>
                <a:cubicBezTo>
                  <a:pt x="47282" y="86036"/>
                  <a:pt x="61932" y="85540"/>
                  <a:pt x="76504" y="84326"/>
                </a:cubicBezTo>
                <a:cubicBezTo>
                  <a:pt x="72765" y="79652"/>
                  <a:pt x="55474" y="60646"/>
                  <a:pt x="54646" y="51539"/>
                </a:cubicBezTo>
                <a:cubicBezTo>
                  <a:pt x="53869" y="42987"/>
                  <a:pt x="54449" y="33717"/>
                  <a:pt x="58289" y="26037"/>
                </a:cubicBezTo>
                <a:cubicBezTo>
                  <a:pt x="60006" y="22602"/>
                  <a:pt x="65575" y="23608"/>
                  <a:pt x="69218" y="22394"/>
                </a:cubicBezTo>
                <a:cubicBezTo>
                  <a:pt x="72861" y="18751"/>
                  <a:pt x="76849" y="15423"/>
                  <a:pt x="80147" y="11465"/>
                </a:cubicBezTo>
                <a:cubicBezTo>
                  <a:pt x="82950" y="8101"/>
                  <a:pt x="83099" y="1155"/>
                  <a:pt x="87433" y="536"/>
                </a:cubicBezTo>
                <a:cubicBezTo>
                  <a:pt x="101909" y="-1532"/>
                  <a:pt x="116577" y="2965"/>
                  <a:pt x="131149" y="4179"/>
                </a:cubicBezTo>
                <a:cubicBezTo>
                  <a:pt x="172075" y="14410"/>
                  <a:pt x="150280" y="11465"/>
                  <a:pt x="196724" y="11465"/>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13">
            <a:extLst>
              <a:ext uri="{FF2B5EF4-FFF2-40B4-BE49-F238E27FC236}">
                <a16:creationId xmlns:a16="http://schemas.microsoft.com/office/drawing/2014/main" id="{98DD38E0-875D-1EEB-6C21-99A6103C9DAA}"/>
              </a:ext>
            </a:extLst>
          </p:cNvPr>
          <p:cNvSpPr/>
          <p:nvPr/>
        </p:nvSpPr>
        <p:spPr bwMode="gray">
          <a:xfrm>
            <a:off x="1023888" y="6597368"/>
            <a:ext cx="7056000" cy="144000"/>
          </a:xfrm>
          <a:prstGeom prst="rect">
            <a:avLst/>
          </a:prstGeom>
          <a:no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s-ES_tradnl" sz="800" dirty="0">
                <a:solidFill>
                  <a:srgbClr val="8E8581"/>
                </a:solidFill>
                <a:latin typeface="Arial" pitchFamily="34" charset="0"/>
                <a:cs typeface="Arial" pitchFamily="34" charset="0"/>
              </a:rPr>
              <a:t>Fuente</a:t>
            </a:r>
            <a:r>
              <a:rPr kumimoji="0" lang="es-ES_tradnl" sz="800" b="0" i="0" u="none" strike="noStrike" kern="1200" cap="none" spc="0" normalizeH="0" baseline="0" noProof="0" dirty="0">
                <a:ln>
                  <a:noFill/>
                </a:ln>
                <a:solidFill>
                  <a:srgbClr val="8E8581"/>
                </a:solidFill>
                <a:effectLst/>
                <a:uLnTx/>
                <a:uFillTx/>
                <a:latin typeface="Arial" pitchFamily="34" charset="0"/>
                <a:ea typeface="+mn-ea"/>
                <a:cs typeface="Arial" pitchFamily="34" charset="0"/>
              </a:rPr>
              <a:t>: GfK Euro Clima </a:t>
            </a:r>
            <a:r>
              <a:rPr kumimoji="0" lang="es-ES_tradnl" sz="800" b="0" i="1" u="none" strike="noStrike" kern="1200" cap="none" spc="0" normalizeH="0" baseline="0" noProof="0" dirty="0" err="1">
                <a:ln>
                  <a:noFill/>
                </a:ln>
                <a:solidFill>
                  <a:srgbClr val="8E8581"/>
                </a:solidFill>
                <a:effectLst/>
                <a:uLnTx/>
                <a:uFillTx/>
                <a:latin typeface="Arial" pitchFamily="34" charset="0"/>
                <a:ea typeface="+mn-ea"/>
                <a:cs typeface="Arial" pitchFamily="34" charset="0"/>
              </a:rPr>
              <a:t>powered</a:t>
            </a:r>
            <a:r>
              <a:rPr kumimoji="0" lang="es-ES_tradnl" sz="800" b="0" i="1" u="none" strike="noStrike" kern="1200" cap="none" spc="0" normalizeH="0" baseline="0" noProof="0" dirty="0">
                <a:ln>
                  <a:noFill/>
                </a:ln>
                <a:solidFill>
                  <a:srgbClr val="8E8581"/>
                </a:solidFill>
                <a:effectLst/>
                <a:uLnTx/>
                <a:uFillTx/>
                <a:latin typeface="Arial" pitchFamily="34" charset="0"/>
                <a:ea typeface="+mn-ea"/>
                <a:cs typeface="Arial" pitchFamily="34" charset="0"/>
              </a:rPr>
              <a:t> </a:t>
            </a:r>
            <a:r>
              <a:rPr kumimoji="0" lang="es-ES_tradnl" sz="800" b="0" i="1" u="none" strike="noStrike" kern="1200" cap="none" spc="0" normalizeH="0" baseline="0" noProof="0" dirty="0" err="1">
                <a:ln>
                  <a:noFill/>
                </a:ln>
                <a:solidFill>
                  <a:srgbClr val="8E8581"/>
                </a:solidFill>
                <a:effectLst/>
                <a:uLnTx/>
                <a:uFillTx/>
                <a:latin typeface="Arial" pitchFamily="34" charset="0"/>
                <a:ea typeface="+mn-ea"/>
                <a:cs typeface="Arial" pitchFamily="34" charset="0"/>
              </a:rPr>
              <a:t>by</a:t>
            </a:r>
            <a:r>
              <a:rPr kumimoji="0" lang="es-ES_tradnl" sz="800" b="0" i="0" u="none" strike="noStrike" kern="1200" cap="none" spc="0" normalizeH="0" baseline="0" noProof="0" dirty="0">
                <a:ln>
                  <a:noFill/>
                </a:ln>
                <a:solidFill>
                  <a:srgbClr val="8E8581"/>
                </a:solidFill>
                <a:effectLst/>
                <a:uLnTx/>
                <a:uFillTx/>
                <a:latin typeface="Arial" pitchFamily="34" charset="0"/>
                <a:ea typeface="+mn-ea"/>
                <a:cs typeface="Arial" pitchFamily="34" charset="0"/>
              </a:rPr>
              <a:t> NIM, estudio por encargo de la Comisión EU | Diciembre 2023 | valores redondeados</a:t>
            </a:r>
          </a:p>
        </p:txBody>
      </p:sp>
      <p:sp>
        <p:nvSpPr>
          <p:cNvPr id="9" name="Titel 1">
            <a:extLst>
              <a:ext uri="{FF2B5EF4-FFF2-40B4-BE49-F238E27FC236}">
                <a16:creationId xmlns:a16="http://schemas.microsoft.com/office/drawing/2014/main" id="{4B173E81-849B-8182-84E8-4B3760FAC4A4}"/>
              </a:ext>
            </a:extLst>
          </p:cNvPr>
          <p:cNvSpPr txBox="1">
            <a:spLocks/>
          </p:cNvSpPr>
          <p:nvPr>
            <p:custDataLst>
              <p:tags r:id="rId57"/>
            </p:custDataLst>
          </p:nvPr>
        </p:nvSpPr>
        <p:spPr bwMode="gray">
          <a:xfrm>
            <a:off x="406567" y="260648"/>
            <a:ext cx="8785777" cy="369332"/>
          </a:xfrm>
          <a:prstGeom prst="rect">
            <a:avLst/>
          </a:prstGeom>
        </p:spPr>
        <p:txBody>
          <a:bodyPr vert="horz" wrap="square" lIns="0" tIns="0" rIns="0" bIns="0" rtlCol="0" anchor="t">
            <a:spAutoFit/>
          </a:bodyPr>
          <a:lstStyle>
            <a:lvl1pPr algn="l" defTabSz="914400" rtl="0" eaLnBrk="1" latinLnBrk="0" hangingPunct="1">
              <a:lnSpc>
                <a:spcPct val="100000"/>
              </a:lnSpc>
              <a:spcBef>
                <a:spcPct val="0"/>
              </a:spcBef>
              <a:buNone/>
              <a:defRPr sz="2400" b="0" kern="1200">
                <a:solidFill>
                  <a:schemeClr val="tx1"/>
                </a:solidFill>
                <a:latin typeface="+mj-lt"/>
                <a:ea typeface="+mj-ea"/>
                <a:cs typeface="+mj-cs"/>
              </a:defRPr>
            </a:lvl1pPr>
          </a:lstStyle>
          <a:p>
            <a:r>
              <a:rPr lang="es-ES_tradnl" b="1" dirty="0"/>
              <a:t>Expectativas económicas | Ligera mejora </a:t>
            </a:r>
          </a:p>
        </p:txBody>
      </p:sp>
      <p:cxnSp>
        <p:nvCxnSpPr>
          <p:cNvPr id="10" name="Gerade Verbindung 907">
            <a:extLst>
              <a:ext uri="{FF2B5EF4-FFF2-40B4-BE49-F238E27FC236}">
                <a16:creationId xmlns:a16="http://schemas.microsoft.com/office/drawing/2014/main" id="{E3984693-DCB6-2985-5E08-74BE71458515}"/>
              </a:ext>
            </a:extLst>
          </p:cNvPr>
          <p:cNvCxnSpPr>
            <a:cxnSpLocks/>
          </p:cNvCxnSpPr>
          <p:nvPr>
            <p:custDataLst>
              <p:tags r:id="rId58"/>
            </p:custDataLst>
          </p:nvPr>
        </p:nvCxnSpPr>
        <p:spPr bwMode="gray">
          <a:xfrm>
            <a:off x="1025138" y="3140968"/>
            <a:ext cx="1486335"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1" name="Rechteck 465">
            <a:extLst>
              <a:ext uri="{FF2B5EF4-FFF2-40B4-BE49-F238E27FC236}">
                <a16:creationId xmlns:a16="http://schemas.microsoft.com/office/drawing/2014/main" id="{FC3F19C2-863D-03D4-E516-392CE4658A08}"/>
              </a:ext>
            </a:extLst>
          </p:cNvPr>
          <p:cNvSpPr/>
          <p:nvPr>
            <p:custDataLst>
              <p:tags r:id="rId59"/>
            </p:custDataLst>
          </p:nvPr>
        </p:nvSpPr>
        <p:spPr bwMode="gray">
          <a:xfrm>
            <a:off x="1024935" y="2180872"/>
            <a:ext cx="74317" cy="96000"/>
          </a:xfrm>
          <a:prstGeom prst="rect">
            <a:avLst/>
          </a:prstGeom>
          <a:solidFill>
            <a:srgbClr val="24892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88000" tIns="60960" rIns="0" bIns="60960" numCol="1" spcCol="0" rtlCol="0" fromWordArt="0" anchor="ctr" anchorCtr="0" forceAA="0" compatLnSpc="1">
            <a:prstTxWarp prst="textNoShape">
              <a:avLst/>
            </a:prstTxWarp>
            <a:noAutofit/>
          </a:bodyPr>
          <a:lstStyle/>
          <a:p>
            <a:pPr>
              <a:spcBef>
                <a:spcPts val="400"/>
              </a:spcBef>
            </a:pPr>
            <a:r>
              <a:rPr lang="es-ES_tradnl" sz="1100" dirty="0">
                <a:solidFill>
                  <a:schemeClr val="tx1"/>
                </a:solidFill>
                <a:cs typeface="Arial" pitchFamily="34" charset="0"/>
              </a:rPr>
              <a:t>Indicador &gt; +20</a:t>
            </a:r>
          </a:p>
        </p:txBody>
      </p:sp>
      <p:sp>
        <p:nvSpPr>
          <p:cNvPr id="12" name="Rechteck 466">
            <a:extLst>
              <a:ext uri="{FF2B5EF4-FFF2-40B4-BE49-F238E27FC236}">
                <a16:creationId xmlns:a16="http://schemas.microsoft.com/office/drawing/2014/main" id="{C2285341-2744-DD6C-56F4-B547F884F178}"/>
              </a:ext>
            </a:extLst>
          </p:cNvPr>
          <p:cNvSpPr/>
          <p:nvPr>
            <p:custDataLst>
              <p:tags r:id="rId60"/>
            </p:custDataLst>
          </p:nvPr>
        </p:nvSpPr>
        <p:spPr bwMode="gray">
          <a:xfrm>
            <a:off x="1024935" y="2420899"/>
            <a:ext cx="74317" cy="96000"/>
          </a:xfrm>
          <a:prstGeom prst="rect">
            <a:avLst/>
          </a:prstGeom>
          <a:solidFill>
            <a:srgbClr val="73C37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88000" tIns="60960" rIns="0" bIns="60960" numCol="1" spcCol="0" rtlCol="0" fromWordArt="0" anchor="ctr" anchorCtr="0" forceAA="0" compatLnSpc="1">
            <a:prstTxWarp prst="textNoShape">
              <a:avLst/>
            </a:prstTxWarp>
            <a:noAutofit/>
          </a:bodyPr>
          <a:lstStyle/>
          <a:p>
            <a:pPr>
              <a:spcBef>
                <a:spcPts val="400"/>
              </a:spcBef>
            </a:pPr>
            <a:r>
              <a:rPr lang="es-ES_tradnl" sz="1100" dirty="0">
                <a:solidFill>
                  <a:schemeClr val="tx1"/>
                </a:solidFill>
                <a:cs typeface="Arial" pitchFamily="34" charset="0"/>
              </a:rPr>
              <a:t>Indicador 0 a +20</a:t>
            </a:r>
          </a:p>
        </p:txBody>
      </p:sp>
      <p:sp>
        <p:nvSpPr>
          <p:cNvPr id="13" name="Rechteck 467">
            <a:extLst>
              <a:ext uri="{FF2B5EF4-FFF2-40B4-BE49-F238E27FC236}">
                <a16:creationId xmlns:a16="http://schemas.microsoft.com/office/drawing/2014/main" id="{B5AB8F52-7305-9EE2-A2A8-DF3A8FE26EC5}"/>
              </a:ext>
            </a:extLst>
          </p:cNvPr>
          <p:cNvSpPr/>
          <p:nvPr>
            <p:custDataLst>
              <p:tags r:id="rId61"/>
            </p:custDataLst>
          </p:nvPr>
        </p:nvSpPr>
        <p:spPr bwMode="gray">
          <a:xfrm>
            <a:off x="1024935" y="2660925"/>
            <a:ext cx="74317" cy="96000"/>
          </a:xfrm>
          <a:prstGeom prst="rect">
            <a:avLst/>
          </a:prstGeom>
          <a:solidFill>
            <a:srgbClr val="CBA6A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88000" tIns="60960" rIns="0" bIns="60960" numCol="1" spcCol="0" rtlCol="0" fromWordArt="0" anchor="ctr" anchorCtr="0" forceAA="0" compatLnSpc="1">
            <a:prstTxWarp prst="textNoShape">
              <a:avLst/>
            </a:prstTxWarp>
            <a:noAutofit/>
          </a:bodyPr>
          <a:lstStyle/>
          <a:p>
            <a:pPr>
              <a:spcBef>
                <a:spcPts val="400"/>
              </a:spcBef>
            </a:pPr>
            <a:r>
              <a:rPr lang="es-ES_tradnl" sz="1100">
                <a:solidFill>
                  <a:schemeClr val="tx1"/>
                </a:solidFill>
                <a:cs typeface="Arial" pitchFamily="34" charset="0"/>
              </a:rPr>
              <a:t>Indicador 0 a -20</a:t>
            </a:r>
          </a:p>
        </p:txBody>
      </p:sp>
      <p:sp>
        <p:nvSpPr>
          <p:cNvPr id="15" name="Rechteck 468">
            <a:extLst>
              <a:ext uri="{FF2B5EF4-FFF2-40B4-BE49-F238E27FC236}">
                <a16:creationId xmlns:a16="http://schemas.microsoft.com/office/drawing/2014/main" id="{7F1AD9C1-B56F-F186-F0B6-87B873BED63C}"/>
              </a:ext>
            </a:extLst>
          </p:cNvPr>
          <p:cNvSpPr/>
          <p:nvPr>
            <p:custDataLst>
              <p:tags r:id="rId62"/>
            </p:custDataLst>
          </p:nvPr>
        </p:nvSpPr>
        <p:spPr bwMode="gray">
          <a:xfrm>
            <a:off x="1025229" y="2900941"/>
            <a:ext cx="74317" cy="96000"/>
          </a:xfrm>
          <a:prstGeom prst="rect">
            <a:avLst/>
          </a:prstGeom>
          <a:solidFill>
            <a:srgbClr val="9B000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88000" tIns="60960" rIns="0" bIns="60960" numCol="1" spcCol="0" rtlCol="0" fromWordArt="0" anchor="ctr" anchorCtr="0" forceAA="0" compatLnSpc="1">
            <a:prstTxWarp prst="textNoShape">
              <a:avLst/>
            </a:prstTxWarp>
            <a:noAutofit/>
          </a:bodyPr>
          <a:lstStyle/>
          <a:p>
            <a:pPr>
              <a:spcBef>
                <a:spcPts val="400"/>
              </a:spcBef>
            </a:pPr>
            <a:r>
              <a:rPr lang="es-ES_tradnl" sz="1100">
                <a:solidFill>
                  <a:schemeClr val="tx1"/>
                </a:solidFill>
                <a:cs typeface="Arial" pitchFamily="34" charset="0"/>
              </a:rPr>
              <a:t>Indicador &lt; -20</a:t>
            </a:r>
          </a:p>
        </p:txBody>
      </p:sp>
      <p:sp>
        <p:nvSpPr>
          <p:cNvPr id="16" name="Textfeld 201">
            <a:extLst>
              <a:ext uri="{FF2B5EF4-FFF2-40B4-BE49-F238E27FC236}">
                <a16:creationId xmlns:a16="http://schemas.microsoft.com/office/drawing/2014/main" id="{57C61084-22BD-EB8F-1192-564A877BD87E}"/>
              </a:ext>
            </a:extLst>
          </p:cNvPr>
          <p:cNvSpPr txBox="1"/>
          <p:nvPr/>
        </p:nvSpPr>
        <p:spPr>
          <a:xfrm>
            <a:off x="1022457" y="1810352"/>
            <a:ext cx="914400" cy="284281"/>
          </a:xfrm>
          <a:prstGeom prst="rect">
            <a:avLst/>
          </a:prstGeom>
          <a:noFill/>
        </p:spPr>
        <p:txBody>
          <a:bodyPr wrap="none" lIns="0" tIns="0" rIns="0" bIns="0" rtlCol="0">
            <a:noAutofit/>
          </a:bodyPr>
          <a:lstStyle/>
          <a:p>
            <a:pPr>
              <a:lnSpc>
                <a:spcPct val="125000"/>
              </a:lnSpc>
              <a:buClr>
                <a:schemeClr val="tx2"/>
              </a:buClr>
            </a:pPr>
            <a:r>
              <a:rPr lang="es-ES_tradnl" sz="1100" dirty="0"/>
              <a:t>Nivel del indicador:</a:t>
            </a:r>
          </a:p>
        </p:txBody>
      </p:sp>
      <p:sp>
        <p:nvSpPr>
          <p:cNvPr id="37" name="Ellipse 983">
            <a:extLst>
              <a:ext uri="{FF2B5EF4-FFF2-40B4-BE49-F238E27FC236}">
                <a16:creationId xmlns:a16="http://schemas.microsoft.com/office/drawing/2014/main" id="{FF84EC9C-49CB-48A0-D43E-F0ABD71EF7DD}"/>
              </a:ext>
            </a:extLst>
          </p:cNvPr>
          <p:cNvSpPr/>
          <p:nvPr>
            <p:custDataLst>
              <p:tags r:id="rId63"/>
            </p:custDataLst>
          </p:nvPr>
        </p:nvSpPr>
        <p:spPr bwMode="gray">
          <a:xfrm rot="11025014">
            <a:off x="3283629" y="5103901"/>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38" name="Rechteck 388">
            <a:extLst>
              <a:ext uri="{FF2B5EF4-FFF2-40B4-BE49-F238E27FC236}">
                <a16:creationId xmlns:a16="http://schemas.microsoft.com/office/drawing/2014/main" id="{3CB72209-9854-3F87-CC7E-87F96247B938}"/>
              </a:ext>
            </a:extLst>
          </p:cNvPr>
          <p:cNvSpPr/>
          <p:nvPr>
            <p:custDataLst>
              <p:tags r:id="rId64"/>
            </p:custDataLst>
          </p:nvPr>
        </p:nvSpPr>
        <p:spPr bwMode="gray">
          <a:xfrm>
            <a:off x="1313127" y="4677133"/>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en-US" sz="1100" dirty="0">
                <a:solidFill>
                  <a:schemeClr val="tx1">
                    <a:lumMod val="65000"/>
                    <a:lumOff val="35000"/>
                  </a:schemeClr>
                </a:solidFill>
                <a:cs typeface="Arial" pitchFamily="34" charset="0"/>
                <a:sym typeface="Wingdings"/>
              </a:rPr>
              <a:t>&gt; +5</a:t>
            </a:r>
            <a:endParaRPr lang="en-US" sz="1100" dirty="0">
              <a:solidFill>
                <a:schemeClr val="tx1">
                  <a:lumMod val="65000"/>
                  <a:lumOff val="35000"/>
                </a:schemeClr>
              </a:solidFill>
              <a:cs typeface="Arial" pitchFamily="34" charset="0"/>
            </a:endParaRPr>
          </a:p>
        </p:txBody>
      </p:sp>
      <p:sp>
        <p:nvSpPr>
          <p:cNvPr id="39" name="Rechteck 176">
            <a:extLst>
              <a:ext uri="{FF2B5EF4-FFF2-40B4-BE49-F238E27FC236}">
                <a16:creationId xmlns:a16="http://schemas.microsoft.com/office/drawing/2014/main" id="{5D28A540-5422-109C-0939-E2EDCFBE5926}"/>
              </a:ext>
            </a:extLst>
          </p:cNvPr>
          <p:cNvSpPr/>
          <p:nvPr>
            <p:custDataLst>
              <p:tags r:id="rId65"/>
            </p:custDataLst>
          </p:nvPr>
        </p:nvSpPr>
        <p:spPr bwMode="gray">
          <a:xfrm>
            <a:off x="1313127" y="4965165"/>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de-DE" sz="1100" dirty="0">
                <a:solidFill>
                  <a:schemeClr val="tx1">
                    <a:lumMod val="65000"/>
                    <a:lumOff val="35000"/>
                  </a:schemeClr>
                </a:solidFill>
                <a:cs typeface="Arial" pitchFamily="34" charset="0"/>
                <a:sym typeface="Wingdings"/>
              </a:rPr>
              <a:t>+1 a +5</a:t>
            </a:r>
            <a:endParaRPr lang="de-DE" sz="1100" dirty="0">
              <a:solidFill>
                <a:schemeClr val="tx1">
                  <a:lumMod val="65000"/>
                  <a:lumOff val="35000"/>
                </a:schemeClr>
              </a:solidFill>
              <a:cs typeface="Arial" pitchFamily="34" charset="0"/>
            </a:endParaRPr>
          </a:p>
        </p:txBody>
      </p:sp>
      <p:sp>
        <p:nvSpPr>
          <p:cNvPr id="40" name="Rechteck 177">
            <a:extLst>
              <a:ext uri="{FF2B5EF4-FFF2-40B4-BE49-F238E27FC236}">
                <a16:creationId xmlns:a16="http://schemas.microsoft.com/office/drawing/2014/main" id="{5D0A376A-7E92-1ED2-4B89-B12CB6F2B18C}"/>
              </a:ext>
            </a:extLst>
          </p:cNvPr>
          <p:cNvSpPr/>
          <p:nvPr>
            <p:custDataLst>
              <p:tags r:id="rId66"/>
            </p:custDataLst>
          </p:nvPr>
        </p:nvSpPr>
        <p:spPr bwMode="gray">
          <a:xfrm>
            <a:off x="1313127" y="5253229"/>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de-DE" sz="1100" dirty="0">
                <a:solidFill>
                  <a:schemeClr val="tx1">
                    <a:lumMod val="65000"/>
                    <a:lumOff val="35000"/>
                  </a:schemeClr>
                </a:solidFill>
                <a:cs typeface="Arial" pitchFamily="34" charset="0"/>
                <a:sym typeface="Wingdings"/>
              </a:rPr>
              <a:t>-1 a +1</a:t>
            </a:r>
            <a:endParaRPr lang="de-DE" sz="1100" dirty="0">
              <a:solidFill>
                <a:schemeClr val="tx1">
                  <a:lumMod val="65000"/>
                  <a:lumOff val="35000"/>
                </a:schemeClr>
              </a:solidFill>
              <a:cs typeface="Arial" pitchFamily="34" charset="0"/>
            </a:endParaRPr>
          </a:p>
        </p:txBody>
      </p:sp>
      <p:sp>
        <p:nvSpPr>
          <p:cNvPr id="41" name="Rechteck 178">
            <a:extLst>
              <a:ext uri="{FF2B5EF4-FFF2-40B4-BE49-F238E27FC236}">
                <a16:creationId xmlns:a16="http://schemas.microsoft.com/office/drawing/2014/main" id="{EC0EF149-EBCF-B30C-0797-AF2199F8170A}"/>
              </a:ext>
            </a:extLst>
          </p:cNvPr>
          <p:cNvSpPr/>
          <p:nvPr>
            <p:custDataLst>
              <p:tags r:id="rId67"/>
            </p:custDataLst>
          </p:nvPr>
        </p:nvSpPr>
        <p:spPr bwMode="gray">
          <a:xfrm>
            <a:off x="1313127" y="5541229"/>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de-DE" sz="1100" dirty="0">
                <a:solidFill>
                  <a:schemeClr val="tx1">
                    <a:lumMod val="65000"/>
                    <a:lumOff val="35000"/>
                  </a:schemeClr>
                </a:solidFill>
                <a:cs typeface="Arial" pitchFamily="34" charset="0"/>
                <a:sym typeface="Wingdings"/>
              </a:rPr>
              <a:t>-5 a -1</a:t>
            </a:r>
            <a:endParaRPr lang="de-DE" sz="1100" dirty="0">
              <a:solidFill>
                <a:schemeClr val="tx1">
                  <a:lumMod val="65000"/>
                  <a:lumOff val="35000"/>
                </a:schemeClr>
              </a:solidFill>
              <a:cs typeface="Arial" pitchFamily="34" charset="0"/>
            </a:endParaRPr>
          </a:p>
        </p:txBody>
      </p:sp>
      <p:sp>
        <p:nvSpPr>
          <p:cNvPr id="42" name="Rechteck 179">
            <a:extLst>
              <a:ext uri="{FF2B5EF4-FFF2-40B4-BE49-F238E27FC236}">
                <a16:creationId xmlns:a16="http://schemas.microsoft.com/office/drawing/2014/main" id="{28B4B174-04A9-352A-2065-54B99B9FA5C4}"/>
              </a:ext>
            </a:extLst>
          </p:cNvPr>
          <p:cNvSpPr/>
          <p:nvPr>
            <p:custDataLst>
              <p:tags r:id="rId68"/>
            </p:custDataLst>
          </p:nvPr>
        </p:nvSpPr>
        <p:spPr bwMode="gray">
          <a:xfrm>
            <a:off x="1313127" y="5829261"/>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en-US" sz="1100" dirty="0">
                <a:solidFill>
                  <a:schemeClr val="tx1">
                    <a:lumMod val="65000"/>
                    <a:lumOff val="35000"/>
                  </a:schemeClr>
                </a:solidFill>
                <a:cs typeface="Arial" pitchFamily="34" charset="0"/>
                <a:sym typeface="Wingdings"/>
              </a:rPr>
              <a:t>&lt; -5</a:t>
            </a:r>
            <a:endParaRPr lang="en-US" sz="1100" dirty="0">
              <a:solidFill>
                <a:schemeClr val="tx1">
                  <a:lumMod val="65000"/>
                  <a:lumOff val="35000"/>
                </a:schemeClr>
              </a:solidFill>
              <a:cs typeface="Arial" pitchFamily="34" charset="0"/>
            </a:endParaRPr>
          </a:p>
        </p:txBody>
      </p:sp>
      <p:grpSp>
        <p:nvGrpSpPr>
          <p:cNvPr id="43" name="Gruppieren 184">
            <a:extLst>
              <a:ext uri="{FF2B5EF4-FFF2-40B4-BE49-F238E27FC236}">
                <a16:creationId xmlns:a16="http://schemas.microsoft.com/office/drawing/2014/main" id="{688B665B-880A-2886-0AAF-495A4F13FC05}"/>
              </a:ext>
            </a:extLst>
          </p:cNvPr>
          <p:cNvGrpSpPr/>
          <p:nvPr>
            <p:custDataLst>
              <p:tags r:id="rId69"/>
            </p:custDataLst>
          </p:nvPr>
        </p:nvGrpSpPr>
        <p:grpSpPr bwMode="gray">
          <a:xfrm>
            <a:off x="1037417" y="4694964"/>
            <a:ext cx="144000" cy="144000"/>
            <a:chOff x="323548" y="3507850"/>
            <a:chExt cx="144000" cy="144000"/>
          </a:xfrm>
          <a:solidFill>
            <a:schemeClr val="bg2">
              <a:lumMod val="90000"/>
            </a:schemeClr>
          </a:solidFill>
        </p:grpSpPr>
        <p:sp>
          <p:nvSpPr>
            <p:cNvPr id="44" name="Ellipse 188">
              <a:extLst>
                <a:ext uri="{FF2B5EF4-FFF2-40B4-BE49-F238E27FC236}">
                  <a16:creationId xmlns:a16="http://schemas.microsoft.com/office/drawing/2014/main" id="{FFD17E07-8741-8171-9D5B-BBF386930DDE}"/>
                </a:ext>
              </a:extLst>
            </p:cNvPr>
            <p:cNvSpPr/>
            <p:nvPr>
              <p:custDataLst>
                <p:tags r:id="rId83"/>
              </p:custDataLst>
            </p:nvPr>
          </p:nvSpPr>
          <p:spPr bwMode="gray">
            <a:xfrm>
              <a:off x="323548" y="3507850"/>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45" name="Ellipse 189">
              <a:extLst>
                <a:ext uri="{FF2B5EF4-FFF2-40B4-BE49-F238E27FC236}">
                  <a16:creationId xmlns:a16="http://schemas.microsoft.com/office/drawing/2014/main" id="{563B746C-5357-0F9C-8F30-E777D0F359A7}"/>
                </a:ext>
              </a:extLst>
            </p:cNvPr>
            <p:cNvSpPr/>
            <p:nvPr>
              <p:custDataLst>
                <p:tags r:id="rId84"/>
              </p:custDataLst>
            </p:nvPr>
          </p:nvSpPr>
          <p:spPr bwMode="gray">
            <a:xfrm>
              <a:off x="323548" y="3507850"/>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grpSp>
        <p:nvGrpSpPr>
          <p:cNvPr id="46" name="Gruppieren 190">
            <a:extLst>
              <a:ext uri="{FF2B5EF4-FFF2-40B4-BE49-F238E27FC236}">
                <a16:creationId xmlns:a16="http://schemas.microsoft.com/office/drawing/2014/main" id="{85C6C5AF-1442-3CAF-E30E-6B4F152A4B40}"/>
              </a:ext>
            </a:extLst>
          </p:cNvPr>
          <p:cNvGrpSpPr/>
          <p:nvPr>
            <p:custDataLst>
              <p:tags r:id="rId70"/>
            </p:custDataLst>
          </p:nvPr>
        </p:nvGrpSpPr>
        <p:grpSpPr bwMode="gray">
          <a:xfrm>
            <a:off x="1037417" y="5855837"/>
            <a:ext cx="144000" cy="144000"/>
            <a:chOff x="323548" y="4371946"/>
            <a:chExt cx="144000" cy="144000"/>
          </a:xfrm>
          <a:solidFill>
            <a:schemeClr val="bg2">
              <a:lumMod val="90000"/>
            </a:schemeClr>
          </a:solidFill>
        </p:grpSpPr>
        <p:sp>
          <p:nvSpPr>
            <p:cNvPr id="47" name="Ellipse 192">
              <a:extLst>
                <a:ext uri="{FF2B5EF4-FFF2-40B4-BE49-F238E27FC236}">
                  <a16:creationId xmlns:a16="http://schemas.microsoft.com/office/drawing/2014/main" id="{0FD7FE9E-BE19-98CC-0C5F-A496422383C4}"/>
                </a:ext>
              </a:extLst>
            </p:cNvPr>
            <p:cNvSpPr/>
            <p:nvPr>
              <p:custDataLst>
                <p:tags r:id="rId81"/>
              </p:custDataLst>
            </p:nvPr>
          </p:nvSpPr>
          <p:spPr bwMode="gray">
            <a:xfrm>
              <a:off x="323548" y="4371946"/>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48" name="Ellipse 194">
              <a:extLst>
                <a:ext uri="{FF2B5EF4-FFF2-40B4-BE49-F238E27FC236}">
                  <a16:creationId xmlns:a16="http://schemas.microsoft.com/office/drawing/2014/main" id="{23AF717D-2C82-4B41-260F-4488E965BFD3}"/>
                </a:ext>
              </a:extLst>
            </p:cNvPr>
            <p:cNvSpPr/>
            <p:nvPr>
              <p:custDataLst>
                <p:tags r:id="rId82"/>
              </p:custDataLst>
            </p:nvPr>
          </p:nvSpPr>
          <p:spPr bwMode="gray">
            <a:xfrm>
              <a:off x="323548" y="4371946"/>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grpSp>
        <p:nvGrpSpPr>
          <p:cNvPr id="49" name="Gruppieren 195">
            <a:extLst>
              <a:ext uri="{FF2B5EF4-FFF2-40B4-BE49-F238E27FC236}">
                <a16:creationId xmlns:a16="http://schemas.microsoft.com/office/drawing/2014/main" id="{9305B929-82F4-3DB9-02EE-EC44B217BD07}"/>
              </a:ext>
            </a:extLst>
          </p:cNvPr>
          <p:cNvGrpSpPr/>
          <p:nvPr>
            <p:custDataLst>
              <p:tags r:id="rId71"/>
            </p:custDataLst>
          </p:nvPr>
        </p:nvGrpSpPr>
        <p:grpSpPr bwMode="gray">
          <a:xfrm>
            <a:off x="1037417" y="5565618"/>
            <a:ext cx="144000" cy="144000"/>
            <a:chOff x="323548" y="4155922"/>
            <a:chExt cx="144000" cy="144000"/>
          </a:xfrm>
          <a:solidFill>
            <a:schemeClr val="bg2">
              <a:lumMod val="90000"/>
            </a:schemeClr>
          </a:solidFill>
        </p:grpSpPr>
        <p:sp>
          <p:nvSpPr>
            <p:cNvPr id="50" name="Ellipse 206">
              <a:extLst>
                <a:ext uri="{FF2B5EF4-FFF2-40B4-BE49-F238E27FC236}">
                  <a16:creationId xmlns:a16="http://schemas.microsoft.com/office/drawing/2014/main" id="{AD18257D-25FD-80F6-6641-A2EAF9C9350C}"/>
                </a:ext>
              </a:extLst>
            </p:cNvPr>
            <p:cNvSpPr/>
            <p:nvPr>
              <p:custDataLst>
                <p:tags r:id="rId79"/>
              </p:custDataLst>
            </p:nvPr>
          </p:nvSpPr>
          <p:spPr bwMode="gray">
            <a:xfrm>
              <a:off x="323548" y="4155922"/>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51" name="Ellipse 207">
              <a:extLst>
                <a:ext uri="{FF2B5EF4-FFF2-40B4-BE49-F238E27FC236}">
                  <a16:creationId xmlns:a16="http://schemas.microsoft.com/office/drawing/2014/main" id="{1663A6F9-7359-7609-6004-9D594C485D86}"/>
                </a:ext>
              </a:extLst>
            </p:cNvPr>
            <p:cNvSpPr/>
            <p:nvPr>
              <p:custDataLst>
                <p:tags r:id="rId80"/>
              </p:custDataLst>
            </p:nvPr>
          </p:nvSpPr>
          <p:spPr bwMode="gray">
            <a:xfrm>
              <a:off x="323548" y="4155922"/>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grpSp>
        <p:nvGrpSpPr>
          <p:cNvPr id="52" name="Gruppieren 208">
            <a:extLst>
              <a:ext uri="{FF2B5EF4-FFF2-40B4-BE49-F238E27FC236}">
                <a16:creationId xmlns:a16="http://schemas.microsoft.com/office/drawing/2014/main" id="{4A4CE599-640E-9426-C54D-7AAFB21BE799}"/>
              </a:ext>
            </a:extLst>
          </p:cNvPr>
          <p:cNvGrpSpPr/>
          <p:nvPr>
            <p:custDataLst>
              <p:tags r:id="rId72"/>
            </p:custDataLst>
          </p:nvPr>
        </p:nvGrpSpPr>
        <p:grpSpPr bwMode="gray">
          <a:xfrm>
            <a:off x="1037417" y="5275400"/>
            <a:ext cx="144000" cy="144000"/>
            <a:chOff x="323548" y="3939922"/>
            <a:chExt cx="144000" cy="144000"/>
          </a:xfrm>
          <a:solidFill>
            <a:schemeClr val="bg2">
              <a:lumMod val="90000"/>
            </a:schemeClr>
          </a:solidFill>
        </p:grpSpPr>
        <p:sp>
          <p:nvSpPr>
            <p:cNvPr id="53" name="Ellipse 209">
              <a:extLst>
                <a:ext uri="{FF2B5EF4-FFF2-40B4-BE49-F238E27FC236}">
                  <a16:creationId xmlns:a16="http://schemas.microsoft.com/office/drawing/2014/main" id="{4CF0E9FD-DAD6-5CDF-2A15-D94D4B78FFCA}"/>
                </a:ext>
              </a:extLst>
            </p:cNvPr>
            <p:cNvSpPr/>
            <p:nvPr>
              <p:custDataLst>
                <p:tags r:id="rId77"/>
              </p:custDataLst>
            </p:nvPr>
          </p:nvSpPr>
          <p:spPr bwMode="gray">
            <a:xfrm>
              <a:off x="323548" y="3939922"/>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54" name="Ellipse 210">
              <a:extLst>
                <a:ext uri="{FF2B5EF4-FFF2-40B4-BE49-F238E27FC236}">
                  <a16:creationId xmlns:a16="http://schemas.microsoft.com/office/drawing/2014/main" id="{D3F6624C-CF9F-3D9C-44D0-69E55FF3DC63}"/>
                </a:ext>
              </a:extLst>
            </p:cNvPr>
            <p:cNvSpPr/>
            <p:nvPr>
              <p:custDataLst>
                <p:tags r:id="rId78"/>
              </p:custDataLst>
            </p:nvPr>
          </p:nvSpPr>
          <p:spPr bwMode="gray">
            <a:xfrm>
              <a:off x="323548" y="3939922"/>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grpSp>
        <p:nvGrpSpPr>
          <p:cNvPr id="55" name="Gruppieren 211">
            <a:extLst>
              <a:ext uri="{FF2B5EF4-FFF2-40B4-BE49-F238E27FC236}">
                <a16:creationId xmlns:a16="http://schemas.microsoft.com/office/drawing/2014/main" id="{CB92E0F3-7559-255E-C950-681D10F7583B}"/>
              </a:ext>
            </a:extLst>
          </p:cNvPr>
          <p:cNvGrpSpPr/>
          <p:nvPr>
            <p:custDataLst>
              <p:tags r:id="rId73"/>
            </p:custDataLst>
          </p:nvPr>
        </p:nvGrpSpPr>
        <p:grpSpPr bwMode="gray">
          <a:xfrm>
            <a:off x="1037417" y="4985182"/>
            <a:ext cx="144000" cy="144000"/>
            <a:chOff x="323548" y="3723874"/>
            <a:chExt cx="144000" cy="144000"/>
          </a:xfrm>
          <a:solidFill>
            <a:schemeClr val="bg2">
              <a:lumMod val="90000"/>
            </a:schemeClr>
          </a:solidFill>
        </p:grpSpPr>
        <p:sp>
          <p:nvSpPr>
            <p:cNvPr id="56" name="Ellipse 212">
              <a:extLst>
                <a:ext uri="{FF2B5EF4-FFF2-40B4-BE49-F238E27FC236}">
                  <a16:creationId xmlns:a16="http://schemas.microsoft.com/office/drawing/2014/main" id="{F26298DF-42A1-EC43-E6F6-65B1971F18B8}"/>
                </a:ext>
              </a:extLst>
            </p:cNvPr>
            <p:cNvSpPr/>
            <p:nvPr>
              <p:custDataLst>
                <p:tags r:id="rId75"/>
              </p:custDataLst>
            </p:nvPr>
          </p:nvSpPr>
          <p:spPr bwMode="gray">
            <a:xfrm>
              <a:off x="323548" y="3723874"/>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57" name="Ellipse 213">
              <a:extLst>
                <a:ext uri="{FF2B5EF4-FFF2-40B4-BE49-F238E27FC236}">
                  <a16:creationId xmlns:a16="http://schemas.microsoft.com/office/drawing/2014/main" id="{627C4E0A-CDAF-60C7-A701-4134B1FC29ED}"/>
                </a:ext>
              </a:extLst>
            </p:cNvPr>
            <p:cNvSpPr/>
            <p:nvPr>
              <p:custDataLst>
                <p:tags r:id="rId76"/>
              </p:custDataLst>
            </p:nvPr>
          </p:nvSpPr>
          <p:spPr bwMode="gray">
            <a:xfrm>
              <a:off x="323548" y="3723874"/>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sp>
        <p:nvSpPr>
          <p:cNvPr id="58" name="Rechteck 236">
            <a:extLst>
              <a:ext uri="{FF2B5EF4-FFF2-40B4-BE49-F238E27FC236}">
                <a16:creationId xmlns:a16="http://schemas.microsoft.com/office/drawing/2014/main" id="{DA297617-EAC1-774B-05E0-0C6789A4C833}"/>
              </a:ext>
            </a:extLst>
          </p:cNvPr>
          <p:cNvSpPr/>
          <p:nvPr>
            <p:custDataLst>
              <p:tags r:id="rId74"/>
            </p:custDataLst>
          </p:nvPr>
        </p:nvSpPr>
        <p:spPr bwMode="gray">
          <a:xfrm>
            <a:off x="984612" y="4118266"/>
            <a:ext cx="1759701" cy="4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s-ES_tradnl" sz="1100" dirty="0">
                <a:solidFill>
                  <a:schemeClr val="tx1"/>
                </a:solidFill>
                <a:cs typeface="Arial" pitchFamily="34" charset="0"/>
                <a:sym typeface="Wingdings"/>
              </a:rPr>
              <a:t>Variación:</a:t>
            </a:r>
          </a:p>
          <a:p>
            <a:r>
              <a:rPr lang="es-ES_tradnl" sz="1100" dirty="0">
                <a:solidFill>
                  <a:schemeClr val="tx1"/>
                </a:solidFill>
                <a:cs typeface="Arial" pitchFamily="34" charset="0"/>
                <a:sym typeface="Wingdings"/>
              </a:rPr>
              <a:t>Diciembre 2023 vs. Noviembre 2023  </a:t>
            </a:r>
            <a:endParaRPr lang="es-ES_tradnl" sz="1100" dirty="0">
              <a:solidFill>
                <a:schemeClr val="tx1"/>
              </a:solidFill>
              <a:cs typeface="Arial" pitchFamily="34" charset="0"/>
            </a:endParaRPr>
          </a:p>
        </p:txBody>
      </p:sp>
    </p:spTree>
    <p:custDataLst>
      <p:tags r:id="rId1"/>
    </p:custDataLst>
    <p:extLst>
      <p:ext uri="{BB962C8B-B14F-4D97-AF65-F5344CB8AC3E}">
        <p14:creationId xmlns:p14="http://schemas.microsoft.com/office/powerpoint/2010/main" val="7942724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7" name="Objekt 216"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Folie" r:id="rId155" imgW="270" imgH="270" progId="TCLayout.ActiveDocument.1">
                  <p:embed/>
                </p:oleObj>
              </mc:Choice>
              <mc:Fallback>
                <p:oleObj name="think-cell Folie" r:id="rId155" imgW="270" imgH="270" progId="TCLayout.ActiveDocument.1">
                  <p:embed/>
                  <p:pic>
                    <p:nvPicPr>
                      <p:cNvPr id="217" name="Objekt 216" hidden="1"/>
                      <p:cNvPicPr/>
                      <p:nvPr/>
                    </p:nvPicPr>
                    <p:blipFill>
                      <a:blip r:embed="rId156"/>
                      <a:stretch>
                        <a:fillRect/>
                      </a:stretch>
                    </p:blipFill>
                    <p:spPr>
                      <a:xfrm>
                        <a:off x="2118" y="2118"/>
                        <a:ext cx="2116" cy="2116"/>
                      </a:xfrm>
                      <a:prstGeom prst="rect">
                        <a:avLst/>
                      </a:prstGeom>
                    </p:spPr>
                  </p:pic>
                </p:oleObj>
              </mc:Fallback>
            </mc:AlternateContent>
          </a:graphicData>
        </a:graphic>
      </p:graphicFrame>
      <p:sp>
        <p:nvSpPr>
          <p:cNvPr id="475" name="Rechteck 474"/>
          <p:cNvSpPr/>
          <p:nvPr>
            <p:custDataLst>
              <p:tags r:id="rId3"/>
            </p:custDataLst>
          </p:nvPr>
        </p:nvSpPr>
        <p:spPr bwMode="gray">
          <a:xfrm>
            <a:off x="1025322" y="3140968"/>
            <a:ext cx="2415070" cy="4800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0960" rIns="0" bIns="60960" numCol="1" spcCol="0" rtlCol="0" fromWordArt="0" anchor="ctr" anchorCtr="0" forceAA="0" compatLnSpc="1">
            <a:prstTxWarp prst="textNoShape">
              <a:avLst/>
            </a:prstTxWarp>
            <a:noAutofit/>
          </a:bodyPr>
          <a:lstStyle/>
          <a:p>
            <a:pPr>
              <a:spcBef>
                <a:spcPts val="400"/>
              </a:spcBef>
            </a:pPr>
            <a:r>
              <a:rPr lang="de-DE" sz="1400" b="1" dirty="0">
                <a:solidFill>
                  <a:schemeClr val="tx1"/>
                </a:solidFill>
                <a:cs typeface="Arial" pitchFamily="34" charset="0"/>
              </a:rPr>
              <a:t>Total UE: </a:t>
            </a:r>
            <a:r>
              <a:rPr lang="de-DE" sz="1400" b="1" dirty="0">
                <a:solidFill>
                  <a:srgbClr val="CBA6AB"/>
                </a:solidFill>
                <a:cs typeface="Arial" pitchFamily="34" charset="0"/>
              </a:rPr>
              <a:t>-10 </a:t>
            </a:r>
            <a:r>
              <a:rPr lang="de-DE" sz="1400" b="1" dirty="0">
                <a:solidFill>
                  <a:schemeClr val="tx1"/>
                </a:solidFill>
                <a:cs typeface="Arial" pitchFamily="34" charset="0"/>
              </a:rPr>
              <a:t>( </a:t>
            </a:r>
            <a:r>
              <a:rPr lang="de-DE" sz="1400" b="1" dirty="0">
                <a:solidFill>
                  <a:schemeClr val="bg2">
                    <a:lumMod val="90000"/>
                  </a:schemeClr>
                </a:solidFill>
                <a:cs typeface="Arial" pitchFamily="34" charset="0"/>
              </a:rPr>
              <a:t>+4</a:t>
            </a:r>
            <a:r>
              <a:rPr lang="de-DE" sz="1400" b="1" dirty="0">
                <a:solidFill>
                  <a:schemeClr val="tx1"/>
                </a:solidFill>
                <a:cs typeface="Arial" pitchFamily="34" charset="0"/>
              </a:rPr>
              <a:t>     )</a:t>
            </a:r>
            <a:endParaRPr lang="de-DE" sz="1400" b="1" dirty="0">
              <a:solidFill>
                <a:srgbClr val="92A192"/>
              </a:solidFill>
              <a:cs typeface="Arial" pitchFamily="34" charset="0"/>
            </a:endParaRPr>
          </a:p>
        </p:txBody>
      </p:sp>
      <p:grpSp>
        <p:nvGrpSpPr>
          <p:cNvPr id="5" name="Group 4"/>
          <p:cNvGrpSpPr/>
          <p:nvPr/>
        </p:nvGrpSpPr>
        <p:grpSpPr>
          <a:xfrm>
            <a:off x="2879644" y="646642"/>
            <a:ext cx="8258657" cy="5925538"/>
            <a:chOff x="2159732" y="484981"/>
            <a:chExt cx="6193993" cy="4444153"/>
          </a:xfrm>
        </p:grpSpPr>
        <p:grpSp>
          <p:nvGrpSpPr>
            <p:cNvPr id="906" name="Gruppieren 905"/>
            <p:cNvGrpSpPr/>
            <p:nvPr>
              <p:custDataLst>
                <p:tags r:id="rId83"/>
              </p:custDataLst>
            </p:nvPr>
          </p:nvGrpSpPr>
          <p:grpSpPr bwMode="gray">
            <a:xfrm>
              <a:off x="2475495" y="484981"/>
              <a:ext cx="5878230" cy="4401337"/>
              <a:chOff x="2475495" y="484981"/>
              <a:chExt cx="5878230" cy="4401337"/>
            </a:xfrm>
          </p:grpSpPr>
          <p:sp>
            <p:nvSpPr>
              <p:cNvPr id="757" name="Freeform 65"/>
              <p:cNvSpPr>
                <a:spLocks/>
              </p:cNvSpPr>
              <p:nvPr>
                <p:custDataLst>
                  <p:tags r:id="rId122"/>
                </p:custDataLst>
              </p:nvPr>
            </p:nvSpPr>
            <p:spPr bwMode="gray">
              <a:xfrm>
                <a:off x="5352957" y="4203300"/>
                <a:ext cx="219644" cy="183710"/>
              </a:xfrm>
              <a:custGeom>
                <a:avLst/>
                <a:gdLst>
                  <a:gd name="T0" fmla="*/ 36 w 47"/>
                  <a:gd name="T1" fmla="*/ 2 h 40"/>
                  <a:gd name="T2" fmla="*/ 34 w 47"/>
                  <a:gd name="T3" fmla="*/ 0 h 40"/>
                  <a:gd name="T4" fmla="*/ 30 w 47"/>
                  <a:gd name="T5" fmla="*/ 1 h 40"/>
                  <a:gd name="T6" fmla="*/ 28 w 47"/>
                  <a:gd name="T7" fmla="*/ 1 h 40"/>
                  <a:gd name="T8" fmla="*/ 23 w 47"/>
                  <a:gd name="T9" fmla="*/ 2 h 40"/>
                  <a:gd name="T10" fmla="*/ 20 w 47"/>
                  <a:gd name="T11" fmla="*/ 3 h 40"/>
                  <a:gd name="T12" fmla="*/ 16 w 47"/>
                  <a:gd name="T13" fmla="*/ 5 h 40"/>
                  <a:gd name="T14" fmla="*/ 14 w 47"/>
                  <a:gd name="T15" fmla="*/ 6 h 40"/>
                  <a:gd name="T16" fmla="*/ 11 w 47"/>
                  <a:gd name="T17" fmla="*/ 5 h 40"/>
                  <a:gd name="T18" fmla="*/ 7 w 47"/>
                  <a:gd name="T19" fmla="*/ 8 h 40"/>
                  <a:gd name="T20" fmla="*/ 5 w 47"/>
                  <a:gd name="T21" fmla="*/ 13 h 40"/>
                  <a:gd name="T22" fmla="*/ 2 w 47"/>
                  <a:gd name="T23" fmla="*/ 17 h 40"/>
                  <a:gd name="T24" fmla="*/ 3 w 47"/>
                  <a:gd name="T25" fmla="*/ 21 h 40"/>
                  <a:gd name="T26" fmla="*/ 1 w 47"/>
                  <a:gd name="T27" fmla="*/ 24 h 40"/>
                  <a:gd name="T28" fmla="*/ 3 w 47"/>
                  <a:gd name="T29" fmla="*/ 28 h 40"/>
                  <a:gd name="T30" fmla="*/ 4 w 47"/>
                  <a:gd name="T31" fmla="*/ 32 h 40"/>
                  <a:gd name="T32" fmla="*/ 6 w 47"/>
                  <a:gd name="T33" fmla="*/ 36 h 40"/>
                  <a:gd name="T34" fmla="*/ 8 w 47"/>
                  <a:gd name="T35" fmla="*/ 39 h 40"/>
                  <a:gd name="T36" fmla="*/ 14 w 47"/>
                  <a:gd name="T37" fmla="*/ 40 h 40"/>
                  <a:gd name="T38" fmla="*/ 22 w 47"/>
                  <a:gd name="T39" fmla="*/ 39 h 40"/>
                  <a:gd name="T40" fmla="*/ 27 w 47"/>
                  <a:gd name="T41" fmla="*/ 36 h 40"/>
                  <a:gd name="T42" fmla="*/ 33 w 47"/>
                  <a:gd name="T43" fmla="*/ 33 h 40"/>
                  <a:gd name="T44" fmla="*/ 38 w 47"/>
                  <a:gd name="T45" fmla="*/ 32 h 40"/>
                  <a:gd name="T46" fmla="*/ 44 w 47"/>
                  <a:gd name="T47" fmla="*/ 30 h 40"/>
                  <a:gd name="T48" fmla="*/ 47 w 47"/>
                  <a:gd name="T49" fmla="*/ 26 h 40"/>
                  <a:gd name="T50" fmla="*/ 47 w 47"/>
                  <a:gd name="T51" fmla="*/ 17 h 40"/>
                  <a:gd name="T52" fmla="*/ 46 w 47"/>
                  <a:gd name="T53" fmla="*/ 10 h 40"/>
                  <a:gd name="T54" fmla="*/ 41 w 47"/>
                  <a:gd name="T55" fmla="*/ 8 h 40"/>
                  <a:gd name="T56" fmla="*/ 36 w 47"/>
                  <a:gd name="T57"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7" h="40">
                    <a:moveTo>
                      <a:pt x="36" y="2"/>
                    </a:moveTo>
                    <a:cubicBezTo>
                      <a:pt x="36" y="2"/>
                      <a:pt x="36" y="0"/>
                      <a:pt x="34" y="0"/>
                    </a:cubicBezTo>
                    <a:cubicBezTo>
                      <a:pt x="33" y="0"/>
                      <a:pt x="32" y="0"/>
                      <a:pt x="30" y="1"/>
                    </a:cubicBezTo>
                    <a:cubicBezTo>
                      <a:pt x="29" y="2"/>
                      <a:pt x="29" y="1"/>
                      <a:pt x="28" y="1"/>
                    </a:cubicBezTo>
                    <a:cubicBezTo>
                      <a:pt x="27" y="0"/>
                      <a:pt x="24" y="1"/>
                      <a:pt x="23" y="2"/>
                    </a:cubicBezTo>
                    <a:cubicBezTo>
                      <a:pt x="22" y="3"/>
                      <a:pt x="21" y="3"/>
                      <a:pt x="20" y="3"/>
                    </a:cubicBezTo>
                    <a:cubicBezTo>
                      <a:pt x="19" y="2"/>
                      <a:pt x="17" y="3"/>
                      <a:pt x="16" y="5"/>
                    </a:cubicBezTo>
                    <a:cubicBezTo>
                      <a:pt x="15" y="6"/>
                      <a:pt x="14" y="8"/>
                      <a:pt x="14" y="6"/>
                    </a:cubicBezTo>
                    <a:cubicBezTo>
                      <a:pt x="13" y="5"/>
                      <a:pt x="12" y="4"/>
                      <a:pt x="11" y="5"/>
                    </a:cubicBezTo>
                    <a:cubicBezTo>
                      <a:pt x="10" y="6"/>
                      <a:pt x="8" y="8"/>
                      <a:pt x="7" y="8"/>
                    </a:cubicBezTo>
                    <a:cubicBezTo>
                      <a:pt x="6" y="8"/>
                      <a:pt x="6" y="11"/>
                      <a:pt x="5" y="13"/>
                    </a:cubicBezTo>
                    <a:cubicBezTo>
                      <a:pt x="4" y="15"/>
                      <a:pt x="2" y="16"/>
                      <a:pt x="2" y="17"/>
                    </a:cubicBezTo>
                    <a:cubicBezTo>
                      <a:pt x="1" y="19"/>
                      <a:pt x="3" y="20"/>
                      <a:pt x="3" y="21"/>
                    </a:cubicBezTo>
                    <a:cubicBezTo>
                      <a:pt x="2" y="22"/>
                      <a:pt x="0" y="23"/>
                      <a:pt x="1" y="24"/>
                    </a:cubicBezTo>
                    <a:cubicBezTo>
                      <a:pt x="2" y="25"/>
                      <a:pt x="4" y="26"/>
                      <a:pt x="3" y="28"/>
                    </a:cubicBezTo>
                    <a:cubicBezTo>
                      <a:pt x="2" y="29"/>
                      <a:pt x="3" y="31"/>
                      <a:pt x="4" y="32"/>
                    </a:cubicBezTo>
                    <a:cubicBezTo>
                      <a:pt x="5" y="33"/>
                      <a:pt x="6" y="35"/>
                      <a:pt x="6" y="36"/>
                    </a:cubicBezTo>
                    <a:cubicBezTo>
                      <a:pt x="6" y="38"/>
                      <a:pt x="6" y="40"/>
                      <a:pt x="8" y="39"/>
                    </a:cubicBezTo>
                    <a:cubicBezTo>
                      <a:pt x="9" y="39"/>
                      <a:pt x="13" y="40"/>
                      <a:pt x="14" y="40"/>
                    </a:cubicBezTo>
                    <a:cubicBezTo>
                      <a:pt x="15" y="40"/>
                      <a:pt x="20" y="39"/>
                      <a:pt x="22" y="39"/>
                    </a:cubicBezTo>
                    <a:cubicBezTo>
                      <a:pt x="24" y="39"/>
                      <a:pt x="26" y="38"/>
                      <a:pt x="27" y="36"/>
                    </a:cubicBezTo>
                    <a:cubicBezTo>
                      <a:pt x="29" y="34"/>
                      <a:pt x="31" y="33"/>
                      <a:pt x="33" y="33"/>
                    </a:cubicBezTo>
                    <a:cubicBezTo>
                      <a:pt x="34" y="33"/>
                      <a:pt x="36" y="33"/>
                      <a:pt x="38" y="32"/>
                    </a:cubicBezTo>
                    <a:cubicBezTo>
                      <a:pt x="40" y="32"/>
                      <a:pt x="44" y="32"/>
                      <a:pt x="44" y="30"/>
                    </a:cubicBezTo>
                    <a:cubicBezTo>
                      <a:pt x="45" y="28"/>
                      <a:pt x="47" y="26"/>
                      <a:pt x="47" y="26"/>
                    </a:cubicBezTo>
                    <a:cubicBezTo>
                      <a:pt x="47" y="26"/>
                      <a:pt x="47" y="19"/>
                      <a:pt x="47" y="17"/>
                    </a:cubicBezTo>
                    <a:cubicBezTo>
                      <a:pt x="47" y="14"/>
                      <a:pt x="46" y="12"/>
                      <a:pt x="46" y="10"/>
                    </a:cubicBezTo>
                    <a:cubicBezTo>
                      <a:pt x="45" y="7"/>
                      <a:pt x="43" y="9"/>
                      <a:pt x="41" y="8"/>
                    </a:cubicBezTo>
                    <a:cubicBezTo>
                      <a:pt x="39" y="6"/>
                      <a:pt x="36" y="2"/>
                      <a:pt x="36" y="2"/>
                    </a:cubicBez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58" name="Freeform 66"/>
              <p:cNvSpPr>
                <a:spLocks/>
              </p:cNvSpPr>
              <p:nvPr>
                <p:custDataLst>
                  <p:tags r:id="rId123"/>
                </p:custDataLst>
              </p:nvPr>
            </p:nvSpPr>
            <p:spPr bwMode="gray">
              <a:xfrm>
                <a:off x="5258104" y="4162702"/>
                <a:ext cx="163122" cy="357609"/>
              </a:xfrm>
              <a:custGeom>
                <a:avLst/>
                <a:gdLst>
                  <a:gd name="T0" fmla="*/ 1 w 34"/>
                  <a:gd name="T1" fmla="*/ 23 h 86"/>
                  <a:gd name="T2" fmla="*/ 2 w 34"/>
                  <a:gd name="T3" fmla="*/ 24 h 86"/>
                  <a:gd name="T4" fmla="*/ 5 w 34"/>
                  <a:gd name="T5" fmla="*/ 27 h 86"/>
                  <a:gd name="T6" fmla="*/ 4 w 34"/>
                  <a:gd name="T7" fmla="*/ 33 h 86"/>
                  <a:gd name="T8" fmla="*/ 3 w 34"/>
                  <a:gd name="T9" fmla="*/ 37 h 86"/>
                  <a:gd name="T10" fmla="*/ 4 w 34"/>
                  <a:gd name="T11" fmla="*/ 39 h 86"/>
                  <a:gd name="T12" fmla="*/ 3 w 34"/>
                  <a:gd name="T13" fmla="*/ 44 h 86"/>
                  <a:gd name="T14" fmla="*/ 5 w 34"/>
                  <a:gd name="T15" fmla="*/ 47 h 86"/>
                  <a:gd name="T16" fmla="*/ 3 w 34"/>
                  <a:gd name="T17" fmla="*/ 49 h 86"/>
                  <a:gd name="T18" fmla="*/ 1 w 34"/>
                  <a:gd name="T19" fmla="*/ 54 h 86"/>
                  <a:gd name="T20" fmla="*/ 1 w 34"/>
                  <a:gd name="T21" fmla="*/ 57 h 86"/>
                  <a:gd name="T22" fmla="*/ 4 w 34"/>
                  <a:gd name="T23" fmla="*/ 61 h 86"/>
                  <a:gd name="T24" fmla="*/ 4 w 34"/>
                  <a:gd name="T25" fmla="*/ 63 h 86"/>
                  <a:gd name="T26" fmla="*/ 2 w 34"/>
                  <a:gd name="T27" fmla="*/ 63 h 86"/>
                  <a:gd name="T28" fmla="*/ 3 w 34"/>
                  <a:gd name="T29" fmla="*/ 67 h 86"/>
                  <a:gd name="T30" fmla="*/ 7 w 34"/>
                  <a:gd name="T31" fmla="*/ 70 h 86"/>
                  <a:gd name="T32" fmla="*/ 11 w 34"/>
                  <a:gd name="T33" fmla="*/ 72 h 86"/>
                  <a:gd name="T34" fmla="*/ 15 w 34"/>
                  <a:gd name="T35" fmla="*/ 79 h 86"/>
                  <a:gd name="T36" fmla="*/ 16 w 34"/>
                  <a:gd name="T37" fmla="*/ 84 h 86"/>
                  <a:gd name="T38" fmla="*/ 20 w 34"/>
                  <a:gd name="T39" fmla="*/ 83 h 86"/>
                  <a:gd name="T40" fmla="*/ 21 w 34"/>
                  <a:gd name="T41" fmla="*/ 77 h 86"/>
                  <a:gd name="T42" fmla="*/ 23 w 34"/>
                  <a:gd name="T43" fmla="*/ 72 h 86"/>
                  <a:gd name="T44" fmla="*/ 27 w 34"/>
                  <a:gd name="T45" fmla="*/ 71 h 86"/>
                  <a:gd name="T46" fmla="*/ 29 w 34"/>
                  <a:gd name="T47" fmla="*/ 64 h 86"/>
                  <a:gd name="T48" fmla="*/ 33 w 34"/>
                  <a:gd name="T49" fmla="*/ 59 h 86"/>
                  <a:gd name="T50" fmla="*/ 33 w 34"/>
                  <a:gd name="T51" fmla="*/ 52 h 86"/>
                  <a:gd name="T52" fmla="*/ 32 w 34"/>
                  <a:gd name="T53" fmla="*/ 50 h 86"/>
                  <a:gd name="T54" fmla="*/ 32 w 34"/>
                  <a:gd name="T55" fmla="*/ 50 h 86"/>
                  <a:gd name="T56" fmla="*/ 32 w 34"/>
                  <a:gd name="T57" fmla="*/ 50 h 86"/>
                  <a:gd name="T58" fmla="*/ 29 w 34"/>
                  <a:gd name="T59" fmla="*/ 49 h 86"/>
                  <a:gd name="T60" fmla="*/ 27 w 34"/>
                  <a:gd name="T61" fmla="*/ 46 h 86"/>
                  <a:gd name="T62" fmla="*/ 25 w 34"/>
                  <a:gd name="T63" fmla="*/ 42 h 86"/>
                  <a:gd name="T64" fmla="*/ 24 w 34"/>
                  <a:gd name="T65" fmla="*/ 38 h 86"/>
                  <a:gd name="T66" fmla="*/ 22 w 34"/>
                  <a:gd name="T67" fmla="*/ 34 h 86"/>
                  <a:gd name="T68" fmla="*/ 24 w 34"/>
                  <a:gd name="T69" fmla="*/ 31 h 86"/>
                  <a:gd name="T70" fmla="*/ 23 w 34"/>
                  <a:gd name="T71" fmla="*/ 27 h 86"/>
                  <a:gd name="T72" fmla="*/ 24 w 34"/>
                  <a:gd name="T73" fmla="*/ 25 h 86"/>
                  <a:gd name="T74" fmla="*/ 23 w 34"/>
                  <a:gd name="T75" fmla="*/ 16 h 86"/>
                  <a:gd name="T76" fmla="*/ 19 w 34"/>
                  <a:gd name="T77" fmla="*/ 12 h 86"/>
                  <a:gd name="T78" fmla="*/ 17 w 34"/>
                  <a:gd name="T79" fmla="*/ 9 h 86"/>
                  <a:gd name="T80" fmla="*/ 15 w 34"/>
                  <a:gd name="T81" fmla="*/ 5 h 86"/>
                  <a:gd name="T82" fmla="*/ 14 w 34"/>
                  <a:gd name="T83" fmla="*/ 2 h 86"/>
                  <a:gd name="T84" fmla="*/ 12 w 34"/>
                  <a:gd name="T85" fmla="*/ 6 h 86"/>
                  <a:gd name="T86" fmla="*/ 8 w 34"/>
                  <a:gd name="T87" fmla="*/ 4 h 86"/>
                  <a:gd name="T88" fmla="*/ 5 w 34"/>
                  <a:gd name="T89" fmla="*/ 3 h 86"/>
                  <a:gd name="T90" fmla="*/ 2 w 34"/>
                  <a:gd name="T91" fmla="*/ 10 h 86"/>
                  <a:gd name="T92" fmla="*/ 1 w 34"/>
                  <a:gd name="T93" fmla="*/ 19 h 86"/>
                  <a:gd name="T94" fmla="*/ 1 w 34"/>
                  <a:gd name="T95" fmla="*/ 23 h 86"/>
                  <a:gd name="connsiteX0" fmla="*/ 131 w 9673"/>
                  <a:gd name="connsiteY0" fmla="*/ 2506 h 9486"/>
                  <a:gd name="connsiteX1" fmla="*/ 425 w 9673"/>
                  <a:gd name="connsiteY1" fmla="*/ 2623 h 9486"/>
                  <a:gd name="connsiteX2" fmla="*/ 1308 w 9673"/>
                  <a:gd name="connsiteY2" fmla="*/ 2972 h 9486"/>
                  <a:gd name="connsiteX3" fmla="*/ 1013 w 9673"/>
                  <a:gd name="connsiteY3" fmla="*/ 3669 h 9486"/>
                  <a:gd name="connsiteX4" fmla="*/ 719 w 9673"/>
                  <a:gd name="connsiteY4" fmla="*/ 4134 h 9486"/>
                  <a:gd name="connsiteX5" fmla="*/ 1013 w 9673"/>
                  <a:gd name="connsiteY5" fmla="*/ 4367 h 9486"/>
                  <a:gd name="connsiteX6" fmla="*/ 719 w 9673"/>
                  <a:gd name="connsiteY6" fmla="*/ 4948 h 9486"/>
                  <a:gd name="connsiteX7" fmla="*/ 1308 w 9673"/>
                  <a:gd name="connsiteY7" fmla="*/ 5297 h 9486"/>
                  <a:gd name="connsiteX8" fmla="*/ 719 w 9673"/>
                  <a:gd name="connsiteY8" fmla="*/ 5530 h 9486"/>
                  <a:gd name="connsiteX9" fmla="*/ 131 w 9673"/>
                  <a:gd name="connsiteY9" fmla="*/ 6111 h 9486"/>
                  <a:gd name="connsiteX10" fmla="*/ 131 w 9673"/>
                  <a:gd name="connsiteY10" fmla="*/ 6460 h 9486"/>
                  <a:gd name="connsiteX11" fmla="*/ 1013 w 9673"/>
                  <a:gd name="connsiteY11" fmla="*/ 6925 h 9486"/>
                  <a:gd name="connsiteX12" fmla="*/ 1013 w 9673"/>
                  <a:gd name="connsiteY12" fmla="*/ 7158 h 9486"/>
                  <a:gd name="connsiteX13" fmla="*/ 425 w 9673"/>
                  <a:gd name="connsiteY13" fmla="*/ 7158 h 9486"/>
                  <a:gd name="connsiteX14" fmla="*/ 719 w 9673"/>
                  <a:gd name="connsiteY14" fmla="*/ 7623 h 9486"/>
                  <a:gd name="connsiteX15" fmla="*/ 1896 w 9673"/>
                  <a:gd name="connsiteY15" fmla="*/ 7972 h 9486"/>
                  <a:gd name="connsiteX16" fmla="*/ 3072 w 9673"/>
                  <a:gd name="connsiteY16" fmla="*/ 8204 h 9486"/>
                  <a:gd name="connsiteX17" fmla="*/ 4249 w 9673"/>
                  <a:gd name="connsiteY17" fmla="*/ 9018 h 9486"/>
                  <a:gd name="connsiteX18" fmla="*/ 5719 w 9673"/>
                  <a:gd name="connsiteY18" fmla="*/ 9483 h 9486"/>
                  <a:gd name="connsiteX19" fmla="*/ 6013 w 9673"/>
                  <a:gd name="connsiteY19" fmla="*/ 8785 h 9486"/>
                  <a:gd name="connsiteX20" fmla="*/ 6602 w 9673"/>
                  <a:gd name="connsiteY20" fmla="*/ 8204 h 9486"/>
                  <a:gd name="connsiteX21" fmla="*/ 7778 w 9673"/>
                  <a:gd name="connsiteY21" fmla="*/ 8088 h 9486"/>
                  <a:gd name="connsiteX22" fmla="*/ 8366 w 9673"/>
                  <a:gd name="connsiteY22" fmla="*/ 7274 h 9486"/>
                  <a:gd name="connsiteX23" fmla="*/ 9543 w 9673"/>
                  <a:gd name="connsiteY23" fmla="*/ 6692 h 9486"/>
                  <a:gd name="connsiteX24" fmla="*/ 9543 w 9673"/>
                  <a:gd name="connsiteY24" fmla="*/ 5879 h 9486"/>
                  <a:gd name="connsiteX25" fmla="*/ 9249 w 9673"/>
                  <a:gd name="connsiteY25" fmla="*/ 5646 h 9486"/>
                  <a:gd name="connsiteX26" fmla="*/ 9249 w 9673"/>
                  <a:gd name="connsiteY26" fmla="*/ 5646 h 9486"/>
                  <a:gd name="connsiteX27" fmla="*/ 9249 w 9673"/>
                  <a:gd name="connsiteY27" fmla="*/ 5646 h 9486"/>
                  <a:gd name="connsiteX28" fmla="*/ 8366 w 9673"/>
                  <a:gd name="connsiteY28" fmla="*/ 5530 h 9486"/>
                  <a:gd name="connsiteX29" fmla="*/ 7778 w 9673"/>
                  <a:gd name="connsiteY29" fmla="*/ 5181 h 9486"/>
                  <a:gd name="connsiteX30" fmla="*/ 7190 w 9673"/>
                  <a:gd name="connsiteY30" fmla="*/ 4716 h 9486"/>
                  <a:gd name="connsiteX31" fmla="*/ 6896 w 9673"/>
                  <a:gd name="connsiteY31" fmla="*/ 4251 h 9486"/>
                  <a:gd name="connsiteX32" fmla="*/ 6308 w 9673"/>
                  <a:gd name="connsiteY32" fmla="*/ 3785 h 9486"/>
                  <a:gd name="connsiteX33" fmla="*/ 6896 w 9673"/>
                  <a:gd name="connsiteY33" fmla="*/ 3437 h 9486"/>
                  <a:gd name="connsiteX34" fmla="*/ 6602 w 9673"/>
                  <a:gd name="connsiteY34" fmla="*/ 2972 h 9486"/>
                  <a:gd name="connsiteX35" fmla="*/ 6896 w 9673"/>
                  <a:gd name="connsiteY35" fmla="*/ 2739 h 9486"/>
                  <a:gd name="connsiteX36" fmla="*/ 6602 w 9673"/>
                  <a:gd name="connsiteY36" fmla="*/ 1692 h 9486"/>
                  <a:gd name="connsiteX37" fmla="*/ 5425 w 9673"/>
                  <a:gd name="connsiteY37" fmla="*/ 1227 h 9486"/>
                  <a:gd name="connsiteX38" fmla="*/ 4837 w 9673"/>
                  <a:gd name="connsiteY38" fmla="*/ 879 h 9486"/>
                  <a:gd name="connsiteX39" fmla="*/ 4249 w 9673"/>
                  <a:gd name="connsiteY39" fmla="*/ 413 h 9486"/>
                  <a:gd name="connsiteX40" fmla="*/ 3955 w 9673"/>
                  <a:gd name="connsiteY40" fmla="*/ 65 h 9486"/>
                  <a:gd name="connsiteX41" fmla="*/ 3366 w 9673"/>
                  <a:gd name="connsiteY41" fmla="*/ 530 h 9486"/>
                  <a:gd name="connsiteX42" fmla="*/ 2190 w 9673"/>
                  <a:gd name="connsiteY42" fmla="*/ 297 h 9486"/>
                  <a:gd name="connsiteX43" fmla="*/ 1308 w 9673"/>
                  <a:gd name="connsiteY43" fmla="*/ 181 h 9486"/>
                  <a:gd name="connsiteX44" fmla="*/ 425 w 9673"/>
                  <a:gd name="connsiteY44" fmla="*/ 995 h 9486"/>
                  <a:gd name="connsiteX45" fmla="*/ 131 w 9673"/>
                  <a:gd name="connsiteY45" fmla="*/ 2041 h 9486"/>
                  <a:gd name="connsiteX46" fmla="*/ 131 w 9673"/>
                  <a:gd name="connsiteY46" fmla="*/ 2506 h 9486"/>
                  <a:gd name="connsiteX0" fmla="*/ 135 w 10001"/>
                  <a:gd name="connsiteY0" fmla="*/ 2642 h 9534"/>
                  <a:gd name="connsiteX1" fmla="*/ 439 w 10001"/>
                  <a:gd name="connsiteY1" fmla="*/ 2765 h 9534"/>
                  <a:gd name="connsiteX2" fmla="*/ 1352 w 10001"/>
                  <a:gd name="connsiteY2" fmla="*/ 3133 h 9534"/>
                  <a:gd name="connsiteX3" fmla="*/ 1047 w 10001"/>
                  <a:gd name="connsiteY3" fmla="*/ 3868 h 9534"/>
                  <a:gd name="connsiteX4" fmla="*/ 743 w 10001"/>
                  <a:gd name="connsiteY4" fmla="*/ 4358 h 9534"/>
                  <a:gd name="connsiteX5" fmla="*/ 1047 w 10001"/>
                  <a:gd name="connsiteY5" fmla="*/ 4604 h 9534"/>
                  <a:gd name="connsiteX6" fmla="*/ 743 w 10001"/>
                  <a:gd name="connsiteY6" fmla="*/ 5216 h 9534"/>
                  <a:gd name="connsiteX7" fmla="*/ 1352 w 10001"/>
                  <a:gd name="connsiteY7" fmla="*/ 5584 h 9534"/>
                  <a:gd name="connsiteX8" fmla="*/ 743 w 10001"/>
                  <a:gd name="connsiteY8" fmla="*/ 5830 h 9534"/>
                  <a:gd name="connsiteX9" fmla="*/ 135 w 10001"/>
                  <a:gd name="connsiteY9" fmla="*/ 6442 h 9534"/>
                  <a:gd name="connsiteX10" fmla="*/ 135 w 10001"/>
                  <a:gd name="connsiteY10" fmla="*/ 6810 h 9534"/>
                  <a:gd name="connsiteX11" fmla="*/ 1047 w 10001"/>
                  <a:gd name="connsiteY11" fmla="*/ 7300 h 9534"/>
                  <a:gd name="connsiteX12" fmla="*/ 1047 w 10001"/>
                  <a:gd name="connsiteY12" fmla="*/ 7546 h 9534"/>
                  <a:gd name="connsiteX13" fmla="*/ 439 w 10001"/>
                  <a:gd name="connsiteY13" fmla="*/ 7546 h 9534"/>
                  <a:gd name="connsiteX14" fmla="*/ 743 w 10001"/>
                  <a:gd name="connsiteY14" fmla="*/ 8036 h 9534"/>
                  <a:gd name="connsiteX15" fmla="*/ 1960 w 10001"/>
                  <a:gd name="connsiteY15" fmla="*/ 8404 h 9534"/>
                  <a:gd name="connsiteX16" fmla="*/ 3176 w 10001"/>
                  <a:gd name="connsiteY16" fmla="*/ 8649 h 9534"/>
                  <a:gd name="connsiteX17" fmla="*/ 4393 w 10001"/>
                  <a:gd name="connsiteY17" fmla="*/ 9507 h 9534"/>
                  <a:gd name="connsiteX18" fmla="*/ 6216 w 10001"/>
                  <a:gd name="connsiteY18" fmla="*/ 9261 h 9534"/>
                  <a:gd name="connsiteX19" fmla="*/ 6825 w 10001"/>
                  <a:gd name="connsiteY19" fmla="*/ 8649 h 9534"/>
                  <a:gd name="connsiteX20" fmla="*/ 8041 w 10001"/>
                  <a:gd name="connsiteY20" fmla="*/ 8526 h 9534"/>
                  <a:gd name="connsiteX21" fmla="*/ 8649 w 10001"/>
                  <a:gd name="connsiteY21" fmla="*/ 7668 h 9534"/>
                  <a:gd name="connsiteX22" fmla="*/ 9866 w 10001"/>
                  <a:gd name="connsiteY22" fmla="*/ 7055 h 9534"/>
                  <a:gd name="connsiteX23" fmla="*/ 9866 w 10001"/>
                  <a:gd name="connsiteY23" fmla="*/ 6198 h 9534"/>
                  <a:gd name="connsiteX24" fmla="*/ 9562 w 10001"/>
                  <a:gd name="connsiteY24" fmla="*/ 5952 h 9534"/>
                  <a:gd name="connsiteX25" fmla="*/ 9562 w 10001"/>
                  <a:gd name="connsiteY25" fmla="*/ 5952 h 9534"/>
                  <a:gd name="connsiteX26" fmla="*/ 9562 w 10001"/>
                  <a:gd name="connsiteY26" fmla="*/ 5952 h 9534"/>
                  <a:gd name="connsiteX27" fmla="*/ 8649 w 10001"/>
                  <a:gd name="connsiteY27" fmla="*/ 5830 h 9534"/>
                  <a:gd name="connsiteX28" fmla="*/ 8041 w 10001"/>
                  <a:gd name="connsiteY28" fmla="*/ 5462 h 9534"/>
                  <a:gd name="connsiteX29" fmla="*/ 7433 w 10001"/>
                  <a:gd name="connsiteY29" fmla="*/ 4972 h 9534"/>
                  <a:gd name="connsiteX30" fmla="*/ 7129 w 10001"/>
                  <a:gd name="connsiteY30" fmla="*/ 4481 h 9534"/>
                  <a:gd name="connsiteX31" fmla="*/ 6521 w 10001"/>
                  <a:gd name="connsiteY31" fmla="*/ 3990 h 9534"/>
                  <a:gd name="connsiteX32" fmla="*/ 7129 w 10001"/>
                  <a:gd name="connsiteY32" fmla="*/ 3623 h 9534"/>
                  <a:gd name="connsiteX33" fmla="*/ 6825 w 10001"/>
                  <a:gd name="connsiteY33" fmla="*/ 3133 h 9534"/>
                  <a:gd name="connsiteX34" fmla="*/ 7129 w 10001"/>
                  <a:gd name="connsiteY34" fmla="*/ 2887 h 9534"/>
                  <a:gd name="connsiteX35" fmla="*/ 6825 w 10001"/>
                  <a:gd name="connsiteY35" fmla="*/ 1784 h 9534"/>
                  <a:gd name="connsiteX36" fmla="*/ 5608 w 10001"/>
                  <a:gd name="connsiteY36" fmla="*/ 1293 h 9534"/>
                  <a:gd name="connsiteX37" fmla="*/ 5001 w 10001"/>
                  <a:gd name="connsiteY37" fmla="*/ 927 h 9534"/>
                  <a:gd name="connsiteX38" fmla="*/ 4393 w 10001"/>
                  <a:gd name="connsiteY38" fmla="*/ 435 h 9534"/>
                  <a:gd name="connsiteX39" fmla="*/ 4089 w 10001"/>
                  <a:gd name="connsiteY39" fmla="*/ 69 h 9534"/>
                  <a:gd name="connsiteX40" fmla="*/ 3480 w 10001"/>
                  <a:gd name="connsiteY40" fmla="*/ 559 h 9534"/>
                  <a:gd name="connsiteX41" fmla="*/ 2264 w 10001"/>
                  <a:gd name="connsiteY41" fmla="*/ 313 h 9534"/>
                  <a:gd name="connsiteX42" fmla="*/ 1352 w 10001"/>
                  <a:gd name="connsiteY42" fmla="*/ 191 h 9534"/>
                  <a:gd name="connsiteX43" fmla="*/ 439 w 10001"/>
                  <a:gd name="connsiteY43" fmla="*/ 1049 h 9534"/>
                  <a:gd name="connsiteX44" fmla="*/ 135 w 10001"/>
                  <a:gd name="connsiteY44" fmla="*/ 2152 h 9534"/>
                  <a:gd name="connsiteX45" fmla="*/ 135 w 10001"/>
                  <a:gd name="connsiteY45" fmla="*/ 2642 h 9534"/>
                  <a:gd name="connsiteX0" fmla="*/ 135 w 10696"/>
                  <a:gd name="connsiteY0" fmla="*/ 2771 h 10000"/>
                  <a:gd name="connsiteX1" fmla="*/ 439 w 10696"/>
                  <a:gd name="connsiteY1" fmla="*/ 2900 h 10000"/>
                  <a:gd name="connsiteX2" fmla="*/ 1352 w 10696"/>
                  <a:gd name="connsiteY2" fmla="*/ 3286 h 10000"/>
                  <a:gd name="connsiteX3" fmla="*/ 1047 w 10696"/>
                  <a:gd name="connsiteY3" fmla="*/ 4057 h 10000"/>
                  <a:gd name="connsiteX4" fmla="*/ 743 w 10696"/>
                  <a:gd name="connsiteY4" fmla="*/ 4571 h 10000"/>
                  <a:gd name="connsiteX5" fmla="*/ 1047 w 10696"/>
                  <a:gd name="connsiteY5" fmla="*/ 4829 h 10000"/>
                  <a:gd name="connsiteX6" fmla="*/ 743 w 10696"/>
                  <a:gd name="connsiteY6" fmla="*/ 5471 h 10000"/>
                  <a:gd name="connsiteX7" fmla="*/ 1352 w 10696"/>
                  <a:gd name="connsiteY7" fmla="*/ 5857 h 10000"/>
                  <a:gd name="connsiteX8" fmla="*/ 743 w 10696"/>
                  <a:gd name="connsiteY8" fmla="*/ 6115 h 10000"/>
                  <a:gd name="connsiteX9" fmla="*/ 135 w 10696"/>
                  <a:gd name="connsiteY9" fmla="*/ 6757 h 10000"/>
                  <a:gd name="connsiteX10" fmla="*/ 135 w 10696"/>
                  <a:gd name="connsiteY10" fmla="*/ 7143 h 10000"/>
                  <a:gd name="connsiteX11" fmla="*/ 1047 w 10696"/>
                  <a:gd name="connsiteY11" fmla="*/ 7657 h 10000"/>
                  <a:gd name="connsiteX12" fmla="*/ 1047 w 10696"/>
                  <a:gd name="connsiteY12" fmla="*/ 7915 h 10000"/>
                  <a:gd name="connsiteX13" fmla="*/ 439 w 10696"/>
                  <a:gd name="connsiteY13" fmla="*/ 7915 h 10000"/>
                  <a:gd name="connsiteX14" fmla="*/ 743 w 10696"/>
                  <a:gd name="connsiteY14" fmla="*/ 8429 h 10000"/>
                  <a:gd name="connsiteX15" fmla="*/ 1960 w 10696"/>
                  <a:gd name="connsiteY15" fmla="*/ 8815 h 10000"/>
                  <a:gd name="connsiteX16" fmla="*/ 3176 w 10696"/>
                  <a:gd name="connsiteY16" fmla="*/ 9072 h 10000"/>
                  <a:gd name="connsiteX17" fmla="*/ 4393 w 10696"/>
                  <a:gd name="connsiteY17" fmla="*/ 9972 h 10000"/>
                  <a:gd name="connsiteX18" fmla="*/ 6215 w 10696"/>
                  <a:gd name="connsiteY18" fmla="*/ 9714 h 10000"/>
                  <a:gd name="connsiteX19" fmla="*/ 6824 w 10696"/>
                  <a:gd name="connsiteY19" fmla="*/ 9072 h 10000"/>
                  <a:gd name="connsiteX20" fmla="*/ 8040 w 10696"/>
                  <a:gd name="connsiteY20" fmla="*/ 8943 h 10000"/>
                  <a:gd name="connsiteX21" fmla="*/ 8648 w 10696"/>
                  <a:gd name="connsiteY21" fmla="*/ 8043 h 10000"/>
                  <a:gd name="connsiteX22" fmla="*/ 9865 w 10696"/>
                  <a:gd name="connsiteY22" fmla="*/ 7400 h 10000"/>
                  <a:gd name="connsiteX23" fmla="*/ 9865 w 10696"/>
                  <a:gd name="connsiteY23" fmla="*/ 6501 h 10000"/>
                  <a:gd name="connsiteX24" fmla="*/ 9561 w 10696"/>
                  <a:gd name="connsiteY24" fmla="*/ 6243 h 10000"/>
                  <a:gd name="connsiteX25" fmla="*/ 9561 w 10696"/>
                  <a:gd name="connsiteY25" fmla="*/ 6243 h 10000"/>
                  <a:gd name="connsiteX26" fmla="*/ 9561 w 10696"/>
                  <a:gd name="connsiteY26" fmla="*/ 6243 h 10000"/>
                  <a:gd name="connsiteX27" fmla="*/ 10647 w 10696"/>
                  <a:gd name="connsiteY27" fmla="*/ 5871 h 10000"/>
                  <a:gd name="connsiteX28" fmla="*/ 8040 w 10696"/>
                  <a:gd name="connsiteY28" fmla="*/ 5729 h 10000"/>
                  <a:gd name="connsiteX29" fmla="*/ 7432 w 10696"/>
                  <a:gd name="connsiteY29" fmla="*/ 5215 h 10000"/>
                  <a:gd name="connsiteX30" fmla="*/ 7128 w 10696"/>
                  <a:gd name="connsiteY30" fmla="*/ 4700 h 10000"/>
                  <a:gd name="connsiteX31" fmla="*/ 6520 w 10696"/>
                  <a:gd name="connsiteY31" fmla="*/ 4185 h 10000"/>
                  <a:gd name="connsiteX32" fmla="*/ 7128 w 10696"/>
                  <a:gd name="connsiteY32" fmla="*/ 3800 h 10000"/>
                  <a:gd name="connsiteX33" fmla="*/ 6824 w 10696"/>
                  <a:gd name="connsiteY33" fmla="*/ 3286 h 10000"/>
                  <a:gd name="connsiteX34" fmla="*/ 7128 w 10696"/>
                  <a:gd name="connsiteY34" fmla="*/ 3028 h 10000"/>
                  <a:gd name="connsiteX35" fmla="*/ 6824 w 10696"/>
                  <a:gd name="connsiteY35" fmla="*/ 1871 h 10000"/>
                  <a:gd name="connsiteX36" fmla="*/ 5607 w 10696"/>
                  <a:gd name="connsiteY36" fmla="*/ 1356 h 10000"/>
                  <a:gd name="connsiteX37" fmla="*/ 5000 w 10696"/>
                  <a:gd name="connsiteY37" fmla="*/ 972 h 10000"/>
                  <a:gd name="connsiteX38" fmla="*/ 4393 w 10696"/>
                  <a:gd name="connsiteY38" fmla="*/ 456 h 10000"/>
                  <a:gd name="connsiteX39" fmla="*/ 4089 w 10696"/>
                  <a:gd name="connsiteY39" fmla="*/ 72 h 10000"/>
                  <a:gd name="connsiteX40" fmla="*/ 3480 w 10696"/>
                  <a:gd name="connsiteY40" fmla="*/ 586 h 10000"/>
                  <a:gd name="connsiteX41" fmla="*/ 2264 w 10696"/>
                  <a:gd name="connsiteY41" fmla="*/ 328 h 10000"/>
                  <a:gd name="connsiteX42" fmla="*/ 1352 w 10696"/>
                  <a:gd name="connsiteY42" fmla="*/ 200 h 10000"/>
                  <a:gd name="connsiteX43" fmla="*/ 439 w 10696"/>
                  <a:gd name="connsiteY43" fmla="*/ 1100 h 10000"/>
                  <a:gd name="connsiteX44" fmla="*/ 135 w 10696"/>
                  <a:gd name="connsiteY44" fmla="*/ 2257 h 10000"/>
                  <a:gd name="connsiteX45" fmla="*/ 135 w 10696"/>
                  <a:gd name="connsiteY45" fmla="*/ 2771 h 10000"/>
                  <a:gd name="connsiteX0" fmla="*/ 135 w 10696"/>
                  <a:gd name="connsiteY0" fmla="*/ 2771 h 10000"/>
                  <a:gd name="connsiteX1" fmla="*/ 439 w 10696"/>
                  <a:gd name="connsiteY1" fmla="*/ 2900 h 10000"/>
                  <a:gd name="connsiteX2" fmla="*/ 1352 w 10696"/>
                  <a:gd name="connsiteY2" fmla="*/ 3286 h 10000"/>
                  <a:gd name="connsiteX3" fmla="*/ 1047 w 10696"/>
                  <a:gd name="connsiteY3" fmla="*/ 4057 h 10000"/>
                  <a:gd name="connsiteX4" fmla="*/ 743 w 10696"/>
                  <a:gd name="connsiteY4" fmla="*/ 4571 h 10000"/>
                  <a:gd name="connsiteX5" fmla="*/ 1047 w 10696"/>
                  <a:gd name="connsiteY5" fmla="*/ 4829 h 10000"/>
                  <a:gd name="connsiteX6" fmla="*/ 743 w 10696"/>
                  <a:gd name="connsiteY6" fmla="*/ 5471 h 10000"/>
                  <a:gd name="connsiteX7" fmla="*/ 1352 w 10696"/>
                  <a:gd name="connsiteY7" fmla="*/ 5857 h 10000"/>
                  <a:gd name="connsiteX8" fmla="*/ 743 w 10696"/>
                  <a:gd name="connsiteY8" fmla="*/ 6115 h 10000"/>
                  <a:gd name="connsiteX9" fmla="*/ 135 w 10696"/>
                  <a:gd name="connsiteY9" fmla="*/ 6757 h 10000"/>
                  <a:gd name="connsiteX10" fmla="*/ 135 w 10696"/>
                  <a:gd name="connsiteY10" fmla="*/ 7143 h 10000"/>
                  <a:gd name="connsiteX11" fmla="*/ 1047 w 10696"/>
                  <a:gd name="connsiteY11" fmla="*/ 7657 h 10000"/>
                  <a:gd name="connsiteX12" fmla="*/ 1047 w 10696"/>
                  <a:gd name="connsiteY12" fmla="*/ 7915 h 10000"/>
                  <a:gd name="connsiteX13" fmla="*/ 439 w 10696"/>
                  <a:gd name="connsiteY13" fmla="*/ 7915 h 10000"/>
                  <a:gd name="connsiteX14" fmla="*/ 743 w 10696"/>
                  <a:gd name="connsiteY14" fmla="*/ 8429 h 10000"/>
                  <a:gd name="connsiteX15" fmla="*/ 1960 w 10696"/>
                  <a:gd name="connsiteY15" fmla="*/ 8815 h 10000"/>
                  <a:gd name="connsiteX16" fmla="*/ 3176 w 10696"/>
                  <a:gd name="connsiteY16" fmla="*/ 9072 h 10000"/>
                  <a:gd name="connsiteX17" fmla="*/ 4393 w 10696"/>
                  <a:gd name="connsiteY17" fmla="*/ 9972 h 10000"/>
                  <a:gd name="connsiteX18" fmla="*/ 6215 w 10696"/>
                  <a:gd name="connsiteY18" fmla="*/ 9714 h 10000"/>
                  <a:gd name="connsiteX19" fmla="*/ 6824 w 10696"/>
                  <a:gd name="connsiteY19" fmla="*/ 9072 h 10000"/>
                  <a:gd name="connsiteX20" fmla="*/ 8040 w 10696"/>
                  <a:gd name="connsiteY20" fmla="*/ 8943 h 10000"/>
                  <a:gd name="connsiteX21" fmla="*/ 8648 w 10696"/>
                  <a:gd name="connsiteY21" fmla="*/ 8043 h 10000"/>
                  <a:gd name="connsiteX22" fmla="*/ 9865 w 10696"/>
                  <a:gd name="connsiteY22" fmla="*/ 7400 h 10000"/>
                  <a:gd name="connsiteX23" fmla="*/ 9865 w 10696"/>
                  <a:gd name="connsiteY23" fmla="*/ 6501 h 10000"/>
                  <a:gd name="connsiteX24" fmla="*/ 9561 w 10696"/>
                  <a:gd name="connsiteY24" fmla="*/ 6243 h 10000"/>
                  <a:gd name="connsiteX25" fmla="*/ 9561 w 10696"/>
                  <a:gd name="connsiteY25" fmla="*/ 6243 h 10000"/>
                  <a:gd name="connsiteX26" fmla="*/ 9561 w 10696"/>
                  <a:gd name="connsiteY26" fmla="*/ 6243 h 10000"/>
                  <a:gd name="connsiteX27" fmla="*/ 10647 w 10696"/>
                  <a:gd name="connsiteY27" fmla="*/ 5871 h 10000"/>
                  <a:gd name="connsiteX28" fmla="*/ 9183 w 10696"/>
                  <a:gd name="connsiteY28" fmla="*/ 5485 h 10000"/>
                  <a:gd name="connsiteX29" fmla="*/ 7432 w 10696"/>
                  <a:gd name="connsiteY29" fmla="*/ 5215 h 10000"/>
                  <a:gd name="connsiteX30" fmla="*/ 7128 w 10696"/>
                  <a:gd name="connsiteY30" fmla="*/ 4700 h 10000"/>
                  <a:gd name="connsiteX31" fmla="*/ 6520 w 10696"/>
                  <a:gd name="connsiteY31" fmla="*/ 4185 h 10000"/>
                  <a:gd name="connsiteX32" fmla="*/ 7128 w 10696"/>
                  <a:gd name="connsiteY32" fmla="*/ 3800 h 10000"/>
                  <a:gd name="connsiteX33" fmla="*/ 6824 w 10696"/>
                  <a:gd name="connsiteY33" fmla="*/ 3286 h 10000"/>
                  <a:gd name="connsiteX34" fmla="*/ 7128 w 10696"/>
                  <a:gd name="connsiteY34" fmla="*/ 3028 h 10000"/>
                  <a:gd name="connsiteX35" fmla="*/ 6824 w 10696"/>
                  <a:gd name="connsiteY35" fmla="*/ 1871 h 10000"/>
                  <a:gd name="connsiteX36" fmla="*/ 5607 w 10696"/>
                  <a:gd name="connsiteY36" fmla="*/ 1356 h 10000"/>
                  <a:gd name="connsiteX37" fmla="*/ 5000 w 10696"/>
                  <a:gd name="connsiteY37" fmla="*/ 972 h 10000"/>
                  <a:gd name="connsiteX38" fmla="*/ 4393 w 10696"/>
                  <a:gd name="connsiteY38" fmla="*/ 456 h 10000"/>
                  <a:gd name="connsiteX39" fmla="*/ 4089 w 10696"/>
                  <a:gd name="connsiteY39" fmla="*/ 72 h 10000"/>
                  <a:gd name="connsiteX40" fmla="*/ 3480 w 10696"/>
                  <a:gd name="connsiteY40" fmla="*/ 586 h 10000"/>
                  <a:gd name="connsiteX41" fmla="*/ 2264 w 10696"/>
                  <a:gd name="connsiteY41" fmla="*/ 328 h 10000"/>
                  <a:gd name="connsiteX42" fmla="*/ 1352 w 10696"/>
                  <a:gd name="connsiteY42" fmla="*/ 200 h 10000"/>
                  <a:gd name="connsiteX43" fmla="*/ 439 w 10696"/>
                  <a:gd name="connsiteY43" fmla="*/ 1100 h 10000"/>
                  <a:gd name="connsiteX44" fmla="*/ 135 w 10696"/>
                  <a:gd name="connsiteY44" fmla="*/ 2257 h 10000"/>
                  <a:gd name="connsiteX45" fmla="*/ 135 w 10696"/>
                  <a:gd name="connsiteY45" fmla="*/ 2771 h 10000"/>
                  <a:gd name="connsiteX0" fmla="*/ 135 w 10696"/>
                  <a:gd name="connsiteY0" fmla="*/ 2771 h 10000"/>
                  <a:gd name="connsiteX1" fmla="*/ 439 w 10696"/>
                  <a:gd name="connsiteY1" fmla="*/ 2900 h 10000"/>
                  <a:gd name="connsiteX2" fmla="*/ 1352 w 10696"/>
                  <a:gd name="connsiteY2" fmla="*/ 3286 h 10000"/>
                  <a:gd name="connsiteX3" fmla="*/ 1047 w 10696"/>
                  <a:gd name="connsiteY3" fmla="*/ 4057 h 10000"/>
                  <a:gd name="connsiteX4" fmla="*/ 743 w 10696"/>
                  <a:gd name="connsiteY4" fmla="*/ 4571 h 10000"/>
                  <a:gd name="connsiteX5" fmla="*/ 1047 w 10696"/>
                  <a:gd name="connsiteY5" fmla="*/ 4829 h 10000"/>
                  <a:gd name="connsiteX6" fmla="*/ 743 w 10696"/>
                  <a:gd name="connsiteY6" fmla="*/ 5471 h 10000"/>
                  <a:gd name="connsiteX7" fmla="*/ 1352 w 10696"/>
                  <a:gd name="connsiteY7" fmla="*/ 5857 h 10000"/>
                  <a:gd name="connsiteX8" fmla="*/ 743 w 10696"/>
                  <a:gd name="connsiteY8" fmla="*/ 6115 h 10000"/>
                  <a:gd name="connsiteX9" fmla="*/ 135 w 10696"/>
                  <a:gd name="connsiteY9" fmla="*/ 6757 h 10000"/>
                  <a:gd name="connsiteX10" fmla="*/ 135 w 10696"/>
                  <a:gd name="connsiteY10" fmla="*/ 7143 h 10000"/>
                  <a:gd name="connsiteX11" fmla="*/ 1047 w 10696"/>
                  <a:gd name="connsiteY11" fmla="*/ 7657 h 10000"/>
                  <a:gd name="connsiteX12" fmla="*/ 1047 w 10696"/>
                  <a:gd name="connsiteY12" fmla="*/ 7915 h 10000"/>
                  <a:gd name="connsiteX13" fmla="*/ 439 w 10696"/>
                  <a:gd name="connsiteY13" fmla="*/ 7915 h 10000"/>
                  <a:gd name="connsiteX14" fmla="*/ 743 w 10696"/>
                  <a:gd name="connsiteY14" fmla="*/ 8429 h 10000"/>
                  <a:gd name="connsiteX15" fmla="*/ 1960 w 10696"/>
                  <a:gd name="connsiteY15" fmla="*/ 8815 h 10000"/>
                  <a:gd name="connsiteX16" fmla="*/ 3176 w 10696"/>
                  <a:gd name="connsiteY16" fmla="*/ 9072 h 10000"/>
                  <a:gd name="connsiteX17" fmla="*/ 4393 w 10696"/>
                  <a:gd name="connsiteY17" fmla="*/ 9972 h 10000"/>
                  <a:gd name="connsiteX18" fmla="*/ 6215 w 10696"/>
                  <a:gd name="connsiteY18" fmla="*/ 9714 h 10000"/>
                  <a:gd name="connsiteX19" fmla="*/ 6824 w 10696"/>
                  <a:gd name="connsiteY19" fmla="*/ 9072 h 10000"/>
                  <a:gd name="connsiteX20" fmla="*/ 8040 w 10696"/>
                  <a:gd name="connsiteY20" fmla="*/ 8943 h 10000"/>
                  <a:gd name="connsiteX21" fmla="*/ 8648 w 10696"/>
                  <a:gd name="connsiteY21" fmla="*/ 8043 h 10000"/>
                  <a:gd name="connsiteX22" fmla="*/ 9865 w 10696"/>
                  <a:gd name="connsiteY22" fmla="*/ 7400 h 10000"/>
                  <a:gd name="connsiteX23" fmla="*/ 9865 w 10696"/>
                  <a:gd name="connsiteY23" fmla="*/ 6501 h 10000"/>
                  <a:gd name="connsiteX24" fmla="*/ 9561 w 10696"/>
                  <a:gd name="connsiteY24" fmla="*/ 6243 h 10000"/>
                  <a:gd name="connsiteX25" fmla="*/ 9561 w 10696"/>
                  <a:gd name="connsiteY25" fmla="*/ 6243 h 10000"/>
                  <a:gd name="connsiteX26" fmla="*/ 9561 w 10696"/>
                  <a:gd name="connsiteY26" fmla="*/ 6243 h 10000"/>
                  <a:gd name="connsiteX27" fmla="*/ 10647 w 10696"/>
                  <a:gd name="connsiteY27" fmla="*/ 5871 h 10000"/>
                  <a:gd name="connsiteX28" fmla="*/ 9183 w 10696"/>
                  <a:gd name="connsiteY28" fmla="*/ 5485 h 10000"/>
                  <a:gd name="connsiteX29" fmla="*/ 8717 w 10696"/>
                  <a:gd name="connsiteY29" fmla="*/ 5154 h 10000"/>
                  <a:gd name="connsiteX30" fmla="*/ 7128 w 10696"/>
                  <a:gd name="connsiteY30" fmla="*/ 4700 h 10000"/>
                  <a:gd name="connsiteX31" fmla="*/ 6520 w 10696"/>
                  <a:gd name="connsiteY31" fmla="*/ 4185 h 10000"/>
                  <a:gd name="connsiteX32" fmla="*/ 7128 w 10696"/>
                  <a:gd name="connsiteY32" fmla="*/ 3800 h 10000"/>
                  <a:gd name="connsiteX33" fmla="*/ 6824 w 10696"/>
                  <a:gd name="connsiteY33" fmla="*/ 3286 h 10000"/>
                  <a:gd name="connsiteX34" fmla="*/ 7128 w 10696"/>
                  <a:gd name="connsiteY34" fmla="*/ 3028 h 10000"/>
                  <a:gd name="connsiteX35" fmla="*/ 6824 w 10696"/>
                  <a:gd name="connsiteY35" fmla="*/ 1871 h 10000"/>
                  <a:gd name="connsiteX36" fmla="*/ 5607 w 10696"/>
                  <a:gd name="connsiteY36" fmla="*/ 1356 h 10000"/>
                  <a:gd name="connsiteX37" fmla="*/ 5000 w 10696"/>
                  <a:gd name="connsiteY37" fmla="*/ 972 h 10000"/>
                  <a:gd name="connsiteX38" fmla="*/ 4393 w 10696"/>
                  <a:gd name="connsiteY38" fmla="*/ 456 h 10000"/>
                  <a:gd name="connsiteX39" fmla="*/ 4089 w 10696"/>
                  <a:gd name="connsiteY39" fmla="*/ 72 h 10000"/>
                  <a:gd name="connsiteX40" fmla="*/ 3480 w 10696"/>
                  <a:gd name="connsiteY40" fmla="*/ 586 h 10000"/>
                  <a:gd name="connsiteX41" fmla="*/ 2264 w 10696"/>
                  <a:gd name="connsiteY41" fmla="*/ 328 h 10000"/>
                  <a:gd name="connsiteX42" fmla="*/ 1352 w 10696"/>
                  <a:gd name="connsiteY42" fmla="*/ 200 h 10000"/>
                  <a:gd name="connsiteX43" fmla="*/ 439 w 10696"/>
                  <a:gd name="connsiteY43" fmla="*/ 1100 h 10000"/>
                  <a:gd name="connsiteX44" fmla="*/ 135 w 10696"/>
                  <a:gd name="connsiteY44" fmla="*/ 2257 h 10000"/>
                  <a:gd name="connsiteX45" fmla="*/ 135 w 10696"/>
                  <a:gd name="connsiteY45" fmla="*/ 277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696" h="10000">
                    <a:moveTo>
                      <a:pt x="135" y="2771"/>
                    </a:moveTo>
                    <a:cubicBezTo>
                      <a:pt x="135" y="2771"/>
                      <a:pt x="135" y="3028"/>
                      <a:pt x="439" y="2900"/>
                    </a:cubicBezTo>
                    <a:cubicBezTo>
                      <a:pt x="1047" y="2900"/>
                      <a:pt x="1352" y="3028"/>
                      <a:pt x="1352" y="3286"/>
                    </a:cubicBezTo>
                    <a:cubicBezTo>
                      <a:pt x="1352" y="3543"/>
                      <a:pt x="1352" y="3800"/>
                      <a:pt x="1047" y="4057"/>
                    </a:cubicBezTo>
                    <a:cubicBezTo>
                      <a:pt x="1047" y="4185"/>
                      <a:pt x="439" y="4314"/>
                      <a:pt x="743" y="4571"/>
                    </a:cubicBezTo>
                    <a:cubicBezTo>
                      <a:pt x="743" y="4700"/>
                      <a:pt x="1047" y="4571"/>
                      <a:pt x="1047" y="4829"/>
                    </a:cubicBezTo>
                    <a:cubicBezTo>
                      <a:pt x="1047" y="5085"/>
                      <a:pt x="743" y="5215"/>
                      <a:pt x="743" y="5471"/>
                    </a:cubicBezTo>
                    <a:cubicBezTo>
                      <a:pt x="743" y="5729"/>
                      <a:pt x="1352" y="5857"/>
                      <a:pt x="1352" y="5857"/>
                    </a:cubicBezTo>
                    <a:cubicBezTo>
                      <a:pt x="1352" y="5985"/>
                      <a:pt x="1047" y="6115"/>
                      <a:pt x="743" y="6115"/>
                    </a:cubicBezTo>
                    <a:cubicBezTo>
                      <a:pt x="743" y="6115"/>
                      <a:pt x="135" y="6501"/>
                      <a:pt x="135" y="6757"/>
                    </a:cubicBezTo>
                    <a:cubicBezTo>
                      <a:pt x="135" y="7015"/>
                      <a:pt x="-169" y="6885"/>
                      <a:pt x="135" y="7143"/>
                    </a:cubicBezTo>
                    <a:cubicBezTo>
                      <a:pt x="743" y="7400"/>
                      <a:pt x="1047" y="7400"/>
                      <a:pt x="1047" y="7657"/>
                    </a:cubicBezTo>
                    <a:cubicBezTo>
                      <a:pt x="1047" y="7915"/>
                      <a:pt x="1352" y="7786"/>
                      <a:pt x="1047" y="7915"/>
                    </a:cubicBezTo>
                    <a:cubicBezTo>
                      <a:pt x="743" y="8043"/>
                      <a:pt x="743" y="7786"/>
                      <a:pt x="439" y="7915"/>
                    </a:cubicBezTo>
                    <a:cubicBezTo>
                      <a:pt x="135" y="8043"/>
                      <a:pt x="135" y="8043"/>
                      <a:pt x="743" y="8429"/>
                    </a:cubicBezTo>
                    <a:cubicBezTo>
                      <a:pt x="1047" y="8815"/>
                      <a:pt x="1352" y="8429"/>
                      <a:pt x="1960" y="8815"/>
                    </a:cubicBezTo>
                    <a:cubicBezTo>
                      <a:pt x="2872" y="9072"/>
                      <a:pt x="2872" y="8815"/>
                      <a:pt x="3176" y="9072"/>
                    </a:cubicBezTo>
                    <a:cubicBezTo>
                      <a:pt x="3785" y="9329"/>
                      <a:pt x="4089" y="9714"/>
                      <a:pt x="4393" y="9972"/>
                    </a:cubicBezTo>
                    <a:cubicBezTo>
                      <a:pt x="4900" y="10079"/>
                      <a:pt x="5810" y="9864"/>
                      <a:pt x="6215" y="9714"/>
                    </a:cubicBezTo>
                    <a:cubicBezTo>
                      <a:pt x="6620" y="9564"/>
                      <a:pt x="6215" y="9200"/>
                      <a:pt x="6824" y="9072"/>
                    </a:cubicBezTo>
                    <a:cubicBezTo>
                      <a:pt x="7432" y="8943"/>
                      <a:pt x="7736" y="9200"/>
                      <a:pt x="8040" y="8943"/>
                    </a:cubicBezTo>
                    <a:cubicBezTo>
                      <a:pt x="8344" y="8815"/>
                      <a:pt x="8040" y="8429"/>
                      <a:pt x="8648" y="8043"/>
                    </a:cubicBezTo>
                    <a:cubicBezTo>
                      <a:pt x="8953" y="7786"/>
                      <a:pt x="9561" y="7657"/>
                      <a:pt x="9865" y="7400"/>
                    </a:cubicBezTo>
                    <a:cubicBezTo>
                      <a:pt x="10169" y="7015"/>
                      <a:pt x="9865" y="6757"/>
                      <a:pt x="9865" y="6501"/>
                    </a:cubicBezTo>
                    <a:cubicBezTo>
                      <a:pt x="9865" y="6243"/>
                      <a:pt x="9561" y="6243"/>
                      <a:pt x="9561" y="6243"/>
                    </a:cubicBezTo>
                    <a:lnTo>
                      <a:pt x="9561" y="6243"/>
                    </a:lnTo>
                    <a:lnTo>
                      <a:pt x="9561" y="6243"/>
                    </a:lnTo>
                    <a:cubicBezTo>
                      <a:pt x="9742" y="6181"/>
                      <a:pt x="10952" y="5871"/>
                      <a:pt x="10647" y="5871"/>
                    </a:cubicBezTo>
                    <a:cubicBezTo>
                      <a:pt x="10039" y="5999"/>
                      <a:pt x="9505" y="5604"/>
                      <a:pt x="9183" y="5485"/>
                    </a:cubicBezTo>
                    <a:cubicBezTo>
                      <a:pt x="8861" y="5366"/>
                      <a:pt x="9060" y="5285"/>
                      <a:pt x="8717" y="5154"/>
                    </a:cubicBezTo>
                    <a:cubicBezTo>
                      <a:pt x="8374" y="5023"/>
                      <a:pt x="6824" y="4829"/>
                      <a:pt x="7128" y="4700"/>
                    </a:cubicBezTo>
                    <a:cubicBezTo>
                      <a:pt x="7432" y="4443"/>
                      <a:pt x="6824" y="4314"/>
                      <a:pt x="6520" y="4185"/>
                    </a:cubicBezTo>
                    <a:cubicBezTo>
                      <a:pt x="6215" y="4057"/>
                      <a:pt x="6824" y="3929"/>
                      <a:pt x="7128" y="3800"/>
                    </a:cubicBezTo>
                    <a:cubicBezTo>
                      <a:pt x="7128" y="3671"/>
                      <a:pt x="6520" y="3543"/>
                      <a:pt x="6824" y="3286"/>
                    </a:cubicBezTo>
                    <a:cubicBezTo>
                      <a:pt x="6824" y="3286"/>
                      <a:pt x="7128" y="3157"/>
                      <a:pt x="7128" y="3028"/>
                    </a:cubicBezTo>
                    <a:cubicBezTo>
                      <a:pt x="7128" y="3028"/>
                      <a:pt x="7128" y="2128"/>
                      <a:pt x="6824" y="1871"/>
                    </a:cubicBezTo>
                    <a:cubicBezTo>
                      <a:pt x="6824" y="1614"/>
                      <a:pt x="6215" y="1486"/>
                      <a:pt x="5607" y="1356"/>
                    </a:cubicBezTo>
                    <a:cubicBezTo>
                      <a:pt x="5303" y="1228"/>
                      <a:pt x="5000" y="1228"/>
                      <a:pt x="5000" y="972"/>
                    </a:cubicBezTo>
                    <a:cubicBezTo>
                      <a:pt x="5000" y="714"/>
                      <a:pt x="4697" y="714"/>
                      <a:pt x="4393" y="456"/>
                    </a:cubicBezTo>
                    <a:cubicBezTo>
                      <a:pt x="4089" y="328"/>
                      <a:pt x="4393" y="-186"/>
                      <a:pt x="4089" y="72"/>
                    </a:cubicBezTo>
                    <a:cubicBezTo>
                      <a:pt x="3785" y="328"/>
                      <a:pt x="4089" y="456"/>
                      <a:pt x="3480" y="586"/>
                    </a:cubicBezTo>
                    <a:cubicBezTo>
                      <a:pt x="2568" y="586"/>
                      <a:pt x="2264" y="714"/>
                      <a:pt x="2264" y="328"/>
                    </a:cubicBezTo>
                    <a:cubicBezTo>
                      <a:pt x="1960" y="72"/>
                      <a:pt x="1960" y="-58"/>
                      <a:pt x="1352" y="200"/>
                    </a:cubicBezTo>
                    <a:cubicBezTo>
                      <a:pt x="1047" y="586"/>
                      <a:pt x="1047" y="714"/>
                      <a:pt x="439" y="1100"/>
                    </a:cubicBezTo>
                    <a:cubicBezTo>
                      <a:pt x="135" y="1356"/>
                      <a:pt x="135" y="2000"/>
                      <a:pt x="135" y="2257"/>
                    </a:cubicBezTo>
                    <a:lnTo>
                      <a:pt x="135" y="2771"/>
                    </a:ln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59" name="Freeform 67"/>
              <p:cNvSpPr>
                <a:spLocks/>
              </p:cNvSpPr>
              <p:nvPr/>
            </p:nvSpPr>
            <p:spPr bwMode="gray">
              <a:xfrm>
                <a:off x="4938467" y="3839379"/>
                <a:ext cx="336551" cy="353422"/>
              </a:xfrm>
              <a:custGeom>
                <a:avLst/>
                <a:gdLst>
                  <a:gd name="T0" fmla="*/ 52 w 72"/>
                  <a:gd name="T1" fmla="*/ 76 h 77"/>
                  <a:gd name="T2" fmla="*/ 50 w 72"/>
                  <a:gd name="T3" fmla="*/ 75 h 77"/>
                  <a:gd name="T4" fmla="*/ 46 w 72"/>
                  <a:gd name="T5" fmla="*/ 71 h 77"/>
                  <a:gd name="T6" fmla="*/ 39 w 72"/>
                  <a:gd name="T7" fmla="*/ 66 h 77"/>
                  <a:gd name="T8" fmla="*/ 36 w 72"/>
                  <a:gd name="T9" fmla="*/ 59 h 77"/>
                  <a:gd name="T10" fmla="*/ 30 w 72"/>
                  <a:gd name="T11" fmla="*/ 55 h 77"/>
                  <a:gd name="T12" fmla="*/ 23 w 72"/>
                  <a:gd name="T13" fmla="*/ 45 h 77"/>
                  <a:gd name="T14" fmla="*/ 17 w 72"/>
                  <a:gd name="T15" fmla="*/ 38 h 77"/>
                  <a:gd name="T16" fmla="*/ 10 w 72"/>
                  <a:gd name="T17" fmla="*/ 31 h 77"/>
                  <a:gd name="T18" fmla="*/ 5 w 72"/>
                  <a:gd name="T19" fmla="*/ 19 h 77"/>
                  <a:gd name="T20" fmla="*/ 1 w 72"/>
                  <a:gd name="T21" fmla="*/ 13 h 77"/>
                  <a:gd name="T22" fmla="*/ 0 w 72"/>
                  <a:gd name="T23" fmla="*/ 5 h 77"/>
                  <a:gd name="T24" fmla="*/ 4 w 72"/>
                  <a:gd name="T25" fmla="*/ 3 h 77"/>
                  <a:gd name="T26" fmla="*/ 10 w 72"/>
                  <a:gd name="T27" fmla="*/ 9 h 77"/>
                  <a:gd name="T28" fmla="*/ 15 w 72"/>
                  <a:gd name="T29" fmla="*/ 3 h 77"/>
                  <a:gd name="T30" fmla="*/ 20 w 72"/>
                  <a:gd name="T31" fmla="*/ 3 h 77"/>
                  <a:gd name="T32" fmla="*/ 22 w 72"/>
                  <a:gd name="T33" fmla="*/ 2 h 77"/>
                  <a:gd name="T34" fmla="*/ 28 w 72"/>
                  <a:gd name="T35" fmla="*/ 4 h 77"/>
                  <a:gd name="T36" fmla="*/ 35 w 72"/>
                  <a:gd name="T37" fmla="*/ 6 h 77"/>
                  <a:gd name="T38" fmla="*/ 39 w 72"/>
                  <a:gd name="T39" fmla="*/ 7 h 77"/>
                  <a:gd name="T40" fmla="*/ 43 w 72"/>
                  <a:gd name="T41" fmla="*/ 6 h 77"/>
                  <a:gd name="T42" fmla="*/ 47 w 72"/>
                  <a:gd name="T43" fmla="*/ 7 h 77"/>
                  <a:gd name="T44" fmla="*/ 51 w 72"/>
                  <a:gd name="T45" fmla="*/ 7 h 77"/>
                  <a:gd name="T46" fmla="*/ 55 w 72"/>
                  <a:gd name="T47" fmla="*/ 9 h 77"/>
                  <a:gd name="T48" fmla="*/ 59 w 72"/>
                  <a:gd name="T49" fmla="*/ 12 h 77"/>
                  <a:gd name="T50" fmla="*/ 61 w 72"/>
                  <a:gd name="T51" fmla="*/ 11 h 77"/>
                  <a:gd name="T52" fmla="*/ 61 w 72"/>
                  <a:gd name="T53" fmla="*/ 11 h 77"/>
                  <a:gd name="T54" fmla="*/ 61 w 72"/>
                  <a:gd name="T55" fmla="*/ 11 h 77"/>
                  <a:gd name="T56" fmla="*/ 63 w 72"/>
                  <a:gd name="T57" fmla="*/ 11 h 77"/>
                  <a:gd name="T58" fmla="*/ 65 w 72"/>
                  <a:gd name="T59" fmla="*/ 14 h 77"/>
                  <a:gd name="T60" fmla="*/ 62 w 72"/>
                  <a:gd name="T61" fmla="*/ 24 h 77"/>
                  <a:gd name="T62" fmla="*/ 65 w 72"/>
                  <a:gd name="T63" fmla="*/ 28 h 77"/>
                  <a:gd name="T64" fmla="*/ 68 w 72"/>
                  <a:gd name="T65" fmla="*/ 31 h 77"/>
                  <a:gd name="T66" fmla="*/ 71 w 72"/>
                  <a:gd name="T67" fmla="*/ 35 h 77"/>
                  <a:gd name="T68" fmla="*/ 67 w 72"/>
                  <a:gd name="T69" fmla="*/ 35 h 77"/>
                  <a:gd name="T70" fmla="*/ 66 w 72"/>
                  <a:gd name="T71" fmla="*/ 38 h 77"/>
                  <a:gd name="T72" fmla="*/ 69 w 72"/>
                  <a:gd name="T73" fmla="*/ 43 h 77"/>
                  <a:gd name="T74" fmla="*/ 67 w 72"/>
                  <a:gd name="T75" fmla="*/ 46 h 77"/>
                  <a:gd name="T76" fmla="*/ 63 w 72"/>
                  <a:gd name="T77" fmla="*/ 48 h 77"/>
                  <a:gd name="T78" fmla="*/ 60 w 72"/>
                  <a:gd name="T79" fmla="*/ 49 h 77"/>
                  <a:gd name="T80" fmla="*/ 61 w 72"/>
                  <a:gd name="T81" fmla="*/ 54 h 77"/>
                  <a:gd name="T82" fmla="*/ 58 w 72"/>
                  <a:gd name="T83" fmla="*/ 53 h 77"/>
                  <a:gd name="T84" fmla="*/ 55 w 72"/>
                  <a:gd name="T85" fmla="*/ 58 h 77"/>
                  <a:gd name="T86" fmla="*/ 52 w 72"/>
                  <a:gd name="T87" fmla="*/ 61 h 77"/>
                  <a:gd name="T88" fmla="*/ 51 w 72"/>
                  <a:gd name="T89" fmla="*/ 66 h 77"/>
                  <a:gd name="T90" fmla="*/ 53 w 72"/>
                  <a:gd name="T91" fmla="*/ 71 h 77"/>
                  <a:gd name="T92" fmla="*/ 52 w 72"/>
                  <a:gd name="T93" fmla="*/ 74 h 77"/>
                  <a:gd name="T94" fmla="*/ 52 w 72"/>
                  <a:gd name="T95" fmla="*/ 7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2" h="77">
                    <a:moveTo>
                      <a:pt x="52" y="76"/>
                    </a:moveTo>
                    <a:cubicBezTo>
                      <a:pt x="52" y="76"/>
                      <a:pt x="51" y="77"/>
                      <a:pt x="50" y="75"/>
                    </a:cubicBezTo>
                    <a:cubicBezTo>
                      <a:pt x="48" y="74"/>
                      <a:pt x="47" y="72"/>
                      <a:pt x="46" y="71"/>
                    </a:cubicBezTo>
                    <a:cubicBezTo>
                      <a:pt x="44" y="70"/>
                      <a:pt x="41" y="68"/>
                      <a:pt x="39" y="66"/>
                    </a:cubicBezTo>
                    <a:cubicBezTo>
                      <a:pt x="38" y="65"/>
                      <a:pt x="38" y="61"/>
                      <a:pt x="36" y="59"/>
                    </a:cubicBezTo>
                    <a:cubicBezTo>
                      <a:pt x="34" y="57"/>
                      <a:pt x="32" y="57"/>
                      <a:pt x="30" y="55"/>
                    </a:cubicBezTo>
                    <a:cubicBezTo>
                      <a:pt x="29" y="52"/>
                      <a:pt x="25" y="47"/>
                      <a:pt x="23" y="45"/>
                    </a:cubicBezTo>
                    <a:cubicBezTo>
                      <a:pt x="21" y="43"/>
                      <a:pt x="19" y="40"/>
                      <a:pt x="17" y="38"/>
                    </a:cubicBezTo>
                    <a:cubicBezTo>
                      <a:pt x="15" y="36"/>
                      <a:pt x="12" y="34"/>
                      <a:pt x="10" y="31"/>
                    </a:cubicBezTo>
                    <a:cubicBezTo>
                      <a:pt x="9" y="28"/>
                      <a:pt x="8" y="21"/>
                      <a:pt x="5" y="19"/>
                    </a:cubicBezTo>
                    <a:cubicBezTo>
                      <a:pt x="3" y="17"/>
                      <a:pt x="2" y="17"/>
                      <a:pt x="1" y="13"/>
                    </a:cubicBezTo>
                    <a:cubicBezTo>
                      <a:pt x="0" y="9"/>
                      <a:pt x="1" y="8"/>
                      <a:pt x="0" y="5"/>
                    </a:cubicBezTo>
                    <a:cubicBezTo>
                      <a:pt x="0" y="3"/>
                      <a:pt x="2" y="0"/>
                      <a:pt x="4" y="3"/>
                    </a:cubicBezTo>
                    <a:cubicBezTo>
                      <a:pt x="6" y="5"/>
                      <a:pt x="9" y="11"/>
                      <a:pt x="10" y="9"/>
                    </a:cubicBezTo>
                    <a:cubicBezTo>
                      <a:pt x="12" y="7"/>
                      <a:pt x="13" y="2"/>
                      <a:pt x="15" y="3"/>
                    </a:cubicBezTo>
                    <a:cubicBezTo>
                      <a:pt x="16" y="4"/>
                      <a:pt x="19" y="5"/>
                      <a:pt x="20" y="3"/>
                    </a:cubicBezTo>
                    <a:cubicBezTo>
                      <a:pt x="20" y="1"/>
                      <a:pt x="21" y="1"/>
                      <a:pt x="22" y="2"/>
                    </a:cubicBezTo>
                    <a:cubicBezTo>
                      <a:pt x="24" y="4"/>
                      <a:pt x="26" y="4"/>
                      <a:pt x="28" y="4"/>
                    </a:cubicBezTo>
                    <a:cubicBezTo>
                      <a:pt x="30" y="5"/>
                      <a:pt x="33" y="5"/>
                      <a:pt x="35" y="6"/>
                    </a:cubicBezTo>
                    <a:cubicBezTo>
                      <a:pt x="36" y="7"/>
                      <a:pt x="37" y="8"/>
                      <a:pt x="39" y="7"/>
                    </a:cubicBezTo>
                    <a:cubicBezTo>
                      <a:pt x="41" y="6"/>
                      <a:pt x="41" y="5"/>
                      <a:pt x="43" y="6"/>
                    </a:cubicBezTo>
                    <a:cubicBezTo>
                      <a:pt x="44" y="7"/>
                      <a:pt x="46" y="7"/>
                      <a:pt x="47" y="7"/>
                    </a:cubicBezTo>
                    <a:cubicBezTo>
                      <a:pt x="49" y="6"/>
                      <a:pt x="50" y="6"/>
                      <a:pt x="51" y="7"/>
                    </a:cubicBezTo>
                    <a:cubicBezTo>
                      <a:pt x="53" y="8"/>
                      <a:pt x="54" y="7"/>
                      <a:pt x="55" y="9"/>
                    </a:cubicBezTo>
                    <a:cubicBezTo>
                      <a:pt x="56" y="12"/>
                      <a:pt x="57" y="14"/>
                      <a:pt x="59" y="12"/>
                    </a:cubicBezTo>
                    <a:cubicBezTo>
                      <a:pt x="60" y="11"/>
                      <a:pt x="61" y="11"/>
                      <a:pt x="61" y="11"/>
                    </a:cubicBezTo>
                    <a:cubicBezTo>
                      <a:pt x="61" y="11"/>
                      <a:pt x="61" y="11"/>
                      <a:pt x="61" y="11"/>
                    </a:cubicBezTo>
                    <a:cubicBezTo>
                      <a:pt x="61" y="11"/>
                      <a:pt x="61" y="11"/>
                      <a:pt x="61" y="11"/>
                    </a:cubicBezTo>
                    <a:cubicBezTo>
                      <a:pt x="61" y="11"/>
                      <a:pt x="62" y="10"/>
                      <a:pt x="63" y="11"/>
                    </a:cubicBezTo>
                    <a:cubicBezTo>
                      <a:pt x="64" y="11"/>
                      <a:pt x="65" y="10"/>
                      <a:pt x="65" y="14"/>
                    </a:cubicBezTo>
                    <a:cubicBezTo>
                      <a:pt x="65" y="17"/>
                      <a:pt x="63" y="21"/>
                      <a:pt x="62" y="24"/>
                    </a:cubicBezTo>
                    <a:cubicBezTo>
                      <a:pt x="61" y="26"/>
                      <a:pt x="62" y="27"/>
                      <a:pt x="65" y="28"/>
                    </a:cubicBezTo>
                    <a:cubicBezTo>
                      <a:pt x="67" y="30"/>
                      <a:pt x="67" y="29"/>
                      <a:pt x="68" y="31"/>
                    </a:cubicBezTo>
                    <a:cubicBezTo>
                      <a:pt x="70" y="34"/>
                      <a:pt x="71" y="33"/>
                      <a:pt x="71" y="35"/>
                    </a:cubicBezTo>
                    <a:cubicBezTo>
                      <a:pt x="72" y="37"/>
                      <a:pt x="69" y="36"/>
                      <a:pt x="67" y="35"/>
                    </a:cubicBezTo>
                    <a:cubicBezTo>
                      <a:pt x="65" y="35"/>
                      <a:pt x="66" y="36"/>
                      <a:pt x="66" y="38"/>
                    </a:cubicBezTo>
                    <a:cubicBezTo>
                      <a:pt x="66" y="39"/>
                      <a:pt x="69" y="41"/>
                      <a:pt x="69" y="43"/>
                    </a:cubicBezTo>
                    <a:cubicBezTo>
                      <a:pt x="70" y="44"/>
                      <a:pt x="69" y="46"/>
                      <a:pt x="67" y="46"/>
                    </a:cubicBezTo>
                    <a:cubicBezTo>
                      <a:pt x="65" y="47"/>
                      <a:pt x="65" y="48"/>
                      <a:pt x="63" y="48"/>
                    </a:cubicBezTo>
                    <a:cubicBezTo>
                      <a:pt x="62" y="48"/>
                      <a:pt x="60" y="47"/>
                      <a:pt x="60" y="49"/>
                    </a:cubicBezTo>
                    <a:cubicBezTo>
                      <a:pt x="60" y="50"/>
                      <a:pt x="61" y="52"/>
                      <a:pt x="61" y="54"/>
                    </a:cubicBezTo>
                    <a:cubicBezTo>
                      <a:pt x="61" y="56"/>
                      <a:pt x="59" y="53"/>
                      <a:pt x="58" y="53"/>
                    </a:cubicBezTo>
                    <a:cubicBezTo>
                      <a:pt x="57" y="54"/>
                      <a:pt x="55" y="55"/>
                      <a:pt x="55" y="58"/>
                    </a:cubicBezTo>
                    <a:cubicBezTo>
                      <a:pt x="54" y="61"/>
                      <a:pt x="54" y="62"/>
                      <a:pt x="52" y="61"/>
                    </a:cubicBezTo>
                    <a:cubicBezTo>
                      <a:pt x="51" y="61"/>
                      <a:pt x="51" y="64"/>
                      <a:pt x="51" y="66"/>
                    </a:cubicBezTo>
                    <a:cubicBezTo>
                      <a:pt x="52" y="68"/>
                      <a:pt x="54" y="70"/>
                      <a:pt x="53" y="71"/>
                    </a:cubicBezTo>
                    <a:cubicBezTo>
                      <a:pt x="53" y="72"/>
                      <a:pt x="52" y="73"/>
                      <a:pt x="52" y="74"/>
                    </a:cubicBezTo>
                    <a:cubicBezTo>
                      <a:pt x="52" y="75"/>
                      <a:pt x="52" y="75"/>
                      <a:pt x="52" y="76"/>
                    </a:cubicBez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0" name="Freeform 68"/>
              <p:cNvSpPr>
                <a:spLocks/>
              </p:cNvSpPr>
              <p:nvPr>
                <p:custDataLst>
                  <p:tags r:id="rId124"/>
                </p:custDataLst>
              </p:nvPr>
            </p:nvSpPr>
            <p:spPr bwMode="gray">
              <a:xfrm>
                <a:off x="4743622" y="3695911"/>
                <a:ext cx="503056" cy="451400"/>
              </a:xfrm>
              <a:custGeom>
                <a:avLst/>
                <a:gdLst>
                  <a:gd name="T0" fmla="*/ 77 w 108"/>
                  <a:gd name="T1" fmla="*/ 97 h 98"/>
                  <a:gd name="T2" fmla="*/ 65 w 108"/>
                  <a:gd name="T3" fmla="*/ 96 h 98"/>
                  <a:gd name="T4" fmla="*/ 65 w 108"/>
                  <a:gd name="T5" fmla="*/ 94 h 98"/>
                  <a:gd name="T6" fmla="*/ 75 w 108"/>
                  <a:gd name="T7" fmla="*/ 94 h 98"/>
                  <a:gd name="T8" fmla="*/ 67 w 108"/>
                  <a:gd name="T9" fmla="*/ 85 h 98"/>
                  <a:gd name="T10" fmla="*/ 55 w 108"/>
                  <a:gd name="T11" fmla="*/ 78 h 98"/>
                  <a:gd name="T12" fmla="*/ 46 w 108"/>
                  <a:gd name="T13" fmla="*/ 78 h 98"/>
                  <a:gd name="T14" fmla="*/ 39 w 108"/>
                  <a:gd name="T15" fmla="*/ 69 h 98"/>
                  <a:gd name="T16" fmla="*/ 33 w 108"/>
                  <a:gd name="T17" fmla="*/ 64 h 98"/>
                  <a:gd name="T18" fmla="*/ 31 w 108"/>
                  <a:gd name="T19" fmla="*/ 60 h 98"/>
                  <a:gd name="T20" fmla="*/ 37 w 108"/>
                  <a:gd name="T21" fmla="*/ 58 h 98"/>
                  <a:gd name="T22" fmla="*/ 27 w 108"/>
                  <a:gd name="T23" fmla="*/ 46 h 98"/>
                  <a:gd name="T24" fmla="*/ 21 w 108"/>
                  <a:gd name="T25" fmla="*/ 33 h 98"/>
                  <a:gd name="T26" fmla="*/ 14 w 108"/>
                  <a:gd name="T27" fmla="*/ 37 h 98"/>
                  <a:gd name="T28" fmla="*/ 10 w 108"/>
                  <a:gd name="T29" fmla="*/ 44 h 98"/>
                  <a:gd name="T30" fmla="*/ 3 w 108"/>
                  <a:gd name="T31" fmla="*/ 37 h 98"/>
                  <a:gd name="T32" fmla="*/ 2 w 108"/>
                  <a:gd name="T33" fmla="*/ 28 h 98"/>
                  <a:gd name="T34" fmla="*/ 15 w 108"/>
                  <a:gd name="T35" fmla="*/ 27 h 98"/>
                  <a:gd name="T36" fmla="*/ 22 w 108"/>
                  <a:gd name="T37" fmla="*/ 25 h 98"/>
                  <a:gd name="T38" fmla="*/ 33 w 108"/>
                  <a:gd name="T39" fmla="*/ 29 h 98"/>
                  <a:gd name="T40" fmla="*/ 38 w 108"/>
                  <a:gd name="T41" fmla="*/ 19 h 98"/>
                  <a:gd name="T42" fmla="*/ 39 w 108"/>
                  <a:gd name="T43" fmla="*/ 8 h 98"/>
                  <a:gd name="T44" fmla="*/ 50 w 108"/>
                  <a:gd name="T45" fmla="*/ 4 h 98"/>
                  <a:gd name="T46" fmla="*/ 58 w 108"/>
                  <a:gd name="T47" fmla="*/ 2 h 98"/>
                  <a:gd name="T48" fmla="*/ 67 w 108"/>
                  <a:gd name="T49" fmla="*/ 11 h 98"/>
                  <a:gd name="T50" fmla="*/ 76 w 108"/>
                  <a:gd name="T51" fmla="*/ 17 h 98"/>
                  <a:gd name="T52" fmla="*/ 89 w 108"/>
                  <a:gd name="T53" fmla="*/ 20 h 98"/>
                  <a:gd name="T54" fmla="*/ 97 w 108"/>
                  <a:gd name="T55" fmla="*/ 16 h 98"/>
                  <a:gd name="T56" fmla="*/ 99 w 108"/>
                  <a:gd name="T57" fmla="*/ 25 h 98"/>
                  <a:gd name="T58" fmla="*/ 104 w 108"/>
                  <a:gd name="T59" fmla="*/ 33 h 98"/>
                  <a:gd name="T60" fmla="*/ 103 w 108"/>
                  <a:gd name="T61" fmla="*/ 37 h 98"/>
                  <a:gd name="T62" fmla="*/ 101 w 108"/>
                  <a:gd name="T63" fmla="*/ 43 h 98"/>
                  <a:gd name="T64" fmla="*/ 93 w 108"/>
                  <a:gd name="T65" fmla="*/ 38 h 98"/>
                  <a:gd name="T66" fmla="*/ 85 w 108"/>
                  <a:gd name="T67" fmla="*/ 37 h 98"/>
                  <a:gd name="T68" fmla="*/ 77 w 108"/>
                  <a:gd name="T69" fmla="*/ 37 h 98"/>
                  <a:gd name="T70" fmla="*/ 64 w 108"/>
                  <a:gd name="T71" fmla="*/ 33 h 98"/>
                  <a:gd name="T72" fmla="*/ 57 w 108"/>
                  <a:gd name="T73" fmla="*/ 34 h 98"/>
                  <a:gd name="T74" fmla="*/ 46 w 108"/>
                  <a:gd name="T75" fmla="*/ 34 h 98"/>
                  <a:gd name="T76" fmla="*/ 43 w 108"/>
                  <a:gd name="T77" fmla="*/ 44 h 98"/>
                  <a:gd name="T78" fmla="*/ 52 w 108"/>
                  <a:gd name="T79" fmla="*/ 62 h 98"/>
                  <a:gd name="T80" fmla="*/ 65 w 108"/>
                  <a:gd name="T81" fmla="*/ 76 h 98"/>
                  <a:gd name="T82" fmla="*/ 78 w 108"/>
                  <a:gd name="T83"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8" h="98">
                    <a:moveTo>
                      <a:pt x="81" y="97"/>
                    </a:moveTo>
                    <a:cubicBezTo>
                      <a:pt x="81" y="97"/>
                      <a:pt x="79" y="98"/>
                      <a:pt x="77" y="97"/>
                    </a:cubicBezTo>
                    <a:cubicBezTo>
                      <a:pt x="75" y="96"/>
                      <a:pt x="73" y="93"/>
                      <a:pt x="71" y="94"/>
                    </a:cubicBezTo>
                    <a:cubicBezTo>
                      <a:pt x="69" y="95"/>
                      <a:pt x="66" y="95"/>
                      <a:pt x="65" y="96"/>
                    </a:cubicBezTo>
                    <a:cubicBezTo>
                      <a:pt x="63" y="96"/>
                      <a:pt x="60" y="96"/>
                      <a:pt x="61" y="95"/>
                    </a:cubicBezTo>
                    <a:cubicBezTo>
                      <a:pt x="61" y="93"/>
                      <a:pt x="64" y="94"/>
                      <a:pt x="65" y="94"/>
                    </a:cubicBezTo>
                    <a:cubicBezTo>
                      <a:pt x="67" y="93"/>
                      <a:pt x="70" y="92"/>
                      <a:pt x="71" y="92"/>
                    </a:cubicBezTo>
                    <a:cubicBezTo>
                      <a:pt x="72" y="92"/>
                      <a:pt x="75" y="94"/>
                      <a:pt x="75" y="94"/>
                    </a:cubicBezTo>
                    <a:cubicBezTo>
                      <a:pt x="76" y="93"/>
                      <a:pt x="73" y="91"/>
                      <a:pt x="72" y="89"/>
                    </a:cubicBezTo>
                    <a:cubicBezTo>
                      <a:pt x="71" y="87"/>
                      <a:pt x="68" y="88"/>
                      <a:pt x="67" y="85"/>
                    </a:cubicBezTo>
                    <a:cubicBezTo>
                      <a:pt x="65" y="83"/>
                      <a:pt x="63" y="80"/>
                      <a:pt x="61" y="80"/>
                    </a:cubicBezTo>
                    <a:cubicBezTo>
                      <a:pt x="58" y="80"/>
                      <a:pt x="56" y="78"/>
                      <a:pt x="55" y="78"/>
                    </a:cubicBezTo>
                    <a:cubicBezTo>
                      <a:pt x="54" y="77"/>
                      <a:pt x="52" y="79"/>
                      <a:pt x="51" y="79"/>
                    </a:cubicBezTo>
                    <a:cubicBezTo>
                      <a:pt x="50" y="79"/>
                      <a:pt x="46" y="79"/>
                      <a:pt x="46" y="78"/>
                    </a:cubicBezTo>
                    <a:cubicBezTo>
                      <a:pt x="46" y="76"/>
                      <a:pt x="46" y="74"/>
                      <a:pt x="45" y="73"/>
                    </a:cubicBezTo>
                    <a:cubicBezTo>
                      <a:pt x="43" y="73"/>
                      <a:pt x="40" y="70"/>
                      <a:pt x="39" y="69"/>
                    </a:cubicBezTo>
                    <a:cubicBezTo>
                      <a:pt x="37" y="68"/>
                      <a:pt x="36" y="67"/>
                      <a:pt x="34" y="66"/>
                    </a:cubicBezTo>
                    <a:cubicBezTo>
                      <a:pt x="31" y="65"/>
                      <a:pt x="32" y="64"/>
                      <a:pt x="33" y="64"/>
                    </a:cubicBezTo>
                    <a:cubicBezTo>
                      <a:pt x="34" y="65"/>
                      <a:pt x="36" y="67"/>
                      <a:pt x="36" y="66"/>
                    </a:cubicBezTo>
                    <a:cubicBezTo>
                      <a:pt x="35" y="64"/>
                      <a:pt x="31" y="62"/>
                      <a:pt x="31" y="60"/>
                    </a:cubicBezTo>
                    <a:cubicBezTo>
                      <a:pt x="30" y="58"/>
                      <a:pt x="33" y="58"/>
                      <a:pt x="35" y="59"/>
                    </a:cubicBezTo>
                    <a:cubicBezTo>
                      <a:pt x="36" y="59"/>
                      <a:pt x="39" y="59"/>
                      <a:pt x="37" y="58"/>
                    </a:cubicBezTo>
                    <a:cubicBezTo>
                      <a:pt x="36" y="57"/>
                      <a:pt x="31" y="54"/>
                      <a:pt x="30" y="53"/>
                    </a:cubicBezTo>
                    <a:cubicBezTo>
                      <a:pt x="29" y="52"/>
                      <a:pt x="27" y="48"/>
                      <a:pt x="27" y="46"/>
                    </a:cubicBezTo>
                    <a:cubicBezTo>
                      <a:pt x="27" y="45"/>
                      <a:pt x="26" y="41"/>
                      <a:pt x="25" y="39"/>
                    </a:cubicBezTo>
                    <a:cubicBezTo>
                      <a:pt x="25" y="38"/>
                      <a:pt x="23" y="35"/>
                      <a:pt x="21" y="33"/>
                    </a:cubicBezTo>
                    <a:cubicBezTo>
                      <a:pt x="19" y="32"/>
                      <a:pt x="17" y="30"/>
                      <a:pt x="16" y="32"/>
                    </a:cubicBezTo>
                    <a:cubicBezTo>
                      <a:pt x="16" y="33"/>
                      <a:pt x="14" y="35"/>
                      <a:pt x="14" y="37"/>
                    </a:cubicBezTo>
                    <a:cubicBezTo>
                      <a:pt x="13" y="39"/>
                      <a:pt x="12" y="40"/>
                      <a:pt x="11" y="40"/>
                    </a:cubicBezTo>
                    <a:cubicBezTo>
                      <a:pt x="10" y="40"/>
                      <a:pt x="10" y="42"/>
                      <a:pt x="10" y="44"/>
                    </a:cubicBezTo>
                    <a:cubicBezTo>
                      <a:pt x="10" y="46"/>
                      <a:pt x="8" y="46"/>
                      <a:pt x="7" y="44"/>
                    </a:cubicBezTo>
                    <a:cubicBezTo>
                      <a:pt x="6" y="43"/>
                      <a:pt x="3" y="39"/>
                      <a:pt x="3" y="37"/>
                    </a:cubicBezTo>
                    <a:cubicBezTo>
                      <a:pt x="3" y="36"/>
                      <a:pt x="2" y="36"/>
                      <a:pt x="2" y="33"/>
                    </a:cubicBezTo>
                    <a:cubicBezTo>
                      <a:pt x="2" y="31"/>
                      <a:pt x="0" y="28"/>
                      <a:pt x="2" y="28"/>
                    </a:cubicBezTo>
                    <a:cubicBezTo>
                      <a:pt x="4" y="28"/>
                      <a:pt x="8" y="29"/>
                      <a:pt x="9" y="28"/>
                    </a:cubicBezTo>
                    <a:cubicBezTo>
                      <a:pt x="11" y="27"/>
                      <a:pt x="13" y="27"/>
                      <a:pt x="15" y="27"/>
                    </a:cubicBezTo>
                    <a:cubicBezTo>
                      <a:pt x="16" y="27"/>
                      <a:pt x="20" y="25"/>
                      <a:pt x="20" y="24"/>
                    </a:cubicBezTo>
                    <a:cubicBezTo>
                      <a:pt x="20" y="22"/>
                      <a:pt x="21" y="23"/>
                      <a:pt x="22" y="25"/>
                    </a:cubicBezTo>
                    <a:cubicBezTo>
                      <a:pt x="23" y="27"/>
                      <a:pt x="26" y="27"/>
                      <a:pt x="27" y="27"/>
                    </a:cubicBezTo>
                    <a:cubicBezTo>
                      <a:pt x="29" y="27"/>
                      <a:pt x="32" y="31"/>
                      <a:pt x="33" y="29"/>
                    </a:cubicBezTo>
                    <a:cubicBezTo>
                      <a:pt x="33" y="27"/>
                      <a:pt x="35" y="24"/>
                      <a:pt x="34" y="22"/>
                    </a:cubicBezTo>
                    <a:cubicBezTo>
                      <a:pt x="33" y="20"/>
                      <a:pt x="36" y="20"/>
                      <a:pt x="38" y="19"/>
                    </a:cubicBezTo>
                    <a:cubicBezTo>
                      <a:pt x="39" y="18"/>
                      <a:pt x="40" y="17"/>
                      <a:pt x="40" y="15"/>
                    </a:cubicBezTo>
                    <a:cubicBezTo>
                      <a:pt x="39" y="13"/>
                      <a:pt x="38" y="9"/>
                      <a:pt x="39" y="8"/>
                    </a:cubicBezTo>
                    <a:cubicBezTo>
                      <a:pt x="40" y="8"/>
                      <a:pt x="43" y="8"/>
                      <a:pt x="44" y="7"/>
                    </a:cubicBezTo>
                    <a:cubicBezTo>
                      <a:pt x="46" y="5"/>
                      <a:pt x="49" y="5"/>
                      <a:pt x="50" y="4"/>
                    </a:cubicBezTo>
                    <a:cubicBezTo>
                      <a:pt x="50" y="4"/>
                      <a:pt x="50" y="0"/>
                      <a:pt x="52" y="0"/>
                    </a:cubicBezTo>
                    <a:cubicBezTo>
                      <a:pt x="54" y="0"/>
                      <a:pt x="56" y="1"/>
                      <a:pt x="58" y="2"/>
                    </a:cubicBezTo>
                    <a:cubicBezTo>
                      <a:pt x="60" y="4"/>
                      <a:pt x="61" y="5"/>
                      <a:pt x="62" y="7"/>
                    </a:cubicBezTo>
                    <a:cubicBezTo>
                      <a:pt x="63" y="9"/>
                      <a:pt x="65" y="9"/>
                      <a:pt x="67" y="11"/>
                    </a:cubicBezTo>
                    <a:cubicBezTo>
                      <a:pt x="69" y="12"/>
                      <a:pt x="69" y="15"/>
                      <a:pt x="71" y="15"/>
                    </a:cubicBezTo>
                    <a:cubicBezTo>
                      <a:pt x="72" y="15"/>
                      <a:pt x="74" y="15"/>
                      <a:pt x="76" y="17"/>
                    </a:cubicBezTo>
                    <a:cubicBezTo>
                      <a:pt x="77" y="19"/>
                      <a:pt x="77" y="19"/>
                      <a:pt x="81" y="19"/>
                    </a:cubicBezTo>
                    <a:cubicBezTo>
                      <a:pt x="85" y="18"/>
                      <a:pt x="87" y="19"/>
                      <a:pt x="89" y="20"/>
                    </a:cubicBezTo>
                    <a:cubicBezTo>
                      <a:pt x="91" y="21"/>
                      <a:pt x="93" y="19"/>
                      <a:pt x="94" y="18"/>
                    </a:cubicBezTo>
                    <a:cubicBezTo>
                      <a:pt x="95" y="16"/>
                      <a:pt x="95" y="16"/>
                      <a:pt x="97" y="16"/>
                    </a:cubicBezTo>
                    <a:cubicBezTo>
                      <a:pt x="97" y="16"/>
                      <a:pt x="98" y="18"/>
                      <a:pt x="99" y="21"/>
                    </a:cubicBezTo>
                    <a:cubicBezTo>
                      <a:pt x="100" y="24"/>
                      <a:pt x="99" y="24"/>
                      <a:pt x="99" y="25"/>
                    </a:cubicBezTo>
                    <a:cubicBezTo>
                      <a:pt x="100" y="26"/>
                      <a:pt x="102" y="26"/>
                      <a:pt x="101" y="27"/>
                    </a:cubicBezTo>
                    <a:cubicBezTo>
                      <a:pt x="100" y="29"/>
                      <a:pt x="102" y="31"/>
                      <a:pt x="104" y="33"/>
                    </a:cubicBezTo>
                    <a:cubicBezTo>
                      <a:pt x="105" y="34"/>
                      <a:pt x="108" y="35"/>
                      <a:pt x="107" y="35"/>
                    </a:cubicBezTo>
                    <a:cubicBezTo>
                      <a:pt x="106" y="36"/>
                      <a:pt x="102" y="35"/>
                      <a:pt x="103" y="37"/>
                    </a:cubicBezTo>
                    <a:cubicBezTo>
                      <a:pt x="104" y="39"/>
                      <a:pt x="103" y="42"/>
                      <a:pt x="103" y="42"/>
                    </a:cubicBezTo>
                    <a:cubicBezTo>
                      <a:pt x="103" y="42"/>
                      <a:pt x="102" y="42"/>
                      <a:pt x="101" y="43"/>
                    </a:cubicBezTo>
                    <a:cubicBezTo>
                      <a:pt x="99" y="45"/>
                      <a:pt x="98" y="43"/>
                      <a:pt x="97" y="40"/>
                    </a:cubicBezTo>
                    <a:cubicBezTo>
                      <a:pt x="96" y="38"/>
                      <a:pt x="95" y="39"/>
                      <a:pt x="93" y="38"/>
                    </a:cubicBezTo>
                    <a:cubicBezTo>
                      <a:pt x="92" y="37"/>
                      <a:pt x="91" y="37"/>
                      <a:pt x="89" y="38"/>
                    </a:cubicBezTo>
                    <a:cubicBezTo>
                      <a:pt x="88" y="38"/>
                      <a:pt x="86" y="38"/>
                      <a:pt x="85" y="37"/>
                    </a:cubicBezTo>
                    <a:cubicBezTo>
                      <a:pt x="83" y="36"/>
                      <a:pt x="83" y="37"/>
                      <a:pt x="81" y="38"/>
                    </a:cubicBezTo>
                    <a:cubicBezTo>
                      <a:pt x="79" y="39"/>
                      <a:pt x="78" y="38"/>
                      <a:pt x="77" y="37"/>
                    </a:cubicBezTo>
                    <a:cubicBezTo>
                      <a:pt x="75" y="36"/>
                      <a:pt x="72" y="36"/>
                      <a:pt x="70" y="35"/>
                    </a:cubicBezTo>
                    <a:cubicBezTo>
                      <a:pt x="68" y="35"/>
                      <a:pt x="66" y="35"/>
                      <a:pt x="64" y="33"/>
                    </a:cubicBezTo>
                    <a:cubicBezTo>
                      <a:pt x="63" y="32"/>
                      <a:pt x="62" y="32"/>
                      <a:pt x="62" y="34"/>
                    </a:cubicBezTo>
                    <a:cubicBezTo>
                      <a:pt x="61" y="36"/>
                      <a:pt x="58" y="35"/>
                      <a:pt x="57" y="34"/>
                    </a:cubicBezTo>
                    <a:cubicBezTo>
                      <a:pt x="55" y="33"/>
                      <a:pt x="54" y="38"/>
                      <a:pt x="52" y="40"/>
                    </a:cubicBezTo>
                    <a:cubicBezTo>
                      <a:pt x="51" y="42"/>
                      <a:pt x="48" y="36"/>
                      <a:pt x="46" y="34"/>
                    </a:cubicBezTo>
                    <a:cubicBezTo>
                      <a:pt x="44" y="31"/>
                      <a:pt x="42" y="34"/>
                      <a:pt x="42" y="36"/>
                    </a:cubicBezTo>
                    <a:cubicBezTo>
                      <a:pt x="43" y="39"/>
                      <a:pt x="42" y="40"/>
                      <a:pt x="43" y="44"/>
                    </a:cubicBezTo>
                    <a:cubicBezTo>
                      <a:pt x="44" y="48"/>
                      <a:pt x="45" y="48"/>
                      <a:pt x="47" y="50"/>
                    </a:cubicBezTo>
                    <a:cubicBezTo>
                      <a:pt x="50" y="52"/>
                      <a:pt x="51" y="59"/>
                      <a:pt x="52" y="62"/>
                    </a:cubicBezTo>
                    <a:cubicBezTo>
                      <a:pt x="54" y="65"/>
                      <a:pt x="57" y="67"/>
                      <a:pt x="59" y="69"/>
                    </a:cubicBezTo>
                    <a:cubicBezTo>
                      <a:pt x="61" y="71"/>
                      <a:pt x="63" y="74"/>
                      <a:pt x="65" y="76"/>
                    </a:cubicBezTo>
                    <a:cubicBezTo>
                      <a:pt x="67" y="78"/>
                      <a:pt x="71" y="83"/>
                      <a:pt x="72" y="86"/>
                    </a:cubicBezTo>
                    <a:cubicBezTo>
                      <a:pt x="74" y="88"/>
                      <a:pt x="76" y="88"/>
                      <a:pt x="78" y="90"/>
                    </a:cubicBezTo>
                    <a:cubicBezTo>
                      <a:pt x="80" y="92"/>
                      <a:pt x="80" y="96"/>
                      <a:pt x="81" y="97"/>
                    </a:cubicBezTo>
                    <a:close/>
                  </a:path>
                </a:pathLst>
              </a:custGeom>
              <a:solidFill>
                <a:srgbClr val="24892C"/>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1" name="Freeform 208"/>
              <p:cNvSpPr>
                <a:spLocks/>
              </p:cNvSpPr>
              <p:nvPr>
                <p:custDataLst>
                  <p:tags r:id="rId125"/>
                </p:custDataLst>
              </p:nvPr>
            </p:nvSpPr>
            <p:spPr bwMode="gray">
              <a:xfrm>
                <a:off x="4721936" y="3655670"/>
                <a:ext cx="273214" cy="177077"/>
              </a:xfrm>
              <a:custGeom>
                <a:avLst/>
                <a:gdLst>
                  <a:gd name="T0" fmla="*/ 57 w 57"/>
                  <a:gd name="T1" fmla="*/ 10 h 40"/>
                  <a:gd name="T2" fmla="*/ 55 w 57"/>
                  <a:gd name="T3" fmla="*/ 4 h 40"/>
                  <a:gd name="T4" fmla="*/ 52 w 57"/>
                  <a:gd name="T5" fmla="*/ 0 h 40"/>
                  <a:gd name="T6" fmla="*/ 49 w 57"/>
                  <a:gd name="T7" fmla="*/ 1 h 40"/>
                  <a:gd name="T8" fmla="*/ 50 w 57"/>
                  <a:gd name="T9" fmla="*/ 7 h 40"/>
                  <a:gd name="T10" fmla="*/ 45 w 57"/>
                  <a:gd name="T11" fmla="*/ 4 h 40"/>
                  <a:gd name="T12" fmla="*/ 41 w 57"/>
                  <a:gd name="T13" fmla="*/ 6 h 40"/>
                  <a:gd name="T14" fmla="*/ 37 w 57"/>
                  <a:gd name="T15" fmla="*/ 7 h 40"/>
                  <a:gd name="T16" fmla="*/ 31 w 57"/>
                  <a:gd name="T17" fmla="*/ 7 h 40"/>
                  <a:gd name="T18" fmla="*/ 26 w 57"/>
                  <a:gd name="T19" fmla="*/ 10 h 40"/>
                  <a:gd name="T20" fmla="*/ 22 w 57"/>
                  <a:gd name="T21" fmla="*/ 13 h 40"/>
                  <a:gd name="T22" fmla="*/ 14 w 57"/>
                  <a:gd name="T23" fmla="*/ 11 h 40"/>
                  <a:gd name="T24" fmla="*/ 8 w 57"/>
                  <a:gd name="T25" fmla="*/ 10 h 40"/>
                  <a:gd name="T26" fmla="*/ 2 w 57"/>
                  <a:gd name="T27" fmla="*/ 14 h 40"/>
                  <a:gd name="T28" fmla="*/ 4 w 57"/>
                  <a:gd name="T29" fmla="*/ 17 h 40"/>
                  <a:gd name="T30" fmla="*/ 7 w 57"/>
                  <a:gd name="T31" fmla="*/ 19 h 40"/>
                  <a:gd name="T32" fmla="*/ 4 w 57"/>
                  <a:gd name="T33" fmla="*/ 22 h 40"/>
                  <a:gd name="T34" fmla="*/ 5 w 57"/>
                  <a:gd name="T35" fmla="*/ 27 h 40"/>
                  <a:gd name="T36" fmla="*/ 7 w 57"/>
                  <a:gd name="T37" fmla="*/ 30 h 40"/>
                  <a:gd name="T38" fmla="*/ 8 w 57"/>
                  <a:gd name="T39" fmla="*/ 34 h 40"/>
                  <a:gd name="T40" fmla="*/ 4 w 57"/>
                  <a:gd name="T41" fmla="*/ 37 h 40"/>
                  <a:gd name="T42" fmla="*/ 5 w 57"/>
                  <a:gd name="T43" fmla="*/ 37 h 40"/>
                  <a:gd name="T44" fmla="*/ 12 w 57"/>
                  <a:gd name="T45" fmla="*/ 37 h 40"/>
                  <a:gd name="T46" fmla="*/ 18 w 57"/>
                  <a:gd name="T47" fmla="*/ 36 h 40"/>
                  <a:gd name="T48" fmla="*/ 23 w 57"/>
                  <a:gd name="T49" fmla="*/ 33 h 40"/>
                  <a:gd name="T50" fmla="*/ 25 w 57"/>
                  <a:gd name="T51" fmla="*/ 34 h 40"/>
                  <a:gd name="T52" fmla="*/ 30 w 57"/>
                  <a:gd name="T53" fmla="*/ 36 h 40"/>
                  <a:gd name="T54" fmla="*/ 36 w 57"/>
                  <a:gd name="T55" fmla="*/ 38 h 40"/>
                  <a:gd name="T56" fmla="*/ 37 w 57"/>
                  <a:gd name="T57" fmla="*/ 31 h 40"/>
                  <a:gd name="T58" fmla="*/ 41 w 57"/>
                  <a:gd name="T59" fmla="*/ 28 h 40"/>
                  <a:gd name="T60" fmla="*/ 43 w 57"/>
                  <a:gd name="T61" fmla="*/ 24 h 40"/>
                  <a:gd name="T62" fmla="*/ 42 w 57"/>
                  <a:gd name="T63" fmla="*/ 17 h 40"/>
                  <a:gd name="T64" fmla="*/ 47 w 57"/>
                  <a:gd name="T65" fmla="*/ 16 h 40"/>
                  <a:gd name="T66" fmla="*/ 53 w 57"/>
                  <a:gd name="T67" fmla="*/ 13 h 40"/>
                  <a:gd name="T68" fmla="*/ 55 w 57"/>
                  <a:gd name="T69" fmla="*/ 9 h 40"/>
                  <a:gd name="T70" fmla="*/ 57 w 57"/>
                  <a:gd name="T71" fmla="*/ 10 h 40"/>
                  <a:gd name="T72" fmla="*/ 57 w 57"/>
                  <a:gd name="T73" fmla="*/ 10 h 40"/>
                  <a:gd name="connsiteX0" fmla="*/ 10036 w 10036"/>
                  <a:gd name="connsiteY0" fmla="*/ 2500 h 9640"/>
                  <a:gd name="connsiteX1" fmla="*/ 9685 w 10036"/>
                  <a:gd name="connsiteY1" fmla="*/ 1000 h 9640"/>
                  <a:gd name="connsiteX2" fmla="*/ 9159 w 10036"/>
                  <a:gd name="connsiteY2" fmla="*/ 0 h 9640"/>
                  <a:gd name="connsiteX3" fmla="*/ 8632 w 10036"/>
                  <a:gd name="connsiteY3" fmla="*/ 250 h 9640"/>
                  <a:gd name="connsiteX4" fmla="*/ 8808 w 10036"/>
                  <a:gd name="connsiteY4" fmla="*/ 1750 h 9640"/>
                  <a:gd name="connsiteX5" fmla="*/ 7931 w 10036"/>
                  <a:gd name="connsiteY5" fmla="*/ 1000 h 9640"/>
                  <a:gd name="connsiteX6" fmla="*/ 7229 w 10036"/>
                  <a:gd name="connsiteY6" fmla="*/ 1500 h 9640"/>
                  <a:gd name="connsiteX7" fmla="*/ 6527 w 10036"/>
                  <a:gd name="connsiteY7" fmla="*/ 1750 h 9640"/>
                  <a:gd name="connsiteX8" fmla="*/ 5475 w 10036"/>
                  <a:gd name="connsiteY8" fmla="*/ 1750 h 9640"/>
                  <a:gd name="connsiteX9" fmla="*/ 4597 w 10036"/>
                  <a:gd name="connsiteY9" fmla="*/ 2500 h 9640"/>
                  <a:gd name="connsiteX10" fmla="*/ 3896 w 10036"/>
                  <a:gd name="connsiteY10" fmla="*/ 3250 h 9640"/>
                  <a:gd name="connsiteX11" fmla="*/ 2492 w 10036"/>
                  <a:gd name="connsiteY11" fmla="*/ 2750 h 9640"/>
                  <a:gd name="connsiteX12" fmla="*/ 1440 w 10036"/>
                  <a:gd name="connsiteY12" fmla="*/ 2500 h 9640"/>
                  <a:gd name="connsiteX13" fmla="*/ 387 w 10036"/>
                  <a:gd name="connsiteY13" fmla="*/ 3500 h 9640"/>
                  <a:gd name="connsiteX14" fmla="*/ 738 w 10036"/>
                  <a:gd name="connsiteY14" fmla="*/ 4250 h 9640"/>
                  <a:gd name="connsiteX15" fmla="*/ 1264 w 10036"/>
                  <a:gd name="connsiteY15" fmla="*/ 4750 h 9640"/>
                  <a:gd name="connsiteX16" fmla="*/ 0 w 10036"/>
                  <a:gd name="connsiteY16" fmla="*/ 5500 h 9640"/>
                  <a:gd name="connsiteX17" fmla="*/ 913 w 10036"/>
                  <a:gd name="connsiteY17" fmla="*/ 6750 h 9640"/>
                  <a:gd name="connsiteX18" fmla="*/ 1264 w 10036"/>
                  <a:gd name="connsiteY18" fmla="*/ 7500 h 9640"/>
                  <a:gd name="connsiteX19" fmla="*/ 1440 w 10036"/>
                  <a:gd name="connsiteY19" fmla="*/ 8500 h 9640"/>
                  <a:gd name="connsiteX20" fmla="*/ 738 w 10036"/>
                  <a:gd name="connsiteY20" fmla="*/ 9250 h 9640"/>
                  <a:gd name="connsiteX21" fmla="*/ 913 w 10036"/>
                  <a:gd name="connsiteY21" fmla="*/ 9250 h 9640"/>
                  <a:gd name="connsiteX22" fmla="*/ 2141 w 10036"/>
                  <a:gd name="connsiteY22" fmla="*/ 9250 h 9640"/>
                  <a:gd name="connsiteX23" fmla="*/ 3194 w 10036"/>
                  <a:gd name="connsiteY23" fmla="*/ 9000 h 9640"/>
                  <a:gd name="connsiteX24" fmla="*/ 4071 w 10036"/>
                  <a:gd name="connsiteY24" fmla="*/ 8250 h 9640"/>
                  <a:gd name="connsiteX25" fmla="*/ 4422 w 10036"/>
                  <a:gd name="connsiteY25" fmla="*/ 8500 h 9640"/>
                  <a:gd name="connsiteX26" fmla="*/ 5299 w 10036"/>
                  <a:gd name="connsiteY26" fmla="*/ 9000 h 9640"/>
                  <a:gd name="connsiteX27" fmla="*/ 6352 w 10036"/>
                  <a:gd name="connsiteY27" fmla="*/ 9500 h 9640"/>
                  <a:gd name="connsiteX28" fmla="*/ 6527 w 10036"/>
                  <a:gd name="connsiteY28" fmla="*/ 7750 h 9640"/>
                  <a:gd name="connsiteX29" fmla="*/ 7229 w 10036"/>
                  <a:gd name="connsiteY29" fmla="*/ 7000 h 9640"/>
                  <a:gd name="connsiteX30" fmla="*/ 7580 w 10036"/>
                  <a:gd name="connsiteY30" fmla="*/ 6000 h 9640"/>
                  <a:gd name="connsiteX31" fmla="*/ 7404 w 10036"/>
                  <a:gd name="connsiteY31" fmla="*/ 4250 h 9640"/>
                  <a:gd name="connsiteX32" fmla="*/ 8282 w 10036"/>
                  <a:gd name="connsiteY32" fmla="*/ 4000 h 9640"/>
                  <a:gd name="connsiteX33" fmla="*/ 9334 w 10036"/>
                  <a:gd name="connsiteY33" fmla="*/ 3250 h 9640"/>
                  <a:gd name="connsiteX34" fmla="*/ 9685 w 10036"/>
                  <a:gd name="connsiteY34" fmla="*/ 2250 h 9640"/>
                  <a:gd name="connsiteX35" fmla="*/ 10036 w 10036"/>
                  <a:gd name="connsiteY35" fmla="*/ 2500 h 9640"/>
                  <a:gd name="connsiteX36" fmla="*/ 10036 w 10036"/>
                  <a:gd name="connsiteY36" fmla="*/ 2500 h 9640"/>
                  <a:gd name="connsiteX0" fmla="*/ 10246 w 10246"/>
                  <a:gd name="connsiteY0" fmla="*/ 2593 h 9999"/>
                  <a:gd name="connsiteX1" fmla="*/ 9896 w 10246"/>
                  <a:gd name="connsiteY1" fmla="*/ 1037 h 9999"/>
                  <a:gd name="connsiteX2" fmla="*/ 9372 w 10246"/>
                  <a:gd name="connsiteY2" fmla="*/ 0 h 9999"/>
                  <a:gd name="connsiteX3" fmla="*/ 8847 w 10246"/>
                  <a:gd name="connsiteY3" fmla="*/ 259 h 9999"/>
                  <a:gd name="connsiteX4" fmla="*/ 9022 w 10246"/>
                  <a:gd name="connsiteY4" fmla="*/ 1815 h 9999"/>
                  <a:gd name="connsiteX5" fmla="*/ 8149 w 10246"/>
                  <a:gd name="connsiteY5" fmla="*/ 1037 h 9999"/>
                  <a:gd name="connsiteX6" fmla="*/ 7449 w 10246"/>
                  <a:gd name="connsiteY6" fmla="*/ 1556 h 9999"/>
                  <a:gd name="connsiteX7" fmla="*/ 6750 w 10246"/>
                  <a:gd name="connsiteY7" fmla="*/ 1815 h 9999"/>
                  <a:gd name="connsiteX8" fmla="*/ 5701 w 10246"/>
                  <a:gd name="connsiteY8" fmla="*/ 1815 h 9999"/>
                  <a:gd name="connsiteX9" fmla="*/ 4827 w 10246"/>
                  <a:gd name="connsiteY9" fmla="*/ 2593 h 9999"/>
                  <a:gd name="connsiteX10" fmla="*/ 4128 w 10246"/>
                  <a:gd name="connsiteY10" fmla="*/ 3371 h 9999"/>
                  <a:gd name="connsiteX11" fmla="*/ 2729 w 10246"/>
                  <a:gd name="connsiteY11" fmla="*/ 2853 h 9999"/>
                  <a:gd name="connsiteX12" fmla="*/ 1681 w 10246"/>
                  <a:gd name="connsiteY12" fmla="*/ 2593 h 9999"/>
                  <a:gd name="connsiteX13" fmla="*/ 632 w 10246"/>
                  <a:gd name="connsiteY13" fmla="*/ 3631 h 9999"/>
                  <a:gd name="connsiteX14" fmla="*/ 981 w 10246"/>
                  <a:gd name="connsiteY14" fmla="*/ 4409 h 9999"/>
                  <a:gd name="connsiteX15" fmla="*/ 1505 w 10246"/>
                  <a:gd name="connsiteY15" fmla="*/ 4927 h 9999"/>
                  <a:gd name="connsiteX16" fmla="*/ 63 w 10246"/>
                  <a:gd name="connsiteY16" fmla="*/ 5063 h 9999"/>
                  <a:gd name="connsiteX17" fmla="*/ 246 w 10246"/>
                  <a:gd name="connsiteY17" fmla="*/ 5705 h 9999"/>
                  <a:gd name="connsiteX18" fmla="*/ 1156 w 10246"/>
                  <a:gd name="connsiteY18" fmla="*/ 7002 h 9999"/>
                  <a:gd name="connsiteX19" fmla="*/ 1505 w 10246"/>
                  <a:gd name="connsiteY19" fmla="*/ 7780 h 9999"/>
                  <a:gd name="connsiteX20" fmla="*/ 1681 w 10246"/>
                  <a:gd name="connsiteY20" fmla="*/ 8817 h 9999"/>
                  <a:gd name="connsiteX21" fmla="*/ 981 w 10246"/>
                  <a:gd name="connsiteY21" fmla="*/ 9595 h 9999"/>
                  <a:gd name="connsiteX22" fmla="*/ 1156 w 10246"/>
                  <a:gd name="connsiteY22" fmla="*/ 9595 h 9999"/>
                  <a:gd name="connsiteX23" fmla="*/ 2379 w 10246"/>
                  <a:gd name="connsiteY23" fmla="*/ 9595 h 9999"/>
                  <a:gd name="connsiteX24" fmla="*/ 3429 w 10246"/>
                  <a:gd name="connsiteY24" fmla="*/ 9336 h 9999"/>
                  <a:gd name="connsiteX25" fmla="*/ 4302 w 10246"/>
                  <a:gd name="connsiteY25" fmla="*/ 8558 h 9999"/>
                  <a:gd name="connsiteX26" fmla="*/ 4652 w 10246"/>
                  <a:gd name="connsiteY26" fmla="*/ 8817 h 9999"/>
                  <a:gd name="connsiteX27" fmla="*/ 5526 w 10246"/>
                  <a:gd name="connsiteY27" fmla="*/ 9336 h 9999"/>
                  <a:gd name="connsiteX28" fmla="*/ 6575 w 10246"/>
                  <a:gd name="connsiteY28" fmla="*/ 9855 h 9999"/>
                  <a:gd name="connsiteX29" fmla="*/ 6750 w 10246"/>
                  <a:gd name="connsiteY29" fmla="*/ 8039 h 9999"/>
                  <a:gd name="connsiteX30" fmla="*/ 7449 w 10246"/>
                  <a:gd name="connsiteY30" fmla="*/ 7261 h 9999"/>
                  <a:gd name="connsiteX31" fmla="*/ 7799 w 10246"/>
                  <a:gd name="connsiteY31" fmla="*/ 6224 h 9999"/>
                  <a:gd name="connsiteX32" fmla="*/ 7623 w 10246"/>
                  <a:gd name="connsiteY32" fmla="*/ 4409 h 9999"/>
                  <a:gd name="connsiteX33" fmla="*/ 8498 w 10246"/>
                  <a:gd name="connsiteY33" fmla="*/ 4149 h 9999"/>
                  <a:gd name="connsiteX34" fmla="*/ 9547 w 10246"/>
                  <a:gd name="connsiteY34" fmla="*/ 3371 h 9999"/>
                  <a:gd name="connsiteX35" fmla="*/ 9896 w 10246"/>
                  <a:gd name="connsiteY35" fmla="*/ 2334 h 9999"/>
                  <a:gd name="connsiteX36" fmla="*/ 10246 w 10246"/>
                  <a:gd name="connsiteY36" fmla="*/ 2593 h 9999"/>
                  <a:gd name="connsiteX37" fmla="*/ 10246 w 10246"/>
                  <a:gd name="connsiteY37" fmla="*/ 2593 h 9999"/>
                  <a:gd name="connsiteX0" fmla="*/ 10000 w 10000"/>
                  <a:gd name="connsiteY0" fmla="*/ 2593 h 10000"/>
                  <a:gd name="connsiteX1" fmla="*/ 9658 w 10000"/>
                  <a:gd name="connsiteY1" fmla="*/ 1037 h 10000"/>
                  <a:gd name="connsiteX2" fmla="*/ 9147 w 10000"/>
                  <a:gd name="connsiteY2" fmla="*/ 0 h 10000"/>
                  <a:gd name="connsiteX3" fmla="*/ 8635 w 10000"/>
                  <a:gd name="connsiteY3" fmla="*/ 259 h 10000"/>
                  <a:gd name="connsiteX4" fmla="*/ 8805 w 10000"/>
                  <a:gd name="connsiteY4" fmla="*/ 1815 h 10000"/>
                  <a:gd name="connsiteX5" fmla="*/ 7953 w 10000"/>
                  <a:gd name="connsiteY5" fmla="*/ 1037 h 10000"/>
                  <a:gd name="connsiteX6" fmla="*/ 7270 w 10000"/>
                  <a:gd name="connsiteY6" fmla="*/ 1556 h 10000"/>
                  <a:gd name="connsiteX7" fmla="*/ 6588 w 10000"/>
                  <a:gd name="connsiteY7" fmla="*/ 1815 h 10000"/>
                  <a:gd name="connsiteX8" fmla="*/ 5564 w 10000"/>
                  <a:gd name="connsiteY8" fmla="*/ 1815 h 10000"/>
                  <a:gd name="connsiteX9" fmla="*/ 4711 w 10000"/>
                  <a:gd name="connsiteY9" fmla="*/ 2593 h 10000"/>
                  <a:gd name="connsiteX10" fmla="*/ 4029 w 10000"/>
                  <a:gd name="connsiteY10" fmla="*/ 3371 h 10000"/>
                  <a:gd name="connsiteX11" fmla="*/ 2663 w 10000"/>
                  <a:gd name="connsiteY11" fmla="*/ 2853 h 10000"/>
                  <a:gd name="connsiteX12" fmla="*/ 1641 w 10000"/>
                  <a:gd name="connsiteY12" fmla="*/ 2593 h 10000"/>
                  <a:gd name="connsiteX13" fmla="*/ 617 w 10000"/>
                  <a:gd name="connsiteY13" fmla="*/ 3631 h 10000"/>
                  <a:gd name="connsiteX14" fmla="*/ 479 w 10000"/>
                  <a:gd name="connsiteY14" fmla="*/ 4409 h 10000"/>
                  <a:gd name="connsiteX15" fmla="*/ 1469 w 10000"/>
                  <a:gd name="connsiteY15" fmla="*/ 4927 h 10000"/>
                  <a:gd name="connsiteX16" fmla="*/ 61 w 10000"/>
                  <a:gd name="connsiteY16" fmla="*/ 5064 h 10000"/>
                  <a:gd name="connsiteX17" fmla="*/ 240 w 10000"/>
                  <a:gd name="connsiteY17" fmla="*/ 5706 h 10000"/>
                  <a:gd name="connsiteX18" fmla="*/ 1128 w 10000"/>
                  <a:gd name="connsiteY18" fmla="*/ 7003 h 10000"/>
                  <a:gd name="connsiteX19" fmla="*/ 1469 w 10000"/>
                  <a:gd name="connsiteY19" fmla="*/ 7781 h 10000"/>
                  <a:gd name="connsiteX20" fmla="*/ 1641 w 10000"/>
                  <a:gd name="connsiteY20" fmla="*/ 8818 h 10000"/>
                  <a:gd name="connsiteX21" fmla="*/ 957 w 10000"/>
                  <a:gd name="connsiteY21" fmla="*/ 9596 h 10000"/>
                  <a:gd name="connsiteX22" fmla="*/ 1128 w 10000"/>
                  <a:gd name="connsiteY22" fmla="*/ 9596 h 10000"/>
                  <a:gd name="connsiteX23" fmla="*/ 2322 w 10000"/>
                  <a:gd name="connsiteY23" fmla="*/ 9596 h 10000"/>
                  <a:gd name="connsiteX24" fmla="*/ 3347 w 10000"/>
                  <a:gd name="connsiteY24" fmla="*/ 9337 h 10000"/>
                  <a:gd name="connsiteX25" fmla="*/ 4199 w 10000"/>
                  <a:gd name="connsiteY25" fmla="*/ 8559 h 10000"/>
                  <a:gd name="connsiteX26" fmla="*/ 4540 w 10000"/>
                  <a:gd name="connsiteY26" fmla="*/ 8818 h 10000"/>
                  <a:gd name="connsiteX27" fmla="*/ 5393 w 10000"/>
                  <a:gd name="connsiteY27" fmla="*/ 9337 h 10000"/>
                  <a:gd name="connsiteX28" fmla="*/ 6417 w 10000"/>
                  <a:gd name="connsiteY28" fmla="*/ 9856 h 10000"/>
                  <a:gd name="connsiteX29" fmla="*/ 6588 w 10000"/>
                  <a:gd name="connsiteY29" fmla="*/ 8040 h 10000"/>
                  <a:gd name="connsiteX30" fmla="*/ 7270 w 10000"/>
                  <a:gd name="connsiteY30" fmla="*/ 7262 h 10000"/>
                  <a:gd name="connsiteX31" fmla="*/ 7612 w 10000"/>
                  <a:gd name="connsiteY31" fmla="*/ 6225 h 10000"/>
                  <a:gd name="connsiteX32" fmla="*/ 7440 w 10000"/>
                  <a:gd name="connsiteY32" fmla="*/ 4409 h 10000"/>
                  <a:gd name="connsiteX33" fmla="*/ 8294 w 10000"/>
                  <a:gd name="connsiteY33" fmla="*/ 4149 h 10000"/>
                  <a:gd name="connsiteX34" fmla="*/ 9318 w 10000"/>
                  <a:gd name="connsiteY34" fmla="*/ 3371 h 10000"/>
                  <a:gd name="connsiteX35" fmla="*/ 9658 w 10000"/>
                  <a:gd name="connsiteY35" fmla="*/ 2334 h 10000"/>
                  <a:gd name="connsiteX36" fmla="*/ 10000 w 10000"/>
                  <a:gd name="connsiteY36" fmla="*/ 2593 h 10000"/>
                  <a:gd name="connsiteX37" fmla="*/ 10000 w 10000"/>
                  <a:gd name="connsiteY37" fmla="*/ 2593 h 10000"/>
                  <a:gd name="connsiteX0" fmla="*/ 10000 w 10000"/>
                  <a:gd name="connsiteY0" fmla="*/ 2593 h 10000"/>
                  <a:gd name="connsiteX1" fmla="*/ 9658 w 10000"/>
                  <a:gd name="connsiteY1" fmla="*/ 1037 h 10000"/>
                  <a:gd name="connsiteX2" fmla="*/ 9147 w 10000"/>
                  <a:gd name="connsiteY2" fmla="*/ 0 h 10000"/>
                  <a:gd name="connsiteX3" fmla="*/ 8635 w 10000"/>
                  <a:gd name="connsiteY3" fmla="*/ 259 h 10000"/>
                  <a:gd name="connsiteX4" fmla="*/ 8805 w 10000"/>
                  <a:gd name="connsiteY4" fmla="*/ 1815 h 10000"/>
                  <a:gd name="connsiteX5" fmla="*/ 7953 w 10000"/>
                  <a:gd name="connsiteY5" fmla="*/ 1037 h 10000"/>
                  <a:gd name="connsiteX6" fmla="*/ 7270 w 10000"/>
                  <a:gd name="connsiteY6" fmla="*/ 1556 h 10000"/>
                  <a:gd name="connsiteX7" fmla="*/ 6588 w 10000"/>
                  <a:gd name="connsiteY7" fmla="*/ 1815 h 10000"/>
                  <a:gd name="connsiteX8" fmla="*/ 5564 w 10000"/>
                  <a:gd name="connsiteY8" fmla="*/ 1815 h 10000"/>
                  <a:gd name="connsiteX9" fmla="*/ 4711 w 10000"/>
                  <a:gd name="connsiteY9" fmla="*/ 2593 h 10000"/>
                  <a:gd name="connsiteX10" fmla="*/ 4029 w 10000"/>
                  <a:gd name="connsiteY10" fmla="*/ 3371 h 10000"/>
                  <a:gd name="connsiteX11" fmla="*/ 2663 w 10000"/>
                  <a:gd name="connsiteY11" fmla="*/ 2853 h 10000"/>
                  <a:gd name="connsiteX12" fmla="*/ 1641 w 10000"/>
                  <a:gd name="connsiteY12" fmla="*/ 2593 h 10000"/>
                  <a:gd name="connsiteX13" fmla="*/ 617 w 10000"/>
                  <a:gd name="connsiteY13" fmla="*/ 3631 h 10000"/>
                  <a:gd name="connsiteX14" fmla="*/ 479 w 10000"/>
                  <a:gd name="connsiteY14" fmla="*/ 4409 h 10000"/>
                  <a:gd name="connsiteX15" fmla="*/ 61 w 10000"/>
                  <a:gd name="connsiteY15" fmla="*/ 5064 h 10000"/>
                  <a:gd name="connsiteX16" fmla="*/ 240 w 10000"/>
                  <a:gd name="connsiteY16" fmla="*/ 5706 h 10000"/>
                  <a:gd name="connsiteX17" fmla="*/ 1128 w 10000"/>
                  <a:gd name="connsiteY17" fmla="*/ 7003 h 10000"/>
                  <a:gd name="connsiteX18" fmla="*/ 1469 w 10000"/>
                  <a:gd name="connsiteY18" fmla="*/ 7781 h 10000"/>
                  <a:gd name="connsiteX19" fmla="*/ 1641 w 10000"/>
                  <a:gd name="connsiteY19" fmla="*/ 8818 h 10000"/>
                  <a:gd name="connsiteX20" fmla="*/ 957 w 10000"/>
                  <a:gd name="connsiteY20" fmla="*/ 9596 h 10000"/>
                  <a:gd name="connsiteX21" fmla="*/ 1128 w 10000"/>
                  <a:gd name="connsiteY21" fmla="*/ 9596 h 10000"/>
                  <a:gd name="connsiteX22" fmla="*/ 2322 w 10000"/>
                  <a:gd name="connsiteY22" fmla="*/ 9596 h 10000"/>
                  <a:gd name="connsiteX23" fmla="*/ 3347 w 10000"/>
                  <a:gd name="connsiteY23" fmla="*/ 9337 h 10000"/>
                  <a:gd name="connsiteX24" fmla="*/ 4199 w 10000"/>
                  <a:gd name="connsiteY24" fmla="*/ 8559 h 10000"/>
                  <a:gd name="connsiteX25" fmla="*/ 4540 w 10000"/>
                  <a:gd name="connsiteY25" fmla="*/ 8818 h 10000"/>
                  <a:gd name="connsiteX26" fmla="*/ 5393 w 10000"/>
                  <a:gd name="connsiteY26" fmla="*/ 9337 h 10000"/>
                  <a:gd name="connsiteX27" fmla="*/ 6417 w 10000"/>
                  <a:gd name="connsiteY27" fmla="*/ 9856 h 10000"/>
                  <a:gd name="connsiteX28" fmla="*/ 6588 w 10000"/>
                  <a:gd name="connsiteY28" fmla="*/ 8040 h 10000"/>
                  <a:gd name="connsiteX29" fmla="*/ 7270 w 10000"/>
                  <a:gd name="connsiteY29" fmla="*/ 7262 h 10000"/>
                  <a:gd name="connsiteX30" fmla="*/ 7612 w 10000"/>
                  <a:gd name="connsiteY30" fmla="*/ 6225 h 10000"/>
                  <a:gd name="connsiteX31" fmla="*/ 7440 w 10000"/>
                  <a:gd name="connsiteY31" fmla="*/ 4409 h 10000"/>
                  <a:gd name="connsiteX32" fmla="*/ 8294 w 10000"/>
                  <a:gd name="connsiteY32" fmla="*/ 4149 h 10000"/>
                  <a:gd name="connsiteX33" fmla="*/ 9318 w 10000"/>
                  <a:gd name="connsiteY33" fmla="*/ 3371 h 10000"/>
                  <a:gd name="connsiteX34" fmla="*/ 9658 w 10000"/>
                  <a:gd name="connsiteY34" fmla="*/ 2334 h 10000"/>
                  <a:gd name="connsiteX35" fmla="*/ 10000 w 10000"/>
                  <a:gd name="connsiteY35" fmla="*/ 2593 h 10000"/>
                  <a:gd name="connsiteX36" fmla="*/ 10000 w 10000"/>
                  <a:gd name="connsiteY36" fmla="*/ 259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000" h="10000">
                    <a:moveTo>
                      <a:pt x="10000" y="2593"/>
                    </a:moveTo>
                    <a:cubicBezTo>
                      <a:pt x="9830" y="2334"/>
                      <a:pt x="9830" y="1556"/>
                      <a:pt x="9658" y="1037"/>
                    </a:cubicBezTo>
                    <a:cubicBezTo>
                      <a:pt x="9489" y="519"/>
                      <a:pt x="9318" y="259"/>
                      <a:pt x="9147" y="0"/>
                    </a:cubicBezTo>
                    <a:cubicBezTo>
                      <a:pt x="9147" y="0"/>
                      <a:pt x="8635" y="0"/>
                      <a:pt x="8635" y="259"/>
                    </a:cubicBezTo>
                    <a:cubicBezTo>
                      <a:pt x="8465" y="778"/>
                      <a:pt x="8976" y="1815"/>
                      <a:pt x="8805" y="1815"/>
                    </a:cubicBezTo>
                    <a:cubicBezTo>
                      <a:pt x="8465" y="1556"/>
                      <a:pt x="8123" y="1037"/>
                      <a:pt x="7953" y="1037"/>
                    </a:cubicBezTo>
                    <a:cubicBezTo>
                      <a:pt x="7612" y="1037"/>
                      <a:pt x="7440" y="1297"/>
                      <a:pt x="7270" y="1556"/>
                    </a:cubicBezTo>
                    <a:cubicBezTo>
                      <a:pt x="7100" y="1815"/>
                      <a:pt x="6759" y="1815"/>
                      <a:pt x="6588" y="1815"/>
                    </a:cubicBezTo>
                    <a:cubicBezTo>
                      <a:pt x="6417" y="1556"/>
                      <a:pt x="5735" y="1556"/>
                      <a:pt x="5564" y="1815"/>
                    </a:cubicBezTo>
                    <a:cubicBezTo>
                      <a:pt x="5224" y="2075"/>
                      <a:pt x="4882" y="2334"/>
                      <a:pt x="4711" y="2593"/>
                    </a:cubicBezTo>
                    <a:cubicBezTo>
                      <a:pt x="4540" y="2853"/>
                      <a:pt x="4370" y="3371"/>
                      <a:pt x="4029" y="3371"/>
                    </a:cubicBezTo>
                    <a:cubicBezTo>
                      <a:pt x="3687" y="3371"/>
                      <a:pt x="3005" y="3112"/>
                      <a:pt x="2663" y="2853"/>
                    </a:cubicBezTo>
                    <a:cubicBezTo>
                      <a:pt x="2322" y="2593"/>
                      <a:pt x="1981" y="2593"/>
                      <a:pt x="1641" y="2593"/>
                    </a:cubicBezTo>
                    <a:cubicBezTo>
                      <a:pt x="1299" y="2853"/>
                      <a:pt x="811" y="3328"/>
                      <a:pt x="617" y="3631"/>
                    </a:cubicBezTo>
                    <a:cubicBezTo>
                      <a:pt x="423" y="3934"/>
                      <a:pt x="139" y="4409"/>
                      <a:pt x="479" y="4409"/>
                    </a:cubicBezTo>
                    <a:cubicBezTo>
                      <a:pt x="386" y="4648"/>
                      <a:pt x="101" y="4848"/>
                      <a:pt x="61" y="5064"/>
                    </a:cubicBezTo>
                    <a:cubicBezTo>
                      <a:pt x="-143" y="5194"/>
                      <a:pt x="222" y="5403"/>
                      <a:pt x="240" y="5706"/>
                    </a:cubicBezTo>
                    <a:cubicBezTo>
                      <a:pt x="410" y="6225"/>
                      <a:pt x="1128" y="6744"/>
                      <a:pt x="1128" y="7003"/>
                    </a:cubicBezTo>
                    <a:cubicBezTo>
                      <a:pt x="1299" y="7262"/>
                      <a:pt x="1299" y="7781"/>
                      <a:pt x="1469" y="7781"/>
                    </a:cubicBezTo>
                    <a:cubicBezTo>
                      <a:pt x="1810" y="8040"/>
                      <a:pt x="1810" y="8559"/>
                      <a:pt x="1641" y="8818"/>
                    </a:cubicBezTo>
                    <a:cubicBezTo>
                      <a:pt x="1299" y="8818"/>
                      <a:pt x="957" y="9596"/>
                      <a:pt x="957" y="9596"/>
                    </a:cubicBezTo>
                    <a:lnTo>
                      <a:pt x="1128" y="9596"/>
                    </a:lnTo>
                    <a:cubicBezTo>
                      <a:pt x="1299" y="9596"/>
                      <a:pt x="2152" y="9856"/>
                      <a:pt x="2322" y="9596"/>
                    </a:cubicBezTo>
                    <a:cubicBezTo>
                      <a:pt x="2663" y="9337"/>
                      <a:pt x="3005" y="9337"/>
                      <a:pt x="3347" y="9337"/>
                    </a:cubicBezTo>
                    <a:cubicBezTo>
                      <a:pt x="3516" y="9337"/>
                      <a:pt x="4199" y="8818"/>
                      <a:pt x="4199" y="8559"/>
                    </a:cubicBezTo>
                    <a:cubicBezTo>
                      <a:pt x="4199" y="8040"/>
                      <a:pt x="4370" y="8300"/>
                      <a:pt x="4540" y="8818"/>
                    </a:cubicBezTo>
                    <a:cubicBezTo>
                      <a:pt x="4711" y="9337"/>
                      <a:pt x="5224" y="9337"/>
                      <a:pt x="5393" y="9337"/>
                    </a:cubicBezTo>
                    <a:cubicBezTo>
                      <a:pt x="5735" y="9337"/>
                      <a:pt x="6246" y="10374"/>
                      <a:pt x="6417" y="9856"/>
                    </a:cubicBezTo>
                    <a:cubicBezTo>
                      <a:pt x="6417" y="9337"/>
                      <a:pt x="6759" y="8559"/>
                      <a:pt x="6588" y="8040"/>
                    </a:cubicBezTo>
                    <a:cubicBezTo>
                      <a:pt x="6417" y="7522"/>
                      <a:pt x="6929" y="7522"/>
                      <a:pt x="7270" y="7262"/>
                    </a:cubicBezTo>
                    <a:cubicBezTo>
                      <a:pt x="7440" y="7003"/>
                      <a:pt x="7612" y="6744"/>
                      <a:pt x="7612" y="6225"/>
                    </a:cubicBezTo>
                    <a:cubicBezTo>
                      <a:pt x="7440" y="5706"/>
                      <a:pt x="7270" y="4668"/>
                      <a:pt x="7440" y="4409"/>
                    </a:cubicBezTo>
                    <a:cubicBezTo>
                      <a:pt x="7612" y="4409"/>
                      <a:pt x="8123" y="4409"/>
                      <a:pt x="8294" y="4149"/>
                    </a:cubicBezTo>
                    <a:cubicBezTo>
                      <a:pt x="8635" y="3631"/>
                      <a:pt x="9147" y="3631"/>
                      <a:pt x="9318" y="3371"/>
                    </a:cubicBezTo>
                    <a:cubicBezTo>
                      <a:pt x="9318" y="3371"/>
                      <a:pt x="9318" y="2334"/>
                      <a:pt x="9658" y="2334"/>
                    </a:cubicBezTo>
                    <a:cubicBezTo>
                      <a:pt x="9830" y="2334"/>
                      <a:pt x="10000" y="2593"/>
                      <a:pt x="10000" y="2593"/>
                    </a:cubicBezTo>
                    <a:lnTo>
                      <a:pt x="10000" y="2593"/>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2" name="Freeform 211"/>
              <p:cNvSpPr>
                <a:spLocks/>
              </p:cNvSpPr>
              <p:nvPr>
                <p:custDataLst>
                  <p:tags r:id="rId126"/>
                </p:custDataLst>
              </p:nvPr>
            </p:nvSpPr>
            <p:spPr bwMode="gray">
              <a:xfrm>
                <a:off x="5175825" y="4054582"/>
                <a:ext cx="145249" cy="208203"/>
              </a:xfrm>
              <a:custGeom>
                <a:avLst/>
                <a:gdLst>
                  <a:gd name="T0" fmla="*/ 28 w 31"/>
                  <a:gd name="T1" fmla="*/ 19 h 45"/>
                  <a:gd name="T2" fmla="*/ 31 w 31"/>
                  <a:gd name="T3" fmla="*/ 16 h 45"/>
                  <a:gd name="T4" fmla="*/ 31 w 31"/>
                  <a:gd name="T5" fmla="*/ 13 h 45"/>
                  <a:gd name="T6" fmla="*/ 18 w 31"/>
                  <a:gd name="T7" fmla="*/ 5 h 45"/>
                  <a:gd name="T8" fmla="*/ 12 w 31"/>
                  <a:gd name="T9" fmla="*/ 1 h 45"/>
                  <a:gd name="T10" fmla="*/ 9 w 31"/>
                  <a:gd name="T11" fmla="*/ 2 h 45"/>
                  <a:gd name="T12" fmla="*/ 10 w 31"/>
                  <a:gd name="T13" fmla="*/ 7 h 45"/>
                  <a:gd name="T14" fmla="*/ 7 w 31"/>
                  <a:gd name="T15" fmla="*/ 6 h 45"/>
                  <a:gd name="T16" fmla="*/ 4 w 31"/>
                  <a:gd name="T17" fmla="*/ 11 h 45"/>
                  <a:gd name="T18" fmla="*/ 1 w 31"/>
                  <a:gd name="T19" fmla="*/ 14 h 45"/>
                  <a:gd name="T20" fmla="*/ 0 w 31"/>
                  <a:gd name="T21" fmla="*/ 19 h 45"/>
                  <a:gd name="T22" fmla="*/ 2 w 31"/>
                  <a:gd name="T23" fmla="*/ 24 h 45"/>
                  <a:gd name="T24" fmla="*/ 1 w 31"/>
                  <a:gd name="T25" fmla="*/ 27 h 45"/>
                  <a:gd name="T26" fmla="*/ 2 w 31"/>
                  <a:gd name="T27" fmla="*/ 30 h 45"/>
                  <a:gd name="T28" fmla="*/ 6 w 31"/>
                  <a:gd name="T29" fmla="*/ 30 h 45"/>
                  <a:gd name="T30" fmla="*/ 5 w 31"/>
                  <a:gd name="T31" fmla="*/ 31 h 45"/>
                  <a:gd name="T32" fmla="*/ 6 w 31"/>
                  <a:gd name="T33" fmla="*/ 33 h 45"/>
                  <a:gd name="T34" fmla="*/ 9 w 31"/>
                  <a:gd name="T35" fmla="*/ 35 h 45"/>
                  <a:gd name="T36" fmla="*/ 13 w 31"/>
                  <a:gd name="T37" fmla="*/ 39 h 45"/>
                  <a:gd name="T38" fmla="*/ 15 w 31"/>
                  <a:gd name="T39" fmla="*/ 43 h 45"/>
                  <a:gd name="T40" fmla="*/ 18 w 31"/>
                  <a:gd name="T41" fmla="*/ 45 h 45"/>
                  <a:gd name="T42" fmla="*/ 18 w 31"/>
                  <a:gd name="T43" fmla="*/ 41 h 45"/>
                  <a:gd name="T44" fmla="*/ 19 w 31"/>
                  <a:gd name="T45" fmla="*/ 32 h 45"/>
                  <a:gd name="T46" fmla="*/ 22 w 31"/>
                  <a:gd name="T47" fmla="*/ 25 h 45"/>
                  <a:gd name="T48" fmla="*/ 25 w 31"/>
                  <a:gd name="T49" fmla="*/ 26 h 45"/>
                  <a:gd name="T50" fmla="*/ 29 w 31"/>
                  <a:gd name="T51" fmla="*/ 28 h 45"/>
                  <a:gd name="T52" fmla="*/ 31 w 31"/>
                  <a:gd name="T53" fmla="*/ 24 h 45"/>
                  <a:gd name="T54" fmla="*/ 31 w 31"/>
                  <a:gd name="T55" fmla="*/ 21 h 45"/>
                  <a:gd name="T56" fmla="*/ 28 w 31"/>
                  <a:gd name="T57" fmla="*/ 1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 h="45">
                    <a:moveTo>
                      <a:pt x="28" y="19"/>
                    </a:moveTo>
                    <a:cubicBezTo>
                      <a:pt x="31" y="16"/>
                      <a:pt x="31" y="16"/>
                      <a:pt x="31" y="16"/>
                    </a:cubicBezTo>
                    <a:cubicBezTo>
                      <a:pt x="31" y="13"/>
                      <a:pt x="31" y="13"/>
                      <a:pt x="31" y="13"/>
                    </a:cubicBezTo>
                    <a:cubicBezTo>
                      <a:pt x="18" y="5"/>
                      <a:pt x="18" y="5"/>
                      <a:pt x="18" y="5"/>
                    </a:cubicBezTo>
                    <a:cubicBezTo>
                      <a:pt x="12" y="1"/>
                      <a:pt x="12" y="1"/>
                      <a:pt x="12" y="1"/>
                    </a:cubicBezTo>
                    <a:cubicBezTo>
                      <a:pt x="11" y="1"/>
                      <a:pt x="9" y="0"/>
                      <a:pt x="9" y="2"/>
                    </a:cubicBezTo>
                    <a:cubicBezTo>
                      <a:pt x="9" y="3"/>
                      <a:pt x="10" y="5"/>
                      <a:pt x="10" y="7"/>
                    </a:cubicBezTo>
                    <a:cubicBezTo>
                      <a:pt x="10" y="9"/>
                      <a:pt x="8" y="6"/>
                      <a:pt x="7" y="6"/>
                    </a:cubicBezTo>
                    <a:cubicBezTo>
                      <a:pt x="6" y="7"/>
                      <a:pt x="4" y="8"/>
                      <a:pt x="4" y="11"/>
                    </a:cubicBezTo>
                    <a:cubicBezTo>
                      <a:pt x="3" y="14"/>
                      <a:pt x="3" y="15"/>
                      <a:pt x="1" y="14"/>
                    </a:cubicBezTo>
                    <a:cubicBezTo>
                      <a:pt x="0" y="14"/>
                      <a:pt x="0" y="17"/>
                      <a:pt x="0" y="19"/>
                    </a:cubicBezTo>
                    <a:cubicBezTo>
                      <a:pt x="1" y="21"/>
                      <a:pt x="3" y="23"/>
                      <a:pt x="2" y="24"/>
                    </a:cubicBezTo>
                    <a:cubicBezTo>
                      <a:pt x="2" y="25"/>
                      <a:pt x="1" y="26"/>
                      <a:pt x="1" y="27"/>
                    </a:cubicBezTo>
                    <a:cubicBezTo>
                      <a:pt x="1" y="28"/>
                      <a:pt x="1" y="29"/>
                      <a:pt x="2" y="30"/>
                    </a:cubicBezTo>
                    <a:cubicBezTo>
                      <a:pt x="3" y="30"/>
                      <a:pt x="5" y="29"/>
                      <a:pt x="6" y="30"/>
                    </a:cubicBezTo>
                    <a:cubicBezTo>
                      <a:pt x="8" y="30"/>
                      <a:pt x="6" y="30"/>
                      <a:pt x="5" y="31"/>
                    </a:cubicBezTo>
                    <a:cubicBezTo>
                      <a:pt x="3" y="32"/>
                      <a:pt x="6" y="33"/>
                      <a:pt x="6" y="33"/>
                    </a:cubicBezTo>
                    <a:cubicBezTo>
                      <a:pt x="7" y="34"/>
                      <a:pt x="8" y="34"/>
                      <a:pt x="9" y="35"/>
                    </a:cubicBezTo>
                    <a:cubicBezTo>
                      <a:pt x="11" y="36"/>
                      <a:pt x="12" y="37"/>
                      <a:pt x="13" y="39"/>
                    </a:cubicBezTo>
                    <a:cubicBezTo>
                      <a:pt x="14" y="40"/>
                      <a:pt x="14" y="42"/>
                      <a:pt x="15" y="43"/>
                    </a:cubicBezTo>
                    <a:cubicBezTo>
                      <a:pt x="16" y="44"/>
                      <a:pt x="18" y="45"/>
                      <a:pt x="18" y="45"/>
                    </a:cubicBezTo>
                    <a:cubicBezTo>
                      <a:pt x="18" y="45"/>
                      <a:pt x="18" y="44"/>
                      <a:pt x="18" y="41"/>
                    </a:cubicBezTo>
                    <a:cubicBezTo>
                      <a:pt x="18" y="39"/>
                      <a:pt x="18" y="34"/>
                      <a:pt x="19" y="32"/>
                    </a:cubicBezTo>
                    <a:cubicBezTo>
                      <a:pt x="21" y="29"/>
                      <a:pt x="21" y="28"/>
                      <a:pt x="22" y="25"/>
                    </a:cubicBezTo>
                    <a:cubicBezTo>
                      <a:pt x="24" y="23"/>
                      <a:pt x="24" y="24"/>
                      <a:pt x="25" y="26"/>
                    </a:cubicBezTo>
                    <a:cubicBezTo>
                      <a:pt x="25" y="29"/>
                      <a:pt x="26" y="28"/>
                      <a:pt x="29" y="28"/>
                    </a:cubicBezTo>
                    <a:cubicBezTo>
                      <a:pt x="31" y="27"/>
                      <a:pt x="30" y="26"/>
                      <a:pt x="31" y="24"/>
                    </a:cubicBezTo>
                    <a:cubicBezTo>
                      <a:pt x="31" y="21"/>
                      <a:pt x="31" y="21"/>
                      <a:pt x="31" y="21"/>
                    </a:cubicBezTo>
                    <a:lnTo>
                      <a:pt x="28" y="19"/>
                    </a:ln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3" name="Freeform 212"/>
              <p:cNvSpPr>
                <a:spLocks/>
              </p:cNvSpPr>
              <p:nvPr>
                <p:custDataLst>
                  <p:tags r:id="rId127"/>
                </p:custDataLst>
              </p:nvPr>
            </p:nvSpPr>
            <p:spPr bwMode="gray">
              <a:xfrm>
                <a:off x="5195308" y="3721704"/>
                <a:ext cx="371935" cy="493842"/>
              </a:xfrm>
              <a:custGeom>
                <a:avLst/>
                <a:gdLst>
                  <a:gd name="T0" fmla="*/ 74 w 81"/>
                  <a:gd name="T1" fmla="*/ 72 h 103"/>
                  <a:gd name="T2" fmla="*/ 68 w 81"/>
                  <a:gd name="T3" fmla="*/ 61 h 103"/>
                  <a:gd name="T4" fmla="*/ 72 w 81"/>
                  <a:gd name="T5" fmla="*/ 50 h 103"/>
                  <a:gd name="T6" fmla="*/ 73 w 81"/>
                  <a:gd name="T7" fmla="*/ 41 h 103"/>
                  <a:gd name="T8" fmla="*/ 63 w 81"/>
                  <a:gd name="T9" fmla="*/ 43 h 103"/>
                  <a:gd name="T10" fmla="*/ 55 w 81"/>
                  <a:gd name="T11" fmla="*/ 40 h 103"/>
                  <a:gd name="T12" fmla="*/ 49 w 81"/>
                  <a:gd name="T13" fmla="*/ 34 h 103"/>
                  <a:gd name="T14" fmla="*/ 48 w 81"/>
                  <a:gd name="T15" fmla="*/ 27 h 103"/>
                  <a:gd name="T16" fmla="*/ 38 w 81"/>
                  <a:gd name="T17" fmla="*/ 18 h 103"/>
                  <a:gd name="T18" fmla="*/ 35 w 81"/>
                  <a:gd name="T19" fmla="*/ 9 h 103"/>
                  <a:gd name="T20" fmla="*/ 27 w 81"/>
                  <a:gd name="T21" fmla="*/ 2 h 103"/>
                  <a:gd name="T22" fmla="*/ 15 w 81"/>
                  <a:gd name="T23" fmla="*/ 0 h 103"/>
                  <a:gd name="T24" fmla="*/ 5 w 81"/>
                  <a:gd name="T25" fmla="*/ 4 h 103"/>
                  <a:gd name="T26" fmla="*/ 2 w 81"/>
                  <a:gd name="T27" fmla="*/ 11 h 103"/>
                  <a:gd name="T28" fmla="*/ 4 w 81"/>
                  <a:gd name="T29" fmla="*/ 17 h 103"/>
                  <a:gd name="T30" fmla="*/ 10 w 81"/>
                  <a:gd name="T31" fmla="*/ 25 h 103"/>
                  <a:gd name="T32" fmla="*/ 6 w 81"/>
                  <a:gd name="T33" fmla="*/ 32 h 103"/>
                  <a:gd name="T34" fmla="*/ 10 w 81"/>
                  <a:gd name="T35" fmla="*/ 35 h 103"/>
                  <a:gd name="T36" fmla="*/ 10 w 81"/>
                  <a:gd name="T37" fmla="*/ 49 h 103"/>
                  <a:gd name="T38" fmla="*/ 16 w 81"/>
                  <a:gd name="T39" fmla="*/ 56 h 103"/>
                  <a:gd name="T40" fmla="*/ 11 w 81"/>
                  <a:gd name="T41" fmla="*/ 59 h 103"/>
                  <a:gd name="T42" fmla="*/ 12 w 81"/>
                  <a:gd name="T43" fmla="*/ 67 h 103"/>
                  <a:gd name="T44" fmla="*/ 14 w 81"/>
                  <a:gd name="T45" fmla="*/ 73 h 103"/>
                  <a:gd name="T46" fmla="*/ 27 w 81"/>
                  <a:gd name="T47" fmla="*/ 84 h 103"/>
                  <a:gd name="T48" fmla="*/ 30 w 81"/>
                  <a:gd name="T49" fmla="*/ 81 h 103"/>
                  <a:gd name="T50" fmla="*/ 31 w 81"/>
                  <a:gd name="T51" fmla="*/ 75 h 103"/>
                  <a:gd name="T52" fmla="*/ 34 w 81"/>
                  <a:gd name="T53" fmla="*/ 74 h 103"/>
                  <a:gd name="T54" fmla="*/ 34 w 81"/>
                  <a:gd name="T55" fmla="*/ 76 h 103"/>
                  <a:gd name="T56" fmla="*/ 38 w 81"/>
                  <a:gd name="T57" fmla="*/ 75 h 103"/>
                  <a:gd name="T58" fmla="*/ 43 w 81"/>
                  <a:gd name="T59" fmla="*/ 79 h 103"/>
                  <a:gd name="T60" fmla="*/ 45 w 81"/>
                  <a:gd name="T61" fmla="*/ 82 h 103"/>
                  <a:gd name="T62" fmla="*/ 48 w 81"/>
                  <a:gd name="T63" fmla="*/ 84 h 103"/>
                  <a:gd name="T64" fmla="*/ 51 w 81"/>
                  <a:gd name="T65" fmla="*/ 91 h 103"/>
                  <a:gd name="T66" fmla="*/ 54 w 81"/>
                  <a:gd name="T67" fmla="*/ 94 h 103"/>
                  <a:gd name="T68" fmla="*/ 52 w 81"/>
                  <a:gd name="T69" fmla="*/ 97 h 103"/>
                  <a:gd name="T70" fmla="*/ 53 w 81"/>
                  <a:gd name="T71" fmla="*/ 100 h 103"/>
                  <a:gd name="T72" fmla="*/ 57 w 81"/>
                  <a:gd name="T73" fmla="*/ 102 h 103"/>
                  <a:gd name="T74" fmla="*/ 64 w 81"/>
                  <a:gd name="T75" fmla="*/ 101 h 103"/>
                  <a:gd name="T76" fmla="*/ 70 w 81"/>
                  <a:gd name="T77" fmla="*/ 102 h 103"/>
                  <a:gd name="T78" fmla="*/ 71 w 81"/>
                  <a:gd name="T79" fmla="*/ 95 h 103"/>
                  <a:gd name="T80" fmla="*/ 75 w 81"/>
                  <a:gd name="T81" fmla="*/ 86 h 103"/>
                  <a:gd name="T82" fmla="*/ 78 w 81"/>
                  <a:gd name="T83" fmla="*/ 76 h 103"/>
                  <a:gd name="connsiteX0" fmla="*/ 9630 w 9858"/>
                  <a:gd name="connsiteY0" fmla="*/ 7379 h 10000"/>
                  <a:gd name="connsiteX1" fmla="*/ 9136 w 9858"/>
                  <a:gd name="connsiteY1" fmla="*/ 6990 h 10000"/>
                  <a:gd name="connsiteX2" fmla="*/ 8642 w 9858"/>
                  <a:gd name="connsiteY2" fmla="*/ 6699 h 10000"/>
                  <a:gd name="connsiteX3" fmla="*/ 8395 w 9858"/>
                  <a:gd name="connsiteY3" fmla="*/ 5922 h 10000"/>
                  <a:gd name="connsiteX4" fmla="*/ 8765 w 9858"/>
                  <a:gd name="connsiteY4" fmla="*/ 5340 h 10000"/>
                  <a:gd name="connsiteX5" fmla="*/ 8889 w 9858"/>
                  <a:gd name="connsiteY5" fmla="*/ 4854 h 10000"/>
                  <a:gd name="connsiteX6" fmla="*/ 8519 w 9858"/>
                  <a:gd name="connsiteY6" fmla="*/ 4272 h 10000"/>
                  <a:gd name="connsiteX7" fmla="*/ 9012 w 9858"/>
                  <a:gd name="connsiteY7" fmla="*/ 3981 h 10000"/>
                  <a:gd name="connsiteX8" fmla="*/ 8519 w 9858"/>
                  <a:gd name="connsiteY8" fmla="*/ 3689 h 10000"/>
                  <a:gd name="connsiteX9" fmla="*/ 7778 w 9858"/>
                  <a:gd name="connsiteY9" fmla="*/ 4175 h 10000"/>
                  <a:gd name="connsiteX10" fmla="*/ 7531 w 9858"/>
                  <a:gd name="connsiteY10" fmla="*/ 3883 h 10000"/>
                  <a:gd name="connsiteX11" fmla="*/ 6790 w 9858"/>
                  <a:gd name="connsiteY11" fmla="*/ 3883 h 10000"/>
                  <a:gd name="connsiteX12" fmla="*/ 6173 w 9858"/>
                  <a:gd name="connsiteY12" fmla="*/ 3495 h 10000"/>
                  <a:gd name="connsiteX13" fmla="*/ 6049 w 9858"/>
                  <a:gd name="connsiteY13" fmla="*/ 3301 h 10000"/>
                  <a:gd name="connsiteX14" fmla="*/ 6049 w 9858"/>
                  <a:gd name="connsiteY14" fmla="*/ 3010 h 10000"/>
                  <a:gd name="connsiteX15" fmla="*/ 5926 w 9858"/>
                  <a:gd name="connsiteY15" fmla="*/ 2621 h 10000"/>
                  <a:gd name="connsiteX16" fmla="*/ 5432 w 9858"/>
                  <a:gd name="connsiteY16" fmla="*/ 2427 h 10000"/>
                  <a:gd name="connsiteX17" fmla="*/ 4691 w 9858"/>
                  <a:gd name="connsiteY17" fmla="*/ 1748 h 10000"/>
                  <a:gd name="connsiteX18" fmla="*/ 4444 w 9858"/>
                  <a:gd name="connsiteY18" fmla="*/ 1165 h 10000"/>
                  <a:gd name="connsiteX19" fmla="*/ 4321 w 9858"/>
                  <a:gd name="connsiteY19" fmla="*/ 874 h 10000"/>
                  <a:gd name="connsiteX20" fmla="*/ 4397 w 9858"/>
                  <a:gd name="connsiteY20" fmla="*/ 260 h 10000"/>
                  <a:gd name="connsiteX21" fmla="*/ 3333 w 9858"/>
                  <a:gd name="connsiteY21" fmla="*/ 194 h 10000"/>
                  <a:gd name="connsiteX22" fmla="*/ 2593 w 9858"/>
                  <a:gd name="connsiteY22" fmla="*/ 0 h 10000"/>
                  <a:gd name="connsiteX23" fmla="*/ 1852 w 9858"/>
                  <a:gd name="connsiteY23" fmla="*/ 0 h 10000"/>
                  <a:gd name="connsiteX24" fmla="*/ 1235 w 9858"/>
                  <a:gd name="connsiteY24" fmla="*/ 291 h 10000"/>
                  <a:gd name="connsiteX25" fmla="*/ 617 w 9858"/>
                  <a:gd name="connsiteY25" fmla="*/ 388 h 10000"/>
                  <a:gd name="connsiteX26" fmla="*/ 0 w 9858"/>
                  <a:gd name="connsiteY26" fmla="*/ 583 h 10000"/>
                  <a:gd name="connsiteX27" fmla="*/ 247 w 9858"/>
                  <a:gd name="connsiteY27" fmla="*/ 1068 h 10000"/>
                  <a:gd name="connsiteX28" fmla="*/ 247 w 9858"/>
                  <a:gd name="connsiteY28" fmla="*/ 1456 h 10000"/>
                  <a:gd name="connsiteX29" fmla="*/ 494 w 9858"/>
                  <a:gd name="connsiteY29" fmla="*/ 1650 h 10000"/>
                  <a:gd name="connsiteX30" fmla="*/ 864 w 9858"/>
                  <a:gd name="connsiteY30" fmla="*/ 2233 h 10000"/>
                  <a:gd name="connsiteX31" fmla="*/ 1235 w 9858"/>
                  <a:gd name="connsiteY31" fmla="*/ 2427 h 10000"/>
                  <a:gd name="connsiteX32" fmla="*/ 741 w 9858"/>
                  <a:gd name="connsiteY32" fmla="*/ 2621 h 10000"/>
                  <a:gd name="connsiteX33" fmla="*/ 741 w 9858"/>
                  <a:gd name="connsiteY33" fmla="*/ 3107 h 10000"/>
                  <a:gd name="connsiteX34" fmla="*/ 988 w 9858"/>
                  <a:gd name="connsiteY34" fmla="*/ 3107 h 10000"/>
                  <a:gd name="connsiteX35" fmla="*/ 1235 w 9858"/>
                  <a:gd name="connsiteY35" fmla="*/ 3398 h 10000"/>
                  <a:gd name="connsiteX36" fmla="*/ 864 w 9858"/>
                  <a:gd name="connsiteY36" fmla="*/ 4369 h 10000"/>
                  <a:gd name="connsiteX37" fmla="*/ 1235 w 9858"/>
                  <a:gd name="connsiteY37" fmla="*/ 4757 h 10000"/>
                  <a:gd name="connsiteX38" fmla="*/ 1605 w 9858"/>
                  <a:gd name="connsiteY38" fmla="*/ 5049 h 10000"/>
                  <a:gd name="connsiteX39" fmla="*/ 1975 w 9858"/>
                  <a:gd name="connsiteY39" fmla="*/ 5437 h 10000"/>
                  <a:gd name="connsiteX40" fmla="*/ 1481 w 9858"/>
                  <a:gd name="connsiteY40" fmla="*/ 5437 h 10000"/>
                  <a:gd name="connsiteX41" fmla="*/ 1358 w 9858"/>
                  <a:gd name="connsiteY41" fmla="*/ 5728 h 10000"/>
                  <a:gd name="connsiteX42" fmla="*/ 1728 w 9858"/>
                  <a:gd name="connsiteY42" fmla="*/ 6214 h 10000"/>
                  <a:gd name="connsiteX43" fmla="*/ 1481 w 9858"/>
                  <a:gd name="connsiteY43" fmla="*/ 6505 h 10000"/>
                  <a:gd name="connsiteX44" fmla="*/ 988 w 9858"/>
                  <a:gd name="connsiteY44" fmla="*/ 6699 h 10000"/>
                  <a:gd name="connsiteX45" fmla="*/ 1728 w 9858"/>
                  <a:gd name="connsiteY45" fmla="*/ 7087 h 10000"/>
                  <a:gd name="connsiteX46" fmla="*/ 3333 w 9858"/>
                  <a:gd name="connsiteY46" fmla="*/ 7864 h 10000"/>
                  <a:gd name="connsiteX47" fmla="*/ 3333 w 9858"/>
                  <a:gd name="connsiteY47" fmla="*/ 8155 h 10000"/>
                  <a:gd name="connsiteX48" fmla="*/ 3827 w 9858"/>
                  <a:gd name="connsiteY48" fmla="*/ 8058 h 10000"/>
                  <a:gd name="connsiteX49" fmla="*/ 3704 w 9858"/>
                  <a:gd name="connsiteY49" fmla="*/ 7864 h 10000"/>
                  <a:gd name="connsiteX50" fmla="*/ 4074 w 9858"/>
                  <a:gd name="connsiteY50" fmla="*/ 7670 h 10000"/>
                  <a:gd name="connsiteX51" fmla="*/ 3827 w 9858"/>
                  <a:gd name="connsiteY51" fmla="*/ 7282 h 10000"/>
                  <a:gd name="connsiteX52" fmla="*/ 4074 w 9858"/>
                  <a:gd name="connsiteY52" fmla="*/ 7087 h 10000"/>
                  <a:gd name="connsiteX53" fmla="*/ 4198 w 9858"/>
                  <a:gd name="connsiteY53" fmla="*/ 7184 h 10000"/>
                  <a:gd name="connsiteX54" fmla="*/ 4321 w 9858"/>
                  <a:gd name="connsiteY54" fmla="*/ 7184 h 10000"/>
                  <a:gd name="connsiteX55" fmla="*/ 4198 w 9858"/>
                  <a:gd name="connsiteY55" fmla="*/ 7379 h 10000"/>
                  <a:gd name="connsiteX56" fmla="*/ 4444 w 9858"/>
                  <a:gd name="connsiteY56" fmla="*/ 7476 h 10000"/>
                  <a:gd name="connsiteX57" fmla="*/ 4691 w 9858"/>
                  <a:gd name="connsiteY57" fmla="*/ 7282 h 10000"/>
                  <a:gd name="connsiteX58" fmla="*/ 5062 w 9858"/>
                  <a:gd name="connsiteY58" fmla="*/ 7379 h 10000"/>
                  <a:gd name="connsiteX59" fmla="*/ 5309 w 9858"/>
                  <a:gd name="connsiteY59" fmla="*/ 7670 h 10000"/>
                  <a:gd name="connsiteX60" fmla="*/ 5556 w 9858"/>
                  <a:gd name="connsiteY60" fmla="*/ 7670 h 10000"/>
                  <a:gd name="connsiteX61" fmla="*/ 5556 w 9858"/>
                  <a:gd name="connsiteY61" fmla="*/ 7961 h 10000"/>
                  <a:gd name="connsiteX62" fmla="*/ 5802 w 9858"/>
                  <a:gd name="connsiteY62" fmla="*/ 8155 h 10000"/>
                  <a:gd name="connsiteX63" fmla="*/ 5926 w 9858"/>
                  <a:gd name="connsiteY63" fmla="*/ 8155 h 10000"/>
                  <a:gd name="connsiteX64" fmla="*/ 5926 w 9858"/>
                  <a:gd name="connsiteY64" fmla="*/ 8544 h 10000"/>
                  <a:gd name="connsiteX65" fmla="*/ 6296 w 9858"/>
                  <a:gd name="connsiteY65" fmla="*/ 8835 h 10000"/>
                  <a:gd name="connsiteX66" fmla="*/ 6667 w 9858"/>
                  <a:gd name="connsiteY66" fmla="*/ 8932 h 10000"/>
                  <a:gd name="connsiteX67" fmla="*/ 6667 w 9858"/>
                  <a:gd name="connsiteY67" fmla="*/ 9126 h 10000"/>
                  <a:gd name="connsiteX68" fmla="*/ 6543 w 9858"/>
                  <a:gd name="connsiteY68" fmla="*/ 9223 h 10000"/>
                  <a:gd name="connsiteX69" fmla="*/ 6420 w 9858"/>
                  <a:gd name="connsiteY69" fmla="*/ 9417 h 10000"/>
                  <a:gd name="connsiteX70" fmla="*/ 6420 w 9858"/>
                  <a:gd name="connsiteY70" fmla="*/ 9612 h 10000"/>
                  <a:gd name="connsiteX71" fmla="*/ 6543 w 9858"/>
                  <a:gd name="connsiteY71" fmla="*/ 9709 h 10000"/>
                  <a:gd name="connsiteX72" fmla="*/ 6667 w 9858"/>
                  <a:gd name="connsiteY72" fmla="*/ 10000 h 10000"/>
                  <a:gd name="connsiteX73" fmla="*/ 7037 w 9858"/>
                  <a:gd name="connsiteY73" fmla="*/ 9903 h 10000"/>
                  <a:gd name="connsiteX74" fmla="*/ 7654 w 9858"/>
                  <a:gd name="connsiteY74" fmla="*/ 9806 h 10000"/>
                  <a:gd name="connsiteX75" fmla="*/ 7901 w 9858"/>
                  <a:gd name="connsiteY75" fmla="*/ 9806 h 10000"/>
                  <a:gd name="connsiteX76" fmla="*/ 8395 w 9858"/>
                  <a:gd name="connsiteY76" fmla="*/ 9709 h 10000"/>
                  <a:gd name="connsiteX77" fmla="*/ 8642 w 9858"/>
                  <a:gd name="connsiteY77" fmla="*/ 9903 h 10000"/>
                  <a:gd name="connsiteX78" fmla="*/ 8889 w 9858"/>
                  <a:gd name="connsiteY78" fmla="*/ 9515 h 10000"/>
                  <a:gd name="connsiteX79" fmla="*/ 8765 w 9858"/>
                  <a:gd name="connsiteY79" fmla="*/ 9223 h 10000"/>
                  <a:gd name="connsiteX80" fmla="*/ 8642 w 9858"/>
                  <a:gd name="connsiteY80" fmla="*/ 8447 h 10000"/>
                  <a:gd name="connsiteX81" fmla="*/ 9259 w 9858"/>
                  <a:gd name="connsiteY81" fmla="*/ 8350 h 10000"/>
                  <a:gd name="connsiteX82" fmla="*/ 9753 w 9858"/>
                  <a:gd name="connsiteY82" fmla="*/ 7864 h 10000"/>
                  <a:gd name="connsiteX83" fmla="*/ 9630 w 9858"/>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017 w 10000"/>
                  <a:gd name="connsiteY5" fmla="*/ 4854 h 10000"/>
                  <a:gd name="connsiteX6" fmla="*/ 8642 w 10000"/>
                  <a:gd name="connsiteY6" fmla="*/ 4272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6888 w 10000"/>
                  <a:gd name="connsiteY11" fmla="*/ 3883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4759 w 10000"/>
                  <a:gd name="connsiteY17" fmla="*/ 1748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017 w 10000"/>
                  <a:gd name="connsiteY5" fmla="*/ 4854 h 10000"/>
                  <a:gd name="connsiteX6" fmla="*/ 8642 w 10000"/>
                  <a:gd name="connsiteY6" fmla="*/ 4272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6888 w 10000"/>
                  <a:gd name="connsiteY11" fmla="*/ 3883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017 w 10000"/>
                  <a:gd name="connsiteY5" fmla="*/ 4854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6888 w 10000"/>
                  <a:gd name="connsiteY11" fmla="*/ 3883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544 w 10000"/>
                  <a:gd name="connsiteY5" fmla="*/ 4900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6888 w 10000"/>
                  <a:gd name="connsiteY11" fmla="*/ 3883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544 w 10000"/>
                  <a:gd name="connsiteY5" fmla="*/ 4900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7005 w 10000"/>
                  <a:gd name="connsiteY11" fmla="*/ 3560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544 w 10000"/>
                  <a:gd name="connsiteY5" fmla="*/ 4900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7005 w 10000"/>
                  <a:gd name="connsiteY11" fmla="*/ 3560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976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544 w 10000"/>
                  <a:gd name="connsiteY5" fmla="*/ 4900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7005 w 10000"/>
                  <a:gd name="connsiteY11" fmla="*/ 3560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976 w 10000"/>
                  <a:gd name="connsiteY18" fmla="*/ 1165 h 10000"/>
                  <a:gd name="connsiteX19" fmla="*/ 5086 w 10000"/>
                  <a:gd name="connsiteY19" fmla="*/ 551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428 h 10049"/>
                  <a:gd name="connsiteX1" fmla="*/ 9268 w 10000"/>
                  <a:gd name="connsiteY1" fmla="*/ 7039 h 10049"/>
                  <a:gd name="connsiteX2" fmla="*/ 8766 w 10000"/>
                  <a:gd name="connsiteY2" fmla="*/ 6748 h 10049"/>
                  <a:gd name="connsiteX3" fmla="*/ 8516 w 10000"/>
                  <a:gd name="connsiteY3" fmla="*/ 5971 h 10049"/>
                  <a:gd name="connsiteX4" fmla="*/ 8891 w 10000"/>
                  <a:gd name="connsiteY4" fmla="*/ 5389 h 10049"/>
                  <a:gd name="connsiteX5" fmla="*/ 9544 w 10000"/>
                  <a:gd name="connsiteY5" fmla="*/ 4949 h 10049"/>
                  <a:gd name="connsiteX6" fmla="*/ 9228 w 10000"/>
                  <a:gd name="connsiteY6" fmla="*/ 4505 h 10049"/>
                  <a:gd name="connsiteX7" fmla="*/ 9142 w 10000"/>
                  <a:gd name="connsiteY7" fmla="*/ 4030 h 10049"/>
                  <a:gd name="connsiteX8" fmla="*/ 8642 w 10000"/>
                  <a:gd name="connsiteY8" fmla="*/ 3738 h 10049"/>
                  <a:gd name="connsiteX9" fmla="*/ 7890 w 10000"/>
                  <a:gd name="connsiteY9" fmla="*/ 4224 h 10049"/>
                  <a:gd name="connsiteX10" fmla="*/ 7639 w 10000"/>
                  <a:gd name="connsiteY10" fmla="*/ 3932 h 10049"/>
                  <a:gd name="connsiteX11" fmla="*/ 7005 w 10000"/>
                  <a:gd name="connsiteY11" fmla="*/ 3609 h 10049"/>
                  <a:gd name="connsiteX12" fmla="*/ 6262 w 10000"/>
                  <a:gd name="connsiteY12" fmla="*/ 3544 h 10049"/>
                  <a:gd name="connsiteX13" fmla="*/ 6136 w 10000"/>
                  <a:gd name="connsiteY13" fmla="*/ 3350 h 10049"/>
                  <a:gd name="connsiteX14" fmla="*/ 6136 w 10000"/>
                  <a:gd name="connsiteY14" fmla="*/ 3059 h 10049"/>
                  <a:gd name="connsiteX15" fmla="*/ 6011 w 10000"/>
                  <a:gd name="connsiteY15" fmla="*/ 2670 h 10049"/>
                  <a:gd name="connsiteX16" fmla="*/ 5686 w 10000"/>
                  <a:gd name="connsiteY16" fmla="*/ 2245 h 10049"/>
                  <a:gd name="connsiteX17" fmla="*/ 5227 w 10000"/>
                  <a:gd name="connsiteY17" fmla="*/ 1751 h 10049"/>
                  <a:gd name="connsiteX18" fmla="*/ 4976 w 10000"/>
                  <a:gd name="connsiteY18" fmla="*/ 1214 h 10049"/>
                  <a:gd name="connsiteX19" fmla="*/ 5086 w 10000"/>
                  <a:gd name="connsiteY19" fmla="*/ 600 h 10049"/>
                  <a:gd name="connsiteX20" fmla="*/ 4460 w 10000"/>
                  <a:gd name="connsiteY20" fmla="*/ 309 h 10049"/>
                  <a:gd name="connsiteX21" fmla="*/ 3498 w 10000"/>
                  <a:gd name="connsiteY21" fmla="*/ 12 h 10049"/>
                  <a:gd name="connsiteX22" fmla="*/ 2630 w 10000"/>
                  <a:gd name="connsiteY22" fmla="*/ 49 h 10049"/>
                  <a:gd name="connsiteX23" fmla="*/ 1879 w 10000"/>
                  <a:gd name="connsiteY23" fmla="*/ 49 h 10049"/>
                  <a:gd name="connsiteX24" fmla="*/ 1253 w 10000"/>
                  <a:gd name="connsiteY24" fmla="*/ 340 h 10049"/>
                  <a:gd name="connsiteX25" fmla="*/ 626 w 10000"/>
                  <a:gd name="connsiteY25" fmla="*/ 437 h 10049"/>
                  <a:gd name="connsiteX26" fmla="*/ 0 w 10000"/>
                  <a:gd name="connsiteY26" fmla="*/ 632 h 10049"/>
                  <a:gd name="connsiteX27" fmla="*/ 251 w 10000"/>
                  <a:gd name="connsiteY27" fmla="*/ 1117 h 10049"/>
                  <a:gd name="connsiteX28" fmla="*/ 251 w 10000"/>
                  <a:gd name="connsiteY28" fmla="*/ 1505 h 10049"/>
                  <a:gd name="connsiteX29" fmla="*/ 501 w 10000"/>
                  <a:gd name="connsiteY29" fmla="*/ 1699 h 10049"/>
                  <a:gd name="connsiteX30" fmla="*/ 876 w 10000"/>
                  <a:gd name="connsiteY30" fmla="*/ 2282 h 10049"/>
                  <a:gd name="connsiteX31" fmla="*/ 1253 w 10000"/>
                  <a:gd name="connsiteY31" fmla="*/ 2476 h 10049"/>
                  <a:gd name="connsiteX32" fmla="*/ 752 w 10000"/>
                  <a:gd name="connsiteY32" fmla="*/ 2670 h 10049"/>
                  <a:gd name="connsiteX33" fmla="*/ 752 w 10000"/>
                  <a:gd name="connsiteY33" fmla="*/ 3156 h 10049"/>
                  <a:gd name="connsiteX34" fmla="*/ 1002 w 10000"/>
                  <a:gd name="connsiteY34" fmla="*/ 3156 h 10049"/>
                  <a:gd name="connsiteX35" fmla="*/ 1253 w 10000"/>
                  <a:gd name="connsiteY35" fmla="*/ 3447 h 10049"/>
                  <a:gd name="connsiteX36" fmla="*/ 876 w 10000"/>
                  <a:gd name="connsiteY36" fmla="*/ 4418 h 10049"/>
                  <a:gd name="connsiteX37" fmla="*/ 1253 w 10000"/>
                  <a:gd name="connsiteY37" fmla="*/ 4806 h 10049"/>
                  <a:gd name="connsiteX38" fmla="*/ 1628 w 10000"/>
                  <a:gd name="connsiteY38" fmla="*/ 5098 h 10049"/>
                  <a:gd name="connsiteX39" fmla="*/ 2003 w 10000"/>
                  <a:gd name="connsiteY39" fmla="*/ 5486 h 10049"/>
                  <a:gd name="connsiteX40" fmla="*/ 1502 w 10000"/>
                  <a:gd name="connsiteY40" fmla="*/ 5486 h 10049"/>
                  <a:gd name="connsiteX41" fmla="*/ 1378 w 10000"/>
                  <a:gd name="connsiteY41" fmla="*/ 5777 h 10049"/>
                  <a:gd name="connsiteX42" fmla="*/ 1753 w 10000"/>
                  <a:gd name="connsiteY42" fmla="*/ 6263 h 10049"/>
                  <a:gd name="connsiteX43" fmla="*/ 1502 w 10000"/>
                  <a:gd name="connsiteY43" fmla="*/ 6554 h 10049"/>
                  <a:gd name="connsiteX44" fmla="*/ 1002 w 10000"/>
                  <a:gd name="connsiteY44" fmla="*/ 6748 h 10049"/>
                  <a:gd name="connsiteX45" fmla="*/ 1753 w 10000"/>
                  <a:gd name="connsiteY45" fmla="*/ 7136 h 10049"/>
                  <a:gd name="connsiteX46" fmla="*/ 3381 w 10000"/>
                  <a:gd name="connsiteY46" fmla="*/ 7913 h 10049"/>
                  <a:gd name="connsiteX47" fmla="*/ 3381 w 10000"/>
                  <a:gd name="connsiteY47" fmla="*/ 8204 h 10049"/>
                  <a:gd name="connsiteX48" fmla="*/ 3882 w 10000"/>
                  <a:gd name="connsiteY48" fmla="*/ 8107 h 10049"/>
                  <a:gd name="connsiteX49" fmla="*/ 3757 w 10000"/>
                  <a:gd name="connsiteY49" fmla="*/ 7913 h 10049"/>
                  <a:gd name="connsiteX50" fmla="*/ 4133 w 10000"/>
                  <a:gd name="connsiteY50" fmla="*/ 7719 h 10049"/>
                  <a:gd name="connsiteX51" fmla="*/ 3882 w 10000"/>
                  <a:gd name="connsiteY51" fmla="*/ 7331 h 10049"/>
                  <a:gd name="connsiteX52" fmla="*/ 4133 w 10000"/>
                  <a:gd name="connsiteY52" fmla="*/ 7136 h 10049"/>
                  <a:gd name="connsiteX53" fmla="*/ 4258 w 10000"/>
                  <a:gd name="connsiteY53" fmla="*/ 7233 h 10049"/>
                  <a:gd name="connsiteX54" fmla="*/ 4383 w 10000"/>
                  <a:gd name="connsiteY54" fmla="*/ 7233 h 10049"/>
                  <a:gd name="connsiteX55" fmla="*/ 4258 w 10000"/>
                  <a:gd name="connsiteY55" fmla="*/ 7428 h 10049"/>
                  <a:gd name="connsiteX56" fmla="*/ 4508 w 10000"/>
                  <a:gd name="connsiteY56" fmla="*/ 7525 h 10049"/>
                  <a:gd name="connsiteX57" fmla="*/ 4759 w 10000"/>
                  <a:gd name="connsiteY57" fmla="*/ 7331 h 10049"/>
                  <a:gd name="connsiteX58" fmla="*/ 5135 w 10000"/>
                  <a:gd name="connsiteY58" fmla="*/ 7428 h 10049"/>
                  <a:gd name="connsiteX59" fmla="*/ 5385 w 10000"/>
                  <a:gd name="connsiteY59" fmla="*/ 7719 h 10049"/>
                  <a:gd name="connsiteX60" fmla="*/ 5636 w 10000"/>
                  <a:gd name="connsiteY60" fmla="*/ 7719 h 10049"/>
                  <a:gd name="connsiteX61" fmla="*/ 5636 w 10000"/>
                  <a:gd name="connsiteY61" fmla="*/ 8010 h 10049"/>
                  <a:gd name="connsiteX62" fmla="*/ 5886 w 10000"/>
                  <a:gd name="connsiteY62" fmla="*/ 8204 h 10049"/>
                  <a:gd name="connsiteX63" fmla="*/ 6011 w 10000"/>
                  <a:gd name="connsiteY63" fmla="*/ 8204 h 10049"/>
                  <a:gd name="connsiteX64" fmla="*/ 6011 w 10000"/>
                  <a:gd name="connsiteY64" fmla="*/ 8593 h 10049"/>
                  <a:gd name="connsiteX65" fmla="*/ 6387 w 10000"/>
                  <a:gd name="connsiteY65" fmla="*/ 8884 h 10049"/>
                  <a:gd name="connsiteX66" fmla="*/ 6763 w 10000"/>
                  <a:gd name="connsiteY66" fmla="*/ 8981 h 10049"/>
                  <a:gd name="connsiteX67" fmla="*/ 6763 w 10000"/>
                  <a:gd name="connsiteY67" fmla="*/ 9175 h 10049"/>
                  <a:gd name="connsiteX68" fmla="*/ 6637 w 10000"/>
                  <a:gd name="connsiteY68" fmla="*/ 9272 h 10049"/>
                  <a:gd name="connsiteX69" fmla="*/ 6512 w 10000"/>
                  <a:gd name="connsiteY69" fmla="*/ 9466 h 10049"/>
                  <a:gd name="connsiteX70" fmla="*/ 6512 w 10000"/>
                  <a:gd name="connsiteY70" fmla="*/ 9661 h 10049"/>
                  <a:gd name="connsiteX71" fmla="*/ 6637 w 10000"/>
                  <a:gd name="connsiteY71" fmla="*/ 9758 h 10049"/>
                  <a:gd name="connsiteX72" fmla="*/ 6763 w 10000"/>
                  <a:gd name="connsiteY72" fmla="*/ 10049 h 10049"/>
                  <a:gd name="connsiteX73" fmla="*/ 7138 w 10000"/>
                  <a:gd name="connsiteY73" fmla="*/ 9952 h 10049"/>
                  <a:gd name="connsiteX74" fmla="*/ 7764 w 10000"/>
                  <a:gd name="connsiteY74" fmla="*/ 9855 h 10049"/>
                  <a:gd name="connsiteX75" fmla="*/ 8015 w 10000"/>
                  <a:gd name="connsiteY75" fmla="*/ 9855 h 10049"/>
                  <a:gd name="connsiteX76" fmla="*/ 8516 w 10000"/>
                  <a:gd name="connsiteY76" fmla="*/ 9758 h 10049"/>
                  <a:gd name="connsiteX77" fmla="*/ 8766 w 10000"/>
                  <a:gd name="connsiteY77" fmla="*/ 9952 h 10049"/>
                  <a:gd name="connsiteX78" fmla="*/ 9017 w 10000"/>
                  <a:gd name="connsiteY78" fmla="*/ 9564 h 10049"/>
                  <a:gd name="connsiteX79" fmla="*/ 8891 w 10000"/>
                  <a:gd name="connsiteY79" fmla="*/ 9272 h 10049"/>
                  <a:gd name="connsiteX80" fmla="*/ 8766 w 10000"/>
                  <a:gd name="connsiteY80" fmla="*/ 8496 h 10049"/>
                  <a:gd name="connsiteX81" fmla="*/ 9392 w 10000"/>
                  <a:gd name="connsiteY81" fmla="*/ 8399 h 10049"/>
                  <a:gd name="connsiteX82" fmla="*/ 9893 w 10000"/>
                  <a:gd name="connsiteY82" fmla="*/ 7913 h 10049"/>
                  <a:gd name="connsiteX83" fmla="*/ 9769 w 10000"/>
                  <a:gd name="connsiteY83" fmla="*/ 7428 h 10049"/>
                  <a:gd name="connsiteX0" fmla="*/ 9769 w 10000"/>
                  <a:gd name="connsiteY0" fmla="*/ 7767 h 10388"/>
                  <a:gd name="connsiteX1" fmla="*/ 9268 w 10000"/>
                  <a:gd name="connsiteY1" fmla="*/ 7378 h 10388"/>
                  <a:gd name="connsiteX2" fmla="*/ 8766 w 10000"/>
                  <a:gd name="connsiteY2" fmla="*/ 7087 h 10388"/>
                  <a:gd name="connsiteX3" fmla="*/ 8516 w 10000"/>
                  <a:gd name="connsiteY3" fmla="*/ 6310 h 10388"/>
                  <a:gd name="connsiteX4" fmla="*/ 8891 w 10000"/>
                  <a:gd name="connsiteY4" fmla="*/ 5728 h 10388"/>
                  <a:gd name="connsiteX5" fmla="*/ 9544 w 10000"/>
                  <a:gd name="connsiteY5" fmla="*/ 5288 h 10388"/>
                  <a:gd name="connsiteX6" fmla="*/ 9228 w 10000"/>
                  <a:gd name="connsiteY6" fmla="*/ 4844 h 10388"/>
                  <a:gd name="connsiteX7" fmla="*/ 9142 w 10000"/>
                  <a:gd name="connsiteY7" fmla="*/ 4369 h 10388"/>
                  <a:gd name="connsiteX8" fmla="*/ 8642 w 10000"/>
                  <a:gd name="connsiteY8" fmla="*/ 4077 h 10388"/>
                  <a:gd name="connsiteX9" fmla="*/ 7890 w 10000"/>
                  <a:gd name="connsiteY9" fmla="*/ 4563 h 10388"/>
                  <a:gd name="connsiteX10" fmla="*/ 7639 w 10000"/>
                  <a:gd name="connsiteY10" fmla="*/ 4271 h 10388"/>
                  <a:gd name="connsiteX11" fmla="*/ 7005 w 10000"/>
                  <a:gd name="connsiteY11" fmla="*/ 3948 h 10388"/>
                  <a:gd name="connsiteX12" fmla="*/ 6262 w 10000"/>
                  <a:gd name="connsiteY12" fmla="*/ 3883 h 10388"/>
                  <a:gd name="connsiteX13" fmla="*/ 6136 w 10000"/>
                  <a:gd name="connsiteY13" fmla="*/ 3689 h 10388"/>
                  <a:gd name="connsiteX14" fmla="*/ 6136 w 10000"/>
                  <a:gd name="connsiteY14" fmla="*/ 3398 h 10388"/>
                  <a:gd name="connsiteX15" fmla="*/ 6011 w 10000"/>
                  <a:gd name="connsiteY15" fmla="*/ 3009 h 10388"/>
                  <a:gd name="connsiteX16" fmla="*/ 5686 w 10000"/>
                  <a:gd name="connsiteY16" fmla="*/ 2584 h 10388"/>
                  <a:gd name="connsiteX17" fmla="*/ 5227 w 10000"/>
                  <a:gd name="connsiteY17" fmla="*/ 2090 h 10388"/>
                  <a:gd name="connsiteX18" fmla="*/ 4976 w 10000"/>
                  <a:gd name="connsiteY18" fmla="*/ 1553 h 10388"/>
                  <a:gd name="connsiteX19" fmla="*/ 5086 w 10000"/>
                  <a:gd name="connsiteY19" fmla="*/ 939 h 10388"/>
                  <a:gd name="connsiteX20" fmla="*/ 4401 w 10000"/>
                  <a:gd name="connsiteY20" fmla="*/ 49 h 10388"/>
                  <a:gd name="connsiteX21" fmla="*/ 3498 w 10000"/>
                  <a:gd name="connsiteY21" fmla="*/ 351 h 10388"/>
                  <a:gd name="connsiteX22" fmla="*/ 2630 w 10000"/>
                  <a:gd name="connsiteY22" fmla="*/ 388 h 10388"/>
                  <a:gd name="connsiteX23" fmla="*/ 1879 w 10000"/>
                  <a:gd name="connsiteY23" fmla="*/ 388 h 10388"/>
                  <a:gd name="connsiteX24" fmla="*/ 1253 w 10000"/>
                  <a:gd name="connsiteY24" fmla="*/ 679 h 10388"/>
                  <a:gd name="connsiteX25" fmla="*/ 626 w 10000"/>
                  <a:gd name="connsiteY25" fmla="*/ 776 h 10388"/>
                  <a:gd name="connsiteX26" fmla="*/ 0 w 10000"/>
                  <a:gd name="connsiteY26" fmla="*/ 971 h 10388"/>
                  <a:gd name="connsiteX27" fmla="*/ 251 w 10000"/>
                  <a:gd name="connsiteY27" fmla="*/ 1456 h 10388"/>
                  <a:gd name="connsiteX28" fmla="*/ 251 w 10000"/>
                  <a:gd name="connsiteY28" fmla="*/ 1844 h 10388"/>
                  <a:gd name="connsiteX29" fmla="*/ 501 w 10000"/>
                  <a:gd name="connsiteY29" fmla="*/ 2038 h 10388"/>
                  <a:gd name="connsiteX30" fmla="*/ 876 w 10000"/>
                  <a:gd name="connsiteY30" fmla="*/ 2621 h 10388"/>
                  <a:gd name="connsiteX31" fmla="*/ 1253 w 10000"/>
                  <a:gd name="connsiteY31" fmla="*/ 2815 h 10388"/>
                  <a:gd name="connsiteX32" fmla="*/ 752 w 10000"/>
                  <a:gd name="connsiteY32" fmla="*/ 3009 h 10388"/>
                  <a:gd name="connsiteX33" fmla="*/ 752 w 10000"/>
                  <a:gd name="connsiteY33" fmla="*/ 3495 h 10388"/>
                  <a:gd name="connsiteX34" fmla="*/ 1002 w 10000"/>
                  <a:gd name="connsiteY34" fmla="*/ 3495 h 10388"/>
                  <a:gd name="connsiteX35" fmla="*/ 1253 w 10000"/>
                  <a:gd name="connsiteY35" fmla="*/ 3786 h 10388"/>
                  <a:gd name="connsiteX36" fmla="*/ 876 w 10000"/>
                  <a:gd name="connsiteY36" fmla="*/ 4757 h 10388"/>
                  <a:gd name="connsiteX37" fmla="*/ 1253 w 10000"/>
                  <a:gd name="connsiteY37" fmla="*/ 5145 h 10388"/>
                  <a:gd name="connsiteX38" fmla="*/ 1628 w 10000"/>
                  <a:gd name="connsiteY38" fmla="*/ 5437 h 10388"/>
                  <a:gd name="connsiteX39" fmla="*/ 2003 w 10000"/>
                  <a:gd name="connsiteY39" fmla="*/ 5825 h 10388"/>
                  <a:gd name="connsiteX40" fmla="*/ 1502 w 10000"/>
                  <a:gd name="connsiteY40" fmla="*/ 5825 h 10388"/>
                  <a:gd name="connsiteX41" fmla="*/ 1378 w 10000"/>
                  <a:gd name="connsiteY41" fmla="*/ 6116 h 10388"/>
                  <a:gd name="connsiteX42" fmla="*/ 1753 w 10000"/>
                  <a:gd name="connsiteY42" fmla="*/ 6602 h 10388"/>
                  <a:gd name="connsiteX43" fmla="*/ 1502 w 10000"/>
                  <a:gd name="connsiteY43" fmla="*/ 6893 h 10388"/>
                  <a:gd name="connsiteX44" fmla="*/ 1002 w 10000"/>
                  <a:gd name="connsiteY44" fmla="*/ 7087 h 10388"/>
                  <a:gd name="connsiteX45" fmla="*/ 1753 w 10000"/>
                  <a:gd name="connsiteY45" fmla="*/ 7475 h 10388"/>
                  <a:gd name="connsiteX46" fmla="*/ 3381 w 10000"/>
                  <a:gd name="connsiteY46" fmla="*/ 8252 h 10388"/>
                  <a:gd name="connsiteX47" fmla="*/ 3381 w 10000"/>
                  <a:gd name="connsiteY47" fmla="*/ 8543 h 10388"/>
                  <a:gd name="connsiteX48" fmla="*/ 3882 w 10000"/>
                  <a:gd name="connsiteY48" fmla="*/ 8446 h 10388"/>
                  <a:gd name="connsiteX49" fmla="*/ 3757 w 10000"/>
                  <a:gd name="connsiteY49" fmla="*/ 8252 h 10388"/>
                  <a:gd name="connsiteX50" fmla="*/ 4133 w 10000"/>
                  <a:gd name="connsiteY50" fmla="*/ 8058 h 10388"/>
                  <a:gd name="connsiteX51" fmla="*/ 3882 w 10000"/>
                  <a:gd name="connsiteY51" fmla="*/ 7670 h 10388"/>
                  <a:gd name="connsiteX52" fmla="*/ 4133 w 10000"/>
                  <a:gd name="connsiteY52" fmla="*/ 7475 h 10388"/>
                  <a:gd name="connsiteX53" fmla="*/ 4258 w 10000"/>
                  <a:gd name="connsiteY53" fmla="*/ 7572 h 10388"/>
                  <a:gd name="connsiteX54" fmla="*/ 4383 w 10000"/>
                  <a:gd name="connsiteY54" fmla="*/ 7572 h 10388"/>
                  <a:gd name="connsiteX55" fmla="*/ 4258 w 10000"/>
                  <a:gd name="connsiteY55" fmla="*/ 7767 h 10388"/>
                  <a:gd name="connsiteX56" fmla="*/ 4508 w 10000"/>
                  <a:gd name="connsiteY56" fmla="*/ 7864 h 10388"/>
                  <a:gd name="connsiteX57" fmla="*/ 4759 w 10000"/>
                  <a:gd name="connsiteY57" fmla="*/ 7670 h 10388"/>
                  <a:gd name="connsiteX58" fmla="*/ 5135 w 10000"/>
                  <a:gd name="connsiteY58" fmla="*/ 7767 h 10388"/>
                  <a:gd name="connsiteX59" fmla="*/ 5385 w 10000"/>
                  <a:gd name="connsiteY59" fmla="*/ 8058 h 10388"/>
                  <a:gd name="connsiteX60" fmla="*/ 5636 w 10000"/>
                  <a:gd name="connsiteY60" fmla="*/ 8058 h 10388"/>
                  <a:gd name="connsiteX61" fmla="*/ 5636 w 10000"/>
                  <a:gd name="connsiteY61" fmla="*/ 8349 h 10388"/>
                  <a:gd name="connsiteX62" fmla="*/ 5886 w 10000"/>
                  <a:gd name="connsiteY62" fmla="*/ 8543 h 10388"/>
                  <a:gd name="connsiteX63" fmla="*/ 6011 w 10000"/>
                  <a:gd name="connsiteY63" fmla="*/ 8543 h 10388"/>
                  <a:gd name="connsiteX64" fmla="*/ 6011 w 10000"/>
                  <a:gd name="connsiteY64" fmla="*/ 8932 h 10388"/>
                  <a:gd name="connsiteX65" fmla="*/ 6387 w 10000"/>
                  <a:gd name="connsiteY65" fmla="*/ 9223 h 10388"/>
                  <a:gd name="connsiteX66" fmla="*/ 6763 w 10000"/>
                  <a:gd name="connsiteY66" fmla="*/ 9320 h 10388"/>
                  <a:gd name="connsiteX67" fmla="*/ 6763 w 10000"/>
                  <a:gd name="connsiteY67" fmla="*/ 9514 h 10388"/>
                  <a:gd name="connsiteX68" fmla="*/ 6637 w 10000"/>
                  <a:gd name="connsiteY68" fmla="*/ 9611 h 10388"/>
                  <a:gd name="connsiteX69" fmla="*/ 6512 w 10000"/>
                  <a:gd name="connsiteY69" fmla="*/ 9805 h 10388"/>
                  <a:gd name="connsiteX70" fmla="*/ 6512 w 10000"/>
                  <a:gd name="connsiteY70" fmla="*/ 10000 h 10388"/>
                  <a:gd name="connsiteX71" fmla="*/ 6637 w 10000"/>
                  <a:gd name="connsiteY71" fmla="*/ 10097 h 10388"/>
                  <a:gd name="connsiteX72" fmla="*/ 6763 w 10000"/>
                  <a:gd name="connsiteY72" fmla="*/ 10388 h 10388"/>
                  <a:gd name="connsiteX73" fmla="*/ 7138 w 10000"/>
                  <a:gd name="connsiteY73" fmla="*/ 10291 h 10388"/>
                  <a:gd name="connsiteX74" fmla="*/ 7764 w 10000"/>
                  <a:gd name="connsiteY74" fmla="*/ 10194 h 10388"/>
                  <a:gd name="connsiteX75" fmla="*/ 8015 w 10000"/>
                  <a:gd name="connsiteY75" fmla="*/ 10194 h 10388"/>
                  <a:gd name="connsiteX76" fmla="*/ 8516 w 10000"/>
                  <a:gd name="connsiteY76" fmla="*/ 10097 h 10388"/>
                  <a:gd name="connsiteX77" fmla="*/ 8766 w 10000"/>
                  <a:gd name="connsiteY77" fmla="*/ 10291 h 10388"/>
                  <a:gd name="connsiteX78" fmla="*/ 9017 w 10000"/>
                  <a:gd name="connsiteY78" fmla="*/ 9903 h 10388"/>
                  <a:gd name="connsiteX79" fmla="*/ 8891 w 10000"/>
                  <a:gd name="connsiteY79" fmla="*/ 9611 h 10388"/>
                  <a:gd name="connsiteX80" fmla="*/ 8766 w 10000"/>
                  <a:gd name="connsiteY80" fmla="*/ 8835 h 10388"/>
                  <a:gd name="connsiteX81" fmla="*/ 9392 w 10000"/>
                  <a:gd name="connsiteY81" fmla="*/ 8738 h 10388"/>
                  <a:gd name="connsiteX82" fmla="*/ 9893 w 10000"/>
                  <a:gd name="connsiteY82" fmla="*/ 8252 h 10388"/>
                  <a:gd name="connsiteX83" fmla="*/ 9769 w 10000"/>
                  <a:gd name="connsiteY83" fmla="*/ 7767 h 10388"/>
                  <a:gd name="connsiteX0" fmla="*/ 9769 w 10000"/>
                  <a:gd name="connsiteY0" fmla="*/ 7846 h 10467"/>
                  <a:gd name="connsiteX1" fmla="*/ 9268 w 10000"/>
                  <a:gd name="connsiteY1" fmla="*/ 7457 h 10467"/>
                  <a:gd name="connsiteX2" fmla="*/ 8766 w 10000"/>
                  <a:gd name="connsiteY2" fmla="*/ 7166 h 10467"/>
                  <a:gd name="connsiteX3" fmla="*/ 8516 w 10000"/>
                  <a:gd name="connsiteY3" fmla="*/ 6389 h 10467"/>
                  <a:gd name="connsiteX4" fmla="*/ 8891 w 10000"/>
                  <a:gd name="connsiteY4" fmla="*/ 5807 h 10467"/>
                  <a:gd name="connsiteX5" fmla="*/ 9544 w 10000"/>
                  <a:gd name="connsiteY5" fmla="*/ 5367 h 10467"/>
                  <a:gd name="connsiteX6" fmla="*/ 9228 w 10000"/>
                  <a:gd name="connsiteY6" fmla="*/ 4923 h 10467"/>
                  <a:gd name="connsiteX7" fmla="*/ 9142 w 10000"/>
                  <a:gd name="connsiteY7" fmla="*/ 4448 h 10467"/>
                  <a:gd name="connsiteX8" fmla="*/ 8642 w 10000"/>
                  <a:gd name="connsiteY8" fmla="*/ 4156 h 10467"/>
                  <a:gd name="connsiteX9" fmla="*/ 7890 w 10000"/>
                  <a:gd name="connsiteY9" fmla="*/ 4642 h 10467"/>
                  <a:gd name="connsiteX10" fmla="*/ 7639 w 10000"/>
                  <a:gd name="connsiteY10" fmla="*/ 4350 h 10467"/>
                  <a:gd name="connsiteX11" fmla="*/ 7005 w 10000"/>
                  <a:gd name="connsiteY11" fmla="*/ 4027 h 10467"/>
                  <a:gd name="connsiteX12" fmla="*/ 6262 w 10000"/>
                  <a:gd name="connsiteY12" fmla="*/ 3962 h 10467"/>
                  <a:gd name="connsiteX13" fmla="*/ 6136 w 10000"/>
                  <a:gd name="connsiteY13" fmla="*/ 3768 h 10467"/>
                  <a:gd name="connsiteX14" fmla="*/ 6136 w 10000"/>
                  <a:gd name="connsiteY14" fmla="*/ 3477 h 10467"/>
                  <a:gd name="connsiteX15" fmla="*/ 6011 w 10000"/>
                  <a:gd name="connsiteY15" fmla="*/ 3088 h 10467"/>
                  <a:gd name="connsiteX16" fmla="*/ 5686 w 10000"/>
                  <a:gd name="connsiteY16" fmla="*/ 2663 h 10467"/>
                  <a:gd name="connsiteX17" fmla="*/ 5227 w 10000"/>
                  <a:gd name="connsiteY17" fmla="*/ 2169 h 10467"/>
                  <a:gd name="connsiteX18" fmla="*/ 4976 w 10000"/>
                  <a:gd name="connsiteY18" fmla="*/ 1632 h 10467"/>
                  <a:gd name="connsiteX19" fmla="*/ 5086 w 10000"/>
                  <a:gd name="connsiteY19" fmla="*/ 1018 h 10467"/>
                  <a:gd name="connsiteX20" fmla="*/ 4401 w 10000"/>
                  <a:gd name="connsiteY20" fmla="*/ 128 h 10467"/>
                  <a:gd name="connsiteX21" fmla="*/ 3498 w 10000"/>
                  <a:gd name="connsiteY21" fmla="*/ 61 h 10467"/>
                  <a:gd name="connsiteX22" fmla="*/ 2630 w 10000"/>
                  <a:gd name="connsiteY22" fmla="*/ 467 h 10467"/>
                  <a:gd name="connsiteX23" fmla="*/ 1879 w 10000"/>
                  <a:gd name="connsiteY23" fmla="*/ 467 h 10467"/>
                  <a:gd name="connsiteX24" fmla="*/ 1253 w 10000"/>
                  <a:gd name="connsiteY24" fmla="*/ 758 h 10467"/>
                  <a:gd name="connsiteX25" fmla="*/ 626 w 10000"/>
                  <a:gd name="connsiteY25" fmla="*/ 855 h 10467"/>
                  <a:gd name="connsiteX26" fmla="*/ 0 w 10000"/>
                  <a:gd name="connsiteY26" fmla="*/ 1050 h 10467"/>
                  <a:gd name="connsiteX27" fmla="*/ 251 w 10000"/>
                  <a:gd name="connsiteY27" fmla="*/ 1535 h 10467"/>
                  <a:gd name="connsiteX28" fmla="*/ 251 w 10000"/>
                  <a:gd name="connsiteY28" fmla="*/ 1923 h 10467"/>
                  <a:gd name="connsiteX29" fmla="*/ 501 w 10000"/>
                  <a:gd name="connsiteY29" fmla="*/ 2117 h 10467"/>
                  <a:gd name="connsiteX30" fmla="*/ 876 w 10000"/>
                  <a:gd name="connsiteY30" fmla="*/ 2700 h 10467"/>
                  <a:gd name="connsiteX31" fmla="*/ 1253 w 10000"/>
                  <a:gd name="connsiteY31" fmla="*/ 2894 h 10467"/>
                  <a:gd name="connsiteX32" fmla="*/ 752 w 10000"/>
                  <a:gd name="connsiteY32" fmla="*/ 3088 h 10467"/>
                  <a:gd name="connsiteX33" fmla="*/ 752 w 10000"/>
                  <a:gd name="connsiteY33" fmla="*/ 3574 h 10467"/>
                  <a:gd name="connsiteX34" fmla="*/ 1002 w 10000"/>
                  <a:gd name="connsiteY34" fmla="*/ 3574 h 10467"/>
                  <a:gd name="connsiteX35" fmla="*/ 1253 w 10000"/>
                  <a:gd name="connsiteY35" fmla="*/ 3865 h 10467"/>
                  <a:gd name="connsiteX36" fmla="*/ 876 w 10000"/>
                  <a:gd name="connsiteY36" fmla="*/ 4836 h 10467"/>
                  <a:gd name="connsiteX37" fmla="*/ 1253 w 10000"/>
                  <a:gd name="connsiteY37" fmla="*/ 5224 h 10467"/>
                  <a:gd name="connsiteX38" fmla="*/ 1628 w 10000"/>
                  <a:gd name="connsiteY38" fmla="*/ 5516 h 10467"/>
                  <a:gd name="connsiteX39" fmla="*/ 2003 w 10000"/>
                  <a:gd name="connsiteY39" fmla="*/ 5904 h 10467"/>
                  <a:gd name="connsiteX40" fmla="*/ 1502 w 10000"/>
                  <a:gd name="connsiteY40" fmla="*/ 5904 h 10467"/>
                  <a:gd name="connsiteX41" fmla="*/ 1378 w 10000"/>
                  <a:gd name="connsiteY41" fmla="*/ 6195 h 10467"/>
                  <a:gd name="connsiteX42" fmla="*/ 1753 w 10000"/>
                  <a:gd name="connsiteY42" fmla="*/ 6681 h 10467"/>
                  <a:gd name="connsiteX43" fmla="*/ 1502 w 10000"/>
                  <a:gd name="connsiteY43" fmla="*/ 6972 h 10467"/>
                  <a:gd name="connsiteX44" fmla="*/ 1002 w 10000"/>
                  <a:gd name="connsiteY44" fmla="*/ 7166 h 10467"/>
                  <a:gd name="connsiteX45" fmla="*/ 1753 w 10000"/>
                  <a:gd name="connsiteY45" fmla="*/ 7554 h 10467"/>
                  <a:gd name="connsiteX46" fmla="*/ 3381 w 10000"/>
                  <a:gd name="connsiteY46" fmla="*/ 8331 h 10467"/>
                  <a:gd name="connsiteX47" fmla="*/ 3381 w 10000"/>
                  <a:gd name="connsiteY47" fmla="*/ 8622 h 10467"/>
                  <a:gd name="connsiteX48" fmla="*/ 3882 w 10000"/>
                  <a:gd name="connsiteY48" fmla="*/ 8525 h 10467"/>
                  <a:gd name="connsiteX49" fmla="*/ 3757 w 10000"/>
                  <a:gd name="connsiteY49" fmla="*/ 8331 h 10467"/>
                  <a:gd name="connsiteX50" fmla="*/ 4133 w 10000"/>
                  <a:gd name="connsiteY50" fmla="*/ 8137 h 10467"/>
                  <a:gd name="connsiteX51" fmla="*/ 3882 w 10000"/>
                  <a:gd name="connsiteY51" fmla="*/ 7749 h 10467"/>
                  <a:gd name="connsiteX52" fmla="*/ 4133 w 10000"/>
                  <a:gd name="connsiteY52" fmla="*/ 7554 h 10467"/>
                  <a:gd name="connsiteX53" fmla="*/ 4258 w 10000"/>
                  <a:gd name="connsiteY53" fmla="*/ 7651 h 10467"/>
                  <a:gd name="connsiteX54" fmla="*/ 4383 w 10000"/>
                  <a:gd name="connsiteY54" fmla="*/ 7651 h 10467"/>
                  <a:gd name="connsiteX55" fmla="*/ 4258 w 10000"/>
                  <a:gd name="connsiteY55" fmla="*/ 7846 h 10467"/>
                  <a:gd name="connsiteX56" fmla="*/ 4508 w 10000"/>
                  <a:gd name="connsiteY56" fmla="*/ 7943 h 10467"/>
                  <a:gd name="connsiteX57" fmla="*/ 4759 w 10000"/>
                  <a:gd name="connsiteY57" fmla="*/ 7749 h 10467"/>
                  <a:gd name="connsiteX58" fmla="*/ 5135 w 10000"/>
                  <a:gd name="connsiteY58" fmla="*/ 7846 h 10467"/>
                  <a:gd name="connsiteX59" fmla="*/ 5385 w 10000"/>
                  <a:gd name="connsiteY59" fmla="*/ 8137 h 10467"/>
                  <a:gd name="connsiteX60" fmla="*/ 5636 w 10000"/>
                  <a:gd name="connsiteY60" fmla="*/ 8137 h 10467"/>
                  <a:gd name="connsiteX61" fmla="*/ 5636 w 10000"/>
                  <a:gd name="connsiteY61" fmla="*/ 8428 h 10467"/>
                  <a:gd name="connsiteX62" fmla="*/ 5886 w 10000"/>
                  <a:gd name="connsiteY62" fmla="*/ 8622 h 10467"/>
                  <a:gd name="connsiteX63" fmla="*/ 6011 w 10000"/>
                  <a:gd name="connsiteY63" fmla="*/ 8622 h 10467"/>
                  <a:gd name="connsiteX64" fmla="*/ 6011 w 10000"/>
                  <a:gd name="connsiteY64" fmla="*/ 9011 h 10467"/>
                  <a:gd name="connsiteX65" fmla="*/ 6387 w 10000"/>
                  <a:gd name="connsiteY65" fmla="*/ 9302 h 10467"/>
                  <a:gd name="connsiteX66" fmla="*/ 6763 w 10000"/>
                  <a:gd name="connsiteY66" fmla="*/ 9399 h 10467"/>
                  <a:gd name="connsiteX67" fmla="*/ 6763 w 10000"/>
                  <a:gd name="connsiteY67" fmla="*/ 9593 h 10467"/>
                  <a:gd name="connsiteX68" fmla="*/ 6637 w 10000"/>
                  <a:gd name="connsiteY68" fmla="*/ 9690 h 10467"/>
                  <a:gd name="connsiteX69" fmla="*/ 6512 w 10000"/>
                  <a:gd name="connsiteY69" fmla="*/ 9884 h 10467"/>
                  <a:gd name="connsiteX70" fmla="*/ 6512 w 10000"/>
                  <a:gd name="connsiteY70" fmla="*/ 10079 h 10467"/>
                  <a:gd name="connsiteX71" fmla="*/ 6637 w 10000"/>
                  <a:gd name="connsiteY71" fmla="*/ 10176 h 10467"/>
                  <a:gd name="connsiteX72" fmla="*/ 6763 w 10000"/>
                  <a:gd name="connsiteY72" fmla="*/ 10467 h 10467"/>
                  <a:gd name="connsiteX73" fmla="*/ 7138 w 10000"/>
                  <a:gd name="connsiteY73" fmla="*/ 10370 h 10467"/>
                  <a:gd name="connsiteX74" fmla="*/ 7764 w 10000"/>
                  <a:gd name="connsiteY74" fmla="*/ 10273 h 10467"/>
                  <a:gd name="connsiteX75" fmla="*/ 8015 w 10000"/>
                  <a:gd name="connsiteY75" fmla="*/ 10273 h 10467"/>
                  <a:gd name="connsiteX76" fmla="*/ 8516 w 10000"/>
                  <a:gd name="connsiteY76" fmla="*/ 10176 h 10467"/>
                  <a:gd name="connsiteX77" fmla="*/ 8766 w 10000"/>
                  <a:gd name="connsiteY77" fmla="*/ 10370 h 10467"/>
                  <a:gd name="connsiteX78" fmla="*/ 9017 w 10000"/>
                  <a:gd name="connsiteY78" fmla="*/ 9982 h 10467"/>
                  <a:gd name="connsiteX79" fmla="*/ 8891 w 10000"/>
                  <a:gd name="connsiteY79" fmla="*/ 9690 h 10467"/>
                  <a:gd name="connsiteX80" fmla="*/ 8766 w 10000"/>
                  <a:gd name="connsiteY80" fmla="*/ 8914 h 10467"/>
                  <a:gd name="connsiteX81" fmla="*/ 9392 w 10000"/>
                  <a:gd name="connsiteY81" fmla="*/ 8817 h 10467"/>
                  <a:gd name="connsiteX82" fmla="*/ 9893 w 10000"/>
                  <a:gd name="connsiteY82" fmla="*/ 8331 h 10467"/>
                  <a:gd name="connsiteX83" fmla="*/ 9769 w 10000"/>
                  <a:gd name="connsiteY83" fmla="*/ 7846 h 10467"/>
                  <a:gd name="connsiteX0" fmla="*/ 9769 w 10000"/>
                  <a:gd name="connsiteY0" fmla="*/ 7833 h 10454"/>
                  <a:gd name="connsiteX1" fmla="*/ 9268 w 10000"/>
                  <a:gd name="connsiteY1" fmla="*/ 7444 h 10454"/>
                  <a:gd name="connsiteX2" fmla="*/ 8766 w 10000"/>
                  <a:gd name="connsiteY2" fmla="*/ 7153 h 10454"/>
                  <a:gd name="connsiteX3" fmla="*/ 8516 w 10000"/>
                  <a:gd name="connsiteY3" fmla="*/ 6376 h 10454"/>
                  <a:gd name="connsiteX4" fmla="*/ 8891 w 10000"/>
                  <a:gd name="connsiteY4" fmla="*/ 5794 h 10454"/>
                  <a:gd name="connsiteX5" fmla="*/ 9544 w 10000"/>
                  <a:gd name="connsiteY5" fmla="*/ 5354 h 10454"/>
                  <a:gd name="connsiteX6" fmla="*/ 9228 w 10000"/>
                  <a:gd name="connsiteY6" fmla="*/ 4910 h 10454"/>
                  <a:gd name="connsiteX7" fmla="*/ 9142 w 10000"/>
                  <a:gd name="connsiteY7" fmla="*/ 4435 h 10454"/>
                  <a:gd name="connsiteX8" fmla="*/ 8642 w 10000"/>
                  <a:gd name="connsiteY8" fmla="*/ 4143 h 10454"/>
                  <a:gd name="connsiteX9" fmla="*/ 7890 w 10000"/>
                  <a:gd name="connsiteY9" fmla="*/ 4629 h 10454"/>
                  <a:gd name="connsiteX10" fmla="*/ 7639 w 10000"/>
                  <a:gd name="connsiteY10" fmla="*/ 4337 h 10454"/>
                  <a:gd name="connsiteX11" fmla="*/ 7005 w 10000"/>
                  <a:gd name="connsiteY11" fmla="*/ 4014 h 10454"/>
                  <a:gd name="connsiteX12" fmla="*/ 6262 w 10000"/>
                  <a:gd name="connsiteY12" fmla="*/ 3949 h 10454"/>
                  <a:gd name="connsiteX13" fmla="*/ 6136 w 10000"/>
                  <a:gd name="connsiteY13" fmla="*/ 3755 h 10454"/>
                  <a:gd name="connsiteX14" fmla="*/ 6136 w 10000"/>
                  <a:gd name="connsiteY14" fmla="*/ 3464 h 10454"/>
                  <a:gd name="connsiteX15" fmla="*/ 6011 w 10000"/>
                  <a:gd name="connsiteY15" fmla="*/ 3075 h 10454"/>
                  <a:gd name="connsiteX16" fmla="*/ 5686 w 10000"/>
                  <a:gd name="connsiteY16" fmla="*/ 2650 h 10454"/>
                  <a:gd name="connsiteX17" fmla="*/ 5227 w 10000"/>
                  <a:gd name="connsiteY17" fmla="*/ 2156 h 10454"/>
                  <a:gd name="connsiteX18" fmla="*/ 4976 w 10000"/>
                  <a:gd name="connsiteY18" fmla="*/ 1619 h 10454"/>
                  <a:gd name="connsiteX19" fmla="*/ 5086 w 10000"/>
                  <a:gd name="connsiteY19" fmla="*/ 1005 h 10454"/>
                  <a:gd name="connsiteX20" fmla="*/ 4401 w 10000"/>
                  <a:gd name="connsiteY20" fmla="*/ 115 h 10454"/>
                  <a:gd name="connsiteX21" fmla="*/ 3498 w 10000"/>
                  <a:gd name="connsiteY21" fmla="*/ 48 h 10454"/>
                  <a:gd name="connsiteX22" fmla="*/ 2630 w 10000"/>
                  <a:gd name="connsiteY22" fmla="*/ 223 h 10454"/>
                  <a:gd name="connsiteX23" fmla="*/ 1879 w 10000"/>
                  <a:gd name="connsiteY23" fmla="*/ 454 h 10454"/>
                  <a:gd name="connsiteX24" fmla="*/ 1253 w 10000"/>
                  <a:gd name="connsiteY24" fmla="*/ 745 h 10454"/>
                  <a:gd name="connsiteX25" fmla="*/ 626 w 10000"/>
                  <a:gd name="connsiteY25" fmla="*/ 842 h 10454"/>
                  <a:gd name="connsiteX26" fmla="*/ 0 w 10000"/>
                  <a:gd name="connsiteY26" fmla="*/ 1037 h 10454"/>
                  <a:gd name="connsiteX27" fmla="*/ 251 w 10000"/>
                  <a:gd name="connsiteY27" fmla="*/ 1522 h 10454"/>
                  <a:gd name="connsiteX28" fmla="*/ 251 w 10000"/>
                  <a:gd name="connsiteY28" fmla="*/ 1910 h 10454"/>
                  <a:gd name="connsiteX29" fmla="*/ 501 w 10000"/>
                  <a:gd name="connsiteY29" fmla="*/ 2104 h 10454"/>
                  <a:gd name="connsiteX30" fmla="*/ 876 w 10000"/>
                  <a:gd name="connsiteY30" fmla="*/ 2687 h 10454"/>
                  <a:gd name="connsiteX31" fmla="*/ 1253 w 10000"/>
                  <a:gd name="connsiteY31" fmla="*/ 2881 h 10454"/>
                  <a:gd name="connsiteX32" fmla="*/ 752 w 10000"/>
                  <a:gd name="connsiteY32" fmla="*/ 3075 h 10454"/>
                  <a:gd name="connsiteX33" fmla="*/ 752 w 10000"/>
                  <a:gd name="connsiteY33" fmla="*/ 3561 h 10454"/>
                  <a:gd name="connsiteX34" fmla="*/ 1002 w 10000"/>
                  <a:gd name="connsiteY34" fmla="*/ 3561 h 10454"/>
                  <a:gd name="connsiteX35" fmla="*/ 1253 w 10000"/>
                  <a:gd name="connsiteY35" fmla="*/ 3852 h 10454"/>
                  <a:gd name="connsiteX36" fmla="*/ 876 w 10000"/>
                  <a:gd name="connsiteY36" fmla="*/ 4823 h 10454"/>
                  <a:gd name="connsiteX37" fmla="*/ 1253 w 10000"/>
                  <a:gd name="connsiteY37" fmla="*/ 5211 h 10454"/>
                  <a:gd name="connsiteX38" fmla="*/ 1628 w 10000"/>
                  <a:gd name="connsiteY38" fmla="*/ 5503 h 10454"/>
                  <a:gd name="connsiteX39" fmla="*/ 2003 w 10000"/>
                  <a:gd name="connsiteY39" fmla="*/ 5891 h 10454"/>
                  <a:gd name="connsiteX40" fmla="*/ 1502 w 10000"/>
                  <a:gd name="connsiteY40" fmla="*/ 5891 h 10454"/>
                  <a:gd name="connsiteX41" fmla="*/ 1378 w 10000"/>
                  <a:gd name="connsiteY41" fmla="*/ 6182 h 10454"/>
                  <a:gd name="connsiteX42" fmla="*/ 1753 w 10000"/>
                  <a:gd name="connsiteY42" fmla="*/ 6668 h 10454"/>
                  <a:gd name="connsiteX43" fmla="*/ 1502 w 10000"/>
                  <a:gd name="connsiteY43" fmla="*/ 6959 h 10454"/>
                  <a:gd name="connsiteX44" fmla="*/ 1002 w 10000"/>
                  <a:gd name="connsiteY44" fmla="*/ 7153 h 10454"/>
                  <a:gd name="connsiteX45" fmla="*/ 1753 w 10000"/>
                  <a:gd name="connsiteY45" fmla="*/ 7541 h 10454"/>
                  <a:gd name="connsiteX46" fmla="*/ 3381 w 10000"/>
                  <a:gd name="connsiteY46" fmla="*/ 8318 h 10454"/>
                  <a:gd name="connsiteX47" fmla="*/ 3381 w 10000"/>
                  <a:gd name="connsiteY47" fmla="*/ 8609 h 10454"/>
                  <a:gd name="connsiteX48" fmla="*/ 3882 w 10000"/>
                  <a:gd name="connsiteY48" fmla="*/ 8512 h 10454"/>
                  <a:gd name="connsiteX49" fmla="*/ 3757 w 10000"/>
                  <a:gd name="connsiteY49" fmla="*/ 8318 h 10454"/>
                  <a:gd name="connsiteX50" fmla="*/ 4133 w 10000"/>
                  <a:gd name="connsiteY50" fmla="*/ 8124 h 10454"/>
                  <a:gd name="connsiteX51" fmla="*/ 3882 w 10000"/>
                  <a:gd name="connsiteY51" fmla="*/ 7736 h 10454"/>
                  <a:gd name="connsiteX52" fmla="*/ 4133 w 10000"/>
                  <a:gd name="connsiteY52" fmla="*/ 7541 h 10454"/>
                  <a:gd name="connsiteX53" fmla="*/ 4258 w 10000"/>
                  <a:gd name="connsiteY53" fmla="*/ 7638 h 10454"/>
                  <a:gd name="connsiteX54" fmla="*/ 4383 w 10000"/>
                  <a:gd name="connsiteY54" fmla="*/ 7638 h 10454"/>
                  <a:gd name="connsiteX55" fmla="*/ 4258 w 10000"/>
                  <a:gd name="connsiteY55" fmla="*/ 7833 h 10454"/>
                  <a:gd name="connsiteX56" fmla="*/ 4508 w 10000"/>
                  <a:gd name="connsiteY56" fmla="*/ 7930 h 10454"/>
                  <a:gd name="connsiteX57" fmla="*/ 4759 w 10000"/>
                  <a:gd name="connsiteY57" fmla="*/ 7736 h 10454"/>
                  <a:gd name="connsiteX58" fmla="*/ 5135 w 10000"/>
                  <a:gd name="connsiteY58" fmla="*/ 7833 h 10454"/>
                  <a:gd name="connsiteX59" fmla="*/ 5385 w 10000"/>
                  <a:gd name="connsiteY59" fmla="*/ 8124 h 10454"/>
                  <a:gd name="connsiteX60" fmla="*/ 5636 w 10000"/>
                  <a:gd name="connsiteY60" fmla="*/ 8124 h 10454"/>
                  <a:gd name="connsiteX61" fmla="*/ 5636 w 10000"/>
                  <a:gd name="connsiteY61" fmla="*/ 8415 h 10454"/>
                  <a:gd name="connsiteX62" fmla="*/ 5886 w 10000"/>
                  <a:gd name="connsiteY62" fmla="*/ 8609 h 10454"/>
                  <a:gd name="connsiteX63" fmla="*/ 6011 w 10000"/>
                  <a:gd name="connsiteY63" fmla="*/ 8609 h 10454"/>
                  <a:gd name="connsiteX64" fmla="*/ 6011 w 10000"/>
                  <a:gd name="connsiteY64" fmla="*/ 8998 h 10454"/>
                  <a:gd name="connsiteX65" fmla="*/ 6387 w 10000"/>
                  <a:gd name="connsiteY65" fmla="*/ 9289 h 10454"/>
                  <a:gd name="connsiteX66" fmla="*/ 6763 w 10000"/>
                  <a:gd name="connsiteY66" fmla="*/ 9386 h 10454"/>
                  <a:gd name="connsiteX67" fmla="*/ 6763 w 10000"/>
                  <a:gd name="connsiteY67" fmla="*/ 9580 h 10454"/>
                  <a:gd name="connsiteX68" fmla="*/ 6637 w 10000"/>
                  <a:gd name="connsiteY68" fmla="*/ 9677 h 10454"/>
                  <a:gd name="connsiteX69" fmla="*/ 6512 w 10000"/>
                  <a:gd name="connsiteY69" fmla="*/ 9871 h 10454"/>
                  <a:gd name="connsiteX70" fmla="*/ 6512 w 10000"/>
                  <a:gd name="connsiteY70" fmla="*/ 10066 h 10454"/>
                  <a:gd name="connsiteX71" fmla="*/ 6637 w 10000"/>
                  <a:gd name="connsiteY71" fmla="*/ 10163 h 10454"/>
                  <a:gd name="connsiteX72" fmla="*/ 6763 w 10000"/>
                  <a:gd name="connsiteY72" fmla="*/ 10454 h 10454"/>
                  <a:gd name="connsiteX73" fmla="*/ 7138 w 10000"/>
                  <a:gd name="connsiteY73" fmla="*/ 10357 h 10454"/>
                  <a:gd name="connsiteX74" fmla="*/ 7764 w 10000"/>
                  <a:gd name="connsiteY74" fmla="*/ 10260 h 10454"/>
                  <a:gd name="connsiteX75" fmla="*/ 8015 w 10000"/>
                  <a:gd name="connsiteY75" fmla="*/ 10260 h 10454"/>
                  <a:gd name="connsiteX76" fmla="*/ 8516 w 10000"/>
                  <a:gd name="connsiteY76" fmla="*/ 10163 h 10454"/>
                  <a:gd name="connsiteX77" fmla="*/ 8766 w 10000"/>
                  <a:gd name="connsiteY77" fmla="*/ 10357 h 10454"/>
                  <a:gd name="connsiteX78" fmla="*/ 9017 w 10000"/>
                  <a:gd name="connsiteY78" fmla="*/ 9969 h 10454"/>
                  <a:gd name="connsiteX79" fmla="*/ 8891 w 10000"/>
                  <a:gd name="connsiteY79" fmla="*/ 9677 h 10454"/>
                  <a:gd name="connsiteX80" fmla="*/ 8766 w 10000"/>
                  <a:gd name="connsiteY80" fmla="*/ 8901 h 10454"/>
                  <a:gd name="connsiteX81" fmla="*/ 9392 w 10000"/>
                  <a:gd name="connsiteY81" fmla="*/ 8804 h 10454"/>
                  <a:gd name="connsiteX82" fmla="*/ 9893 w 10000"/>
                  <a:gd name="connsiteY82" fmla="*/ 8318 h 10454"/>
                  <a:gd name="connsiteX83" fmla="*/ 9769 w 10000"/>
                  <a:gd name="connsiteY83" fmla="*/ 7833 h 10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0000" h="10454">
                    <a:moveTo>
                      <a:pt x="9769" y="7833"/>
                    </a:moveTo>
                    <a:cubicBezTo>
                      <a:pt x="9643" y="7638"/>
                      <a:pt x="9518" y="7444"/>
                      <a:pt x="9268" y="7444"/>
                    </a:cubicBezTo>
                    <a:cubicBezTo>
                      <a:pt x="9017" y="7347"/>
                      <a:pt x="9017" y="7347"/>
                      <a:pt x="8766" y="7153"/>
                    </a:cubicBezTo>
                    <a:cubicBezTo>
                      <a:pt x="8642" y="6862"/>
                      <a:pt x="8516" y="6862"/>
                      <a:pt x="8516" y="6376"/>
                    </a:cubicBezTo>
                    <a:cubicBezTo>
                      <a:pt x="8516" y="5988"/>
                      <a:pt x="8642" y="5988"/>
                      <a:pt x="8891" y="5794"/>
                    </a:cubicBezTo>
                    <a:cubicBezTo>
                      <a:pt x="9142" y="5503"/>
                      <a:pt x="9488" y="5501"/>
                      <a:pt x="9544" y="5354"/>
                    </a:cubicBezTo>
                    <a:cubicBezTo>
                      <a:pt x="9600" y="5207"/>
                      <a:pt x="9295" y="5063"/>
                      <a:pt x="9228" y="4910"/>
                    </a:cubicBezTo>
                    <a:cubicBezTo>
                      <a:pt x="9161" y="4757"/>
                      <a:pt x="9240" y="4563"/>
                      <a:pt x="9142" y="4435"/>
                    </a:cubicBezTo>
                    <a:cubicBezTo>
                      <a:pt x="9044" y="4307"/>
                      <a:pt x="8891" y="4240"/>
                      <a:pt x="8642" y="4143"/>
                    </a:cubicBezTo>
                    <a:cubicBezTo>
                      <a:pt x="8391" y="4143"/>
                      <a:pt x="8015" y="4435"/>
                      <a:pt x="7890" y="4629"/>
                    </a:cubicBezTo>
                    <a:cubicBezTo>
                      <a:pt x="7764" y="4823"/>
                      <a:pt x="7764" y="4629"/>
                      <a:pt x="7639" y="4337"/>
                    </a:cubicBezTo>
                    <a:cubicBezTo>
                      <a:pt x="7389" y="4046"/>
                      <a:pt x="7380" y="3917"/>
                      <a:pt x="7005" y="4014"/>
                    </a:cubicBezTo>
                    <a:cubicBezTo>
                      <a:pt x="6754" y="4112"/>
                      <a:pt x="6637" y="4046"/>
                      <a:pt x="6262" y="3949"/>
                    </a:cubicBezTo>
                    <a:cubicBezTo>
                      <a:pt x="6011" y="3755"/>
                      <a:pt x="6011" y="3852"/>
                      <a:pt x="6136" y="3755"/>
                    </a:cubicBezTo>
                    <a:cubicBezTo>
                      <a:pt x="6262" y="3658"/>
                      <a:pt x="6262" y="3561"/>
                      <a:pt x="6136" y="3464"/>
                    </a:cubicBezTo>
                    <a:cubicBezTo>
                      <a:pt x="5886" y="3270"/>
                      <a:pt x="6136" y="3367"/>
                      <a:pt x="6011" y="3075"/>
                    </a:cubicBezTo>
                    <a:cubicBezTo>
                      <a:pt x="6011" y="2784"/>
                      <a:pt x="6062" y="2747"/>
                      <a:pt x="5686" y="2650"/>
                    </a:cubicBezTo>
                    <a:cubicBezTo>
                      <a:pt x="5436" y="2456"/>
                      <a:pt x="5345" y="2328"/>
                      <a:pt x="5227" y="2156"/>
                    </a:cubicBezTo>
                    <a:cubicBezTo>
                      <a:pt x="5109" y="1984"/>
                      <a:pt x="5102" y="1716"/>
                      <a:pt x="4976" y="1619"/>
                    </a:cubicBezTo>
                    <a:cubicBezTo>
                      <a:pt x="4976" y="1425"/>
                      <a:pt x="5211" y="1102"/>
                      <a:pt x="5086" y="1005"/>
                    </a:cubicBezTo>
                    <a:cubicBezTo>
                      <a:pt x="4961" y="1005"/>
                      <a:pt x="4652" y="212"/>
                      <a:pt x="4401" y="115"/>
                    </a:cubicBezTo>
                    <a:cubicBezTo>
                      <a:pt x="4151" y="-80"/>
                      <a:pt x="3793" y="30"/>
                      <a:pt x="3498" y="48"/>
                    </a:cubicBezTo>
                    <a:cubicBezTo>
                      <a:pt x="3203" y="66"/>
                      <a:pt x="2755" y="223"/>
                      <a:pt x="2630" y="223"/>
                    </a:cubicBezTo>
                    <a:cubicBezTo>
                      <a:pt x="2380" y="320"/>
                      <a:pt x="2109" y="367"/>
                      <a:pt x="1879" y="454"/>
                    </a:cubicBezTo>
                    <a:cubicBezTo>
                      <a:pt x="1650" y="541"/>
                      <a:pt x="1502" y="551"/>
                      <a:pt x="1253" y="745"/>
                    </a:cubicBezTo>
                    <a:cubicBezTo>
                      <a:pt x="1002" y="939"/>
                      <a:pt x="752" y="842"/>
                      <a:pt x="626" y="842"/>
                    </a:cubicBezTo>
                    <a:cubicBezTo>
                      <a:pt x="375" y="939"/>
                      <a:pt x="0" y="1037"/>
                      <a:pt x="0" y="1037"/>
                    </a:cubicBezTo>
                    <a:cubicBezTo>
                      <a:pt x="0" y="1037"/>
                      <a:pt x="125" y="1231"/>
                      <a:pt x="251" y="1522"/>
                    </a:cubicBezTo>
                    <a:cubicBezTo>
                      <a:pt x="375" y="1813"/>
                      <a:pt x="251" y="1813"/>
                      <a:pt x="251" y="1910"/>
                    </a:cubicBezTo>
                    <a:cubicBezTo>
                      <a:pt x="375" y="2007"/>
                      <a:pt x="626" y="2007"/>
                      <a:pt x="501" y="2104"/>
                    </a:cubicBezTo>
                    <a:cubicBezTo>
                      <a:pt x="375" y="2299"/>
                      <a:pt x="626" y="2493"/>
                      <a:pt x="876" y="2687"/>
                    </a:cubicBezTo>
                    <a:cubicBezTo>
                      <a:pt x="1002" y="2784"/>
                      <a:pt x="1378" y="2881"/>
                      <a:pt x="1253" y="2881"/>
                    </a:cubicBezTo>
                    <a:cubicBezTo>
                      <a:pt x="1127" y="2978"/>
                      <a:pt x="626" y="2881"/>
                      <a:pt x="752" y="3075"/>
                    </a:cubicBezTo>
                    <a:cubicBezTo>
                      <a:pt x="876" y="3270"/>
                      <a:pt x="752" y="3561"/>
                      <a:pt x="752" y="3561"/>
                    </a:cubicBezTo>
                    <a:cubicBezTo>
                      <a:pt x="752" y="3561"/>
                      <a:pt x="752" y="3464"/>
                      <a:pt x="1002" y="3561"/>
                    </a:cubicBezTo>
                    <a:cubicBezTo>
                      <a:pt x="1127" y="3561"/>
                      <a:pt x="1253" y="3464"/>
                      <a:pt x="1253" y="3852"/>
                    </a:cubicBezTo>
                    <a:cubicBezTo>
                      <a:pt x="1253" y="4143"/>
                      <a:pt x="1002" y="4532"/>
                      <a:pt x="876" y="4823"/>
                    </a:cubicBezTo>
                    <a:cubicBezTo>
                      <a:pt x="752" y="5017"/>
                      <a:pt x="876" y="5114"/>
                      <a:pt x="1253" y="5211"/>
                    </a:cubicBezTo>
                    <a:cubicBezTo>
                      <a:pt x="1502" y="5405"/>
                      <a:pt x="1502" y="5308"/>
                      <a:pt x="1628" y="5503"/>
                    </a:cubicBezTo>
                    <a:cubicBezTo>
                      <a:pt x="1879" y="5794"/>
                      <a:pt x="2003" y="5697"/>
                      <a:pt x="2003" y="5891"/>
                    </a:cubicBezTo>
                    <a:cubicBezTo>
                      <a:pt x="2129" y="6085"/>
                      <a:pt x="1753" y="5988"/>
                      <a:pt x="1502" y="5891"/>
                    </a:cubicBezTo>
                    <a:cubicBezTo>
                      <a:pt x="1253" y="5891"/>
                      <a:pt x="1378" y="5988"/>
                      <a:pt x="1378" y="6182"/>
                    </a:cubicBezTo>
                    <a:cubicBezTo>
                      <a:pt x="1378" y="6279"/>
                      <a:pt x="1753" y="6473"/>
                      <a:pt x="1753" y="6668"/>
                    </a:cubicBezTo>
                    <a:cubicBezTo>
                      <a:pt x="1879" y="6765"/>
                      <a:pt x="1753" y="6959"/>
                      <a:pt x="1502" y="6959"/>
                    </a:cubicBezTo>
                    <a:cubicBezTo>
                      <a:pt x="1253" y="7056"/>
                      <a:pt x="1253" y="7153"/>
                      <a:pt x="1002" y="7153"/>
                    </a:cubicBezTo>
                    <a:lnTo>
                      <a:pt x="1753" y="7541"/>
                    </a:lnTo>
                    <a:lnTo>
                      <a:pt x="3381" y="8318"/>
                    </a:lnTo>
                    <a:lnTo>
                      <a:pt x="3381" y="8609"/>
                    </a:lnTo>
                    <a:lnTo>
                      <a:pt x="3882" y="8512"/>
                    </a:lnTo>
                    <a:lnTo>
                      <a:pt x="3757" y="8318"/>
                    </a:lnTo>
                    <a:lnTo>
                      <a:pt x="4133" y="8124"/>
                    </a:lnTo>
                    <a:cubicBezTo>
                      <a:pt x="4049" y="7995"/>
                      <a:pt x="3966" y="7865"/>
                      <a:pt x="3882" y="7736"/>
                    </a:cubicBezTo>
                    <a:lnTo>
                      <a:pt x="4133" y="7541"/>
                    </a:lnTo>
                    <a:cubicBezTo>
                      <a:pt x="4175" y="7573"/>
                      <a:pt x="4216" y="7606"/>
                      <a:pt x="4258" y="7638"/>
                    </a:cubicBezTo>
                    <a:lnTo>
                      <a:pt x="4383" y="7638"/>
                    </a:lnTo>
                    <a:cubicBezTo>
                      <a:pt x="4341" y="7703"/>
                      <a:pt x="4300" y="7768"/>
                      <a:pt x="4258" y="7833"/>
                    </a:cubicBezTo>
                    <a:lnTo>
                      <a:pt x="4508" y="7930"/>
                    </a:lnTo>
                    <a:lnTo>
                      <a:pt x="4759" y="7736"/>
                    </a:lnTo>
                    <a:lnTo>
                      <a:pt x="5135" y="7833"/>
                    </a:lnTo>
                    <a:lnTo>
                      <a:pt x="5385" y="8124"/>
                    </a:lnTo>
                    <a:lnTo>
                      <a:pt x="5636" y="8124"/>
                    </a:lnTo>
                    <a:lnTo>
                      <a:pt x="5636" y="8415"/>
                    </a:lnTo>
                    <a:lnTo>
                      <a:pt x="5886" y="8609"/>
                    </a:lnTo>
                    <a:lnTo>
                      <a:pt x="6011" y="8609"/>
                    </a:lnTo>
                    <a:lnTo>
                      <a:pt x="6011" y="8998"/>
                    </a:lnTo>
                    <a:lnTo>
                      <a:pt x="6387" y="9289"/>
                    </a:lnTo>
                    <a:lnTo>
                      <a:pt x="6763" y="9386"/>
                    </a:lnTo>
                    <a:lnTo>
                      <a:pt x="6763" y="9580"/>
                    </a:lnTo>
                    <a:lnTo>
                      <a:pt x="6637" y="9677"/>
                    </a:lnTo>
                    <a:lnTo>
                      <a:pt x="6512" y="9871"/>
                    </a:lnTo>
                    <a:lnTo>
                      <a:pt x="6512" y="10066"/>
                    </a:lnTo>
                    <a:cubicBezTo>
                      <a:pt x="6554" y="10098"/>
                      <a:pt x="6595" y="10131"/>
                      <a:pt x="6637" y="10163"/>
                    </a:cubicBezTo>
                    <a:lnTo>
                      <a:pt x="6763" y="10454"/>
                    </a:lnTo>
                    <a:cubicBezTo>
                      <a:pt x="6888" y="10454"/>
                      <a:pt x="7014" y="10454"/>
                      <a:pt x="7138" y="10357"/>
                    </a:cubicBezTo>
                    <a:cubicBezTo>
                      <a:pt x="7263" y="10260"/>
                      <a:pt x="7639" y="10163"/>
                      <a:pt x="7764" y="10260"/>
                    </a:cubicBezTo>
                    <a:cubicBezTo>
                      <a:pt x="7890" y="10260"/>
                      <a:pt x="7890" y="10357"/>
                      <a:pt x="8015" y="10260"/>
                    </a:cubicBezTo>
                    <a:cubicBezTo>
                      <a:pt x="8265" y="10163"/>
                      <a:pt x="8391" y="10163"/>
                      <a:pt x="8516" y="10163"/>
                    </a:cubicBezTo>
                    <a:cubicBezTo>
                      <a:pt x="8766" y="10163"/>
                      <a:pt x="8766" y="10357"/>
                      <a:pt x="8766" y="10357"/>
                    </a:cubicBezTo>
                    <a:cubicBezTo>
                      <a:pt x="8766" y="10357"/>
                      <a:pt x="9017" y="10163"/>
                      <a:pt x="9017" y="9969"/>
                    </a:cubicBezTo>
                    <a:cubicBezTo>
                      <a:pt x="9142" y="9871"/>
                      <a:pt x="9017" y="9871"/>
                      <a:pt x="8891" y="9677"/>
                    </a:cubicBezTo>
                    <a:cubicBezTo>
                      <a:pt x="8766" y="9580"/>
                      <a:pt x="8766" y="9289"/>
                      <a:pt x="8766" y="8901"/>
                    </a:cubicBezTo>
                    <a:cubicBezTo>
                      <a:pt x="8891" y="8512"/>
                      <a:pt x="9268" y="8901"/>
                      <a:pt x="9392" y="8804"/>
                    </a:cubicBezTo>
                    <a:cubicBezTo>
                      <a:pt x="9518" y="8706"/>
                      <a:pt x="9769" y="8512"/>
                      <a:pt x="9893" y="8318"/>
                    </a:cubicBezTo>
                    <a:cubicBezTo>
                      <a:pt x="10144" y="8124"/>
                      <a:pt x="9893" y="8027"/>
                      <a:pt x="9769" y="7833"/>
                    </a:cubicBezTo>
                    <a:close/>
                  </a:path>
                </a:pathLst>
              </a:custGeom>
              <a:solidFill>
                <a:srgbClr val="73C375"/>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4" name="Freeform 213"/>
              <p:cNvSpPr>
                <a:spLocks/>
              </p:cNvSpPr>
              <p:nvPr/>
            </p:nvSpPr>
            <p:spPr bwMode="gray">
              <a:xfrm>
                <a:off x="5306903" y="4079077"/>
                <a:ext cx="139935" cy="192457"/>
              </a:xfrm>
              <a:custGeom>
                <a:avLst/>
                <a:gdLst>
                  <a:gd name="T0" fmla="*/ 28 w 30"/>
                  <a:gd name="T1" fmla="*/ 26 h 42"/>
                  <a:gd name="T2" fmla="*/ 28 w 30"/>
                  <a:gd name="T3" fmla="*/ 24 h 42"/>
                  <a:gd name="T4" fmla="*/ 29 w 30"/>
                  <a:gd name="T5" fmla="*/ 22 h 42"/>
                  <a:gd name="T6" fmla="*/ 30 w 30"/>
                  <a:gd name="T7" fmla="*/ 21 h 42"/>
                  <a:gd name="T8" fmla="*/ 30 w 30"/>
                  <a:gd name="T9" fmla="*/ 19 h 42"/>
                  <a:gd name="T10" fmla="*/ 27 w 30"/>
                  <a:gd name="T11" fmla="*/ 18 h 42"/>
                  <a:gd name="T12" fmla="*/ 24 w 30"/>
                  <a:gd name="T13" fmla="*/ 15 h 42"/>
                  <a:gd name="T14" fmla="*/ 24 w 30"/>
                  <a:gd name="T15" fmla="*/ 11 h 42"/>
                  <a:gd name="T16" fmla="*/ 23 w 30"/>
                  <a:gd name="T17" fmla="*/ 11 h 42"/>
                  <a:gd name="T18" fmla="*/ 21 w 30"/>
                  <a:gd name="T19" fmla="*/ 9 h 42"/>
                  <a:gd name="T20" fmla="*/ 21 w 30"/>
                  <a:gd name="T21" fmla="*/ 6 h 42"/>
                  <a:gd name="T22" fmla="*/ 19 w 30"/>
                  <a:gd name="T23" fmla="*/ 6 h 42"/>
                  <a:gd name="T24" fmla="*/ 17 w 30"/>
                  <a:gd name="T25" fmla="*/ 3 h 42"/>
                  <a:gd name="T26" fmla="*/ 14 w 30"/>
                  <a:gd name="T27" fmla="*/ 2 h 42"/>
                  <a:gd name="T28" fmla="*/ 12 w 30"/>
                  <a:gd name="T29" fmla="*/ 4 h 42"/>
                  <a:gd name="T30" fmla="*/ 10 w 30"/>
                  <a:gd name="T31" fmla="*/ 3 h 42"/>
                  <a:gd name="T32" fmla="*/ 11 w 30"/>
                  <a:gd name="T33" fmla="*/ 1 h 42"/>
                  <a:gd name="T34" fmla="*/ 10 w 30"/>
                  <a:gd name="T35" fmla="*/ 1 h 42"/>
                  <a:gd name="T36" fmla="*/ 9 w 30"/>
                  <a:gd name="T37" fmla="*/ 0 h 42"/>
                  <a:gd name="T38" fmla="*/ 7 w 30"/>
                  <a:gd name="T39" fmla="*/ 2 h 42"/>
                  <a:gd name="T40" fmla="*/ 9 w 30"/>
                  <a:gd name="T41" fmla="*/ 6 h 42"/>
                  <a:gd name="T42" fmla="*/ 6 w 30"/>
                  <a:gd name="T43" fmla="*/ 8 h 42"/>
                  <a:gd name="T44" fmla="*/ 7 w 30"/>
                  <a:gd name="T45" fmla="*/ 10 h 42"/>
                  <a:gd name="T46" fmla="*/ 3 w 30"/>
                  <a:gd name="T47" fmla="*/ 11 h 42"/>
                  <a:gd name="T48" fmla="*/ 0 w 30"/>
                  <a:gd name="T49" fmla="*/ 14 h 42"/>
                  <a:gd name="T50" fmla="*/ 3 w 30"/>
                  <a:gd name="T51" fmla="*/ 16 h 42"/>
                  <a:gd name="T52" fmla="*/ 3 w 30"/>
                  <a:gd name="T53" fmla="*/ 19 h 42"/>
                  <a:gd name="T54" fmla="*/ 4 w 30"/>
                  <a:gd name="T55" fmla="*/ 22 h 42"/>
                  <a:gd name="T56" fmla="*/ 6 w 30"/>
                  <a:gd name="T57" fmla="*/ 26 h 42"/>
                  <a:gd name="T58" fmla="*/ 8 w 30"/>
                  <a:gd name="T59" fmla="*/ 29 h 42"/>
                  <a:gd name="T60" fmla="*/ 12 w 30"/>
                  <a:gd name="T61" fmla="*/ 33 h 42"/>
                  <a:gd name="T62" fmla="*/ 13 w 30"/>
                  <a:gd name="T63" fmla="*/ 42 h 42"/>
                  <a:gd name="T64" fmla="*/ 15 w 30"/>
                  <a:gd name="T65" fmla="*/ 40 h 42"/>
                  <a:gd name="T66" fmla="*/ 17 w 30"/>
                  <a:gd name="T67" fmla="*/ 35 h 42"/>
                  <a:gd name="T68" fmla="*/ 21 w 30"/>
                  <a:gd name="T69" fmla="*/ 32 h 42"/>
                  <a:gd name="T70" fmla="*/ 24 w 30"/>
                  <a:gd name="T71" fmla="*/ 33 h 42"/>
                  <a:gd name="T72" fmla="*/ 26 w 30"/>
                  <a:gd name="T73" fmla="*/ 32 h 42"/>
                  <a:gd name="T74" fmla="*/ 30 w 30"/>
                  <a:gd name="T75" fmla="*/ 30 h 42"/>
                  <a:gd name="T76" fmla="*/ 29 w 30"/>
                  <a:gd name="T77" fmla="*/ 27 h 42"/>
                  <a:gd name="T78" fmla="*/ 28 w 30"/>
                  <a:gd name="T79"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 h="42">
                    <a:moveTo>
                      <a:pt x="28" y="26"/>
                    </a:moveTo>
                    <a:cubicBezTo>
                      <a:pt x="28" y="24"/>
                      <a:pt x="28" y="24"/>
                      <a:pt x="28" y="24"/>
                    </a:cubicBezTo>
                    <a:cubicBezTo>
                      <a:pt x="29" y="22"/>
                      <a:pt x="29" y="22"/>
                      <a:pt x="29" y="22"/>
                    </a:cubicBezTo>
                    <a:cubicBezTo>
                      <a:pt x="30" y="21"/>
                      <a:pt x="30" y="21"/>
                      <a:pt x="30" y="21"/>
                    </a:cubicBezTo>
                    <a:cubicBezTo>
                      <a:pt x="30" y="19"/>
                      <a:pt x="30" y="19"/>
                      <a:pt x="30" y="19"/>
                    </a:cubicBezTo>
                    <a:cubicBezTo>
                      <a:pt x="27" y="18"/>
                      <a:pt x="27" y="18"/>
                      <a:pt x="27" y="18"/>
                    </a:cubicBezTo>
                    <a:cubicBezTo>
                      <a:pt x="24" y="15"/>
                      <a:pt x="24" y="15"/>
                      <a:pt x="24" y="15"/>
                    </a:cubicBezTo>
                    <a:cubicBezTo>
                      <a:pt x="24" y="11"/>
                      <a:pt x="24" y="11"/>
                      <a:pt x="24" y="11"/>
                    </a:cubicBezTo>
                    <a:cubicBezTo>
                      <a:pt x="23" y="11"/>
                      <a:pt x="23" y="11"/>
                      <a:pt x="23" y="11"/>
                    </a:cubicBezTo>
                    <a:cubicBezTo>
                      <a:pt x="21" y="9"/>
                      <a:pt x="21" y="9"/>
                      <a:pt x="21" y="9"/>
                    </a:cubicBezTo>
                    <a:cubicBezTo>
                      <a:pt x="21" y="6"/>
                      <a:pt x="21" y="6"/>
                      <a:pt x="21" y="6"/>
                    </a:cubicBezTo>
                    <a:cubicBezTo>
                      <a:pt x="19" y="6"/>
                      <a:pt x="19" y="6"/>
                      <a:pt x="19" y="6"/>
                    </a:cubicBezTo>
                    <a:cubicBezTo>
                      <a:pt x="17" y="3"/>
                      <a:pt x="17" y="3"/>
                      <a:pt x="17" y="3"/>
                    </a:cubicBezTo>
                    <a:cubicBezTo>
                      <a:pt x="14" y="2"/>
                      <a:pt x="14" y="2"/>
                      <a:pt x="14" y="2"/>
                    </a:cubicBezTo>
                    <a:cubicBezTo>
                      <a:pt x="12" y="4"/>
                      <a:pt x="12" y="4"/>
                      <a:pt x="12" y="4"/>
                    </a:cubicBezTo>
                    <a:cubicBezTo>
                      <a:pt x="10" y="3"/>
                      <a:pt x="10" y="3"/>
                      <a:pt x="10" y="3"/>
                    </a:cubicBezTo>
                    <a:cubicBezTo>
                      <a:pt x="11" y="1"/>
                      <a:pt x="11" y="1"/>
                      <a:pt x="11" y="1"/>
                    </a:cubicBezTo>
                    <a:cubicBezTo>
                      <a:pt x="10" y="1"/>
                      <a:pt x="10" y="1"/>
                      <a:pt x="10" y="1"/>
                    </a:cubicBezTo>
                    <a:cubicBezTo>
                      <a:pt x="9" y="0"/>
                      <a:pt x="9" y="0"/>
                      <a:pt x="9" y="0"/>
                    </a:cubicBezTo>
                    <a:cubicBezTo>
                      <a:pt x="7" y="2"/>
                      <a:pt x="7" y="2"/>
                      <a:pt x="7" y="2"/>
                    </a:cubicBezTo>
                    <a:cubicBezTo>
                      <a:pt x="9" y="6"/>
                      <a:pt x="9" y="6"/>
                      <a:pt x="9" y="6"/>
                    </a:cubicBezTo>
                    <a:cubicBezTo>
                      <a:pt x="6" y="8"/>
                      <a:pt x="6" y="8"/>
                      <a:pt x="6" y="8"/>
                    </a:cubicBezTo>
                    <a:cubicBezTo>
                      <a:pt x="7" y="10"/>
                      <a:pt x="7" y="10"/>
                      <a:pt x="7" y="10"/>
                    </a:cubicBezTo>
                    <a:cubicBezTo>
                      <a:pt x="3" y="11"/>
                      <a:pt x="3" y="11"/>
                      <a:pt x="3" y="11"/>
                    </a:cubicBezTo>
                    <a:cubicBezTo>
                      <a:pt x="0" y="14"/>
                      <a:pt x="0" y="14"/>
                      <a:pt x="0" y="14"/>
                    </a:cubicBezTo>
                    <a:cubicBezTo>
                      <a:pt x="3" y="16"/>
                      <a:pt x="3" y="16"/>
                      <a:pt x="3" y="16"/>
                    </a:cubicBezTo>
                    <a:cubicBezTo>
                      <a:pt x="3" y="19"/>
                      <a:pt x="3" y="19"/>
                      <a:pt x="3" y="19"/>
                    </a:cubicBezTo>
                    <a:cubicBezTo>
                      <a:pt x="4" y="17"/>
                      <a:pt x="3" y="21"/>
                      <a:pt x="4" y="22"/>
                    </a:cubicBezTo>
                    <a:cubicBezTo>
                      <a:pt x="5" y="24"/>
                      <a:pt x="6" y="24"/>
                      <a:pt x="6" y="26"/>
                    </a:cubicBezTo>
                    <a:cubicBezTo>
                      <a:pt x="6" y="28"/>
                      <a:pt x="7" y="28"/>
                      <a:pt x="8" y="29"/>
                    </a:cubicBezTo>
                    <a:cubicBezTo>
                      <a:pt x="10" y="30"/>
                      <a:pt x="12" y="31"/>
                      <a:pt x="12" y="33"/>
                    </a:cubicBezTo>
                    <a:cubicBezTo>
                      <a:pt x="13" y="35"/>
                      <a:pt x="13" y="42"/>
                      <a:pt x="13" y="42"/>
                    </a:cubicBezTo>
                    <a:cubicBezTo>
                      <a:pt x="14" y="41"/>
                      <a:pt x="14" y="40"/>
                      <a:pt x="15" y="40"/>
                    </a:cubicBezTo>
                    <a:cubicBezTo>
                      <a:pt x="16" y="38"/>
                      <a:pt x="16" y="35"/>
                      <a:pt x="17" y="35"/>
                    </a:cubicBezTo>
                    <a:cubicBezTo>
                      <a:pt x="18" y="35"/>
                      <a:pt x="20" y="33"/>
                      <a:pt x="21" y="32"/>
                    </a:cubicBezTo>
                    <a:cubicBezTo>
                      <a:pt x="22" y="31"/>
                      <a:pt x="23" y="32"/>
                      <a:pt x="24" y="33"/>
                    </a:cubicBezTo>
                    <a:cubicBezTo>
                      <a:pt x="24" y="35"/>
                      <a:pt x="25" y="33"/>
                      <a:pt x="26" y="32"/>
                    </a:cubicBezTo>
                    <a:cubicBezTo>
                      <a:pt x="27" y="30"/>
                      <a:pt x="29" y="29"/>
                      <a:pt x="30" y="30"/>
                    </a:cubicBezTo>
                    <a:cubicBezTo>
                      <a:pt x="29" y="27"/>
                      <a:pt x="29" y="27"/>
                      <a:pt x="29" y="27"/>
                    </a:cubicBezTo>
                    <a:lnTo>
                      <a:pt x="28" y="26"/>
                    </a:ln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5" name="Freeform 9"/>
              <p:cNvSpPr>
                <a:spLocks/>
              </p:cNvSpPr>
              <p:nvPr/>
            </p:nvSpPr>
            <p:spPr bwMode="gray">
              <a:xfrm>
                <a:off x="6372085" y="3641632"/>
                <a:ext cx="349328" cy="203245"/>
              </a:xfrm>
              <a:custGeom>
                <a:avLst/>
                <a:gdLst>
                  <a:gd name="T0" fmla="*/ 0 w 220"/>
                  <a:gd name="T1" fmla="*/ 60 h 128"/>
                  <a:gd name="T2" fmla="*/ 14 w 220"/>
                  <a:gd name="T3" fmla="*/ 46 h 128"/>
                  <a:gd name="T4" fmla="*/ 34 w 220"/>
                  <a:gd name="T5" fmla="*/ 40 h 128"/>
                  <a:gd name="T6" fmla="*/ 48 w 220"/>
                  <a:gd name="T7" fmla="*/ 26 h 128"/>
                  <a:gd name="T8" fmla="*/ 56 w 220"/>
                  <a:gd name="T9" fmla="*/ 14 h 128"/>
                  <a:gd name="T10" fmla="*/ 62 w 220"/>
                  <a:gd name="T11" fmla="*/ 0 h 128"/>
                  <a:gd name="T12" fmla="*/ 70 w 220"/>
                  <a:gd name="T13" fmla="*/ 6 h 128"/>
                  <a:gd name="T14" fmla="*/ 76 w 220"/>
                  <a:gd name="T15" fmla="*/ 20 h 128"/>
                  <a:gd name="T16" fmla="*/ 88 w 220"/>
                  <a:gd name="T17" fmla="*/ 0 h 128"/>
                  <a:gd name="T18" fmla="*/ 104 w 220"/>
                  <a:gd name="T19" fmla="*/ 14 h 128"/>
                  <a:gd name="T20" fmla="*/ 104 w 220"/>
                  <a:gd name="T21" fmla="*/ 26 h 128"/>
                  <a:gd name="T22" fmla="*/ 116 w 220"/>
                  <a:gd name="T23" fmla="*/ 26 h 128"/>
                  <a:gd name="T24" fmla="*/ 122 w 220"/>
                  <a:gd name="T25" fmla="*/ 40 h 128"/>
                  <a:gd name="T26" fmla="*/ 144 w 220"/>
                  <a:gd name="T27" fmla="*/ 40 h 128"/>
                  <a:gd name="T28" fmla="*/ 172 w 220"/>
                  <a:gd name="T29" fmla="*/ 46 h 128"/>
                  <a:gd name="T30" fmla="*/ 184 w 220"/>
                  <a:gd name="T31" fmla="*/ 34 h 128"/>
                  <a:gd name="T32" fmla="*/ 212 w 220"/>
                  <a:gd name="T33" fmla="*/ 26 h 128"/>
                  <a:gd name="T34" fmla="*/ 220 w 220"/>
                  <a:gd name="T35" fmla="*/ 34 h 128"/>
                  <a:gd name="T36" fmla="*/ 212 w 220"/>
                  <a:gd name="T37" fmla="*/ 40 h 128"/>
                  <a:gd name="T38" fmla="*/ 220 w 220"/>
                  <a:gd name="T39" fmla="*/ 54 h 128"/>
                  <a:gd name="T40" fmla="*/ 192 w 220"/>
                  <a:gd name="T41" fmla="*/ 60 h 128"/>
                  <a:gd name="T42" fmla="*/ 178 w 220"/>
                  <a:gd name="T43" fmla="*/ 54 h 128"/>
                  <a:gd name="T44" fmla="*/ 150 w 220"/>
                  <a:gd name="T45" fmla="*/ 68 h 128"/>
                  <a:gd name="T46" fmla="*/ 144 w 220"/>
                  <a:gd name="T47" fmla="*/ 94 h 128"/>
                  <a:gd name="T48" fmla="*/ 136 w 220"/>
                  <a:gd name="T49" fmla="*/ 80 h 128"/>
                  <a:gd name="T50" fmla="*/ 116 w 220"/>
                  <a:gd name="T51" fmla="*/ 94 h 128"/>
                  <a:gd name="T52" fmla="*/ 104 w 220"/>
                  <a:gd name="T53" fmla="*/ 122 h 128"/>
                  <a:gd name="T54" fmla="*/ 76 w 220"/>
                  <a:gd name="T55" fmla="*/ 122 h 128"/>
                  <a:gd name="T56" fmla="*/ 56 w 220"/>
                  <a:gd name="T57" fmla="*/ 116 h 128"/>
                  <a:gd name="T58" fmla="*/ 56 w 220"/>
                  <a:gd name="T59" fmla="*/ 94 h 128"/>
                  <a:gd name="T60" fmla="*/ 56 w 220"/>
                  <a:gd name="T61" fmla="*/ 74 h 128"/>
                  <a:gd name="T62" fmla="*/ 48 w 220"/>
                  <a:gd name="T63" fmla="*/ 74 h 128"/>
                  <a:gd name="T64" fmla="*/ 28 w 220"/>
                  <a:gd name="T65" fmla="*/ 60 h 128"/>
                  <a:gd name="T66" fmla="*/ 14 w 220"/>
                  <a:gd name="T67" fmla="*/ 60 h 128"/>
                  <a:gd name="T68" fmla="*/ 0 w 220"/>
                  <a:gd name="T69" fmla="*/ 6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0" h="128">
                    <a:moveTo>
                      <a:pt x="0" y="68"/>
                    </a:moveTo>
                    <a:lnTo>
                      <a:pt x="0" y="60"/>
                    </a:lnTo>
                    <a:lnTo>
                      <a:pt x="14" y="54"/>
                    </a:lnTo>
                    <a:lnTo>
                      <a:pt x="14" y="46"/>
                    </a:lnTo>
                    <a:lnTo>
                      <a:pt x="20" y="40"/>
                    </a:lnTo>
                    <a:lnTo>
                      <a:pt x="34" y="40"/>
                    </a:lnTo>
                    <a:lnTo>
                      <a:pt x="34" y="34"/>
                    </a:lnTo>
                    <a:lnTo>
                      <a:pt x="48" y="26"/>
                    </a:lnTo>
                    <a:lnTo>
                      <a:pt x="56" y="20"/>
                    </a:lnTo>
                    <a:lnTo>
                      <a:pt x="56" y="14"/>
                    </a:lnTo>
                    <a:lnTo>
                      <a:pt x="56" y="0"/>
                    </a:lnTo>
                    <a:lnTo>
                      <a:pt x="62" y="0"/>
                    </a:lnTo>
                    <a:lnTo>
                      <a:pt x="62" y="6"/>
                    </a:lnTo>
                    <a:lnTo>
                      <a:pt x="70" y="6"/>
                    </a:lnTo>
                    <a:lnTo>
                      <a:pt x="76" y="14"/>
                    </a:lnTo>
                    <a:lnTo>
                      <a:pt x="76" y="20"/>
                    </a:lnTo>
                    <a:lnTo>
                      <a:pt x="82" y="14"/>
                    </a:lnTo>
                    <a:lnTo>
                      <a:pt x="88" y="0"/>
                    </a:lnTo>
                    <a:lnTo>
                      <a:pt x="96" y="6"/>
                    </a:lnTo>
                    <a:lnTo>
                      <a:pt x="104" y="14"/>
                    </a:lnTo>
                    <a:lnTo>
                      <a:pt x="104" y="20"/>
                    </a:lnTo>
                    <a:lnTo>
                      <a:pt x="104" y="26"/>
                    </a:lnTo>
                    <a:lnTo>
                      <a:pt x="110" y="26"/>
                    </a:lnTo>
                    <a:lnTo>
                      <a:pt x="116" y="26"/>
                    </a:lnTo>
                    <a:lnTo>
                      <a:pt x="116" y="34"/>
                    </a:lnTo>
                    <a:lnTo>
                      <a:pt x="122" y="40"/>
                    </a:lnTo>
                    <a:lnTo>
                      <a:pt x="136" y="34"/>
                    </a:lnTo>
                    <a:lnTo>
                      <a:pt x="144" y="40"/>
                    </a:lnTo>
                    <a:lnTo>
                      <a:pt x="144" y="46"/>
                    </a:lnTo>
                    <a:lnTo>
                      <a:pt x="172" y="46"/>
                    </a:lnTo>
                    <a:lnTo>
                      <a:pt x="178" y="40"/>
                    </a:lnTo>
                    <a:lnTo>
                      <a:pt x="184" y="34"/>
                    </a:lnTo>
                    <a:lnTo>
                      <a:pt x="198" y="26"/>
                    </a:lnTo>
                    <a:lnTo>
                      <a:pt x="212" y="26"/>
                    </a:lnTo>
                    <a:lnTo>
                      <a:pt x="220" y="26"/>
                    </a:lnTo>
                    <a:lnTo>
                      <a:pt x="220" y="34"/>
                    </a:lnTo>
                    <a:lnTo>
                      <a:pt x="212" y="34"/>
                    </a:lnTo>
                    <a:lnTo>
                      <a:pt x="212" y="40"/>
                    </a:lnTo>
                    <a:lnTo>
                      <a:pt x="220" y="46"/>
                    </a:lnTo>
                    <a:lnTo>
                      <a:pt x="220" y="54"/>
                    </a:lnTo>
                    <a:lnTo>
                      <a:pt x="206" y="60"/>
                    </a:lnTo>
                    <a:lnTo>
                      <a:pt x="192" y="60"/>
                    </a:lnTo>
                    <a:lnTo>
                      <a:pt x="178" y="60"/>
                    </a:lnTo>
                    <a:lnTo>
                      <a:pt x="178" y="54"/>
                    </a:lnTo>
                    <a:lnTo>
                      <a:pt x="164" y="54"/>
                    </a:lnTo>
                    <a:lnTo>
                      <a:pt x="150" y="68"/>
                    </a:lnTo>
                    <a:lnTo>
                      <a:pt x="150" y="74"/>
                    </a:lnTo>
                    <a:lnTo>
                      <a:pt x="144" y="94"/>
                    </a:lnTo>
                    <a:lnTo>
                      <a:pt x="136" y="88"/>
                    </a:lnTo>
                    <a:lnTo>
                      <a:pt x="136" y="80"/>
                    </a:lnTo>
                    <a:lnTo>
                      <a:pt x="122" y="88"/>
                    </a:lnTo>
                    <a:lnTo>
                      <a:pt x="116" y="94"/>
                    </a:lnTo>
                    <a:lnTo>
                      <a:pt x="110" y="102"/>
                    </a:lnTo>
                    <a:lnTo>
                      <a:pt x="104" y="122"/>
                    </a:lnTo>
                    <a:lnTo>
                      <a:pt x="82" y="128"/>
                    </a:lnTo>
                    <a:lnTo>
                      <a:pt x="76" y="122"/>
                    </a:lnTo>
                    <a:lnTo>
                      <a:pt x="56" y="122"/>
                    </a:lnTo>
                    <a:lnTo>
                      <a:pt x="56" y="116"/>
                    </a:lnTo>
                    <a:lnTo>
                      <a:pt x="62" y="108"/>
                    </a:lnTo>
                    <a:lnTo>
                      <a:pt x="56" y="94"/>
                    </a:lnTo>
                    <a:lnTo>
                      <a:pt x="62" y="88"/>
                    </a:lnTo>
                    <a:lnTo>
                      <a:pt x="56" y="74"/>
                    </a:lnTo>
                    <a:lnTo>
                      <a:pt x="56" y="68"/>
                    </a:lnTo>
                    <a:lnTo>
                      <a:pt x="48" y="74"/>
                    </a:lnTo>
                    <a:lnTo>
                      <a:pt x="34" y="68"/>
                    </a:lnTo>
                    <a:lnTo>
                      <a:pt x="28" y="60"/>
                    </a:lnTo>
                    <a:lnTo>
                      <a:pt x="20" y="60"/>
                    </a:lnTo>
                    <a:lnTo>
                      <a:pt x="14" y="60"/>
                    </a:lnTo>
                    <a:lnTo>
                      <a:pt x="0" y="68"/>
                    </a:lnTo>
                    <a:lnTo>
                      <a:pt x="0" y="68"/>
                    </a:lnTo>
                    <a:lnTo>
                      <a:pt x="0" y="68"/>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6" name="Freeform 10"/>
              <p:cNvSpPr>
                <a:spLocks/>
              </p:cNvSpPr>
              <p:nvPr/>
            </p:nvSpPr>
            <p:spPr bwMode="gray">
              <a:xfrm>
                <a:off x="5424137" y="2276078"/>
                <a:ext cx="101622" cy="63514"/>
              </a:xfrm>
              <a:custGeom>
                <a:avLst/>
                <a:gdLst>
                  <a:gd name="T0" fmla="*/ 22 w 64"/>
                  <a:gd name="T1" fmla="*/ 40 h 40"/>
                  <a:gd name="T2" fmla="*/ 28 w 64"/>
                  <a:gd name="T3" fmla="*/ 34 h 40"/>
                  <a:gd name="T4" fmla="*/ 28 w 64"/>
                  <a:gd name="T5" fmla="*/ 26 h 40"/>
                  <a:gd name="T6" fmla="*/ 42 w 64"/>
                  <a:gd name="T7" fmla="*/ 26 h 40"/>
                  <a:gd name="T8" fmla="*/ 50 w 64"/>
                  <a:gd name="T9" fmla="*/ 26 h 40"/>
                  <a:gd name="T10" fmla="*/ 50 w 64"/>
                  <a:gd name="T11" fmla="*/ 20 h 40"/>
                  <a:gd name="T12" fmla="*/ 56 w 64"/>
                  <a:gd name="T13" fmla="*/ 14 h 40"/>
                  <a:gd name="T14" fmla="*/ 64 w 64"/>
                  <a:gd name="T15" fmla="*/ 6 h 40"/>
                  <a:gd name="T16" fmla="*/ 50 w 64"/>
                  <a:gd name="T17" fmla="*/ 0 h 40"/>
                  <a:gd name="T18" fmla="*/ 28 w 64"/>
                  <a:gd name="T19" fmla="*/ 14 h 40"/>
                  <a:gd name="T20" fmla="*/ 22 w 64"/>
                  <a:gd name="T21" fmla="*/ 0 h 40"/>
                  <a:gd name="T22" fmla="*/ 14 w 64"/>
                  <a:gd name="T23" fmla="*/ 6 h 40"/>
                  <a:gd name="T24" fmla="*/ 14 w 64"/>
                  <a:gd name="T25" fmla="*/ 14 h 40"/>
                  <a:gd name="T26" fmla="*/ 14 w 64"/>
                  <a:gd name="T27" fmla="*/ 20 h 40"/>
                  <a:gd name="T28" fmla="*/ 0 w 64"/>
                  <a:gd name="T29" fmla="*/ 26 h 40"/>
                  <a:gd name="T30" fmla="*/ 6 w 64"/>
                  <a:gd name="T31" fmla="*/ 26 h 40"/>
                  <a:gd name="T32" fmla="*/ 14 w 64"/>
                  <a:gd name="T33" fmla="*/ 26 h 40"/>
                  <a:gd name="T34" fmla="*/ 22 w 64"/>
                  <a:gd name="T35" fmla="*/ 34 h 40"/>
                  <a:gd name="T36" fmla="*/ 22 w 64"/>
                  <a:gd name="T37" fmla="*/ 40 h 40"/>
                  <a:gd name="T38" fmla="*/ 22 w 64"/>
                  <a:gd name="T39" fmla="*/ 40 h 40"/>
                  <a:gd name="T40" fmla="*/ 22 w 64"/>
                  <a:gd name="T4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40">
                    <a:moveTo>
                      <a:pt x="22" y="40"/>
                    </a:moveTo>
                    <a:lnTo>
                      <a:pt x="28" y="34"/>
                    </a:lnTo>
                    <a:lnTo>
                      <a:pt x="28" y="26"/>
                    </a:lnTo>
                    <a:lnTo>
                      <a:pt x="42" y="26"/>
                    </a:lnTo>
                    <a:lnTo>
                      <a:pt x="50" y="26"/>
                    </a:lnTo>
                    <a:lnTo>
                      <a:pt x="50" y="20"/>
                    </a:lnTo>
                    <a:lnTo>
                      <a:pt x="56" y="14"/>
                    </a:lnTo>
                    <a:lnTo>
                      <a:pt x="64" y="6"/>
                    </a:lnTo>
                    <a:lnTo>
                      <a:pt x="50" y="0"/>
                    </a:lnTo>
                    <a:lnTo>
                      <a:pt x="28" y="14"/>
                    </a:lnTo>
                    <a:lnTo>
                      <a:pt x="22" y="0"/>
                    </a:lnTo>
                    <a:lnTo>
                      <a:pt x="14" y="6"/>
                    </a:lnTo>
                    <a:lnTo>
                      <a:pt x="14" y="14"/>
                    </a:lnTo>
                    <a:lnTo>
                      <a:pt x="14" y="20"/>
                    </a:lnTo>
                    <a:lnTo>
                      <a:pt x="0" y="26"/>
                    </a:lnTo>
                    <a:lnTo>
                      <a:pt x="6" y="26"/>
                    </a:lnTo>
                    <a:lnTo>
                      <a:pt x="14" y="26"/>
                    </a:lnTo>
                    <a:lnTo>
                      <a:pt x="22" y="34"/>
                    </a:lnTo>
                    <a:lnTo>
                      <a:pt x="22" y="40"/>
                    </a:lnTo>
                    <a:lnTo>
                      <a:pt x="22" y="40"/>
                    </a:lnTo>
                    <a:lnTo>
                      <a:pt x="22" y="40"/>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7" name="Freeform 11"/>
              <p:cNvSpPr>
                <a:spLocks/>
              </p:cNvSpPr>
              <p:nvPr/>
            </p:nvSpPr>
            <p:spPr bwMode="gray">
              <a:xfrm>
                <a:off x="5459069" y="2222092"/>
                <a:ext cx="44460" cy="41284"/>
              </a:xfrm>
              <a:custGeom>
                <a:avLst/>
                <a:gdLst>
                  <a:gd name="T0" fmla="*/ 14 w 28"/>
                  <a:gd name="T1" fmla="*/ 26 h 26"/>
                  <a:gd name="T2" fmla="*/ 14 w 28"/>
                  <a:gd name="T3" fmla="*/ 14 h 26"/>
                  <a:gd name="T4" fmla="*/ 8 w 28"/>
                  <a:gd name="T5" fmla="*/ 14 h 26"/>
                  <a:gd name="T6" fmla="*/ 0 w 28"/>
                  <a:gd name="T7" fmla="*/ 14 h 26"/>
                  <a:gd name="T8" fmla="*/ 0 w 28"/>
                  <a:gd name="T9" fmla="*/ 8 h 26"/>
                  <a:gd name="T10" fmla="*/ 8 w 28"/>
                  <a:gd name="T11" fmla="*/ 8 h 26"/>
                  <a:gd name="T12" fmla="*/ 14 w 28"/>
                  <a:gd name="T13" fmla="*/ 0 h 26"/>
                  <a:gd name="T14" fmla="*/ 28 w 28"/>
                  <a:gd name="T15" fmla="*/ 8 h 26"/>
                  <a:gd name="T16" fmla="*/ 28 w 28"/>
                  <a:gd name="T17" fmla="*/ 14 h 26"/>
                  <a:gd name="T18" fmla="*/ 20 w 28"/>
                  <a:gd name="T19" fmla="*/ 20 h 26"/>
                  <a:gd name="T20" fmla="*/ 14 w 28"/>
                  <a:gd name="T21" fmla="*/ 26 h 26"/>
                  <a:gd name="T22" fmla="*/ 14 w 28"/>
                  <a:gd name="T23" fmla="*/ 26 h 26"/>
                  <a:gd name="T24" fmla="*/ 14 w 28"/>
                  <a:gd name="T2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6">
                    <a:moveTo>
                      <a:pt x="14" y="26"/>
                    </a:moveTo>
                    <a:lnTo>
                      <a:pt x="14" y="14"/>
                    </a:lnTo>
                    <a:lnTo>
                      <a:pt x="8" y="14"/>
                    </a:lnTo>
                    <a:lnTo>
                      <a:pt x="0" y="14"/>
                    </a:lnTo>
                    <a:lnTo>
                      <a:pt x="0" y="8"/>
                    </a:lnTo>
                    <a:lnTo>
                      <a:pt x="8" y="8"/>
                    </a:lnTo>
                    <a:lnTo>
                      <a:pt x="14" y="0"/>
                    </a:lnTo>
                    <a:lnTo>
                      <a:pt x="28" y="8"/>
                    </a:lnTo>
                    <a:lnTo>
                      <a:pt x="28" y="14"/>
                    </a:lnTo>
                    <a:lnTo>
                      <a:pt x="20" y="20"/>
                    </a:lnTo>
                    <a:lnTo>
                      <a:pt x="14" y="26"/>
                    </a:lnTo>
                    <a:lnTo>
                      <a:pt x="14" y="26"/>
                    </a:lnTo>
                    <a:lnTo>
                      <a:pt x="14" y="26"/>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8" name="Freeform 12"/>
              <p:cNvSpPr>
                <a:spLocks/>
              </p:cNvSpPr>
              <p:nvPr/>
            </p:nvSpPr>
            <p:spPr bwMode="gray">
              <a:xfrm>
                <a:off x="6556276" y="780321"/>
                <a:ext cx="79393" cy="95271"/>
              </a:xfrm>
              <a:custGeom>
                <a:avLst/>
                <a:gdLst>
                  <a:gd name="T0" fmla="*/ 42 w 50"/>
                  <a:gd name="T1" fmla="*/ 60 h 60"/>
                  <a:gd name="T2" fmla="*/ 28 w 50"/>
                  <a:gd name="T3" fmla="*/ 54 h 60"/>
                  <a:gd name="T4" fmla="*/ 14 w 50"/>
                  <a:gd name="T5" fmla="*/ 46 h 60"/>
                  <a:gd name="T6" fmla="*/ 14 w 50"/>
                  <a:gd name="T7" fmla="*/ 40 h 60"/>
                  <a:gd name="T8" fmla="*/ 0 w 50"/>
                  <a:gd name="T9" fmla="*/ 32 h 60"/>
                  <a:gd name="T10" fmla="*/ 0 w 50"/>
                  <a:gd name="T11" fmla="*/ 18 h 60"/>
                  <a:gd name="T12" fmla="*/ 6 w 50"/>
                  <a:gd name="T13" fmla="*/ 6 h 60"/>
                  <a:gd name="T14" fmla="*/ 6 w 50"/>
                  <a:gd name="T15" fmla="*/ 0 h 60"/>
                  <a:gd name="T16" fmla="*/ 14 w 50"/>
                  <a:gd name="T17" fmla="*/ 0 h 60"/>
                  <a:gd name="T18" fmla="*/ 28 w 50"/>
                  <a:gd name="T19" fmla="*/ 6 h 60"/>
                  <a:gd name="T20" fmla="*/ 42 w 50"/>
                  <a:gd name="T21" fmla="*/ 6 h 60"/>
                  <a:gd name="T22" fmla="*/ 50 w 50"/>
                  <a:gd name="T23" fmla="*/ 18 h 60"/>
                  <a:gd name="T24" fmla="*/ 50 w 50"/>
                  <a:gd name="T25" fmla="*/ 26 h 60"/>
                  <a:gd name="T26" fmla="*/ 50 w 50"/>
                  <a:gd name="T27" fmla="*/ 32 h 60"/>
                  <a:gd name="T28" fmla="*/ 42 w 50"/>
                  <a:gd name="T29" fmla="*/ 46 h 60"/>
                  <a:gd name="T30" fmla="*/ 50 w 50"/>
                  <a:gd name="T31" fmla="*/ 54 h 60"/>
                  <a:gd name="T32" fmla="*/ 42 w 50"/>
                  <a:gd name="T33" fmla="*/ 60 h 60"/>
                  <a:gd name="T34" fmla="*/ 42 w 50"/>
                  <a:gd name="T35" fmla="*/ 60 h 60"/>
                  <a:gd name="T36" fmla="*/ 42 w 50"/>
                  <a:gd name="T3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 h="60">
                    <a:moveTo>
                      <a:pt x="42" y="60"/>
                    </a:moveTo>
                    <a:lnTo>
                      <a:pt x="28" y="54"/>
                    </a:lnTo>
                    <a:lnTo>
                      <a:pt x="14" y="46"/>
                    </a:lnTo>
                    <a:lnTo>
                      <a:pt x="14" y="40"/>
                    </a:lnTo>
                    <a:lnTo>
                      <a:pt x="0" y="32"/>
                    </a:lnTo>
                    <a:lnTo>
                      <a:pt x="0" y="18"/>
                    </a:lnTo>
                    <a:lnTo>
                      <a:pt x="6" y="6"/>
                    </a:lnTo>
                    <a:lnTo>
                      <a:pt x="6" y="0"/>
                    </a:lnTo>
                    <a:lnTo>
                      <a:pt x="14" y="0"/>
                    </a:lnTo>
                    <a:lnTo>
                      <a:pt x="28" y="6"/>
                    </a:lnTo>
                    <a:lnTo>
                      <a:pt x="42" y="6"/>
                    </a:lnTo>
                    <a:lnTo>
                      <a:pt x="50" y="18"/>
                    </a:lnTo>
                    <a:lnTo>
                      <a:pt x="50" y="26"/>
                    </a:lnTo>
                    <a:lnTo>
                      <a:pt x="50" y="32"/>
                    </a:lnTo>
                    <a:lnTo>
                      <a:pt x="42" y="46"/>
                    </a:lnTo>
                    <a:lnTo>
                      <a:pt x="50" y="54"/>
                    </a:lnTo>
                    <a:lnTo>
                      <a:pt x="42" y="60"/>
                    </a:lnTo>
                    <a:lnTo>
                      <a:pt x="42" y="60"/>
                    </a:lnTo>
                    <a:lnTo>
                      <a:pt x="42" y="6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9" name="Freeform 13"/>
              <p:cNvSpPr>
                <a:spLocks/>
              </p:cNvSpPr>
              <p:nvPr>
                <p:custDataLst>
                  <p:tags r:id="rId128"/>
                </p:custDataLst>
              </p:nvPr>
            </p:nvSpPr>
            <p:spPr bwMode="gray">
              <a:xfrm>
                <a:off x="5655963" y="484981"/>
                <a:ext cx="2697762" cy="3404356"/>
              </a:xfrm>
              <a:custGeom>
                <a:avLst/>
                <a:gdLst>
                  <a:gd name="T0" fmla="*/ 134 w 1699"/>
                  <a:gd name="T1" fmla="*/ 1276 h 2144"/>
                  <a:gd name="T2" fmla="*/ 253 w 1699"/>
                  <a:gd name="T3" fmla="*/ 1318 h 2144"/>
                  <a:gd name="T4" fmla="*/ 327 w 1699"/>
                  <a:gd name="T5" fmla="*/ 1434 h 2144"/>
                  <a:gd name="T6" fmla="*/ 321 w 1699"/>
                  <a:gd name="T7" fmla="*/ 1510 h 2144"/>
                  <a:gd name="T8" fmla="*/ 437 w 1699"/>
                  <a:gd name="T9" fmla="*/ 1544 h 2144"/>
                  <a:gd name="T10" fmla="*/ 533 w 1699"/>
                  <a:gd name="T11" fmla="*/ 1626 h 2144"/>
                  <a:gd name="T12" fmla="*/ 657 w 1699"/>
                  <a:gd name="T13" fmla="*/ 1666 h 2144"/>
                  <a:gd name="T14" fmla="*/ 768 w 1699"/>
                  <a:gd name="T15" fmla="*/ 1674 h 2144"/>
                  <a:gd name="T16" fmla="*/ 794 w 1699"/>
                  <a:gd name="T17" fmla="*/ 1762 h 2144"/>
                  <a:gd name="T18" fmla="*/ 768 w 1699"/>
                  <a:gd name="T19" fmla="*/ 1852 h 2144"/>
                  <a:gd name="T20" fmla="*/ 717 w 1699"/>
                  <a:gd name="T21" fmla="*/ 1926 h 2144"/>
                  <a:gd name="T22" fmla="*/ 717 w 1699"/>
                  <a:gd name="T23" fmla="*/ 1988 h 2144"/>
                  <a:gd name="T24" fmla="*/ 802 w 1699"/>
                  <a:gd name="T25" fmla="*/ 2062 h 2144"/>
                  <a:gd name="T26" fmla="*/ 952 w 1699"/>
                  <a:gd name="T27" fmla="*/ 2096 h 2144"/>
                  <a:gd name="T28" fmla="*/ 1122 w 1699"/>
                  <a:gd name="T29" fmla="*/ 2118 h 2144"/>
                  <a:gd name="T30" fmla="*/ 1226 w 1699"/>
                  <a:gd name="T31" fmla="*/ 2118 h 2144"/>
                  <a:gd name="T32" fmla="*/ 1383 w 1699"/>
                  <a:gd name="T33" fmla="*/ 2118 h 2144"/>
                  <a:gd name="T34" fmla="*/ 1274 w 1699"/>
                  <a:gd name="T35" fmla="*/ 1966 h 2144"/>
                  <a:gd name="T36" fmla="*/ 1232 w 1699"/>
                  <a:gd name="T37" fmla="*/ 1838 h 2144"/>
                  <a:gd name="T38" fmla="*/ 1266 w 1699"/>
                  <a:gd name="T39" fmla="*/ 1734 h 2144"/>
                  <a:gd name="T40" fmla="*/ 1130 w 1699"/>
                  <a:gd name="T41" fmla="*/ 1660 h 2144"/>
                  <a:gd name="T42" fmla="*/ 1122 w 1699"/>
                  <a:gd name="T43" fmla="*/ 1496 h 2144"/>
                  <a:gd name="T44" fmla="*/ 1190 w 1699"/>
                  <a:gd name="T45" fmla="*/ 1420 h 2144"/>
                  <a:gd name="T46" fmla="*/ 1308 w 1699"/>
                  <a:gd name="T47" fmla="*/ 1346 h 2144"/>
                  <a:gd name="T48" fmla="*/ 1411 w 1699"/>
                  <a:gd name="T49" fmla="*/ 1326 h 2144"/>
                  <a:gd name="T50" fmla="*/ 1535 w 1699"/>
                  <a:gd name="T51" fmla="*/ 1284 h 2144"/>
                  <a:gd name="T52" fmla="*/ 1649 w 1699"/>
                  <a:gd name="T53" fmla="*/ 1222 h 2144"/>
                  <a:gd name="T54" fmla="*/ 1581 w 1699"/>
                  <a:gd name="T55" fmla="*/ 1134 h 2144"/>
                  <a:gd name="T56" fmla="*/ 1487 w 1699"/>
                  <a:gd name="T57" fmla="*/ 1018 h 2144"/>
                  <a:gd name="T58" fmla="*/ 1391 w 1699"/>
                  <a:gd name="T59" fmla="*/ 992 h 2144"/>
                  <a:gd name="T60" fmla="*/ 1362 w 1699"/>
                  <a:gd name="T61" fmla="*/ 936 h 2144"/>
                  <a:gd name="T62" fmla="*/ 1300 w 1699"/>
                  <a:gd name="T63" fmla="*/ 794 h 2144"/>
                  <a:gd name="T64" fmla="*/ 1218 w 1699"/>
                  <a:gd name="T65" fmla="*/ 630 h 2144"/>
                  <a:gd name="T66" fmla="*/ 1102 w 1699"/>
                  <a:gd name="T67" fmla="*/ 458 h 2144"/>
                  <a:gd name="T68" fmla="*/ 1062 w 1699"/>
                  <a:gd name="T69" fmla="*/ 322 h 2144"/>
                  <a:gd name="T70" fmla="*/ 1068 w 1699"/>
                  <a:gd name="T71" fmla="*/ 62 h 2144"/>
                  <a:gd name="T72" fmla="*/ 966 w 1699"/>
                  <a:gd name="T73" fmla="*/ 36 h 2144"/>
                  <a:gd name="T74" fmla="*/ 864 w 1699"/>
                  <a:gd name="T75" fmla="*/ 68 h 2144"/>
                  <a:gd name="T76" fmla="*/ 822 w 1699"/>
                  <a:gd name="T77" fmla="*/ 124 h 2144"/>
                  <a:gd name="T78" fmla="*/ 733 w 1699"/>
                  <a:gd name="T79" fmla="*/ 240 h 2144"/>
                  <a:gd name="T80" fmla="*/ 697 w 1699"/>
                  <a:gd name="T81" fmla="*/ 212 h 2144"/>
                  <a:gd name="T82" fmla="*/ 635 w 1699"/>
                  <a:gd name="T83" fmla="*/ 322 h 2144"/>
                  <a:gd name="T84" fmla="*/ 533 w 1699"/>
                  <a:gd name="T85" fmla="*/ 348 h 2144"/>
                  <a:gd name="T86" fmla="*/ 471 w 1699"/>
                  <a:gd name="T87" fmla="*/ 302 h 2144"/>
                  <a:gd name="T88" fmla="*/ 539 w 1699"/>
                  <a:gd name="T89" fmla="*/ 410 h 2144"/>
                  <a:gd name="T90" fmla="*/ 505 w 1699"/>
                  <a:gd name="T91" fmla="*/ 458 h 2144"/>
                  <a:gd name="T92" fmla="*/ 465 w 1699"/>
                  <a:gd name="T93" fmla="*/ 582 h 2144"/>
                  <a:gd name="T94" fmla="*/ 443 w 1699"/>
                  <a:gd name="T95" fmla="*/ 622 h 2144"/>
                  <a:gd name="T96" fmla="*/ 389 w 1699"/>
                  <a:gd name="T97" fmla="*/ 636 h 2144"/>
                  <a:gd name="T98" fmla="*/ 287 w 1699"/>
                  <a:gd name="T99" fmla="*/ 642 h 2144"/>
                  <a:gd name="T100" fmla="*/ 225 w 1699"/>
                  <a:gd name="T101" fmla="*/ 540 h 2144"/>
                  <a:gd name="T102" fmla="*/ 185 w 1699"/>
                  <a:gd name="T103" fmla="*/ 480 h 2144"/>
                  <a:gd name="T104" fmla="*/ 327 w 1699"/>
                  <a:gd name="T105" fmla="*/ 506 h 2144"/>
                  <a:gd name="T106" fmla="*/ 437 w 1699"/>
                  <a:gd name="T107" fmla="*/ 466 h 2144"/>
                  <a:gd name="T108" fmla="*/ 349 w 1699"/>
                  <a:gd name="T109" fmla="*/ 362 h 2144"/>
                  <a:gd name="T110" fmla="*/ 151 w 1699"/>
                  <a:gd name="T111" fmla="*/ 322 h 2144"/>
                  <a:gd name="T112" fmla="*/ 14 w 1699"/>
                  <a:gd name="T113" fmla="*/ 366 h 2144"/>
                  <a:gd name="T114" fmla="*/ 88 w 1699"/>
                  <a:gd name="T115" fmla="*/ 614 h 2144"/>
                  <a:gd name="T116" fmla="*/ 185 w 1699"/>
                  <a:gd name="T117" fmla="*/ 792 h 2144"/>
                  <a:gd name="T118" fmla="*/ 134 w 1699"/>
                  <a:gd name="T119" fmla="*/ 984 h 2144"/>
                  <a:gd name="T120" fmla="*/ 134 w 1699"/>
                  <a:gd name="T121" fmla="*/ 1012 h 2144"/>
                  <a:gd name="T122" fmla="*/ 108 w 1699"/>
                  <a:gd name="T123" fmla="*/ 1106 h 2144"/>
                  <a:gd name="T124" fmla="*/ 100 w 1699"/>
                  <a:gd name="T125" fmla="*/ 1196 h 2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99" h="2144">
                    <a:moveTo>
                      <a:pt x="100" y="1196"/>
                    </a:moveTo>
                    <a:lnTo>
                      <a:pt x="100" y="1202"/>
                    </a:lnTo>
                    <a:lnTo>
                      <a:pt x="108" y="1202"/>
                    </a:lnTo>
                    <a:lnTo>
                      <a:pt x="108" y="1208"/>
                    </a:lnTo>
                    <a:lnTo>
                      <a:pt x="114" y="1202"/>
                    </a:lnTo>
                    <a:lnTo>
                      <a:pt x="122" y="1202"/>
                    </a:lnTo>
                    <a:lnTo>
                      <a:pt x="122" y="1216"/>
                    </a:lnTo>
                    <a:lnTo>
                      <a:pt x="122" y="1230"/>
                    </a:lnTo>
                    <a:lnTo>
                      <a:pt x="108" y="1230"/>
                    </a:lnTo>
                    <a:lnTo>
                      <a:pt x="114" y="1244"/>
                    </a:lnTo>
                    <a:lnTo>
                      <a:pt x="122" y="1244"/>
                    </a:lnTo>
                    <a:lnTo>
                      <a:pt x="128" y="1244"/>
                    </a:lnTo>
                    <a:lnTo>
                      <a:pt x="128" y="1250"/>
                    </a:lnTo>
                    <a:lnTo>
                      <a:pt x="134" y="1262"/>
                    </a:lnTo>
                    <a:lnTo>
                      <a:pt x="134" y="1276"/>
                    </a:lnTo>
                    <a:lnTo>
                      <a:pt x="143" y="1290"/>
                    </a:lnTo>
                    <a:lnTo>
                      <a:pt x="151" y="1290"/>
                    </a:lnTo>
                    <a:lnTo>
                      <a:pt x="157" y="1290"/>
                    </a:lnTo>
                    <a:lnTo>
                      <a:pt x="157" y="1298"/>
                    </a:lnTo>
                    <a:lnTo>
                      <a:pt x="171" y="1298"/>
                    </a:lnTo>
                    <a:lnTo>
                      <a:pt x="185" y="1298"/>
                    </a:lnTo>
                    <a:lnTo>
                      <a:pt x="197" y="1298"/>
                    </a:lnTo>
                    <a:lnTo>
                      <a:pt x="205" y="1304"/>
                    </a:lnTo>
                    <a:lnTo>
                      <a:pt x="205" y="1312"/>
                    </a:lnTo>
                    <a:lnTo>
                      <a:pt x="211" y="1312"/>
                    </a:lnTo>
                    <a:lnTo>
                      <a:pt x="225" y="1304"/>
                    </a:lnTo>
                    <a:lnTo>
                      <a:pt x="225" y="1298"/>
                    </a:lnTo>
                    <a:lnTo>
                      <a:pt x="233" y="1298"/>
                    </a:lnTo>
                    <a:lnTo>
                      <a:pt x="245" y="1304"/>
                    </a:lnTo>
                    <a:lnTo>
                      <a:pt x="253" y="1318"/>
                    </a:lnTo>
                    <a:lnTo>
                      <a:pt x="265" y="1318"/>
                    </a:lnTo>
                    <a:lnTo>
                      <a:pt x="265" y="1326"/>
                    </a:lnTo>
                    <a:lnTo>
                      <a:pt x="259" y="1332"/>
                    </a:lnTo>
                    <a:lnTo>
                      <a:pt x="259" y="1338"/>
                    </a:lnTo>
                    <a:lnTo>
                      <a:pt x="273" y="1360"/>
                    </a:lnTo>
                    <a:lnTo>
                      <a:pt x="281" y="1380"/>
                    </a:lnTo>
                    <a:lnTo>
                      <a:pt x="265" y="1386"/>
                    </a:lnTo>
                    <a:lnTo>
                      <a:pt x="287" y="1386"/>
                    </a:lnTo>
                    <a:lnTo>
                      <a:pt x="287" y="1394"/>
                    </a:lnTo>
                    <a:lnTo>
                      <a:pt x="287" y="1400"/>
                    </a:lnTo>
                    <a:lnTo>
                      <a:pt x="307" y="1406"/>
                    </a:lnTo>
                    <a:lnTo>
                      <a:pt x="315" y="1406"/>
                    </a:lnTo>
                    <a:lnTo>
                      <a:pt x="327" y="1414"/>
                    </a:lnTo>
                    <a:lnTo>
                      <a:pt x="327" y="1428"/>
                    </a:lnTo>
                    <a:lnTo>
                      <a:pt x="327" y="1434"/>
                    </a:lnTo>
                    <a:lnTo>
                      <a:pt x="341" y="1434"/>
                    </a:lnTo>
                    <a:lnTo>
                      <a:pt x="349" y="1434"/>
                    </a:lnTo>
                    <a:lnTo>
                      <a:pt x="361" y="1434"/>
                    </a:lnTo>
                    <a:lnTo>
                      <a:pt x="361" y="1448"/>
                    </a:lnTo>
                    <a:lnTo>
                      <a:pt x="375" y="1448"/>
                    </a:lnTo>
                    <a:lnTo>
                      <a:pt x="383" y="1462"/>
                    </a:lnTo>
                    <a:lnTo>
                      <a:pt x="375" y="1468"/>
                    </a:lnTo>
                    <a:lnTo>
                      <a:pt x="369" y="1476"/>
                    </a:lnTo>
                    <a:lnTo>
                      <a:pt x="361" y="1482"/>
                    </a:lnTo>
                    <a:lnTo>
                      <a:pt x="349" y="1490"/>
                    </a:lnTo>
                    <a:lnTo>
                      <a:pt x="341" y="1496"/>
                    </a:lnTo>
                    <a:lnTo>
                      <a:pt x="327" y="1490"/>
                    </a:lnTo>
                    <a:lnTo>
                      <a:pt x="321" y="1490"/>
                    </a:lnTo>
                    <a:lnTo>
                      <a:pt x="321" y="1496"/>
                    </a:lnTo>
                    <a:lnTo>
                      <a:pt x="321" y="1510"/>
                    </a:lnTo>
                    <a:lnTo>
                      <a:pt x="321" y="1516"/>
                    </a:lnTo>
                    <a:lnTo>
                      <a:pt x="327" y="1530"/>
                    </a:lnTo>
                    <a:lnTo>
                      <a:pt x="335" y="1544"/>
                    </a:lnTo>
                    <a:lnTo>
                      <a:pt x="335" y="1552"/>
                    </a:lnTo>
                    <a:lnTo>
                      <a:pt x="341" y="1558"/>
                    </a:lnTo>
                    <a:lnTo>
                      <a:pt x="355" y="1564"/>
                    </a:lnTo>
                    <a:lnTo>
                      <a:pt x="355" y="1558"/>
                    </a:lnTo>
                    <a:lnTo>
                      <a:pt x="369" y="1552"/>
                    </a:lnTo>
                    <a:lnTo>
                      <a:pt x="375" y="1558"/>
                    </a:lnTo>
                    <a:lnTo>
                      <a:pt x="389" y="1552"/>
                    </a:lnTo>
                    <a:lnTo>
                      <a:pt x="397" y="1552"/>
                    </a:lnTo>
                    <a:lnTo>
                      <a:pt x="403" y="1544"/>
                    </a:lnTo>
                    <a:lnTo>
                      <a:pt x="409" y="1544"/>
                    </a:lnTo>
                    <a:lnTo>
                      <a:pt x="423" y="1552"/>
                    </a:lnTo>
                    <a:lnTo>
                      <a:pt x="437" y="1544"/>
                    </a:lnTo>
                    <a:lnTo>
                      <a:pt x="443" y="1544"/>
                    </a:lnTo>
                    <a:lnTo>
                      <a:pt x="451" y="1552"/>
                    </a:lnTo>
                    <a:lnTo>
                      <a:pt x="459" y="1564"/>
                    </a:lnTo>
                    <a:lnTo>
                      <a:pt x="465" y="1570"/>
                    </a:lnTo>
                    <a:lnTo>
                      <a:pt x="465" y="1584"/>
                    </a:lnTo>
                    <a:lnTo>
                      <a:pt x="465" y="1598"/>
                    </a:lnTo>
                    <a:lnTo>
                      <a:pt x="465" y="1606"/>
                    </a:lnTo>
                    <a:lnTo>
                      <a:pt x="479" y="1606"/>
                    </a:lnTo>
                    <a:lnTo>
                      <a:pt x="499" y="1606"/>
                    </a:lnTo>
                    <a:lnTo>
                      <a:pt x="505" y="1598"/>
                    </a:lnTo>
                    <a:lnTo>
                      <a:pt x="511" y="1598"/>
                    </a:lnTo>
                    <a:lnTo>
                      <a:pt x="511" y="1606"/>
                    </a:lnTo>
                    <a:lnTo>
                      <a:pt x="521" y="1620"/>
                    </a:lnTo>
                    <a:lnTo>
                      <a:pt x="533" y="1620"/>
                    </a:lnTo>
                    <a:lnTo>
                      <a:pt x="533" y="1626"/>
                    </a:lnTo>
                    <a:lnTo>
                      <a:pt x="539" y="1646"/>
                    </a:lnTo>
                    <a:lnTo>
                      <a:pt x="539" y="1652"/>
                    </a:lnTo>
                    <a:lnTo>
                      <a:pt x="547" y="1652"/>
                    </a:lnTo>
                    <a:lnTo>
                      <a:pt x="561" y="1652"/>
                    </a:lnTo>
                    <a:lnTo>
                      <a:pt x="567" y="1652"/>
                    </a:lnTo>
                    <a:lnTo>
                      <a:pt x="573" y="1660"/>
                    </a:lnTo>
                    <a:lnTo>
                      <a:pt x="581" y="1652"/>
                    </a:lnTo>
                    <a:lnTo>
                      <a:pt x="587" y="1660"/>
                    </a:lnTo>
                    <a:lnTo>
                      <a:pt x="595" y="1660"/>
                    </a:lnTo>
                    <a:lnTo>
                      <a:pt x="601" y="1652"/>
                    </a:lnTo>
                    <a:lnTo>
                      <a:pt x="615" y="1640"/>
                    </a:lnTo>
                    <a:lnTo>
                      <a:pt x="629" y="1640"/>
                    </a:lnTo>
                    <a:lnTo>
                      <a:pt x="629" y="1646"/>
                    </a:lnTo>
                    <a:lnTo>
                      <a:pt x="635" y="1652"/>
                    </a:lnTo>
                    <a:lnTo>
                      <a:pt x="657" y="1666"/>
                    </a:lnTo>
                    <a:lnTo>
                      <a:pt x="671" y="1660"/>
                    </a:lnTo>
                    <a:lnTo>
                      <a:pt x="671" y="1652"/>
                    </a:lnTo>
                    <a:lnTo>
                      <a:pt x="677" y="1660"/>
                    </a:lnTo>
                    <a:lnTo>
                      <a:pt x="683" y="1666"/>
                    </a:lnTo>
                    <a:lnTo>
                      <a:pt x="697" y="1660"/>
                    </a:lnTo>
                    <a:lnTo>
                      <a:pt x="697" y="1666"/>
                    </a:lnTo>
                    <a:lnTo>
                      <a:pt x="711" y="1666"/>
                    </a:lnTo>
                    <a:lnTo>
                      <a:pt x="711" y="1660"/>
                    </a:lnTo>
                    <a:lnTo>
                      <a:pt x="725" y="1660"/>
                    </a:lnTo>
                    <a:lnTo>
                      <a:pt x="733" y="1660"/>
                    </a:lnTo>
                    <a:lnTo>
                      <a:pt x="733" y="1666"/>
                    </a:lnTo>
                    <a:lnTo>
                      <a:pt x="739" y="1674"/>
                    </a:lnTo>
                    <a:lnTo>
                      <a:pt x="739" y="1666"/>
                    </a:lnTo>
                    <a:lnTo>
                      <a:pt x="751" y="1666"/>
                    </a:lnTo>
                    <a:lnTo>
                      <a:pt x="768" y="1674"/>
                    </a:lnTo>
                    <a:lnTo>
                      <a:pt x="780" y="1674"/>
                    </a:lnTo>
                    <a:lnTo>
                      <a:pt x="788" y="1666"/>
                    </a:lnTo>
                    <a:lnTo>
                      <a:pt x="794" y="1666"/>
                    </a:lnTo>
                    <a:lnTo>
                      <a:pt x="794" y="1688"/>
                    </a:lnTo>
                    <a:lnTo>
                      <a:pt x="788" y="1694"/>
                    </a:lnTo>
                    <a:lnTo>
                      <a:pt x="774" y="1700"/>
                    </a:lnTo>
                    <a:lnTo>
                      <a:pt x="768" y="1708"/>
                    </a:lnTo>
                    <a:lnTo>
                      <a:pt x="774" y="1714"/>
                    </a:lnTo>
                    <a:lnTo>
                      <a:pt x="788" y="1714"/>
                    </a:lnTo>
                    <a:lnTo>
                      <a:pt x="788" y="1720"/>
                    </a:lnTo>
                    <a:lnTo>
                      <a:pt x="780" y="1728"/>
                    </a:lnTo>
                    <a:lnTo>
                      <a:pt x="774" y="1734"/>
                    </a:lnTo>
                    <a:lnTo>
                      <a:pt x="774" y="1740"/>
                    </a:lnTo>
                    <a:lnTo>
                      <a:pt x="780" y="1740"/>
                    </a:lnTo>
                    <a:lnTo>
                      <a:pt x="794" y="1762"/>
                    </a:lnTo>
                    <a:lnTo>
                      <a:pt x="794" y="1782"/>
                    </a:lnTo>
                    <a:lnTo>
                      <a:pt x="788" y="1804"/>
                    </a:lnTo>
                    <a:lnTo>
                      <a:pt x="774" y="1804"/>
                    </a:lnTo>
                    <a:lnTo>
                      <a:pt x="751" y="1804"/>
                    </a:lnTo>
                    <a:lnTo>
                      <a:pt x="745" y="1810"/>
                    </a:lnTo>
                    <a:lnTo>
                      <a:pt x="739" y="1830"/>
                    </a:lnTo>
                    <a:lnTo>
                      <a:pt x="717" y="1838"/>
                    </a:lnTo>
                    <a:lnTo>
                      <a:pt x="717" y="1870"/>
                    </a:lnTo>
                    <a:lnTo>
                      <a:pt x="725" y="1864"/>
                    </a:lnTo>
                    <a:lnTo>
                      <a:pt x="733" y="1864"/>
                    </a:lnTo>
                    <a:lnTo>
                      <a:pt x="739" y="1858"/>
                    </a:lnTo>
                    <a:lnTo>
                      <a:pt x="739" y="1870"/>
                    </a:lnTo>
                    <a:lnTo>
                      <a:pt x="745" y="1870"/>
                    </a:lnTo>
                    <a:lnTo>
                      <a:pt x="760" y="1858"/>
                    </a:lnTo>
                    <a:lnTo>
                      <a:pt x="768" y="1852"/>
                    </a:lnTo>
                    <a:lnTo>
                      <a:pt x="780" y="1852"/>
                    </a:lnTo>
                    <a:lnTo>
                      <a:pt x="780" y="1864"/>
                    </a:lnTo>
                    <a:lnTo>
                      <a:pt x="780" y="1870"/>
                    </a:lnTo>
                    <a:lnTo>
                      <a:pt x="768" y="1878"/>
                    </a:lnTo>
                    <a:lnTo>
                      <a:pt x="751" y="1884"/>
                    </a:lnTo>
                    <a:lnTo>
                      <a:pt x="745" y="1892"/>
                    </a:lnTo>
                    <a:lnTo>
                      <a:pt x="751" y="1898"/>
                    </a:lnTo>
                    <a:lnTo>
                      <a:pt x="760" y="1906"/>
                    </a:lnTo>
                    <a:lnTo>
                      <a:pt x="745" y="1912"/>
                    </a:lnTo>
                    <a:lnTo>
                      <a:pt x="733" y="1906"/>
                    </a:lnTo>
                    <a:lnTo>
                      <a:pt x="725" y="1906"/>
                    </a:lnTo>
                    <a:lnTo>
                      <a:pt x="717" y="1912"/>
                    </a:lnTo>
                    <a:lnTo>
                      <a:pt x="711" y="1912"/>
                    </a:lnTo>
                    <a:lnTo>
                      <a:pt x="711" y="1918"/>
                    </a:lnTo>
                    <a:lnTo>
                      <a:pt x="717" y="1926"/>
                    </a:lnTo>
                    <a:lnTo>
                      <a:pt x="739" y="1926"/>
                    </a:lnTo>
                    <a:lnTo>
                      <a:pt x="745" y="1932"/>
                    </a:lnTo>
                    <a:lnTo>
                      <a:pt x="745" y="1940"/>
                    </a:lnTo>
                    <a:lnTo>
                      <a:pt x="768" y="1946"/>
                    </a:lnTo>
                    <a:lnTo>
                      <a:pt x="760" y="1946"/>
                    </a:lnTo>
                    <a:lnTo>
                      <a:pt x="751" y="1954"/>
                    </a:lnTo>
                    <a:lnTo>
                      <a:pt x="745" y="1946"/>
                    </a:lnTo>
                    <a:lnTo>
                      <a:pt x="745" y="1960"/>
                    </a:lnTo>
                    <a:lnTo>
                      <a:pt x="751" y="1966"/>
                    </a:lnTo>
                    <a:lnTo>
                      <a:pt x="745" y="1974"/>
                    </a:lnTo>
                    <a:lnTo>
                      <a:pt x="739" y="1966"/>
                    </a:lnTo>
                    <a:lnTo>
                      <a:pt x="733" y="1960"/>
                    </a:lnTo>
                    <a:lnTo>
                      <a:pt x="725" y="1966"/>
                    </a:lnTo>
                    <a:lnTo>
                      <a:pt x="725" y="1980"/>
                    </a:lnTo>
                    <a:lnTo>
                      <a:pt x="717" y="1988"/>
                    </a:lnTo>
                    <a:lnTo>
                      <a:pt x="725" y="1994"/>
                    </a:lnTo>
                    <a:lnTo>
                      <a:pt x="725" y="2008"/>
                    </a:lnTo>
                    <a:lnTo>
                      <a:pt x="711" y="2008"/>
                    </a:lnTo>
                    <a:lnTo>
                      <a:pt x="705" y="2028"/>
                    </a:lnTo>
                    <a:lnTo>
                      <a:pt x="705" y="2034"/>
                    </a:lnTo>
                    <a:lnTo>
                      <a:pt x="717" y="2042"/>
                    </a:lnTo>
                    <a:lnTo>
                      <a:pt x="733" y="2048"/>
                    </a:lnTo>
                    <a:lnTo>
                      <a:pt x="739" y="2048"/>
                    </a:lnTo>
                    <a:lnTo>
                      <a:pt x="751" y="2048"/>
                    </a:lnTo>
                    <a:lnTo>
                      <a:pt x="760" y="2056"/>
                    </a:lnTo>
                    <a:lnTo>
                      <a:pt x="760" y="2062"/>
                    </a:lnTo>
                    <a:lnTo>
                      <a:pt x="774" y="2062"/>
                    </a:lnTo>
                    <a:lnTo>
                      <a:pt x="780" y="2056"/>
                    </a:lnTo>
                    <a:lnTo>
                      <a:pt x="788" y="2062"/>
                    </a:lnTo>
                    <a:lnTo>
                      <a:pt x="802" y="2062"/>
                    </a:lnTo>
                    <a:lnTo>
                      <a:pt x="802" y="2070"/>
                    </a:lnTo>
                    <a:lnTo>
                      <a:pt x="816" y="2076"/>
                    </a:lnTo>
                    <a:lnTo>
                      <a:pt x="828" y="2076"/>
                    </a:lnTo>
                    <a:lnTo>
                      <a:pt x="836" y="2082"/>
                    </a:lnTo>
                    <a:lnTo>
                      <a:pt x="842" y="2090"/>
                    </a:lnTo>
                    <a:lnTo>
                      <a:pt x="856" y="2090"/>
                    </a:lnTo>
                    <a:lnTo>
                      <a:pt x="876" y="2118"/>
                    </a:lnTo>
                    <a:lnTo>
                      <a:pt x="884" y="2104"/>
                    </a:lnTo>
                    <a:lnTo>
                      <a:pt x="890" y="2104"/>
                    </a:lnTo>
                    <a:lnTo>
                      <a:pt x="904" y="2104"/>
                    </a:lnTo>
                    <a:lnTo>
                      <a:pt x="910" y="2096"/>
                    </a:lnTo>
                    <a:lnTo>
                      <a:pt x="918" y="2082"/>
                    </a:lnTo>
                    <a:lnTo>
                      <a:pt x="932" y="2090"/>
                    </a:lnTo>
                    <a:lnTo>
                      <a:pt x="944" y="2096"/>
                    </a:lnTo>
                    <a:lnTo>
                      <a:pt x="952" y="2096"/>
                    </a:lnTo>
                    <a:lnTo>
                      <a:pt x="980" y="2096"/>
                    </a:lnTo>
                    <a:lnTo>
                      <a:pt x="986" y="2104"/>
                    </a:lnTo>
                    <a:lnTo>
                      <a:pt x="994" y="2104"/>
                    </a:lnTo>
                    <a:lnTo>
                      <a:pt x="1006" y="2104"/>
                    </a:lnTo>
                    <a:lnTo>
                      <a:pt x="1020" y="2104"/>
                    </a:lnTo>
                    <a:lnTo>
                      <a:pt x="1040" y="2096"/>
                    </a:lnTo>
                    <a:lnTo>
                      <a:pt x="1046" y="2096"/>
                    </a:lnTo>
                    <a:lnTo>
                      <a:pt x="1054" y="2104"/>
                    </a:lnTo>
                    <a:lnTo>
                      <a:pt x="1074" y="2104"/>
                    </a:lnTo>
                    <a:lnTo>
                      <a:pt x="1088" y="2104"/>
                    </a:lnTo>
                    <a:lnTo>
                      <a:pt x="1096" y="2104"/>
                    </a:lnTo>
                    <a:lnTo>
                      <a:pt x="1102" y="2110"/>
                    </a:lnTo>
                    <a:lnTo>
                      <a:pt x="1096" y="2118"/>
                    </a:lnTo>
                    <a:lnTo>
                      <a:pt x="1110" y="2118"/>
                    </a:lnTo>
                    <a:lnTo>
                      <a:pt x="1122" y="2118"/>
                    </a:lnTo>
                    <a:lnTo>
                      <a:pt x="1130" y="2110"/>
                    </a:lnTo>
                    <a:lnTo>
                      <a:pt x="1142" y="2104"/>
                    </a:lnTo>
                    <a:lnTo>
                      <a:pt x="1158" y="2110"/>
                    </a:lnTo>
                    <a:lnTo>
                      <a:pt x="1164" y="2110"/>
                    </a:lnTo>
                    <a:lnTo>
                      <a:pt x="1170" y="2104"/>
                    </a:lnTo>
                    <a:lnTo>
                      <a:pt x="1170" y="2096"/>
                    </a:lnTo>
                    <a:lnTo>
                      <a:pt x="1178" y="2096"/>
                    </a:lnTo>
                    <a:lnTo>
                      <a:pt x="1184" y="2096"/>
                    </a:lnTo>
                    <a:lnTo>
                      <a:pt x="1184" y="2110"/>
                    </a:lnTo>
                    <a:lnTo>
                      <a:pt x="1198" y="2104"/>
                    </a:lnTo>
                    <a:lnTo>
                      <a:pt x="1198" y="2096"/>
                    </a:lnTo>
                    <a:lnTo>
                      <a:pt x="1212" y="2096"/>
                    </a:lnTo>
                    <a:lnTo>
                      <a:pt x="1226" y="2104"/>
                    </a:lnTo>
                    <a:lnTo>
                      <a:pt x="1226" y="2110"/>
                    </a:lnTo>
                    <a:lnTo>
                      <a:pt x="1226" y="2118"/>
                    </a:lnTo>
                    <a:lnTo>
                      <a:pt x="1232" y="2124"/>
                    </a:lnTo>
                    <a:lnTo>
                      <a:pt x="1246" y="2118"/>
                    </a:lnTo>
                    <a:lnTo>
                      <a:pt x="1252" y="2118"/>
                    </a:lnTo>
                    <a:lnTo>
                      <a:pt x="1274" y="2124"/>
                    </a:lnTo>
                    <a:lnTo>
                      <a:pt x="1294" y="2124"/>
                    </a:lnTo>
                    <a:lnTo>
                      <a:pt x="1300" y="2124"/>
                    </a:lnTo>
                    <a:lnTo>
                      <a:pt x="1314" y="2138"/>
                    </a:lnTo>
                    <a:lnTo>
                      <a:pt x="1328" y="2144"/>
                    </a:lnTo>
                    <a:lnTo>
                      <a:pt x="1342" y="2144"/>
                    </a:lnTo>
                    <a:lnTo>
                      <a:pt x="1348" y="2144"/>
                    </a:lnTo>
                    <a:lnTo>
                      <a:pt x="1362" y="2138"/>
                    </a:lnTo>
                    <a:lnTo>
                      <a:pt x="1370" y="2124"/>
                    </a:lnTo>
                    <a:lnTo>
                      <a:pt x="1362" y="2118"/>
                    </a:lnTo>
                    <a:lnTo>
                      <a:pt x="1377" y="2118"/>
                    </a:lnTo>
                    <a:lnTo>
                      <a:pt x="1383" y="2118"/>
                    </a:lnTo>
                    <a:lnTo>
                      <a:pt x="1383" y="2104"/>
                    </a:lnTo>
                    <a:lnTo>
                      <a:pt x="1391" y="2090"/>
                    </a:lnTo>
                    <a:lnTo>
                      <a:pt x="1383" y="2090"/>
                    </a:lnTo>
                    <a:lnTo>
                      <a:pt x="1370" y="2082"/>
                    </a:lnTo>
                    <a:lnTo>
                      <a:pt x="1356" y="2076"/>
                    </a:lnTo>
                    <a:lnTo>
                      <a:pt x="1348" y="2070"/>
                    </a:lnTo>
                    <a:lnTo>
                      <a:pt x="1328" y="2056"/>
                    </a:lnTo>
                    <a:lnTo>
                      <a:pt x="1314" y="2048"/>
                    </a:lnTo>
                    <a:lnTo>
                      <a:pt x="1300" y="2034"/>
                    </a:lnTo>
                    <a:lnTo>
                      <a:pt x="1300" y="2008"/>
                    </a:lnTo>
                    <a:lnTo>
                      <a:pt x="1294" y="2002"/>
                    </a:lnTo>
                    <a:lnTo>
                      <a:pt x="1286" y="1994"/>
                    </a:lnTo>
                    <a:lnTo>
                      <a:pt x="1286" y="1980"/>
                    </a:lnTo>
                    <a:lnTo>
                      <a:pt x="1280" y="1966"/>
                    </a:lnTo>
                    <a:lnTo>
                      <a:pt x="1274" y="1966"/>
                    </a:lnTo>
                    <a:lnTo>
                      <a:pt x="1274" y="1960"/>
                    </a:lnTo>
                    <a:lnTo>
                      <a:pt x="1260" y="1954"/>
                    </a:lnTo>
                    <a:lnTo>
                      <a:pt x="1240" y="1940"/>
                    </a:lnTo>
                    <a:lnTo>
                      <a:pt x="1240" y="1946"/>
                    </a:lnTo>
                    <a:lnTo>
                      <a:pt x="1232" y="1954"/>
                    </a:lnTo>
                    <a:lnTo>
                      <a:pt x="1226" y="1946"/>
                    </a:lnTo>
                    <a:lnTo>
                      <a:pt x="1212" y="1940"/>
                    </a:lnTo>
                    <a:lnTo>
                      <a:pt x="1218" y="1912"/>
                    </a:lnTo>
                    <a:lnTo>
                      <a:pt x="1218" y="1906"/>
                    </a:lnTo>
                    <a:lnTo>
                      <a:pt x="1226" y="1898"/>
                    </a:lnTo>
                    <a:lnTo>
                      <a:pt x="1226" y="1884"/>
                    </a:lnTo>
                    <a:lnTo>
                      <a:pt x="1232" y="1878"/>
                    </a:lnTo>
                    <a:lnTo>
                      <a:pt x="1226" y="1870"/>
                    </a:lnTo>
                    <a:lnTo>
                      <a:pt x="1226" y="1852"/>
                    </a:lnTo>
                    <a:lnTo>
                      <a:pt x="1232" y="1838"/>
                    </a:lnTo>
                    <a:lnTo>
                      <a:pt x="1232" y="1824"/>
                    </a:lnTo>
                    <a:lnTo>
                      <a:pt x="1240" y="1824"/>
                    </a:lnTo>
                    <a:lnTo>
                      <a:pt x="1246" y="1830"/>
                    </a:lnTo>
                    <a:lnTo>
                      <a:pt x="1260" y="1816"/>
                    </a:lnTo>
                    <a:lnTo>
                      <a:pt x="1266" y="1810"/>
                    </a:lnTo>
                    <a:lnTo>
                      <a:pt x="1274" y="1804"/>
                    </a:lnTo>
                    <a:lnTo>
                      <a:pt x="1280" y="1790"/>
                    </a:lnTo>
                    <a:lnTo>
                      <a:pt x="1286" y="1796"/>
                    </a:lnTo>
                    <a:lnTo>
                      <a:pt x="1294" y="1782"/>
                    </a:lnTo>
                    <a:lnTo>
                      <a:pt x="1286" y="1762"/>
                    </a:lnTo>
                    <a:lnTo>
                      <a:pt x="1274" y="1762"/>
                    </a:lnTo>
                    <a:lnTo>
                      <a:pt x="1266" y="1762"/>
                    </a:lnTo>
                    <a:lnTo>
                      <a:pt x="1252" y="1756"/>
                    </a:lnTo>
                    <a:lnTo>
                      <a:pt x="1260" y="1740"/>
                    </a:lnTo>
                    <a:lnTo>
                      <a:pt x="1266" y="1734"/>
                    </a:lnTo>
                    <a:lnTo>
                      <a:pt x="1274" y="1734"/>
                    </a:lnTo>
                    <a:lnTo>
                      <a:pt x="1266" y="1728"/>
                    </a:lnTo>
                    <a:lnTo>
                      <a:pt x="1246" y="1714"/>
                    </a:lnTo>
                    <a:lnTo>
                      <a:pt x="1218" y="1694"/>
                    </a:lnTo>
                    <a:lnTo>
                      <a:pt x="1206" y="1680"/>
                    </a:lnTo>
                    <a:lnTo>
                      <a:pt x="1198" y="1688"/>
                    </a:lnTo>
                    <a:lnTo>
                      <a:pt x="1184" y="1688"/>
                    </a:lnTo>
                    <a:lnTo>
                      <a:pt x="1184" y="1694"/>
                    </a:lnTo>
                    <a:lnTo>
                      <a:pt x="1178" y="1700"/>
                    </a:lnTo>
                    <a:lnTo>
                      <a:pt x="1164" y="1694"/>
                    </a:lnTo>
                    <a:lnTo>
                      <a:pt x="1158" y="1688"/>
                    </a:lnTo>
                    <a:lnTo>
                      <a:pt x="1158" y="1674"/>
                    </a:lnTo>
                    <a:lnTo>
                      <a:pt x="1158" y="1666"/>
                    </a:lnTo>
                    <a:lnTo>
                      <a:pt x="1142" y="1660"/>
                    </a:lnTo>
                    <a:lnTo>
                      <a:pt x="1130" y="1660"/>
                    </a:lnTo>
                    <a:lnTo>
                      <a:pt x="1122" y="1666"/>
                    </a:lnTo>
                    <a:lnTo>
                      <a:pt x="1122" y="1646"/>
                    </a:lnTo>
                    <a:lnTo>
                      <a:pt x="1122" y="1632"/>
                    </a:lnTo>
                    <a:lnTo>
                      <a:pt x="1136" y="1612"/>
                    </a:lnTo>
                    <a:lnTo>
                      <a:pt x="1116" y="1606"/>
                    </a:lnTo>
                    <a:lnTo>
                      <a:pt x="1110" y="1598"/>
                    </a:lnTo>
                    <a:lnTo>
                      <a:pt x="1116" y="1590"/>
                    </a:lnTo>
                    <a:lnTo>
                      <a:pt x="1116" y="1570"/>
                    </a:lnTo>
                    <a:lnTo>
                      <a:pt x="1110" y="1564"/>
                    </a:lnTo>
                    <a:lnTo>
                      <a:pt x="1102" y="1552"/>
                    </a:lnTo>
                    <a:lnTo>
                      <a:pt x="1110" y="1538"/>
                    </a:lnTo>
                    <a:lnTo>
                      <a:pt x="1116" y="1538"/>
                    </a:lnTo>
                    <a:lnTo>
                      <a:pt x="1116" y="1516"/>
                    </a:lnTo>
                    <a:lnTo>
                      <a:pt x="1110" y="1516"/>
                    </a:lnTo>
                    <a:lnTo>
                      <a:pt x="1122" y="1496"/>
                    </a:lnTo>
                    <a:lnTo>
                      <a:pt x="1136" y="1504"/>
                    </a:lnTo>
                    <a:lnTo>
                      <a:pt x="1142" y="1516"/>
                    </a:lnTo>
                    <a:lnTo>
                      <a:pt x="1158" y="1524"/>
                    </a:lnTo>
                    <a:lnTo>
                      <a:pt x="1164" y="1530"/>
                    </a:lnTo>
                    <a:lnTo>
                      <a:pt x="1178" y="1516"/>
                    </a:lnTo>
                    <a:lnTo>
                      <a:pt x="1178" y="1510"/>
                    </a:lnTo>
                    <a:lnTo>
                      <a:pt x="1170" y="1496"/>
                    </a:lnTo>
                    <a:lnTo>
                      <a:pt x="1164" y="1476"/>
                    </a:lnTo>
                    <a:lnTo>
                      <a:pt x="1150" y="1468"/>
                    </a:lnTo>
                    <a:lnTo>
                      <a:pt x="1164" y="1462"/>
                    </a:lnTo>
                    <a:lnTo>
                      <a:pt x="1178" y="1462"/>
                    </a:lnTo>
                    <a:lnTo>
                      <a:pt x="1178" y="1454"/>
                    </a:lnTo>
                    <a:lnTo>
                      <a:pt x="1178" y="1448"/>
                    </a:lnTo>
                    <a:lnTo>
                      <a:pt x="1178" y="1420"/>
                    </a:lnTo>
                    <a:lnTo>
                      <a:pt x="1190" y="1420"/>
                    </a:lnTo>
                    <a:lnTo>
                      <a:pt x="1198" y="1414"/>
                    </a:lnTo>
                    <a:lnTo>
                      <a:pt x="1206" y="1400"/>
                    </a:lnTo>
                    <a:lnTo>
                      <a:pt x="1218" y="1386"/>
                    </a:lnTo>
                    <a:lnTo>
                      <a:pt x="1226" y="1374"/>
                    </a:lnTo>
                    <a:lnTo>
                      <a:pt x="1226" y="1366"/>
                    </a:lnTo>
                    <a:lnTo>
                      <a:pt x="1226" y="1360"/>
                    </a:lnTo>
                    <a:lnTo>
                      <a:pt x="1232" y="1360"/>
                    </a:lnTo>
                    <a:lnTo>
                      <a:pt x="1240" y="1366"/>
                    </a:lnTo>
                    <a:lnTo>
                      <a:pt x="1246" y="1374"/>
                    </a:lnTo>
                    <a:lnTo>
                      <a:pt x="1260" y="1366"/>
                    </a:lnTo>
                    <a:lnTo>
                      <a:pt x="1266" y="1352"/>
                    </a:lnTo>
                    <a:lnTo>
                      <a:pt x="1274" y="1338"/>
                    </a:lnTo>
                    <a:lnTo>
                      <a:pt x="1286" y="1332"/>
                    </a:lnTo>
                    <a:lnTo>
                      <a:pt x="1294" y="1332"/>
                    </a:lnTo>
                    <a:lnTo>
                      <a:pt x="1308" y="1346"/>
                    </a:lnTo>
                    <a:lnTo>
                      <a:pt x="1308" y="1338"/>
                    </a:lnTo>
                    <a:lnTo>
                      <a:pt x="1314" y="1326"/>
                    </a:lnTo>
                    <a:lnTo>
                      <a:pt x="1322" y="1326"/>
                    </a:lnTo>
                    <a:lnTo>
                      <a:pt x="1334" y="1326"/>
                    </a:lnTo>
                    <a:lnTo>
                      <a:pt x="1342" y="1332"/>
                    </a:lnTo>
                    <a:lnTo>
                      <a:pt x="1356" y="1338"/>
                    </a:lnTo>
                    <a:lnTo>
                      <a:pt x="1377" y="1338"/>
                    </a:lnTo>
                    <a:lnTo>
                      <a:pt x="1383" y="1346"/>
                    </a:lnTo>
                    <a:lnTo>
                      <a:pt x="1397" y="1346"/>
                    </a:lnTo>
                    <a:lnTo>
                      <a:pt x="1405" y="1346"/>
                    </a:lnTo>
                    <a:lnTo>
                      <a:pt x="1411" y="1352"/>
                    </a:lnTo>
                    <a:lnTo>
                      <a:pt x="1411" y="1338"/>
                    </a:lnTo>
                    <a:lnTo>
                      <a:pt x="1405" y="1332"/>
                    </a:lnTo>
                    <a:lnTo>
                      <a:pt x="1405" y="1326"/>
                    </a:lnTo>
                    <a:lnTo>
                      <a:pt x="1411" y="1326"/>
                    </a:lnTo>
                    <a:lnTo>
                      <a:pt x="1445" y="1332"/>
                    </a:lnTo>
                    <a:lnTo>
                      <a:pt x="1467" y="1338"/>
                    </a:lnTo>
                    <a:lnTo>
                      <a:pt x="1473" y="1326"/>
                    </a:lnTo>
                    <a:lnTo>
                      <a:pt x="1473" y="1318"/>
                    </a:lnTo>
                    <a:lnTo>
                      <a:pt x="1473" y="1312"/>
                    </a:lnTo>
                    <a:lnTo>
                      <a:pt x="1479" y="1312"/>
                    </a:lnTo>
                    <a:lnTo>
                      <a:pt x="1479" y="1304"/>
                    </a:lnTo>
                    <a:lnTo>
                      <a:pt x="1473" y="1298"/>
                    </a:lnTo>
                    <a:lnTo>
                      <a:pt x="1487" y="1298"/>
                    </a:lnTo>
                    <a:lnTo>
                      <a:pt x="1501" y="1298"/>
                    </a:lnTo>
                    <a:lnTo>
                      <a:pt x="1493" y="1284"/>
                    </a:lnTo>
                    <a:lnTo>
                      <a:pt x="1501" y="1284"/>
                    </a:lnTo>
                    <a:lnTo>
                      <a:pt x="1507" y="1276"/>
                    </a:lnTo>
                    <a:lnTo>
                      <a:pt x="1521" y="1284"/>
                    </a:lnTo>
                    <a:lnTo>
                      <a:pt x="1535" y="1284"/>
                    </a:lnTo>
                    <a:lnTo>
                      <a:pt x="1535" y="1270"/>
                    </a:lnTo>
                    <a:lnTo>
                      <a:pt x="1547" y="1270"/>
                    </a:lnTo>
                    <a:lnTo>
                      <a:pt x="1541" y="1256"/>
                    </a:lnTo>
                    <a:lnTo>
                      <a:pt x="1547" y="1250"/>
                    </a:lnTo>
                    <a:lnTo>
                      <a:pt x="1555" y="1244"/>
                    </a:lnTo>
                    <a:lnTo>
                      <a:pt x="1569" y="1236"/>
                    </a:lnTo>
                    <a:lnTo>
                      <a:pt x="1575" y="1244"/>
                    </a:lnTo>
                    <a:lnTo>
                      <a:pt x="1581" y="1256"/>
                    </a:lnTo>
                    <a:lnTo>
                      <a:pt x="1595" y="1256"/>
                    </a:lnTo>
                    <a:lnTo>
                      <a:pt x="1623" y="1250"/>
                    </a:lnTo>
                    <a:lnTo>
                      <a:pt x="1629" y="1250"/>
                    </a:lnTo>
                    <a:lnTo>
                      <a:pt x="1637" y="1250"/>
                    </a:lnTo>
                    <a:lnTo>
                      <a:pt x="1637" y="1244"/>
                    </a:lnTo>
                    <a:lnTo>
                      <a:pt x="1637" y="1230"/>
                    </a:lnTo>
                    <a:lnTo>
                      <a:pt x="1649" y="1222"/>
                    </a:lnTo>
                    <a:lnTo>
                      <a:pt x="1671" y="1216"/>
                    </a:lnTo>
                    <a:lnTo>
                      <a:pt x="1691" y="1196"/>
                    </a:lnTo>
                    <a:lnTo>
                      <a:pt x="1699" y="1190"/>
                    </a:lnTo>
                    <a:lnTo>
                      <a:pt x="1699" y="1174"/>
                    </a:lnTo>
                    <a:lnTo>
                      <a:pt x="1691" y="1162"/>
                    </a:lnTo>
                    <a:lnTo>
                      <a:pt x="1677" y="1148"/>
                    </a:lnTo>
                    <a:lnTo>
                      <a:pt x="1671" y="1148"/>
                    </a:lnTo>
                    <a:lnTo>
                      <a:pt x="1665" y="1154"/>
                    </a:lnTo>
                    <a:lnTo>
                      <a:pt x="1649" y="1162"/>
                    </a:lnTo>
                    <a:lnTo>
                      <a:pt x="1629" y="1162"/>
                    </a:lnTo>
                    <a:lnTo>
                      <a:pt x="1617" y="1162"/>
                    </a:lnTo>
                    <a:lnTo>
                      <a:pt x="1609" y="1162"/>
                    </a:lnTo>
                    <a:lnTo>
                      <a:pt x="1589" y="1154"/>
                    </a:lnTo>
                    <a:lnTo>
                      <a:pt x="1589" y="1148"/>
                    </a:lnTo>
                    <a:lnTo>
                      <a:pt x="1581" y="1134"/>
                    </a:lnTo>
                    <a:lnTo>
                      <a:pt x="1575" y="1134"/>
                    </a:lnTo>
                    <a:lnTo>
                      <a:pt x="1569" y="1134"/>
                    </a:lnTo>
                    <a:lnTo>
                      <a:pt x="1555" y="1148"/>
                    </a:lnTo>
                    <a:lnTo>
                      <a:pt x="1547" y="1154"/>
                    </a:lnTo>
                    <a:lnTo>
                      <a:pt x="1535" y="1154"/>
                    </a:lnTo>
                    <a:lnTo>
                      <a:pt x="1521" y="1142"/>
                    </a:lnTo>
                    <a:lnTo>
                      <a:pt x="1507" y="1120"/>
                    </a:lnTo>
                    <a:lnTo>
                      <a:pt x="1507" y="1106"/>
                    </a:lnTo>
                    <a:lnTo>
                      <a:pt x="1507" y="1100"/>
                    </a:lnTo>
                    <a:lnTo>
                      <a:pt x="1501" y="1094"/>
                    </a:lnTo>
                    <a:lnTo>
                      <a:pt x="1493" y="1086"/>
                    </a:lnTo>
                    <a:lnTo>
                      <a:pt x="1493" y="1080"/>
                    </a:lnTo>
                    <a:lnTo>
                      <a:pt x="1479" y="1066"/>
                    </a:lnTo>
                    <a:lnTo>
                      <a:pt x="1479" y="1038"/>
                    </a:lnTo>
                    <a:lnTo>
                      <a:pt x="1487" y="1018"/>
                    </a:lnTo>
                    <a:lnTo>
                      <a:pt x="1479" y="1012"/>
                    </a:lnTo>
                    <a:lnTo>
                      <a:pt x="1467" y="1004"/>
                    </a:lnTo>
                    <a:lnTo>
                      <a:pt x="1467" y="984"/>
                    </a:lnTo>
                    <a:lnTo>
                      <a:pt x="1467" y="970"/>
                    </a:lnTo>
                    <a:lnTo>
                      <a:pt x="1459" y="976"/>
                    </a:lnTo>
                    <a:lnTo>
                      <a:pt x="1459" y="984"/>
                    </a:lnTo>
                    <a:lnTo>
                      <a:pt x="1445" y="1012"/>
                    </a:lnTo>
                    <a:lnTo>
                      <a:pt x="1431" y="1032"/>
                    </a:lnTo>
                    <a:lnTo>
                      <a:pt x="1411" y="1038"/>
                    </a:lnTo>
                    <a:lnTo>
                      <a:pt x="1391" y="1046"/>
                    </a:lnTo>
                    <a:lnTo>
                      <a:pt x="1377" y="1052"/>
                    </a:lnTo>
                    <a:lnTo>
                      <a:pt x="1356" y="1024"/>
                    </a:lnTo>
                    <a:lnTo>
                      <a:pt x="1356" y="1004"/>
                    </a:lnTo>
                    <a:lnTo>
                      <a:pt x="1370" y="998"/>
                    </a:lnTo>
                    <a:lnTo>
                      <a:pt x="1391" y="992"/>
                    </a:lnTo>
                    <a:lnTo>
                      <a:pt x="1397" y="998"/>
                    </a:lnTo>
                    <a:lnTo>
                      <a:pt x="1405" y="1004"/>
                    </a:lnTo>
                    <a:lnTo>
                      <a:pt x="1411" y="998"/>
                    </a:lnTo>
                    <a:lnTo>
                      <a:pt x="1411" y="984"/>
                    </a:lnTo>
                    <a:lnTo>
                      <a:pt x="1411" y="976"/>
                    </a:lnTo>
                    <a:lnTo>
                      <a:pt x="1419" y="962"/>
                    </a:lnTo>
                    <a:lnTo>
                      <a:pt x="1425" y="950"/>
                    </a:lnTo>
                    <a:lnTo>
                      <a:pt x="1419" y="936"/>
                    </a:lnTo>
                    <a:lnTo>
                      <a:pt x="1405" y="930"/>
                    </a:lnTo>
                    <a:lnTo>
                      <a:pt x="1405" y="922"/>
                    </a:lnTo>
                    <a:lnTo>
                      <a:pt x="1397" y="922"/>
                    </a:lnTo>
                    <a:lnTo>
                      <a:pt x="1391" y="930"/>
                    </a:lnTo>
                    <a:lnTo>
                      <a:pt x="1377" y="930"/>
                    </a:lnTo>
                    <a:lnTo>
                      <a:pt x="1370" y="930"/>
                    </a:lnTo>
                    <a:lnTo>
                      <a:pt x="1362" y="936"/>
                    </a:lnTo>
                    <a:lnTo>
                      <a:pt x="1334" y="950"/>
                    </a:lnTo>
                    <a:lnTo>
                      <a:pt x="1322" y="950"/>
                    </a:lnTo>
                    <a:lnTo>
                      <a:pt x="1314" y="930"/>
                    </a:lnTo>
                    <a:lnTo>
                      <a:pt x="1300" y="908"/>
                    </a:lnTo>
                    <a:lnTo>
                      <a:pt x="1294" y="902"/>
                    </a:lnTo>
                    <a:lnTo>
                      <a:pt x="1300" y="896"/>
                    </a:lnTo>
                    <a:lnTo>
                      <a:pt x="1308" y="896"/>
                    </a:lnTo>
                    <a:lnTo>
                      <a:pt x="1308" y="874"/>
                    </a:lnTo>
                    <a:lnTo>
                      <a:pt x="1300" y="854"/>
                    </a:lnTo>
                    <a:lnTo>
                      <a:pt x="1286" y="834"/>
                    </a:lnTo>
                    <a:lnTo>
                      <a:pt x="1294" y="820"/>
                    </a:lnTo>
                    <a:lnTo>
                      <a:pt x="1300" y="812"/>
                    </a:lnTo>
                    <a:lnTo>
                      <a:pt x="1308" y="812"/>
                    </a:lnTo>
                    <a:lnTo>
                      <a:pt x="1308" y="806"/>
                    </a:lnTo>
                    <a:lnTo>
                      <a:pt x="1300" y="794"/>
                    </a:lnTo>
                    <a:lnTo>
                      <a:pt x="1300" y="786"/>
                    </a:lnTo>
                    <a:lnTo>
                      <a:pt x="1300" y="766"/>
                    </a:lnTo>
                    <a:lnTo>
                      <a:pt x="1300" y="758"/>
                    </a:lnTo>
                    <a:lnTo>
                      <a:pt x="1286" y="758"/>
                    </a:lnTo>
                    <a:lnTo>
                      <a:pt x="1286" y="746"/>
                    </a:lnTo>
                    <a:lnTo>
                      <a:pt x="1280" y="732"/>
                    </a:lnTo>
                    <a:lnTo>
                      <a:pt x="1274" y="724"/>
                    </a:lnTo>
                    <a:lnTo>
                      <a:pt x="1266" y="710"/>
                    </a:lnTo>
                    <a:lnTo>
                      <a:pt x="1260" y="710"/>
                    </a:lnTo>
                    <a:lnTo>
                      <a:pt x="1260" y="704"/>
                    </a:lnTo>
                    <a:lnTo>
                      <a:pt x="1252" y="698"/>
                    </a:lnTo>
                    <a:lnTo>
                      <a:pt x="1246" y="704"/>
                    </a:lnTo>
                    <a:lnTo>
                      <a:pt x="1240" y="684"/>
                    </a:lnTo>
                    <a:lnTo>
                      <a:pt x="1226" y="656"/>
                    </a:lnTo>
                    <a:lnTo>
                      <a:pt x="1218" y="630"/>
                    </a:lnTo>
                    <a:lnTo>
                      <a:pt x="1212" y="616"/>
                    </a:lnTo>
                    <a:lnTo>
                      <a:pt x="1190" y="602"/>
                    </a:lnTo>
                    <a:lnTo>
                      <a:pt x="1190" y="582"/>
                    </a:lnTo>
                    <a:lnTo>
                      <a:pt x="1184" y="574"/>
                    </a:lnTo>
                    <a:lnTo>
                      <a:pt x="1170" y="560"/>
                    </a:lnTo>
                    <a:lnTo>
                      <a:pt x="1170" y="548"/>
                    </a:lnTo>
                    <a:lnTo>
                      <a:pt x="1164" y="532"/>
                    </a:lnTo>
                    <a:lnTo>
                      <a:pt x="1158" y="526"/>
                    </a:lnTo>
                    <a:lnTo>
                      <a:pt x="1150" y="520"/>
                    </a:lnTo>
                    <a:lnTo>
                      <a:pt x="1142" y="492"/>
                    </a:lnTo>
                    <a:lnTo>
                      <a:pt x="1136" y="486"/>
                    </a:lnTo>
                    <a:lnTo>
                      <a:pt x="1122" y="480"/>
                    </a:lnTo>
                    <a:lnTo>
                      <a:pt x="1122" y="472"/>
                    </a:lnTo>
                    <a:lnTo>
                      <a:pt x="1110" y="466"/>
                    </a:lnTo>
                    <a:lnTo>
                      <a:pt x="1102" y="458"/>
                    </a:lnTo>
                    <a:lnTo>
                      <a:pt x="1096" y="424"/>
                    </a:lnTo>
                    <a:lnTo>
                      <a:pt x="1088" y="424"/>
                    </a:lnTo>
                    <a:lnTo>
                      <a:pt x="1088" y="410"/>
                    </a:lnTo>
                    <a:lnTo>
                      <a:pt x="1082" y="396"/>
                    </a:lnTo>
                    <a:lnTo>
                      <a:pt x="1082" y="404"/>
                    </a:lnTo>
                    <a:lnTo>
                      <a:pt x="1074" y="390"/>
                    </a:lnTo>
                    <a:lnTo>
                      <a:pt x="1074" y="376"/>
                    </a:lnTo>
                    <a:lnTo>
                      <a:pt x="1068" y="370"/>
                    </a:lnTo>
                    <a:lnTo>
                      <a:pt x="1062" y="356"/>
                    </a:lnTo>
                    <a:lnTo>
                      <a:pt x="1054" y="344"/>
                    </a:lnTo>
                    <a:lnTo>
                      <a:pt x="1040" y="344"/>
                    </a:lnTo>
                    <a:lnTo>
                      <a:pt x="1040" y="336"/>
                    </a:lnTo>
                    <a:lnTo>
                      <a:pt x="1040" y="330"/>
                    </a:lnTo>
                    <a:lnTo>
                      <a:pt x="1054" y="330"/>
                    </a:lnTo>
                    <a:lnTo>
                      <a:pt x="1062" y="322"/>
                    </a:lnTo>
                    <a:lnTo>
                      <a:pt x="1062" y="294"/>
                    </a:lnTo>
                    <a:lnTo>
                      <a:pt x="1062" y="274"/>
                    </a:lnTo>
                    <a:lnTo>
                      <a:pt x="1062" y="260"/>
                    </a:lnTo>
                    <a:lnTo>
                      <a:pt x="1068" y="260"/>
                    </a:lnTo>
                    <a:lnTo>
                      <a:pt x="1074" y="240"/>
                    </a:lnTo>
                    <a:lnTo>
                      <a:pt x="1074" y="212"/>
                    </a:lnTo>
                    <a:lnTo>
                      <a:pt x="1062" y="178"/>
                    </a:lnTo>
                    <a:lnTo>
                      <a:pt x="1068" y="164"/>
                    </a:lnTo>
                    <a:lnTo>
                      <a:pt x="1082" y="152"/>
                    </a:lnTo>
                    <a:lnTo>
                      <a:pt x="1088" y="138"/>
                    </a:lnTo>
                    <a:lnTo>
                      <a:pt x="1082" y="118"/>
                    </a:lnTo>
                    <a:lnTo>
                      <a:pt x="1082" y="96"/>
                    </a:lnTo>
                    <a:lnTo>
                      <a:pt x="1074" y="82"/>
                    </a:lnTo>
                    <a:lnTo>
                      <a:pt x="1062" y="76"/>
                    </a:lnTo>
                    <a:lnTo>
                      <a:pt x="1068" y="62"/>
                    </a:lnTo>
                    <a:lnTo>
                      <a:pt x="1062" y="62"/>
                    </a:lnTo>
                    <a:lnTo>
                      <a:pt x="1054" y="56"/>
                    </a:lnTo>
                    <a:lnTo>
                      <a:pt x="1046" y="56"/>
                    </a:lnTo>
                    <a:lnTo>
                      <a:pt x="1040" y="68"/>
                    </a:lnTo>
                    <a:lnTo>
                      <a:pt x="1034" y="68"/>
                    </a:lnTo>
                    <a:lnTo>
                      <a:pt x="1028" y="56"/>
                    </a:lnTo>
                    <a:lnTo>
                      <a:pt x="1020" y="48"/>
                    </a:lnTo>
                    <a:lnTo>
                      <a:pt x="1014" y="48"/>
                    </a:lnTo>
                    <a:lnTo>
                      <a:pt x="1006" y="42"/>
                    </a:lnTo>
                    <a:lnTo>
                      <a:pt x="1006" y="30"/>
                    </a:lnTo>
                    <a:lnTo>
                      <a:pt x="1000" y="30"/>
                    </a:lnTo>
                    <a:lnTo>
                      <a:pt x="986" y="30"/>
                    </a:lnTo>
                    <a:lnTo>
                      <a:pt x="980" y="36"/>
                    </a:lnTo>
                    <a:lnTo>
                      <a:pt x="972" y="36"/>
                    </a:lnTo>
                    <a:lnTo>
                      <a:pt x="966" y="36"/>
                    </a:lnTo>
                    <a:lnTo>
                      <a:pt x="960" y="22"/>
                    </a:lnTo>
                    <a:lnTo>
                      <a:pt x="952" y="16"/>
                    </a:lnTo>
                    <a:lnTo>
                      <a:pt x="960" y="8"/>
                    </a:lnTo>
                    <a:lnTo>
                      <a:pt x="960" y="0"/>
                    </a:lnTo>
                    <a:lnTo>
                      <a:pt x="952" y="0"/>
                    </a:lnTo>
                    <a:lnTo>
                      <a:pt x="924" y="0"/>
                    </a:lnTo>
                    <a:lnTo>
                      <a:pt x="898" y="16"/>
                    </a:lnTo>
                    <a:lnTo>
                      <a:pt x="884" y="22"/>
                    </a:lnTo>
                    <a:lnTo>
                      <a:pt x="864" y="22"/>
                    </a:lnTo>
                    <a:lnTo>
                      <a:pt x="848" y="22"/>
                    </a:lnTo>
                    <a:lnTo>
                      <a:pt x="856" y="30"/>
                    </a:lnTo>
                    <a:lnTo>
                      <a:pt x="856" y="48"/>
                    </a:lnTo>
                    <a:lnTo>
                      <a:pt x="848" y="56"/>
                    </a:lnTo>
                    <a:lnTo>
                      <a:pt x="856" y="62"/>
                    </a:lnTo>
                    <a:lnTo>
                      <a:pt x="864" y="68"/>
                    </a:lnTo>
                    <a:lnTo>
                      <a:pt x="870" y="82"/>
                    </a:lnTo>
                    <a:lnTo>
                      <a:pt x="884" y="82"/>
                    </a:lnTo>
                    <a:lnTo>
                      <a:pt x="890" y="90"/>
                    </a:lnTo>
                    <a:lnTo>
                      <a:pt x="876" y="102"/>
                    </a:lnTo>
                    <a:lnTo>
                      <a:pt x="870" y="124"/>
                    </a:lnTo>
                    <a:lnTo>
                      <a:pt x="876" y="124"/>
                    </a:lnTo>
                    <a:lnTo>
                      <a:pt x="884" y="132"/>
                    </a:lnTo>
                    <a:lnTo>
                      <a:pt x="870" y="144"/>
                    </a:lnTo>
                    <a:lnTo>
                      <a:pt x="856" y="144"/>
                    </a:lnTo>
                    <a:lnTo>
                      <a:pt x="842" y="132"/>
                    </a:lnTo>
                    <a:lnTo>
                      <a:pt x="848" y="124"/>
                    </a:lnTo>
                    <a:lnTo>
                      <a:pt x="842" y="110"/>
                    </a:lnTo>
                    <a:lnTo>
                      <a:pt x="836" y="102"/>
                    </a:lnTo>
                    <a:lnTo>
                      <a:pt x="828" y="110"/>
                    </a:lnTo>
                    <a:lnTo>
                      <a:pt x="822" y="124"/>
                    </a:lnTo>
                    <a:lnTo>
                      <a:pt x="822" y="132"/>
                    </a:lnTo>
                    <a:lnTo>
                      <a:pt x="822" y="144"/>
                    </a:lnTo>
                    <a:lnTo>
                      <a:pt x="822" y="152"/>
                    </a:lnTo>
                    <a:lnTo>
                      <a:pt x="816" y="164"/>
                    </a:lnTo>
                    <a:lnTo>
                      <a:pt x="794" y="164"/>
                    </a:lnTo>
                    <a:lnTo>
                      <a:pt x="780" y="164"/>
                    </a:lnTo>
                    <a:lnTo>
                      <a:pt x="780" y="172"/>
                    </a:lnTo>
                    <a:lnTo>
                      <a:pt x="774" y="198"/>
                    </a:lnTo>
                    <a:lnTo>
                      <a:pt x="774" y="204"/>
                    </a:lnTo>
                    <a:lnTo>
                      <a:pt x="760" y="220"/>
                    </a:lnTo>
                    <a:lnTo>
                      <a:pt x="760" y="226"/>
                    </a:lnTo>
                    <a:lnTo>
                      <a:pt x="760" y="232"/>
                    </a:lnTo>
                    <a:lnTo>
                      <a:pt x="751" y="226"/>
                    </a:lnTo>
                    <a:lnTo>
                      <a:pt x="745" y="220"/>
                    </a:lnTo>
                    <a:lnTo>
                      <a:pt x="733" y="240"/>
                    </a:lnTo>
                    <a:lnTo>
                      <a:pt x="733" y="226"/>
                    </a:lnTo>
                    <a:lnTo>
                      <a:pt x="733" y="212"/>
                    </a:lnTo>
                    <a:lnTo>
                      <a:pt x="739" y="204"/>
                    </a:lnTo>
                    <a:lnTo>
                      <a:pt x="733" y="198"/>
                    </a:lnTo>
                    <a:lnTo>
                      <a:pt x="733" y="186"/>
                    </a:lnTo>
                    <a:lnTo>
                      <a:pt x="725" y="186"/>
                    </a:lnTo>
                    <a:lnTo>
                      <a:pt x="717" y="186"/>
                    </a:lnTo>
                    <a:lnTo>
                      <a:pt x="711" y="178"/>
                    </a:lnTo>
                    <a:lnTo>
                      <a:pt x="705" y="198"/>
                    </a:lnTo>
                    <a:lnTo>
                      <a:pt x="711" y="198"/>
                    </a:lnTo>
                    <a:lnTo>
                      <a:pt x="711" y="212"/>
                    </a:lnTo>
                    <a:lnTo>
                      <a:pt x="705" y="212"/>
                    </a:lnTo>
                    <a:lnTo>
                      <a:pt x="705" y="204"/>
                    </a:lnTo>
                    <a:lnTo>
                      <a:pt x="697" y="204"/>
                    </a:lnTo>
                    <a:lnTo>
                      <a:pt x="697" y="212"/>
                    </a:lnTo>
                    <a:lnTo>
                      <a:pt x="697" y="220"/>
                    </a:lnTo>
                    <a:lnTo>
                      <a:pt x="711" y="240"/>
                    </a:lnTo>
                    <a:lnTo>
                      <a:pt x="697" y="240"/>
                    </a:lnTo>
                    <a:lnTo>
                      <a:pt x="691" y="232"/>
                    </a:lnTo>
                    <a:lnTo>
                      <a:pt x="691" y="226"/>
                    </a:lnTo>
                    <a:lnTo>
                      <a:pt x="683" y="232"/>
                    </a:lnTo>
                    <a:lnTo>
                      <a:pt x="677" y="246"/>
                    </a:lnTo>
                    <a:lnTo>
                      <a:pt x="671" y="246"/>
                    </a:lnTo>
                    <a:lnTo>
                      <a:pt x="657" y="274"/>
                    </a:lnTo>
                    <a:lnTo>
                      <a:pt x="649" y="280"/>
                    </a:lnTo>
                    <a:lnTo>
                      <a:pt x="643" y="288"/>
                    </a:lnTo>
                    <a:lnTo>
                      <a:pt x="649" y="294"/>
                    </a:lnTo>
                    <a:lnTo>
                      <a:pt x="657" y="302"/>
                    </a:lnTo>
                    <a:lnTo>
                      <a:pt x="643" y="316"/>
                    </a:lnTo>
                    <a:lnTo>
                      <a:pt x="635" y="322"/>
                    </a:lnTo>
                    <a:lnTo>
                      <a:pt x="629" y="322"/>
                    </a:lnTo>
                    <a:lnTo>
                      <a:pt x="643" y="336"/>
                    </a:lnTo>
                    <a:lnTo>
                      <a:pt x="643" y="348"/>
                    </a:lnTo>
                    <a:lnTo>
                      <a:pt x="643" y="362"/>
                    </a:lnTo>
                    <a:lnTo>
                      <a:pt x="643" y="370"/>
                    </a:lnTo>
                    <a:lnTo>
                      <a:pt x="635" y="376"/>
                    </a:lnTo>
                    <a:lnTo>
                      <a:pt x="623" y="382"/>
                    </a:lnTo>
                    <a:lnTo>
                      <a:pt x="601" y="390"/>
                    </a:lnTo>
                    <a:lnTo>
                      <a:pt x="595" y="396"/>
                    </a:lnTo>
                    <a:lnTo>
                      <a:pt x="573" y="382"/>
                    </a:lnTo>
                    <a:lnTo>
                      <a:pt x="561" y="376"/>
                    </a:lnTo>
                    <a:lnTo>
                      <a:pt x="547" y="376"/>
                    </a:lnTo>
                    <a:lnTo>
                      <a:pt x="533" y="370"/>
                    </a:lnTo>
                    <a:lnTo>
                      <a:pt x="533" y="362"/>
                    </a:lnTo>
                    <a:lnTo>
                      <a:pt x="533" y="348"/>
                    </a:lnTo>
                    <a:lnTo>
                      <a:pt x="533" y="344"/>
                    </a:lnTo>
                    <a:lnTo>
                      <a:pt x="553" y="336"/>
                    </a:lnTo>
                    <a:lnTo>
                      <a:pt x="553" y="330"/>
                    </a:lnTo>
                    <a:lnTo>
                      <a:pt x="567" y="330"/>
                    </a:lnTo>
                    <a:lnTo>
                      <a:pt x="573" y="322"/>
                    </a:lnTo>
                    <a:lnTo>
                      <a:pt x="561" y="316"/>
                    </a:lnTo>
                    <a:lnTo>
                      <a:pt x="553" y="308"/>
                    </a:lnTo>
                    <a:lnTo>
                      <a:pt x="547" y="302"/>
                    </a:lnTo>
                    <a:lnTo>
                      <a:pt x="533" y="302"/>
                    </a:lnTo>
                    <a:lnTo>
                      <a:pt x="527" y="288"/>
                    </a:lnTo>
                    <a:lnTo>
                      <a:pt x="521" y="288"/>
                    </a:lnTo>
                    <a:lnTo>
                      <a:pt x="499" y="294"/>
                    </a:lnTo>
                    <a:lnTo>
                      <a:pt x="485" y="294"/>
                    </a:lnTo>
                    <a:lnTo>
                      <a:pt x="485" y="302"/>
                    </a:lnTo>
                    <a:lnTo>
                      <a:pt x="471" y="302"/>
                    </a:lnTo>
                    <a:lnTo>
                      <a:pt x="485" y="308"/>
                    </a:lnTo>
                    <a:lnTo>
                      <a:pt x="491" y="316"/>
                    </a:lnTo>
                    <a:lnTo>
                      <a:pt x="499" y="322"/>
                    </a:lnTo>
                    <a:lnTo>
                      <a:pt x="499" y="330"/>
                    </a:lnTo>
                    <a:lnTo>
                      <a:pt x="499" y="344"/>
                    </a:lnTo>
                    <a:lnTo>
                      <a:pt x="505" y="348"/>
                    </a:lnTo>
                    <a:lnTo>
                      <a:pt x="505" y="356"/>
                    </a:lnTo>
                    <a:lnTo>
                      <a:pt x="511" y="356"/>
                    </a:lnTo>
                    <a:lnTo>
                      <a:pt x="505" y="370"/>
                    </a:lnTo>
                    <a:lnTo>
                      <a:pt x="505" y="376"/>
                    </a:lnTo>
                    <a:lnTo>
                      <a:pt x="505" y="396"/>
                    </a:lnTo>
                    <a:lnTo>
                      <a:pt x="521" y="396"/>
                    </a:lnTo>
                    <a:lnTo>
                      <a:pt x="533" y="396"/>
                    </a:lnTo>
                    <a:lnTo>
                      <a:pt x="539" y="404"/>
                    </a:lnTo>
                    <a:lnTo>
                      <a:pt x="539" y="410"/>
                    </a:lnTo>
                    <a:lnTo>
                      <a:pt x="547" y="418"/>
                    </a:lnTo>
                    <a:lnTo>
                      <a:pt x="547" y="424"/>
                    </a:lnTo>
                    <a:lnTo>
                      <a:pt x="553" y="432"/>
                    </a:lnTo>
                    <a:lnTo>
                      <a:pt x="547" y="438"/>
                    </a:lnTo>
                    <a:lnTo>
                      <a:pt x="539" y="452"/>
                    </a:lnTo>
                    <a:lnTo>
                      <a:pt x="553" y="466"/>
                    </a:lnTo>
                    <a:lnTo>
                      <a:pt x="561" y="472"/>
                    </a:lnTo>
                    <a:lnTo>
                      <a:pt x="547" y="480"/>
                    </a:lnTo>
                    <a:lnTo>
                      <a:pt x="539" y="472"/>
                    </a:lnTo>
                    <a:lnTo>
                      <a:pt x="527" y="480"/>
                    </a:lnTo>
                    <a:lnTo>
                      <a:pt x="511" y="480"/>
                    </a:lnTo>
                    <a:lnTo>
                      <a:pt x="521" y="466"/>
                    </a:lnTo>
                    <a:lnTo>
                      <a:pt x="527" y="466"/>
                    </a:lnTo>
                    <a:lnTo>
                      <a:pt x="511" y="452"/>
                    </a:lnTo>
                    <a:lnTo>
                      <a:pt x="505" y="458"/>
                    </a:lnTo>
                    <a:lnTo>
                      <a:pt x="491" y="458"/>
                    </a:lnTo>
                    <a:lnTo>
                      <a:pt x="479" y="452"/>
                    </a:lnTo>
                    <a:lnTo>
                      <a:pt x="479" y="458"/>
                    </a:lnTo>
                    <a:lnTo>
                      <a:pt x="471" y="472"/>
                    </a:lnTo>
                    <a:lnTo>
                      <a:pt x="465" y="492"/>
                    </a:lnTo>
                    <a:lnTo>
                      <a:pt x="451" y="498"/>
                    </a:lnTo>
                    <a:lnTo>
                      <a:pt x="443" y="506"/>
                    </a:lnTo>
                    <a:lnTo>
                      <a:pt x="443" y="520"/>
                    </a:lnTo>
                    <a:lnTo>
                      <a:pt x="437" y="532"/>
                    </a:lnTo>
                    <a:lnTo>
                      <a:pt x="429" y="540"/>
                    </a:lnTo>
                    <a:lnTo>
                      <a:pt x="423" y="548"/>
                    </a:lnTo>
                    <a:lnTo>
                      <a:pt x="429" y="554"/>
                    </a:lnTo>
                    <a:lnTo>
                      <a:pt x="451" y="568"/>
                    </a:lnTo>
                    <a:lnTo>
                      <a:pt x="465" y="574"/>
                    </a:lnTo>
                    <a:lnTo>
                      <a:pt x="465" y="582"/>
                    </a:lnTo>
                    <a:lnTo>
                      <a:pt x="479" y="596"/>
                    </a:lnTo>
                    <a:lnTo>
                      <a:pt x="485" y="616"/>
                    </a:lnTo>
                    <a:lnTo>
                      <a:pt x="485" y="622"/>
                    </a:lnTo>
                    <a:lnTo>
                      <a:pt x="521" y="616"/>
                    </a:lnTo>
                    <a:lnTo>
                      <a:pt x="527" y="622"/>
                    </a:lnTo>
                    <a:lnTo>
                      <a:pt x="533" y="636"/>
                    </a:lnTo>
                    <a:lnTo>
                      <a:pt x="521" y="630"/>
                    </a:lnTo>
                    <a:lnTo>
                      <a:pt x="511" y="630"/>
                    </a:lnTo>
                    <a:lnTo>
                      <a:pt x="499" y="630"/>
                    </a:lnTo>
                    <a:lnTo>
                      <a:pt x="485" y="622"/>
                    </a:lnTo>
                    <a:lnTo>
                      <a:pt x="479" y="616"/>
                    </a:lnTo>
                    <a:lnTo>
                      <a:pt x="471" y="616"/>
                    </a:lnTo>
                    <a:lnTo>
                      <a:pt x="465" y="622"/>
                    </a:lnTo>
                    <a:lnTo>
                      <a:pt x="459" y="616"/>
                    </a:lnTo>
                    <a:lnTo>
                      <a:pt x="443" y="622"/>
                    </a:lnTo>
                    <a:lnTo>
                      <a:pt x="423" y="616"/>
                    </a:lnTo>
                    <a:lnTo>
                      <a:pt x="409" y="608"/>
                    </a:lnTo>
                    <a:lnTo>
                      <a:pt x="397" y="608"/>
                    </a:lnTo>
                    <a:lnTo>
                      <a:pt x="397" y="602"/>
                    </a:lnTo>
                    <a:lnTo>
                      <a:pt x="389" y="602"/>
                    </a:lnTo>
                    <a:lnTo>
                      <a:pt x="369" y="602"/>
                    </a:lnTo>
                    <a:lnTo>
                      <a:pt x="349" y="596"/>
                    </a:lnTo>
                    <a:lnTo>
                      <a:pt x="349" y="608"/>
                    </a:lnTo>
                    <a:lnTo>
                      <a:pt x="341" y="616"/>
                    </a:lnTo>
                    <a:lnTo>
                      <a:pt x="341" y="622"/>
                    </a:lnTo>
                    <a:lnTo>
                      <a:pt x="355" y="630"/>
                    </a:lnTo>
                    <a:lnTo>
                      <a:pt x="361" y="636"/>
                    </a:lnTo>
                    <a:lnTo>
                      <a:pt x="383" y="642"/>
                    </a:lnTo>
                    <a:lnTo>
                      <a:pt x="383" y="636"/>
                    </a:lnTo>
                    <a:lnTo>
                      <a:pt x="389" y="636"/>
                    </a:lnTo>
                    <a:lnTo>
                      <a:pt x="403" y="648"/>
                    </a:lnTo>
                    <a:lnTo>
                      <a:pt x="409" y="676"/>
                    </a:lnTo>
                    <a:lnTo>
                      <a:pt x="397" y="684"/>
                    </a:lnTo>
                    <a:lnTo>
                      <a:pt x="389" y="690"/>
                    </a:lnTo>
                    <a:lnTo>
                      <a:pt x="375" y="684"/>
                    </a:lnTo>
                    <a:lnTo>
                      <a:pt x="361" y="684"/>
                    </a:lnTo>
                    <a:lnTo>
                      <a:pt x="355" y="684"/>
                    </a:lnTo>
                    <a:lnTo>
                      <a:pt x="341" y="670"/>
                    </a:lnTo>
                    <a:lnTo>
                      <a:pt x="335" y="662"/>
                    </a:lnTo>
                    <a:lnTo>
                      <a:pt x="327" y="656"/>
                    </a:lnTo>
                    <a:lnTo>
                      <a:pt x="321" y="670"/>
                    </a:lnTo>
                    <a:lnTo>
                      <a:pt x="315" y="662"/>
                    </a:lnTo>
                    <a:lnTo>
                      <a:pt x="295" y="656"/>
                    </a:lnTo>
                    <a:lnTo>
                      <a:pt x="295" y="642"/>
                    </a:lnTo>
                    <a:lnTo>
                      <a:pt x="287" y="642"/>
                    </a:lnTo>
                    <a:lnTo>
                      <a:pt x="287" y="636"/>
                    </a:lnTo>
                    <a:lnTo>
                      <a:pt x="287" y="630"/>
                    </a:lnTo>
                    <a:lnTo>
                      <a:pt x="281" y="622"/>
                    </a:lnTo>
                    <a:lnTo>
                      <a:pt x="281" y="616"/>
                    </a:lnTo>
                    <a:lnTo>
                      <a:pt x="273" y="602"/>
                    </a:lnTo>
                    <a:lnTo>
                      <a:pt x="265" y="596"/>
                    </a:lnTo>
                    <a:lnTo>
                      <a:pt x="265" y="588"/>
                    </a:lnTo>
                    <a:lnTo>
                      <a:pt x="273" y="582"/>
                    </a:lnTo>
                    <a:lnTo>
                      <a:pt x="273" y="568"/>
                    </a:lnTo>
                    <a:lnTo>
                      <a:pt x="265" y="560"/>
                    </a:lnTo>
                    <a:lnTo>
                      <a:pt x="265" y="554"/>
                    </a:lnTo>
                    <a:lnTo>
                      <a:pt x="259" y="548"/>
                    </a:lnTo>
                    <a:lnTo>
                      <a:pt x="253" y="540"/>
                    </a:lnTo>
                    <a:lnTo>
                      <a:pt x="233" y="540"/>
                    </a:lnTo>
                    <a:lnTo>
                      <a:pt x="225" y="540"/>
                    </a:lnTo>
                    <a:lnTo>
                      <a:pt x="219" y="540"/>
                    </a:lnTo>
                    <a:lnTo>
                      <a:pt x="211" y="532"/>
                    </a:lnTo>
                    <a:lnTo>
                      <a:pt x="219" y="532"/>
                    </a:lnTo>
                    <a:lnTo>
                      <a:pt x="219" y="526"/>
                    </a:lnTo>
                    <a:lnTo>
                      <a:pt x="211" y="526"/>
                    </a:lnTo>
                    <a:lnTo>
                      <a:pt x="205" y="526"/>
                    </a:lnTo>
                    <a:lnTo>
                      <a:pt x="205" y="520"/>
                    </a:lnTo>
                    <a:lnTo>
                      <a:pt x="191" y="520"/>
                    </a:lnTo>
                    <a:lnTo>
                      <a:pt x="185" y="512"/>
                    </a:lnTo>
                    <a:lnTo>
                      <a:pt x="177" y="498"/>
                    </a:lnTo>
                    <a:lnTo>
                      <a:pt x="185" y="486"/>
                    </a:lnTo>
                    <a:lnTo>
                      <a:pt x="177" y="486"/>
                    </a:lnTo>
                    <a:lnTo>
                      <a:pt x="171" y="480"/>
                    </a:lnTo>
                    <a:lnTo>
                      <a:pt x="177" y="480"/>
                    </a:lnTo>
                    <a:lnTo>
                      <a:pt x="185" y="480"/>
                    </a:lnTo>
                    <a:lnTo>
                      <a:pt x="191" y="480"/>
                    </a:lnTo>
                    <a:lnTo>
                      <a:pt x="205" y="492"/>
                    </a:lnTo>
                    <a:lnTo>
                      <a:pt x="211" y="498"/>
                    </a:lnTo>
                    <a:lnTo>
                      <a:pt x="219" y="498"/>
                    </a:lnTo>
                    <a:lnTo>
                      <a:pt x="219" y="492"/>
                    </a:lnTo>
                    <a:lnTo>
                      <a:pt x="233" y="498"/>
                    </a:lnTo>
                    <a:lnTo>
                      <a:pt x="245" y="506"/>
                    </a:lnTo>
                    <a:lnTo>
                      <a:pt x="253" y="506"/>
                    </a:lnTo>
                    <a:lnTo>
                      <a:pt x="259" y="506"/>
                    </a:lnTo>
                    <a:lnTo>
                      <a:pt x="265" y="512"/>
                    </a:lnTo>
                    <a:lnTo>
                      <a:pt x="281" y="512"/>
                    </a:lnTo>
                    <a:lnTo>
                      <a:pt x="295" y="512"/>
                    </a:lnTo>
                    <a:lnTo>
                      <a:pt x="315" y="520"/>
                    </a:lnTo>
                    <a:lnTo>
                      <a:pt x="321" y="512"/>
                    </a:lnTo>
                    <a:lnTo>
                      <a:pt x="327" y="506"/>
                    </a:lnTo>
                    <a:lnTo>
                      <a:pt x="335" y="512"/>
                    </a:lnTo>
                    <a:lnTo>
                      <a:pt x="335" y="520"/>
                    </a:lnTo>
                    <a:lnTo>
                      <a:pt x="349" y="520"/>
                    </a:lnTo>
                    <a:lnTo>
                      <a:pt x="361" y="520"/>
                    </a:lnTo>
                    <a:lnTo>
                      <a:pt x="375" y="520"/>
                    </a:lnTo>
                    <a:lnTo>
                      <a:pt x="389" y="506"/>
                    </a:lnTo>
                    <a:lnTo>
                      <a:pt x="397" y="506"/>
                    </a:lnTo>
                    <a:lnTo>
                      <a:pt x="409" y="498"/>
                    </a:lnTo>
                    <a:lnTo>
                      <a:pt x="417" y="492"/>
                    </a:lnTo>
                    <a:lnTo>
                      <a:pt x="417" y="486"/>
                    </a:lnTo>
                    <a:lnTo>
                      <a:pt x="423" y="480"/>
                    </a:lnTo>
                    <a:lnTo>
                      <a:pt x="429" y="480"/>
                    </a:lnTo>
                    <a:lnTo>
                      <a:pt x="429" y="472"/>
                    </a:lnTo>
                    <a:lnTo>
                      <a:pt x="429" y="466"/>
                    </a:lnTo>
                    <a:lnTo>
                      <a:pt x="437" y="466"/>
                    </a:lnTo>
                    <a:lnTo>
                      <a:pt x="443" y="438"/>
                    </a:lnTo>
                    <a:lnTo>
                      <a:pt x="437" y="424"/>
                    </a:lnTo>
                    <a:lnTo>
                      <a:pt x="437" y="410"/>
                    </a:lnTo>
                    <a:lnTo>
                      <a:pt x="429" y="410"/>
                    </a:lnTo>
                    <a:lnTo>
                      <a:pt x="429" y="396"/>
                    </a:lnTo>
                    <a:lnTo>
                      <a:pt x="423" y="404"/>
                    </a:lnTo>
                    <a:lnTo>
                      <a:pt x="417" y="396"/>
                    </a:lnTo>
                    <a:lnTo>
                      <a:pt x="417" y="382"/>
                    </a:lnTo>
                    <a:lnTo>
                      <a:pt x="403" y="382"/>
                    </a:lnTo>
                    <a:lnTo>
                      <a:pt x="397" y="382"/>
                    </a:lnTo>
                    <a:lnTo>
                      <a:pt x="397" y="376"/>
                    </a:lnTo>
                    <a:lnTo>
                      <a:pt x="375" y="370"/>
                    </a:lnTo>
                    <a:lnTo>
                      <a:pt x="361" y="376"/>
                    </a:lnTo>
                    <a:lnTo>
                      <a:pt x="355" y="370"/>
                    </a:lnTo>
                    <a:lnTo>
                      <a:pt x="349" y="362"/>
                    </a:lnTo>
                    <a:lnTo>
                      <a:pt x="335" y="356"/>
                    </a:lnTo>
                    <a:lnTo>
                      <a:pt x="335" y="362"/>
                    </a:lnTo>
                    <a:lnTo>
                      <a:pt x="327" y="356"/>
                    </a:lnTo>
                    <a:lnTo>
                      <a:pt x="315" y="344"/>
                    </a:lnTo>
                    <a:lnTo>
                      <a:pt x="295" y="344"/>
                    </a:lnTo>
                    <a:lnTo>
                      <a:pt x="273" y="330"/>
                    </a:lnTo>
                    <a:lnTo>
                      <a:pt x="253" y="322"/>
                    </a:lnTo>
                    <a:lnTo>
                      <a:pt x="239" y="330"/>
                    </a:lnTo>
                    <a:lnTo>
                      <a:pt x="191" y="330"/>
                    </a:lnTo>
                    <a:lnTo>
                      <a:pt x="185" y="330"/>
                    </a:lnTo>
                    <a:lnTo>
                      <a:pt x="177" y="322"/>
                    </a:lnTo>
                    <a:lnTo>
                      <a:pt x="163" y="330"/>
                    </a:lnTo>
                    <a:lnTo>
                      <a:pt x="163" y="322"/>
                    </a:lnTo>
                    <a:lnTo>
                      <a:pt x="157" y="316"/>
                    </a:lnTo>
                    <a:lnTo>
                      <a:pt x="151" y="322"/>
                    </a:lnTo>
                    <a:lnTo>
                      <a:pt x="143" y="308"/>
                    </a:lnTo>
                    <a:lnTo>
                      <a:pt x="134" y="308"/>
                    </a:lnTo>
                    <a:lnTo>
                      <a:pt x="128" y="294"/>
                    </a:lnTo>
                    <a:lnTo>
                      <a:pt x="122" y="294"/>
                    </a:lnTo>
                    <a:lnTo>
                      <a:pt x="114" y="308"/>
                    </a:lnTo>
                    <a:lnTo>
                      <a:pt x="108" y="308"/>
                    </a:lnTo>
                    <a:lnTo>
                      <a:pt x="100" y="294"/>
                    </a:lnTo>
                    <a:lnTo>
                      <a:pt x="94" y="294"/>
                    </a:lnTo>
                    <a:lnTo>
                      <a:pt x="94" y="316"/>
                    </a:lnTo>
                    <a:lnTo>
                      <a:pt x="80" y="316"/>
                    </a:lnTo>
                    <a:lnTo>
                      <a:pt x="74" y="308"/>
                    </a:lnTo>
                    <a:lnTo>
                      <a:pt x="60" y="308"/>
                    </a:lnTo>
                    <a:lnTo>
                      <a:pt x="28" y="320"/>
                    </a:lnTo>
                    <a:lnTo>
                      <a:pt x="18" y="344"/>
                    </a:lnTo>
                    <a:lnTo>
                      <a:pt x="14" y="366"/>
                    </a:lnTo>
                    <a:lnTo>
                      <a:pt x="8" y="366"/>
                    </a:lnTo>
                    <a:lnTo>
                      <a:pt x="8" y="376"/>
                    </a:lnTo>
                    <a:lnTo>
                      <a:pt x="0" y="382"/>
                    </a:lnTo>
                    <a:lnTo>
                      <a:pt x="0" y="396"/>
                    </a:lnTo>
                    <a:lnTo>
                      <a:pt x="20" y="412"/>
                    </a:lnTo>
                    <a:lnTo>
                      <a:pt x="30" y="426"/>
                    </a:lnTo>
                    <a:lnTo>
                      <a:pt x="48" y="448"/>
                    </a:lnTo>
                    <a:lnTo>
                      <a:pt x="40" y="466"/>
                    </a:lnTo>
                    <a:lnTo>
                      <a:pt x="42" y="496"/>
                    </a:lnTo>
                    <a:lnTo>
                      <a:pt x="50" y="526"/>
                    </a:lnTo>
                    <a:lnTo>
                      <a:pt x="74" y="546"/>
                    </a:lnTo>
                    <a:lnTo>
                      <a:pt x="94" y="580"/>
                    </a:lnTo>
                    <a:lnTo>
                      <a:pt x="84" y="592"/>
                    </a:lnTo>
                    <a:lnTo>
                      <a:pt x="90" y="602"/>
                    </a:lnTo>
                    <a:lnTo>
                      <a:pt x="88" y="614"/>
                    </a:lnTo>
                    <a:lnTo>
                      <a:pt x="90" y="626"/>
                    </a:lnTo>
                    <a:lnTo>
                      <a:pt x="92" y="650"/>
                    </a:lnTo>
                    <a:lnTo>
                      <a:pt x="100" y="668"/>
                    </a:lnTo>
                    <a:lnTo>
                      <a:pt x="104" y="668"/>
                    </a:lnTo>
                    <a:lnTo>
                      <a:pt x="114" y="698"/>
                    </a:lnTo>
                    <a:lnTo>
                      <a:pt x="124" y="698"/>
                    </a:lnTo>
                    <a:lnTo>
                      <a:pt x="132" y="700"/>
                    </a:lnTo>
                    <a:lnTo>
                      <a:pt x="132" y="716"/>
                    </a:lnTo>
                    <a:lnTo>
                      <a:pt x="122" y="718"/>
                    </a:lnTo>
                    <a:lnTo>
                      <a:pt x="114" y="722"/>
                    </a:lnTo>
                    <a:lnTo>
                      <a:pt x="124" y="752"/>
                    </a:lnTo>
                    <a:lnTo>
                      <a:pt x="134" y="758"/>
                    </a:lnTo>
                    <a:lnTo>
                      <a:pt x="151" y="768"/>
                    </a:lnTo>
                    <a:lnTo>
                      <a:pt x="177" y="774"/>
                    </a:lnTo>
                    <a:lnTo>
                      <a:pt x="185" y="792"/>
                    </a:lnTo>
                    <a:lnTo>
                      <a:pt x="173" y="800"/>
                    </a:lnTo>
                    <a:lnTo>
                      <a:pt x="167" y="822"/>
                    </a:lnTo>
                    <a:lnTo>
                      <a:pt x="157" y="838"/>
                    </a:lnTo>
                    <a:lnTo>
                      <a:pt x="147" y="858"/>
                    </a:lnTo>
                    <a:lnTo>
                      <a:pt x="151" y="868"/>
                    </a:lnTo>
                    <a:lnTo>
                      <a:pt x="136" y="876"/>
                    </a:lnTo>
                    <a:lnTo>
                      <a:pt x="94" y="944"/>
                    </a:lnTo>
                    <a:lnTo>
                      <a:pt x="94" y="962"/>
                    </a:lnTo>
                    <a:lnTo>
                      <a:pt x="108" y="962"/>
                    </a:lnTo>
                    <a:lnTo>
                      <a:pt x="122" y="956"/>
                    </a:lnTo>
                    <a:lnTo>
                      <a:pt x="128" y="956"/>
                    </a:lnTo>
                    <a:lnTo>
                      <a:pt x="128" y="962"/>
                    </a:lnTo>
                    <a:lnTo>
                      <a:pt x="122" y="976"/>
                    </a:lnTo>
                    <a:lnTo>
                      <a:pt x="122" y="984"/>
                    </a:lnTo>
                    <a:lnTo>
                      <a:pt x="134" y="984"/>
                    </a:lnTo>
                    <a:lnTo>
                      <a:pt x="143" y="992"/>
                    </a:lnTo>
                    <a:lnTo>
                      <a:pt x="157" y="998"/>
                    </a:lnTo>
                    <a:lnTo>
                      <a:pt x="163" y="992"/>
                    </a:lnTo>
                    <a:lnTo>
                      <a:pt x="177" y="992"/>
                    </a:lnTo>
                    <a:lnTo>
                      <a:pt x="185" y="992"/>
                    </a:lnTo>
                    <a:lnTo>
                      <a:pt x="191" y="998"/>
                    </a:lnTo>
                    <a:lnTo>
                      <a:pt x="197" y="998"/>
                    </a:lnTo>
                    <a:lnTo>
                      <a:pt x="197" y="1012"/>
                    </a:lnTo>
                    <a:lnTo>
                      <a:pt x="191" y="1012"/>
                    </a:lnTo>
                    <a:lnTo>
                      <a:pt x="177" y="1012"/>
                    </a:lnTo>
                    <a:lnTo>
                      <a:pt x="163" y="1012"/>
                    </a:lnTo>
                    <a:lnTo>
                      <a:pt x="143" y="1012"/>
                    </a:lnTo>
                    <a:lnTo>
                      <a:pt x="143" y="1018"/>
                    </a:lnTo>
                    <a:lnTo>
                      <a:pt x="134" y="1018"/>
                    </a:lnTo>
                    <a:lnTo>
                      <a:pt x="134" y="1012"/>
                    </a:lnTo>
                    <a:lnTo>
                      <a:pt x="128" y="1018"/>
                    </a:lnTo>
                    <a:lnTo>
                      <a:pt x="128" y="1024"/>
                    </a:lnTo>
                    <a:lnTo>
                      <a:pt x="128" y="1032"/>
                    </a:lnTo>
                    <a:lnTo>
                      <a:pt x="128" y="1038"/>
                    </a:lnTo>
                    <a:lnTo>
                      <a:pt x="122" y="1038"/>
                    </a:lnTo>
                    <a:lnTo>
                      <a:pt x="114" y="1024"/>
                    </a:lnTo>
                    <a:lnTo>
                      <a:pt x="108" y="1032"/>
                    </a:lnTo>
                    <a:lnTo>
                      <a:pt x="108" y="1038"/>
                    </a:lnTo>
                    <a:lnTo>
                      <a:pt x="108" y="1046"/>
                    </a:lnTo>
                    <a:lnTo>
                      <a:pt x="108" y="1060"/>
                    </a:lnTo>
                    <a:lnTo>
                      <a:pt x="114" y="1066"/>
                    </a:lnTo>
                    <a:lnTo>
                      <a:pt x="114" y="1080"/>
                    </a:lnTo>
                    <a:lnTo>
                      <a:pt x="100" y="1094"/>
                    </a:lnTo>
                    <a:lnTo>
                      <a:pt x="100" y="1100"/>
                    </a:lnTo>
                    <a:lnTo>
                      <a:pt x="108" y="1106"/>
                    </a:lnTo>
                    <a:lnTo>
                      <a:pt x="100" y="1120"/>
                    </a:lnTo>
                    <a:lnTo>
                      <a:pt x="108" y="1134"/>
                    </a:lnTo>
                    <a:lnTo>
                      <a:pt x="108" y="1148"/>
                    </a:lnTo>
                    <a:lnTo>
                      <a:pt x="122" y="1154"/>
                    </a:lnTo>
                    <a:lnTo>
                      <a:pt x="128" y="1162"/>
                    </a:lnTo>
                    <a:lnTo>
                      <a:pt x="128" y="1168"/>
                    </a:lnTo>
                    <a:lnTo>
                      <a:pt x="122" y="1174"/>
                    </a:lnTo>
                    <a:lnTo>
                      <a:pt x="114" y="1168"/>
                    </a:lnTo>
                    <a:lnTo>
                      <a:pt x="108" y="1162"/>
                    </a:lnTo>
                    <a:lnTo>
                      <a:pt x="100" y="1168"/>
                    </a:lnTo>
                    <a:lnTo>
                      <a:pt x="100" y="1174"/>
                    </a:lnTo>
                    <a:lnTo>
                      <a:pt x="108" y="1182"/>
                    </a:lnTo>
                    <a:lnTo>
                      <a:pt x="114" y="1182"/>
                    </a:lnTo>
                    <a:lnTo>
                      <a:pt x="108" y="1196"/>
                    </a:lnTo>
                    <a:lnTo>
                      <a:pt x="100" y="1196"/>
                    </a:lnTo>
                    <a:lnTo>
                      <a:pt x="100" y="1196"/>
                    </a:lnTo>
                    <a:lnTo>
                      <a:pt x="100" y="1196"/>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0" name="Freeform 14"/>
              <p:cNvSpPr>
                <a:spLocks/>
              </p:cNvSpPr>
              <p:nvPr/>
            </p:nvSpPr>
            <p:spPr bwMode="gray">
              <a:xfrm>
                <a:off x="5547989" y="2155402"/>
                <a:ext cx="311219" cy="238178"/>
              </a:xfrm>
              <a:custGeom>
                <a:avLst/>
                <a:gdLst>
                  <a:gd name="T0" fmla="*/ 60 w 196"/>
                  <a:gd name="T1" fmla="*/ 122 h 150"/>
                  <a:gd name="T2" fmla="*/ 74 w 196"/>
                  <a:gd name="T3" fmla="*/ 122 h 150"/>
                  <a:gd name="T4" fmla="*/ 82 w 196"/>
                  <a:gd name="T5" fmla="*/ 116 h 150"/>
                  <a:gd name="T6" fmla="*/ 102 w 196"/>
                  <a:gd name="T7" fmla="*/ 122 h 150"/>
                  <a:gd name="T8" fmla="*/ 108 w 196"/>
                  <a:gd name="T9" fmla="*/ 136 h 150"/>
                  <a:gd name="T10" fmla="*/ 128 w 196"/>
                  <a:gd name="T11" fmla="*/ 136 h 150"/>
                  <a:gd name="T12" fmla="*/ 150 w 196"/>
                  <a:gd name="T13" fmla="*/ 144 h 150"/>
                  <a:gd name="T14" fmla="*/ 164 w 196"/>
                  <a:gd name="T15" fmla="*/ 144 h 150"/>
                  <a:gd name="T16" fmla="*/ 184 w 196"/>
                  <a:gd name="T17" fmla="*/ 130 h 150"/>
                  <a:gd name="T18" fmla="*/ 170 w 196"/>
                  <a:gd name="T19" fmla="*/ 122 h 150"/>
                  <a:gd name="T20" fmla="*/ 178 w 196"/>
                  <a:gd name="T21" fmla="*/ 110 h 150"/>
                  <a:gd name="T22" fmla="*/ 192 w 196"/>
                  <a:gd name="T23" fmla="*/ 122 h 150"/>
                  <a:gd name="T24" fmla="*/ 196 w 196"/>
                  <a:gd name="T25" fmla="*/ 110 h 150"/>
                  <a:gd name="T26" fmla="*/ 178 w 196"/>
                  <a:gd name="T27" fmla="*/ 96 h 150"/>
                  <a:gd name="T28" fmla="*/ 170 w 196"/>
                  <a:gd name="T29" fmla="*/ 68 h 150"/>
                  <a:gd name="T30" fmla="*/ 170 w 196"/>
                  <a:gd name="T31" fmla="*/ 48 h 150"/>
                  <a:gd name="T32" fmla="*/ 184 w 196"/>
                  <a:gd name="T33" fmla="*/ 28 h 150"/>
                  <a:gd name="T34" fmla="*/ 178 w 196"/>
                  <a:gd name="T35" fmla="*/ 6 h 150"/>
                  <a:gd name="T36" fmla="*/ 142 w 196"/>
                  <a:gd name="T37" fmla="*/ 6 h 150"/>
                  <a:gd name="T38" fmla="*/ 128 w 196"/>
                  <a:gd name="T39" fmla="*/ 0 h 150"/>
                  <a:gd name="T40" fmla="*/ 108 w 196"/>
                  <a:gd name="T41" fmla="*/ 6 h 150"/>
                  <a:gd name="T42" fmla="*/ 94 w 196"/>
                  <a:gd name="T43" fmla="*/ 0 h 150"/>
                  <a:gd name="T44" fmla="*/ 82 w 196"/>
                  <a:gd name="T45" fmla="*/ 0 h 150"/>
                  <a:gd name="T46" fmla="*/ 68 w 196"/>
                  <a:gd name="T47" fmla="*/ 6 h 150"/>
                  <a:gd name="T48" fmla="*/ 48 w 196"/>
                  <a:gd name="T49" fmla="*/ 6 h 150"/>
                  <a:gd name="T50" fmla="*/ 34 w 196"/>
                  <a:gd name="T51" fmla="*/ 6 h 150"/>
                  <a:gd name="T52" fmla="*/ 26 w 196"/>
                  <a:gd name="T53" fmla="*/ 14 h 150"/>
                  <a:gd name="T54" fmla="*/ 20 w 196"/>
                  <a:gd name="T55" fmla="*/ 20 h 150"/>
                  <a:gd name="T56" fmla="*/ 6 w 196"/>
                  <a:gd name="T57" fmla="*/ 20 h 150"/>
                  <a:gd name="T58" fmla="*/ 0 w 196"/>
                  <a:gd name="T59" fmla="*/ 34 h 150"/>
                  <a:gd name="T60" fmla="*/ 0 w 196"/>
                  <a:gd name="T61" fmla="*/ 48 h 150"/>
                  <a:gd name="T62" fmla="*/ 14 w 196"/>
                  <a:gd name="T63" fmla="*/ 54 h 150"/>
                  <a:gd name="T64" fmla="*/ 6 w 196"/>
                  <a:gd name="T65" fmla="*/ 62 h 150"/>
                  <a:gd name="T66" fmla="*/ 6 w 196"/>
                  <a:gd name="T67" fmla="*/ 88 h 150"/>
                  <a:gd name="T68" fmla="*/ 26 w 196"/>
                  <a:gd name="T69" fmla="*/ 102 h 150"/>
                  <a:gd name="T70" fmla="*/ 34 w 196"/>
                  <a:gd name="T71" fmla="*/ 88 h 150"/>
                  <a:gd name="T72" fmla="*/ 48 w 196"/>
                  <a:gd name="T73" fmla="*/ 96 h 150"/>
                  <a:gd name="T74" fmla="*/ 40 w 196"/>
                  <a:gd name="T75" fmla="*/ 122 h 150"/>
                  <a:gd name="T76" fmla="*/ 34 w 196"/>
                  <a:gd name="T77" fmla="*/ 130 h 150"/>
                  <a:gd name="T78" fmla="*/ 34 w 196"/>
                  <a:gd name="T79" fmla="*/ 13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6" h="150">
                    <a:moveTo>
                      <a:pt x="34" y="130"/>
                    </a:moveTo>
                    <a:lnTo>
                      <a:pt x="60" y="122"/>
                    </a:lnTo>
                    <a:lnTo>
                      <a:pt x="68" y="116"/>
                    </a:lnTo>
                    <a:lnTo>
                      <a:pt x="74" y="122"/>
                    </a:lnTo>
                    <a:lnTo>
                      <a:pt x="82" y="122"/>
                    </a:lnTo>
                    <a:lnTo>
                      <a:pt x="82" y="116"/>
                    </a:lnTo>
                    <a:lnTo>
                      <a:pt x="94" y="122"/>
                    </a:lnTo>
                    <a:lnTo>
                      <a:pt x="102" y="122"/>
                    </a:lnTo>
                    <a:lnTo>
                      <a:pt x="102" y="130"/>
                    </a:lnTo>
                    <a:lnTo>
                      <a:pt x="108" y="136"/>
                    </a:lnTo>
                    <a:lnTo>
                      <a:pt x="116" y="136"/>
                    </a:lnTo>
                    <a:lnTo>
                      <a:pt x="128" y="136"/>
                    </a:lnTo>
                    <a:lnTo>
                      <a:pt x="136" y="150"/>
                    </a:lnTo>
                    <a:lnTo>
                      <a:pt x="150" y="144"/>
                    </a:lnTo>
                    <a:lnTo>
                      <a:pt x="164" y="136"/>
                    </a:lnTo>
                    <a:lnTo>
                      <a:pt x="164" y="144"/>
                    </a:lnTo>
                    <a:lnTo>
                      <a:pt x="178" y="144"/>
                    </a:lnTo>
                    <a:lnTo>
                      <a:pt x="184" y="130"/>
                    </a:lnTo>
                    <a:lnTo>
                      <a:pt x="178" y="130"/>
                    </a:lnTo>
                    <a:lnTo>
                      <a:pt x="170" y="122"/>
                    </a:lnTo>
                    <a:lnTo>
                      <a:pt x="170" y="116"/>
                    </a:lnTo>
                    <a:lnTo>
                      <a:pt x="178" y="110"/>
                    </a:lnTo>
                    <a:lnTo>
                      <a:pt x="184" y="116"/>
                    </a:lnTo>
                    <a:lnTo>
                      <a:pt x="192" y="122"/>
                    </a:lnTo>
                    <a:lnTo>
                      <a:pt x="196" y="116"/>
                    </a:lnTo>
                    <a:lnTo>
                      <a:pt x="196" y="110"/>
                    </a:lnTo>
                    <a:lnTo>
                      <a:pt x="192" y="102"/>
                    </a:lnTo>
                    <a:lnTo>
                      <a:pt x="178" y="96"/>
                    </a:lnTo>
                    <a:lnTo>
                      <a:pt x="178" y="82"/>
                    </a:lnTo>
                    <a:lnTo>
                      <a:pt x="170" y="68"/>
                    </a:lnTo>
                    <a:lnTo>
                      <a:pt x="178" y="54"/>
                    </a:lnTo>
                    <a:lnTo>
                      <a:pt x="170" y="48"/>
                    </a:lnTo>
                    <a:lnTo>
                      <a:pt x="170" y="42"/>
                    </a:lnTo>
                    <a:lnTo>
                      <a:pt x="184" y="28"/>
                    </a:lnTo>
                    <a:lnTo>
                      <a:pt x="184" y="14"/>
                    </a:lnTo>
                    <a:lnTo>
                      <a:pt x="178" y="6"/>
                    </a:lnTo>
                    <a:lnTo>
                      <a:pt x="170" y="6"/>
                    </a:lnTo>
                    <a:lnTo>
                      <a:pt x="142" y="6"/>
                    </a:lnTo>
                    <a:lnTo>
                      <a:pt x="136" y="6"/>
                    </a:lnTo>
                    <a:lnTo>
                      <a:pt x="128" y="0"/>
                    </a:lnTo>
                    <a:lnTo>
                      <a:pt x="122" y="0"/>
                    </a:lnTo>
                    <a:lnTo>
                      <a:pt x="108" y="6"/>
                    </a:lnTo>
                    <a:lnTo>
                      <a:pt x="108" y="0"/>
                    </a:lnTo>
                    <a:lnTo>
                      <a:pt x="94" y="0"/>
                    </a:lnTo>
                    <a:lnTo>
                      <a:pt x="88" y="0"/>
                    </a:lnTo>
                    <a:lnTo>
                      <a:pt x="82" y="0"/>
                    </a:lnTo>
                    <a:lnTo>
                      <a:pt x="74" y="0"/>
                    </a:lnTo>
                    <a:lnTo>
                      <a:pt x="68" y="6"/>
                    </a:lnTo>
                    <a:lnTo>
                      <a:pt x="60" y="6"/>
                    </a:lnTo>
                    <a:lnTo>
                      <a:pt x="48" y="6"/>
                    </a:lnTo>
                    <a:lnTo>
                      <a:pt x="40" y="6"/>
                    </a:lnTo>
                    <a:lnTo>
                      <a:pt x="34" y="6"/>
                    </a:lnTo>
                    <a:lnTo>
                      <a:pt x="26" y="6"/>
                    </a:lnTo>
                    <a:lnTo>
                      <a:pt x="26" y="14"/>
                    </a:lnTo>
                    <a:lnTo>
                      <a:pt x="26" y="20"/>
                    </a:lnTo>
                    <a:lnTo>
                      <a:pt x="20" y="20"/>
                    </a:lnTo>
                    <a:lnTo>
                      <a:pt x="14" y="20"/>
                    </a:lnTo>
                    <a:lnTo>
                      <a:pt x="6" y="20"/>
                    </a:lnTo>
                    <a:lnTo>
                      <a:pt x="0" y="28"/>
                    </a:lnTo>
                    <a:lnTo>
                      <a:pt x="0" y="34"/>
                    </a:lnTo>
                    <a:lnTo>
                      <a:pt x="0" y="42"/>
                    </a:lnTo>
                    <a:lnTo>
                      <a:pt x="0" y="48"/>
                    </a:lnTo>
                    <a:lnTo>
                      <a:pt x="14" y="48"/>
                    </a:lnTo>
                    <a:lnTo>
                      <a:pt x="14" y="54"/>
                    </a:lnTo>
                    <a:lnTo>
                      <a:pt x="14" y="62"/>
                    </a:lnTo>
                    <a:lnTo>
                      <a:pt x="6" y="62"/>
                    </a:lnTo>
                    <a:lnTo>
                      <a:pt x="6" y="68"/>
                    </a:lnTo>
                    <a:lnTo>
                      <a:pt x="6" y="88"/>
                    </a:lnTo>
                    <a:lnTo>
                      <a:pt x="20" y="102"/>
                    </a:lnTo>
                    <a:lnTo>
                      <a:pt x="26" y="102"/>
                    </a:lnTo>
                    <a:lnTo>
                      <a:pt x="26" y="96"/>
                    </a:lnTo>
                    <a:lnTo>
                      <a:pt x="34" y="88"/>
                    </a:lnTo>
                    <a:lnTo>
                      <a:pt x="40" y="88"/>
                    </a:lnTo>
                    <a:lnTo>
                      <a:pt x="48" y="96"/>
                    </a:lnTo>
                    <a:lnTo>
                      <a:pt x="40" y="110"/>
                    </a:lnTo>
                    <a:lnTo>
                      <a:pt x="40" y="122"/>
                    </a:lnTo>
                    <a:lnTo>
                      <a:pt x="40" y="130"/>
                    </a:lnTo>
                    <a:lnTo>
                      <a:pt x="34" y="130"/>
                    </a:lnTo>
                    <a:lnTo>
                      <a:pt x="34" y="130"/>
                    </a:lnTo>
                    <a:lnTo>
                      <a:pt x="34" y="130"/>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1" name="Freeform 15"/>
              <p:cNvSpPr>
                <a:spLocks/>
              </p:cNvSpPr>
              <p:nvPr/>
            </p:nvSpPr>
            <p:spPr bwMode="gray">
              <a:xfrm>
                <a:off x="5382852" y="2339593"/>
                <a:ext cx="503350" cy="260408"/>
              </a:xfrm>
              <a:custGeom>
                <a:avLst/>
                <a:gdLst>
                  <a:gd name="T0" fmla="*/ 138 w 317"/>
                  <a:gd name="T1" fmla="*/ 28 h 164"/>
                  <a:gd name="T2" fmla="*/ 138 w 317"/>
                  <a:gd name="T3" fmla="*/ 48 h 164"/>
                  <a:gd name="T4" fmla="*/ 138 w 317"/>
                  <a:gd name="T5" fmla="*/ 70 h 164"/>
                  <a:gd name="T6" fmla="*/ 124 w 317"/>
                  <a:gd name="T7" fmla="*/ 82 h 164"/>
                  <a:gd name="T8" fmla="*/ 102 w 317"/>
                  <a:gd name="T9" fmla="*/ 70 h 164"/>
                  <a:gd name="T10" fmla="*/ 96 w 317"/>
                  <a:gd name="T11" fmla="*/ 48 h 164"/>
                  <a:gd name="T12" fmla="*/ 76 w 317"/>
                  <a:gd name="T13" fmla="*/ 34 h 164"/>
                  <a:gd name="T14" fmla="*/ 70 w 317"/>
                  <a:gd name="T15" fmla="*/ 22 h 164"/>
                  <a:gd name="T16" fmla="*/ 42 w 317"/>
                  <a:gd name="T17" fmla="*/ 28 h 164"/>
                  <a:gd name="T18" fmla="*/ 28 w 317"/>
                  <a:gd name="T19" fmla="*/ 34 h 164"/>
                  <a:gd name="T20" fmla="*/ 22 w 317"/>
                  <a:gd name="T21" fmla="*/ 62 h 164"/>
                  <a:gd name="T22" fmla="*/ 8 w 317"/>
                  <a:gd name="T23" fmla="*/ 90 h 164"/>
                  <a:gd name="T24" fmla="*/ 22 w 317"/>
                  <a:gd name="T25" fmla="*/ 124 h 164"/>
                  <a:gd name="T26" fmla="*/ 42 w 317"/>
                  <a:gd name="T27" fmla="*/ 116 h 164"/>
                  <a:gd name="T28" fmla="*/ 56 w 317"/>
                  <a:gd name="T29" fmla="*/ 116 h 164"/>
                  <a:gd name="T30" fmla="*/ 82 w 317"/>
                  <a:gd name="T31" fmla="*/ 116 h 164"/>
                  <a:gd name="T32" fmla="*/ 116 w 317"/>
                  <a:gd name="T33" fmla="*/ 110 h 164"/>
                  <a:gd name="T34" fmla="*/ 152 w 317"/>
                  <a:gd name="T35" fmla="*/ 110 h 164"/>
                  <a:gd name="T36" fmla="*/ 172 w 317"/>
                  <a:gd name="T37" fmla="*/ 124 h 164"/>
                  <a:gd name="T38" fmla="*/ 198 w 317"/>
                  <a:gd name="T39" fmla="*/ 130 h 164"/>
                  <a:gd name="T40" fmla="*/ 226 w 317"/>
                  <a:gd name="T41" fmla="*/ 158 h 164"/>
                  <a:gd name="T42" fmla="*/ 254 w 317"/>
                  <a:gd name="T43" fmla="*/ 164 h 164"/>
                  <a:gd name="T44" fmla="*/ 268 w 317"/>
                  <a:gd name="T45" fmla="*/ 164 h 164"/>
                  <a:gd name="T46" fmla="*/ 282 w 317"/>
                  <a:gd name="T47" fmla="*/ 164 h 164"/>
                  <a:gd name="T48" fmla="*/ 300 w 317"/>
                  <a:gd name="T49" fmla="*/ 152 h 164"/>
                  <a:gd name="T50" fmla="*/ 288 w 317"/>
                  <a:gd name="T51" fmla="*/ 138 h 164"/>
                  <a:gd name="T52" fmla="*/ 315 w 317"/>
                  <a:gd name="T53" fmla="*/ 124 h 164"/>
                  <a:gd name="T54" fmla="*/ 311 w 317"/>
                  <a:gd name="T55" fmla="*/ 110 h 164"/>
                  <a:gd name="T56" fmla="*/ 302 w 317"/>
                  <a:gd name="T57" fmla="*/ 82 h 164"/>
                  <a:gd name="T58" fmla="*/ 296 w 317"/>
                  <a:gd name="T59" fmla="*/ 76 h 164"/>
                  <a:gd name="T60" fmla="*/ 282 w 317"/>
                  <a:gd name="T61" fmla="*/ 62 h 164"/>
                  <a:gd name="T62" fmla="*/ 296 w 317"/>
                  <a:gd name="T63" fmla="*/ 48 h 164"/>
                  <a:gd name="T64" fmla="*/ 290 w 317"/>
                  <a:gd name="T65" fmla="*/ 34 h 164"/>
                  <a:gd name="T66" fmla="*/ 282 w 317"/>
                  <a:gd name="T67" fmla="*/ 34 h 164"/>
                  <a:gd name="T68" fmla="*/ 274 w 317"/>
                  <a:gd name="T69" fmla="*/ 28 h 164"/>
                  <a:gd name="T70" fmla="*/ 268 w 317"/>
                  <a:gd name="T71" fmla="*/ 28 h 164"/>
                  <a:gd name="T72" fmla="*/ 254 w 317"/>
                  <a:gd name="T73" fmla="*/ 28 h 164"/>
                  <a:gd name="T74" fmla="*/ 232 w 317"/>
                  <a:gd name="T75" fmla="*/ 22 h 164"/>
                  <a:gd name="T76" fmla="*/ 212 w 317"/>
                  <a:gd name="T77" fmla="*/ 22 h 164"/>
                  <a:gd name="T78" fmla="*/ 206 w 317"/>
                  <a:gd name="T79" fmla="*/ 6 h 164"/>
                  <a:gd name="T80" fmla="*/ 186 w 317"/>
                  <a:gd name="T81" fmla="*/ 0 h 164"/>
                  <a:gd name="T82" fmla="*/ 178 w 317"/>
                  <a:gd name="T83" fmla="*/ 6 h 164"/>
                  <a:gd name="T84" fmla="*/ 164 w 317"/>
                  <a:gd name="T85" fmla="*/ 6 h 164"/>
                  <a:gd name="T86" fmla="*/ 138 w 317"/>
                  <a:gd name="T87" fmla="*/ 22 h 164"/>
                  <a:gd name="T88" fmla="*/ 138 w 317"/>
                  <a:gd name="T89" fmla="*/ 2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7" h="164">
                    <a:moveTo>
                      <a:pt x="138" y="22"/>
                    </a:moveTo>
                    <a:lnTo>
                      <a:pt x="138" y="28"/>
                    </a:lnTo>
                    <a:lnTo>
                      <a:pt x="138" y="34"/>
                    </a:lnTo>
                    <a:lnTo>
                      <a:pt x="138" y="48"/>
                    </a:lnTo>
                    <a:lnTo>
                      <a:pt x="138" y="56"/>
                    </a:lnTo>
                    <a:lnTo>
                      <a:pt x="138" y="70"/>
                    </a:lnTo>
                    <a:lnTo>
                      <a:pt x="130" y="76"/>
                    </a:lnTo>
                    <a:lnTo>
                      <a:pt x="124" y="82"/>
                    </a:lnTo>
                    <a:lnTo>
                      <a:pt x="116" y="82"/>
                    </a:lnTo>
                    <a:lnTo>
                      <a:pt x="102" y="70"/>
                    </a:lnTo>
                    <a:lnTo>
                      <a:pt x="96" y="62"/>
                    </a:lnTo>
                    <a:lnTo>
                      <a:pt x="96" y="48"/>
                    </a:lnTo>
                    <a:lnTo>
                      <a:pt x="82" y="34"/>
                    </a:lnTo>
                    <a:lnTo>
                      <a:pt x="76" y="34"/>
                    </a:lnTo>
                    <a:lnTo>
                      <a:pt x="70" y="28"/>
                    </a:lnTo>
                    <a:lnTo>
                      <a:pt x="70" y="22"/>
                    </a:lnTo>
                    <a:lnTo>
                      <a:pt x="56" y="22"/>
                    </a:lnTo>
                    <a:lnTo>
                      <a:pt x="42" y="28"/>
                    </a:lnTo>
                    <a:lnTo>
                      <a:pt x="34" y="34"/>
                    </a:lnTo>
                    <a:lnTo>
                      <a:pt x="28" y="34"/>
                    </a:lnTo>
                    <a:lnTo>
                      <a:pt x="22" y="48"/>
                    </a:lnTo>
                    <a:lnTo>
                      <a:pt x="22" y="62"/>
                    </a:lnTo>
                    <a:lnTo>
                      <a:pt x="14" y="76"/>
                    </a:lnTo>
                    <a:lnTo>
                      <a:pt x="8" y="90"/>
                    </a:lnTo>
                    <a:lnTo>
                      <a:pt x="0" y="130"/>
                    </a:lnTo>
                    <a:lnTo>
                      <a:pt x="22" y="124"/>
                    </a:lnTo>
                    <a:lnTo>
                      <a:pt x="34" y="124"/>
                    </a:lnTo>
                    <a:lnTo>
                      <a:pt x="42" y="116"/>
                    </a:lnTo>
                    <a:lnTo>
                      <a:pt x="48" y="116"/>
                    </a:lnTo>
                    <a:lnTo>
                      <a:pt x="56" y="116"/>
                    </a:lnTo>
                    <a:lnTo>
                      <a:pt x="76" y="116"/>
                    </a:lnTo>
                    <a:lnTo>
                      <a:pt x="82" y="116"/>
                    </a:lnTo>
                    <a:lnTo>
                      <a:pt x="96" y="110"/>
                    </a:lnTo>
                    <a:lnTo>
                      <a:pt x="116" y="110"/>
                    </a:lnTo>
                    <a:lnTo>
                      <a:pt x="138" y="116"/>
                    </a:lnTo>
                    <a:lnTo>
                      <a:pt x="152" y="110"/>
                    </a:lnTo>
                    <a:lnTo>
                      <a:pt x="158" y="116"/>
                    </a:lnTo>
                    <a:lnTo>
                      <a:pt x="172" y="124"/>
                    </a:lnTo>
                    <a:lnTo>
                      <a:pt x="192" y="130"/>
                    </a:lnTo>
                    <a:lnTo>
                      <a:pt x="198" y="130"/>
                    </a:lnTo>
                    <a:lnTo>
                      <a:pt x="206" y="144"/>
                    </a:lnTo>
                    <a:lnTo>
                      <a:pt x="226" y="158"/>
                    </a:lnTo>
                    <a:lnTo>
                      <a:pt x="232" y="164"/>
                    </a:lnTo>
                    <a:lnTo>
                      <a:pt x="254" y="164"/>
                    </a:lnTo>
                    <a:lnTo>
                      <a:pt x="260" y="164"/>
                    </a:lnTo>
                    <a:lnTo>
                      <a:pt x="268" y="164"/>
                    </a:lnTo>
                    <a:lnTo>
                      <a:pt x="274" y="158"/>
                    </a:lnTo>
                    <a:lnTo>
                      <a:pt x="282" y="164"/>
                    </a:lnTo>
                    <a:lnTo>
                      <a:pt x="294" y="158"/>
                    </a:lnTo>
                    <a:lnTo>
                      <a:pt x="300" y="152"/>
                    </a:lnTo>
                    <a:lnTo>
                      <a:pt x="294" y="144"/>
                    </a:lnTo>
                    <a:lnTo>
                      <a:pt x="288" y="138"/>
                    </a:lnTo>
                    <a:lnTo>
                      <a:pt x="300" y="130"/>
                    </a:lnTo>
                    <a:lnTo>
                      <a:pt x="315" y="124"/>
                    </a:lnTo>
                    <a:lnTo>
                      <a:pt x="317" y="124"/>
                    </a:lnTo>
                    <a:lnTo>
                      <a:pt x="311" y="110"/>
                    </a:lnTo>
                    <a:lnTo>
                      <a:pt x="311" y="96"/>
                    </a:lnTo>
                    <a:lnTo>
                      <a:pt x="302" y="82"/>
                    </a:lnTo>
                    <a:lnTo>
                      <a:pt x="302" y="76"/>
                    </a:lnTo>
                    <a:lnTo>
                      <a:pt x="296" y="76"/>
                    </a:lnTo>
                    <a:lnTo>
                      <a:pt x="290" y="76"/>
                    </a:lnTo>
                    <a:lnTo>
                      <a:pt x="282" y="62"/>
                    </a:lnTo>
                    <a:lnTo>
                      <a:pt x="296" y="62"/>
                    </a:lnTo>
                    <a:lnTo>
                      <a:pt x="296" y="48"/>
                    </a:lnTo>
                    <a:lnTo>
                      <a:pt x="296" y="34"/>
                    </a:lnTo>
                    <a:lnTo>
                      <a:pt x="290" y="34"/>
                    </a:lnTo>
                    <a:lnTo>
                      <a:pt x="282" y="40"/>
                    </a:lnTo>
                    <a:lnTo>
                      <a:pt x="282" y="34"/>
                    </a:lnTo>
                    <a:lnTo>
                      <a:pt x="274" y="34"/>
                    </a:lnTo>
                    <a:lnTo>
                      <a:pt x="274" y="28"/>
                    </a:lnTo>
                    <a:lnTo>
                      <a:pt x="282" y="28"/>
                    </a:lnTo>
                    <a:lnTo>
                      <a:pt x="268" y="28"/>
                    </a:lnTo>
                    <a:lnTo>
                      <a:pt x="268" y="22"/>
                    </a:lnTo>
                    <a:lnTo>
                      <a:pt x="254" y="28"/>
                    </a:lnTo>
                    <a:lnTo>
                      <a:pt x="240" y="34"/>
                    </a:lnTo>
                    <a:lnTo>
                      <a:pt x="232" y="22"/>
                    </a:lnTo>
                    <a:lnTo>
                      <a:pt x="220" y="22"/>
                    </a:lnTo>
                    <a:lnTo>
                      <a:pt x="212" y="22"/>
                    </a:lnTo>
                    <a:lnTo>
                      <a:pt x="206" y="14"/>
                    </a:lnTo>
                    <a:lnTo>
                      <a:pt x="206" y="6"/>
                    </a:lnTo>
                    <a:lnTo>
                      <a:pt x="198" y="6"/>
                    </a:lnTo>
                    <a:lnTo>
                      <a:pt x="186" y="0"/>
                    </a:lnTo>
                    <a:lnTo>
                      <a:pt x="186" y="6"/>
                    </a:lnTo>
                    <a:lnTo>
                      <a:pt x="178" y="6"/>
                    </a:lnTo>
                    <a:lnTo>
                      <a:pt x="172" y="0"/>
                    </a:lnTo>
                    <a:lnTo>
                      <a:pt x="164" y="6"/>
                    </a:lnTo>
                    <a:lnTo>
                      <a:pt x="138" y="14"/>
                    </a:lnTo>
                    <a:lnTo>
                      <a:pt x="138" y="22"/>
                    </a:lnTo>
                    <a:lnTo>
                      <a:pt x="138" y="22"/>
                    </a:lnTo>
                    <a:lnTo>
                      <a:pt x="138" y="22"/>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2" name="Freeform 16"/>
              <p:cNvSpPr>
                <a:spLocks/>
              </p:cNvSpPr>
              <p:nvPr/>
            </p:nvSpPr>
            <p:spPr bwMode="gray">
              <a:xfrm>
                <a:off x="5382852" y="2514257"/>
                <a:ext cx="422369" cy="301692"/>
              </a:xfrm>
              <a:custGeom>
                <a:avLst/>
                <a:gdLst>
                  <a:gd name="T0" fmla="*/ 238 w 266"/>
                  <a:gd name="T1" fmla="*/ 82 h 190"/>
                  <a:gd name="T2" fmla="*/ 252 w 266"/>
                  <a:gd name="T3" fmla="*/ 102 h 190"/>
                  <a:gd name="T4" fmla="*/ 232 w 266"/>
                  <a:gd name="T5" fmla="*/ 110 h 190"/>
                  <a:gd name="T6" fmla="*/ 204 w 266"/>
                  <a:gd name="T7" fmla="*/ 124 h 190"/>
                  <a:gd name="T8" fmla="*/ 204 w 266"/>
                  <a:gd name="T9" fmla="*/ 150 h 190"/>
                  <a:gd name="T10" fmla="*/ 192 w 266"/>
                  <a:gd name="T11" fmla="*/ 164 h 190"/>
                  <a:gd name="T12" fmla="*/ 184 w 266"/>
                  <a:gd name="T13" fmla="*/ 164 h 190"/>
                  <a:gd name="T14" fmla="*/ 164 w 266"/>
                  <a:gd name="T15" fmla="*/ 170 h 190"/>
                  <a:gd name="T16" fmla="*/ 158 w 266"/>
                  <a:gd name="T17" fmla="*/ 170 h 190"/>
                  <a:gd name="T18" fmla="*/ 144 w 266"/>
                  <a:gd name="T19" fmla="*/ 190 h 190"/>
                  <a:gd name="T20" fmla="*/ 130 w 266"/>
                  <a:gd name="T21" fmla="*/ 184 h 190"/>
                  <a:gd name="T22" fmla="*/ 102 w 266"/>
                  <a:gd name="T23" fmla="*/ 170 h 190"/>
                  <a:gd name="T24" fmla="*/ 82 w 266"/>
                  <a:gd name="T25" fmla="*/ 156 h 190"/>
                  <a:gd name="T26" fmla="*/ 76 w 266"/>
                  <a:gd name="T27" fmla="*/ 150 h 190"/>
                  <a:gd name="T28" fmla="*/ 82 w 266"/>
                  <a:gd name="T29" fmla="*/ 136 h 190"/>
                  <a:gd name="T30" fmla="*/ 76 w 266"/>
                  <a:gd name="T31" fmla="*/ 124 h 190"/>
                  <a:gd name="T32" fmla="*/ 68 w 266"/>
                  <a:gd name="T33" fmla="*/ 110 h 190"/>
                  <a:gd name="T34" fmla="*/ 62 w 266"/>
                  <a:gd name="T35" fmla="*/ 116 h 190"/>
                  <a:gd name="T36" fmla="*/ 42 w 266"/>
                  <a:gd name="T37" fmla="*/ 116 h 190"/>
                  <a:gd name="T38" fmla="*/ 28 w 266"/>
                  <a:gd name="T39" fmla="*/ 110 h 190"/>
                  <a:gd name="T40" fmla="*/ 22 w 266"/>
                  <a:gd name="T41" fmla="*/ 96 h 190"/>
                  <a:gd name="T42" fmla="*/ 8 w 266"/>
                  <a:gd name="T43" fmla="*/ 76 h 190"/>
                  <a:gd name="T44" fmla="*/ 0 w 266"/>
                  <a:gd name="T45" fmla="*/ 48 h 190"/>
                  <a:gd name="T46" fmla="*/ 0 w 266"/>
                  <a:gd name="T47" fmla="*/ 20 h 190"/>
                  <a:gd name="T48" fmla="*/ 22 w 266"/>
                  <a:gd name="T49" fmla="*/ 14 h 190"/>
                  <a:gd name="T50" fmla="*/ 42 w 266"/>
                  <a:gd name="T51" fmla="*/ 6 h 190"/>
                  <a:gd name="T52" fmla="*/ 56 w 266"/>
                  <a:gd name="T53" fmla="*/ 6 h 190"/>
                  <a:gd name="T54" fmla="*/ 82 w 266"/>
                  <a:gd name="T55" fmla="*/ 6 h 190"/>
                  <a:gd name="T56" fmla="*/ 118 w 266"/>
                  <a:gd name="T57" fmla="*/ 0 h 190"/>
                  <a:gd name="T58" fmla="*/ 152 w 266"/>
                  <a:gd name="T59" fmla="*/ 0 h 190"/>
                  <a:gd name="T60" fmla="*/ 172 w 266"/>
                  <a:gd name="T61" fmla="*/ 14 h 190"/>
                  <a:gd name="T62" fmla="*/ 198 w 266"/>
                  <a:gd name="T63" fmla="*/ 20 h 190"/>
                  <a:gd name="T64" fmla="*/ 226 w 266"/>
                  <a:gd name="T65" fmla="*/ 48 h 190"/>
                  <a:gd name="T66" fmla="*/ 254 w 266"/>
                  <a:gd name="T67" fmla="*/ 54 h 190"/>
                  <a:gd name="T68" fmla="*/ 252 w 266"/>
                  <a:gd name="T69" fmla="*/ 54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6" h="190">
                    <a:moveTo>
                      <a:pt x="252" y="54"/>
                    </a:moveTo>
                    <a:lnTo>
                      <a:pt x="238" y="82"/>
                    </a:lnTo>
                    <a:lnTo>
                      <a:pt x="266" y="88"/>
                    </a:lnTo>
                    <a:lnTo>
                      <a:pt x="252" y="102"/>
                    </a:lnTo>
                    <a:lnTo>
                      <a:pt x="232" y="102"/>
                    </a:lnTo>
                    <a:lnTo>
                      <a:pt x="232" y="110"/>
                    </a:lnTo>
                    <a:lnTo>
                      <a:pt x="204" y="116"/>
                    </a:lnTo>
                    <a:lnTo>
                      <a:pt x="204" y="124"/>
                    </a:lnTo>
                    <a:lnTo>
                      <a:pt x="204" y="142"/>
                    </a:lnTo>
                    <a:lnTo>
                      <a:pt x="204" y="150"/>
                    </a:lnTo>
                    <a:lnTo>
                      <a:pt x="198" y="164"/>
                    </a:lnTo>
                    <a:lnTo>
                      <a:pt x="192" y="164"/>
                    </a:lnTo>
                    <a:lnTo>
                      <a:pt x="192" y="170"/>
                    </a:lnTo>
                    <a:lnTo>
                      <a:pt x="184" y="164"/>
                    </a:lnTo>
                    <a:lnTo>
                      <a:pt x="170" y="170"/>
                    </a:lnTo>
                    <a:lnTo>
                      <a:pt x="164" y="170"/>
                    </a:lnTo>
                    <a:lnTo>
                      <a:pt x="150" y="170"/>
                    </a:lnTo>
                    <a:lnTo>
                      <a:pt x="158" y="170"/>
                    </a:lnTo>
                    <a:lnTo>
                      <a:pt x="150" y="184"/>
                    </a:lnTo>
                    <a:lnTo>
                      <a:pt x="144" y="190"/>
                    </a:lnTo>
                    <a:lnTo>
                      <a:pt x="130" y="190"/>
                    </a:lnTo>
                    <a:lnTo>
                      <a:pt x="130" y="184"/>
                    </a:lnTo>
                    <a:lnTo>
                      <a:pt x="116" y="184"/>
                    </a:lnTo>
                    <a:lnTo>
                      <a:pt x="102" y="170"/>
                    </a:lnTo>
                    <a:lnTo>
                      <a:pt x="82" y="164"/>
                    </a:lnTo>
                    <a:lnTo>
                      <a:pt x="82" y="156"/>
                    </a:lnTo>
                    <a:lnTo>
                      <a:pt x="76" y="156"/>
                    </a:lnTo>
                    <a:lnTo>
                      <a:pt x="76" y="150"/>
                    </a:lnTo>
                    <a:lnTo>
                      <a:pt x="82" y="142"/>
                    </a:lnTo>
                    <a:lnTo>
                      <a:pt x="82" y="136"/>
                    </a:lnTo>
                    <a:lnTo>
                      <a:pt x="82" y="128"/>
                    </a:lnTo>
                    <a:lnTo>
                      <a:pt x="76" y="124"/>
                    </a:lnTo>
                    <a:lnTo>
                      <a:pt x="76" y="116"/>
                    </a:lnTo>
                    <a:lnTo>
                      <a:pt x="68" y="110"/>
                    </a:lnTo>
                    <a:lnTo>
                      <a:pt x="62" y="110"/>
                    </a:lnTo>
                    <a:lnTo>
                      <a:pt x="62" y="116"/>
                    </a:lnTo>
                    <a:lnTo>
                      <a:pt x="56" y="116"/>
                    </a:lnTo>
                    <a:lnTo>
                      <a:pt x="42" y="116"/>
                    </a:lnTo>
                    <a:lnTo>
                      <a:pt x="34" y="110"/>
                    </a:lnTo>
                    <a:lnTo>
                      <a:pt x="28" y="110"/>
                    </a:lnTo>
                    <a:lnTo>
                      <a:pt x="22" y="102"/>
                    </a:lnTo>
                    <a:lnTo>
                      <a:pt x="22" y="96"/>
                    </a:lnTo>
                    <a:lnTo>
                      <a:pt x="8" y="96"/>
                    </a:lnTo>
                    <a:lnTo>
                      <a:pt x="8" y="76"/>
                    </a:lnTo>
                    <a:lnTo>
                      <a:pt x="0" y="54"/>
                    </a:lnTo>
                    <a:lnTo>
                      <a:pt x="0" y="48"/>
                    </a:lnTo>
                    <a:lnTo>
                      <a:pt x="0" y="42"/>
                    </a:lnTo>
                    <a:lnTo>
                      <a:pt x="0" y="20"/>
                    </a:lnTo>
                    <a:lnTo>
                      <a:pt x="2" y="20"/>
                    </a:lnTo>
                    <a:lnTo>
                      <a:pt x="22" y="14"/>
                    </a:lnTo>
                    <a:lnTo>
                      <a:pt x="34" y="14"/>
                    </a:lnTo>
                    <a:lnTo>
                      <a:pt x="42" y="6"/>
                    </a:lnTo>
                    <a:lnTo>
                      <a:pt x="48" y="6"/>
                    </a:lnTo>
                    <a:lnTo>
                      <a:pt x="56" y="6"/>
                    </a:lnTo>
                    <a:lnTo>
                      <a:pt x="76" y="6"/>
                    </a:lnTo>
                    <a:lnTo>
                      <a:pt x="82" y="6"/>
                    </a:lnTo>
                    <a:lnTo>
                      <a:pt x="96" y="0"/>
                    </a:lnTo>
                    <a:lnTo>
                      <a:pt x="118" y="0"/>
                    </a:lnTo>
                    <a:lnTo>
                      <a:pt x="138" y="6"/>
                    </a:lnTo>
                    <a:lnTo>
                      <a:pt x="152" y="0"/>
                    </a:lnTo>
                    <a:lnTo>
                      <a:pt x="158" y="6"/>
                    </a:lnTo>
                    <a:lnTo>
                      <a:pt x="172" y="14"/>
                    </a:lnTo>
                    <a:lnTo>
                      <a:pt x="192" y="20"/>
                    </a:lnTo>
                    <a:lnTo>
                      <a:pt x="198" y="20"/>
                    </a:lnTo>
                    <a:lnTo>
                      <a:pt x="206" y="34"/>
                    </a:lnTo>
                    <a:lnTo>
                      <a:pt x="226" y="48"/>
                    </a:lnTo>
                    <a:lnTo>
                      <a:pt x="232" y="54"/>
                    </a:lnTo>
                    <a:lnTo>
                      <a:pt x="254" y="54"/>
                    </a:lnTo>
                    <a:lnTo>
                      <a:pt x="252" y="54"/>
                    </a:lnTo>
                    <a:lnTo>
                      <a:pt x="252" y="54"/>
                    </a:lnTo>
                    <a:lnTo>
                      <a:pt x="252" y="54"/>
                    </a:lnTo>
                    <a:close/>
                  </a:path>
                </a:pathLst>
              </a:custGeom>
              <a:solidFill>
                <a:srgbClr val="73C37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3" name="Freeform 17"/>
              <p:cNvSpPr>
                <a:spLocks/>
              </p:cNvSpPr>
              <p:nvPr/>
            </p:nvSpPr>
            <p:spPr bwMode="gray">
              <a:xfrm>
                <a:off x="5541638" y="2533311"/>
                <a:ext cx="725649" cy="565275"/>
              </a:xfrm>
              <a:custGeom>
                <a:avLst/>
                <a:gdLst>
                  <a:gd name="T0" fmla="*/ 24 w 457"/>
                  <a:gd name="T1" fmla="*/ 330 h 356"/>
                  <a:gd name="T2" fmla="*/ 4 w 457"/>
                  <a:gd name="T3" fmla="*/ 316 h 356"/>
                  <a:gd name="T4" fmla="*/ 20 w 457"/>
                  <a:gd name="T5" fmla="*/ 280 h 356"/>
                  <a:gd name="T6" fmla="*/ 34 w 457"/>
                  <a:gd name="T7" fmla="*/ 268 h 356"/>
                  <a:gd name="T8" fmla="*/ 28 w 457"/>
                  <a:gd name="T9" fmla="*/ 240 h 356"/>
                  <a:gd name="T10" fmla="*/ 24 w 457"/>
                  <a:gd name="T11" fmla="*/ 220 h 356"/>
                  <a:gd name="T12" fmla="*/ 4 w 457"/>
                  <a:gd name="T13" fmla="*/ 170 h 356"/>
                  <a:gd name="T14" fmla="*/ 30 w 457"/>
                  <a:gd name="T15" fmla="*/ 178 h 356"/>
                  <a:gd name="T16" fmla="*/ 60 w 457"/>
                  <a:gd name="T17" fmla="*/ 158 h 356"/>
                  <a:gd name="T18" fmla="*/ 72 w 457"/>
                  <a:gd name="T19" fmla="*/ 158 h 356"/>
                  <a:gd name="T20" fmla="*/ 94 w 457"/>
                  <a:gd name="T21" fmla="*/ 152 h 356"/>
                  <a:gd name="T22" fmla="*/ 106 w 457"/>
                  <a:gd name="T23" fmla="*/ 130 h 356"/>
                  <a:gd name="T24" fmla="*/ 134 w 457"/>
                  <a:gd name="T25" fmla="*/ 96 h 356"/>
                  <a:gd name="T26" fmla="*/ 168 w 457"/>
                  <a:gd name="T27" fmla="*/ 76 h 356"/>
                  <a:gd name="T28" fmla="*/ 162 w 457"/>
                  <a:gd name="T29" fmla="*/ 42 h 356"/>
                  <a:gd name="T30" fmla="*/ 182 w 457"/>
                  <a:gd name="T31" fmla="*/ 42 h 356"/>
                  <a:gd name="T32" fmla="*/ 196 w 457"/>
                  <a:gd name="T33" fmla="*/ 22 h 356"/>
                  <a:gd name="T34" fmla="*/ 217 w 457"/>
                  <a:gd name="T35" fmla="*/ 0 h 356"/>
                  <a:gd name="T36" fmla="*/ 231 w 457"/>
                  <a:gd name="T37" fmla="*/ 8 h 356"/>
                  <a:gd name="T38" fmla="*/ 273 w 457"/>
                  <a:gd name="T39" fmla="*/ 8 h 356"/>
                  <a:gd name="T40" fmla="*/ 285 w 457"/>
                  <a:gd name="T41" fmla="*/ 22 h 356"/>
                  <a:gd name="T42" fmla="*/ 307 w 457"/>
                  <a:gd name="T43" fmla="*/ 8 h 356"/>
                  <a:gd name="T44" fmla="*/ 341 w 457"/>
                  <a:gd name="T45" fmla="*/ 28 h 356"/>
                  <a:gd name="T46" fmla="*/ 333 w 457"/>
                  <a:gd name="T47" fmla="*/ 48 h 356"/>
                  <a:gd name="T48" fmla="*/ 341 w 457"/>
                  <a:gd name="T49" fmla="*/ 96 h 356"/>
                  <a:gd name="T50" fmla="*/ 361 w 457"/>
                  <a:gd name="T51" fmla="*/ 110 h 356"/>
                  <a:gd name="T52" fmla="*/ 403 w 457"/>
                  <a:gd name="T53" fmla="*/ 124 h 356"/>
                  <a:gd name="T54" fmla="*/ 415 w 457"/>
                  <a:gd name="T55" fmla="*/ 144 h 356"/>
                  <a:gd name="T56" fmla="*/ 435 w 457"/>
                  <a:gd name="T57" fmla="*/ 158 h 356"/>
                  <a:gd name="T58" fmla="*/ 449 w 457"/>
                  <a:gd name="T59" fmla="*/ 178 h 356"/>
                  <a:gd name="T60" fmla="*/ 423 w 457"/>
                  <a:gd name="T61" fmla="*/ 200 h 356"/>
                  <a:gd name="T62" fmla="*/ 395 w 457"/>
                  <a:gd name="T63" fmla="*/ 200 h 356"/>
                  <a:gd name="T64" fmla="*/ 395 w 457"/>
                  <a:gd name="T65" fmla="*/ 226 h 356"/>
                  <a:gd name="T66" fmla="*/ 409 w 457"/>
                  <a:gd name="T67" fmla="*/ 262 h 356"/>
                  <a:gd name="T68" fmla="*/ 429 w 457"/>
                  <a:gd name="T69" fmla="*/ 268 h 356"/>
                  <a:gd name="T70" fmla="*/ 407 w 457"/>
                  <a:gd name="T71" fmla="*/ 280 h 356"/>
                  <a:gd name="T72" fmla="*/ 381 w 457"/>
                  <a:gd name="T73" fmla="*/ 280 h 356"/>
                  <a:gd name="T74" fmla="*/ 367 w 457"/>
                  <a:gd name="T75" fmla="*/ 302 h 356"/>
                  <a:gd name="T76" fmla="*/ 367 w 457"/>
                  <a:gd name="T77" fmla="*/ 336 h 356"/>
                  <a:gd name="T78" fmla="*/ 345 w 457"/>
                  <a:gd name="T79" fmla="*/ 336 h 356"/>
                  <a:gd name="T80" fmla="*/ 311 w 457"/>
                  <a:gd name="T81" fmla="*/ 336 h 356"/>
                  <a:gd name="T82" fmla="*/ 299 w 457"/>
                  <a:gd name="T83" fmla="*/ 350 h 356"/>
                  <a:gd name="T84" fmla="*/ 279 w 457"/>
                  <a:gd name="T85" fmla="*/ 336 h 356"/>
                  <a:gd name="T86" fmla="*/ 259 w 457"/>
                  <a:gd name="T87" fmla="*/ 336 h 356"/>
                  <a:gd name="T88" fmla="*/ 215 w 457"/>
                  <a:gd name="T89" fmla="*/ 342 h 356"/>
                  <a:gd name="T90" fmla="*/ 174 w 457"/>
                  <a:gd name="T91" fmla="*/ 330 h 356"/>
                  <a:gd name="T92" fmla="*/ 120 w 457"/>
                  <a:gd name="T93" fmla="*/ 316 h 356"/>
                  <a:gd name="T94" fmla="*/ 72 w 457"/>
                  <a:gd name="T95" fmla="*/ 322 h 356"/>
                  <a:gd name="T96" fmla="*/ 52 w 457"/>
                  <a:gd name="T97" fmla="*/ 342 h 356"/>
                  <a:gd name="T98" fmla="*/ 30 w 457"/>
                  <a:gd name="T99" fmla="*/ 342 h 356"/>
                  <a:gd name="T100" fmla="*/ 24 w 457"/>
                  <a:gd name="T101" fmla="*/ 35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7" h="356">
                    <a:moveTo>
                      <a:pt x="24" y="350"/>
                    </a:moveTo>
                    <a:lnTo>
                      <a:pt x="24" y="336"/>
                    </a:lnTo>
                    <a:lnTo>
                      <a:pt x="24" y="330"/>
                    </a:lnTo>
                    <a:lnTo>
                      <a:pt x="24" y="322"/>
                    </a:lnTo>
                    <a:lnTo>
                      <a:pt x="10" y="322"/>
                    </a:lnTo>
                    <a:lnTo>
                      <a:pt x="4" y="316"/>
                    </a:lnTo>
                    <a:lnTo>
                      <a:pt x="0" y="304"/>
                    </a:lnTo>
                    <a:lnTo>
                      <a:pt x="10" y="294"/>
                    </a:lnTo>
                    <a:lnTo>
                      <a:pt x="20" y="280"/>
                    </a:lnTo>
                    <a:lnTo>
                      <a:pt x="30" y="280"/>
                    </a:lnTo>
                    <a:lnTo>
                      <a:pt x="32" y="276"/>
                    </a:lnTo>
                    <a:lnTo>
                      <a:pt x="34" y="268"/>
                    </a:lnTo>
                    <a:lnTo>
                      <a:pt x="34" y="254"/>
                    </a:lnTo>
                    <a:lnTo>
                      <a:pt x="28" y="250"/>
                    </a:lnTo>
                    <a:lnTo>
                      <a:pt x="28" y="240"/>
                    </a:lnTo>
                    <a:lnTo>
                      <a:pt x="24" y="232"/>
                    </a:lnTo>
                    <a:lnTo>
                      <a:pt x="24" y="226"/>
                    </a:lnTo>
                    <a:lnTo>
                      <a:pt x="24" y="220"/>
                    </a:lnTo>
                    <a:lnTo>
                      <a:pt x="24" y="206"/>
                    </a:lnTo>
                    <a:lnTo>
                      <a:pt x="16" y="192"/>
                    </a:lnTo>
                    <a:lnTo>
                      <a:pt x="4" y="170"/>
                    </a:lnTo>
                    <a:lnTo>
                      <a:pt x="18" y="172"/>
                    </a:lnTo>
                    <a:lnTo>
                      <a:pt x="30" y="172"/>
                    </a:lnTo>
                    <a:lnTo>
                      <a:pt x="30" y="178"/>
                    </a:lnTo>
                    <a:lnTo>
                      <a:pt x="44" y="178"/>
                    </a:lnTo>
                    <a:lnTo>
                      <a:pt x="52" y="172"/>
                    </a:lnTo>
                    <a:lnTo>
                      <a:pt x="60" y="158"/>
                    </a:lnTo>
                    <a:lnTo>
                      <a:pt x="52" y="158"/>
                    </a:lnTo>
                    <a:lnTo>
                      <a:pt x="66" y="158"/>
                    </a:lnTo>
                    <a:lnTo>
                      <a:pt x="72" y="158"/>
                    </a:lnTo>
                    <a:lnTo>
                      <a:pt x="86" y="152"/>
                    </a:lnTo>
                    <a:lnTo>
                      <a:pt x="94" y="158"/>
                    </a:lnTo>
                    <a:lnTo>
                      <a:pt x="94" y="152"/>
                    </a:lnTo>
                    <a:lnTo>
                      <a:pt x="100" y="152"/>
                    </a:lnTo>
                    <a:lnTo>
                      <a:pt x="106" y="138"/>
                    </a:lnTo>
                    <a:lnTo>
                      <a:pt x="106" y="130"/>
                    </a:lnTo>
                    <a:lnTo>
                      <a:pt x="106" y="110"/>
                    </a:lnTo>
                    <a:lnTo>
                      <a:pt x="106" y="104"/>
                    </a:lnTo>
                    <a:lnTo>
                      <a:pt x="134" y="96"/>
                    </a:lnTo>
                    <a:lnTo>
                      <a:pt x="134" y="90"/>
                    </a:lnTo>
                    <a:lnTo>
                      <a:pt x="154" y="90"/>
                    </a:lnTo>
                    <a:lnTo>
                      <a:pt x="168" y="76"/>
                    </a:lnTo>
                    <a:lnTo>
                      <a:pt x="140" y="68"/>
                    </a:lnTo>
                    <a:lnTo>
                      <a:pt x="154" y="42"/>
                    </a:lnTo>
                    <a:lnTo>
                      <a:pt x="162" y="42"/>
                    </a:lnTo>
                    <a:lnTo>
                      <a:pt x="168" y="42"/>
                    </a:lnTo>
                    <a:lnTo>
                      <a:pt x="176" y="34"/>
                    </a:lnTo>
                    <a:lnTo>
                      <a:pt x="182" y="42"/>
                    </a:lnTo>
                    <a:lnTo>
                      <a:pt x="196" y="34"/>
                    </a:lnTo>
                    <a:lnTo>
                      <a:pt x="202" y="28"/>
                    </a:lnTo>
                    <a:lnTo>
                      <a:pt x="196" y="22"/>
                    </a:lnTo>
                    <a:lnTo>
                      <a:pt x="190" y="14"/>
                    </a:lnTo>
                    <a:lnTo>
                      <a:pt x="202" y="8"/>
                    </a:lnTo>
                    <a:lnTo>
                      <a:pt x="217" y="0"/>
                    </a:lnTo>
                    <a:lnTo>
                      <a:pt x="225" y="0"/>
                    </a:lnTo>
                    <a:lnTo>
                      <a:pt x="231" y="0"/>
                    </a:lnTo>
                    <a:lnTo>
                      <a:pt x="231" y="8"/>
                    </a:lnTo>
                    <a:lnTo>
                      <a:pt x="245" y="8"/>
                    </a:lnTo>
                    <a:lnTo>
                      <a:pt x="259" y="8"/>
                    </a:lnTo>
                    <a:lnTo>
                      <a:pt x="273" y="8"/>
                    </a:lnTo>
                    <a:lnTo>
                      <a:pt x="279" y="14"/>
                    </a:lnTo>
                    <a:lnTo>
                      <a:pt x="279" y="22"/>
                    </a:lnTo>
                    <a:lnTo>
                      <a:pt x="285" y="22"/>
                    </a:lnTo>
                    <a:lnTo>
                      <a:pt x="299" y="14"/>
                    </a:lnTo>
                    <a:lnTo>
                      <a:pt x="299" y="8"/>
                    </a:lnTo>
                    <a:lnTo>
                      <a:pt x="307" y="8"/>
                    </a:lnTo>
                    <a:lnTo>
                      <a:pt x="319" y="14"/>
                    </a:lnTo>
                    <a:lnTo>
                      <a:pt x="327" y="28"/>
                    </a:lnTo>
                    <a:lnTo>
                      <a:pt x="341" y="28"/>
                    </a:lnTo>
                    <a:lnTo>
                      <a:pt x="341" y="34"/>
                    </a:lnTo>
                    <a:lnTo>
                      <a:pt x="333" y="42"/>
                    </a:lnTo>
                    <a:lnTo>
                      <a:pt x="333" y="48"/>
                    </a:lnTo>
                    <a:lnTo>
                      <a:pt x="347" y="68"/>
                    </a:lnTo>
                    <a:lnTo>
                      <a:pt x="355" y="90"/>
                    </a:lnTo>
                    <a:lnTo>
                      <a:pt x="341" y="96"/>
                    </a:lnTo>
                    <a:lnTo>
                      <a:pt x="361" y="96"/>
                    </a:lnTo>
                    <a:lnTo>
                      <a:pt x="361" y="104"/>
                    </a:lnTo>
                    <a:lnTo>
                      <a:pt x="361" y="110"/>
                    </a:lnTo>
                    <a:lnTo>
                      <a:pt x="381" y="116"/>
                    </a:lnTo>
                    <a:lnTo>
                      <a:pt x="389" y="116"/>
                    </a:lnTo>
                    <a:lnTo>
                      <a:pt x="403" y="124"/>
                    </a:lnTo>
                    <a:lnTo>
                      <a:pt x="403" y="138"/>
                    </a:lnTo>
                    <a:lnTo>
                      <a:pt x="403" y="144"/>
                    </a:lnTo>
                    <a:lnTo>
                      <a:pt x="415" y="144"/>
                    </a:lnTo>
                    <a:lnTo>
                      <a:pt x="423" y="144"/>
                    </a:lnTo>
                    <a:lnTo>
                      <a:pt x="435" y="144"/>
                    </a:lnTo>
                    <a:lnTo>
                      <a:pt x="435" y="158"/>
                    </a:lnTo>
                    <a:lnTo>
                      <a:pt x="449" y="158"/>
                    </a:lnTo>
                    <a:lnTo>
                      <a:pt x="457" y="172"/>
                    </a:lnTo>
                    <a:lnTo>
                      <a:pt x="449" y="178"/>
                    </a:lnTo>
                    <a:lnTo>
                      <a:pt x="443" y="186"/>
                    </a:lnTo>
                    <a:lnTo>
                      <a:pt x="435" y="192"/>
                    </a:lnTo>
                    <a:lnTo>
                      <a:pt x="423" y="200"/>
                    </a:lnTo>
                    <a:lnTo>
                      <a:pt x="415" y="206"/>
                    </a:lnTo>
                    <a:lnTo>
                      <a:pt x="403" y="200"/>
                    </a:lnTo>
                    <a:lnTo>
                      <a:pt x="395" y="200"/>
                    </a:lnTo>
                    <a:lnTo>
                      <a:pt x="395" y="206"/>
                    </a:lnTo>
                    <a:lnTo>
                      <a:pt x="395" y="220"/>
                    </a:lnTo>
                    <a:lnTo>
                      <a:pt x="395" y="226"/>
                    </a:lnTo>
                    <a:lnTo>
                      <a:pt x="403" y="240"/>
                    </a:lnTo>
                    <a:lnTo>
                      <a:pt x="409" y="254"/>
                    </a:lnTo>
                    <a:lnTo>
                      <a:pt x="409" y="262"/>
                    </a:lnTo>
                    <a:lnTo>
                      <a:pt x="415" y="268"/>
                    </a:lnTo>
                    <a:lnTo>
                      <a:pt x="429" y="274"/>
                    </a:lnTo>
                    <a:lnTo>
                      <a:pt x="429" y="268"/>
                    </a:lnTo>
                    <a:lnTo>
                      <a:pt x="429" y="280"/>
                    </a:lnTo>
                    <a:lnTo>
                      <a:pt x="415" y="280"/>
                    </a:lnTo>
                    <a:lnTo>
                      <a:pt x="407" y="280"/>
                    </a:lnTo>
                    <a:lnTo>
                      <a:pt x="401" y="280"/>
                    </a:lnTo>
                    <a:lnTo>
                      <a:pt x="395" y="280"/>
                    </a:lnTo>
                    <a:lnTo>
                      <a:pt x="381" y="280"/>
                    </a:lnTo>
                    <a:lnTo>
                      <a:pt x="375" y="280"/>
                    </a:lnTo>
                    <a:lnTo>
                      <a:pt x="367" y="288"/>
                    </a:lnTo>
                    <a:lnTo>
                      <a:pt x="367" y="302"/>
                    </a:lnTo>
                    <a:lnTo>
                      <a:pt x="361" y="316"/>
                    </a:lnTo>
                    <a:lnTo>
                      <a:pt x="367" y="330"/>
                    </a:lnTo>
                    <a:lnTo>
                      <a:pt x="367" y="336"/>
                    </a:lnTo>
                    <a:lnTo>
                      <a:pt x="367" y="350"/>
                    </a:lnTo>
                    <a:lnTo>
                      <a:pt x="361" y="350"/>
                    </a:lnTo>
                    <a:lnTo>
                      <a:pt x="345" y="336"/>
                    </a:lnTo>
                    <a:lnTo>
                      <a:pt x="339" y="336"/>
                    </a:lnTo>
                    <a:lnTo>
                      <a:pt x="333" y="342"/>
                    </a:lnTo>
                    <a:lnTo>
                      <a:pt x="311" y="336"/>
                    </a:lnTo>
                    <a:lnTo>
                      <a:pt x="305" y="336"/>
                    </a:lnTo>
                    <a:lnTo>
                      <a:pt x="299" y="342"/>
                    </a:lnTo>
                    <a:lnTo>
                      <a:pt x="299" y="350"/>
                    </a:lnTo>
                    <a:lnTo>
                      <a:pt x="293" y="356"/>
                    </a:lnTo>
                    <a:lnTo>
                      <a:pt x="285" y="342"/>
                    </a:lnTo>
                    <a:lnTo>
                      <a:pt x="279" y="336"/>
                    </a:lnTo>
                    <a:lnTo>
                      <a:pt x="271" y="350"/>
                    </a:lnTo>
                    <a:lnTo>
                      <a:pt x="265" y="342"/>
                    </a:lnTo>
                    <a:lnTo>
                      <a:pt x="259" y="336"/>
                    </a:lnTo>
                    <a:lnTo>
                      <a:pt x="243" y="336"/>
                    </a:lnTo>
                    <a:lnTo>
                      <a:pt x="237" y="342"/>
                    </a:lnTo>
                    <a:lnTo>
                      <a:pt x="215" y="342"/>
                    </a:lnTo>
                    <a:lnTo>
                      <a:pt x="208" y="336"/>
                    </a:lnTo>
                    <a:lnTo>
                      <a:pt x="200" y="336"/>
                    </a:lnTo>
                    <a:lnTo>
                      <a:pt x="174" y="330"/>
                    </a:lnTo>
                    <a:lnTo>
                      <a:pt x="160" y="322"/>
                    </a:lnTo>
                    <a:lnTo>
                      <a:pt x="140" y="316"/>
                    </a:lnTo>
                    <a:lnTo>
                      <a:pt x="120" y="316"/>
                    </a:lnTo>
                    <a:lnTo>
                      <a:pt x="98" y="322"/>
                    </a:lnTo>
                    <a:lnTo>
                      <a:pt x="86" y="322"/>
                    </a:lnTo>
                    <a:lnTo>
                      <a:pt x="72" y="322"/>
                    </a:lnTo>
                    <a:lnTo>
                      <a:pt x="58" y="330"/>
                    </a:lnTo>
                    <a:lnTo>
                      <a:pt x="58" y="336"/>
                    </a:lnTo>
                    <a:lnTo>
                      <a:pt x="52" y="342"/>
                    </a:lnTo>
                    <a:lnTo>
                      <a:pt x="44" y="350"/>
                    </a:lnTo>
                    <a:lnTo>
                      <a:pt x="38" y="342"/>
                    </a:lnTo>
                    <a:lnTo>
                      <a:pt x="30" y="342"/>
                    </a:lnTo>
                    <a:lnTo>
                      <a:pt x="24" y="356"/>
                    </a:lnTo>
                    <a:lnTo>
                      <a:pt x="24" y="350"/>
                    </a:lnTo>
                    <a:lnTo>
                      <a:pt x="24" y="350"/>
                    </a:lnTo>
                    <a:lnTo>
                      <a:pt x="24" y="35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4" name="Freeform 18"/>
              <p:cNvSpPr>
                <a:spLocks/>
              </p:cNvSpPr>
              <p:nvPr/>
            </p:nvSpPr>
            <p:spPr bwMode="gray">
              <a:xfrm>
                <a:off x="5459069" y="2936625"/>
                <a:ext cx="1460824" cy="736763"/>
              </a:xfrm>
              <a:custGeom>
                <a:avLst/>
                <a:gdLst>
                  <a:gd name="T0" fmla="*/ 465 w 920"/>
                  <a:gd name="T1" fmla="*/ 464 h 464"/>
                  <a:gd name="T2" fmla="*/ 499 w 920"/>
                  <a:gd name="T3" fmla="*/ 430 h 464"/>
                  <a:gd name="T4" fmla="*/ 527 w 920"/>
                  <a:gd name="T5" fmla="*/ 410 h 464"/>
                  <a:gd name="T6" fmla="*/ 541 w 920"/>
                  <a:gd name="T7" fmla="*/ 416 h 464"/>
                  <a:gd name="T8" fmla="*/ 535 w 920"/>
                  <a:gd name="T9" fmla="*/ 450 h 464"/>
                  <a:gd name="T10" fmla="*/ 603 w 920"/>
                  <a:gd name="T11" fmla="*/ 444 h 464"/>
                  <a:gd name="T12" fmla="*/ 631 w 920"/>
                  <a:gd name="T13" fmla="*/ 430 h 464"/>
                  <a:gd name="T14" fmla="*/ 679 w 920"/>
                  <a:gd name="T15" fmla="*/ 430 h 464"/>
                  <a:gd name="T16" fmla="*/ 697 w 920"/>
                  <a:gd name="T17" fmla="*/ 410 h 464"/>
                  <a:gd name="T18" fmla="*/ 753 w 920"/>
                  <a:gd name="T19" fmla="*/ 388 h 464"/>
                  <a:gd name="T20" fmla="*/ 795 w 920"/>
                  <a:gd name="T21" fmla="*/ 374 h 464"/>
                  <a:gd name="T22" fmla="*/ 821 w 920"/>
                  <a:gd name="T23" fmla="*/ 340 h 464"/>
                  <a:gd name="T24" fmla="*/ 843 w 920"/>
                  <a:gd name="T25" fmla="*/ 326 h 464"/>
                  <a:gd name="T26" fmla="*/ 898 w 920"/>
                  <a:gd name="T27" fmla="*/ 260 h 464"/>
                  <a:gd name="T28" fmla="*/ 898 w 920"/>
                  <a:gd name="T29" fmla="*/ 196 h 464"/>
                  <a:gd name="T30" fmla="*/ 898 w 920"/>
                  <a:gd name="T31" fmla="*/ 170 h 464"/>
                  <a:gd name="T32" fmla="*/ 920 w 920"/>
                  <a:gd name="T33" fmla="*/ 122 h 464"/>
                  <a:gd name="T34" fmla="*/ 863 w 920"/>
                  <a:gd name="T35" fmla="*/ 122 h 464"/>
                  <a:gd name="T36" fmla="*/ 837 w 920"/>
                  <a:gd name="T37" fmla="*/ 116 h 464"/>
                  <a:gd name="T38" fmla="*/ 801 w 920"/>
                  <a:gd name="T39" fmla="*/ 116 h 464"/>
                  <a:gd name="T40" fmla="*/ 755 w 920"/>
                  <a:gd name="T41" fmla="*/ 102 h 464"/>
                  <a:gd name="T42" fmla="*/ 713 w 920"/>
                  <a:gd name="T43" fmla="*/ 116 h 464"/>
                  <a:gd name="T44" fmla="*/ 673 w 920"/>
                  <a:gd name="T45" fmla="*/ 108 h 464"/>
                  <a:gd name="T46" fmla="*/ 645 w 920"/>
                  <a:gd name="T47" fmla="*/ 76 h 464"/>
                  <a:gd name="T48" fmla="*/ 603 w 920"/>
                  <a:gd name="T49" fmla="*/ 62 h 464"/>
                  <a:gd name="T50" fmla="*/ 583 w 920"/>
                  <a:gd name="T51" fmla="*/ 20 h 464"/>
                  <a:gd name="T52" fmla="*/ 535 w 920"/>
                  <a:gd name="T53" fmla="*/ 0 h 464"/>
                  <a:gd name="T54" fmla="*/ 493 w 920"/>
                  <a:gd name="T55" fmla="*/ 8 h 464"/>
                  <a:gd name="T56" fmla="*/ 467 w 920"/>
                  <a:gd name="T57" fmla="*/ 26 h 464"/>
                  <a:gd name="T58" fmla="*/ 425 w 920"/>
                  <a:gd name="T59" fmla="*/ 22 h 464"/>
                  <a:gd name="T60" fmla="*/ 415 w 920"/>
                  <a:gd name="T61" fmla="*/ 82 h 464"/>
                  <a:gd name="T62" fmla="*/ 385 w 920"/>
                  <a:gd name="T63" fmla="*/ 88 h 464"/>
                  <a:gd name="T64" fmla="*/ 343 w 920"/>
                  <a:gd name="T65" fmla="*/ 102 h 464"/>
                  <a:gd name="T66" fmla="*/ 309 w 920"/>
                  <a:gd name="T67" fmla="*/ 82 h 464"/>
                  <a:gd name="T68" fmla="*/ 252 w 920"/>
                  <a:gd name="T69" fmla="*/ 82 h 464"/>
                  <a:gd name="T70" fmla="*/ 150 w 920"/>
                  <a:gd name="T71" fmla="*/ 68 h 464"/>
                  <a:gd name="T72" fmla="*/ 102 w 920"/>
                  <a:gd name="T73" fmla="*/ 88 h 464"/>
                  <a:gd name="T74" fmla="*/ 78 w 920"/>
                  <a:gd name="T75" fmla="*/ 104 h 464"/>
                  <a:gd name="T76" fmla="*/ 96 w 920"/>
                  <a:gd name="T77" fmla="*/ 144 h 464"/>
                  <a:gd name="T78" fmla="*/ 96 w 920"/>
                  <a:gd name="T79" fmla="*/ 184 h 464"/>
                  <a:gd name="T80" fmla="*/ 42 w 920"/>
                  <a:gd name="T81" fmla="*/ 224 h 464"/>
                  <a:gd name="T82" fmla="*/ 28 w 920"/>
                  <a:gd name="T83" fmla="*/ 280 h 464"/>
                  <a:gd name="T84" fmla="*/ 14 w 920"/>
                  <a:gd name="T85" fmla="*/ 348 h 464"/>
                  <a:gd name="T86" fmla="*/ 96 w 920"/>
                  <a:gd name="T87" fmla="*/ 368 h 464"/>
                  <a:gd name="T88" fmla="*/ 156 w 920"/>
                  <a:gd name="T89" fmla="*/ 362 h 464"/>
                  <a:gd name="T90" fmla="*/ 212 w 920"/>
                  <a:gd name="T91" fmla="*/ 334 h 464"/>
                  <a:gd name="T92" fmla="*/ 246 w 920"/>
                  <a:gd name="T93" fmla="*/ 334 h 464"/>
                  <a:gd name="T94" fmla="*/ 301 w 920"/>
                  <a:gd name="T95" fmla="*/ 320 h 464"/>
                  <a:gd name="T96" fmla="*/ 343 w 920"/>
                  <a:gd name="T97" fmla="*/ 326 h 464"/>
                  <a:gd name="T98" fmla="*/ 377 w 920"/>
                  <a:gd name="T99" fmla="*/ 348 h 464"/>
                  <a:gd name="T100" fmla="*/ 383 w 920"/>
                  <a:gd name="T101" fmla="*/ 388 h 464"/>
                  <a:gd name="T102" fmla="*/ 411 w 920"/>
                  <a:gd name="T103" fmla="*/ 416 h 464"/>
                  <a:gd name="T104" fmla="*/ 431 w 920"/>
                  <a:gd name="T105" fmla="*/ 44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0" h="464">
                    <a:moveTo>
                      <a:pt x="439" y="458"/>
                    </a:moveTo>
                    <a:lnTo>
                      <a:pt x="445" y="450"/>
                    </a:lnTo>
                    <a:lnTo>
                      <a:pt x="453" y="458"/>
                    </a:lnTo>
                    <a:lnTo>
                      <a:pt x="459" y="464"/>
                    </a:lnTo>
                    <a:lnTo>
                      <a:pt x="465" y="464"/>
                    </a:lnTo>
                    <a:lnTo>
                      <a:pt x="465" y="444"/>
                    </a:lnTo>
                    <a:lnTo>
                      <a:pt x="473" y="430"/>
                    </a:lnTo>
                    <a:lnTo>
                      <a:pt x="479" y="430"/>
                    </a:lnTo>
                    <a:lnTo>
                      <a:pt x="485" y="436"/>
                    </a:lnTo>
                    <a:lnTo>
                      <a:pt x="499" y="430"/>
                    </a:lnTo>
                    <a:lnTo>
                      <a:pt x="513" y="416"/>
                    </a:lnTo>
                    <a:lnTo>
                      <a:pt x="521" y="416"/>
                    </a:lnTo>
                    <a:lnTo>
                      <a:pt x="521" y="422"/>
                    </a:lnTo>
                    <a:lnTo>
                      <a:pt x="527" y="422"/>
                    </a:lnTo>
                    <a:lnTo>
                      <a:pt x="527" y="410"/>
                    </a:lnTo>
                    <a:lnTo>
                      <a:pt x="527" y="402"/>
                    </a:lnTo>
                    <a:lnTo>
                      <a:pt x="527" y="388"/>
                    </a:lnTo>
                    <a:lnTo>
                      <a:pt x="535" y="402"/>
                    </a:lnTo>
                    <a:lnTo>
                      <a:pt x="541" y="410"/>
                    </a:lnTo>
                    <a:lnTo>
                      <a:pt x="541" y="416"/>
                    </a:lnTo>
                    <a:lnTo>
                      <a:pt x="549" y="430"/>
                    </a:lnTo>
                    <a:lnTo>
                      <a:pt x="535" y="430"/>
                    </a:lnTo>
                    <a:lnTo>
                      <a:pt x="535" y="436"/>
                    </a:lnTo>
                    <a:lnTo>
                      <a:pt x="535" y="444"/>
                    </a:lnTo>
                    <a:lnTo>
                      <a:pt x="535" y="450"/>
                    </a:lnTo>
                    <a:lnTo>
                      <a:pt x="549" y="458"/>
                    </a:lnTo>
                    <a:lnTo>
                      <a:pt x="561" y="464"/>
                    </a:lnTo>
                    <a:lnTo>
                      <a:pt x="583" y="450"/>
                    </a:lnTo>
                    <a:lnTo>
                      <a:pt x="595" y="444"/>
                    </a:lnTo>
                    <a:lnTo>
                      <a:pt x="603" y="444"/>
                    </a:lnTo>
                    <a:lnTo>
                      <a:pt x="609" y="436"/>
                    </a:lnTo>
                    <a:lnTo>
                      <a:pt x="617" y="458"/>
                    </a:lnTo>
                    <a:lnTo>
                      <a:pt x="623" y="450"/>
                    </a:lnTo>
                    <a:lnTo>
                      <a:pt x="631" y="436"/>
                    </a:lnTo>
                    <a:lnTo>
                      <a:pt x="631" y="430"/>
                    </a:lnTo>
                    <a:lnTo>
                      <a:pt x="637" y="430"/>
                    </a:lnTo>
                    <a:lnTo>
                      <a:pt x="645" y="436"/>
                    </a:lnTo>
                    <a:lnTo>
                      <a:pt x="651" y="430"/>
                    </a:lnTo>
                    <a:lnTo>
                      <a:pt x="657" y="430"/>
                    </a:lnTo>
                    <a:lnTo>
                      <a:pt x="679" y="430"/>
                    </a:lnTo>
                    <a:lnTo>
                      <a:pt x="679" y="436"/>
                    </a:lnTo>
                    <a:lnTo>
                      <a:pt x="685" y="436"/>
                    </a:lnTo>
                    <a:lnTo>
                      <a:pt x="685" y="430"/>
                    </a:lnTo>
                    <a:lnTo>
                      <a:pt x="691" y="430"/>
                    </a:lnTo>
                    <a:lnTo>
                      <a:pt x="697" y="410"/>
                    </a:lnTo>
                    <a:lnTo>
                      <a:pt x="711" y="402"/>
                    </a:lnTo>
                    <a:lnTo>
                      <a:pt x="711" y="416"/>
                    </a:lnTo>
                    <a:lnTo>
                      <a:pt x="719" y="416"/>
                    </a:lnTo>
                    <a:lnTo>
                      <a:pt x="739" y="394"/>
                    </a:lnTo>
                    <a:lnTo>
                      <a:pt x="753" y="388"/>
                    </a:lnTo>
                    <a:lnTo>
                      <a:pt x="759" y="382"/>
                    </a:lnTo>
                    <a:lnTo>
                      <a:pt x="767" y="374"/>
                    </a:lnTo>
                    <a:lnTo>
                      <a:pt x="773" y="374"/>
                    </a:lnTo>
                    <a:lnTo>
                      <a:pt x="787" y="382"/>
                    </a:lnTo>
                    <a:lnTo>
                      <a:pt x="795" y="374"/>
                    </a:lnTo>
                    <a:lnTo>
                      <a:pt x="787" y="368"/>
                    </a:lnTo>
                    <a:lnTo>
                      <a:pt x="801" y="362"/>
                    </a:lnTo>
                    <a:lnTo>
                      <a:pt x="807" y="348"/>
                    </a:lnTo>
                    <a:lnTo>
                      <a:pt x="815" y="340"/>
                    </a:lnTo>
                    <a:lnTo>
                      <a:pt x="821" y="340"/>
                    </a:lnTo>
                    <a:lnTo>
                      <a:pt x="829" y="334"/>
                    </a:lnTo>
                    <a:lnTo>
                      <a:pt x="829" y="326"/>
                    </a:lnTo>
                    <a:lnTo>
                      <a:pt x="835" y="334"/>
                    </a:lnTo>
                    <a:lnTo>
                      <a:pt x="841" y="334"/>
                    </a:lnTo>
                    <a:lnTo>
                      <a:pt x="843" y="326"/>
                    </a:lnTo>
                    <a:lnTo>
                      <a:pt x="843" y="294"/>
                    </a:lnTo>
                    <a:lnTo>
                      <a:pt x="863" y="286"/>
                    </a:lnTo>
                    <a:lnTo>
                      <a:pt x="871" y="266"/>
                    </a:lnTo>
                    <a:lnTo>
                      <a:pt x="877" y="260"/>
                    </a:lnTo>
                    <a:lnTo>
                      <a:pt x="898" y="260"/>
                    </a:lnTo>
                    <a:lnTo>
                      <a:pt x="912" y="260"/>
                    </a:lnTo>
                    <a:lnTo>
                      <a:pt x="920" y="238"/>
                    </a:lnTo>
                    <a:lnTo>
                      <a:pt x="920" y="218"/>
                    </a:lnTo>
                    <a:lnTo>
                      <a:pt x="906" y="196"/>
                    </a:lnTo>
                    <a:lnTo>
                      <a:pt x="898" y="196"/>
                    </a:lnTo>
                    <a:lnTo>
                      <a:pt x="898" y="190"/>
                    </a:lnTo>
                    <a:lnTo>
                      <a:pt x="906" y="184"/>
                    </a:lnTo>
                    <a:lnTo>
                      <a:pt x="912" y="176"/>
                    </a:lnTo>
                    <a:lnTo>
                      <a:pt x="912" y="170"/>
                    </a:lnTo>
                    <a:lnTo>
                      <a:pt x="898" y="170"/>
                    </a:lnTo>
                    <a:lnTo>
                      <a:pt x="892" y="164"/>
                    </a:lnTo>
                    <a:lnTo>
                      <a:pt x="898" y="156"/>
                    </a:lnTo>
                    <a:lnTo>
                      <a:pt x="912" y="150"/>
                    </a:lnTo>
                    <a:lnTo>
                      <a:pt x="920" y="144"/>
                    </a:lnTo>
                    <a:lnTo>
                      <a:pt x="920" y="122"/>
                    </a:lnTo>
                    <a:lnTo>
                      <a:pt x="912" y="122"/>
                    </a:lnTo>
                    <a:lnTo>
                      <a:pt x="906" y="130"/>
                    </a:lnTo>
                    <a:lnTo>
                      <a:pt x="892" y="130"/>
                    </a:lnTo>
                    <a:lnTo>
                      <a:pt x="877" y="122"/>
                    </a:lnTo>
                    <a:lnTo>
                      <a:pt x="863" y="122"/>
                    </a:lnTo>
                    <a:lnTo>
                      <a:pt x="863" y="130"/>
                    </a:lnTo>
                    <a:lnTo>
                      <a:pt x="857" y="122"/>
                    </a:lnTo>
                    <a:lnTo>
                      <a:pt x="857" y="116"/>
                    </a:lnTo>
                    <a:lnTo>
                      <a:pt x="851" y="116"/>
                    </a:lnTo>
                    <a:lnTo>
                      <a:pt x="837" y="116"/>
                    </a:lnTo>
                    <a:lnTo>
                      <a:pt x="837" y="122"/>
                    </a:lnTo>
                    <a:lnTo>
                      <a:pt x="823" y="122"/>
                    </a:lnTo>
                    <a:lnTo>
                      <a:pt x="823" y="116"/>
                    </a:lnTo>
                    <a:lnTo>
                      <a:pt x="809" y="122"/>
                    </a:lnTo>
                    <a:lnTo>
                      <a:pt x="801" y="116"/>
                    </a:lnTo>
                    <a:lnTo>
                      <a:pt x="795" y="108"/>
                    </a:lnTo>
                    <a:lnTo>
                      <a:pt x="795" y="116"/>
                    </a:lnTo>
                    <a:lnTo>
                      <a:pt x="781" y="122"/>
                    </a:lnTo>
                    <a:lnTo>
                      <a:pt x="761" y="108"/>
                    </a:lnTo>
                    <a:lnTo>
                      <a:pt x="755" y="102"/>
                    </a:lnTo>
                    <a:lnTo>
                      <a:pt x="755" y="96"/>
                    </a:lnTo>
                    <a:lnTo>
                      <a:pt x="741" y="96"/>
                    </a:lnTo>
                    <a:lnTo>
                      <a:pt x="727" y="108"/>
                    </a:lnTo>
                    <a:lnTo>
                      <a:pt x="721" y="116"/>
                    </a:lnTo>
                    <a:lnTo>
                      <a:pt x="713" y="116"/>
                    </a:lnTo>
                    <a:lnTo>
                      <a:pt x="707" y="108"/>
                    </a:lnTo>
                    <a:lnTo>
                      <a:pt x="699" y="116"/>
                    </a:lnTo>
                    <a:lnTo>
                      <a:pt x="693" y="108"/>
                    </a:lnTo>
                    <a:lnTo>
                      <a:pt x="685" y="108"/>
                    </a:lnTo>
                    <a:lnTo>
                      <a:pt x="673" y="108"/>
                    </a:lnTo>
                    <a:lnTo>
                      <a:pt x="665" y="108"/>
                    </a:lnTo>
                    <a:lnTo>
                      <a:pt x="665" y="102"/>
                    </a:lnTo>
                    <a:lnTo>
                      <a:pt x="657" y="82"/>
                    </a:lnTo>
                    <a:lnTo>
                      <a:pt x="657" y="76"/>
                    </a:lnTo>
                    <a:lnTo>
                      <a:pt x="645" y="76"/>
                    </a:lnTo>
                    <a:lnTo>
                      <a:pt x="637" y="62"/>
                    </a:lnTo>
                    <a:lnTo>
                      <a:pt x="637" y="54"/>
                    </a:lnTo>
                    <a:lnTo>
                      <a:pt x="631" y="54"/>
                    </a:lnTo>
                    <a:lnTo>
                      <a:pt x="623" y="62"/>
                    </a:lnTo>
                    <a:lnTo>
                      <a:pt x="603" y="62"/>
                    </a:lnTo>
                    <a:lnTo>
                      <a:pt x="589" y="62"/>
                    </a:lnTo>
                    <a:lnTo>
                      <a:pt x="589" y="54"/>
                    </a:lnTo>
                    <a:lnTo>
                      <a:pt x="589" y="40"/>
                    </a:lnTo>
                    <a:lnTo>
                      <a:pt x="589" y="26"/>
                    </a:lnTo>
                    <a:lnTo>
                      <a:pt x="583" y="20"/>
                    </a:lnTo>
                    <a:lnTo>
                      <a:pt x="575" y="8"/>
                    </a:lnTo>
                    <a:lnTo>
                      <a:pt x="569" y="0"/>
                    </a:lnTo>
                    <a:lnTo>
                      <a:pt x="561" y="0"/>
                    </a:lnTo>
                    <a:lnTo>
                      <a:pt x="549" y="8"/>
                    </a:lnTo>
                    <a:lnTo>
                      <a:pt x="535" y="0"/>
                    </a:lnTo>
                    <a:lnTo>
                      <a:pt x="529" y="0"/>
                    </a:lnTo>
                    <a:lnTo>
                      <a:pt x="521" y="8"/>
                    </a:lnTo>
                    <a:lnTo>
                      <a:pt x="515" y="8"/>
                    </a:lnTo>
                    <a:lnTo>
                      <a:pt x="501" y="14"/>
                    </a:lnTo>
                    <a:lnTo>
                      <a:pt x="493" y="8"/>
                    </a:lnTo>
                    <a:lnTo>
                      <a:pt x="481" y="14"/>
                    </a:lnTo>
                    <a:lnTo>
                      <a:pt x="481" y="20"/>
                    </a:lnTo>
                    <a:lnTo>
                      <a:pt x="481" y="14"/>
                    </a:lnTo>
                    <a:lnTo>
                      <a:pt x="481" y="26"/>
                    </a:lnTo>
                    <a:lnTo>
                      <a:pt x="467" y="26"/>
                    </a:lnTo>
                    <a:lnTo>
                      <a:pt x="459" y="26"/>
                    </a:lnTo>
                    <a:lnTo>
                      <a:pt x="453" y="26"/>
                    </a:lnTo>
                    <a:lnTo>
                      <a:pt x="445" y="22"/>
                    </a:lnTo>
                    <a:lnTo>
                      <a:pt x="433" y="22"/>
                    </a:lnTo>
                    <a:lnTo>
                      <a:pt x="425" y="22"/>
                    </a:lnTo>
                    <a:lnTo>
                      <a:pt x="415" y="34"/>
                    </a:lnTo>
                    <a:lnTo>
                      <a:pt x="415" y="46"/>
                    </a:lnTo>
                    <a:lnTo>
                      <a:pt x="409" y="62"/>
                    </a:lnTo>
                    <a:lnTo>
                      <a:pt x="417" y="76"/>
                    </a:lnTo>
                    <a:lnTo>
                      <a:pt x="415" y="82"/>
                    </a:lnTo>
                    <a:lnTo>
                      <a:pt x="415" y="96"/>
                    </a:lnTo>
                    <a:lnTo>
                      <a:pt x="411" y="96"/>
                    </a:lnTo>
                    <a:lnTo>
                      <a:pt x="397" y="82"/>
                    </a:lnTo>
                    <a:lnTo>
                      <a:pt x="391" y="82"/>
                    </a:lnTo>
                    <a:lnTo>
                      <a:pt x="385" y="88"/>
                    </a:lnTo>
                    <a:lnTo>
                      <a:pt x="363" y="82"/>
                    </a:lnTo>
                    <a:lnTo>
                      <a:pt x="357" y="82"/>
                    </a:lnTo>
                    <a:lnTo>
                      <a:pt x="349" y="88"/>
                    </a:lnTo>
                    <a:lnTo>
                      <a:pt x="347" y="96"/>
                    </a:lnTo>
                    <a:lnTo>
                      <a:pt x="343" y="102"/>
                    </a:lnTo>
                    <a:lnTo>
                      <a:pt x="335" y="84"/>
                    </a:lnTo>
                    <a:lnTo>
                      <a:pt x="329" y="82"/>
                    </a:lnTo>
                    <a:lnTo>
                      <a:pt x="321" y="96"/>
                    </a:lnTo>
                    <a:lnTo>
                      <a:pt x="317" y="88"/>
                    </a:lnTo>
                    <a:lnTo>
                      <a:pt x="309" y="82"/>
                    </a:lnTo>
                    <a:lnTo>
                      <a:pt x="295" y="82"/>
                    </a:lnTo>
                    <a:lnTo>
                      <a:pt x="289" y="88"/>
                    </a:lnTo>
                    <a:lnTo>
                      <a:pt x="267" y="88"/>
                    </a:lnTo>
                    <a:lnTo>
                      <a:pt x="260" y="82"/>
                    </a:lnTo>
                    <a:lnTo>
                      <a:pt x="252" y="82"/>
                    </a:lnTo>
                    <a:lnTo>
                      <a:pt x="226" y="76"/>
                    </a:lnTo>
                    <a:lnTo>
                      <a:pt x="212" y="68"/>
                    </a:lnTo>
                    <a:lnTo>
                      <a:pt x="192" y="62"/>
                    </a:lnTo>
                    <a:lnTo>
                      <a:pt x="172" y="62"/>
                    </a:lnTo>
                    <a:lnTo>
                      <a:pt x="150" y="68"/>
                    </a:lnTo>
                    <a:lnTo>
                      <a:pt x="138" y="68"/>
                    </a:lnTo>
                    <a:lnTo>
                      <a:pt x="124" y="66"/>
                    </a:lnTo>
                    <a:lnTo>
                      <a:pt x="112" y="74"/>
                    </a:lnTo>
                    <a:lnTo>
                      <a:pt x="108" y="82"/>
                    </a:lnTo>
                    <a:lnTo>
                      <a:pt x="102" y="88"/>
                    </a:lnTo>
                    <a:lnTo>
                      <a:pt x="96" y="96"/>
                    </a:lnTo>
                    <a:lnTo>
                      <a:pt x="90" y="88"/>
                    </a:lnTo>
                    <a:lnTo>
                      <a:pt x="80" y="88"/>
                    </a:lnTo>
                    <a:lnTo>
                      <a:pt x="76" y="102"/>
                    </a:lnTo>
                    <a:lnTo>
                      <a:pt x="78" y="104"/>
                    </a:lnTo>
                    <a:lnTo>
                      <a:pt x="74" y="108"/>
                    </a:lnTo>
                    <a:lnTo>
                      <a:pt x="68" y="116"/>
                    </a:lnTo>
                    <a:lnTo>
                      <a:pt x="74" y="122"/>
                    </a:lnTo>
                    <a:lnTo>
                      <a:pt x="88" y="136"/>
                    </a:lnTo>
                    <a:lnTo>
                      <a:pt x="96" y="144"/>
                    </a:lnTo>
                    <a:lnTo>
                      <a:pt x="88" y="150"/>
                    </a:lnTo>
                    <a:lnTo>
                      <a:pt x="88" y="156"/>
                    </a:lnTo>
                    <a:lnTo>
                      <a:pt x="96" y="164"/>
                    </a:lnTo>
                    <a:lnTo>
                      <a:pt x="96" y="176"/>
                    </a:lnTo>
                    <a:lnTo>
                      <a:pt x="96" y="184"/>
                    </a:lnTo>
                    <a:lnTo>
                      <a:pt x="88" y="184"/>
                    </a:lnTo>
                    <a:lnTo>
                      <a:pt x="82" y="184"/>
                    </a:lnTo>
                    <a:lnTo>
                      <a:pt x="74" y="196"/>
                    </a:lnTo>
                    <a:lnTo>
                      <a:pt x="62" y="204"/>
                    </a:lnTo>
                    <a:lnTo>
                      <a:pt x="42" y="224"/>
                    </a:lnTo>
                    <a:lnTo>
                      <a:pt x="34" y="232"/>
                    </a:lnTo>
                    <a:lnTo>
                      <a:pt x="28" y="246"/>
                    </a:lnTo>
                    <a:lnTo>
                      <a:pt x="34" y="266"/>
                    </a:lnTo>
                    <a:lnTo>
                      <a:pt x="34" y="280"/>
                    </a:lnTo>
                    <a:lnTo>
                      <a:pt x="28" y="280"/>
                    </a:lnTo>
                    <a:lnTo>
                      <a:pt x="20" y="280"/>
                    </a:lnTo>
                    <a:lnTo>
                      <a:pt x="8" y="300"/>
                    </a:lnTo>
                    <a:lnTo>
                      <a:pt x="0" y="320"/>
                    </a:lnTo>
                    <a:lnTo>
                      <a:pt x="0" y="334"/>
                    </a:lnTo>
                    <a:lnTo>
                      <a:pt x="14" y="348"/>
                    </a:lnTo>
                    <a:lnTo>
                      <a:pt x="28" y="354"/>
                    </a:lnTo>
                    <a:lnTo>
                      <a:pt x="42" y="354"/>
                    </a:lnTo>
                    <a:lnTo>
                      <a:pt x="68" y="354"/>
                    </a:lnTo>
                    <a:lnTo>
                      <a:pt x="82" y="362"/>
                    </a:lnTo>
                    <a:lnTo>
                      <a:pt x="96" y="368"/>
                    </a:lnTo>
                    <a:lnTo>
                      <a:pt x="116" y="362"/>
                    </a:lnTo>
                    <a:lnTo>
                      <a:pt x="122" y="354"/>
                    </a:lnTo>
                    <a:lnTo>
                      <a:pt x="136" y="362"/>
                    </a:lnTo>
                    <a:lnTo>
                      <a:pt x="144" y="368"/>
                    </a:lnTo>
                    <a:lnTo>
                      <a:pt x="156" y="362"/>
                    </a:lnTo>
                    <a:lnTo>
                      <a:pt x="172" y="348"/>
                    </a:lnTo>
                    <a:lnTo>
                      <a:pt x="184" y="348"/>
                    </a:lnTo>
                    <a:lnTo>
                      <a:pt x="198" y="348"/>
                    </a:lnTo>
                    <a:lnTo>
                      <a:pt x="204" y="348"/>
                    </a:lnTo>
                    <a:lnTo>
                      <a:pt x="212" y="334"/>
                    </a:lnTo>
                    <a:lnTo>
                      <a:pt x="220" y="334"/>
                    </a:lnTo>
                    <a:lnTo>
                      <a:pt x="232" y="334"/>
                    </a:lnTo>
                    <a:lnTo>
                      <a:pt x="232" y="326"/>
                    </a:lnTo>
                    <a:lnTo>
                      <a:pt x="240" y="334"/>
                    </a:lnTo>
                    <a:lnTo>
                      <a:pt x="246" y="334"/>
                    </a:lnTo>
                    <a:lnTo>
                      <a:pt x="267" y="326"/>
                    </a:lnTo>
                    <a:lnTo>
                      <a:pt x="275" y="320"/>
                    </a:lnTo>
                    <a:lnTo>
                      <a:pt x="281" y="314"/>
                    </a:lnTo>
                    <a:lnTo>
                      <a:pt x="301" y="314"/>
                    </a:lnTo>
                    <a:lnTo>
                      <a:pt x="301" y="320"/>
                    </a:lnTo>
                    <a:lnTo>
                      <a:pt x="315" y="320"/>
                    </a:lnTo>
                    <a:lnTo>
                      <a:pt x="323" y="326"/>
                    </a:lnTo>
                    <a:lnTo>
                      <a:pt x="329" y="334"/>
                    </a:lnTo>
                    <a:lnTo>
                      <a:pt x="335" y="326"/>
                    </a:lnTo>
                    <a:lnTo>
                      <a:pt x="343" y="326"/>
                    </a:lnTo>
                    <a:lnTo>
                      <a:pt x="349" y="334"/>
                    </a:lnTo>
                    <a:lnTo>
                      <a:pt x="363" y="340"/>
                    </a:lnTo>
                    <a:lnTo>
                      <a:pt x="363" y="334"/>
                    </a:lnTo>
                    <a:lnTo>
                      <a:pt x="377" y="340"/>
                    </a:lnTo>
                    <a:lnTo>
                      <a:pt x="377" y="348"/>
                    </a:lnTo>
                    <a:lnTo>
                      <a:pt x="377" y="354"/>
                    </a:lnTo>
                    <a:lnTo>
                      <a:pt x="383" y="354"/>
                    </a:lnTo>
                    <a:lnTo>
                      <a:pt x="383" y="368"/>
                    </a:lnTo>
                    <a:lnTo>
                      <a:pt x="383" y="382"/>
                    </a:lnTo>
                    <a:lnTo>
                      <a:pt x="383" y="388"/>
                    </a:lnTo>
                    <a:lnTo>
                      <a:pt x="391" y="388"/>
                    </a:lnTo>
                    <a:lnTo>
                      <a:pt x="397" y="388"/>
                    </a:lnTo>
                    <a:lnTo>
                      <a:pt x="405" y="402"/>
                    </a:lnTo>
                    <a:lnTo>
                      <a:pt x="405" y="416"/>
                    </a:lnTo>
                    <a:lnTo>
                      <a:pt x="411" y="416"/>
                    </a:lnTo>
                    <a:lnTo>
                      <a:pt x="419" y="416"/>
                    </a:lnTo>
                    <a:lnTo>
                      <a:pt x="419" y="422"/>
                    </a:lnTo>
                    <a:lnTo>
                      <a:pt x="419" y="430"/>
                    </a:lnTo>
                    <a:lnTo>
                      <a:pt x="425" y="436"/>
                    </a:lnTo>
                    <a:lnTo>
                      <a:pt x="431" y="444"/>
                    </a:lnTo>
                    <a:lnTo>
                      <a:pt x="439" y="450"/>
                    </a:lnTo>
                    <a:lnTo>
                      <a:pt x="439" y="458"/>
                    </a:lnTo>
                    <a:lnTo>
                      <a:pt x="439" y="458"/>
                    </a:lnTo>
                    <a:lnTo>
                      <a:pt x="439" y="458"/>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5" name="Freeform 19"/>
              <p:cNvSpPr>
                <a:spLocks/>
              </p:cNvSpPr>
              <p:nvPr/>
            </p:nvSpPr>
            <p:spPr bwMode="gray">
              <a:xfrm>
                <a:off x="5840154" y="3435211"/>
                <a:ext cx="347740" cy="368382"/>
              </a:xfrm>
              <a:custGeom>
                <a:avLst/>
                <a:gdLst>
                  <a:gd name="T0" fmla="*/ 6 w 219"/>
                  <a:gd name="T1" fmla="*/ 34 h 232"/>
                  <a:gd name="T2" fmla="*/ 12 w 219"/>
                  <a:gd name="T3" fmla="*/ 54 h 232"/>
                  <a:gd name="T4" fmla="*/ 27 w 219"/>
                  <a:gd name="T5" fmla="*/ 68 h 232"/>
                  <a:gd name="T6" fmla="*/ 47 w 219"/>
                  <a:gd name="T7" fmla="*/ 76 h 232"/>
                  <a:gd name="T8" fmla="*/ 55 w 219"/>
                  <a:gd name="T9" fmla="*/ 90 h 232"/>
                  <a:gd name="T10" fmla="*/ 75 w 219"/>
                  <a:gd name="T11" fmla="*/ 96 h 232"/>
                  <a:gd name="T12" fmla="*/ 83 w 219"/>
                  <a:gd name="T13" fmla="*/ 116 h 232"/>
                  <a:gd name="T14" fmla="*/ 89 w 219"/>
                  <a:gd name="T15" fmla="*/ 144 h 232"/>
                  <a:gd name="T16" fmla="*/ 83 w 219"/>
                  <a:gd name="T17" fmla="*/ 164 h 232"/>
                  <a:gd name="T18" fmla="*/ 89 w 219"/>
                  <a:gd name="T19" fmla="*/ 178 h 232"/>
                  <a:gd name="T20" fmla="*/ 83 w 219"/>
                  <a:gd name="T21" fmla="*/ 192 h 232"/>
                  <a:gd name="T22" fmla="*/ 83 w 219"/>
                  <a:gd name="T23" fmla="*/ 218 h 232"/>
                  <a:gd name="T24" fmla="*/ 95 w 219"/>
                  <a:gd name="T25" fmla="*/ 226 h 232"/>
                  <a:gd name="T26" fmla="*/ 109 w 219"/>
                  <a:gd name="T27" fmla="*/ 232 h 232"/>
                  <a:gd name="T28" fmla="*/ 131 w 219"/>
                  <a:gd name="T29" fmla="*/ 232 h 232"/>
                  <a:gd name="T30" fmla="*/ 145 w 219"/>
                  <a:gd name="T31" fmla="*/ 218 h 232"/>
                  <a:gd name="T32" fmla="*/ 157 w 219"/>
                  <a:gd name="T33" fmla="*/ 218 h 232"/>
                  <a:gd name="T34" fmla="*/ 165 w 219"/>
                  <a:gd name="T35" fmla="*/ 226 h 232"/>
                  <a:gd name="T36" fmla="*/ 173 w 219"/>
                  <a:gd name="T37" fmla="*/ 212 h 232"/>
                  <a:gd name="T38" fmla="*/ 165 w 219"/>
                  <a:gd name="T39" fmla="*/ 198 h 232"/>
                  <a:gd name="T40" fmla="*/ 173 w 219"/>
                  <a:gd name="T41" fmla="*/ 184 h 232"/>
                  <a:gd name="T42" fmla="*/ 179 w 219"/>
                  <a:gd name="T43" fmla="*/ 192 h 232"/>
                  <a:gd name="T44" fmla="*/ 199 w 219"/>
                  <a:gd name="T45" fmla="*/ 184 h 232"/>
                  <a:gd name="T46" fmla="*/ 213 w 219"/>
                  <a:gd name="T47" fmla="*/ 178 h 232"/>
                  <a:gd name="T48" fmla="*/ 219 w 219"/>
                  <a:gd name="T49" fmla="*/ 164 h 232"/>
                  <a:gd name="T50" fmla="*/ 205 w 219"/>
                  <a:gd name="T51" fmla="*/ 156 h 232"/>
                  <a:gd name="T52" fmla="*/ 193 w 219"/>
                  <a:gd name="T53" fmla="*/ 144 h 232"/>
                  <a:gd name="T54" fmla="*/ 199 w 219"/>
                  <a:gd name="T55" fmla="*/ 138 h 232"/>
                  <a:gd name="T56" fmla="*/ 187 w 219"/>
                  <a:gd name="T57" fmla="*/ 124 h 232"/>
                  <a:gd name="T58" fmla="*/ 179 w 219"/>
                  <a:gd name="T59" fmla="*/ 110 h 232"/>
                  <a:gd name="T60" fmla="*/ 173 w 219"/>
                  <a:gd name="T61" fmla="*/ 104 h 232"/>
                  <a:gd name="T62" fmla="*/ 165 w 219"/>
                  <a:gd name="T63" fmla="*/ 90 h 232"/>
                  <a:gd name="T64" fmla="*/ 151 w 219"/>
                  <a:gd name="T65" fmla="*/ 76 h 232"/>
                  <a:gd name="T66" fmla="*/ 145 w 219"/>
                  <a:gd name="T67" fmla="*/ 68 h 232"/>
                  <a:gd name="T68" fmla="*/ 145 w 219"/>
                  <a:gd name="T69" fmla="*/ 42 h 232"/>
                  <a:gd name="T70" fmla="*/ 139 w 219"/>
                  <a:gd name="T71" fmla="*/ 34 h 232"/>
                  <a:gd name="T72" fmla="*/ 123 w 219"/>
                  <a:gd name="T73" fmla="*/ 20 h 232"/>
                  <a:gd name="T74" fmla="*/ 111 w 219"/>
                  <a:gd name="T75" fmla="*/ 20 h 232"/>
                  <a:gd name="T76" fmla="*/ 97 w 219"/>
                  <a:gd name="T77" fmla="*/ 14 h 232"/>
                  <a:gd name="T78" fmla="*/ 83 w 219"/>
                  <a:gd name="T79" fmla="*/ 14 h 232"/>
                  <a:gd name="T80" fmla="*/ 63 w 219"/>
                  <a:gd name="T81" fmla="*/ 6 h 232"/>
                  <a:gd name="T82" fmla="*/ 43 w 219"/>
                  <a:gd name="T83" fmla="*/ 0 h 232"/>
                  <a:gd name="T84" fmla="*/ 29 w 219"/>
                  <a:gd name="T85" fmla="*/ 14 h 232"/>
                  <a:gd name="T86" fmla="*/ 0 w 219"/>
                  <a:gd name="T87" fmla="*/ 20 h 232"/>
                  <a:gd name="T88" fmla="*/ 0 w 219"/>
                  <a:gd name="T89" fmla="*/ 2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9" h="232">
                    <a:moveTo>
                      <a:pt x="0" y="20"/>
                    </a:moveTo>
                    <a:lnTo>
                      <a:pt x="6" y="34"/>
                    </a:lnTo>
                    <a:lnTo>
                      <a:pt x="12" y="34"/>
                    </a:lnTo>
                    <a:lnTo>
                      <a:pt x="12" y="54"/>
                    </a:lnTo>
                    <a:lnTo>
                      <a:pt x="20" y="62"/>
                    </a:lnTo>
                    <a:lnTo>
                      <a:pt x="27" y="68"/>
                    </a:lnTo>
                    <a:lnTo>
                      <a:pt x="41" y="76"/>
                    </a:lnTo>
                    <a:lnTo>
                      <a:pt x="47" y="76"/>
                    </a:lnTo>
                    <a:lnTo>
                      <a:pt x="47" y="82"/>
                    </a:lnTo>
                    <a:lnTo>
                      <a:pt x="55" y="90"/>
                    </a:lnTo>
                    <a:lnTo>
                      <a:pt x="61" y="90"/>
                    </a:lnTo>
                    <a:lnTo>
                      <a:pt x="75" y="96"/>
                    </a:lnTo>
                    <a:lnTo>
                      <a:pt x="75" y="104"/>
                    </a:lnTo>
                    <a:lnTo>
                      <a:pt x="83" y="116"/>
                    </a:lnTo>
                    <a:lnTo>
                      <a:pt x="83" y="130"/>
                    </a:lnTo>
                    <a:lnTo>
                      <a:pt x="89" y="144"/>
                    </a:lnTo>
                    <a:lnTo>
                      <a:pt x="89" y="156"/>
                    </a:lnTo>
                    <a:lnTo>
                      <a:pt x="83" y="164"/>
                    </a:lnTo>
                    <a:lnTo>
                      <a:pt x="83" y="170"/>
                    </a:lnTo>
                    <a:lnTo>
                      <a:pt x="89" y="178"/>
                    </a:lnTo>
                    <a:lnTo>
                      <a:pt x="83" y="184"/>
                    </a:lnTo>
                    <a:lnTo>
                      <a:pt x="83" y="192"/>
                    </a:lnTo>
                    <a:lnTo>
                      <a:pt x="83" y="206"/>
                    </a:lnTo>
                    <a:lnTo>
                      <a:pt x="83" y="218"/>
                    </a:lnTo>
                    <a:lnTo>
                      <a:pt x="83" y="226"/>
                    </a:lnTo>
                    <a:lnTo>
                      <a:pt x="95" y="226"/>
                    </a:lnTo>
                    <a:lnTo>
                      <a:pt x="103" y="232"/>
                    </a:lnTo>
                    <a:lnTo>
                      <a:pt x="109" y="232"/>
                    </a:lnTo>
                    <a:lnTo>
                      <a:pt x="117" y="232"/>
                    </a:lnTo>
                    <a:lnTo>
                      <a:pt x="131" y="232"/>
                    </a:lnTo>
                    <a:lnTo>
                      <a:pt x="139" y="226"/>
                    </a:lnTo>
                    <a:lnTo>
                      <a:pt x="145" y="218"/>
                    </a:lnTo>
                    <a:lnTo>
                      <a:pt x="151" y="212"/>
                    </a:lnTo>
                    <a:lnTo>
                      <a:pt x="157" y="218"/>
                    </a:lnTo>
                    <a:lnTo>
                      <a:pt x="165" y="218"/>
                    </a:lnTo>
                    <a:lnTo>
                      <a:pt x="165" y="226"/>
                    </a:lnTo>
                    <a:lnTo>
                      <a:pt x="173" y="226"/>
                    </a:lnTo>
                    <a:lnTo>
                      <a:pt x="173" y="212"/>
                    </a:lnTo>
                    <a:lnTo>
                      <a:pt x="173" y="206"/>
                    </a:lnTo>
                    <a:lnTo>
                      <a:pt x="165" y="198"/>
                    </a:lnTo>
                    <a:lnTo>
                      <a:pt x="165" y="192"/>
                    </a:lnTo>
                    <a:lnTo>
                      <a:pt x="173" y="184"/>
                    </a:lnTo>
                    <a:lnTo>
                      <a:pt x="179" y="184"/>
                    </a:lnTo>
                    <a:lnTo>
                      <a:pt x="179" y="192"/>
                    </a:lnTo>
                    <a:lnTo>
                      <a:pt x="185" y="184"/>
                    </a:lnTo>
                    <a:lnTo>
                      <a:pt x="199" y="184"/>
                    </a:lnTo>
                    <a:lnTo>
                      <a:pt x="205" y="178"/>
                    </a:lnTo>
                    <a:lnTo>
                      <a:pt x="213" y="178"/>
                    </a:lnTo>
                    <a:lnTo>
                      <a:pt x="219" y="178"/>
                    </a:lnTo>
                    <a:lnTo>
                      <a:pt x="219" y="164"/>
                    </a:lnTo>
                    <a:lnTo>
                      <a:pt x="213" y="156"/>
                    </a:lnTo>
                    <a:lnTo>
                      <a:pt x="205" y="156"/>
                    </a:lnTo>
                    <a:lnTo>
                      <a:pt x="193" y="150"/>
                    </a:lnTo>
                    <a:lnTo>
                      <a:pt x="193" y="144"/>
                    </a:lnTo>
                    <a:lnTo>
                      <a:pt x="199" y="144"/>
                    </a:lnTo>
                    <a:lnTo>
                      <a:pt x="199" y="138"/>
                    </a:lnTo>
                    <a:lnTo>
                      <a:pt x="193" y="130"/>
                    </a:lnTo>
                    <a:lnTo>
                      <a:pt x="187" y="124"/>
                    </a:lnTo>
                    <a:lnTo>
                      <a:pt x="179" y="116"/>
                    </a:lnTo>
                    <a:lnTo>
                      <a:pt x="179" y="110"/>
                    </a:lnTo>
                    <a:lnTo>
                      <a:pt x="179" y="104"/>
                    </a:lnTo>
                    <a:lnTo>
                      <a:pt x="173" y="104"/>
                    </a:lnTo>
                    <a:lnTo>
                      <a:pt x="165" y="104"/>
                    </a:lnTo>
                    <a:lnTo>
                      <a:pt x="165" y="90"/>
                    </a:lnTo>
                    <a:lnTo>
                      <a:pt x="159" y="76"/>
                    </a:lnTo>
                    <a:lnTo>
                      <a:pt x="151" y="76"/>
                    </a:lnTo>
                    <a:lnTo>
                      <a:pt x="145" y="76"/>
                    </a:lnTo>
                    <a:lnTo>
                      <a:pt x="145" y="68"/>
                    </a:lnTo>
                    <a:lnTo>
                      <a:pt x="145" y="54"/>
                    </a:lnTo>
                    <a:lnTo>
                      <a:pt x="145" y="42"/>
                    </a:lnTo>
                    <a:lnTo>
                      <a:pt x="139" y="42"/>
                    </a:lnTo>
                    <a:lnTo>
                      <a:pt x="139" y="34"/>
                    </a:lnTo>
                    <a:lnTo>
                      <a:pt x="139" y="28"/>
                    </a:lnTo>
                    <a:lnTo>
                      <a:pt x="123" y="20"/>
                    </a:lnTo>
                    <a:lnTo>
                      <a:pt x="123" y="28"/>
                    </a:lnTo>
                    <a:lnTo>
                      <a:pt x="111" y="20"/>
                    </a:lnTo>
                    <a:lnTo>
                      <a:pt x="105" y="14"/>
                    </a:lnTo>
                    <a:lnTo>
                      <a:pt x="97" y="14"/>
                    </a:lnTo>
                    <a:lnTo>
                      <a:pt x="91" y="20"/>
                    </a:lnTo>
                    <a:lnTo>
                      <a:pt x="83" y="14"/>
                    </a:lnTo>
                    <a:lnTo>
                      <a:pt x="77" y="6"/>
                    </a:lnTo>
                    <a:lnTo>
                      <a:pt x="63" y="6"/>
                    </a:lnTo>
                    <a:lnTo>
                      <a:pt x="63" y="0"/>
                    </a:lnTo>
                    <a:lnTo>
                      <a:pt x="43" y="0"/>
                    </a:lnTo>
                    <a:lnTo>
                      <a:pt x="35" y="6"/>
                    </a:lnTo>
                    <a:lnTo>
                      <a:pt x="29" y="14"/>
                    </a:lnTo>
                    <a:lnTo>
                      <a:pt x="8" y="20"/>
                    </a:lnTo>
                    <a:lnTo>
                      <a:pt x="0" y="20"/>
                    </a:lnTo>
                    <a:lnTo>
                      <a:pt x="0" y="20"/>
                    </a:lnTo>
                    <a:lnTo>
                      <a:pt x="0" y="2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6" name="Freeform 20"/>
              <p:cNvSpPr>
                <a:spLocks/>
              </p:cNvSpPr>
              <p:nvPr/>
            </p:nvSpPr>
            <p:spPr bwMode="gray">
              <a:xfrm>
                <a:off x="7046922" y="3790890"/>
                <a:ext cx="666898" cy="238178"/>
              </a:xfrm>
              <a:custGeom>
                <a:avLst/>
                <a:gdLst>
                  <a:gd name="T0" fmla="*/ 226 w 420"/>
                  <a:gd name="T1" fmla="*/ 150 h 150"/>
                  <a:gd name="T2" fmla="*/ 220 w 420"/>
                  <a:gd name="T3" fmla="*/ 144 h 150"/>
                  <a:gd name="T4" fmla="*/ 212 w 420"/>
                  <a:gd name="T5" fmla="*/ 138 h 150"/>
                  <a:gd name="T6" fmla="*/ 192 w 420"/>
                  <a:gd name="T7" fmla="*/ 138 h 150"/>
                  <a:gd name="T8" fmla="*/ 178 w 420"/>
                  <a:gd name="T9" fmla="*/ 144 h 150"/>
                  <a:gd name="T10" fmla="*/ 144 w 420"/>
                  <a:gd name="T11" fmla="*/ 144 h 150"/>
                  <a:gd name="T12" fmla="*/ 138 w 420"/>
                  <a:gd name="T13" fmla="*/ 150 h 150"/>
                  <a:gd name="T14" fmla="*/ 130 w 420"/>
                  <a:gd name="T15" fmla="*/ 144 h 150"/>
                  <a:gd name="T16" fmla="*/ 138 w 420"/>
                  <a:gd name="T17" fmla="*/ 124 h 150"/>
                  <a:gd name="T18" fmla="*/ 144 w 420"/>
                  <a:gd name="T19" fmla="*/ 116 h 150"/>
                  <a:gd name="T20" fmla="*/ 124 w 420"/>
                  <a:gd name="T21" fmla="*/ 96 h 150"/>
                  <a:gd name="T22" fmla="*/ 110 w 420"/>
                  <a:gd name="T23" fmla="*/ 76 h 150"/>
                  <a:gd name="T24" fmla="*/ 104 w 420"/>
                  <a:gd name="T25" fmla="*/ 62 h 150"/>
                  <a:gd name="T26" fmla="*/ 84 w 420"/>
                  <a:gd name="T27" fmla="*/ 62 h 150"/>
                  <a:gd name="T28" fmla="*/ 68 w 420"/>
                  <a:gd name="T29" fmla="*/ 48 h 150"/>
                  <a:gd name="T30" fmla="*/ 54 w 420"/>
                  <a:gd name="T31" fmla="*/ 42 h 150"/>
                  <a:gd name="T32" fmla="*/ 42 w 420"/>
                  <a:gd name="T33" fmla="*/ 48 h 150"/>
                  <a:gd name="T34" fmla="*/ 28 w 420"/>
                  <a:gd name="T35" fmla="*/ 42 h 150"/>
                  <a:gd name="T36" fmla="*/ 0 w 420"/>
                  <a:gd name="T37" fmla="*/ 36 h 150"/>
                  <a:gd name="T38" fmla="*/ 8 w 420"/>
                  <a:gd name="T39" fmla="*/ 22 h 150"/>
                  <a:gd name="T40" fmla="*/ 28 w 420"/>
                  <a:gd name="T41" fmla="*/ 22 h 150"/>
                  <a:gd name="T42" fmla="*/ 42 w 420"/>
                  <a:gd name="T43" fmla="*/ 0 h 150"/>
                  <a:gd name="T44" fmla="*/ 70 w 420"/>
                  <a:gd name="T45" fmla="*/ 14 h 150"/>
                  <a:gd name="T46" fmla="*/ 104 w 420"/>
                  <a:gd name="T47" fmla="*/ 14 h 150"/>
                  <a:gd name="T48" fmla="*/ 118 w 420"/>
                  <a:gd name="T49" fmla="*/ 22 h 150"/>
                  <a:gd name="T50" fmla="*/ 144 w 420"/>
                  <a:gd name="T51" fmla="*/ 22 h 150"/>
                  <a:gd name="T52" fmla="*/ 172 w 420"/>
                  <a:gd name="T53" fmla="*/ 14 h 150"/>
                  <a:gd name="T54" fmla="*/ 200 w 420"/>
                  <a:gd name="T55" fmla="*/ 22 h 150"/>
                  <a:gd name="T56" fmla="*/ 220 w 420"/>
                  <a:gd name="T57" fmla="*/ 22 h 150"/>
                  <a:gd name="T58" fmla="*/ 220 w 420"/>
                  <a:gd name="T59" fmla="*/ 36 h 150"/>
                  <a:gd name="T60" fmla="*/ 248 w 420"/>
                  <a:gd name="T61" fmla="*/ 36 h 150"/>
                  <a:gd name="T62" fmla="*/ 268 w 420"/>
                  <a:gd name="T63" fmla="*/ 22 h 150"/>
                  <a:gd name="T64" fmla="*/ 288 w 420"/>
                  <a:gd name="T65" fmla="*/ 28 h 150"/>
                  <a:gd name="T66" fmla="*/ 296 w 420"/>
                  <a:gd name="T67" fmla="*/ 14 h 150"/>
                  <a:gd name="T68" fmla="*/ 308 w 420"/>
                  <a:gd name="T69" fmla="*/ 14 h 150"/>
                  <a:gd name="T70" fmla="*/ 324 w 420"/>
                  <a:gd name="T71" fmla="*/ 22 h 150"/>
                  <a:gd name="T72" fmla="*/ 336 w 420"/>
                  <a:gd name="T73" fmla="*/ 14 h 150"/>
                  <a:gd name="T74" fmla="*/ 350 w 420"/>
                  <a:gd name="T75" fmla="*/ 28 h 150"/>
                  <a:gd name="T76" fmla="*/ 358 w 420"/>
                  <a:gd name="T77" fmla="*/ 42 h 150"/>
                  <a:gd name="T78" fmla="*/ 378 w 420"/>
                  <a:gd name="T79" fmla="*/ 36 h 150"/>
                  <a:gd name="T80" fmla="*/ 392 w 420"/>
                  <a:gd name="T81" fmla="*/ 42 h 150"/>
                  <a:gd name="T82" fmla="*/ 392 w 420"/>
                  <a:gd name="T83" fmla="*/ 62 h 150"/>
                  <a:gd name="T84" fmla="*/ 420 w 420"/>
                  <a:gd name="T85" fmla="*/ 76 h 150"/>
                  <a:gd name="T86" fmla="*/ 420 w 420"/>
                  <a:gd name="T87" fmla="*/ 96 h 150"/>
                  <a:gd name="T88" fmla="*/ 392 w 420"/>
                  <a:gd name="T89" fmla="*/ 96 h 150"/>
                  <a:gd name="T90" fmla="*/ 378 w 420"/>
                  <a:gd name="T91" fmla="*/ 96 h 150"/>
                  <a:gd name="T92" fmla="*/ 350 w 420"/>
                  <a:gd name="T93" fmla="*/ 82 h 150"/>
                  <a:gd name="T94" fmla="*/ 336 w 420"/>
                  <a:gd name="T95" fmla="*/ 102 h 150"/>
                  <a:gd name="T96" fmla="*/ 330 w 420"/>
                  <a:gd name="T97" fmla="*/ 110 h 150"/>
                  <a:gd name="T98" fmla="*/ 324 w 420"/>
                  <a:gd name="T99" fmla="*/ 116 h 150"/>
                  <a:gd name="T100" fmla="*/ 308 w 420"/>
                  <a:gd name="T101" fmla="*/ 124 h 150"/>
                  <a:gd name="T102" fmla="*/ 288 w 420"/>
                  <a:gd name="T103" fmla="*/ 124 h 150"/>
                  <a:gd name="T104" fmla="*/ 262 w 420"/>
                  <a:gd name="T105" fmla="*/ 138 h 150"/>
                  <a:gd name="T106" fmla="*/ 240 w 420"/>
                  <a:gd name="T107" fmla="*/ 150 h 150"/>
                  <a:gd name="T108" fmla="*/ 240 w 420"/>
                  <a:gd name="T10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20" h="150">
                    <a:moveTo>
                      <a:pt x="240" y="150"/>
                    </a:moveTo>
                    <a:lnTo>
                      <a:pt x="226" y="150"/>
                    </a:lnTo>
                    <a:lnTo>
                      <a:pt x="220" y="150"/>
                    </a:lnTo>
                    <a:lnTo>
                      <a:pt x="220" y="144"/>
                    </a:lnTo>
                    <a:lnTo>
                      <a:pt x="220" y="138"/>
                    </a:lnTo>
                    <a:lnTo>
                      <a:pt x="212" y="138"/>
                    </a:lnTo>
                    <a:lnTo>
                      <a:pt x="198" y="130"/>
                    </a:lnTo>
                    <a:lnTo>
                      <a:pt x="192" y="138"/>
                    </a:lnTo>
                    <a:lnTo>
                      <a:pt x="186" y="138"/>
                    </a:lnTo>
                    <a:lnTo>
                      <a:pt x="178" y="144"/>
                    </a:lnTo>
                    <a:lnTo>
                      <a:pt x="152" y="144"/>
                    </a:lnTo>
                    <a:lnTo>
                      <a:pt x="144" y="144"/>
                    </a:lnTo>
                    <a:lnTo>
                      <a:pt x="138" y="144"/>
                    </a:lnTo>
                    <a:lnTo>
                      <a:pt x="138" y="150"/>
                    </a:lnTo>
                    <a:lnTo>
                      <a:pt x="130" y="150"/>
                    </a:lnTo>
                    <a:lnTo>
                      <a:pt x="130" y="144"/>
                    </a:lnTo>
                    <a:lnTo>
                      <a:pt x="130" y="138"/>
                    </a:lnTo>
                    <a:lnTo>
                      <a:pt x="138" y="124"/>
                    </a:lnTo>
                    <a:lnTo>
                      <a:pt x="144" y="124"/>
                    </a:lnTo>
                    <a:lnTo>
                      <a:pt x="144" y="116"/>
                    </a:lnTo>
                    <a:lnTo>
                      <a:pt x="138" y="110"/>
                    </a:lnTo>
                    <a:lnTo>
                      <a:pt x="124" y="96"/>
                    </a:lnTo>
                    <a:lnTo>
                      <a:pt x="118" y="88"/>
                    </a:lnTo>
                    <a:lnTo>
                      <a:pt x="110" y="76"/>
                    </a:lnTo>
                    <a:lnTo>
                      <a:pt x="110" y="70"/>
                    </a:lnTo>
                    <a:lnTo>
                      <a:pt x="104" y="62"/>
                    </a:lnTo>
                    <a:lnTo>
                      <a:pt x="90" y="62"/>
                    </a:lnTo>
                    <a:lnTo>
                      <a:pt x="84" y="62"/>
                    </a:lnTo>
                    <a:lnTo>
                      <a:pt x="84" y="48"/>
                    </a:lnTo>
                    <a:lnTo>
                      <a:pt x="68" y="48"/>
                    </a:lnTo>
                    <a:lnTo>
                      <a:pt x="62" y="42"/>
                    </a:lnTo>
                    <a:lnTo>
                      <a:pt x="54" y="42"/>
                    </a:lnTo>
                    <a:lnTo>
                      <a:pt x="48" y="48"/>
                    </a:lnTo>
                    <a:lnTo>
                      <a:pt x="42" y="48"/>
                    </a:lnTo>
                    <a:lnTo>
                      <a:pt x="34" y="42"/>
                    </a:lnTo>
                    <a:lnTo>
                      <a:pt x="28" y="42"/>
                    </a:lnTo>
                    <a:lnTo>
                      <a:pt x="20" y="42"/>
                    </a:lnTo>
                    <a:lnTo>
                      <a:pt x="0" y="36"/>
                    </a:lnTo>
                    <a:lnTo>
                      <a:pt x="0" y="36"/>
                    </a:lnTo>
                    <a:lnTo>
                      <a:pt x="8" y="22"/>
                    </a:lnTo>
                    <a:lnTo>
                      <a:pt x="14" y="22"/>
                    </a:lnTo>
                    <a:lnTo>
                      <a:pt x="28" y="22"/>
                    </a:lnTo>
                    <a:lnTo>
                      <a:pt x="36" y="14"/>
                    </a:lnTo>
                    <a:lnTo>
                      <a:pt x="42" y="0"/>
                    </a:lnTo>
                    <a:lnTo>
                      <a:pt x="56" y="8"/>
                    </a:lnTo>
                    <a:lnTo>
                      <a:pt x="70" y="14"/>
                    </a:lnTo>
                    <a:lnTo>
                      <a:pt x="76" y="14"/>
                    </a:lnTo>
                    <a:lnTo>
                      <a:pt x="104" y="14"/>
                    </a:lnTo>
                    <a:lnTo>
                      <a:pt x="110" y="22"/>
                    </a:lnTo>
                    <a:lnTo>
                      <a:pt x="118" y="22"/>
                    </a:lnTo>
                    <a:lnTo>
                      <a:pt x="132" y="22"/>
                    </a:lnTo>
                    <a:lnTo>
                      <a:pt x="144" y="22"/>
                    </a:lnTo>
                    <a:lnTo>
                      <a:pt x="166" y="14"/>
                    </a:lnTo>
                    <a:lnTo>
                      <a:pt x="172" y="14"/>
                    </a:lnTo>
                    <a:lnTo>
                      <a:pt x="180" y="22"/>
                    </a:lnTo>
                    <a:lnTo>
                      <a:pt x="200" y="22"/>
                    </a:lnTo>
                    <a:lnTo>
                      <a:pt x="214" y="22"/>
                    </a:lnTo>
                    <a:lnTo>
                      <a:pt x="220" y="22"/>
                    </a:lnTo>
                    <a:lnTo>
                      <a:pt x="228" y="28"/>
                    </a:lnTo>
                    <a:lnTo>
                      <a:pt x="220" y="36"/>
                    </a:lnTo>
                    <a:lnTo>
                      <a:pt x="234" y="36"/>
                    </a:lnTo>
                    <a:lnTo>
                      <a:pt x="248" y="36"/>
                    </a:lnTo>
                    <a:lnTo>
                      <a:pt x="254" y="28"/>
                    </a:lnTo>
                    <a:lnTo>
                      <a:pt x="268" y="22"/>
                    </a:lnTo>
                    <a:lnTo>
                      <a:pt x="282" y="28"/>
                    </a:lnTo>
                    <a:lnTo>
                      <a:pt x="288" y="28"/>
                    </a:lnTo>
                    <a:lnTo>
                      <a:pt x="296" y="22"/>
                    </a:lnTo>
                    <a:lnTo>
                      <a:pt x="296" y="14"/>
                    </a:lnTo>
                    <a:lnTo>
                      <a:pt x="302" y="14"/>
                    </a:lnTo>
                    <a:lnTo>
                      <a:pt x="308" y="14"/>
                    </a:lnTo>
                    <a:lnTo>
                      <a:pt x="308" y="28"/>
                    </a:lnTo>
                    <a:lnTo>
                      <a:pt x="324" y="22"/>
                    </a:lnTo>
                    <a:lnTo>
                      <a:pt x="324" y="14"/>
                    </a:lnTo>
                    <a:lnTo>
                      <a:pt x="336" y="14"/>
                    </a:lnTo>
                    <a:lnTo>
                      <a:pt x="350" y="22"/>
                    </a:lnTo>
                    <a:lnTo>
                      <a:pt x="350" y="28"/>
                    </a:lnTo>
                    <a:lnTo>
                      <a:pt x="350" y="36"/>
                    </a:lnTo>
                    <a:lnTo>
                      <a:pt x="358" y="42"/>
                    </a:lnTo>
                    <a:lnTo>
                      <a:pt x="370" y="36"/>
                    </a:lnTo>
                    <a:lnTo>
                      <a:pt x="378" y="36"/>
                    </a:lnTo>
                    <a:lnTo>
                      <a:pt x="398" y="42"/>
                    </a:lnTo>
                    <a:lnTo>
                      <a:pt x="392" y="42"/>
                    </a:lnTo>
                    <a:lnTo>
                      <a:pt x="392" y="56"/>
                    </a:lnTo>
                    <a:lnTo>
                      <a:pt x="392" y="62"/>
                    </a:lnTo>
                    <a:lnTo>
                      <a:pt x="412" y="70"/>
                    </a:lnTo>
                    <a:lnTo>
                      <a:pt x="420" y="76"/>
                    </a:lnTo>
                    <a:lnTo>
                      <a:pt x="420" y="82"/>
                    </a:lnTo>
                    <a:lnTo>
                      <a:pt x="420" y="96"/>
                    </a:lnTo>
                    <a:lnTo>
                      <a:pt x="412" y="96"/>
                    </a:lnTo>
                    <a:lnTo>
                      <a:pt x="392" y="96"/>
                    </a:lnTo>
                    <a:lnTo>
                      <a:pt x="392" y="102"/>
                    </a:lnTo>
                    <a:lnTo>
                      <a:pt x="378" y="96"/>
                    </a:lnTo>
                    <a:lnTo>
                      <a:pt x="364" y="96"/>
                    </a:lnTo>
                    <a:lnTo>
                      <a:pt x="350" y="82"/>
                    </a:lnTo>
                    <a:lnTo>
                      <a:pt x="344" y="88"/>
                    </a:lnTo>
                    <a:lnTo>
                      <a:pt x="336" y="102"/>
                    </a:lnTo>
                    <a:lnTo>
                      <a:pt x="330" y="102"/>
                    </a:lnTo>
                    <a:lnTo>
                      <a:pt x="330" y="110"/>
                    </a:lnTo>
                    <a:lnTo>
                      <a:pt x="330" y="116"/>
                    </a:lnTo>
                    <a:lnTo>
                      <a:pt x="324" y="116"/>
                    </a:lnTo>
                    <a:lnTo>
                      <a:pt x="308" y="116"/>
                    </a:lnTo>
                    <a:lnTo>
                      <a:pt x="308" y="124"/>
                    </a:lnTo>
                    <a:lnTo>
                      <a:pt x="302" y="124"/>
                    </a:lnTo>
                    <a:lnTo>
                      <a:pt x="288" y="124"/>
                    </a:lnTo>
                    <a:lnTo>
                      <a:pt x="274" y="130"/>
                    </a:lnTo>
                    <a:lnTo>
                      <a:pt x="262" y="138"/>
                    </a:lnTo>
                    <a:lnTo>
                      <a:pt x="240" y="150"/>
                    </a:lnTo>
                    <a:lnTo>
                      <a:pt x="240" y="150"/>
                    </a:lnTo>
                    <a:lnTo>
                      <a:pt x="240" y="150"/>
                    </a:lnTo>
                    <a:lnTo>
                      <a:pt x="240" y="15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7" name="Freeform 21"/>
              <p:cNvSpPr>
                <a:spLocks/>
              </p:cNvSpPr>
              <p:nvPr>
                <p:custDataLst>
                  <p:tags r:id="rId129"/>
                </p:custDataLst>
              </p:nvPr>
            </p:nvSpPr>
            <p:spPr bwMode="gray">
              <a:xfrm>
                <a:off x="2631104" y="3600348"/>
                <a:ext cx="1132139" cy="952711"/>
              </a:xfrm>
              <a:custGeom>
                <a:avLst/>
                <a:gdLst>
                  <a:gd name="T0" fmla="*/ 415 w 713"/>
                  <a:gd name="T1" fmla="*/ 124 h 600"/>
                  <a:gd name="T2" fmla="*/ 373 w 713"/>
                  <a:gd name="T3" fmla="*/ 110 h 600"/>
                  <a:gd name="T4" fmla="*/ 325 w 713"/>
                  <a:gd name="T5" fmla="*/ 90 h 600"/>
                  <a:gd name="T6" fmla="*/ 291 w 713"/>
                  <a:gd name="T7" fmla="*/ 76 h 600"/>
                  <a:gd name="T8" fmla="*/ 241 w 713"/>
                  <a:gd name="T9" fmla="*/ 54 h 600"/>
                  <a:gd name="T10" fmla="*/ 201 w 713"/>
                  <a:gd name="T11" fmla="*/ 40 h 600"/>
                  <a:gd name="T12" fmla="*/ 158 w 713"/>
                  <a:gd name="T13" fmla="*/ 14 h 600"/>
                  <a:gd name="T14" fmla="*/ 130 w 713"/>
                  <a:gd name="T15" fmla="*/ 0 h 600"/>
                  <a:gd name="T16" fmla="*/ 116 w 713"/>
                  <a:gd name="T17" fmla="*/ 14 h 600"/>
                  <a:gd name="T18" fmla="*/ 88 w 713"/>
                  <a:gd name="T19" fmla="*/ 14 h 600"/>
                  <a:gd name="T20" fmla="*/ 54 w 713"/>
                  <a:gd name="T21" fmla="*/ 20 h 600"/>
                  <a:gd name="T22" fmla="*/ 62 w 713"/>
                  <a:gd name="T23" fmla="*/ 40 h 600"/>
                  <a:gd name="T24" fmla="*/ 54 w 713"/>
                  <a:gd name="T25" fmla="*/ 48 h 600"/>
                  <a:gd name="T26" fmla="*/ 54 w 713"/>
                  <a:gd name="T27" fmla="*/ 76 h 600"/>
                  <a:gd name="T28" fmla="*/ 40 w 713"/>
                  <a:gd name="T29" fmla="*/ 90 h 600"/>
                  <a:gd name="T30" fmla="*/ 76 w 713"/>
                  <a:gd name="T31" fmla="*/ 102 h 600"/>
                  <a:gd name="T32" fmla="*/ 88 w 713"/>
                  <a:gd name="T33" fmla="*/ 124 h 600"/>
                  <a:gd name="T34" fmla="*/ 124 w 713"/>
                  <a:gd name="T35" fmla="*/ 138 h 600"/>
                  <a:gd name="T36" fmla="*/ 144 w 713"/>
                  <a:gd name="T37" fmla="*/ 144 h 600"/>
                  <a:gd name="T38" fmla="*/ 158 w 713"/>
                  <a:gd name="T39" fmla="*/ 164 h 600"/>
                  <a:gd name="T40" fmla="*/ 164 w 713"/>
                  <a:gd name="T41" fmla="*/ 186 h 600"/>
                  <a:gd name="T42" fmla="*/ 144 w 713"/>
                  <a:gd name="T43" fmla="*/ 198 h 600"/>
                  <a:gd name="T44" fmla="*/ 124 w 713"/>
                  <a:gd name="T45" fmla="*/ 220 h 600"/>
                  <a:gd name="T46" fmla="*/ 110 w 713"/>
                  <a:gd name="T47" fmla="*/ 254 h 600"/>
                  <a:gd name="T48" fmla="*/ 96 w 713"/>
                  <a:gd name="T49" fmla="*/ 274 h 600"/>
                  <a:gd name="T50" fmla="*/ 68 w 713"/>
                  <a:gd name="T51" fmla="*/ 310 h 600"/>
                  <a:gd name="T52" fmla="*/ 62 w 713"/>
                  <a:gd name="T53" fmla="*/ 336 h 600"/>
                  <a:gd name="T54" fmla="*/ 48 w 713"/>
                  <a:gd name="T55" fmla="*/ 372 h 600"/>
                  <a:gd name="T56" fmla="*/ 34 w 713"/>
                  <a:gd name="T57" fmla="*/ 400 h 600"/>
                  <a:gd name="T58" fmla="*/ 26 w 713"/>
                  <a:gd name="T59" fmla="*/ 420 h 600"/>
                  <a:gd name="T60" fmla="*/ 6 w 713"/>
                  <a:gd name="T61" fmla="*/ 434 h 600"/>
                  <a:gd name="T62" fmla="*/ 12 w 713"/>
                  <a:gd name="T63" fmla="*/ 468 h 600"/>
                  <a:gd name="T64" fmla="*/ 48 w 713"/>
                  <a:gd name="T65" fmla="*/ 502 h 600"/>
                  <a:gd name="T66" fmla="*/ 62 w 713"/>
                  <a:gd name="T67" fmla="*/ 522 h 600"/>
                  <a:gd name="T68" fmla="*/ 48 w 713"/>
                  <a:gd name="T69" fmla="*/ 564 h 600"/>
                  <a:gd name="T70" fmla="*/ 82 w 713"/>
                  <a:gd name="T71" fmla="*/ 584 h 600"/>
                  <a:gd name="T72" fmla="*/ 124 w 713"/>
                  <a:gd name="T73" fmla="*/ 564 h 600"/>
                  <a:gd name="T74" fmla="*/ 178 w 713"/>
                  <a:gd name="T75" fmla="*/ 564 h 600"/>
                  <a:gd name="T76" fmla="*/ 241 w 713"/>
                  <a:gd name="T77" fmla="*/ 584 h 600"/>
                  <a:gd name="T78" fmla="*/ 291 w 713"/>
                  <a:gd name="T79" fmla="*/ 592 h 600"/>
                  <a:gd name="T80" fmla="*/ 311 w 713"/>
                  <a:gd name="T81" fmla="*/ 584 h 600"/>
                  <a:gd name="T82" fmla="*/ 345 w 713"/>
                  <a:gd name="T83" fmla="*/ 558 h 600"/>
                  <a:gd name="T84" fmla="*/ 401 w 713"/>
                  <a:gd name="T85" fmla="*/ 550 h 600"/>
                  <a:gd name="T86" fmla="*/ 421 w 713"/>
                  <a:gd name="T87" fmla="*/ 516 h 600"/>
                  <a:gd name="T88" fmla="*/ 463 w 713"/>
                  <a:gd name="T89" fmla="*/ 488 h 600"/>
                  <a:gd name="T90" fmla="*/ 455 w 713"/>
                  <a:gd name="T91" fmla="*/ 448 h 600"/>
                  <a:gd name="T92" fmla="*/ 497 w 713"/>
                  <a:gd name="T93" fmla="*/ 400 h 600"/>
                  <a:gd name="T94" fmla="*/ 547 w 713"/>
                  <a:gd name="T95" fmla="*/ 364 h 600"/>
                  <a:gd name="T96" fmla="*/ 553 w 713"/>
                  <a:gd name="T97" fmla="*/ 352 h 600"/>
                  <a:gd name="T98" fmla="*/ 609 w 713"/>
                  <a:gd name="T99" fmla="*/ 344 h 600"/>
                  <a:gd name="T100" fmla="*/ 651 w 713"/>
                  <a:gd name="T101" fmla="*/ 336 h 600"/>
                  <a:gd name="T102" fmla="*/ 691 w 713"/>
                  <a:gd name="T103" fmla="*/ 324 h 600"/>
                  <a:gd name="T104" fmla="*/ 713 w 713"/>
                  <a:gd name="T105" fmla="*/ 288 h 600"/>
                  <a:gd name="T106" fmla="*/ 691 w 713"/>
                  <a:gd name="T107" fmla="*/ 268 h 600"/>
                  <a:gd name="T108" fmla="*/ 651 w 713"/>
                  <a:gd name="T109" fmla="*/ 262 h 600"/>
                  <a:gd name="T110" fmla="*/ 615 w 713"/>
                  <a:gd name="T111" fmla="*/ 248 h 600"/>
                  <a:gd name="T112" fmla="*/ 587 w 713"/>
                  <a:gd name="T113" fmla="*/ 228 h 600"/>
                  <a:gd name="T114" fmla="*/ 547 w 713"/>
                  <a:gd name="T115" fmla="*/ 214 h 600"/>
                  <a:gd name="T116" fmla="*/ 497 w 713"/>
                  <a:gd name="T117" fmla="*/ 178 h 600"/>
                  <a:gd name="T118" fmla="*/ 471 w 713"/>
                  <a:gd name="T119" fmla="*/ 158 h 600"/>
                  <a:gd name="T120" fmla="*/ 455 w 713"/>
                  <a:gd name="T121" fmla="*/ 13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3" h="600">
                    <a:moveTo>
                      <a:pt x="455" y="138"/>
                    </a:moveTo>
                    <a:lnTo>
                      <a:pt x="449" y="138"/>
                    </a:lnTo>
                    <a:lnTo>
                      <a:pt x="443" y="130"/>
                    </a:lnTo>
                    <a:lnTo>
                      <a:pt x="429" y="130"/>
                    </a:lnTo>
                    <a:lnTo>
                      <a:pt x="415" y="124"/>
                    </a:lnTo>
                    <a:lnTo>
                      <a:pt x="407" y="116"/>
                    </a:lnTo>
                    <a:lnTo>
                      <a:pt x="401" y="116"/>
                    </a:lnTo>
                    <a:lnTo>
                      <a:pt x="393" y="116"/>
                    </a:lnTo>
                    <a:lnTo>
                      <a:pt x="381" y="116"/>
                    </a:lnTo>
                    <a:lnTo>
                      <a:pt x="373" y="110"/>
                    </a:lnTo>
                    <a:lnTo>
                      <a:pt x="367" y="96"/>
                    </a:lnTo>
                    <a:lnTo>
                      <a:pt x="353" y="96"/>
                    </a:lnTo>
                    <a:lnTo>
                      <a:pt x="345" y="90"/>
                    </a:lnTo>
                    <a:lnTo>
                      <a:pt x="339" y="90"/>
                    </a:lnTo>
                    <a:lnTo>
                      <a:pt x="325" y="90"/>
                    </a:lnTo>
                    <a:lnTo>
                      <a:pt x="317" y="90"/>
                    </a:lnTo>
                    <a:lnTo>
                      <a:pt x="311" y="82"/>
                    </a:lnTo>
                    <a:lnTo>
                      <a:pt x="303" y="82"/>
                    </a:lnTo>
                    <a:lnTo>
                      <a:pt x="297" y="82"/>
                    </a:lnTo>
                    <a:lnTo>
                      <a:pt x="291" y="76"/>
                    </a:lnTo>
                    <a:lnTo>
                      <a:pt x="283" y="68"/>
                    </a:lnTo>
                    <a:lnTo>
                      <a:pt x="277" y="68"/>
                    </a:lnTo>
                    <a:lnTo>
                      <a:pt x="263" y="62"/>
                    </a:lnTo>
                    <a:lnTo>
                      <a:pt x="255" y="62"/>
                    </a:lnTo>
                    <a:lnTo>
                      <a:pt x="241" y="54"/>
                    </a:lnTo>
                    <a:lnTo>
                      <a:pt x="241" y="48"/>
                    </a:lnTo>
                    <a:lnTo>
                      <a:pt x="229" y="48"/>
                    </a:lnTo>
                    <a:lnTo>
                      <a:pt x="221" y="40"/>
                    </a:lnTo>
                    <a:lnTo>
                      <a:pt x="215" y="40"/>
                    </a:lnTo>
                    <a:lnTo>
                      <a:pt x="201" y="40"/>
                    </a:lnTo>
                    <a:lnTo>
                      <a:pt x="193" y="34"/>
                    </a:lnTo>
                    <a:lnTo>
                      <a:pt x="186" y="28"/>
                    </a:lnTo>
                    <a:lnTo>
                      <a:pt x="172" y="34"/>
                    </a:lnTo>
                    <a:lnTo>
                      <a:pt x="164" y="20"/>
                    </a:lnTo>
                    <a:lnTo>
                      <a:pt x="158" y="14"/>
                    </a:lnTo>
                    <a:lnTo>
                      <a:pt x="158" y="6"/>
                    </a:lnTo>
                    <a:lnTo>
                      <a:pt x="158" y="0"/>
                    </a:lnTo>
                    <a:lnTo>
                      <a:pt x="144" y="6"/>
                    </a:lnTo>
                    <a:lnTo>
                      <a:pt x="138" y="6"/>
                    </a:lnTo>
                    <a:lnTo>
                      <a:pt x="130" y="0"/>
                    </a:lnTo>
                    <a:lnTo>
                      <a:pt x="130" y="6"/>
                    </a:lnTo>
                    <a:lnTo>
                      <a:pt x="124" y="6"/>
                    </a:lnTo>
                    <a:lnTo>
                      <a:pt x="116" y="6"/>
                    </a:lnTo>
                    <a:lnTo>
                      <a:pt x="110" y="6"/>
                    </a:lnTo>
                    <a:lnTo>
                      <a:pt x="116" y="14"/>
                    </a:lnTo>
                    <a:lnTo>
                      <a:pt x="110" y="20"/>
                    </a:lnTo>
                    <a:lnTo>
                      <a:pt x="102" y="28"/>
                    </a:lnTo>
                    <a:lnTo>
                      <a:pt x="102" y="20"/>
                    </a:lnTo>
                    <a:lnTo>
                      <a:pt x="96" y="14"/>
                    </a:lnTo>
                    <a:lnTo>
                      <a:pt x="88" y="14"/>
                    </a:lnTo>
                    <a:lnTo>
                      <a:pt x="82" y="14"/>
                    </a:lnTo>
                    <a:lnTo>
                      <a:pt x="76" y="6"/>
                    </a:lnTo>
                    <a:lnTo>
                      <a:pt x="68" y="20"/>
                    </a:lnTo>
                    <a:lnTo>
                      <a:pt x="62" y="14"/>
                    </a:lnTo>
                    <a:lnTo>
                      <a:pt x="54" y="20"/>
                    </a:lnTo>
                    <a:lnTo>
                      <a:pt x="48" y="28"/>
                    </a:lnTo>
                    <a:lnTo>
                      <a:pt x="54" y="34"/>
                    </a:lnTo>
                    <a:lnTo>
                      <a:pt x="54" y="40"/>
                    </a:lnTo>
                    <a:lnTo>
                      <a:pt x="62" y="34"/>
                    </a:lnTo>
                    <a:lnTo>
                      <a:pt x="62" y="40"/>
                    </a:lnTo>
                    <a:lnTo>
                      <a:pt x="54" y="48"/>
                    </a:lnTo>
                    <a:lnTo>
                      <a:pt x="48" y="48"/>
                    </a:lnTo>
                    <a:lnTo>
                      <a:pt x="48" y="54"/>
                    </a:lnTo>
                    <a:lnTo>
                      <a:pt x="54" y="54"/>
                    </a:lnTo>
                    <a:lnTo>
                      <a:pt x="54" y="48"/>
                    </a:lnTo>
                    <a:lnTo>
                      <a:pt x="68" y="48"/>
                    </a:lnTo>
                    <a:lnTo>
                      <a:pt x="68" y="54"/>
                    </a:lnTo>
                    <a:lnTo>
                      <a:pt x="62" y="62"/>
                    </a:lnTo>
                    <a:lnTo>
                      <a:pt x="62" y="68"/>
                    </a:lnTo>
                    <a:lnTo>
                      <a:pt x="54" y="76"/>
                    </a:lnTo>
                    <a:lnTo>
                      <a:pt x="62" y="76"/>
                    </a:lnTo>
                    <a:lnTo>
                      <a:pt x="62" y="82"/>
                    </a:lnTo>
                    <a:lnTo>
                      <a:pt x="54" y="90"/>
                    </a:lnTo>
                    <a:lnTo>
                      <a:pt x="48" y="82"/>
                    </a:lnTo>
                    <a:lnTo>
                      <a:pt x="40" y="90"/>
                    </a:lnTo>
                    <a:lnTo>
                      <a:pt x="40" y="102"/>
                    </a:lnTo>
                    <a:lnTo>
                      <a:pt x="54" y="102"/>
                    </a:lnTo>
                    <a:lnTo>
                      <a:pt x="62" y="102"/>
                    </a:lnTo>
                    <a:lnTo>
                      <a:pt x="62" y="96"/>
                    </a:lnTo>
                    <a:lnTo>
                      <a:pt x="76" y="102"/>
                    </a:lnTo>
                    <a:lnTo>
                      <a:pt x="82" y="102"/>
                    </a:lnTo>
                    <a:lnTo>
                      <a:pt x="82" y="110"/>
                    </a:lnTo>
                    <a:lnTo>
                      <a:pt x="82" y="116"/>
                    </a:lnTo>
                    <a:lnTo>
                      <a:pt x="82" y="124"/>
                    </a:lnTo>
                    <a:lnTo>
                      <a:pt x="88" y="124"/>
                    </a:lnTo>
                    <a:lnTo>
                      <a:pt x="96" y="124"/>
                    </a:lnTo>
                    <a:lnTo>
                      <a:pt x="102" y="124"/>
                    </a:lnTo>
                    <a:lnTo>
                      <a:pt x="110" y="130"/>
                    </a:lnTo>
                    <a:lnTo>
                      <a:pt x="116" y="130"/>
                    </a:lnTo>
                    <a:lnTo>
                      <a:pt x="124" y="138"/>
                    </a:lnTo>
                    <a:lnTo>
                      <a:pt x="130" y="144"/>
                    </a:lnTo>
                    <a:lnTo>
                      <a:pt x="130" y="138"/>
                    </a:lnTo>
                    <a:lnTo>
                      <a:pt x="138" y="138"/>
                    </a:lnTo>
                    <a:lnTo>
                      <a:pt x="144" y="138"/>
                    </a:lnTo>
                    <a:lnTo>
                      <a:pt x="144" y="144"/>
                    </a:lnTo>
                    <a:lnTo>
                      <a:pt x="152" y="144"/>
                    </a:lnTo>
                    <a:lnTo>
                      <a:pt x="158" y="144"/>
                    </a:lnTo>
                    <a:lnTo>
                      <a:pt x="164" y="152"/>
                    </a:lnTo>
                    <a:lnTo>
                      <a:pt x="158" y="158"/>
                    </a:lnTo>
                    <a:lnTo>
                      <a:pt x="158" y="164"/>
                    </a:lnTo>
                    <a:lnTo>
                      <a:pt x="158" y="172"/>
                    </a:lnTo>
                    <a:lnTo>
                      <a:pt x="164" y="172"/>
                    </a:lnTo>
                    <a:lnTo>
                      <a:pt x="172" y="178"/>
                    </a:lnTo>
                    <a:lnTo>
                      <a:pt x="172" y="186"/>
                    </a:lnTo>
                    <a:lnTo>
                      <a:pt x="164" y="186"/>
                    </a:lnTo>
                    <a:lnTo>
                      <a:pt x="164" y="192"/>
                    </a:lnTo>
                    <a:lnTo>
                      <a:pt x="158" y="192"/>
                    </a:lnTo>
                    <a:lnTo>
                      <a:pt x="152" y="192"/>
                    </a:lnTo>
                    <a:lnTo>
                      <a:pt x="152" y="198"/>
                    </a:lnTo>
                    <a:lnTo>
                      <a:pt x="144" y="198"/>
                    </a:lnTo>
                    <a:lnTo>
                      <a:pt x="138" y="198"/>
                    </a:lnTo>
                    <a:lnTo>
                      <a:pt x="138" y="206"/>
                    </a:lnTo>
                    <a:lnTo>
                      <a:pt x="130" y="206"/>
                    </a:lnTo>
                    <a:lnTo>
                      <a:pt x="124" y="214"/>
                    </a:lnTo>
                    <a:lnTo>
                      <a:pt x="124" y="220"/>
                    </a:lnTo>
                    <a:lnTo>
                      <a:pt x="116" y="228"/>
                    </a:lnTo>
                    <a:lnTo>
                      <a:pt x="116" y="234"/>
                    </a:lnTo>
                    <a:lnTo>
                      <a:pt x="110" y="240"/>
                    </a:lnTo>
                    <a:lnTo>
                      <a:pt x="110" y="248"/>
                    </a:lnTo>
                    <a:lnTo>
                      <a:pt x="110" y="254"/>
                    </a:lnTo>
                    <a:lnTo>
                      <a:pt x="110" y="262"/>
                    </a:lnTo>
                    <a:lnTo>
                      <a:pt x="110" y="268"/>
                    </a:lnTo>
                    <a:lnTo>
                      <a:pt x="102" y="268"/>
                    </a:lnTo>
                    <a:lnTo>
                      <a:pt x="96" y="268"/>
                    </a:lnTo>
                    <a:lnTo>
                      <a:pt x="96" y="274"/>
                    </a:lnTo>
                    <a:lnTo>
                      <a:pt x="82" y="288"/>
                    </a:lnTo>
                    <a:lnTo>
                      <a:pt x="82" y="296"/>
                    </a:lnTo>
                    <a:lnTo>
                      <a:pt x="76" y="302"/>
                    </a:lnTo>
                    <a:lnTo>
                      <a:pt x="76" y="310"/>
                    </a:lnTo>
                    <a:lnTo>
                      <a:pt x="68" y="310"/>
                    </a:lnTo>
                    <a:lnTo>
                      <a:pt x="54" y="302"/>
                    </a:lnTo>
                    <a:lnTo>
                      <a:pt x="54" y="316"/>
                    </a:lnTo>
                    <a:lnTo>
                      <a:pt x="54" y="324"/>
                    </a:lnTo>
                    <a:lnTo>
                      <a:pt x="54" y="330"/>
                    </a:lnTo>
                    <a:lnTo>
                      <a:pt x="62" y="336"/>
                    </a:lnTo>
                    <a:lnTo>
                      <a:pt x="62" y="344"/>
                    </a:lnTo>
                    <a:lnTo>
                      <a:pt x="62" y="352"/>
                    </a:lnTo>
                    <a:lnTo>
                      <a:pt x="54" y="358"/>
                    </a:lnTo>
                    <a:lnTo>
                      <a:pt x="48" y="364"/>
                    </a:lnTo>
                    <a:lnTo>
                      <a:pt x="48" y="372"/>
                    </a:lnTo>
                    <a:lnTo>
                      <a:pt x="40" y="372"/>
                    </a:lnTo>
                    <a:lnTo>
                      <a:pt x="34" y="378"/>
                    </a:lnTo>
                    <a:lnTo>
                      <a:pt x="34" y="386"/>
                    </a:lnTo>
                    <a:lnTo>
                      <a:pt x="26" y="392"/>
                    </a:lnTo>
                    <a:lnTo>
                      <a:pt x="34" y="400"/>
                    </a:lnTo>
                    <a:lnTo>
                      <a:pt x="40" y="400"/>
                    </a:lnTo>
                    <a:lnTo>
                      <a:pt x="40" y="406"/>
                    </a:lnTo>
                    <a:lnTo>
                      <a:pt x="40" y="412"/>
                    </a:lnTo>
                    <a:lnTo>
                      <a:pt x="34" y="412"/>
                    </a:lnTo>
                    <a:lnTo>
                      <a:pt x="26" y="420"/>
                    </a:lnTo>
                    <a:lnTo>
                      <a:pt x="20" y="420"/>
                    </a:lnTo>
                    <a:lnTo>
                      <a:pt x="12" y="420"/>
                    </a:lnTo>
                    <a:lnTo>
                      <a:pt x="12" y="426"/>
                    </a:lnTo>
                    <a:lnTo>
                      <a:pt x="6" y="426"/>
                    </a:lnTo>
                    <a:lnTo>
                      <a:pt x="6" y="434"/>
                    </a:lnTo>
                    <a:lnTo>
                      <a:pt x="0" y="440"/>
                    </a:lnTo>
                    <a:lnTo>
                      <a:pt x="0" y="454"/>
                    </a:lnTo>
                    <a:lnTo>
                      <a:pt x="0" y="468"/>
                    </a:lnTo>
                    <a:lnTo>
                      <a:pt x="6" y="468"/>
                    </a:lnTo>
                    <a:lnTo>
                      <a:pt x="12" y="468"/>
                    </a:lnTo>
                    <a:lnTo>
                      <a:pt x="20" y="476"/>
                    </a:lnTo>
                    <a:lnTo>
                      <a:pt x="26" y="482"/>
                    </a:lnTo>
                    <a:lnTo>
                      <a:pt x="34" y="488"/>
                    </a:lnTo>
                    <a:lnTo>
                      <a:pt x="34" y="496"/>
                    </a:lnTo>
                    <a:lnTo>
                      <a:pt x="48" y="502"/>
                    </a:lnTo>
                    <a:lnTo>
                      <a:pt x="54" y="510"/>
                    </a:lnTo>
                    <a:lnTo>
                      <a:pt x="54" y="516"/>
                    </a:lnTo>
                    <a:lnTo>
                      <a:pt x="48" y="522"/>
                    </a:lnTo>
                    <a:lnTo>
                      <a:pt x="54" y="522"/>
                    </a:lnTo>
                    <a:lnTo>
                      <a:pt x="62" y="522"/>
                    </a:lnTo>
                    <a:lnTo>
                      <a:pt x="54" y="536"/>
                    </a:lnTo>
                    <a:lnTo>
                      <a:pt x="54" y="544"/>
                    </a:lnTo>
                    <a:lnTo>
                      <a:pt x="40" y="544"/>
                    </a:lnTo>
                    <a:lnTo>
                      <a:pt x="48" y="550"/>
                    </a:lnTo>
                    <a:lnTo>
                      <a:pt x="48" y="564"/>
                    </a:lnTo>
                    <a:lnTo>
                      <a:pt x="54" y="572"/>
                    </a:lnTo>
                    <a:lnTo>
                      <a:pt x="62" y="572"/>
                    </a:lnTo>
                    <a:lnTo>
                      <a:pt x="68" y="578"/>
                    </a:lnTo>
                    <a:lnTo>
                      <a:pt x="76" y="592"/>
                    </a:lnTo>
                    <a:lnTo>
                      <a:pt x="82" y="584"/>
                    </a:lnTo>
                    <a:lnTo>
                      <a:pt x="82" y="578"/>
                    </a:lnTo>
                    <a:lnTo>
                      <a:pt x="96" y="572"/>
                    </a:lnTo>
                    <a:lnTo>
                      <a:pt x="110" y="572"/>
                    </a:lnTo>
                    <a:lnTo>
                      <a:pt x="116" y="564"/>
                    </a:lnTo>
                    <a:lnTo>
                      <a:pt x="124" y="564"/>
                    </a:lnTo>
                    <a:lnTo>
                      <a:pt x="138" y="572"/>
                    </a:lnTo>
                    <a:lnTo>
                      <a:pt x="144" y="572"/>
                    </a:lnTo>
                    <a:lnTo>
                      <a:pt x="152" y="558"/>
                    </a:lnTo>
                    <a:lnTo>
                      <a:pt x="164" y="558"/>
                    </a:lnTo>
                    <a:lnTo>
                      <a:pt x="178" y="564"/>
                    </a:lnTo>
                    <a:lnTo>
                      <a:pt x="186" y="572"/>
                    </a:lnTo>
                    <a:lnTo>
                      <a:pt x="201" y="572"/>
                    </a:lnTo>
                    <a:lnTo>
                      <a:pt x="207" y="584"/>
                    </a:lnTo>
                    <a:lnTo>
                      <a:pt x="221" y="584"/>
                    </a:lnTo>
                    <a:lnTo>
                      <a:pt x="241" y="584"/>
                    </a:lnTo>
                    <a:lnTo>
                      <a:pt x="249" y="584"/>
                    </a:lnTo>
                    <a:lnTo>
                      <a:pt x="263" y="592"/>
                    </a:lnTo>
                    <a:lnTo>
                      <a:pt x="269" y="584"/>
                    </a:lnTo>
                    <a:lnTo>
                      <a:pt x="283" y="584"/>
                    </a:lnTo>
                    <a:lnTo>
                      <a:pt x="291" y="592"/>
                    </a:lnTo>
                    <a:lnTo>
                      <a:pt x="297" y="592"/>
                    </a:lnTo>
                    <a:lnTo>
                      <a:pt x="297" y="600"/>
                    </a:lnTo>
                    <a:lnTo>
                      <a:pt x="303" y="600"/>
                    </a:lnTo>
                    <a:lnTo>
                      <a:pt x="311" y="592"/>
                    </a:lnTo>
                    <a:lnTo>
                      <a:pt x="311" y="584"/>
                    </a:lnTo>
                    <a:lnTo>
                      <a:pt x="311" y="578"/>
                    </a:lnTo>
                    <a:lnTo>
                      <a:pt x="325" y="572"/>
                    </a:lnTo>
                    <a:lnTo>
                      <a:pt x="325" y="564"/>
                    </a:lnTo>
                    <a:lnTo>
                      <a:pt x="339" y="564"/>
                    </a:lnTo>
                    <a:lnTo>
                      <a:pt x="345" y="558"/>
                    </a:lnTo>
                    <a:lnTo>
                      <a:pt x="359" y="558"/>
                    </a:lnTo>
                    <a:lnTo>
                      <a:pt x="367" y="558"/>
                    </a:lnTo>
                    <a:lnTo>
                      <a:pt x="381" y="564"/>
                    </a:lnTo>
                    <a:lnTo>
                      <a:pt x="387" y="558"/>
                    </a:lnTo>
                    <a:lnTo>
                      <a:pt x="401" y="550"/>
                    </a:lnTo>
                    <a:lnTo>
                      <a:pt x="401" y="536"/>
                    </a:lnTo>
                    <a:lnTo>
                      <a:pt x="407" y="530"/>
                    </a:lnTo>
                    <a:lnTo>
                      <a:pt x="415" y="530"/>
                    </a:lnTo>
                    <a:lnTo>
                      <a:pt x="421" y="522"/>
                    </a:lnTo>
                    <a:lnTo>
                      <a:pt x="421" y="516"/>
                    </a:lnTo>
                    <a:lnTo>
                      <a:pt x="435" y="510"/>
                    </a:lnTo>
                    <a:lnTo>
                      <a:pt x="443" y="510"/>
                    </a:lnTo>
                    <a:lnTo>
                      <a:pt x="455" y="510"/>
                    </a:lnTo>
                    <a:lnTo>
                      <a:pt x="471" y="496"/>
                    </a:lnTo>
                    <a:lnTo>
                      <a:pt x="463" y="488"/>
                    </a:lnTo>
                    <a:lnTo>
                      <a:pt x="463" y="482"/>
                    </a:lnTo>
                    <a:lnTo>
                      <a:pt x="455" y="476"/>
                    </a:lnTo>
                    <a:lnTo>
                      <a:pt x="455" y="468"/>
                    </a:lnTo>
                    <a:lnTo>
                      <a:pt x="455" y="462"/>
                    </a:lnTo>
                    <a:lnTo>
                      <a:pt x="455" y="448"/>
                    </a:lnTo>
                    <a:lnTo>
                      <a:pt x="455" y="434"/>
                    </a:lnTo>
                    <a:lnTo>
                      <a:pt x="463" y="426"/>
                    </a:lnTo>
                    <a:lnTo>
                      <a:pt x="471" y="420"/>
                    </a:lnTo>
                    <a:lnTo>
                      <a:pt x="483" y="412"/>
                    </a:lnTo>
                    <a:lnTo>
                      <a:pt x="497" y="400"/>
                    </a:lnTo>
                    <a:lnTo>
                      <a:pt x="505" y="400"/>
                    </a:lnTo>
                    <a:lnTo>
                      <a:pt x="513" y="392"/>
                    </a:lnTo>
                    <a:lnTo>
                      <a:pt x="525" y="378"/>
                    </a:lnTo>
                    <a:lnTo>
                      <a:pt x="533" y="372"/>
                    </a:lnTo>
                    <a:lnTo>
                      <a:pt x="547" y="364"/>
                    </a:lnTo>
                    <a:lnTo>
                      <a:pt x="553" y="364"/>
                    </a:lnTo>
                    <a:lnTo>
                      <a:pt x="547" y="364"/>
                    </a:lnTo>
                    <a:lnTo>
                      <a:pt x="547" y="358"/>
                    </a:lnTo>
                    <a:lnTo>
                      <a:pt x="553" y="358"/>
                    </a:lnTo>
                    <a:lnTo>
                      <a:pt x="553" y="352"/>
                    </a:lnTo>
                    <a:lnTo>
                      <a:pt x="561" y="344"/>
                    </a:lnTo>
                    <a:lnTo>
                      <a:pt x="567" y="344"/>
                    </a:lnTo>
                    <a:lnTo>
                      <a:pt x="581" y="344"/>
                    </a:lnTo>
                    <a:lnTo>
                      <a:pt x="595" y="344"/>
                    </a:lnTo>
                    <a:lnTo>
                      <a:pt x="609" y="344"/>
                    </a:lnTo>
                    <a:lnTo>
                      <a:pt x="615" y="344"/>
                    </a:lnTo>
                    <a:lnTo>
                      <a:pt x="623" y="344"/>
                    </a:lnTo>
                    <a:lnTo>
                      <a:pt x="629" y="344"/>
                    </a:lnTo>
                    <a:lnTo>
                      <a:pt x="643" y="336"/>
                    </a:lnTo>
                    <a:lnTo>
                      <a:pt x="651" y="336"/>
                    </a:lnTo>
                    <a:lnTo>
                      <a:pt x="657" y="330"/>
                    </a:lnTo>
                    <a:lnTo>
                      <a:pt x="671" y="330"/>
                    </a:lnTo>
                    <a:lnTo>
                      <a:pt x="677" y="330"/>
                    </a:lnTo>
                    <a:lnTo>
                      <a:pt x="685" y="324"/>
                    </a:lnTo>
                    <a:lnTo>
                      <a:pt x="691" y="324"/>
                    </a:lnTo>
                    <a:lnTo>
                      <a:pt x="699" y="316"/>
                    </a:lnTo>
                    <a:lnTo>
                      <a:pt x="705" y="310"/>
                    </a:lnTo>
                    <a:lnTo>
                      <a:pt x="705" y="302"/>
                    </a:lnTo>
                    <a:lnTo>
                      <a:pt x="713" y="296"/>
                    </a:lnTo>
                    <a:lnTo>
                      <a:pt x="713" y="288"/>
                    </a:lnTo>
                    <a:lnTo>
                      <a:pt x="713" y="274"/>
                    </a:lnTo>
                    <a:lnTo>
                      <a:pt x="709" y="270"/>
                    </a:lnTo>
                    <a:lnTo>
                      <a:pt x="705" y="274"/>
                    </a:lnTo>
                    <a:lnTo>
                      <a:pt x="699" y="274"/>
                    </a:lnTo>
                    <a:lnTo>
                      <a:pt x="691" y="268"/>
                    </a:lnTo>
                    <a:lnTo>
                      <a:pt x="685" y="274"/>
                    </a:lnTo>
                    <a:lnTo>
                      <a:pt x="677" y="268"/>
                    </a:lnTo>
                    <a:lnTo>
                      <a:pt x="663" y="268"/>
                    </a:lnTo>
                    <a:lnTo>
                      <a:pt x="657" y="268"/>
                    </a:lnTo>
                    <a:lnTo>
                      <a:pt x="651" y="262"/>
                    </a:lnTo>
                    <a:lnTo>
                      <a:pt x="643" y="254"/>
                    </a:lnTo>
                    <a:lnTo>
                      <a:pt x="637" y="254"/>
                    </a:lnTo>
                    <a:lnTo>
                      <a:pt x="629" y="254"/>
                    </a:lnTo>
                    <a:lnTo>
                      <a:pt x="623" y="254"/>
                    </a:lnTo>
                    <a:lnTo>
                      <a:pt x="615" y="248"/>
                    </a:lnTo>
                    <a:lnTo>
                      <a:pt x="617" y="238"/>
                    </a:lnTo>
                    <a:lnTo>
                      <a:pt x="611" y="232"/>
                    </a:lnTo>
                    <a:lnTo>
                      <a:pt x="605" y="226"/>
                    </a:lnTo>
                    <a:lnTo>
                      <a:pt x="597" y="220"/>
                    </a:lnTo>
                    <a:lnTo>
                      <a:pt x="587" y="228"/>
                    </a:lnTo>
                    <a:lnTo>
                      <a:pt x="573" y="228"/>
                    </a:lnTo>
                    <a:lnTo>
                      <a:pt x="573" y="220"/>
                    </a:lnTo>
                    <a:lnTo>
                      <a:pt x="567" y="220"/>
                    </a:lnTo>
                    <a:lnTo>
                      <a:pt x="553" y="214"/>
                    </a:lnTo>
                    <a:lnTo>
                      <a:pt x="547" y="214"/>
                    </a:lnTo>
                    <a:lnTo>
                      <a:pt x="533" y="206"/>
                    </a:lnTo>
                    <a:lnTo>
                      <a:pt x="533" y="198"/>
                    </a:lnTo>
                    <a:lnTo>
                      <a:pt x="519" y="192"/>
                    </a:lnTo>
                    <a:lnTo>
                      <a:pt x="513" y="192"/>
                    </a:lnTo>
                    <a:lnTo>
                      <a:pt x="497" y="178"/>
                    </a:lnTo>
                    <a:lnTo>
                      <a:pt x="491" y="178"/>
                    </a:lnTo>
                    <a:lnTo>
                      <a:pt x="483" y="172"/>
                    </a:lnTo>
                    <a:lnTo>
                      <a:pt x="477" y="164"/>
                    </a:lnTo>
                    <a:lnTo>
                      <a:pt x="471" y="164"/>
                    </a:lnTo>
                    <a:lnTo>
                      <a:pt x="471" y="158"/>
                    </a:lnTo>
                    <a:lnTo>
                      <a:pt x="471" y="152"/>
                    </a:lnTo>
                    <a:lnTo>
                      <a:pt x="463" y="144"/>
                    </a:lnTo>
                    <a:lnTo>
                      <a:pt x="455" y="138"/>
                    </a:lnTo>
                    <a:lnTo>
                      <a:pt x="455" y="138"/>
                    </a:lnTo>
                    <a:lnTo>
                      <a:pt x="455" y="138"/>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8" name="Freeform 22"/>
              <p:cNvSpPr>
                <a:spLocks/>
              </p:cNvSpPr>
              <p:nvPr>
                <p:custDataLst>
                  <p:tags r:id="rId130"/>
                </p:custDataLst>
              </p:nvPr>
            </p:nvSpPr>
            <p:spPr bwMode="gray">
              <a:xfrm>
                <a:off x="2475495" y="3752781"/>
                <a:ext cx="431896" cy="600208"/>
              </a:xfrm>
              <a:custGeom>
                <a:avLst/>
                <a:gdLst>
                  <a:gd name="T0" fmla="*/ 78 w 272"/>
                  <a:gd name="T1" fmla="*/ 378 h 378"/>
                  <a:gd name="T2" fmla="*/ 64 w 272"/>
                  <a:gd name="T3" fmla="*/ 372 h 378"/>
                  <a:gd name="T4" fmla="*/ 36 w 272"/>
                  <a:gd name="T5" fmla="*/ 358 h 378"/>
                  <a:gd name="T6" fmla="*/ 22 w 272"/>
                  <a:gd name="T7" fmla="*/ 344 h 378"/>
                  <a:gd name="T8" fmla="*/ 0 w 272"/>
                  <a:gd name="T9" fmla="*/ 352 h 378"/>
                  <a:gd name="T10" fmla="*/ 14 w 272"/>
                  <a:gd name="T11" fmla="*/ 324 h 378"/>
                  <a:gd name="T12" fmla="*/ 30 w 272"/>
                  <a:gd name="T13" fmla="*/ 310 h 378"/>
                  <a:gd name="T14" fmla="*/ 30 w 272"/>
                  <a:gd name="T15" fmla="*/ 282 h 378"/>
                  <a:gd name="T16" fmla="*/ 42 w 272"/>
                  <a:gd name="T17" fmla="*/ 262 h 378"/>
                  <a:gd name="T18" fmla="*/ 50 w 272"/>
                  <a:gd name="T19" fmla="*/ 234 h 378"/>
                  <a:gd name="T20" fmla="*/ 22 w 272"/>
                  <a:gd name="T21" fmla="*/ 228 h 378"/>
                  <a:gd name="T22" fmla="*/ 30 w 272"/>
                  <a:gd name="T23" fmla="*/ 206 h 378"/>
                  <a:gd name="T24" fmla="*/ 36 w 272"/>
                  <a:gd name="T25" fmla="*/ 186 h 378"/>
                  <a:gd name="T26" fmla="*/ 56 w 272"/>
                  <a:gd name="T27" fmla="*/ 172 h 378"/>
                  <a:gd name="T28" fmla="*/ 78 w 272"/>
                  <a:gd name="T29" fmla="*/ 152 h 378"/>
                  <a:gd name="T30" fmla="*/ 92 w 272"/>
                  <a:gd name="T31" fmla="*/ 132 h 378"/>
                  <a:gd name="T32" fmla="*/ 106 w 272"/>
                  <a:gd name="T33" fmla="*/ 96 h 378"/>
                  <a:gd name="T34" fmla="*/ 120 w 272"/>
                  <a:gd name="T35" fmla="*/ 68 h 378"/>
                  <a:gd name="T36" fmla="*/ 134 w 272"/>
                  <a:gd name="T37" fmla="*/ 42 h 378"/>
                  <a:gd name="T38" fmla="*/ 140 w 272"/>
                  <a:gd name="T39" fmla="*/ 20 h 378"/>
                  <a:gd name="T40" fmla="*/ 154 w 272"/>
                  <a:gd name="T41" fmla="*/ 8 h 378"/>
                  <a:gd name="T42" fmla="*/ 174 w 272"/>
                  <a:gd name="T43" fmla="*/ 8 h 378"/>
                  <a:gd name="T44" fmla="*/ 182 w 272"/>
                  <a:gd name="T45" fmla="*/ 20 h 378"/>
                  <a:gd name="T46" fmla="*/ 196 w 272"/>
                  <a:gd name="T47" fmla="*/ 28 h 378"/>
                  <a:gd name="T48" fmla="*/ 216 w 272"/>
                  <a:gd name="T49" fmla="*/ 34 h 378"/>
                  <a:gd name="T50" fmla="*/ 230 w 272"/>
                  <a:gd name="T51" fmla="*/ 42 h 378"/>
                  <a:gd name="T52" fmla="*/ 244 w 272"/>
                  <a:gd name="T53" fmla="*/ 48 h 378"/>
                  <a:gd name="T54" fmla="*/ 264 w 272"/>
                  <a:gd name="T55" fmla="*/ 56 h 378"/>
                  <a:gd name="T56" fmla="*/ 258 w 272"/>
                  <a:gd name="T57" fmla="*/ 76 h 378"/>
                  <a:gd name="T58" fmla="*/ 272 w 272"/>
                  <a:gd name="T59" fmla="*/ 90 h 378"/>
                  <a:gd name="T60" fmla="*/ 258 w 272"/>
                  <a:gd name="T61" fmla="*/ 96 h 378"/>
                  <a:gd name="T62" fmla="*/ 244 w 272"/>
                  <a:gd name="T63" fmla="*/ 104 h 378"/>
                  <a:gd name="T64" fmla="*/ 230 w 272"/>
                  <a:gd name="T65" fmla="*/ 110 h 378"/>
                  <a:gd name="T66" fmla="*/ 216 w 272"/>
                  <a:gd name="T67" fmla="*/ 132 h 378"/>
                  <a:gd name="T68" fmla="*/ 210 w 272"/>
                  <a:gd name="T69" fmla="*/ 152 h 378"/>
                  <a:gd name="T70" fmla="*/ 210 w 272"/>
                  <a:gd name="T71" fmla="*/ 172 h 378"/>
                  <a:gd name="T72" fmla="*/ 196 w 272"/>
                  <a:gd name="T73" fmla="*/ 178 h 378"/>
                  <a:gd name="T74" fmla="*/ 174 w 272"/>
                  <a:gd name="T75" fmla="*/ 206 h 378"/>
                  <a:gd name="T76" fmla="*/ 154 w 272"/>
                  <a:gd name="T77" fmla="*/ 206 h 378"/>
                  <a:gd name="T78" fmla="*/ 154 w 272"/>
                  <a:gd name="T79" fmla="*/ 234 h 378"/>
                  <a:gd name="T80" fmla="*/ 160 w 272"/>
                  <a:gd name="T81" fmla="*/ 256 h 378"/>
                  <a:gd name="T82" fmla="*/ 148 w 272"/>
                  <a:gd name="T83" fmla="*/ 276 h 378"/>
                  <a:gd name="T84" fmla="*/ 134 w 272"/>
                  <a:gd name="T85" fmla="*/ 290 h 378"/>
                  <a:gd name="T86" fmla="*/ 140 w 272"/>
                  <a:gd name="T87" fmla="*/ 304 h 378"/>
                  <a:gd name="T88" fmla="*/ 134 w 272"/>
                  <a:gd name="T89" fmla="*/ 316 h 378"/>
                  <a:gd name="T90" fmla="*/ 112 w 272"/>
                  <a:gd name="T91" fmla="*/ 324 h 378"/>
                  <a:gd name="T92" fmla="*/ 106 w 272"/>
                  <a:gd name="T93" fmla="*/ 338 h 378"/>
                  <a:gd name="T94" fmla="*/ 98 w 272"/>
                  <a:gd name="T95" fmla="*/ 372 h 378"/>
                  <a:gd name="T96" fmla="*/ 106 w 272"/>
                  <a:gd name="T97" fmla="*/ 372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2" h="378">
                    <a:moveTo>
                      <a:pt x="106" y="372"/>
                    </a:moveTo>
                    <a:lnTo>
                      <a:pt x="84" y="378"/>
                    </a:lnTo>
                    <a:lnTo>
                      <a:pt x="78" y="378"/>
                    </a:lnTo>
                    <a:lnTo>
                      <a:pt x="78" y="372"/>
                    </a:lnTo>
                    <a:lnTo>
                      <a:pt x="70" y="378"/>
                    </a:lnTo>
                    <a:lnTo>
                      <a:pt x="64" y="372"/>
                    </a:lnTo>
                    <a:lnTo>
                      <a:pt x="50" y="366"/>
                    </a:lnTo>
                    <a:lnTo>
                      <a:pt x="42" y="358"/>
                    </a:lnTo>
                    <a:lnTo>
                      <a:pt x="36" y="358"/>
                    </a:lnTo>
                    <a:lnTo>
                      <a:pt x="30" y="358"/>
                    </a:lnTo>
                    <a:lnTo>
                      <a:pt x="30" y="352"/>
                    </a:lnTo>
                    <a:lnTo>
                      <a:pt x="22" y="344"/>
                    </a:lnTo>
                    <a:lnTo>
                      <a:pt x="14" y="352"/>
                    </a:lnTo>
                    <a:lnTo>
                      <a:pt x="8" y="352"/>
                    </a:lnTo>
                    <a:lnTo>
                      <a:pt x="0" y="352"/>
                    </a:lnTo>
                    <a:lnTo>
                      <a:pt x="0" y="344"/>
                    </a:lnTo>
                    <a:lnTo>
                      <a:pt x="8" y="338"/>
                    </a:lnTo>
                    <a:lnTo>
                      <a:pt x="14" y="324"/>
                    </a:lnTo>
                    <a:lnTo>
                      <a:pt x="14" y="316"/>
                    </a:lnTo>
                    <a:lnTo>
                      <a:pt x="22" y="310"/>
                    </a:lnTo>
                    <a:lnTo>
                      <a:pt x="30" y="310"/>
                    </a:lnTo>
                    <a:lnTo>
                      <a:pt x="30" y="304"/>
                    </a:lnTo>
                    <a:lnTo>
                      <a:pt x="36" y="290"/>
                    </a:lnTo>
                    <a:lnTo>
                      <a:pt x="30" y="282"/>
                    </a:lnTo>
                    <a:lnTo>
                      <a:pt x="36" y="276"/>
                    </a:lnTo>
                    <a:lnTo>
                      <a:pt x="36" y="268"/>
                    </a:lnTo>
                    <a:lnTo>
                      <a:pt x="42" y="262"/>
                    </a:lnTo>
                    <a:lnTo>
                      <a:pt x="50" y="256"/>
                    </a:lnTo>
                    <a:lnTo>
                      <a:pt x="50" y="248"/>
                    </a:lnTo>
                    <a:lnTo>
                      <a:pt x="50" y="234"/>
                    </a:lnTo>
                    <a:lnTo>
                      <a:pt x="42" y="234"/>
                    </a:lnTo>
                    <a:lnTo>
                      <a:pt x="36" y="228"/>
                    </a:lnTo>
                    <a:lnTo>
                      <a:pt x="22" y="228"/>
                    </a:lnTo>
                    <a:lnTo>
                      <a:pt x="22" y="220"/>
                    </a:lnTo>
                    <a:lnTo>
                      <a:pt x="22" y="214"/>
                    </a:lnTo>
                    <a:lnTo>
                      <a:pt x="30" y="206"/>
                    </a:lnTo>
                    <a:lnTo>
                      <a:pt x="36" y="200"/>
                    </a:lnTo>
                    <a:lnTo>
                      <a:pt x="36" y="192"/>
                    </a:lnTo>
                    <a:lnTo>
                      <a:pt x="36" y="186"/>
                    </a:lnTo>
                    <a:lnTo>
                      <a:pt x="36" y="178"/>
                    </a:lnTo>
                    <a:lnTo>
                      <a:pt x="42" y="172"/>
                    </a:lnTo>
                    <a:lnTo>
                      <a:pt x="56" y="172"/>
                    </a:lnTo>
                    <a:lnTo>
                      <a:pt x="64" y="172"/>
                    </a:lnTo>
                    <a:lnTo>
                      <a:pt x="70" y="158"/>
                    </a:lnTo>
                    <a:lnTo>
                      <a:pt x="78" y="152"/>
                    </a:lnTo>
                    <a:lnTo>
                      <a:pt x="78" y="144"/>
                    </a:lnTo>
                    <a:lnTo>
                      <a:pt x="84" y="138"/>
                    </a:lnTo>
                    <a:lnTo>
                      <a:pt x="92" y="132"/>
                    </a:lnTo>
                    <a:lnTo>
                      <a:pt x="98" y="118"/>
                    </a:lnTo>
                    <a:lnTo>
                      <a:pt x="106" y="110"/>
                    </a:lnTo>
                    <a:lnTo>
                      <a:pt x="106" y="96"/>
                    </a:lnTo>
                    <a:lnTo>
                      <a:pt x="112" y="90"/>
                    </a:lnTo>
                    <a:lnTo>
                      <a:pt x="120" y="82"/>
                    </a:lnTo>
                    <a:lnTo>
                      <a:pt x="120" y="68"/>
                    </a:lnTo>
                    <a:lnTo>
                      <a:pt x="126" y="62"/>
                    </a:lnTo>
                    <a:lnTo>
                      <a:pt x="134" y="56"/>
                    </a:lnTo>
                    <a:lnTo>
                      <a:pt x="134" y="42"/>
                    </a:lnTo>
                    <a:lnTo>
                      <a:pt x="134" y="34"/>
                    </a:lnTo>
                    <a:lnTo>
                      <a:pt x="140" y="28"/>
                    </a:lnTo>
                    <a:lnTo>
                      <a:pt x="140" y="20"/>
                    </a:lnTo>
                    <a:lnTo>
                      <a:pt x="140" y="14"/>
                    </a:lnTo>
                    <a:lnTo>
                      <a:pt x="140" y="8"/>
                    </a:lnTo>
                    <a:lnTo>
                      <a:pt x="154" y="8"/>
                    </a:lnTo>
                    <a:lnTo>
                      <a:pt x="160" y="8"/>
                    </a:lnTo>
                    <a:lnTo>
                      <a:pt x="160" y="0"/>
                    </a:lnTo>
                    <a:lnTo>
                      <a:pt x="174" y="8"/>
                    </a:lnTo>
                    <a:lnTo>
                      <a:pt x="182" y="8"/>
                    </a:lnTo>
                    <a:lnTo>
                      <a:pt x="182" y="14"/>
                    </a:lnTo>
                    <a:lnTo>
                      <a:pt x="182" y="20"/>
                    </a:lnTo>
                    <a:lnTo>
                      <a:pt x="182" y="28"/>
                    </a:lnTo>
                    <a:lnTo>
                      <a:pt x="188" y="28"/>
                    </a:lnTo>
                    <a:lnTo>
                      <a:pt x="196" y="28"/>
                    </a:lnTo>
                    <a:lnTo>
                      <a:pt x="202" y="28"/>
                    </a:lnTo>
                    <a:lnTo>
                      <a:pt x="210" y="34"/>
                    </a:lnTo>
                    <a:lnTo>
                      <a:pt x="216" y="34"/>
                    </a:lnTo>
                    <a:lnTo>
                      <a:pt x="224" y="42"/>
                    </a:lnTo>
                    <a:lnTo>
                      <a:pt x="230" y="48"/>
                    </a:lnTo>
                    <a:lnTo>
                      <a:pt x="230" y="42"/>
                    </a:lnTo>
                    <a:lnTo>
                      <a:pt x="238" y="42"/>
                    </a:lnTo>
                    <a:lnTo>
                      <a:pt x="244" y="42"/>
                    </a:lnTo>
                    <a:lnTo>
                      <a:pt x="244" y="48"/>
                    </a:lnTo>
                    <a:lnTo>
                      <a:pt x="250" y="48"/>
                    </a:lnTo>
                    <a:lnTo>
                      <a:pt x="258" y="48"/>
                    </a:lnTo>
                    <a:lnTo>
                      <a:pt x="264" y="56"/>
                    </a:lnTo>
                    <a:lnTo>
                      <a:pt x="258" y="62"/>
                    </a:lnTo>
                    <a:lnTo>
                      <a:pt x="258" y="68"/>
                    </a:lnTo>
                    <a:lnTo>
                      <a:pt x="258" y="76"/>
                    </a:lnTo>
                    <a:lnTo>
                      <a:pt x="264" y="76"/>
                    </a:lnTo>
                    <a:lnTo>
                      <a:pt x="272" y="82"/>
                    </a:lnTo>
                    <a:lnTo>
                      <a:pt x="272" y="90"/>
                    </a:lnTo>
                    <a:lnTo>
                      <a:pt x="264" y="90"/>
                    </a:lnTo>
                    <a:lnTo>
                      <a:pt x="264" y="96"/>
                    </a:lnTo>
                    <a:lnTo>
                      <a:pt x="258" y="96"/>
                    </a:lnTo>
                    <a:lnTo>
                      <a:pt x="250" y="96"/>
                    </a:lnTo>
                    <a:lnTo>
                      <a:pt x="250" y="104"/>
                    </a:lnTo>
                    <a:lnTo>
                      <a:pt x="244" y="104"/>
                    </a:lnTo>
                    <a:lnTo>
                      <a:pt x="238" y="104"/>
                    </a:lnTo>
                    <a:lnTo>
                      <a:pt x="238" y="110"/>
                    </a:lnTo>
                    <a:lnTo>
                      <a:pt x="230" y="110"/>
                    </a:lnTo>
                    <a:lnTo>
                      <a:pt x="224" y="118"/>
                    </a:lnTo>
                    <a:lnTo>
                      <a:pt x="224" y="124"/>
                    </a:lnTo>
                    <a:lnTo>
                      <a:pt x="216" y="132"/>
                    </a:lnTo>
                    <a:lnTo>
                      <a:pt x="216" y="138"/>
                    </a:lnTo>
                    <a:lnTo>
                      <a:pt x="210" y="144"/>
                    </a:lnTo>
                    <a:lnTo>
                      <a:pt x="210" y="152"/>
                    </a:lnTo>
                    <a:lnTo>
                      <a:pt x="210" y="158"/>
                    </a:lnTo>
                    <a:lnTo>
                      <a:pt x="210" y="166"/>
                    </a:lnTo>
                    <a:lnTo>
                      <a:pt x="210" y="172"/>
                    </a:lnTo>
                    <a:lnTo>
                      <a:pt x="202" y="172"/>
                    </a:lnTo>
                    <a:lnTo>
                      <a:pt x="196" y="172"/>
                    </a:lnTo>
                    <a:lnTo>
                      <a:pt x="196" y="178"/>
                    </a:lnTo>
                    <a:lnTo>
                      <a:pt x="182" y="192"/>
                    </a:lnTo>
                    <a:lnTo>
                      <a:pt x="182" y="200"/>
                    </a:lnTo>
                    <a:lnTo>
                      <a:pt x="174" y="206"/>
                    </a:lnTo>
                    <a:lnTo>
                      <a:pt x="174" y="214"/>
                    </a:lnTo>
                    <a:lnTo>
                      <a:pt x="168" y="214"/>
                    </a:lnTo>
                    <a:lnTo>
                      <a:pt x="154" y="206"/>
                    </a:lnTo>
                    <a:lnTo>
                      <a:pt x="154" y="220"/>
                    </a:lnTo>
                    <a:lnTo>
                      <a:pt x="154" y="228"/>
                    </a:lnTo>
                    <a:lnTo>
                      <a:pt x="154" y="234"/>
                    </a:lnTo>
                    <a:lnTo>
                      <a:pt x="160" y="242"/>
                    </a:lnTo>
                    <a:lnTo>
                      <a:pt x="160" y="248"/>
                    </a:lnTo>
                    <a:lnTo>
                      <a:pt x="160" y="256"/>
                    </a:lnTo>
                    <a:lnTo>
                      <a:pt x="154" y="262"/>
                    </a:lnTo>
                    <a:lnTo>
                      <a:pt x="148" y="268"/>
                    </a:lnTo>
                    <a:lnTo>
                      <a:pt x="148" y="276"/>
                    </a:lnTo>
                    <a:lnTo>
                      <a:pt x="140" y="276"/>
                    </a:lnTo>
                    <a:lnTo>
                      <a:pt x="134" y="282"/>
                    </a:lnTo>
                    <a:lnTo>
                      <a:pt x="134" y="290"/>
                    </a:lnTo>
                    <a:lnTo>
                      <a:pt x="126" y="296"/>
                    </a:lnTo>
                    <a:lnTo>
                      <a:pt x="134" y="304"/>
                    </a:lnTo>
                    <a:lnTo>
                      <a:pt x="140" y="304"/>
                    </a:lnTo>
                    <a:lnTo>
                      <a:pt x="140" y="310"/>
                    </a:lnTo>
                    <a:lnTo>
                      <a:pt x="140" y="316"/>
                    </a:lnTo>
                    <a:lnTo>
                      <a:pt x="134" y="316"/>
                    </a:lnTo>
                    <a:lnTo>
                      <a:pt x="126" y="324"/>
                    </a:lnTo>
                    <a:lnTo>
                      <a:pt x="120" y="324"/>
                    </a:lnTo>
                    <a:lnTo>
                      <a:pt x="112" y="324"/>
                    </a:lnTo>
                    <a:lnTo>
                      <a:pt x="112" y="330"/>
                    </a:lnTo>
                    <a:lnTo>
                      <a:pt x="106" y="330"/>
                    </a:lnTo>
                    <a:lnTo>
                      <a:pt x="106" y="338"/>
                    </a:lnTo>
                    <a:lnTo>
                      <a:pt x="98" y="344"/>
                    </a:lnTo>
                    <a:lnTo>
                      <a:pt x="98" y="358"/>
                    </a:lnTo>
                    <a:lnTo>
                      <a:pt x="98" y="372"/>
                    </a:lnTo>
                    <a:lnTo>
                      <a:pt x="106" y="372"/>
                    </a:lnTo>
                    <a:lnTo>
                      <a:pt x="106" y="372"/>
                    </a:lnTo>
                    <a:lnTo>
                      <a:pt x="106" y="372"/>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2" name="Freeform 26"/>
              <p:cNvSpPr>
                <a:spLocks/>
              </p:cNvSpPr>
              <p:nvPr>
                <p:custDataLst>
                  <p:tags r:id="rId131"/>
                </p:custDataLst>
              </p:nvPr>
            </p:nvSpPr>
            <p:spPr bwMode="gray">
              <a:xfrm>
                <a:off x="3283711" y="3031896"/>
                <a:ext cx="1043220" cy="1009874"/>
              </a:xfrm>
              <a:custGeom>
                <a:avLst/>
                <a:gdLst>
                  <a:gd name="T0" fmla="*/ 553 w 657"/>
                  <a:gd name="T1" fmla="*/ 558 h 636"/>
                  <a:gd name="T2" fmla="*/ 545 w 657"/>
                  <a:gd name="T3" fmla="*/ 510 h 636"/>
                  <a:gd name="T4" fmla="*/ 525 w 657"/>
                  <a:gd name="T5" fmla="*/ 476 h 636"/>
                  <a:gd name="T6" fmla="*/ 567 w 657"/>
                  <a:gd name="T7" fmla="*/ 454 h 636"/>
                  <a:gd name="T8" fmla="*/ 559 w 657"/>
                  <a:gd name="T9" fmla="*/ 420 h 636"/>
                  <a:gd name="T10" fmla="*/ 553 w 657"/>
                  <a:gd name="T11" fmla="*/ 386 h 636"/>
                  <a:gd name="T12" fmla="*/ 553 w 657"/>
                  <a:gd name="T13" fmla="*/ 372 h 636"/>
                  <a:gd name="T14" fmla="*/ 539 w 657"/>
                  <a:gd name="T15" fmla="*/ 352 h 636"/>
                  <a:gd name="T16" fmla="*/ 581 w 657"/>
                  <a:gd name="T17" fmla="*/ 310 h 636"/>
                  <a:gd name="T18" fmla="*/ 615 w 657"/>
                  <a:gd name="T19" fmla="*/ 290 h 636"/>
                  <a:gd name="T20" fmla="*/ 629 w 657"/>
                  <a:gd name="T21" fmla="*/ 242 h 636"/>
                  <a:gd name="T22" fmla="*/ 635 w 657"/>
                  <a:gd name="T23" fmla="*/ 200 h 636"/>
                  <a:gd name="T24" fmla="*/ 581 w 657"/>
                  <a:gd name="T25" fmla="*/ 152 h 636"/>
                  <a:gd name="T26" fmla="*/ 539 w 657"/>
                  <a:gd name="T27" fmla="*/ 146 h 636"/>
                  <a:gd name="T28" fmla="*/ 511 w 657"/>
                  <a:gd name="T29" fmla="*/ 110 h 636"/>
                  <a:gd name="T30" fmla="*/ 483 w 657"/>
                  <a:gd name="T31" fmla="*/ 104 h 636"/>
                  <a:gd name="T32" fmla="*/ 469 w 657"/>
                  <a:gd name="T33" fmla="*/ 68 h 636"/>
                  <a:gd name="T34" fmla="*/ 443 w 657"/>
                  <a:gd name="T35" fmla="*/ 42 h 636"/>
                  <a:gd name="T36" fmla="*/ 421 w 657"/>
                  <a:gd name="T37" fmla="*/ 14 h 636"/>
                  <a:gd name="T38" fmla="*/ 386 w 657"/>
                  <a:gd name="T39" fmla="*/ 0 h 636"/>
                  <a:gd name="T40" fmla="*/ 366 w 657"/>
                  <a:gd name="T41" fmla="*/ 34 h 636"/>
                  <a:gd name="T42" fmla="*/ 338 w 657"/>
                  <a:gd name="T43" fmla="*/ 62 h 636"/>
                  <a:gd name="T44" fmla="*/ 290 w 657"/>
                  <a:gd name="T45" fmla="*/ 84 h 636"/>
                  <a:gd name="T46" fmla="*/ 276 w 657"/>
                  <a:gd name="T47" fmla="*/ 96 h 636"/>
                  <a:gd name="T48" fmla="*/ 220 w 657"/>
                  <a:gd name="T49" fmla="*/ 84 h 636"/>
                  <a:gd name="T50" fmla="*/ 206 w 657"/>
                  <a:gd name="T51" fmla="*/ 48 h 636"/>
                  <a:gd name="T52" fmla="*/ 178 w 657"/>
                  <a:gd name="T53" fmla="*/ 68 h 636"/>
                  <a:gd name="T54" fmla="*/ 186 w 657"/>
                  <a:gd name="T55" fmla="*/ 118 h 636"/>
                  <a:gd name="T56" fmla="*/ 158 w 657"/>
                  <a:gd name="T57" fmla="*/ 110 h 636"/>
                  <a:gd name="T58" fmla="*/ 110 w 657"/>
                  <a:gd name="T59" fmla="*/ 104 h 636"/>
                  <a:gd name="T60" fmla="*/ 96 w 657"/>
                  <a:gd name="T61" fmla="*/ 84 h 636"/>
                  <a:gd name="T62" fmla="*/ 48 w 657"/>
                  <a:gd name="T63" fmla="*/ 84 h 636"/>
                  <a:gd name="T64" fmla="*/ 6 w 657"/>
                  <a:gd name="T65" fmla="*/ 84 h 636"/>
                  <a:gd name="T66" fmla="*/ 26 w 657"/>
                  <a:gd name="T67" fmla="*/ 104 h 636"/>
                  <a:gd name="T68" fmla="*/ 6 w 657"/>
                  <a:gd name="T69" fmla="*/ 118 h 636"/>
                  <a:gd name="T70" fmla="*/ 40 w 657"/>
                  <a:gd name="T71" fmla="*/ 130 h 636"/>
                  <a:gd name="T72" fmla="*/ 68 w 657"/>
                  <a:gd name="T73" fmla="*/ 166 h 636"/>
                  <a:gd name="T74" fmla="*/ 102 w 657"/>
                  <a:gd name="T75" fmla="*/ 186 h 636"/>
                  <a:gd name="T76" fmla="*/ 110 w 657"/>
                  <a:gd name="T77" fmla="*/ 214 h 636"/>
                  <a:gd name="T78" fmla="*/ 116 w 657"/>
                  <a:gd name="T79" fmla="*/ 254 h 636"/>
                  <a:gd name="T80" fmla="*/ 144 w 657"/>
                  <a:gd name="T81" fmla="*/ 290 h 636"/>
                  <a:gd name="T82" fmla="*/ 138 w 657"/>
                  <a:gd name="T83" fmla="*/ 332 h 636"/>
                  <a:gd name="T84" fmla="*/ 144 w 657"/>
                  <a:gd name="T85" fmla="*/ 366 h 636"/>
                  <a:gd name="T86" fmla="*/ 138 w 657"/>
                  <a:gd name="T87" fmla="*/ 372 h 636"/>
                  <a:gd name="T88" fmla="*/ 116 w 657"/>
                  <a:gd name="T89" fmla="*/ 372 h 636"/>
                  <a:gd name="T90" fmla="*/ 110 w 657"/>
                  <a:gd name="T91" fmla="*/ 414 h 636"/>
                  <a:gd name="T92" fmla="*/ 82 w 657"/>
                  <a:gd name="T93" fmla="*/ 442 h 636"/>
                  <a:gd name="T94" fmla="*/ 40 w 657"/>
                  <a:gd name="T95" fmla="*/ 496 h 636"/>
                  <a:gd name="T96" fmla="*/ 68 w 657"/>
                  <a:gd name="T97" fmla="*/ 524 h 636"/>
                  <a:gd name="T98" fmla="*/ 116 w 657"/>
                  <a:gd name="T99" fmla="*/ 558 h 636"/>
                  <a:gd name="T100" fmla="*/ 174 w 657"/>
                  <a:gd name="T101" fmla="*/ 588 h 636"/>
                  <a:gd name="T102" fmla="*/ 214 w 657"/>
                  <a:gd name="T103" fmla="*/ 614 h 636"/>
                  <a:gd name="T104" fmla="*/ 262 w 657"/>
                  <a:gd name="T105" fmla="*/ 628 h 636"/>
                  <a:gd name="T106" fmla="*/ 302 w 657"/>
                  <a:gd name="T107" fmla="*/ 630 h 636"/>
                  <a:gd name="T108" fmla="*/ 302 w 657"/>
                  <a:gd name="T109" fmla="*/ 592 h 636"/>
                  <a:gd name="T110" fmla="*/ 338 w 657"/>
                  <a:gd name="T111" fmla="*/ 572 h 636"/>
                  <a:gd name="T112" fmla="*/ 380 w 657"/>
                  <a:gd name="T113" fmla="*/ 572 h 636"/>
                  <a:gd name="T114" fmla="*/ 421 w 657"/>
                  <a:gd name="T115" fmla="*/ 572 h 636"/>
                  <a:gd name="T116" fmla="*/ 443 w 657"/>
                  <a:gd name="T117" fmla="*/ 592 h 636"/>
                  <a:gd name="T118" fmla="*/ 469 w 657"/>
                  <a:gd name="T119" fmla="*/ 620 h 636"/>
                  <a:gd name="T120" fmla="*/ 511 w 657"/>
                  <a:gd name="T121" fmla="*/ 614 h 636"/>
                  <a:gd name="T122" fmla="*/ 531 w 657"/>
                  <a:gd name="T123" fmla="*/ 592 h 636"/>
                  <a:gd name="T124" fmla="*/ 559 w 657"/>
                  <a:gd name="T125" fmla="*/ 586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7" h="636">
                    <a:moveTo>
                      <a:pt x="559" y="586"/>
                    </a:moveTo>
                    <a:lnTo>
                      <a:pt x="567" y="580"/>
                    </a:lnTo>
                    <a:lnTo>
                      <a:pt x="567" y="572"/>
                    </a:lnTo>
                    <a:lnTo>
                      <a:pt x="573" y="566"/>
                    </a:lnTo>
                    <a:lnTo>
                      <a:pt x="567" y="558"/>
                    </a:lnTo>
                    <a:lnTo>
                      <a:pt x="553" y="558"/>
                    </a:lnTo>
                    <a:lnTo>
                      <a:pt x="545" y="558"/>
                    </a:lnTo>
                    <a:lnTo>
                      <a:pt x="539" y="544"/>
                    </a:lnTo>
                    <a:lnTo>
                      <a:pt x="539" y="538"/>
                    </a:lnTo>
                    <a:lnTo>
                      <a:pt x="539" y="524"/>
                    </a:lnTo>
                    <a:lnTo>
                      <a:pt x="539" y="516"/>
                    </a:lnTo>
                    <a:lnTo>
                      <a:pt x="545" y="510"/>
                    </a:lnTo>
                    <a:lnTo>
                      <a:pt x="545" y="504"/>
                    </a:lnTo>
                    <a:lnTo>
                      <a:pt x="545" y="496"/>
                    </a:lnTo>
                    <a:lnTo>
                      <a:pt x="539" y="490"/>
                    </a:lnTo>
                    <a:lnTo>
                      <a:pt x="531" y="490"/>
                    </a:lnTo>
                    <a:lnTo>
                      <a:pt x="525" y="482"/>
                    </a:lnTo>
                    <a:lnTo>
                      <a:pt x="525" y="476"/>
                    </a:lnTo>
                    <a:lnTo>
                      <a:pt x="531" y="476"/>
                    </a:lnTo>
                    <a:lnTo>
                      <a:pt x="539" y="476"/>
                    </a:lnTo>
                    <a:lnTo>
                      <a:pt x="545" y="476"/>
                    </a:lnTo>
                    <a:lnTo>
                      <a:pt x="553" y="468"/>
                    </a:lnTo>
                    <a:lnTo>
                      <a:pt x="559" y="462"/>
                    </a:lnTo>
                    <a:lnTo>
                      <a:pt x="567" y="454"/>
                    </a:lnTo>
                    <a:lnTo>
                      <a:pt x="559" y="448"/>
                    </a:lnTo>
                    <a:lnTo>
                      <a:pt x="559" y="442"/>
                    </a:lnTo>
                    <a:lnTo>
                      <a:pt x="553" y="434"/>
                    </a:lnTo>
                    <a:lnTo>
                      <a:pt x="553" y="428"/>
                    </a:lnTo>
                    <a:lnTo>
                      <a:pt x="559" y="428"/>
                    </a:lnTo>
                    <a:lnTo>
                      <a:pt x="559" y="420"/>
                    </a:lnTo>
                    <a:lnTo>
                      <a:pt x="559" y="414"/>
                    </a:lnTo>
                    <a:lnTo>
                      <a:pt x="553" y="406"/>
                    </a:lnTo>
                    <a:lnTo>
                      <a:pt x="553" y="400"/>
                    </a:lnTo>
                    <a:lnTo>
                      <a:pt x="559" y="400"/>
                    </a:lnTo>
                    <a:lnTo>
                      <a:pt x="553" y="392"/>
                    </a:lnTo>
                    <a:lnTo>
                      <a:pt x="553" y="386"/>
                    </a:lnTo>
                    <a:lnTo>
                      <a:pt x="559" y="386"/>
                    </a:lnTo>
                    <a:lnTo>
                      <a:pt x="567" y="386"/>
                    </a:lnTo>
                    <a:lnTo>
                      <a:pt x="567" y="378"/>
                    </a:lnTo>
                    <a:lnTo>
                      <a:pt x="559" y="366"/>
                    </a:lnTo>
                    <a:lnTo>
                      <a:pt x="553" y="366"/>
                    </a:lnTo>
                    <a:lnTo>
                      <a:pt x="553" y="372"/>
                    </a:lnTo>
                    <a:lnTo>
                      <a:pt x="545" y="372"/>
                    </a:lnTo>
                    <a:lnTo>
                      <a:pt x="539" y="386"/>
                    </a:lnTo>
                    <a:lnTo>
                      <a:pt x="525" y="392"/>
                    </a:lnTo>
                    <a:lnTo>
                      <a:pt x="519" y="378"/>
                    </a:lnTo>
                    <a:lnTo>
                      <a:pt x="525" y="366"/>
                    </a:lnTo>
                    <a:lnTo>
                      <a:pt x="539" y="352"/>
                    </a:lnTo>
                    <a:lnTo>
                      <a:pt x="539" y="344"/>
                    </a:lnTo>
                    <a:lnTo>
                      <a:pt x="545" y="338"/>
                    </a:lnTo>
                    <a:lnTo>
                      <a:pt x="559" y="338"/>
                    </a:lnTo>
                    <a:lnTo>
                      <a:pt x="573" y="332"/>
                    </a:lnTo>
                    <a:lnTo>
                      <a:pt x="581" y="318"/>
                    </a:lnTo>
                    <a:lnTo>
                      <a:pt x="581" y="310"/>
                    </a:lnTo>
                    <a:lnTo>
                      <a:pt x="587" y="304"/>
                    </a:lnTo>
                    <a:lnTo>
                      <a:pt x="595" y="310"/>
                    </a:lnTo>
                    <a:lnTo>
                      <a:pt x="601" y="318"/>
                    </a:lnTo>
                    <a:lnTo>
                      <a:pt x="609" y="304"/>
                    </a:lnTo>
                    <a:lnTo>
                      <a:pt x="615" y="310"/>
                    </a:lnTo>
                    <a:lnTo>
                      <a:pt x="615" y="290"/>
                    </a:lnTo>
                    <a:lnTo>
                      <a:pt x="621" y="282"/>
                    </a:lnTo>
                    <a:lnTo>
                      <a:pt x="621" y="276"/>
                    </a:lnTo>
                    <a:lnTo>
                      <a:pt x="621" y="262"/>
                    </a:lnTo>
                    <a:lnTo>
                      <a:pt x="621" y="254"/>
                    </a:lnTo>
                    <a:lnTo>
                      <a:pt x="629" y="248"/>
                    </a:lnTo>
                    <a:lnTo>
                      <a:pt x="629" y="242"/>
                    </a:lnTo>
                    <a:lnTo>
                      <a:pt x="635" y="228"/>
                    </a:lnTo>
                    <a:lnTo>
                      <a:pt x="643" y="220"/>
                    </a:lnTo>
                    <a:lnTo>
                      <a:pt x="657" y="208"/>
                    </a:lnTo>
                    <a:lnTo>
                      <a:pt x="649" y="200"/>
                    </a:lnTo>
                    <a:lnTo>
                      <a:pt x="643" y="200"/>
                    </a:lnTo>
                    <a:lnTo>
                      <a:pt x="635" y="200"/>
                    </a:lnTo>
                    <a:lnTo>
                      <a:pt x="629" y="192"/>
                    </a:lnTo>
                    <a:lnTo>
                      <a:pt x="615" y="192"/>
                    </a:lnTo>
                    <a:lnTo>
                      <a:pt x="601" y="186"/>
                    </a:lnTo>
                    <a:lnTo>
                      <a:pt x="595" y="180"/>
                    </a:lnTo>
                    <a:lnTo>
                      <a:pt x="587" y="166"/>
                    </a:lnTo>
                    <a:lnTo>
                      <a:pt x="581" y="152"/>
                    </a:lnTo>
                    <a:lnTo>
                      <a:pt x="567" y="152"/>
                    </a:lnTo>
                    <a:lnTo>
                      <a:pt x="559" y="146"/>
                    </a:lnTo>
                    <a:lnTo>
                      <a:pt x="553" y="146"/>
                    </a:lnTo>
                    <a:lnTo>
                      <a:pt x="545" y="146"/>
                    </a:lnTo>
                    <a:lnTo>
                      <a:pt x="539" y="152"/>
                    </a:lnTo>
                    <a:lnTo>
                      <a:pt x="539" y="146"/>
                    </a:lnTo>
                    <a:lnTo>
                      <a:pt x="531" y="138"/>
                    </a:lnTo>
                    <a:lnTo>
                      <a:pt x="525" y="130"/>
                    </a:lnTo>
                    <a:lnTo>
                      <a:pt x="519" y="130"/>
                    </a:lnTo>
                    <a:lnTo>
                      <a:pt x="519" y="124"/>
                    </a:lnTo>
                    <a:lnTo>
                      <a:pt x="511" y="118"/>
                    </a:lnTo>
                    <a:lnTo>
                      <a:pt x="511" y="110"/>
                    </a:lnTo>
                    <a:lnTo>
                      <a:pt x="505" y="104"/>
                    </a:lnTo>
                    <a:lnTo>
                      <a:pt x="505" y="96"/>
                    </a:lnTo>
                    <a:lnTo>
                      <a:pt x="497" y="96"/>
                    </a:lnTo>
                    <a:lnTo>
                      <a:pt x="497" y="104"/>
                    </a:lnTo>
                    <a:lnTo>
                      <a:pt x="491" y="104"/>
                    </a:lnTo>
                    <a:lnTo>
                      <a:pt x="483" y="104"/>
                    </a:lnTo>
                    <a:lnTo>
                      <a:pt x="477" y="96"/>
                    </a:lnTo>
                    <a:lnTo>
                      <a:pt x="483" y="90"/>
                    </a:lnTo>
                    <a:lnTo>
                      <a:pt x="483" y="84"/>
                    </a:lnTo>
                    <a:lnTo>
                      <a:pt x="483" y="68"/>
                    </a:lnTo>
                    <a:lnTo>
                      <a:pt x="477" y="68"/>
                    </a:lnTo>
                    <a:lnTo>
                      <a:pt x="469" y="68"/>
                    </a:lnTo>
                    <a:lnTo>
                      <a:pt x="463" y="68"/>
                    </a:lnTo>
                    <a:lnTo>
                      <a:pt x="455" y="56"/>
                    </a:lnTo>
                    <a:lnTo>
                      <a:pt x="455" y="48"/>
                    </a:lnTo>
                    <a:lnTo>
                      <a:pt x="449" y="48"/>
                    </a:lnTo>
                    <a:lnTo>
                      <a:pt x="443" y="48"/>
                    </a:lnTo>
                    <a:lnTo>
                      <a:pt x="443" y="42"/>
                    </a:lnTo>
                    <a:lnTo>
                      <a:pt x="443" y="34"/>
                    </a:lnTo>
                    <a:lnTo>
                      <a:pt x="435" y="34"/>
                    </a:lnTo>
                    <a:lnTo>
                      <a:pt x="429" y="34"/>
                    </a:lnTo>
                    <a:lnTo>
                      <a:pt x="429" y="28"/>
                    </a:lnTo>
                    <a:lnTo>
                      <a:pt x="421" y="20"/>
                    </a:lnTo>
                    <a:lnTo>
                      <a:pt x="421" y="14"/>
                    </a:lnTo>
                    <a:lnTo>
                      <a:pt x="421" y="8"/>
                    </a:lnTo>
                    <a:lnTo>
                      <a:pt x="421" y="0"/>
                    </a:lnTo>
                    <a:lnTo>
                      <a:pt x="407" y="0"/>
                    </a:lnTo>
                    <a:lnTo>
                      <a:pt x="401" y="0"/>
                    </a:lnTo>
                    <a:lnTo>
                      <a:pt x="392" y="0"/>
                    </a:lnTo>
                    <a:lnTo>
                      <a:pt x="386" y="0"/>
                    </a:lnTo>
                    <a:lnTo>
                      <a:pt x="380" y="0"/>
                    </a:lnTo>
                    <a:lnTo>
                      <a:pt x="372" y="8"/>
                    </a:lnTo>
                    <a:lnTo>
                      <a:pt x="372" y="14"/>
                    </a:lnTo>
                    <a:lnTo>
                      <a:pt x="372" y="20"/>
                    </a:lnTo>
                    <a:lnTo>
                      <a:pt x="366" y="28"/>
                    </a:lnTo>
                    <a:lnTo>
                      <a:pt x="366" y="34"/>
                    </a:lnTo>
                    <a:lnTo>
                      <a:pt x="366" y="48"/>
                    </a:lnTo>
                    <a:lnTo>
                      <a:pt x="366" y="56"/>
                    </a:lnTo>
                    <a:lnTo>
                      <a:pt x="358" y="56"/>
                    </a:lnTo>
                    <a:lnTo>
                      <a:pt x="352" y="56"/>
                    </a:lnTo>
                    <a:lnTo>
                      <a:pt x="344" y="62"/>
                    </a:lnTo>
                    <a:lnTo>
                      <a:pt x="338" y="62"/>
                    </a:lnTo>
                    <a:lnTo>
                      <a:pt x="324" y="68"/>
                    </a:lnTo>
                    <a:lnTo>
                      <a:pt x="310" y="76"/>
                    </a:lnTo>
                    <a:lnTo>
                      <a:pt x="296" y="76"/>
                    </a:lnTo>
                    <a:lnTo>
                      <a:pt x="282" y="76"/>
                    </a:lnTo>
                    <a:lnTo>
                      <a:pt x="282" y="84"/>
                    </a:lnTo>
                    <a:lnTo>
                      <a:pt x="290" y="84"/>
                    </a:lnTo>
                    <a:lnTo>
                      <a:pt x="302" y="90"/>
                    </a:lnTo>
                    <a:lnTo>
                      <a:pt x="310" y="96"/>
                    </a:lnTo>
                    <a:lnTo>
                      <a:pt x="302" y="96"/>
                    </a:lnTo>
                    <a:lnTo>
                      <a:pt x="302" y="104"/>
                    </a:lnTo>
                    <a:lnTo>
                      <a:pt x="290" y="96"/>
                    </a:lnTo>
                    <a:lnTo>
                      <a:pt x="276" y="96"/>
                    </a:lnTo>
                    <a:lnTo>
                      <a:pt x="262" y="96"/>
                    </a:lnTo>
                    <a:lnTo>
                      <a:pt x="262" y="90"/>
                    </a:lnTo>
                    <a:lnTo>
                      <a:pt x="248" y="90"/>
                    </a:lnTo>
                    <a:lnTo>
                      <a:pt x="234" y="84"/>
                    </a:lnTo>
                    <a:lnTo>
                      <a:pt x="220" y="76"/>
                    </a:lnTo>
                    <a:lnTo>
                      <a:pt x="220" y="84"/>
                    </a:lnTo>
                    <a:lnTo>
                      <a:pt x="206" y="76"/>
                    </a:lnTo>
                    <a:lnTo>
                      <a:pt x="214" y="68"/>
                    </a:lnTo>
                    <a:lnTo>
                      <a:pt x="206" y="62"/>
                    </a:lnTo>
                    <a:lnTo>
                      <a:pt x="206" y="56"/>
                    </a:lnTo>
                    <a:lnTo>
                      <a:pt x="214" y="48"/>
                    </a:lnTo>
                    <a:lnTo>
                      <a:pt x="206" y="48"/>
                    </a:lnTo>
                    <a:lnTo>
                      <a:pt x="200" y="48"/>
                    </a:lnTo>
                    <a:lnTo>
                      <a:pt x="192" y="42"/>
                    </a:lnTo>
                    <a:lnTo>
                      <a:pt x="186" y="42"/>
                    </a:lnTo>
                    <a:lnTo>
                      <a:pt x="186" y="48"/>
                    </a:lnTo>
                    <a:lnTo>
                      <a:pt x="178" y="56"/>
                    </a:lnTo>
                    <a:lnTo>
                      <a:pt x="178" y="68"/>
                    </a:lnTo>
                    <a:lnTo>
                      <a:pt x="178" y="76"/>
                    </a:lnTo>
                    <a:lnTo>
                      <a:pt x="186" y="90"/>
                    </a:lnTo>
                    <a:lnTo>
                      <a:pt x="178" y="96"/>
                    </a:lnTo>
                    <a:lnTo>
                      <a:pt x="178" y="104"/>
                    </a:lnTo>
                    <a:lnTo>
                      <a:pt x="178" y="110"/>
                    </a:lnTo>
                    <a:lnTo>
                      <a:pt x="186" y="118"/>
                    </a:lnTo>
                    <a:lnTo>
                      <a:pt x="186" y="124"/>
                    </a:lnTo>
                    <a:lnTo>
                      <a:pt x="172" y="124"/>
                    </a:lnTo>
                    <a:lnTo>
                      <a:pt x="164" y="118"/>
                    </a:lnTo>
                    <a:lnTo>
                      <a:pt x="158" y="118"/>
                    </a:lnTo>
                    <a:lnTo>
                      <a:pt x="152" y="118"/>
                    </a:lnTo>
                    <a:lnTo>
                      <a:pt x="158" y="110"/>
                    </a:lnTo>
                    <a:lnTo>
                      <a:pt x="144" y="110"/>
                    </a:lnTo>
                    <a:lnTo>
                      <a:pt x="130" y="110"/>
                    </a:lnTo>
                    <a:lnTo>
                      <a:pt x="124" y="104"/>
                    </a:lnTo>
                    <a:lnTo>
                      <a:pt x="124" y="110"/>
                    </a:lnTo>
                    <a:lnTo>
                      <a:pt x="110" y="110"/>
                    </a:lnTo>
                    <a:lnTo>
                      <a:pt x="110" y="104"/>
                    </a:lnTo>
                    <a:lnTo>
                      <a:pt x="110" y="90"/>
                    </a:lnTo>
                    <a:lnTo>
                      <a:pt x="102" y="90"/>
                    </a:lnTo>
                    <a:lnTo>
                      <a:pt x="96" y="90"/>
                    </a:lnTo>
                    <a:lnTo>
                      <a:pt x="96" y="84"/>
                    </a:lnTo>
                    <a:lnTo>
                      <a:pt x="102" y="76"/>
                    </a:lnTo>
                    <a:lnTo>
                      <a:pt x="96" y="84"/>
                    </a:lnTo>
                    <a:lnTo>
                      <a:pt x="82" y="76"/>
                    </a:lnTo>
                    <a:lnTo>
                      <a:pt x="76" y="84"/>
                    </a:lnTo>
                    <a:lnTo>
                      <a:pt x="76" y="90"/>
                    </a:lnTo>
                    <a:lnTo>
                      <a:pt x="62" y="90"/>
                    </a:lnTo>
                    <a:lnTo>
                      <a:pt x="62" y="84"/>
                    </a:lnTo>
                    <a:lnTo>
                      <a:pt x="48" y="84"/>
                    </a:lnTo>
                    <a:lnTo>
                      <a:pt x="40" y="84"/>
                    </a:lnTo>
                    <a:lnTo>
                      <a:pt x="34" y="76"/>
                    </a:lnTo>
                    <a:lnTo>
                      <a:pt x="26" y="84"/>
                    </a:lnTo>
                    <a:lnTo>
                      <a:pt x="20" y="84"/>
                    </a:lnTo>
                    <a:lnTo>
                      <a:pt x="12" y="84"/>
                    </a:lnTo>
                    <a:lnTo>
                      <a:pt x="6" y="84"/>
                    </a:lnTo>
                    <a:lnTo>
                      <a:pt x="6" y="90"/>
                    </a:lnTo>
                    <a:lnTo>
                      <a:pt x="12" y="90"/>
                    </a:lnTo>
                    <a:lnTo>
                      <a:pt x="20" y="90"/>
                    </a:lnTo>
                    <a:lnTo>
                      <a:pt x="26" y="90"/>
                    </a:lnTo>
                    <a:lnTo>
                      <a:pt x="26" y="96"/>
                    </a:lnTo>
                    <a:lnTo>
                      <a:pt x="26" y="104"/>
                    </a:lnTo>
                    <a:lnTo>
                      <a:pt x="20" y="104"/>
                    </a:lnTo>
                    <a:lnTo>
                      <a:pt x="20" y="110"/>
                    </a:lnTo>
                    <a:lnTo>
                      <a:pt x="12" y="110"/>
                    </a:lnTo>
                    <a:lnTo>
                      <a:pt x="6" y="110"/>
                    </a:lnTo>
                    <a:lnTo>
                      <a:pt x="0" y="118"/>
                    </a:lnTo>
                    <a:lnTo>
                      <a:pt x="6" y="118"/>
                    </a:lnTo>
                    <a:lnTo>
                      <a:pt x="12" y="124"/>
                    </a:lnTo>
                    <a:lnTo>
                      <a:pt x="20" y="138"/>
                    </a:lnTo>
                    <a:lnTo>
                      <a:pt x="20" y="130"/>
                    </a:lnTo>
                    <a:lnTo>
                      <a:pt x="34" y="138"/>
                    </a:lnTo>
                    <a:lnTo>
                      <a:pt x="34" y="130"/>
                    </a:lnTo>
                    <a:lnTo>
                      <a:pt x="40" y="130"/>
                    </a:lnTo>
                    <a:lnTo>
                      <a:pt x="40" y="138"/>
                    </a:lnTo>
                    <a:lnTo>
                      <a:pt x="54" y="152"/>
                    </a:lnTo>
                    <a:lnTo>
                      <a:pt x="62" y="152"/>
                    </a:lnTo>
                    <a:lnTo>
                      <a:pt x="62" y="158"/>
                    </a:lnTo>
                    <a:lnTo>
                      <a:pt x="68" y="158"/>
                    </a:lnTo>
                    <a:lnTo>
                      <a:pt x="68" y="166"/>
                    </a:lnTo>
                    <a:lnTo>
                      <a:pt x="68" y="172"/>
                    </a:lnTo>
                    <a:lnTo>
                      <a:pt x="82" y="172"/>
                    </a:lnTo>
                    <a:lnTo>
                      <a:pt x="96" y="172"/>
                    </a:lnTo>
                    <a:lnTo>
                      <a:pt x="88" y="180"/>
                    </a:lnTo>
                    <a:lnTo>
                      <a:pt x="96" y="180"/>
                    </a:lnTo>
                    <a:lnTo>
                      <a:pt x="102" y="186"/>
                    </a:lnTo>
                    <a:lnTo>
                      <a:pt x="96" y="200"/>
                    </a:lnTo>
                    <a:lnTo>
                      <a:pt x="102" y="200"/>
                    </a:lnTo>
                    <a:lnTo>
                      <a:pt x="110" y="208"/>
                    </a:lnTo>
                    <a:lnTo>
                      <a:pt x="124" y="208"/>
                    </a:lnTo>
                    <a:lnTo>
                      <a:pt x="110" y="208"/>
                    </a:lnTo>
                    <a:lnTo>
                      <a:pt x="110" y="214"/>
                    </a:lnTo>
                    <a:lnTo>
                      <a:pt x="116" y="214"/>
                    </a:lnTo>
                    <a:lnTo>
                      <a:pt x="116" y="220"/>
                    </a:lnTo>
                    <a:lnTo>
                      <a:pt x="102" y="234"/>
                    </a:lnTo>
                    <a:lnTo>
                      <a:pt x="102" y="242"/>
                    </a:lnTo>
                    <a:lnTo>
                      <a:pt x="110" y="254"/>
                    </a:lnTo>
                    <a:lnTo>
                      <a:pt x="116" y="254"/>
                    </a:lnTo>
                    <a:lnTo>
                      <a:pt x="116" y="270"/>
                    </a:lnTo>
                    <a:lnTo>
                      <a:pt x="124" y="276"/>
                    </a:lnTo>
                    <a:lnTo>
                      <a:pt x="124" y="282"/>
                    </a:lnTo>
                    <a:lnTo>
                      <a:pt x="138" y="290"/>
                    </a:lnTo>
                    <a:lnTo>
                      <a:pt x="144" y="282"/>
                    </a:lnTo>
                    <a:lnTo>
                      <a:pt x="144" y="290"/>
                    </a:lnTo>
                    <a:lnTo>
                      <a:pt x="144" y="296"/>
                    </a:lnTo>
                    <a:lnTo>
                      <a:pt x="138" y="304"/>
                    </a:lnTo>
                    <a:lnTo>
                      <a:pt x="144" y="304"/>
                    </a:lnTo>
                    <a:lnTo>
                      <a:pt x="138" y="310"/>
                    </a:lnTo>
                    <a:lnTo>
                      <a:pt x="138" y="324"/>
                    </a:lnTo>
                    <a:lnTo>
                      <a:pt x="138" y="332"/>
                    </a:lnTo>
                    <a:lnTo>
                      <a:pt x="130" y="338"/>
                    </a:lnTo>
                    <a:lnTo>
                      <a:pt x="130" y="344"/>
                    </a:lnTo>
                    <a:lnTo>
                      <a:pt x="138" y="344"/>
                    </a:lnTo>
                    <a:lnTo>
                      <a:pt x="138" y="352"/>
                    </a:lnTo>
                    <a:lnTo>
                      <a:pt x="138" y="358"/>
                    </a:lnTo>
                    <a:lnTo>
                      <a:pt x="144" y="366"/>
                    </a:lnTo>
                    <a:lnTo>
                      <a:pt x="144" y="372"/>
                    </a:lnTo>
                    <a:lnTo>
                      <a:pt x="144" y="386"/>
                    </a:lnTo>
                    <a:lnTo>
                      <a:pt x="144" y="392"/>
                    </a:lnTo>
                    <a:lnTo>
                      <a:pt x="138" y="386"/>
                    </a:lnTo>
                    <a:lnTo>
                      <a:pt x="138" y="378"/>
                    </a:lnTo>
                    <a:lnTo>
                      <a:pt x="138" y="372"/>
                    </a:lnTo>
                    <a:lnTo>
                      <a:pt x="130" y="366"/>
                    </a:lnTo>
                    <a:lnTo>
                      <a:pt x="130" y="358"/>
                    </a:lnTo>
                    <a:lnTo>
                      <a:pt x="124" y="352"/>
                    </a:lnTo>
                    <a:lnTo>
                      <a:pt x="124" y="344"/>
                    </a:lnTo>
                    <a:lnTo>
                      <a:pt x="116" y="352"/>
                    </a:lnTo>
                    <a:lnTo>
                      <a:pt x="116" y="372"/>
                    </a:lnTo>
                    <a:lnTo>
                      <a:pt x="116" y="378"/>
                    </a:lnTo>
                    <a:lnTo>
                      <a:pt x="110" y="386"/>
                    </a:lnTo>
                    <a:lnTo>
                      <a:pt x="110" y="400"/>
                    </a:lnTo>
                    <a:lnTo>
                      <a:pt x="102" y="400"/>
                    </a:lnTo>
                    <a:lnTo>
                      <a:pt x="116" y="406"/>
                    </a:lnTo>
                    <a:lnTo>
                      <a:pt x="110" y="414"/>
                    </a:lnTo>
                    <a:lnTo>
                      <a:pt x="96" y="414"/>
                    </a:lnTo>
                    <a:lnTo>
                      <a:pt x="96" y="420"/>
                    </a:lnTo>
                    <a:lnTo>
                      <a:pt x="96" y="428"/>
                    </a:lnTo>
                    <a:lnTo>
                      <a:pt x="88" y="434"/>
                    </a:lnTo>
                    <a:lnTo>
                      <a:pt x="88" y="442"/>
                    </a:lnTo>
                    <a:lnTo>
                      <a:pt x="82" y="442"/>
                    </a:lnTo>
                    <a:lnTo>
                      <a:pt x="82" y="454"/>
                    </a:lnTo>
                    <a:lnTo>
                      <a:pt x="76" y="454"/>
                    </a:lnTo>
                    <a:lnTo>
                      <a:pt x="68" y="462"/>
                    </a:lnTo>
                    <a:lnTo>
                      <a:pt x="68" y="468"/>
                    </a:lnTo>
                    <a:lnTo>
                      <a:pt x="54" y="482"/>
                    </a:lnTo>
                    <a:lnTo>
                      <a:pt x="40" y="496"/>
                    </a:lnTo>
                    <a:lnTo>
                      <a:pt x="48" y="504"/>
                    </a:lnTo>
                    <a:lnTo>
                      <a:pt x="54" y="510"/>
                    </a:lnTo>
                    <a:lnTo>
                      <a:pt x="54" y="516"/>
                    </a:lnTo>
                    <a:lnTo>
                      <a:pt x="54" y="524"/>
                    </a:lnTo>
                    <a:lnTo>
                      <a:pt x="62" y="524"/>
                    </a:lnTo>
                    <a:lnTo>
                      <a:pt x="68" y="524"/>
                    </a:lnTo>
                    <a:lnTo>
                      <a:pt x="82" y="538"/>
                    </a:lnTo>
                    <a:lnTo>
                      <a:pt x="88" y="538"/>
                    </a:lnTo>
                    <a:lnTo>
                      <a:pt x="96" y="552"/>
                    </a:lnTo>
                    <a:lnTo>
                      <a:pt x="102" y="552"/>
                    </a:lnTo>
                    <a:lnTo>
                      <a:pt x="110" y="552"/>
                    </a:lnTo>
                    <a:lnTo>
                      <a:pt x="116" y="558"/>
                    </a:lnTo>
                    <a:lnTo>
                      <a:pt x="130" y="572"/>
                    </a:lnTo>
                    <a:lnTo>
                      <a:pt x="138" y="572"/>
                    </a:lnTo>
                    <a:lnTo>
                      <a:pt x="152" y="580"/>
                    </a:lnTo>
                    <a:lnTo>
                      <a:pt x="158" y="580"/>
                    </a:lnTo>
                    <a:lnTo>
                      <a:pt x="158" y="586"/>
                    </a:lnTo>
                    <a:lnTo>
                      <a:pt x="174" y="588"/>
                    </a:lnTo>
                    <a:lnTo>
                      <a:pt x="190" y="582"/>
                    </a:lnTo>
                    <a:lnTo>
                      <a:pt x="198" y="588"/>
                    </a:lnTo>
                    <a:lnTo>
                      <a:pt x="202" y="596"/>
                    </a:lnTo>
                    <a:lnTo>
                      <a:pt x="200" y="606"/>
                    </a:lnTo>
                    <a:lnTo>
                      <a:pt x="206" y="614"/>
                    </a:lnTo>
                    <a:lnTo>
                      <a:pt x="214" y="614"/>
                    </a:lnTo>
                    <a:lnTo>
                      <a:pt x="220" y="614"/>
                    </a:lnTo>
                    <a:lnTo>
                      <a:pt x="226" y="614"/>
                    </a:lnTo>
                    <a:lnTo>
                      <a:pt x="234" y="620"/>
                    </a:lnTo>
                    <a:lnTo>
                      <a:pt x="240" y="628"/>
                    </a:lnTo>
                    <a:lnTo>
                      <a:pt x="248" y="628"/>
                    </a:lnTo>
                    <a:lnTo>
                      <a:pt x="262" y="628"/>
                    </a:lnTo>
                    <a:lnTo>
                      <a:pt x="268" y="634"/>
                    </a:lnTo>
                    <a:lnTo>
                      <a:pt x="276" y="636"/>
                    </a:lnTo>
                    <a:lnTo>
                      <a:pt x="282" y="634"/>
                    </a:lnTo>
                    <a:lnTo>
                      <a:pt x="290" y="634"/>
                    </a:lnTo>
                    <a:lnTo>
                      <a:pt x="294" y="636"/>
                    </a:lnTo>
                    <a:lnTo>
                      <a:pt x="302" y="630"/>
                    </a:lnTo>
                    <a:lnTo>
                      <a:pt x="300" y="628"/>
                    </a:lnTo>
                    <a:lnTo>
                      <a:pt x="298" y="624"/>
                    </a:lnTo>
                    <a:lnTo>
                      <a:pt x="296" y="620"/>
                    </a:lnTo>
                    <a:lnTo>
                      <a:pt x="302" y="614"/>
                    </a:lnTo>
                    <a:lnTo>
                      <a:pt x="296" y="606"/>
                    </a:lnTo>
                    <a:lnTo>
                      <a:pt x="302" y="592"/>
                    </a:lnTo>
                    <a:lnTo>
                      <a:pt x="302" y="586"/>
                    </a:lnTo>
                    <a:lnTo>
                      <a:pt x="310" y="580"/>
                    </a:lnTo>
                    <a:lnTo>
                      <a:pt x="316" y="580"/>
                    </a:lnTo>
                    <a:lnTo>
                      <a:pt x="324" y="572"/>
                    </a:lnTo>
                    <a:lnTo>
                      <a:pt x="330" y="572"/>
                    </a:lnTo>
                    <a:lnTo>
                      <a:pt x="338" y="572"/>
                    </a:lnTo>
                    <a:lnTo>
                      <a:pt x="344" y="572"/>
                    </a:lnTo>
                    <a:lnTo>
                      <a:pt x="352" y="566"/>
                    </a:lnTo>
                    <a:lnTo>
                      <a:pt x="358" y="558"/>
                    </a:lnTo>
                    <a:lnTo>
                      <a:pt x="366" y="558"/>
                    </a:lnTo>
                    <a:lnTo>
                      <a:pt x="372" y="566"/>
                    </a:lnTo>
                    <a:lnTo>
                      <a:pt x="380" y="572"/>
                    </a:lnTo>
                    <a:lnTo>
                      <a:pt x="386" y="572"/>
                    </a:lnTo>
                    <a:lnTo>
                      <a:pt x="401" y="572"/>
                    </a:lnTo>
                    <a:lnTo>
                      <a:pt x="401" y="586"/>
                    </a:lnTo>
                    <a:lnTo>
                      <a:pt x="407" y="580"/>
                    </a:lnTo>
                    <a:lnTo>
                      <a:pt x="415" y="580"/>
                    </a:lnTo>
                    <a:lnTo>
                      <a:pt x="421" y="572"/>
                    </a:lnTo>
                    <a:lnTo>
                      <a:pt x="429" y="572"/>
                    </a:lnTo>
                    <a:lnTo>
                      <a:pt x="429" y="580"/>
                    </a:lnTo>
                    <a:lnTo>
                      <a:pt x="429" y="586"/>
                    </a:lnTo>
                    <a:lnTo>
                      <a:pt x="435" y="586"/>
                    </a:lnTo>
                    <a:lnTo>
                      <a:pt x="443" y="586"/>
                    </a:lnTo>
                    <a:lnTo>
                      <a:pt x="443" y="592"/>
                    </a:lnTo>
                    <a:lnTo>
                      <a:pt x="443" y="600"/>
                    </a:lnTo>
                    <a:lnTo>
                      <a:pt x="449" y="592"/>
                    </a:lnTo>
                    <a:lnTo>
                      <a:pt x="455" y="600"/>
                    </a:lnTo>
                    <a:lnTo>
                      <a:pt x="463" y="606"/>
                    </a:lnTo>
                    <a:lnTo>
                      <a:pt x="463" y="614"/>
                    </a:lnTo>
                    <a:lnTo>
                      <a:pt x="469" y="620"/>
                    </a:lnTo>
                    <a:lnTo>
                      <a:pt x="477" y="620"/>
                    </a:lnTo>
                    <a:lnTo>
                      <a:pt x="483" y="620"/>
                    </a:lnTo>
                    <a:lnTo>
                      <a:pt x="491" y="620"/>
                    </a:lnTo>
                    <a:lnTo>
                      <a:pt x="497" y="620"/>
                    </a:lnTo>
                    <a:lnTo>
                      <a:pt x="505" y="620"/>
                    </a:lnTo>
                    <a:lnTo>
                      <a:pt x="511" y="614"/>
                    </a:lnTo>
                    <a:lnTo>
                      <a:pt x="511" y="606"/>
                    </a:lnTo>
                    <a:lnTo>
                      <a:pt x="511" y="600"/>
                    </a:lnTo>
                    <a:lnTo>
                      <a:pt x="519" y="600"/>
                    </a:lnTo>
                    <a:lnTo>
                      <a:pt x="525" y="600"/>
                    </a:lnTo>
                    <a:lnTo>
                      <a:pt x="531" y="600"/>
                    </a:lnTo>
                    <a:lnTo>
                      <a:pt x="531" y="592"/>
                    </a:lnTo>
                    <a:lnTo>
                      <a:pt x="539" y="592"/>
                    </a:lnTo>
                    <a:lnTo>
                      <a:pt x="545" y="592"/>
                    </a:lnTo>
                    <a:lnTo>
                      <a:pt x="545" y="600"/>
                    </a:lnTo>
                    <a:lnTo>
                      <a:pt x="559" y="586"/>
                    </a:lnTo>
                    <a:lnTo>
                      <a:pt x="553" y="592"/>
                    </a:lnTo>
                    <a:lnTo>
                      <a:pt x="559" y="586"/>
                    </a:lnTo>
                    <a:lnTo>
                      <a:pt x="559" y="586"/>
                    </a:lnTo>
                    <a:lnTo>
                      <a:pt x="559" y="586"/>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3" name="Freeform 27"/>
              <p:cNvSpPr>
                <a:spLocks/>
              </p:cNvSpPr>
              <p:nvPr/>
            </p:nvSpPr>
            <p:spPr bwMode="gray">
              <a:xfrm>
                <a:off x="3148573" y="787853"/>
                <a:ext cx="504937" cy="425544"/>
              </a:xfrm>
              <a:custGeom>
                <a:avLst/>
                <a:gdLst>
                  <a:gd name="T0" fmla="*/ 22 w 318"/>
                  <a:gd name="T1" fmla="*/ 178 h 268"/>
                  <a:gd name="T2" fmla="*/ 50 w 318"/>
                  <a:gd name="T3" fmla="*/ 192 h 268"/>
                  <a:gd name="T4" fmla="*/ 50 w 318"/>
                  <a:gd name="T5" fmla="*/ 218 h 268"/>
                  <a:gd name="T6" fmla="*/ 84 w 318"/>
                  <a:gd name="T7" fmla="*/ 240 h 268"/>
                  <a:gd name="T8" fmla="*/ 104 w 318"/>
                  <a:gd name="T9" fmla="*/ 268 h 268"/>
                  <a:gd name="T10" fmla="*/ 118 w 318"/>
                  <a:gd name="T11" fmla="*/ 260 h 268"/>
                  <a:gd name="T12" fmla="*/ 160 w 318"/>
                  <a:gd name="T13" fmla="*/ 254 h 268"/>
                  <a:gd name="T14" fmla="*/ 194 w 318"/>
                  <a:gd name="T15" fmla="*/ 260 h 268"/>
                  <a:gd name="T16" fmla="*/ 228 w 318"/>
                  <a:gd name="T17" fmla="*/ 254 h 268"/>
                  <a:gd name="T18" fmla="*/ 250 w 318"/>
                  <a:gd name="T19" fmla="*/ 260 h 268"/>
                  <a:gd name="T20" fmla="*/ 284 w 318"/>
                  <a:gd name="T21" fmla="*/ 248 h 268"/>
                  <a:gd name="T22" fmla="*/ 312 w 318"/>
                  <a:gd name="T23" fmla="*/ 226 h 268"/>
                  <a:gd name="T24" fmla="*/ 318 w 318"/>
                  <a:gd name="T25" fmla="*/ 198 h 268"/>
                  <a:gd name="T26" fmla="*/ 298 w 318"/>
                  <a:gd name="T27" fmla="*/ 178 h 268"/>
                  <a:gd name="T28" fmla="*/ 312 w 318"/>
                  <a:gd name="T29" fmla="*/ 164 h 268"/>
                  <a:gd name="T30" fmla="*/ 318 w 318"/>
                  <a:gd name="T31" fmla="*/ 136 h 268"/>
                  <a:gd name="T32" fmla="*/ 298 w 318"/>
                  <a:gd name="T33" fmla="*/ 130 h 268"/>
                  <a:gd name="T34" fmla="*/ 306 w 318"/>
                  <a:gd name="T35" fmla="*/ 102 h 268"/>
                  <a:gd name="T36" fmla="*/ 284 w 318"/>
                  <a:gd name="T37" fmla="*/ 116 h 268"/>
                  <a:gd name="T38" fmla="*/ 264 w 318"/>
                  <a:gd name="T39" fmla="*/ 110 h 268"/>
                  <a:gd name="T40" fmla="*/ 236 w 318"/>
                  <a:gd name="T41" fmla="*/ 102 h 268"/>
                  <a:gd name="T42" fmla="*/ 222 w 318"/>
                  <a:gd name="T43" fmla="*/ 122 h 268"/>
                  <a:gd name="T44" fmla="*/ 216 w 318"/>
                  <a:gd name="T45" fmla="*/ 102 h 268"/>
                  <a:gd name="T46" fmla="*/ 194 w 318"/>
                  <a:gd name="T47" fmla="*/ 82 h 268"/>
                  <a:gd name="T48" fmla="*/ 174 w 318"/>
                  <a:gd name="T49" fmla="*/ 102 h 268"/>
                  <a:gd name="T50" fmla="*/ 166 w 318"/>
                  <a:gd name="T51" fmla="*/ 68 h 268"/>
                  <a:gd name="T52" fmla="*/ 146 w 318"/>
                  <a:gd name="T53" fmla="*/ 88 h 268"/>
                  <a:gd name="T54" fmla="*/ 118 w 318"/>
                  <a:gd name="T55" fmla="*/ 102 h 268"/>
                  <a:gd name="T56" fmla="*/ 118 w 318"/>
                  <a:gd name="T57" fmla="*/ 82 h 268"/>
                  <a:gd name="T58" fmla="*/ 132 w 318"/>
                  <a:gd name="T59" fmla="*/ 60 h 268"/>
                  <a:gd name="T60" fmla="*/ 138 w 318"/>
                  <a:gd name="T61" fmla="*/ 34 h 268"/>
                  <a:gd name="T62" fmla="*/ 112 w 318"/>
                  <a:gd name="T63" fmla="*/ 0 h 268"/>
                  <a:gd name="T64" fmla="*/ 118 w 318"/>
                  <a:gd name="T65" fmla="*/ 26 h 268"/>
                  <a:gd name="T66" fmla="*/ 104 w 318"/>
                  <a:gd name="T67" fmla="*/ 40 h 268"/>
                  <a:gd name="T68" fmla="*/ 96 w 318"/>
                  <a:gd name="T69" fmla="*/ 6 h 268"/>
                  <a:gd name="T70" fmla="*/ 84 w 318"/>
                  <a:gd name="T71" fmla="*/ 26 h 268"/>
                  <a:gd name="T72" fmla="*/ 70 w 318"/>
                  <a:gd name="T73" fmla="*/ 40 h 268"/>
                  <a:gd name="T74" fmla="*/ 56 w 318"/>
                  <a:gd name="T75" fmla="*/ 20 h 268"/>
                  <a:gd name="T76" fmla="*/ 50 w 318"/>
                  <a:gd name="T77" fmla="*/ 26 h 268"/>
                  <a:gd name="T78" fmla="*/ 56 w 318"/>
                  <a:gd name="T79" fmla="*/ 40 h 268"/>
                  <a:gd name="T80" fmla="*/ 90 w 318"/>
                  <a:gd name="T81" fmla="*/ 60 h 268"/>
                  <a:gd name="T82" fmla="*/ 104 w 318"/>
                  <a:gd name="T83" fmla="*/ 82 h 268"/>
                  <a:gd name="T84" fmla="*/ 76 w 318"/>
                  <a:gd name="T85" fmla="*/ 82 h 268"/>
                  <a:gd name="T86" fmla="*/ 76 w 318"/>
                  <a:gd name="T87" fmla="*/ 102 h 268"/>
                  <a:gd name="T88" fmla="*/ 42 w 318"/>
                  <a:gd name="T89" fmla="*/ 82 h 268"/>
                  <a:gd name="T90" fmla="*/ 28 w 318"/>
                  <a:gd name="T91" fmla="*/ 88 h 268"/>
                  <a:gd name="T92" fmla="*/ 56 w 318"/>
                  <a:gd name="T93" fmla="*/ 102 h 268"/>
                  <a:gd name="T94" fmla="*/ 50 w 318"/>
                  <a:gd name="T95" fmla="*/ 136 h 268"/>
                  <a:gd name="T96" fmla="*/ 42 w 318"/>
                  <a:gd name="T97" fmla="*/ 150 h 268"/>
                  <a:gd name="T98" fmla="*/ 14 w 318"/>
                  <a:gd name="T99" fmla="*/ 158 h 268"/>
                  <a:gd name="T100" fmla="*/ 0 w 318"/>
                  <a:gd name="T101" fmla="*/ 164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8" h="268">
                    <a:moveTo>
                      <a:pt x="0" y="164"/>
                    </a:moveTo>
                    <a:lnTo>
                      <a:pt x="8" y="170"/>
                    </a:lnTo>
                    <a:lnTo>
                      <a:pt x="14" y="170"/>
                    </a:lnTo>
                    <a:lnTo>
                      <a:pt x="22" y="178"/>
                    </a:lnTo>
                    <a:lnTo>
                      <a:pt x="28" y="184"/>
                    </a:lnTo>
                    <a:lnTo>
                      <a:pt x="34" y="192"/>
                    </a:lnTo>
                    <a:lnTo>
                      <a:pt x="42" y="192"/>
                    </a:lnTo>
                    <a:lnTo>
                      <a:pt x="50" y="192"/>
                    </a:lnTo>
                    <a:lnTo>
                      <a:pt x="50" y="198"/>
                    </a:lnTo>
                    <a:lnTo>
                      <a:pt x="50" y="206"/>
                    </a:lnTo>
                    <a:lnTo>
                      <a:pt x="50" y="212"/>
                    </a:lnTo>
                    <a:lnTo>
                      <a:pt x="50" y="218"/>
                    </a:lnTo>
                    <a:lnTo>
                      <a:pt x="56" y="226"/>
                    </a:lnTo>
                    <a:lnTo>
                      <a:pt x="70" y="240"/>
                    </a:lnTo>
                    <a:lnTo>
                      <a:pt x="76" y="240"/>
                    </a:lnTo>
                    <a:lnTo>
                      <a:pt x="84" y="240"/>
                    </a:lnTo>
                    <a:lnTo>
                      <a:pt x="84" y="248"/>
                    </a:lnTo>
                    <a:lnTo>
                      <a:pt x="84" y="254"/>
                    </a:lnTo>
                    <a:lnTo>
                      <a:pt x="96" y="260"/>
                    </a:lnTo>
                    <a:lnTo>
                      <a:pt x="104" y="268"/>
                    </a:lnTo>
                    <a:lnTo>
                      <a:pt x="104" y="260"/>
                    </a:lnTo>
                    <a:lnTo>
                      <a:pt x="112" y="254"/>
                    </a:lnTo>
                    <a:lnTo>
                      <a:pt x="112" y="260"/>
                    </a:lnTo>
                    <a:lnTo>
                      <a:pt x="118" y="260"/>
                    </a:lnTo>
                    <a:lnTo>
                      <a:pt x="132" y="254"/>
                    </a:lnTo>
                    <a:lnTo>
                      <a:pt x="138" y="254"/>
                    </a:lnTo>
                    <a:lnTo>
                      <a:pt x="154" y="260"/>
                    </a:lnTo>
                    <a:lnTo>
                      <a:pt x="160" y="254"/>
                    </a:lnTo>
                    <a:lnTo>
                      <a:pt x="166" y="260"/>
                    </a:lnTo>
                    <a:lnTo>
                      <a:pt x="180" y="260"/>
                    </a:lnTo>
                    <a:lnTo>
                      <a:pt x="180" y="268"/>
                    </a:lnTo>
                    <a:lnTo>
                      <a:pt x="194" y="260"/>
                    </a:lnTo>
                    <a:lnTo>
                      <a:pt x="202" y="254"/>
                    </a:lnTo>
                    <a:lnTo>
                      <a:pt x="216" y="260"/>
                    </a:lnTo>
                    <a:lnTo>
                      <a:pt x="222" y="260"/>
                    </a:lnTo>
                    <a:lnTo>
                      <a:pt x="228" y="254"/>
                    </a:lnTo>
                    <a:lnTo>
                      <a:pt x="236" y="260"/>
                    </a:lnTo>
                    <a:lnTo>
                      <a:pt x="236" y="268"/>
                    </a:lnTo>
                    <a:lnTo>
                      <a:pt x="242" y="260"/>
                    </a:lnTo>
                    <a:lnTo>
                      <a:pt x="250" y="260"/>
                    </a:lnTo>
                    <a:lnTo>
                      <a:pt x="264" y="254"/>
                    </a:lnTo>
                    <a:lnTo>
                      <a:pt x="270" y="240"/>
                    </a:lnTo>
                    <a:lnTo>
                      <a:pt x="278" y="248"/>
                    </a:lnTo>
                    <a:lnTo>
                      <a:pt x="284" y="248"/>
                    </a:lnTo>
                    <a:lnTo>
                      <a:pt x="298" y="248"/>
                    </a:lnTo>
                    <a:lnTo>
                      <a:pt x="298" y="234"/>
                    </a:lnTo>
                    <a:lnTo>
                      <a:pt x="306" y="226"/>
                    </a:lnTo>
                    <a:lnTo>
                      <a:pt x="312" y="226"/>
                    </a:lnTo>
                    <a:lnTo>
                      <a:pt x="312" y="218"/>
                    </a:lnTo>
                    <a:lnTo>
                      <a:pt x="312" y="212"/>
                    </a:lnTo>
                    <a:lnTo>
                      <a:pt x="318" y="206"/>
                    </a:lnTo>
                    <a:lnTo>
                      <a:pt x="318" y="198"/>
                    </a:lnTo>
                    <a:lnTo>
                      <a:pt x="312" y="192"/>
                    </a:lnTo>
                    <a:lnTo>
                      <a:pt x="312" y="184"/>
                    </a:lnTo>
                    <a:lnTo>
                      <a:pt x="312" y="178"/>
                    </a:lnTo>
                    <a:lnTo>
                      <a:pt x="298" y="178"/>
                    </a:lnTo>
                    <a:lnTo>
                      <a:pt x="298" y="170"/>
                    </a:lnTo>
                    <a:lnTo>
                      <a:pt x="306" y="164"/>
                    </a:lnTo>
                    <a:lnTo>
                      <a:pt x="312" y="170"/>
                    </a:lnTo>
                    <a:lnTo>
                      <a:pt x="312" y="164"/>
                    </a:lnTo>
                    <a:lnTo>
                      <a:pt x="306" y="158"/>
                    </a:lnTo>
                    <a:lnTo>
                      <a:pt x="306" y="150"/>
                    </a:lnTo>
                    <a:lnTo>
                      <a:pt x="306" y="144"/>
                    </a:lnTo>
                    <a:lnTo>
                      <a:pt x="318" y="136"/>
                    </a:lnTo>
                    <a:lnTo>
                      <a:pt x="318" y="130"/>
                    </a:lnTo>
                    <a:lnTo>
                      <a:pt x="312" y="136"/>
                    </a:lnTo>
                    <a:lnTo>
                      <a:pt x="298" y="136"/>
                    </a:lnTo>
                    <a:lnTo>
                      <a:pt x="298" y="130"/>
                    </a:lnTo>
                    <a:lnTo>
                      <a:pt x="298" y="122"/>
                    </a:lnTo>
                    <a:lnTo>
                      <a:pt x="306" y="116"/>
                    </a:lnTo>
                    <a:lnTo>
                      <a:pt x="306" y="110"/>
                    </a:lnTo>
                    <a:lnTo>
                      <a:pt x="306" y="102"/>
                    </a:lnTo>
                    <a:lnTo>
                      <a:pt x="306" y="110"/>
                    </a:lnTo>
                    <a:lnTo>
                      <a:pt x="292" y="102"/>
                    </a:lnTo>
                    <a:lnTo>
                      <a:pt x="292" y="110"/>
                    </a:lnTo>
                    <a:lnTo>
                      <a:pt x="284" y="116"/>
                    </a:lnTo>
                    <a:lnTo>
                      <a:pt x="278" y="122"/>
                    </a:lnTo>
                    <a:lnTo>
                      <a:pt x="270" y="122"/>
                    </a:lnTo>
                    <a:lnTo>
                      <a:pt x="264" y="116"/>
                    </a:lnTo>
                    <a:lnTo>
                      <a:pt x="264" y="110"/>
                    </a:lnTo>
                    <a:lnTo>
                      <a:pt x="250" y="116"/>
                    </a:lnTo>
                    <a:lnTo>
                      <a:pt x="236" y="122"/>
                    </a:lnTo>
                    <a:lnTo>
                      <a:pt x="228" y="122"/>
                    </a:lnTo>
                    <a:lnTo>
                      <a:pt x="236" y="102"/>
                    </a:lnTo>
                    <a:lnTo>
                      <a:pt x="228" y="96"/>
                    </a:lnTo>
                    <a:lnTo>
                      <a:pt x="228" y="102"/>
                    </a:lnTo>
                    <a:lnTo>
                      <a:pt x="222" y="116"/>
                    </a:lnTo>
                    <a:lnTo>
                      <a:pt x="222" y="122"/>
                    </a:lnTo>
                    <a:lnTo>
                      <a:pt x="216" y="130"/>
                    </a:lnTo>
                    <a:lnTo>
                      <a:pt x="208" y="122"/>
                    </a:lnTo>
                    <a:lnTo>
                      <a:pt x="208" y="110"/>
                    </a:lnTo>
                    <a:lnTo>
                      <a:pt x="216" y="102"/>
                    </a:lnTo>
                    <a:lnTo>
                      <a:pt x="216" y="88"/>
                    </a:lnTo>
                    <a:lnTo>
                      <a:pt x="208" y="82"/>
                    </a:lnTo>
                    <a:lnTo>
                      <a:pt x="202" y="88"/>
                    </a:lnTo>
                    <a:lnTo>
                      <a:pt x="194" y="82"/>
                    </a:lnTo>
                    <a:lnTo>
                      <a:pt x="194" y="88"/>
                    </a:lnTo>
                    <a:lnTo>
                      <a:pt x="188" y="96"/>
                    </a:lnTo>
                    <a:lnTo>
                      <a:pt x="180" y="102"/>
                    </a:lnTo>
                    <a:lnTo>
                      <a:pt x="174" y="102"/>
                    </a:lnTo>
                    <a:lnTo>
                      <a:pt x="174" y="96"/>
                    </a:lnTo>
                    <a:lnTo>
                      <a:pt x="174" y="88"/>
                    </a:lnTo>
                    <a:lnTo>
                      <a:pt x="174" y="74"/>
                    </a:lnTo>
                    <a:lnTo>
                      <a:pt x="166" y="68"/>
                    </a:lnTo>
                    <a:lnTo>
                      <a:pt x="160" y="82"/>
                    </a:lnTo>
                    <a:lnTo>
                      <a:pt x="154" y="96"/>
                    </a:lnTo>
                    <a:lnTo>
                      <a:pt x="146" y="96"/>
                    </a:lnTo>
                    <a:lnTo>
                      <a:pt x="146" y="88"/>
                    </a:lnTo>
                    <a:lnTo>
                      <a:pt x="138" y="88"/>
                    </a:lnTo>
                    <a:lnTo>
                      <a:pt x="132" y="88"/>
                    </a:lnTo>
                    <a:lnTo>
                      <a:pt x="118" y="110"/>
                    </a:lnTo>
                    <a:lnTo>
                      <a:pt x="118" y="102"/>
                    </a:lnTo>
                    <a:lnTo>
                      <a:pt x="112" y="102"/>
                    </a:lnTo>
                    <a:lnTo>
                      <a:pt x="112" y="96"/>
                    </a:lnTo>
                    <a:lnTo>
                      <a:pt x="118" y="88"/>
                    </a:lnTo>
                    <a:lnTo>
                      <a:pt x="118" y="82"/>
                    </a:lnTo>
                    <a:lnTo>
                      <a:pt x="118" y="74"/>
                    </a:lnTo>
                    <a:lnTo>
                      <a:pt x="118" y="60"/>
                    </a:lnTo>
                    <a:lnTo>
                      <a:pt x="126" y="60"/>
                    </a:lnTo>
                    <a:lnTo>
                      <a:pt x="132" y="60"/>
                    </a:lnTo>
                    <a:lnTo>
                      <a:pt x="138" y="46"/>
                    </a:lnTo>
                    <a:lnTo>
                      <a:pt x="132" y="46"/>
                    </a:lnTo>
                    <a:lnTo>
                      <a:pt x="132" y="40"/>
                    </a:lnTo>
                    <a:lnTo>
                      <a:pt x="138" y="34"/>
                    </a:lnTo>
                    <a:lnTo>
                      <a:pt x="138" y="26"/>
                    </a:lnTo>
                    <a:lnTo>
                      <a:pt x="138" y="12"/>
                    </a:lnTo>
                    <a:lnTo>
                      <a:pt x="126" y="0"/>
                    </a:lnTo>
                    <a:lnTo>
                      <a:pt x="112" y="0"/>
                    </a:lnTo>
                    <a:lnTo>
                      <a:pt x="118" y="6"/>
                    </a:lnTo>
                    <a:lnTo>
                      <a:pt x="126" y="20"/>
                    </a:lnTo>
                    <a:lnTo>
                      <a:pt x="118" y="20"/>
                    </a:lnTo>
                    <a:lnTo>
                      <a:pt x="118" y="26"/>
                    </a:lnTo>
                    <a:lnTo>
                      <a:pt x="118" y="34"/>
                    </a:lnTo>
                    <a:lnTo>
                      <a:pt x="118" y="40"/>
                    </a:lnTo>
                    <a:lnTo>
                      <a:pt x="112" y="46"/>
                    </a:lnTo>
                    <a:lnTo>
                      <a:pt x="104" y="40"/>
                    </a:lnTo>
                    <a:lnTo>
                      <a:pt x="104" y="26"/>
                    </a:lnTo>
                    <a:lnTo>
                      <a:pt x="96" y="34"/>
                    </a:lnTo>
                    <a:lnTo>
                      <a:pt x="96" y="20"/>
                    </a:lnTo>
                    <a:lnTo>
                      <a:pt x="96" y="6"/>
                    </a:lnTo>
                    <a:lnTo>
                      <a:pt x="96" y="12"/>
                    </a:lnTo>
                    <a:lnTo>
                      <a:pt x="90" y="12"/>
                    </a:lnTo>
                    <a:lnTo>
                      <a:pt x="84" y="6"/>
                    </a:lnTo>
                    <a:lnTo>
                      <a:pt x="84" y="26"/>
                    </a:lnTo>
                    <a:lnTo>
                      <a:pt x="70" y="20"/>
                    </a:lnTo>
                    <a:lnTo>
                      <a:pt x="76" y="26"/>
                    </a:lnTo>
                    <a:lnTo>
                      <a:pt x="84" y="34"/>
                    </a:lnTo>
                    <a:lnTo>
                      <a:pt x="70" y="40"/>
                    </a:lnTo>
                    <a:lnTo>
                      <a:pt x="64" y="40"/>
                    </a:lnTo>
                    <a:lnTo>
                      <a:pt x="64" y="34"/>
                    </a:lnTo>
                    <a:lnTo>
                      <a:pt x="64" y="26"/>
                    </a:lnTo>
                    <a:lnTo>
                      <a:pt x="56" y="20"/>
                    </a:lnTo>
                    <a:lnTo>
                      <a:pt x="56" y="26"/>
                    </a:lnTo>
                    <a:lnTo>
                      <a:pt x="56" y="34"/>
                    </a:lnTo>
                    <a:lnTo>
                      <a:pt x="50" y="34"/>
                    </a:lnTo>
                    <a:lnTo>
                      <a:pt x="50" y="26"/>
                    </a:lnTo>
                    <a:lnTo>
                      <a:pt x="42" y="34"/>
                    </a:lnTo>
                    <a:lnTo>
                      <a:pt x="42" y="40"/>
                    </a:lnTo>
                    <a:lnTo>
                      <a:pt x="50" y="40"/>
                    </a:lnTo>
                    <a:lnTo>
                      <a:pt x="56" y="40"/>
                    </a:lnTo>
                    <a:lnTo>
                      <a:pt x="64" y="46"/>
                    </a:lnTo>
                    <a:lnTo>
                      <a:pt x="76" y="46"/>
                    </a:lnTo>
                    <a:lnTo>
                      <a:pt x="84" y="54"/>
                    </a:lnTo>
                    <a:lnTo>
                      <a:pt x="90" y="60"/>
                    </a:lnTo>
                    <a:lnTo>
                      <a:pt x="90" y="68"/>
                    </a:lnTo>
                    <a:lnTo>
                      <a:pt x="96" y="68"/>
                    </a:lnTo>
                    <a:lnTo>
                      <a:pt x="104" y="68"/>
                    </a:lnTo>
                    <a:lnTo>
                      <a:pt x="104" y="82"/>
                    </a:lnTo>
                    <a:lnTo>
                      <a:pt x="96" y="82"/>
                    </a:lnTo>
                    <a:lnTo>
                      <a:pt x="84" y="74"/>
                    </a:lnTo>
                    <a:lnTo>
                      <a:pt x="70" y="74"/>
                    </a:lnTo>
                    <a:lnTo>
                      <a:pt x="76" y="82"/>
                    </a:lnTo>
                    <a:lnTo>
                      <a:pt x="84" y="88"/>
                    </a:lnTo>
                    <a:lnTo>
                      <a:pt x="90" y="96"/>
                    </a:lnTo>
                    <a:lnTo>
                      <a:pt x="84" y="102"/>
                    </a:lnTo>
                    <a:lnTo>
                      <a:pt x="76" y="102"/>
                    </a:lnTo>
                    <a:lnTo>
                      <a:pt x="70" y="96"/>
                    </a:lnTo>
                    <a:lnTo>
                      <a:pt x="64" y="88"/>
                    </a:lnTo>
                    <a:lnTo>
                      <a:pt x="56" y="88"/>
                    </a:lnTo>
                    <a:lnTo>
                      <a:pt x="42" y="82"/>
                    </a:lnTo>
                    <a:lnTo>
                      <a:pt x="28" y="74"/>
                    </a:lnTo>
                    <a:lnTo>
                      <a:pt x="14" y="82"/>
                    </a:lnTo>
                    <a:lnTo>
                      <a:pt x="14" y="88"/>
                    </a:lnTo>
                    <a:lnTo>
                      <a:pt x="28" y="88"/>
                    </a:lnTo>
                    <a:lnTo>
                      <a:pt x="42" y="88"/>
                    </a:lnTo>
                    <a:lnTo>
                      <a:pt x="50" y="96"/>
                    </a:lnTo>
                    <a:lnTo>
                      <a:pt x="50" y="102"/>
                    </a:lnTo>
                    <a:lnTo>
                      <a:pt x="56" y="102"/>
                    </a:lnTo>
                    <a:lnTo>
                      <a:pt x="56" y="110"/>
                    </a:lnTo>
                    <a:lnTo>
                      <a:pt x="56" y="116"/>
                    </a:lnTo>
                    <a:lnTo>
                      <a:pt x="50" y="122"/>
                    </a:lnTo>
                    <a:lnTo>
                      <a:pt x="50" y="136"/>
                    </a:lnTo>
                    <a:lnTo>
                      <a:pt x="56" y="130"/>
                    </a:lnTo>
                    <a:lnTo>
                      <a:pt x="56" y="136"/>
                    </a:lnTo>
                    <a:lnTo>
                      <a:pt x="50" y="144"/>
                    </a:lnTo>
                    <a:lnTo>
                      <a:pt x="42" y="150"/>
                    </a:lnTo>
                    <a:lnTo>
                      <a:pt x="34" y="150"/>
                    </a:lnTo>
                    <a:lnTo>
                      <a:pt x="28" y="150"/>
                    </a:lnTo>
                    <a:lnTo>
                      <a:pt x="22" y="150"/>
                    </a:lnTo>
                    <a:lnTo>
                      <a:pt x="14" y="158"/>
                    </a:lnTo>
                    <a:lnTo>
                      <a:pt x="8" y="150"/>
                    </a:lnTo>
                    <a:lnTo>
                      <a:pt x="0" y="164"/>
                    </a:lnTo>
                    <a:lnTo>
                      <a:pt x="0" y="164"/>
                    </a:lnTo>
                    <a:lnTo>
                      <a:pt x="0" y="164"/>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4" name="Freeform 28"/>
              <p:cNvSpPr>
                <a:spLocks/>
              </p:cNvSpPr>
              <p:nvPr>
                <p:custDataLst>
                  <p:tags r:id="rId132"/>
                </p:custDataLst>
              </p:nvPr>
            </p:nvSpPr>
            <p:spPr bwMode="gray">
              <a:xfrm>
                <a:off x="3039182" y="2336417"/>
                <a:ext cx="406490" cy="381084"/>
              </a:xfrm>
              <a:custGeom>
                <a:avLst/>
                <a:gdLst>
                  <a:gd name="T0" fmla="*/ 250 w 256"/>
                  <a:gd name="T1" fmla="*/ 118 h 240"/>
                  <a:gd name="T2" fmla="*/ 242 w 256"/>
                  <a:gd name="T3" fmla="*/ 132 h 240"/>
                  <a:gd name="T4" fmla="*/ 236 w 256"/>
                  <a:gd name="T5" fmla="*/ 158 h 240"/>
                  <a:gd name="T6" fmla="*/ 228 w 256"/>
                  <a:gd name="T7" fmla="*/ 180 h 240"/>
                  <a:gd name="T8" fmla="*/ 228 w 256"/>
                  <a:gd name="T9" fmla="*/ 200 h 240"/>
                  <a:gd name="T10" fmla="*/ 214 w 256"/>
                  <a:gd name="T11" fmla="*/ 214 h 240"/>
                  <a:gd name="T12" fmla="*/ 202 w 256"/>
                  <a:gd name="T13" fmla="*/ 228 h 240"/>
                  <a:gd name="T14" fmla="*/ 166 w 256"/>
                  <a:gd name="T15" fmla="*/ 228 h 240"/>
                  <a:gd name="T16" fmla="*/ 132 w 256"/>
                  <a:gd name="T17" fmla="*/ 228 h 240"/>
                  <a:gd name="T18" fmla="*/ 118 w 256"/>
                  <a:gd name="T19" fmla="*/ 228 h 240"/>
                  <a:gd name="T20" fmla="*/ 104 w 256"/>
                  <a:gd name="T21" fmla="*/ 240 h 240"/>
                  <a:gd name="T22" fmla="*/ 76 w 256"/>
                  <a:gd name="T23" fmla="*/ 240 h 240"/>
                  <a:gd name="T24" fmla="*/ 48 w 256"/>
                  <a:gd name="T25" fmla="*/ 234 h 240"/>
                  <a:gd name="T26" fmla="*/ 34 w 256"/>
                  <a:gd name="T27" fmla="*/ 228 h 240"/>
                  <a:gd name="T28" fmla="*/ 34 w 256"/>
                  <a:gd name="T29" fmla="*/ 228 h 240"/>
                  <a:gd name="T30" fmla="*/ 20 w 256"/>
                  <a:gd name="T31" fmla="*/ 220 h 240"/>
                  <a:gd name="T32" fmla="*/ 20 w 256"/>
                  <a:gd name="T33" fmla="*/ 206 h 240"/>
                  <a:gd name="T34" fmla="*/ 28 w 256"/>
                  <a:gd name="T35" fmla="*/ 206 h 240"/>
                  <a:gd name="T36" fmla="*/ 6 w 256"/>
                  <a:gd name="T37" fmla="*/ 206 h 240"/>
                  <a:gd name="T38" fmla="*/ 14 w 256"/>
                  <a:gd name="T39" fmla="*/ 186 h 240"/>
                  <a:gd name="T40" fmla="*/ 34 w 256"/>
                  <a:gd name="T41" fmla="*/ 186 h 240"/>
                  <a:gd name="T42" fmla="*/ 6 w 256"/>
                  <a:gd name="T43" fmla="*/ 180 h 240"/>
                  <a:gd name="T44" fmla="*/ 20 w 256"/>
                  <a:gd name="T45" fmla="*/ 166 h 240"/>
                  <a:gd name="T46" fmla="*/ 54 w 256"/>
                  <a:gd name="T47" fmla="*/ 158 h 240"/>
                  <a:gd name="T48" fmla="*/ 82 w 256"/>
                  <a:gd name="T49" fmla="*/ 166 h 240"/>
                  <a:gd name="T50" fmla="*/ 76 w 256"/>
                  <a:gd name="T51" fmla="*/ 158 h 240"/>
                  <a:gd name="T52" fmla="*/ 48 w 256"/>
                  <a:gd name="T53" fmla="*/ 158 h 240"/>
                  <a:gd name="T54" fmla="*/ 68 w 256"/>
                  <a:gd name="T55" fmla="*/ 138 h 240"/>
                  <a:gd name="T56" fmla="*/ 104 w 256"/>
                  <a:gd name="T57" fmla="*/ 124 h 240"/>
                  <a:gd name="T58" fmla="*/ 82 w 256"/>
                  <a:gd name="T59" fmla="*/ 118 h 240"/>
                  <a:gd name="T60" fmla="*/ 68 w 256"/>
                  <a:gd name="T61" fmla="*/ 110 h 240"/>
                  <a:gd name="T62" fmla="*/ 68 w 256"/>
                  <a:gd name="T63" fmla="*/ 82 h 240"/>
                  <a:gd name="T64" fmla="*/ 90 w 256"/>
                  <a:gd name="T65" fmla="*/ 68 h 240"/>
                  <a:gd name="T66" fmla="*/ 90 w 256"/>
                  <a:gd name="T67" fmla="*/ 62 h 240"/>
                  <a:gd name="T68" fmla="*/ 90 w 256"/>
                  <a:gd name="T69" fmla="*/ 48 h 240"/>
                  <a:gd name="T70" fmla="*/ 118 w 256"/>
                  <a:gd name="T71" fmla="*/ 42 h 240"/>
                  <a:gd name="T72" fmla="*/ 138 w 256"/>
                  <a:gd name="T73" fmla="*/ 62 h 240"/>
                  <a:gd name="T74" fmla="*/ 160 w 256"/>
                  <a:gd name="T75" fmla="*/ 56 h 240"/>
                  <a:gd name="T76" fmla="*/ 180 w 256"/>
                  <a:gd name="T77" fmla="*/ 42 h 240"/>
                  <a:gd name="T78" fmla="*/ 152 w 256"/>
                  <a:gd name="T79" fmla="*/ 28 h 240"/>
                  <a:gd name="T80" fmla="*/ 186 w 256"/>
                  <a:gd name="T81" fmla="*/ 14 h 240"/>
                  <a:gd name="T82" fmla="*/ 202 w 256"/>
                  <a:gd name="T83" fmla="*/ 8 h 240"/>
                  <a:gd name="T84" fmla="*/ 228 w 256"/>
                  <a:gd name="T85" fmla="*/ 8 h 240"/>
                  <a:gd name="T86" fmla="*/ 242 w 256"/>
                  <a:gd name="T87" fmla="*/ 0 h 240"/>
                  <a:gd name="T88" fmla="*/ 250 w 256"/>
                  <a:gd name="T89" fmla="*/ 22 h 240"/>
                  <a:gd name="T90" fmla="*/ 242 w 256"/>
                  <a:gd name="T91" fmla="*/ 28 h 240"/>
                  <a:gd name="T92" fmla="*/ 214 w 256"/>
                  <a:gd name="T93" fmla="*/ 34 h 240"/>
                  <a:gd name="T94" fmla="*/ 202 w 256"/>
                  <a:gd name="T95" fmla="*/ 56 h 240"/>
                  <a:gd name="T96" fmla="*/ 186 w 256"/>
                  <a:gd name="T97" fmla="*/ 56 h 240"/>
                  <a:gd name="T98" fmla="*/ 194 w 256"/>
                  <a:gd name="T99" fmla="*/ 76 h 240"/>
                  <a:gd name="T100" fmla="*/ 214 w 256"/>
                  <a:gd name="T101" fmla="*/ 82 h 240"/>
                  <a:gd name="T102" fmla="*/ 242 w 256"/>
                  <a:gd name="T103" fmla="*/ 90 h 240"/>
                  <a:gd name="T104" fmla="*/ 256 w 256"/>
                  <a:gd name="T105" fmla="*/ 11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6" h="240">
                    <a:moveTo>
                      <a:pt x="256" y="118"/>
                    </a:moveTo>
                    <a:lnTo>
                      <a:pt x="250" y="124"/>
                    </a:lnTo>
                    <a:lnTo>
                      <a:pt x="250" y="118"/>
                    </a:lnTo>
                    <a:lnTo>
                      <a:pt x="242" y="118"/>
                    </a:lnTo>
                    <a:lnTo>
                      <a:pt x="250" y="124"/>
                    </a:lnTo>
                    <a:lnTo>
                      <a:pt x="242" y="132"/>
                    </a:lnTo>
                    <a:lnTo>
                      <a:pt x="242" y="138"/>
                    </a:lnTo>
                    <a:lnTo>
                      <a:pt x="242" y="152"/>
                    </a:lnTo>
                    <a:lnTo>
                      <a:pt x="236" y="158"/>
                    </a:lnTo>
                    <a:lnTo>
                      <a:pt x="236" y="166"/>
                    </a:lnTo>
                    <a:lnTo>
                      <a:pt x="236" y="172"/>
                    </a:lnTo>
                    <a:lnTo>
                      <a:pt x="228" y="180"/>
                    </a:lnTo>
                    <a:lnTo>
                      <a:pt x="228" y="186"/>
                    </a:lnTo>
                    <a:lnTo>
                      <a:pt x="228" y="192"/>
                    </a:lnTo>
                    <a:lnTo>
                      <a:pt x="228" y="200"/>
                    </a:lnTo>
                    <a:lnTo>
                      <a:pt x="222" y="200"/>
                    </a:lnTo>
                    <a:lnTo>
                      <a:pt x="222" y="206"/>
                    </a:lnTo>
                    <a:lnTo>
                      <a:pt x="214" y="214"/>
                    </a:lnTo>
                    <a:lnTo>
                      <a:pt x="208" y="214"/>
                    </a:lnTo>
                    <a:lnTo>
                      <a:pt x="208" y="220"/>
                    </a:lnTo>
                    <a:lnTo>
                      <a:pt x="202" y="228"/>
                    </a:lnTo>
                    <a:lnTo>
                      <a:pt x="186" y="234"/>
                    </a:lnTo>
                    <a:lnTo>
                      <a:pt x="180" y="228"/>
                    </a:lnTo>
                    <a:lnTo>
                      <a:pt x="166" y="228"/>
                    </a:lnTo>
                    <a:lnTo>
                      <a:pt x="152" y="228"/>
                    </a:lnTo>
                    <a:lnTo>
                      <a:pt x="138" y="228"/>
                    </a:lnTo>
                    <a:lnTo>
                      <a:pt x="132" y="228"/>
                    </a:lnTo>
                    <a:lnTo>
                      <a:pt x="124" y="234"/>
                    </a:lnTo>
                    <a:lnTo>
                      <a:pt x="118" y="234"/>
                    </a:lnTo>
                    <a:lnTo>
                      <a:pt x="118" y="228"/>
                    </a:lnTo>
                    <a:lnTo>
                      <a:pt x="110" y="234"/>
                    </a:lnTo>
                    <a:lnTo>
                      <a:pt x="104" y="234"/>
                    </a:lnTo>
                    <a:lnTo>
                      <a:pt x="104" y="240"/>
                    </a:lnTo>
                    <a:lnTo>
                      <a:pt x="90" y="240"/>
                    </a:lnTo>
                    <a:lnTo>
                      <a:pt x="82" y="234"/>
                    </a:lnTo>
                    <a:lnTo>
                      <a:pt x="76" y="240"/>
                    </a:lnTo>
                    <a:lnTo>
                      <a:pt x="62" y="240"/>
                    </a:lnTo>
                    <a:lnTo>
                      <a:pt x="54" y="234"/>
                    </a:lnTo>
                    <a:lnTo>
                      <a:pt x="48" y="234"/>
                    </a:lnTo>
                    <a:lnTo>
                      <a:pt x="34" y="240"/>
                    </a:lnTo>
                    <a:lnTo>
                      <a:pt x="34" y="234"/>
                    </a:lnTo>
                    <a:lnTo>
                      <a:pt x="34" y="228"/>
                    </a:lnTo>
                    <a:lnTo>
                      <a:pt x="14" y="234"/>
                    </a:lnTo>
                    <a:lnTo>
                      <a:pt x="20" y="234"/>
                    </a:lnTo>
                    <a:lnTo>
                      <a:pt x="34" y="228"/>
                    </a:lnTo>
                    <a:lnTo>
                      <a:pt x="14" y="228"/>
                    </a:lnTo>
                    <a:lnTo>
                      <a:pt x="28" y="220"/>
                    </a:lnTo>
                    <a:lnTo>
                      <a:pt x="20" y="220"/>
                    </a:lnTo>
                    <a:lnTo>
                      <a:pt x="14" y="220"/>
                    </a:lnTo>
                    <a:lnTo>
                      <a:pt x="14" y="214"/>
                    </a:lnTo>
                    <a:lnTo>
                      <a:pt x="20" y="206"/>
                    </a:lnTo>
                    <a:lnTo>
                      <a:pt x="28" y="206"/>
                    </a:lnTo>
                    <a:lnTo>
                      <a:pt x="34" y="206"/>
                    </a:lnTo>
                    <a:lnTo>
                      <a:pt x="28" y="206"/>
                    </a:lnTo>
                    <a:lnTo>
                      <a:pt x="20" y="206"/>
                    </a:lnTo>
                    <a:lnTo>
                      <a:pt x="14" y="200"/>
                    </a:lnTo>
                    <a:lnTo>
                      <a:pt x="6" y="206"/>
                    </a:lnTo>
                    <a:lnTo>
                      <a:pt x="0" y="200"/>
                    </a:lnTo>
                    <a:lnTo>
                      <a:pt x="6" y="192"/>
                    </a:lnTo>
                    <a:lnTo>
                      <a:pt x="14" y="186"/>
                    </a:lnTo>
                    <a:lnTo>
                      <a:pt x="20" y="186"/>
                    </a:lnTo>
                    <a:lnTo>
                      <a:pt x="28" y="186"/>
                    </a:lnTo>
                    <a:lnTo>
                      <a:pt x="34" y="186"/>
                    </a:lnTo>
                    <a:lnTo>
                      <a:pt x="28" y="180"/>
                    </a:lnTo>
                    <a:lnTo>
                      <a:pt x="14" y="180"/>
                    </a:lnTo>
                    <a:lnTo>
                      <a:pt x="6" y="180"/>
                    </a:lnTo>
                    <a:lnTo>
                      <a:pt x="6" y="172"/>
                    </a:lnTo>
                    <a:lnTo>
                      <a:pt x="14" y="166"/>
                    </a:lnTo>
                    <a:lnTo>
                      <a:pt x="20" y="166"/>
                    </a:lnTo>
                    <a:lnTo>
                      <a:pt x="40" y="166"/>
                    </a:lnTo>
                    <a:lnTo>
                      <a:pt x="40" y="158"/>
                    </a:lnTo>
                    <a:lnTo>
                      <a:pt x="54" y="158"/>
                    </a:lnTo>
                    <a:lnTo>
                      <a:pt x="62" y="158"/>
                    </a:lnTo>
                    <a:lnTo>
                      <a:pt x="68" y="166"/>
                    </a:lnTo>
                    <a:lnTo>
                      <a:pt x="82" y="166"/>
                    </a:lnTo>
                    <a:lnTo>
                      <a:pt x="90" y="166"/>
                    </a:lnTo>
                    <a:lnTo>
                      <a:pt x="82" y="158"/>
                    </a:lnTo>
                    <a:lnTo>
                      <a:pt x="76" y="158"/>
                    </a:lnTo>
                    <a:lnTo>
                      <a:pt x="68" y="158"/>
                    </a:lnTo>
                    <a:lnTo>
                      <a:pt x="62" y="152"/>
                    </a:lnTo>
                    <a:lnTo>
                      <a:pt x="48" y="158"/>
                    </a:lnTo>
                    <a:lnTo>
                      <a:pt x="40" y="152"/>
                    </a:lnTo>
                    <a:lnTo>
                      <a:pt x="54" y="152"/>
                    </a:lnTo>
                    <a:lnTo>
                      <a:pt x="68" y="138"/>
                    </a:lnTo>
                    <a:lnTo>
                      <a:pt x="90" y="132"/>
                    </a:lnTo>
                    <a:lnTo>
                      <a:pt x="96" y="132"/>
                    </a:lnTo>
                    <a:lnTo>
                      <a:pt x="104" y="124"/>
                    </a:lnTo>
                    <a:lnTo>
                      <a:pt x="104" y="118"/>
                    </a:lnTo>
                    <a:lnTo>
                      <a:pt x="96" y="118"/>
                    </a:lnTo>
                    <a:lnTo>
                      <a:pt x="82" y="118"/>
                    </a:lnTo>
                    <a:lnTo>
                      <a:pt x="76" y="124"/>
                    </a:lnTo>
                    <a:lnTo>
                      <a:pt x="76" y="110"/>
                    </a:lnTo>
                    <a:lnTo>
                      <a:pt x="68" y="110"/>
                    </a:lnTo>
                    <a:lnTo>
                      <a:pt x="68" y="104"/>
                    </a:lnTo>
                    <a:lnTo>
                      <a:pt x="62" y="90"/>
                    </a:lnTo>
                    <a:lnTo>
                      <a:pt x="68" y="82"/>
                    </a:lnTo>
                    <a:lnTo>
                      <a:pt x="76" y="82"/>
                    </a:lnTo>
                    <a:lnTo>
                      <a:pt x="82" y="76"/>
                    </a:lnTo>
                    <a:lnTo>
                      <a:pt x="90" y="68"/>
                    </a:lnTo>
                    <a:lnTo>
                      <a:pt x="96" y="68"/>
                    </a:lnTo>
                    <a:lnTo>
                      <a:pt x="90" y="68"/>
                    </a:lnTo>
                    <a:lnTo>
                      <a:pt x="90" y="62"/>
                    </a:lnTo>
                    <a:lnTo>
                      <a:pt x="90" y="56"/>
                    </a:lnTo>
                    <a:lnTo>
                      <a:pt x="82" y="48"/>
                    </a:lnTo>
                    <a:lnTo>
                      <a:pt x="90" y="48"/>
                    </a:lnTo>
                    <a:lnTo>
                      <a:pt x="96" y="34"/>
                    </a:lnTo>
                    <a:lnTo>
                      <a:pt x="110" y="34"/>
                    </a:lnTo>
                    <a:lnTo>
                      <a:pt x="118" y="42"/>
                    </a:lnTo>
                    <a:lnTo>
                      <a:pt x="124" y="48"/>
                    </a:lnTo>
                    <a:lnTo>
                      <a:pt x="124" y="56"/>
                    </a:lnTo>
                    <a:lnTo>
                      <a:pt x="138" y="62"/>
                    </a:lnTo>
                    <a:lnTo>
                      <a:pt x="144" y="68"/>
                    </a:lnTo>
                    <a:lnTo>
                      <a:pt x="160" y="62"/>
                    </a:lnTo>
                    <a:lnTo>
                      <a:pt x="160" y="56"/>
                    </a:lnTo>
                    <a:lnTo>
                      <a:pt x="160" y="48"/>
                    </a:lnTo>
                    <a:lnTo>
                      <a:pt x="174" y="48"/>
                    </a:lnTo>
                    <a:lnTo>
                      <a:pt x="180" y="42"/>
                    </a:lnTo>
                    <a:lnTo>
                      <a:pt x="174" y="42"/>
                    </a:lnTo>
                    <a:lnTo>
                      <a:pt x="160" y="34"/>
                    </a:lnTo>
                    <a:lnTo>
                      <a:pt x="152" y="28"/>
                    </a:lnTo>
                    <a:lnTo>
                      <a:pt x="174" y="22"/>
                    </a:lnTo>
                    <a:lnTo>
                      <a:pt x="180" y="14"/>
                    </a:lnTo>
                    <a:lnTo>
                      <a:pt x="186" y="14"/>
                    </a:lnTo>
                    <a:lnTo>
                      <a:pt x="180" y="14"/>
                    </a:lnTo>
                    <a:lnTo>
                      <a:pt x="186" y="8"/>
                    </a:lnTo>
                    <a:lnTo>
                      <a:pt x="202" y="8"/>
                    </a:lnTo>
                    <a:lnTo>
                      <a:pt x="208" y="0"/>
                    </a:lnTo>
                    <a:lnTo>
                      <a:pt x="222" y="8"/>
                    </a:lnTo>
                    <a:lnTo>
                      <a:pt x="228" y="8"/>
                    </a:lnTo>
                    <a:lnTo>
                      <a:pt x="236" y="8"/>
                    </a:lnTo>
                    <a:lnTo>
                      <a:pt x="242" y="8"/>
                    </a:lnTo>
                    <a:lnTo>
                      <a:pt x="242" y="0"/>
                    </a:lnTo>
                    <a:lnTo>
                      <a:pt x="250" y="8"/>
                    </a:lnTo>
                    <a:lnTo>
                      <a:pt x="256" y="14"/>
                    </a:lnTo>
                    <a:lnTo>
                      <a:pt x="250" y="22"/>
                    </a:lnTo>
                    <a:lnTo>
                      <a:pt x="242" y="22"/>
                    </a:lnTo>
                    <a:lnTo>
                      <a:pt x="236" y="22"/>
                    </a:lnTo>
                    <a:lnTo>
                      <a:pt x="242" y="28"/>
                    </a:lnTo>
                    <a:lnTo>
                      <a:pt x="236" y="28"/>
                    </a:lnTo>
                    <a:lnTo>
                      <a:pt x="222" y="28"/>
                    </a:lnTo>
                    <a:lnTo>
                      <a:pt x="214" y="34"/>
                    </a:lnTo>
                    <a:lnTo>
                      <a:pt x="208" y="42"/>
                    </a:lnTo>
                    <a:lnTo>
                      <a:pt x="208" y="48"/>
                    </a:lnTo>
                    <a:lnTo>
                      <a:pt x="202" y="56"/>
                    </a:lnTo>
                    <a:lnTo>
                      <a:pt x="194" y="48"/>
                    </a:lnTo>
                    <a:lnTo>
                      <a:pt x="186" y="48"/>
                    </a:lnTo>
                    <a:lnTo>
                      <a:pt x="186" y="56"/>
                    </a:lnTo>
                    <a:lnTo>
                      <a:pt x="180" y="62"/>
                    </a:lnTo>
                    <a:lnTo>
                      <a:pt x="186" y="68"/>
                    </a:lnTo>
                    <a:lnTo>
                      <a:pt x="194" y="76"/>
                    </a:lnTo>
                    <a:lnTo>
                      <a:pt x="202" y="82"/>
                    </a:lnTo>
                    <a:lnTo>
                      <a:pt x="208" y="90"/>
                    </a:lnTo>
                    <a:lnTo>
                      <a:pt x="214" y="82"/>
                    </a:lnTo>
                    <a:lnTo>
                      <a:pt x="222" y="82"/>
                    </a:lnTo>
                    <a:lnTo>
                      <a:pt x="228" y="82"/>
                    </a:lnTo>
                    <a:lnTo>
                      <a:pt x="242" y="90"/>
                    </a:lnTo>
                    <a:lnTo>
                      <a:pt x="242" y="96"/>
                    </a:lnTo>
                    <a:lnTo>
                      <a:pt x="250" y="104"/>
                    </a:lnTo>
                    <a:lnTo>
                      <a:pt x="256" y="118"/>
                    </a:lnTo>
                    <a:lnTo>
                      <a:pt x="256" y="118"/>
                    </a:lnTo>
                    <a:lnTo>
                      <a:pt x="256" y="118"/>
                    </a:lnTo>
                    <a:close/>
                  </a:path>
                </a:pathLst>
              </a:custGeom>
              <a:solidFill>
                <a:srgbClr val="D6D9DC"/>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5" name="Freeform 29"/>
              <p:cNvSpPr>
                <a:spLocks/>
              </p:cNvSpPr>
              <p:nvPr/>
            </p:nvSpPr>
            <p:spPr bwMode="gray">
              <a:xfrm>
                <a:off x="3321820" y="2371350"/>
                <a:ext cx="187367" cy="152434"/>
              </a:xfrm>
              <a:custGeom>
                <a:avLst/>
                <a:gdLst>
                  <a:gd name="T0" fmla="*/ 62 w 118"/>
                  <a:gd name="T1" fmla="*/ 6 h 96"/>
                  <a:gd name="T2" fmla="*/ 54 w 118"/>
                  <a:gd name="T3" fmla="*/ 6 h 96"/>
                  <a:gd name="T4" fmla="*/ 40 w 118"/>
                  <a:gd name="T5" fmla="*/ 6 h 96"/>
                  <a:gd name="T6" fmla="*/ 36 w 118"/>
                  <a:gd name="T7" fmla="*/ 14 h 96"/>
                  <a:gd name="T8" fmla="*/ 28 w 118"/>
                  <a:gd name="T9" fmla="*/ 20 h 96"/>
                  <a:gd name="T10" fmla="*/ 28 w 118"/>
                  <a:gd name="T11" fmla="*/ 28 h 96"/>
                  <a:gd name="T12" fmla="*/ 20 w 118"/>
                  <a:gd name="T13" fmla="*/ 34 h 96"/>
                  <a:gd name="T14" fmla="*/ 14 w 118"/>
                  <a:gd name="T15" fmla="*/ 28 h 96"/>
                  <a:gd name="T16" fmla="*/ 6 w 118"/>
                  <a:gd name="T17" fmla="*/ 28 h 96"/>
                  <a:gd name="T18" fmla="*/ 6 w 118"/>
                  <a:gd name="T19" fmla="*/ 34 h 96"/>
                  <a:gd name="T20" fmla="*/ 0 w 118"/>
                  <a:gd name="T21" fmla="*/ 40 h 96"/>
                  <a:gd name="T22" fmla="*/ 6 w 118"/>
                  <a:gd name="T23" fmla="*/ 48 h 96"/>
                  <a:gd name="T24" fmla="*/ 14 w 118"/>
                  <a:gd name="T25" fmla="*/ 54 h 96"/>
                  <a:gd name="T26" fmla="*/ 20 w 118"/>
                  <a:gd name="T27" fmla="*/ 62 h 96"/>
                  <a:gd name="T28" fmla="*/ 28 w 118"/>
                  <a:gd name="T29" fmla="*/ 68 h 96"/>
                  <a:gd name="T30" fmla="*/ 36 w 118"/>
                  <a:gd name="T31" fmla="*/ 62 h 96"/>
                  <a:gd name="T32" fmla="*/ 40 w 118"/>
                  <a:gd name="T33" fmla="*/ 62 h 96"/>
                  <a:gd name="T34" fmla="*/ 48 w 118"/>
                  <a:gd name="T35" fmla="*/ 62 h 96"/>
                  <a:gd name="T36" fmla="*/ 62 w 118"/>
                  <a:gd name="T37" fmla="*/ 68 h 96"/>
                  <a:gd name="T38" fmla="*/ 62 w 118"/>
                  <a:gd name="T39" fmla="*/ 76 h 96"/>
                  <a:gd name="T40" fmla="*/ 68 w 118"/>
                  <a:gd name="T41" fmla="*/ 82 h 96"/>
                  <a:gd name="T42" fmla="*/ 76 w 118"/>
                  <a:gd name="T43" fmla="*/ 96 h 96"/>
                  <a:gd name="T44" fmla="*/ 84 w 118"/>
                  <a:gd name="T45" fmla="*/ 88 h 96"/>
                  <a:gd name="T46" fmla="*/ 90 w 118"/>
                  <a:gd name="T47" fmla="*/ 82 h 96"/>
                  <a:gd name="T48" fmla="*/ 96 w 118"/>
                  <a:gd name="T49" fmla="*/ 82 h 96"/>
                  <a:gd name="T50" fmla="*/ 104 w 118"/>
                  <a:gd name="T51" fmla="*/ 82 h 96"/>
                  <a:gd name="T52" fmla="*/ 104 w 118"/>
                  <a:gd name="T53" fmla="*/ 68 h 96"/>
                  <a:gd name="T54" fmla="*/ 110 w 118"/>
                  <a:gd name="T55" fmla="*/ 62 h 96"/>
                  <a:gd name="T56" fmla="*/ 110 w 118"/>
                  <a:gd name="T57" fmla="*/ 68 h 96"/>
                  <a:gd name="T58" fmla="*/ 110 w 118"/>
                  <a:gd name="T59" fmla="*/ 76 h 96"/>
                  <a:gd name="T60" fmla="*/ 118 w 118"/>
                  <a:gd name="T61" fmla="*/ 76 h 96"/>
                  <a:gd name="T62" fmla="*/ 118 w 118"/>
                  <a:gd name="T63" fmla="*/ 68 h 96"/>
                  <a:gd name="T64" fmla="*/ 118 w 118"/>
                  <a:gd name="T65" fmla="*/ 62 h 96"/>
                  <a:gd name="T66" fmla="*/ 110 w 118"/>
                  <a:gd name="T67" fmla="*/ 54 h 96"/>
                  <a:gd name="T68" fmla="*/ 104 w 118"/>
                  <a:gd name="T69" fmla="*/ 62 h 96"/>
                  <a:gd name="T70" fmla="*/ 96 w 118"/>
                  <a:gd name="T71" fmla="*/ 54 h 96"/>
                  <a:gd name="T72" fmla="*/ 104 w 118"/>
                  <a:gd name="T73" fmla="*/ 48 h 96"/>
                  <a:gd name="T74" fmla="*/ 110 w 118"/>
                  <a:gd name="T75" fmla="*/ 48 h 96"/>
                  <a:gd name="T76" fmla="*/ 110 w 118"/>
                  <a:gd name="T77" fmla="*/ 40 h 96"/>
                  <a:gd name="T78" fmla="*/ 110 w 118"/>
                  <a:gd name="T79" fmla="*/ 34 h 96"/>
                  <a:gd name="T80" fmla="*/ 104 w 118"/>
                  <a:gd name="T81" fmla="*/ 20 h 96"/>
                  <a:gd name="T82" fmla="*/ 104 w 118"/>
                  <a:gd name="T83" fmla="*/ 14 h 96"/>
                  <a:gd name="T84" fmla="*/ 104 w 118"/>
                  <a:gd name="T85" fmla="*/ 6 h 96"/>
                  <a:gd name="T86" fmla="*/ 96 w 118"/>
                  <a:gd name="T87" fmla="*/ 6 h 96"/>
                  <a:gd name="T88" fmla="*/ 90 w 118"/>
                  <a:gd name="T89" fmla="*/ 6 h 96"/>
                  <a:gd name="T90" fmla="*/ 84 w 118"/>
                  <a:gd name="T91" fmla="*/ 6 h 96"/>
                  <a:gd name="T92" fmla="*/ 84 w 118"/>
                  <a:gd name="T93" fmla="*/ 0 h 96"/>
                  <a:gd name="T94" fmla="*/ 76 w 118"/>
                  <a:gd name="T95" fmla="*/ 0 h 96"/>
                  <a:gd name="T96" fmla="*/ 68 w 118"/>
                  <a:gd name="T97" fmla="*/ 6 h 96"/>
                  <a:gd name="T98" fmla="*/ 62 w 118"/>
                  <a:gd name="T99" fmla="*/ 6 h 96"/>
                  <a:gd name="T100" fmla="*/ 62 w 118"/>
                  <a:gd name="T101" fmla="*/ 6 h 96"/>
                  <a:gd name="T102" fmla="*/ 62 w 118"/>
                  <a:gd name="T103" fmla="*/ 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8" h="96">
                    <a:moveTo>
                      <a:pt x="62" y="6"/>
                    </a:moveTo>
                    <a:lnTo>
                      <a:pt x="54" y="6"/>
                    </a:lnTo>
                    <a:lnTo>
                      <a:pt x="40" y="6"/>
                    </a:lnTo>
                    <a:lnTo>
                      <a:pt x="36" y="14"/>
                    </a:lnTo>
                    <a:lnTo>
                      <a:pt x="28" y="20"/>
                    </a:lnTo>
                    <a:lnTo>
                      <a:pt x="28" y="28"/>
                    </a:lnTo>
                    <a:lnTo>
                      <a:pt x="20" y="34"/>
                    </a:lnTo>
                    <a:lnTo>
                      <a:pt x="14" y="28"/>
                    </a:lnTo>
                    <a:lnTo>
                      <a:pt x="6" y="28"/>
                    </a:lnTo>
                    <a:lnTo>
                      <a:pt x="6" y="34"/>
                    </a:lnTo>
                    <a:lnTo>
                      <a:pt x="0" y="40"/>
                    </a:lnTo>
                    <a:lnTo>
                      <a:pt x="6" y="48"/>
                    </a:lnTo>
                    <a:lnTo>
                      <a:pt x="14" y="54"/>
                    </a:lnTo>
                    <a:lnTo>
                      <a:pt x="20" y="62"/>
                    </a:lnTo>
                    <a:lnTo>
                      <a:pt x="28" y="68"/>
                    </a:lnTo>
                    <a:lnTo>
                      <a:pt x="36" y="62"/>
                    </a:lnTo>
                    <a:lnTo>
                      <a:pt x="40" y="62"/>
                    </a:lnTo>
                    <a:lnTo>
                      <a:pt x="48" y="62"/>
                    </a:lnTo>
                    <a:lnTo>
                      <a:pt x="62" y="68"/>
                    </a:lnTo>
                    <a:lnTo>
                      <a:pt x="62" y="76"/>
                    </a:lnTo>
                    <a:lnTo>
                      <a:pt x="68" y="82"/>
                    </a:lnTo>
                    <a:lnTo>
                      <a:pt x="76" y="96"/>
                    </a:lnTo>
                    <a:lnTo>
                      <a:pt x="84" y="88"/>
                    </a:lnTo>
                    <a:lnTo>
                      <a:pt x="90" y="82"/>
                    </a:lnTo>
                    <a:lnTo>
                      <a:pt x="96" y="82"/>
                    </a:lnTo>
                    <a:lnTo>
                      <a:pt x="104" y="82"/>
                    </a:lnTo>
                    <a:lnTo>
                      <a:pt x="104" y="68"/>
                    </a:lnTo>
                    <a:lnTo>
                      <a:pt x="110" y="62"/>
                    </a:lnTo>
                    <a:lnTo>
                      <a:pt x="110" y="68"/>
                    </a:lnTo>
                    <a:lnTo>
                      <a:pt x="110" y="76"/>
                    </a:lnTo>
                    <a:lnTo>
                      <a:pt x="118" y="76"/>
                    </a:lnTo>
                    <a:lnTo>
                      <a:pt x="118" y="68"/>
                    </a:lnTo>
                    <a:lnTo>
                      <a:pt x="118" y="62"/>
                    </a:lnTo>
                    <a:lnTo>
                      <a:pt x="110" y="54"/>
                    </a:lnTo>
                    <a:lnTo>
                      <a:pt x="104" y="62"/>
                    </a:lnTo>
                    <a:lnTo>
                      <a:pt x="96" y="54"/>
                    </a:lnTo>
                    <a:lnTo>
                      <a:pt x="104" y="48"/>
                    </a:lnTo>
                    <a:lnTo>
                      <a:pt x="110" y="48"/>
                    </a:lnTo>
                    <a:lnTo>
                      <a:pt x="110" y="40"/>
                    </a:lnTo>
                    <a:lnTo>
                      <a:pt x="110" y="34"/>
                    </a:lnTo>
                    <a:lnTo>
                      <a:pt x="104" y="20"/>
                    </a:lnTo>
                    <a:lnTo>
                      <a:pt x="104" y="14"/>
                    </a:lnTo>
                    <a:lnTo>
                      <a:pt x="104" y="6"/>
                    </a:lnTo>
                    <a:lnTo>
                      <a:pt x="96" y="6"/>
                    </a:lnTo>
                    <a:lnTo>
                      <a:pt x="90" y="6"/>
                    </a:lnTo>
                    <a:lnTo>
                      <a:pt x="84" y="6"/>
                    </a:lnTo>
                    <a:lnTo>
                      <a:pt x="84" y="0"/>
                    </a:lnTo>
                    <a:lnTo>
                      <a:pt x="76" y="0"/>
                    </a:lnTo>
                    <a:lnTo>
                      <a:pt x="68" y="6"/>
                    </a:lnTo>
                    <a:lnTo>
                      <a:pt x="62" y="6"/>
                    </a:lnTo>
                    <a:lnTo>
                      <a:pt x="62" y="6"/>
                    </a:lnTo>
                    <a:lnTo>
                      <a:pt x="62" y="6"/>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6" name="Freeform 30"/>
              <p:cNvSpPr>
                <a:spLocks/>
              </p:cNvSpPr>
              <p:nvPr>
                <p:custDataLst>
                  <p:tags r:id="rId133"/>
                </p:custDataLst>
              </p:nvPr>
            </p:nvSpPr>
            <p:spPr bwMode="gray">
              <a:xfrm>
                <a:off x="4253890" y="4095758"/>
                <a:ext cx="85744" cy="158785"/>
              </a:xfrm>
              <a:custGeom>
                <a:avLst/>
                <a:gdLst>
                  <a:gd name="T0" fmla="*/ 18 w 54"/>
                  <a:gd name="T1" fmla="*/ 92 h 100"/>
                  <a:gd name="T2" fmla="*/ 14 w 54"/>
                  <a:gd name="T3" fmla="*/ 92 h 100"/>
                  <a:gd name="T4" fmla="*/ 10 w 54"/>
                  <a:gd name="T5" fmla="*/ 84 h 100"/>
                  <a:gd name="T6" fmla="*/ 10 w 54"/>
                  <a:gd name="T7" fmla="*/ 78 h 100"/>
                  <a:gd name="T8" fmla="*/ 4 w 54"/>
                  <a:gd name="T9" fmla="*/ 72 h 100"/>
                  <a:gd name="T10" fmla="*/ 0 w 54"/>
                  <a:gd name="T11" fmla="*/ 64 h 100"/>
                  <a:gd name="T12" fmla="*/ 4 w 54"/>
                  <a:gd name="T13" fmla="*/ 60 h 100"/>
                  <a:gd name="T14" fmla="*/ 4 w 54"/>
                  <a:gd name="T15" fmla="*/ 58 h 100"/>
                  <a:gd name="T16" fmla="*/ 4 w 54"/>
                  <a:gd name="T17" fmla="*/ 50 h 100"/>
                  <a:gd name="T18" fmla="*/ 2 w 54"/>
                  <a:gd name="T19" fmla="*/ 44 h 100"/>
                  <a:gd name="T20" fmla="*/ 0 w 54"/>
                  <a:gd name="T21" fmla="*/ 38 h 100"/>
                  <a:gd name="T22" fmla="*/ 2 w 54"/>
                  <a:gd name="T23" fmla="*/ 30 h 100"/>
                  <a:gd name="T24" fmla="*/ 0 w 54"/>
                  <a:gd name="T25" fmla="*/ 24 h 100"/>
                  <a:gd name="T26" fmla="*/ 4 w 54"/>
                  <a:gd name="T27" fmla="*/ 20 h 100"/>
                  <a:gd name="T28" fmla="*/ 10 w 54"/>
                  <a:gd name="T29" fmla="*/ 12 h 100"/>
                  <a:gd name="T30" fmla="*/ 18 w 54"/>
                  <a:gd name="T31" fmla="*/ 10 h 100"/>
                  <a:gd name="T32" fmla="*/ 22 w 54"/>
                  <a:gd name="T33" fmla="*/ 4 h 100"/>
                  <a:gd name="T34" fmla="*/ 26 w 54"/>
                  <a:gd name="T35" fmla="*/ 2 h 100"/>
                  <a:gd name="T36" fmla="*/ 32 w 54"/>
                  <a:gd name="T37" fmla="*/ 2 h 100"/>
                  <a:gd name="T38" fmla="*/ 40 w 54"/>
                  <a:gd name="T39" fmla="*/ 0 h 100"/>
                  <a:gd name="T40" fmla="*/ 46 w 54"/>
                  <a:gd name="T41" fmla="*/ 2 h 100"/>
                  <a:gd name="T42" fmla="*/ 48 w 54"/>
                  <a:gd name="T43" fmla="*/ 0 h 100"/>
                  <a:gd name="T44" fmla="*/ 50 w 54"/>
                  <a:gd name="T45" fmla="*/ 2 h 100"/>
                  <a:gd name="T46" fmla="*/ 54 w 54"/>
                  <a:gd name="T47" fmla="*/ 10 h 100"/>
                  <a:gd name="T48" fmla="*/ 54 w 54"/>
                  <a:gd name="T49" fmla="*/ 16 h 100"/>
                  <a:gd name="T50" fmla="*/ 54 w 54"/>
                  <a:gd name="T51" fmla="*/ 24 h 100"/>
                  <a:gd name="T52" fmla="*/ 54 w 54"/>
                  <a:gd name="T53" fmla="*/ 38 h 100"/>
                  <a:gd name="T54" fmla="*/ 46 w 54"/>
                  <a:gd name="T55" fmla="*/ 44 h 100"/>
                  <a:gd name="T56" fmla="*/ 40 w 54"/>
                  <a:gd name="T57" fmla="*/ 50 h 100"/>
                  <a:gd name="T58" fmla="*/ 40 w 54"/>
                  <a:gd name="T59" fmla="*/ 58 h 100"/>
                  <a:gd name="T60" fmla="*/ 40 w 54"/>
                  <a:gd name="T61" fmla="*/ 64 h 100"/>
                  <a:gd name="T62" fmla="*/ 32 w 54"/>
                  <a:gd name="T63" fmla="*/ 78 h 100"/>
                  <a:gd name="T64" fmla="*/ 32 w 54"/>
                  <a:gd name="T65" fmla="*/ 86 h 100"/>
                  <a:gd name="T66" fmla="*/ 26 w 54"/>
                  <a:gd name="T67" fmla="*/ 92 h 100"/>
                  <a:gd name="T68" fmla="*/ 26 w 54"/>
                  <a:gd name="T69" fmla="*/ 100 h 100"/>
                  <a:gd name="T70" fmla="*/ 18 w 54"/>
                  <a:gd name="T71" fmla="*/ 92 h 100"/>
                  <a:gd name="T72" fmla="*/ 18 w 54"/>
                  <a:gd name="T73" fmla="*/ 92 h 100"/>
                  <a:gd name="T74" fmla="*/ 18 w 54"/>
                  <a:gd name="T75" fmla="*/ 9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100">
                    <a:moveTo>
                      <a:pt x="18" y="92"/>
                    </a:moveTo>
                    <a:lnTo>
                      <a:pt x="14" y="92"/>
                    </a:lnTo>
                    <a:lnTo>
                      <a:pt x="10" y="84"/>
                    </a:lnTo>
                    <a:lnTo>
                      <a:pt x="10" y="78"/>
                    </a:lnTo>
                    <a:lnTo>
                      <a:pt x="4" y="72"/>
                    </a:lnTo>
                    <a:lnTo>
                      <a:pt x="0" y="64"/>
                    </a:lnTo>
                    <a:lnTo>
                      <a:pt x="4" y="60"/>
                    </a:lnTo>
                    <a:lnTo>
                      <a:pt x="4" y="58"/>
                    </a:lnTo>
                    <a:lnTo>
                      <a:pt x="4" y="50"/>
                    </a:lnTo>
                    <a:lnTo>
                      <a:pt x="2" y="44"/>
                    </a:lnTo>
                    <a:lnTo>
                      <a:pt x="0" y="38"/>
                    </a:lnTo>
                    <a:lnTo>
                      <a:pt x="2" y="30"/>
                    </a:lnTo>
                    <a:lnTo>
                      <a:pt x="0" y="24"/>
                    </a:lnTo>
                    <a:lnTo>
                      <a:pt x="4" y="20"/>
                    </a:lnTo>
                    <a:lnTo>
                      <a:pt x="10" y="12"/>
                    </a:lnTo>
                    <a:lnTo>
                      <a:pt x="18" y="10"/>
                    </a:lnTo>
                    <a:lnTo>
                      <a:pt x="22" y="4"/>
                    </a:lnTo>
                    <a:lnTo>
                      <a:pt x="26" y="2"/>
                    </a:lnTo>
                    <a:lnTo>
                      <a:pt x="32" y="2"/>
                    </a:lnTo>
                    <a:lnTo>
                      <a:pt x="40" y="0"/>
                    </a:lnTo>
                    <a:lnTo>
                      <a:pt x="46" y="2"/>
                    </a:lnTo>
                    <a:lnTo>
                      <a:pt x="48" y="0"/>
                    </a:lnTo>
                    <a:lnTo>
                      <a:pt x="50" y="2"/>
                    </a:lnTo>
                    <a:lnTo>
                      <a:pt x="54" y="10"/>
                    </a:lnTo>
                    <a:lnTo>
                      <a:pt x="54" y="16"/>
                    </a:lnTo>
                    <a:lnTo>
                      <a:pt x="54" y="24"/>
                    </a:lnTo>
                    <a:lnTo>
                      <a:pt x="54" y="38"/>
                    </a:lnTo>
                    <a:lnTo>
                      <a:pt x="46" y="44"/>
                    </a:lnTo>
                    <a:lnTo>
                      <a:pt x="40" y="50"/>
                    </a:lnTo>
                    <a:lnTo>
                      <a:pt x="40" y="58"/>
                    </a:lnTo>
                    <a:lnTo>
                      <a:pt x="40" y="64"/>
                    </a:lnTo>
                    <a:lnTo>
                      <a:pt x="32" y="78"/>
                    </a:lnTo>
                    <a:lnTo>
                      <a:pt x="32" y="86"/>
                    </a:lnTo>
                    <a:lnTo>
                      <a:pt x="26" y="92"/>
                    </a:lnTo>
                    <a:lnTo>
                      <a:pt x="26" y="100"/>
                    </a:lnTo>
                    <a:lnTo>
                      <a:pt x="18" y="92"/>
                    </a:lnTo>
                    <a:lnTo>
                      <a:pt x="18" y="92"/>
                    </a:lnTo>
                    <a:lnTo>
                      <a:pt x="18" y="92"/>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7" name="Freeform 31"/>
              <p:cNvSpPr>
                <a:spLocks/>
              </p:cNvSpPr>
              <p:nvPr>
                <p:custDataLst>
                  <p:tags r:id="rId134"/>
                </p:custDataLst>
              </p:nvPr>
            </p:nvSpPr>
            <p:spPr bwMode="gray">
              <a:xfrm>
                <a:off x="4187200" y="4264405"/>
                <a:ext cx="152434" cy="260408"/>
              </a:xfrm>
              <a:custGeom>
                <a:avLst/>
                <a:gdLst>
                  <a:gd name="T0" fmla="*/ 12 w 96"/>
                  <a:gd name="T1" fmla="*/ 28 h 164"/>
                  <a:gd name="T2" fmla="*/ 34 w 96"/>
                  <a:gd name="T3" fmla="*/ 20 h 164"/>
                  <a:gd name="T4" fmla="*/ 48 w 96"/>
                  <a:gd name="T5" fmla="*/ 14 h 164"/>
                  <a:gd name="T6" fmla="*/ 60 w 96"/>
                  <a:gd name="T7" fmla="*/ 14 h 164"/>
                  <a:gd name="T8" fmla="*/ 68 w 96"/>
                  <a:gd name="T9" fmla="*/ 8 h 164"/>
                  <a:gd name="T10" fmla="*/ 74 w 96"/>
                  <a:gd name="T11" fmla="*/ 8 h 164"/>
                  <a:gd name="T12" fmla="*/ 88 w 96"/>
                  <a:gd name="T13" fmla="*/ 20 h 164"/>
                  <a:gd name="T14" fmla="*/ 88 w 96"/>
                  <a:gd name="T15" fmla="*/ 28 h 164"/>
                  <a:gd name="T16" fmla="*/ 96 w 96"/>
                  <a:gd name="T17" fmla="*/ 34 h 164"/>
                  <a:gd name="T18" fmla="*/ 88 w 96"/>
                  <a:gd name="T19" fmla="*/ 56 h 164"/>
                  <a:gd name="T20" fmla="*/ 96 w 96"/>
                  <a:gd name="T21" fmla="*/ 62 h 164"/>
                  <a:gd name="T22" fmla="*/ 82 w 96"/>
                  <a:gd name="T23" fmla="*/ 68 h 164"/>
                  <a:gd name="T24" fmla="*/ 82 w 96"/>
                  <a:gd name="T25" fmla="*/ 82 h 164"/>
                  <a:gd name="T26" fmla="*/ 82 w 96"/>
                  <a:gd name="T27" fmla="*/ 96 h 164"/>
                  <a:gd name="T28" fmla="*/ 74 w 96"/>
                  <a:gd name="T29" fmla="*/ 116 h 164"/>
                  <a:gd name="T30" fmla="*/ 74 w 96"/>
                  <a:gd name="T31" fmla="*/ 144 h 164"/>
                  <a:gd name="T32" fmla="*/ 68 w 96"/>
                  <a:gd name="T33" fmla="*/ 158 h 164"/>
                  <a:gd name="T34" fmla="*/ 54 w 96"/>
                  <a:gd name="T35" fmla="*/ 152 h 164"/>
                  <a:gd name="T36" fmla="*/ 34 w 96"/>
                  <a:gd name="T37" fmla="*/ 152 h 164"/>
                  <a:gd name="T38" fmla="*/ 34 w 96"/>
                  <a:gd name="T39" fmla="*/ 164 h 164"/>
                  <a:gd name="T40" fmla="*/ 20 w 96"/>
                  <a:gd name="T41" fmla="*/ 164 h 164"/>
                  <a:gd name="T42" fmla="*/ 6 w 96"/>
                  <a:gd name="T43" fmla="*/ 152 h 164"/>
                  <a:gd name="T44" fmla="*/ 0 w 96"/>
                  <a:gd name="T45" fmla="*/ 138 h 164"/>
                  <a:gd name="T46" fmla="*/ 0 w 96"/>
                  <a:gd name="T47" fmla="*/ 116 h 164"/>
                  <a:gd name="T48" fmla="*/ 12 w 96"/>
                  <a:gd name="T49" fmla="*/ 110 h 164"/>
                  <a:gd name="T50" fmla="*/ 12 w 96"/>
                  <a:gd name="T51" fmla="*/ 96 h 164"/>
                  <a:gd name="T52" fmla="*/ 26 w 96"/>
                  <a:gd name="T53" fmla="*/ 82 h 164"/>
                  <a:gd name="T54" fmla="*/ 6 w 96"/>
                  <a:gd name="T55" fmla="*/ 82 h 164"/>
                  <a:gd name="T56" fmla="*/ 6 w 96"/>
                  <a:gd name="T57" fmla="*/ 62 h 164"/>
                  <a:gd name="T58" fmla="*/ 0 w 96"/>
                  <a:gd name="T59" fmla="*/ 42 h 164"/>
                  <a:gd name="T60" fmla="*/ 6 w 96"/>
                  <a:gd name="T61" fmla="*/ 28 h 164"/>
                  <a:gd name="T62" fmla="*/ 6 w 96"/>
                  <a:gd name="T63" fmla="*/ 2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64">
                    <a:moveTo>
                      <a:pt x="6" y="20"/>
                    </a:moveTo>
                    <a:lnTo>
                      <a:pt x="12" y="28"/>
                    </a:lnTo>
                    <a:lnTo>
                      <a:pt x="20" y="20"/>
                    </a:lnTo>
                    <a:lnTo>
                      <a:pt x="34" y="20"/>
                    </a:lnTo>
                    <a:lnTo>
                      <a:pt x="40" y="20"/>
                    </a:lnTo>
                    <a:lnTo>
                      <a:pt x="48" y="14"/>
                    </a:lnTo>
                    <a:lnTo>
                      <a:pt x="54" y="14"/>
                    </a:lnTo>
                    <a:lnTo>
                      <a:pt x="60" y="14"/>
                    </a:lnTo>
                    <a:lnTo>
                      <a:pt x="60" y="8"/>
                    </a:lnTo>
                    <a:lnTo>
                      <a:pt x="68" y="8"/>
                    </a:lnTo>
                    <a:lnTo>
                      <a:pt x="74" y="0"/>
                    </a:lnTo>
                    <a:lnTo>
                      <a:pt x="74" y="8"/>
                    </a:lnTo>
                    <a:lnTo>
                      <a:pt x="82" y="14"/>
                    </a:lnTo>
                    <a:lnTo>
                      <a:pt x="88" y="20"/>
                    </a:lnTo>
                    <a:lnTo>
                      <a:pt x="82" y="20"/>
                    </a:lnTo>
                    <a:lnTo>
                      <a:pt x="88" y="28"/>
                    </a:lnTo>
                    <a:lnTo>
                      <a:pt x="88" y="34"/>
                    </a:lnTo>
                    <a:lnTo>
                      <a:pt x="96" y="34"/>
                    </a:lnTo>
                    <a:lnTo>
                      <a:pt x="96" y="42"/>
                    </a:lnTo>
                    <a:lnTo>
                      <a:pt x="88" y="56"/>
                    </a:lnTo>
                    <a:lnTo>
                      <a:pt x="96" y="56"/>
                    </a:lnTo>
                    <a:lnTo>
                      <a:pt x="96" y="62"/>
                    </a:lnTo>
                    <a:lnTo>
                      <a:pt x="88" y="68"/>
                    </a:lnTo>
                    <a:lnTo>
                      <a:pt x="82" y="68"/>
                    </a:lnTo>
                    <a:lnTo>
                      <a:pt x="82" y="76"/>
                    </a:lnTo>
                    <a:lnTo>
                      <a:pt x="82" y="82"/>
                    </a:lnTo>
                    <a:lnTo>
                      <a:pt x="82" y="88"/>
                    </a:lnTo>
                    <a:lnTo>
                      <a:pt x="82" y="96"/>
                    </a:lnTo>
                    <a:lnTo>
                      <a:pt x="82" y="104"/>
                    </a:lnTo>
                    <a:lnTo>
                      <a:pt x="74" y="116"/>
                    </a:lnTo>
                    <a:lnTo>
                      <a:pt x="74" y="130"/>
                    </a:lnTo>
                    <a:lnTo>
                      <a:pt x="74" y="144"/>
                    </a:lnTo>
                    <a:lnTo>
                      <a:pt x="74" y="152"/>
                    </a:lnTo>
                    <a:lnTo>
                      <a:pt x="68" y="158"/>
                    </a:lnTo>
                    <a:lnTo>
                      <a:pt x="60" y="152"/>
                    </a:lnTo>
                    <a:lnTo>
                      <a:pt x="54" y="152"/>
                    </a:lnTo>
                    <a:lnTo>
                      <a:pt x="40" y="144"/>
                    </a:lnTo>
                    <a:lnTo>
                      <a:pt x="34" y="152"/>
                    </a:lnTo>
                    <a:lnTo>
                      <a:pt x="34" y="158"/>
                    </a:lnTo>
                    <a:lnTo>
                      <a:pt x="34" y="164"/>
                    </a:lnTo>
                    <a:lnTo>
                      <a:pt x="26" y="164"/>
                    </a:lnTo>
                    <a:lnTo>
                      <a:pt x="20" y="164"/>
                    </a:lnTo>
                    <a:lnTo>
                      <a:pt x="6" y="158"/>
                    </a:lnTo>
                    <a:lnTo>
                      <a:pt x="6" y="152"/>
                    </a:lnTo>
                    <a:lnTo>
                      <a:pt x="6" y="144"/>
                    </a:lnTo>
                    <a:lnTo>
                      <a:pt x="0" y="138"/>
                    </a:lnTo>
                    <a:lnTo>
                      <a:pt x="6" y="124"/>
                    </a:lnTo>
                    <a:lnTo>
                      <a:pt x="0" y="116"/>
                    </a:lnTo>
                    <a:lnTo>
                      <a:pt x="6" y="116"/>
                    </a:lnTo>
                    <a:lnTo>
                      <a:pt x="12" y="110"/>
                    </a:lnTo>
                    <a:lnTo>
                      <a:pt x="12" y="104"/>
                    </a:lnTo>
                    <a:lnTo>
                      <a:pt x="12" y="96"/>
                    </a:lnTo>
                    <a:lnTo>
                      <a:pt x="20" y="88"/>
                    </a:lnTo>
                    <a:lnTo>
                      <a:pt x="26" y="82"/>
                    </a:lnTo>
                    <a:lnTo>
                      <a:pt x="12" y="82"/>
                    </a:lnTo>
                    <a:lnTo>
                      <a:pt x="6" y="82"/>
                    </a:lnTo>
                    <a:lnTo>
                      <a:pt x="6" y="68"/>
                    </a:lnTo>
                    <a:lnTo>
                      <a:pt x="6" y="62"/>
                    </a:lnTo>
                    <a:lnTo>
                      <a:pt x="0" y="48"/>
                    </a:lnTo>
                    <a:lnTo>
                      <a:pt x="0" y="42"/>
                    </a:lnTo>
                    <a:lnTo>
                      <a:pt x="0" y="34"/>
                    </a:lnTo>
                    <a:lnTo>
                      <a:pt x="6" y="28"/>
                    </a:lnTo>
                    <a:lnTo>
                      <a:pt x="6" y="20"/>
                    </a:lnTo>
                    <a:lnTo>
                      <a:pt x="6" y="20"/>
                    </a:lnTo>
                    <a:lnTo>
                      <a:pt x="6" y="20"/>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8" name="Freeform 32"/>
              <p:cNvSpPr>
                <a:spLocks/>
              </p:cNvSpPr>
              <p:nvPr>
                <p:custDataLst>
                  <p:tags r:id="rId135"/>
                </p:custDataLst>
              </p:nvPr>
            </p:nvSpPr>
            <p:spPr bwMode="gray">
              <a:xfrm>
                <a:off x="4546055" y="4648330"/>
                <a:ext cx="308043" cy="196894"/>
              </a:xfrm>
              <a:custGeom>
                <a:avLst/>
                <a:gdLst>
                  <a:gd name="T0" fmla="*/ 194 w 194"/>
                  <a:gd name="T1" fmla="*/ 6 h 124"/>
                  <a:gd name="T2" fmla="*/ 194 w 194"/>
                  <a:gd name="T3" fmla="*/ 14 h 124"/>
                  <a:gd name="T4" fmla="*/ 194 w 194"/>
                  <a:gd name="T5" fmla="*/ 20 h 124"/>
                  <a:gd name="T6" fmla="*/ 188 w 194"/>
                  <a:gd name="T7" fmla="*/ 34 h 124"/>
                  <a:gd name="T8" fmla="*/ 182 w 194"/>
                  <a:gd name="T9" fmla="*/ 34 h 124"/>
                  <a:gd name="T10" fmla="*/ 174 w 194"/>
                  <a:gd name="T11" fmla="*/ 40 h 124"/>
                  <a:gd name="T12" fmla="*/ 174 w 194"/>
                  <a:gd name="T13" fmla="*/ 48 h 124"/>
                  <a:gd name="T14" fmla="*/ 174 w 194"/>
                  <a:gd name="T15" fmla="*/ 54 h 124"/>
                  <a:gd name="T16" fmla="*/ 174 w 194"/>
                  <a:gd name="T17" fmla="*/ 62 h 124"/>
                  <a:gd name="T18" fmla="*/ 168 w 194"/>
                  <a:gd name="T19" fmla="*/ 68 h 124"/>
                  <a:gd name="T20" fmla="*/ 168 w 194"/>
                  <a:gd name="T21" fmla="*/ 74 h 124"/>
                  <a:gd name="T22" fmla="*/ 168 w 194"/>
                  <a:gd name="T23" fmla="*/ 82 h 124"/>
                  <a:gd name="T24" fmla="*/ 174 w 194"/>
                  <a:gd name="T25" fmla="*/ 82 h 124"/>
                  <a:gd name="T26" fmla="*/ 168 w 194"/>
                  <a:gd name="T27" fmla="*/ 90 h 124"/>
                  <a:gd name="T28" fmla="*/ 174 w 194"/>
                  <a:gd name="T29" fmla="*/ 90 h 124"/>
                  <a:gd name="T30" fmla="*/ 174 w 194"/>
                  <a:gd name="T31" fmla="*/ 104 h 124"/>
                  <a:gd name="T32" fmla="*/ 160 w 194"/>
                  <a:gd name="T33" fmla="*/ 110 h 124"/>
                  <a:gd name="T34" fmla="*/ 160 w 194"/>
                  <a:gd name="T35" fmla="*/ 124 h 124"/>
                  <a:gd name="T36" fmla="*/ 146 w 194"/>
                  <a:gd name="T37" fmla="*/ 116 h 124"/>
                  <a:gd name="T38" fmla="*/ 138 w 194"/>
                  <a:gd name="T39" fmla="*/ 124 h 124"/>
                  <a:gd name="T40" fmla="*/ 126 w 194"/>
                  <a:gd name="T41" fmla="*/ 116 h 124"/>
                  <a:gd name="T42" fmla="*/ 118 w 194"/>
                  <a:gd name="T43" fmla="*/ 104 h 124"/>
                  <a:gd name="T44" fmla="*/ 118 w 194"/>
                  <a:gd name="T45" fmla="*/ 96 h 124"/>
                  <a:gd name="T46" fmla="*/ 104 w 194"/>
                  <a:gd name="T47" fmla="*/ 90 h 124"/>
                  <a:gd name="T48" fmla="*/ 90 w 194"/>
                  <a:gd name="T49" fmla="*/ 90 h 124"/>
                  <a:gd name="T50" fmla="*/ 84 w 194"/>
                  <a:gd name="T51" fmla="*/ 82 h 124"/>
                  <a:gd name="T52" fmla="*/ 70 w 194"/>
                  <a:gd name="T53" fmla="*/ 82 h 124"/>
                  <a:gd name="T54" fmla="*/ 64 w 194"/>
                  <a:gd name="T55" fmla="*/ 68 h 124"/>
                  <a:gd name="T56" fmla="*/ 56 w 194"/>
                  <a:gd name="T57" fmla="*/ 62 h 124"/>
                  <a:gd name="T58" fmla="*/ 36 w 194"/>
                  <a:gd name="T59" fmla="*/ 54 h 124"/>
                  <a:gd name="T60" fmla="*/ 28 w 194"/>
                  <a:gd name="T61" fmla="*/ 48 h 124"/>
                  <a:gd name="T62" fmla="*/ 22 w 194"/>
                  <a:gd name="T63" fmla="*/ 48 h 124"/>
                  <a:gd name="T64" fmla="*/ 8 w 194"/>
                  <a:gd name="T65" fmla="*/ 40 h 124"/>
                  <a:gd name="T66" fmla="*/ 0 w 194"/>
                  <a:gd name="T67" fmla="*/ 34 h 124"/>
                  <a:gd name="T68" fmla="*/ 0 w 194"/>
                  <a:gd name="T69" fmla="*/ 28 h 124"/>
                  <a:gd name="T70" fmla="*/ 8 w 194"/>
                  <a:gd name="T71" fmla="*/ 20 h 124"/>
                  <a:gd name="T72" fmla="*/ 8 w 194"/>
                  <a:gd name="T73" fmla="*/ 6 h 124"/>
                  <a:gd name="T74" fmla="*/ 14 w 194"/>
                  <a:gd name="T75" fmla="*/ 6 h 124"/>
                  <a:gd name="T76" fmla="*/ 22 w 194"/>
                  <a:gd name="T77" fmla="*/ 0 h 124"/>
                  <a:gd name="T78" fmla="*/ 28 w 194"/>
                  <a:gd name="T79" fmla="*/ 6 h 124"/>
                  <a:gd name="T80" fmla="*/ 28 w 194"/>
                  <a:gd name="T81" fmla="*/ 14 h 124"/>
                  <a:gd name="T82" fmla="*/ 42 w 194"/>
                  <a:gd name="T83" fmla="*/ 6 h 124"/>
                  <a:gd name="T84" fmla="*/ 56 w 194"/>
                  <a:gd name="T85" fmla="*/ 6 h 124"/>
                  <a:gd name="T86" fmla="*/ 64 w 194"/>
                  <a:gd name="T87" fmla="*/ 14 h 124"/>
                  <a:gd name="T88" fmla="*/ 76 w 194"/>
                  <a:gd name="T89" fmla="*/ 20 h 124"/>
                  <a:gd name="T90" fmla="*/ 90 w 194"/>
                  <a:gd name="T91" fmla="*/ 28 h 124"/>
                  <a:gd name="T92" fmla="*/ 104 w 194"/>
                  <a:gd name="T93" fmla="*/ 28 h 124"/>
                  <a:gd name="T94" fmla="*/ 118 w 194"/>
                  <a:gd name="T95" fmla="*/ 20 h 124"/>
                  <a:gd name="T96" fmla="*/ 126 w 194"/>
                  <a:gd name="T97" fmla="*/ 20 h 124"/>
                  <a:gd name="T98" fmla="*/ 132 w 194"/>
                  <a:gd name="T99" fmla="*/ 20 h 124"/>
                  <a:gd name="T100" fmla="*/ 138 w 194"/>
                  <a:gd name="T101" fmla="*/ 20 h 124"/>
                  <a:gd name="T102" fmla="*/ 146 w 194"/>
                  <a:gd name="T103" fmla="*/ 14 h 124"/>
                  <a:gd name="T104" fmla="*/ 152 w 194"/>
                  <a:gd name="T105" fmla="*/ 14 h 124"/>
                  <a:gd name="T106" fmla="*/ 160 w 194"/>
                  <a:gd name="T107" fmla="*/ 20 h 124"/>
                  <a:gd name="T108" fmla="*/ 168 w 194"/>
                  <a:gd name="T109" fmla="*/ 14 h 124"/>
                  <a:gd name="T110" fmla="*/ 182 w 194"/>
                  <a:gd name="T111" fmla="*/ 14 h 124"/>
                  <a:gd name="T112" fmla="*/ 194 w 194"/>
                  <a:gd name="T113" fmla="*/ 6 h 124"/>
                  <a:gd name="T114" fmla="*/ 194 w 194"/>
                  <a:gd name="T115" fmla="*/ 6 h 124"/>
                  <a:gd name="T116" fmla="*/ 194 w 194"/>
                  <a:gd name="T117" fmla="*/ 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4" h="124">
                    <a:moveTo>
                      <a:pt x="194" y="6"/>
                    </a:moveTo>
                    <a:lnTo>
                      <a:pt x="194" y="14"/>
                    </a:lnTo>
                    <a:lnTo>
                      <a:pt x="194" y="20"/>
                    </a:lnTo>
                    <a:lnTo>
                      <a:pt x="188" y="34"/>
                    </a:lnTo>
                    <a:lnTo>
                      <a:pt x="182" y="34"/>
                    </a:lnTo>
                    <a:lnTo>
                      <a:pt x="174" y="40"/>
                    </a:lnTo>
                    <a:lnTo>
                      <a:pt x="174" y="48"/>
                    </a:lnTo>
                    <a:lnTo>
                      <a:pt x="174" y="54"/>
                    </a:lnTo>
                    <a:lnTo>
                      <a:pt x="174" y="62"/>
                    </a:lnTo>
                    <a:lnTo>
                      <a:pt x="168" y="68"/>
                    </a:lnTo>
                    <a:lnTo>
                      <a:pt x="168" y="74"/>
                    </a:lnTo>
                    <a:lnTo>
                      <a:pt x="168" y="82"/>
                    </a:lnTo>
                    <a:lnTo>
                      <a:pt x="174" y="82"/>
                    </a:lnTo>
                    <a:lnTo>
                      <a:pt x="168" y="90"/>
                    </a:lnTo>
                    <a:lnTo>
                      <a:pt x="174" y="90"/>
                    </a:lnTo>
                    <a:lnTo>
                      <a:pt x="174" y="104"/>
                    </a:lnTo>
                    <a:lnTo>
                      <a:pt x="160" y="110"/>
                    </a:lnTo>
                    <a:lnTo>
                      <a:pt x="160" y="124"/>
                    </a:lnTo>
                    <a:lnTo>
                      <a:pt x="146" y="116"/>
                    </a:lnTo>
                    <a:lnTo>
                      <a:pt x="138" y="124"/>
                    </a:lnTo>
                    <a:lnTo>
                      <a:pt x="126" y="116"/>
                    </a:lnTo>
                    <a:lnTo>
                      <a:pt x="118" y="104"/>
                    </a:lnTo>
                    <a:lnTo>
                      <a:pt x="118" y="96"/>
                    </a:lnTo>
                    <a:lnTo>
                      <a:pt x="104" y="90"/>
                    </a:lnTo>
                    <a:lnTo>
                      <a:pt x="90" y="90"/>
                    </a:lnTo>
                    <a:lnTo>
                      <a:pt x="84" y="82"/>
                    </a:lnTo>
                    <a:lnTo>
                      <a:pt x="70" y="82"/>
                    </a:lnTo>
                    <a:lnTo>
                      <a:pt x="64" y="68"/>
                    </a:lnTo>
                    <a:lnTo>
                      <a:pt x="56" y="62"/>
                    </a:lnTo>
                    <a:lnTo>
                      <a:pt x="36" y="54"/>
                    </a:lnTo>
                    <a:lnTo>
                      <a:pt x="28" y="48"/>
                    </a:lnTo>
                    <a:lnTo>
                      <a:pt x="22" y="48"/>
                    </a:lnTo>
                    <a:lnTo>
                      <a:pt x="8" y="40"/>
                    </a:lnTo>
                    <a:lnTo>
                      <a:pt x="0" y="34"/>
                    </a:lnTo>
                    <a:lnTo>
                      <a:pt x="0" y="28"/>
                    </a:lnTo>
                    <a:lnTo>
                      <a:pt x="8" y="20"/>
                    </a:lnTo>
                    <a:lnTo>
                      <a:pt x="8" y="6"/>
                    </a:lnTo>
                    <a:lnTo>
                      <a:pt x="14" y="6"/>
                    </a:lnTo>
                    <a:lnTo>
                      <a:pt x="22" y="0"/>
                    </a:lnTo>
                    <a:lnTo>
                      <a:pt x="28" y="6"/>
                    </a:lnTo>
                    <a:lnTo>
                      <a:pt x="28" y="14"/>
                    </a:lnTo>
                    <a:lnTo>
                      <a:pt x="42" y="6"/>
                    </a:lnTo>
                    <a:lnTo>
                      <a:pt x="56" y="6"/>
                    </a:lnTo>
                    <a:lnTo>
                      <a:pt x="64" y="14"/>
                    </a:lnTo>
                    <a:lnTo>
                      <a:pt x="76" y="20"/>
                    </a:lnTo>
                    <a:lnTo>
                      <a:pt x="90" y="28"/>
                    </a:lnTo>
                    <a:lnTo>
                      <a:pt x="104" y="28"/>
                    </a:lnTo>
                    <a:lnTo>
                      <a:pt x="118" y="20"/>
                    </a:lnTo>
                    <a:lnTo>
                      <a:pt x="126" y="20"/>
                    </a:lnTo>
                    <a:lnTo>
                      <a:pt x="132" y="20"/>
                    </a:lnTo>
                    <a:lnTo>
                      <a:pt x="138" y="20"/>
                    </a:lnTo>
                    <a:lnTo>
                      <a:pt x="146" y="14"/>
                    </a:lnTo>
                    <a:lnTo>
                      <a:pt x="152" y="14"/>
                    </a:lnTo>
                    <a:lnTo>
                      <a:pt x="160" y="20"/>
                    </a:lnTo>
                    <a:lnTo>
                      <a:pt x="168" y="14"/>
                    </a:lnTo>
                    <a:lnTo>
                      <a:pt x="182" y="14"/>
                    </a:lnTo>
                    <a:lnTo>
                      <a:pt x="194" y="6"/>
                    </a:lnTo>
                    <a:lnTo>
                      <a:pt x="194" y="6"/>
                    </a:lnTo>
                    <a:lnTo>
                      <a:pt x="194" y="6"/>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9" name="Freeform 33"/>
              <p:cNvSpPr>
                <a:spLocks/>
              </p:cNvSpPr>
              <p:nvPr/>
            </p:nvSpPr>
            <p:spPr bwMode="gray">
              <a:xfrm>
                <a:off x="3521889" y="2625406"/>
                <a:ext cx="31757" cy="19054"/>
              </a:xfrm>
              <a:custGeom>
                <a:avLst/>
                <a:gdLst>
                  <a:gd name="T0" fmla="*/ 14 w 20"/>
                  <a:gd name="T1" fmla="*/ 12 h 12"/>
                  <a:gd name="T2" fmla="*/ 8 w 20"/>
                  <a:gd name="T3" fmla="*/ 12 h 12"/>
                  <a:gd name="T4" fmla="*/ 0 w 20"/>
                  <a:gd name="T5" fmla="*/ 12 h 12"/>
                  <a:gd name="T6" fmla="*/ 0 w 20"/>
                  <a:gd name="T7" fmla="*/ 0 h 12"/>
                  <a:gd name="T8" fmla="*/ 8 w 20"/>
                  <a:gd name="T9" fmla="*/ 0 h 12"/>
                  <a:gd name="T10" fmla="*/ 14 w 20"/>
                  <a:gd name="T11" fmla="*/ 0 h 12"/>
                  <a:gd name="T12" fmla="*/ 20 w 20"/>
                  <a:gd name="T13" fmla="*/ 6 h 12"/>
                  <a:gd name="T14" fmla="*/ 14 w 20"/>
                  <a:gd name="T15" fmla="*/ 12 h 12"/>
                  <a:gd name="T16" fmla="*/ 14 w 20"/>
                  <a:gd name="T17" fmla="*/ 12 h 12"/>
                  <a:gd name="T18" fmla="*/ 14 w 20"/>
                  <a:gd name="T1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2">
                    <a:moveTo>
                      <a:pt x="14" y="12"/>
                    </a:moveTo>
                    <a:lnTo>
                      <a:pt x="8" y="12"/>
                    </a:lnTo>
                    <a:lnTo>
                      <a:pt x="0" y="12"/>
                    </a:lnTo>
                    <a:lnTo>
                      <a:pt x="0" y="0"/>
                    </a:lnTo>
                    <a:lnTo>
                      <a:pt x="8" y="0"/>
                    </a:lnTo>
                    <a:lnTo>
                      <a:pt x="14" y="0"/>
                    </a:lnTo>
                    <a:lnTo>
                      <a:pt x="20" y="6"/>
                    </a:lnTo>
                    <a:lnTo>
                      <a:pt x="14" y="12"/>
                    </a:lnTo>
                    <a:lnTo>
                      <a:pt x="14" y="12"/>
                    </a:lnTo>
                    <a:lnTo>
                      <a:pt x="14" y="12"/>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0" name="Freeform 34"/>
              <p:cNvSpPr>
                <a:spLocks/>
              </p:cNvSpPr>
              <p:nvPr/>
            </p:nvSpPr>
            <p:spPr bwMode="gray">
              <a:xfrm>
                <a:off x="3636215" y="2996963"/>
                <a:ext cx="34933" cy="9527"/>
              </a:xfrm>
              <a:custGeom>
                <a:avLst/>
                <a:gdLst>
                  <a:gd name="T0" fmla="*/ 14 w 22"/>
                  <a:gd name="T1" fmla="*/ 0 h 6"/>
                  <a:gd name="T2" fmla="*/ 0 w 22"/>
                  <a:gd name="T3" fmla="*/ 0 h 6"/>
                  <a:gd name="T4" fmla="*/ 8 w 22"/>
                  <a:gd name="T5" fmla="*/ 6 h 6"/>
                  <a:gd name="T6" fmla="*/ 14 w 22"/>
                  <a:gd name="T7" fmla="*/ 6 h 6"/>
                  <a:gd name="T8" fmla="*/ 22 w 22"/>
                  <a:gd name="T9" fmla="*/ 6 h 6"/>
                  <a:gd name="T10" fmla="*/ 22 w 22"/>
                  <a:gd name="T11" fmla="*/ 0 h 6"/>
                  <a:gd name="T12" fmla="*/ 14 w 22"/>
                  <a:gd name="T13" fmla="*/ 0 h 6"/>
                  <a:gd name="T14" fmla="*/ 14 w 22"/>
                  <a:gd name="T15" fmla="*/ 0 h 6"/>
                  <a:gd name="T16" fmla="*/ 14 w 22"/>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
                    <a:moveTo>
                      <a:pt x="14" y="0"/>
                    </a:moveTo>
                    <a:lnTo>
                      <a:pt x="0" y="0"/>
                    </a:lnTo>
                    <a:lnTo>
                      <a:pt x="8" y="6"/>
                    </a:lnTo>
                    <a:lnTo>
                      <a:pt x="14" y="6"/>
                    </a:lnTo>
                    <a:lnTo>
                      <a:pt x="22" y="6"/>
                    </a:lnTo>
                    <a:lnTo>
                      <a:pt x="22" y="0"/>
                    </a:lnTo>
                    <a:lnTo>
                      <a:pt x="14" y="0"/>
                    </a:lnTo>
                    <a:lnTo>
                      <a:pt x="14" y="0"/>
                    </a:lnTo>
                    <a:lnTo>
                      <a:pt x="14" y="0"/>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1" name="Freeform 35"/>
              <p:cNvSpPr>
                <a:spLocks/>
              </p:cNvSpPr>
              <p:nvPr/>
            </p:nvSpPr>
            <p:spPr bwMode="gray">
              <a:xfrm>
                <a:off x="3842635" y="1999792"/>
                <a:ext cx="19054" cy="34933"/>
              </a:xfrm>
              <a:custGeom>
                <a:avLst/>
                <a:gdLst>
                  <a:gd name="T0" fmla="*/ 12 w 12"/>
                  <a:gd name="T1" fmla="*/ 22 h 22"/>
                  <a:gd name="T2" fmla="*/ 6 w 12"/>
                  <a:gd name="T3" fmla="*/ 14 h 22"/>
                  <a:gd name="T4" fmla="*/ 0 w 12"/>
                  <a:gd name="T5" fmla="*/ 8 h 22"/>
                  <a:gd name="T6" fmla="*/ 6 w 12"/>
                  <a:gd name="T7" fmla="*/ 8 h 22"/>
                  <a:gd name="T8" fmla="*/ 12 w 12"/>
                  <a:gd name="T9" fmla="*/ 0 h 22"/>
                  <a:gd name="T10" fmla="*/ 12 w 12"/>
                  <a:gd name="T11" fmla="*/ 8 h 22"/>
                  <a:gd name="T12" fmla="*/ 12 w 12"/>
                  <a:gd name="T13" fmla="*/ 14 h 22"/>
                  <a:gd name="T14" fmla="*/ 12 w 12"/>
                  <a:gd name="T15" fmla="*/ 22 h 22"/>
                  <a:gd name="T16" fmla="*/ 12 w 12"/>
                  <a:gd name="T17" fmla="*/ 22 h 22"/>
                  <a:gd name="T18" fmla="*/ 12 w 12"/>
                  <a:gd name="T1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22">
                    <a:moveTo>
                      <a:pt x="12" y="22"/>
                    </a:moveTo>
                    <a:lnTo>
                      <a:pt x="6" y="14"/>
                    </a:lnTo>
                    <a:lnTo>
                      <a:pt x="0" y="8"/>
                    </a:lnTo>
                    <a:lnTo>
                      <a:pt x="6" y="8"/>
                    </a:lnTo>
                    <a:lnTo>
                      <a:pt x="12" y="0"/>
                    </a:lnTo>
                    <a:lnTo>
                      <a:pt x="12" y="8"/>
                    </a:lnTo>
                    <a:lnTo>
                      <a:pt x="12" y="14"/>
                    </a:lnTo>
                    <a:lnTo>
                      <a:pt x="12" y="22"/>
                    </a:lnTo>
                    <a:lnTo>
                      <a:pt x="12" y="22"/>
                    </a:lnTo>
                    <a:lnTo>
                      <a:pt x="12" y="22"/>
                    </a:lnTo>
                    <a:close/>
                  </a:path>
                </a:pathLst>
              </a:custGeom>
              <a:solidFill>
                <a:schemeClr val="accent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2" name="Freeform 36"/>
              <p:cNvSpPr>
                <a:spLocks/>
              </p:cNvSpPr>
              <p:nvPr/>
            </p:nvSpPr>
            <p:spPr bwMode="gray">
              <a:xfrm>
                <a:off x="3996657" y="1869589"/>
                <a:ext cx="34933" cy="85744"/>
              </a:xfrm>
              <a:custGeom>
                <a:avLst/>
                <a:gdLst>
                  <a:gd name="T0" fmla="*/ 0 w 22"/>
                  <a:gd name="T1" fmla="*/ 54 h 54"/>
                  <a:gd name="T2" fmla="*/ 8 w 22"/>
                  <a:gd name="T3" fmla="*/ 48 h 54"/>
                  <a:gd name="T4" fmla="*/ 8 w 22"/>
                  <a:gd name="T5" fmla="*/ 42 h 54"/>
                  <a:gd name="T6" fmla="*/ 0 w 22"/>
                  <a:gd name="T7" fmla="*/ 34 h 54"/>
                  <a:gd name="T8" fmla="*/ 0 w 22"/>
                  <a:gd name="T9" fmla="*/ 28 h 54"/>
                  <a:gd name="T10" fmla="*/ 14 w 22"/>
                  <a:gd name="T11" fmla="*/ 28 h 54"/>
                  <a:gd name="T12" fmla="*/ 14 w 22"/>
                  <a:gd name="T13" fmla="*/ 20 h 54"/>
                  <a:gd name="T14" fmla="*/ 22 w 22"/>
                  <a:gd name="T15" fmla="*/ 0 h 54"/>
                  <a:gd name="T16" fmla="*/ 22 w 22"/>
                  <a:gd name="T17" fmla="*/ 14 h 54"/>
                  <a:gd name="T18" fmla="*/ 22 w 22"/>
                  <a:gd name="T19" fmla="*/ 20 h 54"/>
                  <a:gd name="T20" fmla="*/ 22 w 22"/>
                  <a:gd name="T21" fmla="*/ 28 h 54"/>
                  <a:gd name="T22" fmla="*/ 22 w 22"/>
                  <a:gd name="T23" fmla="*/ 34 h 54"/>
                  <a:gd name="T24" fmla="*/ 14 w 22"/>
                  <a:gd name="T25" fmla="*/ 42 h 54"/>
                  <a:gd name="T26" fmla="*/ 14 w 22"/>
                  <a:gd name="T27" fmla="*/ 48 h 54"/>
                  <a:gd name="T28" fmla="*/ 0 w 22"/>
                  <a:gd name="T29" fmla="*/ 54 h 54"/>
                  <a:gd name="T30" fmla="*/ 0 w 22"/>
                  <a:gd name="T31" fmla="*/ 54 h 54"/>
                  <a:gd name="T32" fmla="*/ 0 w 22"/>
                  <a:gd name="T3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54">
                    <a:moveTo>
                      <a:pt x="0" y="54"/>
                    </a:moveTo>
                    <a:lnTo>
                      <a:pt x="8" y="48"/>
                    </a:lnTo>
                    <a:lnTo>
                      <a:pt x="8" y="42"/>
                    </a:lnTo>
                    <a:lnTo>
                      <a:pt x="0" y="34"/>
                    </a:lnTo>
                    <a:lnTo>
                      <a:pt x="0" y="28"/>
                    </a:lnTo>
                    <a:lnTo>
                      <a:pt x="14" y="28"/>
                    </a:lnTo>
                    <a:lnTo>
                      <a:pt x="14" y="20"/>
                    </a:lnTo>
                    <a:lnTo>
                      <a:pt x="22" y="0"/>
                    </a:lnTo>
                    <a:lnTo>
                      <a:pt x="22" y="14"/>
                    </a:lnTo>
                    <a:lnTo>
                      <a:pt x="22" y="20"/>
                    </a:lnTo>
                    <a:lnTo>
                      <a:pt x="22" y="28"/>
                    </a:lnTo>
                    <a:lnTo>
                      <a:pt x="22" y="34"/>
                    </a:lnTo>
                    <a:lnTo>
                      <a:pt x="14" y="42"/>
                    </a:lnTo>
                    <a:lnTo>
                      <a:pt x="14" y="48"/>
                    </a:lnTo>
                    <a:lnTo>
                      <a:pt x="0" y="54"/>
                    </a:lnTo>
                    <a:lnTo>
                      <a:pt x="0" y="54"/>
                    </a:lnTo>
                    <a:lnTo>
                      <a:pt x="0" y="54"/>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3" name="Freeform 37"/>
              <p:cNvSpPr>
                <a:spLocks/>
              </p:cNvSpPr>
              <p:nvPr/>
            </p:nvSpPr>
            <p:spPr bwMode="gray">
              <a:xfrm>
                <a:off x="3566349" y="2012495"/>
                <a:ext cx="76217" cy="76217"/>
              </a:xfrm>
              <a:custGeom>
                <a:avLst/>
                <a:gdLst>
                  <a:gd name="T0" fmla="*/ 0 w 48"/>
                  <a:gd name="T1" fmla="*/ 48 h 48"/>
                  <a:gd name="T2" fmla="*/ 6 w 48"/>
                  <a:gd name="T3" fmla="*/ 34 h 48"/>
                  <a:gd name="T4" fmla="*/ 14 w 48"/>
                  <a:gd name="T5" fmla="*/ 28 h 48"/>
                  <a:gd name="T6" fmla="*/ 20 w 48"/>
                  <a:gd name="T7" fmla="*/ 34 h 48"/>
                  <a:gd name="T8" fmla="*/ 20 w 48"/>
                  <a:gd name="T9" fmla="*/ 42 h 48"/>
                  <a:gd name="T10" fmla="*/ 28 w 48"/>
                  <a:gd name="T11" fmla="*/ 34 h 48"/>
                  <a:gd name="T12" fmla="*/ 28 w 48"/>
                  <a:gd name="T13" fmla="*/ 28 h 48"/>
                  <a:gd name="T14" fmla="*/ 34 w 48"/>
                  <a:gd name="T15" fmla="*/ 20 h 48"/>
                  <a:gd name="T16" fmla="*/ 42 w 48"/>
                  <a:gd name="T17" fmla="*/ 20 h 48"/>
                  <a:gd name="T18" fmla="*/ 42 w 48"/>
                  <a:gd name="T19" fmla="*/ 14 h 48"/>
                  <a:gd name="T20" fmla="*/ 48 w 48"/>
                  <a:gd name="T21" fmla="*/ 6 h 48"/>
                  <a:gd name="T22" fmla="*/ 48 w 48"/>
                  <a:gd name="T23" fmla="*/ 0 h 48"/>
                  <a:gd name="T24" fmla="*/ 42 w 48"/>
                  <a:gd name="T25" fmla="*/ 6 h 48"/>
                  <a:gd name="T26" fmla="*/ 34 w 48"/>
                  <a:gd name="T27" fmla="*/ 6 h 48"/>
                  <a:gd name="T28" fmla="*/ 20 w 48"/>
                  <a:gd name="T29" fmla="*/ 6 h 48"/>
                  <a:gd name="T30" fmla="*/ 20 w 48"/>
                  <a:gd name="T31" fmla="*/ 20 h 48"/>
                  <a:gd name="T32" fmla="*/ 14 w 48"/>
                  <a:gd name="T33" fmla="*/ 14 h 48"/>
                  <a:gd name="T34" fmla="*/ 14 w 48"/>
                  <a:gd name="T35" fmla="*/ 6 h 48"/>
                  <a:gd name="T36" fmla="*/ 6 w 48"/>
                  <a:gd name="T37" fmla="*/ 14 h 48"/>
                  <a:gd name="T38" fmla="*/ 6 w 48"/>
                  <a:gd name="T39" fmla="*/ 20 h 48"/>
                  <a:gd name="T40" fmla="*/ 0 w 48"/>
                  <a:gd name="T41" fmla="*/ 34 h 48"/>
                  <a:gd name="T42" fmla="*/ 0 w 48"/>
                  <a:gd name="T43" fmla="*/ 42 h 48"/>
                  <a:gd name="T44" fmla="*/ 0 w 48"/>
                  <a:gd name="T45" fmla="*/ 48 h 48"/>
                  <a:gd name="T46" fmla="*/ 0 w 48"/>
                  <a:gd name="T47" fmla="*/ 48 h 48"/>
                  <a:gd name="T48" fmla="*/ 0 w 48"/>
                  <a:gd name="T4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 h="48">
                    <a:moveTo>
                      <a:pt x="0" y="48"/>
                    </a:moveTo>
                    <a:lnTo>
                      <a:pt x="6" y="34"/>
                    </a:lnTo>
                    <a:lnTo>
                      <a:pt x="14" y="28"/>
                    </a:lnTo>
                    <a:lnTo>
                      <a:pt x="20" y="34"/>
                    </a:lnTo>
                    <a:lnTo>
                      <a:pt x="20" y="42"/>
                    </a:lnTo>
                    <a:lnTo>
                      <a:pt x="28" y="34"/>
                    </a:lnTo>
                    <a:lnTo>
                      <a:pt x="28" y="28"/>
                    </a:lnTo>
                    <a:lnTo>
                      <a:pt x="34" y="20"/>
                    </a:lnTo>
                    <a:lnTo>
                      <a:pt x="42" y="20"/>
                    </a:lnTo>
                    <a:lnTo>
                      <a:pt x="42" y="14"/>
                    </a:lnTo>
                    <a:lnTo>
                      <a:pt x="48" y="6"/>
                    </a:lnTo>
                    <a:lnTo>
                      <a:pt x="48" y="0"/>
                    </a:lnTo>
                    <a:lnTo>
                      <a:pt x="42" y="6"/>
                    </a:lnTo>
                    <a:lnTo>
                      <a:pt x="34" y="6"/>
                    </a:lnTo>
                    <a:lnTo>
                      <a:pt x="20" y="6"/>
                    </a:lnTo>
                    <a:lnTo>
                      <a:pt x="20" y="20"/>
                    </a:lnTo>
                    <a:lnTo>
                      <a:pt x="14" y="14"/>
                    </a:lnTo>
                    <a:lnTo>
                      <a:pt x="14" y="6"/>
                    </a:lnTo>
                    <a:lnTo>
                      <a:pt x="6" y="14"/>
                    </a:lnTo>
                    <a:lnTo>
                      <a:pt x="6" y="20"/>
                    </a:lnTo>
                    <a:lnTo>
                      <a:pt x="0" y="34"/>
                    </a:lnTo>
                    <a:lnTo>
                      <a:pt x="0" y="42"/>
                    </a:lnTo>
                    <a:lnTo>
                      <a:pt x="0" y="48"/>
                    </a:lnTo>
                    <a:lnTo>
                      <a:pt x="0" y="48"/>
                    </a:lnTo>
                    <a:lnTo>
                      <a:pt x="0" y="48"/>
                    </a:lnTo>
                    <a:close/>
                  </a:path>
                </a:pathLst>
              </a:custGeom>
              <a:solidFill>
                <a:schemeClr val="bg1">
                  <a:lumMod val="85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4" name="Freeform 38"/>
              <p:cNvSpPr>
                <a:spLocks/>
              </p:cNvSpPr>
              <p:nvPr/>
            </p:nvSpPr>
            <p:spPr bwMode="gray">
              <a:xfrm>
                <a:off x="3553646" y="2514257"/>
                <a:ext cx="34933" cy="31757"/>
              </a:xfrm>
              <a:custGeom>
                <a:avLst/>
                <a:gdLst>
                  <a:gd name="T0" fmla="*/ 0 w 22"/>
                  <a:gd name="T1" fmla="*/ 14 h 20"/>
                  <a:gd name="T2" fmla="*/ 6 w 22"/>
                  <a:gd name="T3" fmla="*/ 6 h 20"/>
                  <a:gd name="T4" fmla="*/ 14 w 22"/>
                  <a:gd name="T5" fmla="*/ 0 h 20"/>
                  <a:gd name="T6" fmla="*/ 22 w 22"/>
                  <a:gd name="T7" fmla="*/ 6 h 20"/>
                  <a:gd name="T8" fmla="*/ 22 w 22"/>
                  <a:gd name="T9" fmla="*/ 14 h 20"/>
                  <a:gd name="T10" fmla="*/ 6 w 22"/>
                  <a:gd name="T11" fmla="*/ 20 h 20"/>
                  <a:gd name="T12" fmla="*/ 0 w 22"/>
                  <a:gd name="T13" fmla="*/ 14 h 20"/>
                  <a:gd name="T14" fmla="*/ 0 w 22"/>
                  <a:gd name="T15" fmla="*/ 14 h 20"/>
                  <a:gd name="T16" fmla="*/ 0 w 22"/>
                  <a:gd name="T17"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0">
                    <a:moveTo>
                      <a:pt x="0" y="14"/>
                    </a:moveTo>
                    <a:lnTo>
                      <a:pt x="6" y="6"/>
                    </a:lnTo>
                    <a:lnTo>
                      <a:pt x="14" y="0"/>
                    </a:lnTo>
                    <a:lnTo>
                      <a:pt x="22" y="6"/>
                    </a:lnTo>
                    <a:lnTo>
                      <a:pt x="22" y="14"/>
                    </a:lnTo>
                    <a:lnTo>
                      <a:pt x="6" y="20"/>
                    </a:lnTo>
                    <a:lnTo>
                      <a:pt x="0" y="14"/>
                    </a:lnTo>
                    <a:lnTo>
                      <a:pt x="0" y="14"/>
                    </a:lnTo>
                    <a:lnTo>
                      <a:pt x="0" y="14"/>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5" name="Freeform 39"/>
              <p:cNvSpPr>
                <a:spLocks/>
              </p:cNvSpPr>
              <p:nvPr/>
            </p:nvSpPr>
            <p:spPr bwMode="gray">
              <a:xfrm>
                <a:off x="3579052" y="2110942"/>
                <a:ext cx="41284" cy="66690"/>
              </a:xfrm>
              <a:custGeom>
                <a:avLst/>
                <a:gdLst>
                  <a:gd name="T0" fmla="*/ 20 w 26"/>
                  <a:gd name="T1" fmla="*/ 28 h 42"/>
                  <a:gd name="T2" fmla="*/ 20 w 26"/>
                  <a:gd name="T3" fmla="*/ 22 h 42"/>
                  <a:gd name="T4" fmla="*/ 20 w 26"/>
                  <a:gd name="T5" fmla="*/ 14 h 42"/>
                  <a:gd name="T6" fmla="*/ 26 w 26"/>
                  <a:gd name="T7" fmla="*/ 8 h 42"/>
                  <a:gd name="T8" fmla="*/ 26 w 26"/>
                  <a:gd name="T9" fmla="*/ 0 h 42"/>
                  <a:gd name="T10" fmla="*/ 20 w 26"/>
                  <a:gd name="T11" fmla="*/ 8 h 42"/>
                  <a:gd name="T12" fmla="*/ 12 w 26"/>
                  <a:gd name="T13" fmla="*/ 14 h 42"/>
                  <a:gd name="T14" fmla="*/ 12 w 26"/>
                  <a:gd name="T15" fmla="*/ 8 h 42"/>
                  <a:gd name="T16" fmla="*/ 12 w 26"/>
                  <a:gd name="T17" fmla="*/ 0 h 42"/>
                  <a:gd name="T18" fmla="*/ 0 w 26"/>
                  <a:gd name="T19" fmla="*/ 8 h 42"/>
                  <a:gd name="T20" fmla="*/ 0 w 26"/>
                  <a:gd name="T21" fmla="*/ 14 h 42"/>
                  <a:gd name="T22" fmla="*/ 0 w 26"/>
                  <a:gd name="T23" fmla="*/ 22 h 42"/>
                  <a:gd name="T24" fmla="*/ 12 w 26"/>
                  <a:gd name="T25" fmla="*/ 14 h 42"/>
                  <a:gd name="T26" fmla="*/ 6 w 26"/>
                  <a:gd name="T27" fmla="*/ 28 h 42"/>
                  <a:gd name="T28" fmla="*/ 12 w 26"/>
                  <a:gd name="T29" fmla="*/ 34 h 42"/>
                  <a:gd name="T30" fmla="*/ 12 w 26"/>
                  <a:gd name="T31" fmla="*/ 42 h 42"/>
                  <a:gd name="T32" fmla="*/ 20 w 26"/>
                  <a:gd name="T33" fmla="*/ 28 h 42"/>
                  <a:gd name="T34" fmla="*/ 20 w 26"/>
                  <a:gd name="T35" fmla="*/ 28 h 42"/>
                  <a:gd name="T36" fmla="*/ 20 w 26"/>
                  <a:gd name="T37" fmla="*/ 2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2">
                    <a:moveTo>
                      <a:pt x="20" y="28"/>
                    </a:moveTo>
                    <a:lnTo>
                      <a:pt x="20" y="22"/>
                    </a:lnTo>
                    <a:lnTo>
                      <a:pt x="20" y="14"/>
                    </a:lnTo>
                    <a:lnTo>
                      <a:pt x="26" y="8"/>
                    </a:lnTo>
                    <a:lnTo>
                      <a:pt x="26" y="0"/>
                    </a:lnTo>
                    <a:lnTo>
                      <a:pt x="20" y="8"/>
                    </a:lnTo>
                    <a:lnTo>
                      <a:pt x="12" y="14"/>
                    </a:lnTo>
                    <a:lnTo>
                      <a:pt x="12" y="8"/>
                    </a:lnTo>
                    <a:lnTo>
                      <a:pt x="12" y="0"/>
                    </a:lnTo>
                    <a:lnTo>
                      <a:pt x="0" y="8"/>
                    </a:lnTo>
                    <a:lnTo>
                      <a:pt x="0" y="14"/>
                    </a:lnTo>
                    <a:lnTo>
                      <a:pt x="0" y="22"/>
                    </a:lnTo>
                    <a:lnTo>
                      <a:pt x="12" y="14"/>
                    </a:lnTo>
                    <a:lnTo>
                      <a:pt x="6" y="28"/>
                    </a:lnTo>
                    <a:lnTo>
                      <a:pt x="12" y="34"/>
                    </a:lnTo>
                    <a:lnTo>
                      <a:pt x="12" y="42"/>
                    </a:lnTo>
                    <a:lnTo>
                      <a:pt x="20" y="28"/>
                    </a:lnTo>
                    <a:lnTo>
                      <a:pt x="20" y="28"/>
                    </a:lnTo>
                    <a:lnTo>
                      <a:pt x="20" y="28"/>
                    </a:lnTo>
                    <a:close/>
                  </a:path>
                </a:pathLst>
              </a:custGeom>
              <a:solidFill>
                <a:schemeClr val="accent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6" name="Freeform 40"/>
              <p:cNvSpPr>
                <a:spLocks/>
              </p:cNvSpPr>
              <p:nvPr/>
            </p:nvSpPr>
            <p:spPr bwMode="gray">
              <a:xfrm>
                <a:off x="3566349" y="2231619"/>
                <a:ext cx="22230" cy="31757"/>
              </a:xfrm>
              <a:custGeom>
                <a:avLst/>
                <a:gdLst>
                  <a:gd name="T0" fmla="*/ 6 w 14"/>
                  <a:gd name="T1" fmla="*/ 20 h 20"/>
                  <a:gd name="T2" fmla="*/ 6 w 14"/>
                  <a:gd name="T3" fmla="*/ 14 h 20"/>
                  <a:gd name="T4" fmla="*/ 0 w 14"/>
                  <a:gd name="T5" fmla="*/ 14 h 20"/>
                  <a:gd name="T6" fmla="*/ 6 w 14"/>
                  <a:gd name="T7" fmla="*/ 6 h 20"/>
                  <a:gd name="T8" fmla="*/ 6 w 14"/>
                  <a:gd name="T9" fmla="*/ 0 h 20"/>
                  <a:gd name="T10" fmla="*/ 0 w 14"/>
                  <a:gd name="T11" fmla="*/ 0 h 20"/>
                  <a:gd name="T12" fmla="*/ 14 w 14"/>
                  <a:gd name="T13" fmla="*/ 6 h 20"/>
                  <a:gd name="T14" fmla="*/ 14 w 14"/>
                  <a:gd name="T15" fmla="*/ 14 h 20"/>
                  <a:gd name="T16" fmla="*/ 6 w 14"/>
                  <a:gd name="T17" fmla="*/ 14 h 20"/>
                  <a:gd name="T18" fmla="*/ 6 w 14"/>
                  <a:gd name="T19" fmla="*/ 20 h 20"/>
                  <a:gd name="T20" fmla="*/ 6 w 14"/>
                  <a:gd name="T21" fmla="*/ 20 h 20"/>
                  <a:gd name="T22" fmla="*/ 6 w 14"/>
                  <a:gd name="T2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6" y="20"/>
                    </a:moveTo>
                    <a:lnTo>
                      <a:pt x="6" y="14"/>
                    </a:lnTo>
                    <a:lnTo>
                      <a:pt x="0" y="14"/>
                    </a:lnTo>
                    <a:lnTo>
                      <a:pt x="6" y="6"/>
                    </a:lnTo>
                    <a:lnTo>
                      <a:pt x="6" y="0"/>
                    </a:lnTo>
                    <a:lnTo>
                      <a:pt x="0" y="0"/>
                    </a:lnTo>
                    <a:lnTo>
                      <a:pt x="14" y="6"/>
                    </a:lnTo>
                    <a:lnTo>
                      <a:pt x="14" y="14"/>
                    </a:lnTo>
                    <a:lnTo>
                      <a:pt x="6" y="14"/>
                    </a:lnTo>
                    <a:lnTo>
                      <a:pt x="6" y="20"/>
                    </a:lnTo>
                    <a:lnTo>
                      <a:pt x="6" y="20"/>
                    </a:lnTo>
                    <a:lnTo>
                      <a:pt x="6" y="20"/>
                    </a:lnTo>
                    <a:close/>
                  </a:path>
                </a:pathLst>
              </a:custGeom>
              <a:solidFill>
                <a:schemeClr val="accent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7" name="Freeform 41"/>
              <p:cNvSpPr>
                <a:spLocks/>
              </p:cNvSpPr>
              <p:nvPr/>
            </p:nvSpPr>
            <p:spPr bwMode="gray">
              <a:xfrm>
                <a:off x="3309117" y="2409458"/>
                <a:ext cx="639905" cy="612911"/>
              </a:xfrm>
              <a:custGeom>
                <a:avLst/>
                <a:gdLst>
                  <a:gd name="T0" fmla="*/ 36 w 403"/>
                  <a:gd name="T1" fmla="*/ 330 h 386"/>
                  <a:gd name="T2" fmla="*/ 76 w 403"/>
                  <a:gd name="T3" fmla="*/ 302 h 386"/>
                  <a:gd name="T4" fmla="*/ 92 w 403"/>
                  <a:gd name="T5" fmla="*/ 296 h 386"/>
                  <a:gd name="T6" fmla="*/ 112 w 403"/>
                  <a:gd name="T7" fmla="*/ 302 h 386"/>
                  <a:gd name="T8" fmla="*/ 140 w 403"/>
                  <a:gd name="T9" fmla="*/ 310 h 386"/>
                  <a:gd name="T10" fmla="*/ 166 w 403"/>
                  <a:gd name="T11" fmla="*/ 296 h 386"/>
                  <a:gd name="T12" fmla="*/ 194 w 403"/>
                  <a:gd name="T13" fmla="*/ 282 h 386"/>
                  <a:gd name="T14" fmla="*/ 180 w 403"/>
                  <a:gd name="T15" fmla="*/ 276 h 386"/>
                  <a:gd name="T16" fmla="*/ 174 w 403"/>
                  <a:gd name="T17" fmla="*/ 248 h 386"/>
                  <a:gd name="T18" fmla="*/ 188 w 403"/>
                  <a:gd name="T19" fmla="*/ 228 h 386"/>
                  <a:gd name="T20" fmla="*/ 202 w 403"/>
                  <a:gd name="T21" fmla="*/ 200 h 386"/>
                  <a:gd name="T22" fmla="*/ 202 w 403"/>
                  <a:gd name="T23" fmla="*/ 172 h 386"/>
                  <a:gd name="T24" fmla="*/ 222 w 403"/>
                  <a:gd name="T25" fmla="*/ 164 h 386"/>
                  <a:gd name="T26" fmla="*/ 208 w 403"/>
                  <a:gd name="T27" fmla="*/ 152 h 386"/>
                  <a:gd name="T28" fmla="*/ 222 w 403"/>
                  <a:gd name="T29" fmla="*/ 130 h 386"/>
                  <a:gd name="T30" fmla="*/ 242 w 403"/>
                  <a:gd name="T31" fmla="*/ 116 h 386"/>
                  <a:gd name="T32" fmla="*/ 216 w 403"/>
                  <a:gd name="T33" fmla="*/ 110 h 386"/>
                  <a:gd name="T34" fmla="*/ 216 w 403"/>
                  <a:gd name="T35" fmla="*/ 82 h 386"/>
                  <a:gd name="T36" fmla="*/ 230 w 403"/>
                  <a:gd name="T37" fmla="*/ 48 h 386"/>
                  <a:gd name="T38" fmla="*/ 250 w 403"/>
                  <a:gd name="T39" fmla="*/ 40 h 386"/>
                  <a:gd name="T40" fmla="*/ 270 w 403"/>
                  <a:gd name="T41" fmla="*/ 34 h 386"/>
                  <a:gd name="T42" fmla="*/ 284 w 403"/>
                  <a:gd name="T43" fmla="*/ 20 h 386"/>
                  <a:gd name="T44" fmla="*/ 298 w 403"/>
                  <a:gd name="T45" fmla="*/ 14 h 386"/>
                  <a:gd name="T46" fmla="*/ 326 w 403"/>
                  <a:gd name="T47" fmla="*/ 20 h 386"/>
                  <a:gd name="T48" fmla="*/ 326 w 403"/>
                  <a:gd name="T49" fmla="*/ 54 h 386"/>
                  <a:gd name="T50" fmla="*/ 320 w 403"/>
                  <a:gd name="T51" fmla="*/ 90 h 386"/>
                  <a:gd name="T52" fmla="*/ 340 w 403"/>
                  <a:gd name="T53" fmla="*/ 102 h 386"/>
                  <a:gd name="T54" fmla="*/ 346 w 403"/>
                  <a:gd name="T55" fmla="*/ 130 h 386"/>
                  <a:gd name="T56" fmla="*/ 332 w 403"/>
                  <a:gd name="T57" fmla="*/ 164 h 386"/>
                  <a:gd name="T58" fmla="*/ 346 w 403"/>
                  <a:gd name="T59" fmla="*/ 178 h 386"/>
                  <a:gd name="T60" fmla="*/ 354 w 403"/>
                  <a:gd name="T61" fmla="*/ 206 h 386"/>
                  <a:gd name="T62" fmla="*/ 332 w 403"/>
                  <a:gd name="T63" fmla="*/ 228 h 386"/>
                  <a:gd name="T64" fmla="*/ 346 w 403"/>
                  <a:gd name="T65" fmla="*/ 240 h 386"/>
                  <a:gd name="T66" fmla="*/ 383 w 403"/>
                  <a:gd name="T67" fmla="*/ 240 h 386"/>
                  <a:gd name="T68" fmla="*/ 403 w 403"/>
                  <a:gd name="T69" fmla="*/ 276 h 386"/>
                  <a:gd name="T70" fmla="*/ 383 w 403"/>
                  <a:gd name="T71" fmla="*/ 310 h 386"/>
                  <a:gd name="T72" fmla="*/ 360 w 403"/>
                  <a:gd name="T73" fmla="*/ 316 h 386"/>
                  <a:gd name="T74" fmla="*/ 346 w 403"/>
                  <a:gd name="T75" fmla="*/ 324 h 386"/>
                  <a:gd name="T76" fmla="*/ 326 w 403"/>
                  <a:gd name="T77" fmla="*/ 330 h 386"/>
                  <a:gd name="T78" fmla="*/ 332 w 403"/>
                  <a:gd name="T79" fmla="*/ 352 h 386"/>
                  <a:gd name="T80" fmla="*/ 360 w 403"/>
                  <a:gd name="T81" fmla="*/ 352 h 386"/>
                  <a:gd name="T82" fmla="*/ 346 w 403"/>
                  <a:gd name="T83" fmla="*/ 372 h 386"/>
                  <a:gd name="T84" fmla="*/ 320 w 403"/>
                  <a:gd name="T85" fmla="*/ 378 h 386"/>
                  <a:gd name="T86" fmla="*/ 284 w 403"/>
                  <a:gd name="T87" fmla="*/ 372 h 386"/>
                  <a:gd name="T88" fmla="*/ 250 w 403"/>
                  <a:gd name="T89" fmla="*/ 372 h 386"/>
                  <a:gd name="T90" fmla="*/ 230 w 403"/>
                  <a:gd name="T91" fmla="*/ 358 h 386"/>
                  <a:gd name="T92" fmla="*/ 202 w 403"/>
                  <a:gd name="T93" fmla="*/ 364 h 386"/>
                  <a:gd name="T94" fmla="*/ 166 w 403"/>
                  <a:gd name="T95" fmla="*/ 364 h 386"/>
                  <a:gd name="T96" fmla="*/ 146 w 403"/>
                  <a:gd name="T97" fmla="*/ 344 h 386"/>
                  <a:gd name="T98" fmla="*/ 118 w 403"/>
                  <a:gd name="T99" fmla="*/ 338 h 386"/>
                  <a:gd name="T100" fmla="*/ 104 w 403"/>
                  <a:gd name="T101" fmla="*/ 364 h 386"/>
                  <a:gd name="T102" fmla="*/ 70 w 403"/>
                  <a:gd name="T103" fmla="*/ 352 h 386"/>
                  <a:gd name="T104" fmla="*/ 36 w 403"/>
                  <a:gd name="T105" fmla="*/ 352 h 386"/>
                  <a:gd name="T106" fmla="*/ 14 w 403"/>
                  <a:gd name="T107" fmla="*/ 358 h 386"/>
                  <a:gd name="T108" fmla="*/ 14 w 403"/>
                  <a:gd name="T109" fmla="*/ 344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3" h="386">
                    <a:moveTo>
                      <a:pt x="14" y="344"/>
                    </a:moveTo>
                    <a:lnTo>
                      <a:pt x="28" y="338"/>
                    </a:lnTo>
                    <a:lnTo>
                      <a:pt x="36" y="338"/>
                    </a:lnTo>
                    <a:lnTo>
                      <a:pt x="36" y="330"/>
                    </a:lnTo>
                    <a:lnTo>
                      <a:pt x="56" y="324"/>
                    </a:lnTo>
                    <a:lnTo>
                      <a:pt x="70" y="324"/>
                    </a:lnTo>
                    <a:lnTo>
                      <a:pt x="76" y="310"/>
                    </a:lnTo>
                    <a:lnTo>
                      <a:pt x="76" y="302"/>
                    </a:lnTo>
                    <a:lnTo>
                      <a:pt x="84" y="302"/>
                    </a:lnTo>
                    <a:lnTo>
                      <a:pt x="92" y="310"/>
                    </a:lnTo>
                    <a:lnTo>
                      <a:pt x="98" y="302"/>
                    </a:lnTo>
                    <a:lnTo>
                      <a:pt x="92" y="296"/>
                    </a:lnTo>
                    <a:lnTo>
                      <a:pt x="98" y="296"/>
                    </a:lnTo>
                    <a:lnTo>
                      <a:pt x="104" y="296"/>
                    </a:lnTo>
                    <a:lnTo>
                      <a:pt x="112" y="296"/>
                    </a:lnTo>
                    <a:lnTo>
                      <a:pt x="112" y="302"/>
                    </a:lnTo>
                    <a:lnTo>
                      <a:pt x="118" y="302"/>
                    </a:lnTo>
                    <a:lnTo>
                      <a:pt x="126" y="310"/>
                    </a:lnTo>
                    <a:lnTo>
                      <a:pt x="132" y="310"/>
                    </a:lnTo>
                    <a:lnTo>
                      <a:pt x="140" y="310"/>
                    </a:lnTo>
                    <a:lnTo>
                      <a:pt x="154" y="310"/>
                    </a:lnTo>
                    <a:lnTo>
                      <a:pt x="160" y="310"/>
                    </a:lnTo>
                    <a:lnTo>
                      <a:pt x="160" y="302"/>
                    </a:lnTo>
                    <a:lnTo>
                      <a:pt x="166" y="296"/>
                    </a:lnTo>
                    <a:lnTo>
                      <a:pt x="174" y="296"/>
                    </a:lnTo>
                    <a:lnTo>
                      <a:pt x="180" y="296"/>
                    </a:lnTo>
                    <a:lnTo>
                      <a:pt x="188" y="290"/>
                    </a:lnTo>
                    <a:lnTo>
                      <a:pt x="194" y="282"/>
                    </a:lnTo>
                    <a:lnTo>
                      <a:pt x="188" y="282"/>
                    </a:lnTo>
                    <a:lnTo>
                      <a:pt x="174" y="282"/>
                    </a:lnTo>
                    <a:lnTo>
                      <a:pt x="174" y="276"/>
                    </a:lnTo>
                    <a:lnTo>
                      <a:pt x="180" y="276"/>
                    </a:lnTo>
                    <a:lnTo>
                      <a:pt x="180" y="262"/>
                    </a:lnTo>
                    <a:lnTo>
                      <a:pt x="174" y="262"/>
                    </a:lnTo>
                    <a:lnTo>
                      <a:pt x="174" y="254"/>
                    </a:lnTo>
                    <a:lnTo>
                      <a:pt x="174" y="248"/>
                    </a:lnTo>
                    <a:lnTo>
                      <a:pt x="180" y="240"/>
                    </a:lnTo>
                    <a:lnTo>
                      <a:pt x="188" y="228"/>
                    </a:lnTo>
                    <a:lnTo>
                      <a:pt x="180" y="228"/>
                    </a:lnTo>
                    <a:lnTo>
                      <a:pt x="188" y="228"/>
                    </a:lnTo>
                    <a:lnTo>
                      <a:pt x="194" y="220"/>
                    </a:lnTo>
                    <a:lnTo>
                      <a:pt x="194" y="214"/>
                    </a:lnTo>
                    <a:lnTo>
                      <a:pt x="194" y="206"/>
                    </a:lnTo>
                    <a:lnTo>
                      <a:pt x="202" y="200"/>
                    </a:lnTo>
                    <a:lnTo>
                      <a:pt x="208" y="192"/>
                    </a:lnTo>
                    <a:lnTo>
                      <a:pt x="208" y="186"/>
                    </a:lnTo>
                    <a:lnTo>
                      <a:pt x="202" y="178"/>
                    </a:lnTo>
                    <a:lnTo>
                      <a:pt x="202" y="172"/>
                    </a:lnTo>
                    <a:lnTo>
                      <a:pt x="208" y="164"/>
                    </a:lnTo>
                    <a:lnTo>
                      <a:pt x="208" y="172"/>
                    </a:lnTo>
                    <a:lnTo>
                      <a:pt x="216" y="172"/>
                    </a:lnTo>
                    <a:lnTo>
                      <a:pt x="222" y="164"/>
                    </a:lnTo>
                    <a:lnTo>
                      <a:pt x="216" y="164"/>
                    </a:lnTo>
                    <a:lnTo>
                      <a:pt x="216" y="158"/>
                    </a:lnTo>
                    <a:lnTo>
                      <a:pt x="216" y="152"/>
                    </a:lnTo>
                    <a:lnTo>
                      <a:pt x="208" y="152"/>
                    </a:lnTo>
                    <a:lnTo>
                      <a:pt x="208" y="144"/>
                    </a:lnTo>
                    <a:lnTo>
                      <a:pt x="216" y="138"/>
                    </a:lnTo>
                    <a:lnTo>
                      <a:pt x="222" y="138"/>
                    </a:lnTo>
                    <a:lnTo>
                      <a:pt x="222" y="130"/>
                    </a:lnTo>
                    <a:lnTo>
                      <a:pt x="222" y="124"/>
                    </a:lnTo>
                    <a:lnTo>
                      <a:pt x="230" y="124"/>
                    </a:lnTo>
                    <a:lnTo>
                      <a:pt x="230" y="116"/>
                    </a:lnTo>
                    <a:lnTo>
                      <a:pt x="242" y="116"/>
                    </a:lnTo>
                    <a:lnTo>
                      <a:pt x="242" y="110"/>
                    </a:lnTo>
                    <a:lnTo>
                      <a:pt x="230" y="102"/>
                    </a:lnTo>
                    <a:lnTo>
                      <a:pt x="222" y="102"/>
                    </a:lnTo>
                    <a:lnTo>
                      <a:pt x="216" y="110"/>
                    </a:lnTo>
                    <a:lnTo>
                      <a:pt x="230" y="96"/>
                    </a:lnTo>
                    <a:lnTo>
                      <a:pt x="222" y="96"/>
                    </a:lnTo>
                    <a:lnTo>
                      <a:pt x="216" y="90"/>
                    </a:lnTo>
                    <a:lnTo>
                      <a:pt x="216" y="82"/>
                    </a:lnTo>
                    <a:lnTo>
                      <a:pt x="216" y="68"/>
                    </a:lnTo>
                    <a:lnTo>
                      <a:pt x="216" y="62"/>
                    </a:lnTo>
                    <a:lnTo>
                      <a:pt x="222" y="54"/>
                    </a:lnTo>
                    <a:lnTo>
                      <a:pt x="230" y="48"/>
                    </a:lnTo>
                    <a:lnTo>
                      <a:pt x="236" y="54"/>
                    </a:lnTo>
                    <a:lnTo>
                      <a:pt x="236" y="48"/>
                    </a:lnTo>
                    <a:lnTo>
                      <a:pt x="242" y="48"/>
                    </a:lnTo>
                    <a:lnTo>
                      <a:pt x="250" y="40"/>
                    </a:lnTo>
                    <a:lnTo>
                      <a:pt x="250" y="48"/>
                    </a:lnTo>
                    <a:lnTo>
                      <a:pt x="256" y="48"/>
                    </a:lnTo>
                    <a:lnTo>
                      <a:pt x="264" y="40"/>
                    </a:lnTo>
                    <a:lnTo>
                      <a:pt x="270" y="34"/>
                    </a:lnTo>
                    <a:lnTo>
                      <a:pt x="278" y="34"/>
                    </a:lnTo>
                    <a:lnTo>
                      <a:pt x="278" y="28"/>
                    </a:lnTo>
                    <a:lnTo>
                      <a:pt x="284" y="28"/>
                    </a:lnTo>
                    <a:lnTo>
                      <a:pt x="284" y="20"/>
                    </a:lnTo>
                    <a:lnTo>
                      <a:pt x="292" y="20"/>
                    </a:lnTo>
                    <a:lnTo>
                      <a:pt x="298" y="28"/>
                    </a:lnTo>
                    <a:lnTo>
                      <a:pt x="306" y="20"/>
                    </a:lnTo>
                    <a:lnTo>
                      <a:pt x="298" y="14"/>
                    </a:lnTo>
                    <a:lnTo>
                      <a:pt x="306" y="14"/>
                    </a:lnTo>
                    <a:lnTo>
                      <a:pt x="312" y="0"/>
                    </a:lnTo>
                    <a:lnTo>
                      <a:pt x="320" y="14"/>
                    </a:lnTo>
                    <a:lnTo>
                      <a:pt x="326" y="20"/>
                    </a:lnTo>
                    <a:lnTo>
                      <a:pt x="320" y="34"/>
                    </a:lnTo>
                    <a:lnTo>
                      <a:pt x="320" y="40"/>
                    </a:lnTo>
                    <a:lnTo>
                      <a:pt x="320" y="48"/>
                    </a:lnTo>
                    <a:lnTo>
                      <a:pt x="326" y="54"/>
                    </a:lnTo>
                    <a:lnTo>
                      <a:pt x="326" y="62"/>
                    </a:lnTo>
                    <a:lnTo>
                      <a:pt x="320" y="68"/>
                    </a:lnTo>
                    <a:lnTo>
                      <a:pt x="320" y="76"/>
                    </a:lnTo>
                    <a:lnTo>
                      <a:pt x="320" y="90"/>
                    </a:lnTo>
                    <a:lnTo>
                      <a:pt x="320" y="96"/>
                    </a:lnTo>
                    <a:lnTo>
                      <a:pt x="326" y="96"/>
                    </a:lnTo>
                    <a:lnTo>
                      <a:pt x="332" y="102"/>
                    </a:lnTo>
                    <a:lnTo>
                      <a:pt x="340" y="102"/>
                    </a:lnTo>
                    <a:lnTo>
                      <a:pt x="340" y="110"/>
                    </a:lnTo>
                    <a:lnTo>
                      <a:pt x="346" y="116"/>
                    </a:lnTo>
                    <a:lnTo>
                      <a:pt x="346" y="124"/>
                    </a:lnTo>
                    <a:lnTo>
                      <a:pt x="346" y="130"/>
                    </a:lnTo>
                    <a:lnTo>
                      <a:pt x="346" y="138"/>
                    </a:lnTo>
                    <a:lnTo>
                      <a:pt x="346" y="172"/>
                    </a:lnTo>
                    <a:lnTo>
                      <a:pt x="340" y="164"/>
                    </a:lnTo>
                    <a:lnTo>
                      <a:pt x="332" y="164"/>
                    </a:lnTo>
                    <a:lnTo>
                      <a:pt x="326" y="164"/>
                    </a:lnTo>
                    <a:lnTo>
                      <a:pt x="326" y="172"/>
                    </a:lnTo>
                    <a:lnTo>
                      <a:pt x="332" y="172"/>
                    </a:lnTo>
                    <a:lnTo>
                      <a:pt x="346" y="178"/>
                    </a:lnTo>
                    <a:lnTo>
                      <a:pt x="346" y="186"/>
                    </a:lnTo>
                    <a:lnTo>
                      <a:pt x="354" y="192"/>
                    </a:lnTo>
                    <a:lnTo>
                      <a:pt x="354" y="200"/>
                    </a:lnTo>
                    <a:lnTo>
                      <a:pt x="354" y="206"/>
                    </a:lnTo>
                    <a:lnTo>
                      <a:pt x="354" y="214"/>
                    </a:lnTo>
                    <a:lnTo>
                      <a:pt x="346" y="220"/>
                    </a:lnTo>
                    <a:lnTo>
                      <a:pt x="340" y="228"/>
                    </a:lnTo>
                    <a:lnTo>
                      <a:pt x="332" y="228"/>
                    </a:lnTo>
                    <a:lnTo>
                      <a:pt x="332" y="234"/>
                    </a:lnTo>
                    <a:lnTo>
                      <a:pt x="332" y="240"/>
                    </a:lnTo>
                    <a:lnTo>
                      <a:pt x="340" y="248"/>
                    </a:lnTo>
                    <a:lnTo>
                      <a:pt x="346" y="240"/>
                    </a:lnTo>
                    <a:lnTo>
                      <a:pt x="354" y="240"/>
                    </a:lnTo>
                    <a:lnTo>
                      <a:pt x="360" y="234"/>
                    </a:lnTo>
                    <a:lnTo>
                      <a:pt x="368" y="240"/>
                    </a:lnTo>
                    <a:lnTo>
                      <a:pt x="383" y="240"/>
                    </a:lnTo>
                    <a:lnTo>
                      <a:pt x="397" y="248"/>
                    </a:lnTo>
                    <a:lnTo>
                      <a:pt x="403" y="254"/>
                    </a:lnTo>
                    <a:lnTo>
                      <a:pt x="403" y="268"/>
                    </a:lnTo>
                    <a:lnTo>
                      <a:pt x="403" y="276"/>
                    </a:lnTo>
                    <a:lnTo>
                      <a:pt x="397" y="290"/>
                    </a:lnTo>
                    <a:lnTo>
                      <a:pt x="397" y="296"/>
                    </a:lnTo>
                    <a:lnTo>
                      <a:pt x="389" y="302"/>
                    </a:lnTo>
                    <a:lnTo>
                      <a:pt x="383" y="310"/>
                    </a:lnTo>
                    <a:lnTo>
                      <a:pt x="374" y="310"/>
                    </a:lnTo>
                    <a:lnTo>
                      <a:pt x="368" y="310"/>
                    </a:lnTo>
                    <a:lnTo>
                      <a:pt x="368" y="316"/>
                    </a:lnTo>
                    <a:lnTo>
                      <a:pt x="360" y="316"/>
                    </a:lnTo>
                    <a:lnTo>
                      <a:pt x="354" y="316"/>
                    </a:lnTo>
                    <a:lnTo>
                      <a:pt x="346" y="316"/>
                    </a:lnTo>
                    <a:lnTo>
                      <a:pt x="340" y="324"/>
                    </a:lnTo>
                    <a:lnTo>
                      <a:pt x="346" y="324"/>
                    </a:lnTo>
                    <a:lnTo>
                      <a:pt x="346" y="330"/>
                    </a:lnTo>
                    <a:lnTo>
                      <a:pt x="340" y="338"/>
                    </a:lnTo>
                    <a:lnTo>
                      <a:pt x="332" y="330"/>
                    </a:lnTo>
                    <a:lnTo>
                      <a:pt x="326" y="330"/>
                    </a:lnTo>
                    <a:lnTo>
                      <a:pt x="320" y="330"/>
                    </a:lnTo>
                    <a:lnTo>
                      <a:pt x="320" y="338"/>
                    </a:lnTo>
                    <a:lnTo>
                      <a:pt x="326" y="344"/>
                    </a:lnTo>
                    <a:lnTo>
                      <a:pt x="332" y="352"/>
                    </a:lnTo>
                    <a:lnTo>
                      <a:pt x="340" y="352"/>
                    </a:lnTo>
                    <a:lnTo>
                      <a:pt x="346" y="358"/>
                    </a:lnTo>
                    <a:lnTo>
                      <a:pt x="354" y="352"/>
                    </a:lnTo>
                    <a:lnTo>
                      <a:pt x="360" y="352"/>
                    </a:lnTo>
                    <a:lnTo>
                      <a:pt x="368" y="358"/>
                    </a:lnTo>
                    <a:lnTo>
                      <a:pt x="360" y="364"/>
                    </a:lnTo>
                    <a:lnTo>
                      <a:pt x="354" y="372"/>
                    </a:lnTo>
                    <a:lnTo>
                      <a:pt x="346" y="372"/>
                    </a:lnTo>
                    <a:lnTo>
                      <a:pt x="340" y="378"/>
                    </a:lnTo>
                    <a:lnTo>
                      <a:pt x="332" y="386"/>
                    </a:lnTo>
                    <a:lnTo>
                      <a:pt x="326" y="378"/>
                    </a:lnTo>
                    <a:lnTo>
                      <a:pt x="320" y="378"/>
                    </a:lnTo>
                    <a:lnTo>
                      <a:pt x="306" y="386"/>
                    </a:lnTo>
                    <a:lnTo>
                      <a:pt x="298" y="378"/>
                    </a:lnTo>
                    <a:lnTo>
                      <a:pt x="292" y="378"/>
                    </a:lnTo>
                    <a:lnTo>
                      <a:pt x="284" y="372"/>
                    </a:lnTo>
                    <a:lnTo>
                      <a:pt x="278" y="372"/>
                    </a:lnTo>
                    <a:lnTo>
                      <a:pt x="270" y="372"/>
                    </a:lnTo>
                    <a:lnTo>
                      <a:pt x="264" y="372"/>
                    </a:lnTo>
                    <a:lnTo>
                      <a:pt x="250" y="372"/>
                    </a:lnTo>
                    <a:lnTo>
                      <a:pt x="250" y="364"/>
                    </a:lnTo>
                    <a:lnTo>
                      <a:pt x="242" y="364"/>
                    </a:lnTo>
                    <a:lnTo>
                      <a:pt x="236" y="364"/>
                    </a:lnTo>
                    <a:lnTo>
                      <a:pt x="230" y="358"/>
                    </a:lnTo>
                    <a:lnTo>
                      <a:pt x="222" y="352"/>
                    </a:lnTo>
                    <a:lnTo>
                      <a:pt x="216" y="358"/>
                    </a:lnTo>
                    <a:lnTo>
                      <a:pt x="216" y="364"/>
                    </a:lnTo>
                    <a:lnTo>
                      <a:pt x="202" y="364"/>
                    </a:lnTo>
                    <a:lnTo>
                      <a:pt x="194" y="358"/>
                    </a:lnTo>
                    <a:lnTo>
                      <a:pt x="180" y="358"/>
                    </a:lnTo>
                    <a:lnTo>
                      <a:pt x="174" y="364"/>
                    </a:lnTo>
                    <a:lnTo>
                      <a:pt x="166" y="364"/>
                    </a:lnTo>
                    <a:lnTo>
                      <a:pt x="166" y="358"/>
                    </a:lnTo>
                    <a:lnTo>
                      <a:pt x="160" y="352"/>
                    </a:lnTo>
                    <a:lnTo>
                      <a:pt x="154" y="344"/>
                    </a:lnTo>
                    <a:lnTo>
                      <a:pt x="146" y="344"/>
                    </a:lnTo>
                    <a:lnTo>
                      <a:pt x="140" y="344"/>
                    </a:lnTo>
                    <a:lnTo>
                      <a:pt x="132" y="344"/>
                    </a:lnTo>
                    <a:lnTo>
                      <a:pt x="126" y="344"/>
                    </a:lnTo>
                    <a:lnTo>
                      <a:pt x="118" y="338"/>
                    </a:lnTo>
                    <a:lnTo>
                      <a:pt x="112" y="344"/>
                    </a:lnTo>
                    <a:lnTo>
                      <a:pt x="112" y="352"/>
                    </a:lnTo>
                    <a:lnTo>
                      <a:pt x="112" y="358"/>
                    </a:lnTo>
                    <a:lnTo>
                      <a:pt x="104" y="364"/>
                    </a:lnTo>
                    <a:lnTo>
                      <a:pt x="92" y="364"/>
                    </a:lnTo>
                    <a:lnTo>
                      <a:pt x="84" y="358"/>
                    </a:lnTo>
                    <a:lnTo>
                      <a:pt x="84" y="352"/>
                    </a:lnTo>
                    <a:lnTo>
                      <a:pt x="70" y="352"/>
                    </a:lnTo>
                    <a:lnTo>
                      <a:pt x="56" y="344"/>
                    </a:lnTo>
                    <a:lnTo>
                      <a:pt x="42" y="352"/>
                    </a:lnTo>
                    <a:lnTo>
                      <a:pt x="36" y="358"/>
                    </a:lnTo>
                    <a:lnTo>
                      <a:pt x="36" y="352"/>
                    </a:lnTo>
                    <a:lnTo>
                      <a:pt x="28" y="352"/>
                    </a:lnTo>
                    <a:lnTo>
                      <a:pt x="28" y="358"/>
                    </a:lnTo>
                    <a:lnTo>
                      <a:pt x="22" y="358"/>
                    </a:lnTo>
                    <a:lnTo>
                      <a:pt x="14" y="358"/>
                    </a:lnTo>
                    <a:lnTo>
                      <a:pt x="14" y="344"/>
                    </a:lnTo>
                    <a:lnTo>
                      <a:pt x="8" y="344"/>
                    </a:lnTo>
                    <a:lnTo>
                      <a:pt x="0" y="344"/>
                    </a:lnTo>
                    <a:lnTo>
                      <a:pt x="14" y="344"/>
                    </a:lnTo>
                    <a:lnTo>
                      <a:pt x="14" y="344"/>
                    </a:lnTo>
                    <a:lnTo>
                      <a:pt x="14" y="344"/>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8" name="Freeform 42"/>
              <p:cNvSpPr>
                <a:spLocks/>
              </p:cNvSpPr>
              <p:nvPr>
                <p:custDataLst>
                  <p:tags r:id="rId136"/>
                </p:custDataLst>
              </p:nvPr>
            </p:nvSpPr>
            <p:spPr bwMode="gray">
              <a:xfrm>
                <a:off x="3413915" y="2653988"/>
                <a:ext cx="231826" cy="215948"/>
              </a:xfrm>
              <a:custGeom>
                <a:avLst/>
                <a:gdLst>
                  <a:gd name="T0" fmla="*/ 132 w 146"/>
                  <a:gd name="T1" fmla="*/ 12 h 136"/>
                  <a:gd name="T2" fmla="*/ 126 w 146"/>
                  <a:gd name="T3" fmla="*/ 6 h 136"/>
                  <a:gd name="T4" fmla="*/ 118 w 146"/>
                  <a:gd name="T5" fmla="*/ 0 h 136"/>
                  <a:gd name="T6" fmla="*/ 90 w 146"/>
                  <a:gd name="T7" fmla="*/ 6 h 136"/>
                  <a:gd name="T8" fmla="*/ 70 w 146"/>
                  <a:gd name="T9" fmla="*/ 12 h 136"/>
                  <a:gd name="T10" fmla="*/ 56 w 146"/>
                  <a:gd name="T11" fmla="*/ 20 h 136"/>
                  <a:gd name="T12" fmla="*/ 62 w 146"/>
                  <a:gd name="T13" fmla="*/ 26 h 136"/>
                  <a:gd name="T14" fmla="*/ 78 w 146"/>
                  <a:gd name="T15" fmla="*/ 26 h 136"/>
                  <a:gd name="T16" fmla="*/ 90 w 146"/>
                  <a:gd name="T17" fmla="*/ 20 h 136"/>
                  <a:gd name="T18" fmla="*/ 84 w 146"/>
                  <a:gd name="T19" fmla="*/ 34 h 136"/>
                  <a:gd name="T20" fmla="*/ 84 w 146"/>
                  <a:gd name="T21" fmla="*/ 48 h 136"/>
                  <a:gd name="T22" fmla="*/ 84 w 146"/>
                  <a:gd name="T23" fmla="*/ 54 h 136"/>
                  <a:gd name="T24" fmla="*/ 70 w 146"/>
                  <a:gd name="T25" fmla="*/ 62 h 136"/>
                  <a:gd name="T26" fmla="*/ 56 w 146"/>
                  <a:gd name="T27" fmla="*/ 76 h 136"/>
                  <a:gd name="T28" fmla="*/ 42 w 146"/>
                  <a:gd name="T29" fmla="*/ 76 h 136"/>
                  <a:gd name="T30" fmla="*/ 28 w 146"/>
                  <a:gd name="T31" fmla="*/ 76 h 136"/>
                  <a:gd name="T32" fmla="*/ 14 w 146"/>
                  <a:gd name="T33" fmla="*/ 68 h 136"/>
                  <a:gd name="T34" fmla="*/ 8 w 146"/>
                  <a:gd name="T35" fmla="*/ 82 h 136"/>
                  <a:gd name="T36" fmla="*/ 14 w 146"/>
                  <a:gd name="T37" fmla="*/ 88 h 136"/>
                  <a:gd name="T38" fmla="*/ 22 w 146"/>
                  <a:gd name="T39" fmla="*/ 96 h 136"/>
                  <a:gd name="T40" fmla="*/ 14 w 146"/>
                  <a:gd name="T41" fmla="*/ 102 h 136"/>
                  <a:gd name="T42" fmla="*/ 36 w 146"/>
                  <a:gd name="T43" fmla="*/ 96 h 136"/>
                  <a:gd name="T44" fmla="*/ 48 w 146"/>
                  <a:gd name="T45" fmla="*/ 96 h 136"/>
                  <a:gd name="T46" fmla="*/ 48 w 146"/>
                  <a:gd name="T47" fmla="*/ 110 h 136"/>
                  <a:gd name="T48" fmla="*/ 48 w 146"/>
                  <a:gd name="T49" fmla="*/ 110 h 136"/>
                  <a:gd name="T50" fmla="*/ 62 w 146"/>
                  <a:gd name="T51" fmla="*/ 116 h 136"/>
                  <a:gd name="T52" fmla="*/ 62 w 146"/>
                  <a:gd name="T53" fmla="*/ 124 h 136"/>
                  <a:gd name="T54" fmla="*/ 78 w 146"/>
                  <a:gd name="T55" fmla="*/ 136 h 136"/>
                  <a:gd name="T56" fmla="*/ 98 w 146"/>
                  <a:gd name="T57" fmla="*/ 136 h 136"/>
                  <a:gd name="T58" fmla="*/ 112 w 146"/>
                  <a:gd name="T59" fmla="*/ 130 h 136"/>
                  <a:gd name="T60" fmla="*/ 118 w 146"/>
                  <a:gd name="T61" fmla="*/ 124 h 136"/>
                  <a:gd name="T62" fmla="*/ 112 w 146"/>
                  <a:gd name="T63" fmla="*/ 110 h 136"/>
                  <a:gd name="T64" fmla="*/ 112 w 146"/>
                  <a:gd name="T65" fmla="*/ 96 h 136"/>
                  <a:gd name="T66" fmla="*/ 126 w 146"/>
                  <a:gd name="T67" fmla="*/ 76 h 136"/>
                  <a:gd name="T68" fmla="*/ 126 w 146"/>
                  <a:gd name="T69" fmla="*/ 76 h 136"/>
                  <a:gd name="T70" fmla="*/ 132 w 146"/>
                  <a:gd name="T71" fmla="*/ 62 h 136"/>
                  <a:gd name="T72" fmla="*/ 140 w 146"/>
                  <a:gd name="T73" fmla="*/ 48 h 136"/>
                  <a:gd name="T74" fmla="*/ 146 w 146"/>
                  <a:gd name="T75" fmla="*/ 34 h 136"/>
                  <a:gd name="T76" fmla="*/ 140 w 146"/>
                  <a:gd name="T77" fmla="*/ 20 h 136"/>
                  <a:gd name="T78" fmla="*/ 140 w 146"/>
                  <a:gd name="T79"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6" h="136">
                    <a:moveTo>
                      <a:pt x="140" y="20"/>
                    </a:moveTo>
                    <a:lnTo>
                      <a:pt x="132" y="12"/>
                    </a:lnTo>
                    <a:lnTo>
                      <a:pt x="132" y="6"/>
                    </a:lnTo>
                    <a:lnTo>
                      <a:pt x="126" y="6"/>
                    </a:lnTo>
                    <a:lnTo>
                      <a:pt x="118" y="6"/>
                    </a:lnTo>
                    <a:lnTo>
                      <a:pt x="118" y="0"/>
                    </a:lnTo>
                    <a:lnTo>
                      <a:pt x="98" y="6"/>
                    </a:lnTo>
                    <a:lnTo>
                      <a:pt x="90" y="6"/>
                    </a:lnTo>
                    <a:lnTo>
                      <a:pt x="84" y="12"/>
                    </a:lnTo>
                    <a:lnTo>
                      <a:pt x="70" y="12"/>
                    </a:lnTo>
                    <a:lnTo>
                      <a:pt x="62" y="20"/>
                    </a:lnTo>
                    <a:lnTo>
                      <a:pt x="56" y="20"/>
                    </a:lnTo>
                    <a:lnTo>
                      <a:pt x="56" y="26"/>
                    </a:lnTo>
                    <a:lnTo>
                      <a:pt x="62" y="26"/>
                    </a:lnTo>
                    <a:lnTo>
                      <a:pt x="70" y="20"/>
                    </a:lnTo>
                    <a:lnTo>
                      <a:pt x="78" y="26"/>
                    </a:lnTo>
                    <a:lnTo>
                      <a:pt x="84" y="20"/>
                    </a:lnTo>
                    <a:lnTo>
                      <a:pt x="90" y="20"/>
                    </a:lnTo>
                    <a:lnTo>
                      <a:pt x="90" y="26"/>
                    </a:lnTo>
                    <a:lnTo>
                      <a:pt x="84" y="34"/>
                    </a:lnTo>
                    <a:lnTo>
                      <a:pt x="84" y="40"/>
                    </a:lnTo>
                    <a:lnTo>
                      <a:pt x="84" y="48"/>
                    </a:lnTo>
                    <a:lnTo>
                      <a:pt x="78" y="48"/>
                    </a:lnTo>
                    <a:lnTo>
                      <a:pt x="84" y="54"/>
                    </a:lnTo>
                    <a:lnTo>
                      <a:pt x="78" y="62"/>
                    </a:lnTo>
                    <a:lnTo>
                      <a:pt x="70" y="62"/>
                    </a:lnTo>
                    <a:lnTo>
                      <a:pt x="62" y="68"/>
                    </a:lnTo>
                    <a:lnTo>
                      <a:pt x="56" y="76"/>
                    </a:lnTo>
                    <a:lnTo>
                      <a:pt x="48" y="68"/>
                    </a:lnTo>
                    <a:lnTo>
                      <a:pt x="42" y="76"/>
                    </a:lnTo>
                    <a:lnTo>
                      <a:pt x="36" y="76"/>
                    </a:lnTo>
                    <a:lnTo>
                      <a:pt x="28" y="76"/>
                    </a:lnTo>
                    <a:lnTo>
                      <a:pt x="22" y="76"/>
                    </a:lnTo>
                    <a:lnTo>
                      <a:pt x="14" y="68"/>
                    </a:lnTo>
                    <a:lnTo>
                      <a:pt x="8" y="76"/>
                    </a:lnTo>
                    <a:lnTo>
                      <a:pt x="8" y="82"/>
                    </a:lnTo>
                    <a:lnTo>
                      <a:pt x="0" y="88"/>
                    </a:lnTo>
                    <a:lnTo>
                      <a:pt x="14" y="88"/>
                    </a:lnTo>
                    <a:lnTo>
                      <a:pt x="22" y="88"/>
                    </a:lnTo>
                    <a:lnTo>
                      <a:pt x="22" y="96"/>
                    </a:lnTo>
                    <a:lnTo>
                      <a:pt x="14" y="96"/>
                    </a:lnTo>
                    <a:lnTo>
                      <a:pt x="14" y="102"/>
                    </a:lnTo>
                    <a:lnTo>
                      <a:pt x="28" y="102"/>
                    </a:lnTo>
                    <a:lnTo>
                      <a:pt x="36" y="96"/>
                    </a:lnTo>
                    <a:lnTo>
                      <a:pt x="42" y="96"/>
                    </a:lnTo>
                    <a:lnTo>
                      <a:pt x="48" y="96"/>
                    </a:lnTo>
                    <a:lnTo>
                      <a:pt x="48" y="102"/>
                    </a:lnTo>
                    <a:lnTo>
                      <a:pt x="48" y="110"/>
                    </a:lnTo>
                    <a:lnTo>
                      <a:pt x="56" y="110"/>
                    </a:lnTo>
                    <a:lnTo>
                      <a:pt x="48" y="110"/>
                    </a:lnTo>
                    <a:lnTo>
                      <a:pt x="48" y="116"/>
                    </a:lnTo>
                    <a:lnTo>
                      <a:pt x="62" y="116"/>
                    </a:lnTo>
                    <a:lnTo>
                      <a:pt x="70" y="116"/>
                    </a:lnTo>
                    <a:lnTo>
                      <a:pt x="62" y="124"/>
                    </a:lnTo>
                    <a:lnTo>
                      <a:pt x="70" y="130"/>
                    </a:lnTo>
                    <a:lnTo>
                      <a:pt x="78" y="136"/>
                    </a:lnTo>
                    <a:lnTo>
                      <a:pt x="84" y="136"/>
                    </a:lnTo>
                    <a:lnTo>
                      <a:pt x="98" y="136"/>
                    </a:lnTo>
                    <a:lnTo>
                      <a:pt x="104" y="136"/>
                    </a:lnTo>
                    <a:lnTo>
                      <a:pt x="112" y="130"/>
                    </a:lnTo>
                    <a:lnTo>
                      <a:pt x="112" y="124"/>
                    </a:lnTo>
                    <a:lnTo>
                      <a:pt x="118" y="124"/>
                    </a:lnTo>
                    <a:lnTo>
                      <a:pt x="118" y="110"/>
                    </a:lnTo>
                    <a:lnTo>
                      <a:pt x="112" y="110"/>
                    </a:lnTo>
                    <a:lnTo>
                      <a:pt x="112" y="102"/>
                    </a:lnTo>
                    <a:lnTo>
                      <a:pt x="112" y="96"/>
                    </a:lnTo>
                    <a:lnTo>
                      <a:pt x="118" y="88"/>
                    </a:lnTo>
                    <a:lnTo>
                      <a:pt x="126" y="76"/>
                    </a:lnTo>
                    <a:lnTo>
                      <a:pt x="118" y="76"/>
                    </a:lnTo>
                    <a:lnTo>
                      <a:pt x="126" y="76"/>
                    </a:lnTo>
                    <a:lnTo>
                      <a:pt x="132" y="68"/>
                    </a:lnTo>
                    <a:lnTo>
                      <a:pt x="132" y="62"/>
                    </a:lnTo>
                    <a:lnTo>
                      <a:pt x="132" y="54"/>
                    </a:lnTo>
                    <a:lnTo>
                      <a:pt x="140" y="48"/>
                    </a:lnTo>
                    <a:lnTo>
                      <a:pt x="146" y="40"/>
                    </a:lnTo>
                    <a:lnTo>
                      <a:pt x="146" y="34"/>
                    </a:lnTo>
                    <a:lnTo>
                      <a:pt x="140" y="26"/>
                    </a:lnTo>
                    <a:lnTo>
                      <a:pt x="140" y="20"/>
                    </a:lnTo>
                    <a:lnTo>
                      <a:pt x="140" y="20"/>
                    </a:lnTo>
                    <a:lnTo>
                      <a:pt x="140" y="20"/>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9" name="Freeform 43"/>
              <p:cNvSpPr>
                <a:spLocks/>
              </p:cNvSpPr>
              <p:nvPr/>
            </p:nvSpPr>
            <p:spPr bwMode="gray">
              <a:xfrm>
                <a:off x="3563173" y="2041076"/>
                <a:ext cx="317570" cy="447774"/>
              </a:xfrm>
              <a:custGeom>
                <a:avLst/>
                <a:gdLst>
                  <a:gd name="T0" fmla="*/ 82 w 200"/>
                  <a:gd name="T1" fmla="*/ 276 h 282"/>
                  <a:gd name="T2" fmla="*/ 62 w 200"/>
                  <a:gd name="T3" fmla="*/ 268 h 282"/>
                  <a:gd name="T4" fmla="*/ 54 w 200"/>
                  <a:gd name="T5" fmla="*/ 268 h 282"/>
                  <a:gd name="T6" fmla="*/ 34 w 200"/>
                  <a:gd name="T7" fmla="*/ 262 h 282"/>
                  <a:gd name="T8" fmla="*/ 28 w 200"/>
                  <a:gd name="T9" fmla="*/ 282 h 282"/>
                  <a:gd name="T10" fmla="*/ 14 w 200"/>
                  <a:gd name="T11" fmla="*/ 262 h 282"/>
                  <a:gd name="T12" fmla="*/ 6 w 200"/>
                  <a:gd name="T13" fmla="*/ 276 h 282"/>
                  <a:gd name="T14" fmla="*/ 0 w 200"/>
                  <a:gd name="T15" fmla="*/ 254 h 282"/>
                  <a:gd name="T16" fmla="*/ 6 w 200"/>
                  <a:gd name="T17" fmla="*/ 240 h 282"/>
                  <a:gd name="T18" fmla="*/ 20 w 200"/>
                  <a:gd name="T19" fmla="*/ 228 h 282"/>
                  <a:gd name="T20" fmla="*/ 42 w 200"/>
                  <a:gd name="T21" fmla="*/ 214 h 282"/>
                  <a:gd name="T22" fmla="*/ 54 w 200"/>
                  <a:gd name="T23" fmla="*/ 200 h 282"/>
                  <a:gd name="T24" fmla="*/ 42 w 200"/>
                  <a:gd name="T25" fmla="*/ 186 h 282"/>
                  <a:gd name="T26" fmla="*/ 28 w 200"/>
                  <a:gd name="T27" fmla="*/ 180 h 282"/>
                  <a:gd name="T28" fmla="*/ 42 w 200"/>
                  <a:gd name="T29" fmla="*/ 164 h 282"/>
                  <a:gd name="T30" fmla="*/ 20 w 200"/>
                  <a:gd name="T31" fmla="*/ 172 h 282"/>
                  <a:gd name="T32" fmla="*/ 14 w 200"/>
                  <a:gd name="T33" fmla="*/ 164 h 282"/>
                  <a:gd name="T34" fmla="*/ 34 w 200"/>
                  <a:gd name="T35" fmla="*/ 144 h 282"/>
                  <a:gd name="T36" fmla="*/ 34 w 200"/>
                  <a:gd name="T37" fmla="*/ 138 h 282"/>
                  <a:gd name="T38" fmla="*/ 54 w 200"/>
                  <a:gd name="T39" fmla="*/ 118 h 282"/>
                  <a:gd name="T40" fmla="*/ 34 w 200"/>
                  <a:gd name="T41" fmla="*/ 124 h 282"/>
                  <a:gd name="T42" fmla="*/ 14 w 200"/>
                  <a:gd name="T43" fmla="*/ 124 h 282"/>
                  <a:gd name="T44" fmla="*/ 28 w 200"/>
                  <a:gd name="T45" fmla="*/ 104 h 282"/>
                  <a:gd name="T46" fmla="*/ 42 w 200"/>
                  <a:gd name="T47" fmla="*/ 90 h 282"/>
                  <a:gd name="T48" fmla="*/ 54 w 200"/>
                  <a:gd name="T49" fmla="*/ 76 h 282"/>
                  <a:gd name="T50" fmla="*/ 48 w 200"/>
                  <a:gd name="T51" fmla="*/ 70 h 282"/>
                  <a:gd name="T52" fmla="*/ 48 w 200"/>
                  <a:gd name="T53" fmla="*/ 48 h 282"/>
                  <a:gd name="T54" fmla="*/ 68 w 200"/>
                  <a:gd name="T55" fmla="*/ 42 h 282"/>
                  <a:gd name="T56" fmla="*/ 82 w 200"/>
                  <a:gd name="T57" fmla="*/ 56 h 282"/>
                  <a:gd name="T58" fmla="*/ 76 w 200"/>
                  <a:gd name="T59" fmla="*/ 34 h 282"/>
                  <a:gd name="T60" fmla="*/ 82 w 200"/>
                  <a:gd name="T61" fmla="*/ 20 h 282"/>
                  <a:gd name="T62" fmla="*/ 96 w 200"/>
                  <a:gd name="T63" fmla="*/ 20 h 282"/>
                  <a:gd name="T64" fmla="*/ 110 w 200"/>
                  <a:gd name="T65" fmla="*/ 0 h 282"/>
                  <a:gd name="T66" fmla="*/ 124 w 200"/>
                  <a:gd name="T67" fmla="*/ 14 h 282"/>
                  <a:gd name="T68" fmla="*/ 144 w 200"/>
                  <a:gd name="T69" fmla="*/ 20 h 282"/>
                  <a:gd name="T70" fmla="*/ 166 w 200"/>
                  <a:gd name="T71" fmla="*/ 20 h 282"/>
                  <a:gd name="T72" fmla="*/ 172 w 200"/>
                  <a:gd name="T73" fmla="*/ 34 h 282"/>
                  <a:gd name="T74" fmla="*/ 152 w 200"/>
                  <a:gd name="T75" fmla="*/ 48 h 282"/>
                  <a:gd name="T76" fmla="*/ 132 w 200"/>
                  <a:gd name="T77" fmla="*/ 56 h 282"/>
                  <a:gd name="T78" fmla="*/ 118 w 200"/>
                  <a:gd name="T79" fmla="*/ 70 h 282"/>
                  <a:gd name="T80" fmla="*/ 110 w 200"/>
                  <a:gd name="T81" fmla="*/ 82 h 282"/>
                  <a:gd name="T82" fmla="*/ 104 w 200"/>
                  <a:gd name="T83" fmla="*/ 96 h 282"/>
                  <a:gd name="T84" fmla="*/ 132 w 200"/>
                  <a:gd name="T85" fmla="*/ 90 h 282"/>
                  <a:gd name="T86" fmla="*/ 166 w 200"/>
                  <a:gd name="T87" fmla="*/ 90 h 282"/>
                  <a:gd name="T88" fmla="*/ 180 w 200"/>
                  <a:gd name="T89" fmla="*/ 104 h 282"/>
                  <a:gd name="T90" fmla="*/ 200 w 200"/>
                  <a:gd name="T91" fmla="*/ 104 h 282"/>
                  <a:gd name="T92" fmla="*/ 194 w 200"/>
                  <a:gd name="T93" fmla="*/ 124 h 282"/>
                  <a:gd name="T94" fmla="*/ 180 w 200"/>
                  <a:gd name="T95" fmla="*/ 132 h 282"/>
                  <a:gd name="T96" fmla="*/ 180 w 200"/>
                  <a:gd name="T97" fmla="*/ 152 h 282"/>
                  <a:gd name="T98" fmla="*/ 158 w 200"/>
                  <a:gd name="T99" fmla="*/ 172 h 282"/>
                  <a:gd name="T100" fmla="*/ 138 w 200"/>
                  <a:gd name="T101" fmla="*/ 172 h 282"/>
                  <a:gd name="T102" fmla="*/ 118 w 200"/>
                  <a:gd name="T103" fmla="*/ 180 h 282"/>
                  <a:gd name="T104" fmla="*/ 138 w 200"/>
                  <a:gd name="T105" fmla="*/ 186 h 282"/>
                  <a:gd name="T106" fmla="*/ 118 w 200"/>
                  <a:gd name="T107" fmla="*/ 200 h 282"/>
                  <a:gd name="T108" fmla="*/ 96 w 200"/>
                  <a:gd name="T109" fmla="*/ 194 h 282"/>
                  <a:gd name="T110" fmla="*/ 96 w 200"/>
                  <a:gd name="T111" fmla="*/ 200 h 282"/>
                  <a:gd name="T112" fmla="*/ 124 w 200"/>
                  <a:gd name="T113" fmla="*/ 206 h 282"/>
                  <a:gd name="T114" fmla="*/ 144 w 200"/>
                  <a:gd name="T115" fmla="*/ 220 h 282"/>
                  <a:gd name="T116" fmla="*/ 138 w 200"/>
                  <a:gd name="T117" fmla="*/ 248 h 282"/>
                  <a:gd name="T118" fmla="*/ 132 w 200"/>
                  <a:gd name="T119" fmla="*/ 254 h 282"/>
                  <a:gd name="T120" fmla="*/ 118 w 200"/>
                  <a:gd name="T121" fmla="*/ 262 h 282"/>
                  <a:gd name="T122" fmla="*/ 104 w 200"/>
                  <a:gd name="T123" fmla="*/ 276 h 282"/>
                  <a:gd name="T124" fmla="*/ 90 w 200"/>
                  <a:gd name="T125" fmla="*/ 276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 h="282">
                    <a:moveTo>
                      <a:pt x="90" y="276"/>
                    </a:moveTo>
                    <a:lnTo>
                      <a:pt x="90" y="268"/>
                    </a:lnTo>
                    <a:lnTo>
                      <a:pt x="82" y="276"/>
                    </a:lnTo>
                    <a:lnTo>
                      <a:pt x="76" y="276"/>
                    </a:lnTo>
                    <a:lnTo>
                      <a:pt x="68" y="268"/>
                    </a:lnTo>
                    <a:lnTo>
                      <a:pt x="62" y="268"/>
                    </a:lnTo>
                    <a:lnTo>
                      <a:pt x="62" y="276"/>
                    </a:lnTo>
                    <a:lnTo>
                      <a:pt x="54" y="276"/>
                    </a:lnTo>
                    <a:lnTo>
                      <a:pt x="54" y="268"/>
                    </a:lnTo>
                    <a:lnTo>
                      <a:pt x="42" y="276"/>
                    </a:lnTo>
                    <a:lnTo>
                      <a:pt x="42" y="268"/>
                    </a:lnTo>
                    <a:lnTo>
                      <a:pt x="34" y="262"/>
                    </a:lnTo>
                    <a:lnTo>
                      <a:pt x="28" y="268"/>
                    </a:lnTo>
                    <a:lnTo>
                      <a:pt x="28" y="276"/>
                    </a:lnTo>
                    <a:lnTo>
                      <a:pt x="28" y="282"/>
                    </a:lnTo>
                    <a:lnTo>
                      <a:pt x="20" y="276"/>
                    </a:lnTo>
                    <a:lnTo>
                      <a:pt x="20" y="268"/>
                    </a:lnTo>
                    <a:lnTo>
                      <a:pt x="14" y="262"/>
                    </a:lnTo>
                    <a:lnTo>
                      <a:pt x="6" y="262"/>
                    </a:lnTo>
                    <a:lnTo>
                      <a:pt x="6" y="268"/>
                    </a:lnTo>
                    <a:lnTo>
                      <a:pt x="6" y="276"/>
                    </a:lnTo>
                    <a:lnTo>
                      <a:pt x="0" y="276"/>
                    </a:lnTo>
                    <a:lnTo>
                      <a:pt x="0" y="268"/>
                    </a:lnTo>
                    <a:lnTo>
                      <a:pt x="0" y="254"/>
                    </a:lnTo>
                    <a:lnTo>
                      <a:pt x="0" y="248"/>
                    </a:lnTo>
                    <a:lnTo>
                      <a:pt x="6" y="248"/>
                    </a:lnTo>
                    <a:lnTo>
                      <a:pt x="6" y="240"/>
                    </a:lnTo>
                    <a:lnTo>
                      <a:pt x="14" y="240"/>
                    </a:lnTo>
                    <a:lnTo>
                      <a:pt x="20" y="234"/>
                    </a:lnTo>
                    <a:lnTo>
                      <a:pt x="20" y="228"/>
                    </a:lnTo>
                    <a:lnTo>
                      <a:pt x="28" y="228"/>
                    </a:lnTo>
                    <a:lnTo>
                      <a:pt x="34" y="220"/>
                    </a:lnTo>
                    <a:lnTo>
                      <a:pt x="42" y="214"/>
                    </a:lnTo>
                    <a:lnTo>
                      <a:pt x="48" y="206"/>
                    </a:lnTo>
                    <a:lnTo>
                      <a:pt x="48" y="200"/>
                    </a:lnTo>
                    <a:lnTo>
                      <a:pt x="54" y="200"/>
                    </a:lnTo>
                    <a:lnTo>
                      <a:pt x="54" y="194"/>
                    </a:lnTo>
                    <a:lnTo>
                      <a:pt x="48" y="194"/>
                    </a:lnTo>
                    <a:lnTo>
                      <a:pt x="42" y="186"/>
                    </a:lnTo>
                    <a:lnTo>
                      <a:pt x="34" y="186"/>
                    </a:lnTo>
                    <a:lnTo>
                      <a:pt x="28" y="186"/>
                    </a:lnTo>
                    <a:lnTo>
                      <a:pt x="28" y="180"/>
                    </a:lnTo>
                    <a:lnTo>
                      <a:pt x="34" y="180"/>
                    </a:lnTo>
                    <a:lnTo>
                      <a:pt x="42" y="172"/>
                    </a:lnTo>
                    <a:lnTo>
                      <a:pt x="42" y="164"/>
                    </a:lnTo>
                    <a:lnTo>
                      <a:pt x="34" y="158"/>
                    </a:lnTo>
                    <a:lnTo>
                      <a:pt x="28" y="158"/>
                    </a:lnTo>
                    <a:lnTo>
                      <a:pt x="20" y="172"/>
                    </a:lnTo>
                    <a:lnTo>
                      <a:pt x="14" y="180"/>
                    </a:lnTo>
                    <a:lnTo>
                      <a:pt x="14" y="172"/>
                    </a:lnTo>
                    <a:lnTo>
                      <a:pt x="14" y="164"/>
                    </a:lnTo>
                    <a:lnTo>
                      <a:pt x="20" y="152"/>
                    </a:lnTo>
                    <a:lnTo>
                      <a:pt x="28" y="144"/>
                    </a:lnTo>
                    <a:lnTo>
                      <a:pt x="34" y="144"/>
                    </a:lnTo>
                    <a:lnTo>
                      <a:pt x="42" y="144"/>
                    </a:lnTo>
                    <a:lnTo>
                      <a:pt x="42" y="138"/>
                    </a:lnTo>
                    <a:lnTo>
                      <a:pt x="34" y="138"/>
                    </a:lnTo>
                    <a:lnTo>
                      <a:pt x="42" y="132"/>
                    </a:lnTo>
                    <a:lnTo>
                      <a:pt x="48" y="124"/>
                    </a:lnTo>
                    <a:lnTo>
                      <a:pt x="54" y="118"/>
                    </a:lnTo>
                    <a:lnTo>
                      <a:pt x="48" y="118"/>
                    </a:lnTo>
                    <a:lnTo>
                      <a:pt x="42" y="124"/>
                    </a:lnTo>
                    <a:lnTo>
                      <a:pt x="34" y="124"/>
                    </a:lnTo>
                    <a:lnTo>
                      <a:pt x="28" y="138"/>
                    </a:lnTo>
                    <a:lnTo>
                      <a:pt x="20" y="132"/>
                    </a:lnTo>
                    <a:lnTo>
                      <a:pt x="14" y="124"/>
                    </a:lnTo>
                    <a:lnTo>
                      <a:pt x="28" y="118"/>
                    </a:lnTo>
                    <a:lnTo>
                      <a:pt x="28" y="110"/>
                    </a:lnTo>
                    <a:lnTo>
                      <a:pt x="28" y="104"/>
                    </a:lnTo>
                    <a:lnTo>
                      <a:pt x="34" y="96"/>
                    </a:lnTo>
                    <a:lnTo>
                      <a:pt x="42" y="96"/>
                    </a:lnTo>
                    <a:lnTo>
                      <a:pt x="42" y="90"/>
                    </a:lnTo>
                    <a:lnTo>
                      <a:pt x="42" y="82"/>
                    </a:lnTo>
                    <a:lnTo>
                      <a:pt x="54" y="82"/>
                    </a:lnTo>
                    <a:lnTo>
                      <a:pt x="54" y="76"/>
                    </a:lnTo>
                    <a:lnTo>
                      <a:pt x="48" y="70"/>
                    </a:lnTo>
                    <a:lnTo>
                      <a:pt x="42" y="70"/>
                    </a:lnTo>
                    <a:lnTo>
                      <a:pt x="48" y="70"/>
                    </a:lnTo>
                    <a:lnTo>
                      <a:pt x="48" y="62"/>
                    </a:lnTo>
                    <a:lnTo>
                      <a:pt x="48" y="56"/>
                    </a:lnTo>
                    <a:lnTo>
                      <a:pt x="48" y="48"/>
                    </a:lnTo>
                    <a:lnTo>
                      <a:pt x="54" y="42"/>
                    </a:lnTo>
                    <a:lnTo>
                      <a:pt x="62" y="42"/>
                    </a:lnTo>
                    <a:lnTo>
                      <a:pt x="68" y="42"/>
                    </a:lnTo>
                    <a:lnTo>
                      <a:pt x="68" y="48"/>
                    </a:lnTo>
                    <a:lnTo>
                      <a:pt x="76" y="48"/>
                    </a:lnTo>
                    <a:lnTo>
                      <a:pt x="82" y="56"/>
                    </a:lnTo>
                    <a:lnTo>
                      <a:pt x="82" y="48"/>
                    </a:lnTo>
                    <a:lnTo>
                      <a:pt x="82" y="42"/>
                    </a:lnTo>
                    <a:lnTo>
                      <a:pt x="76" y="34"/>
                    </a:lnTo>
                    <a:lnTo>
                      <a:pt x="82" y="28"/>
                    </a:lnTo>
                    <a:lnTo>
                      <a:pt x="90" y="28"/>
                    </a:lnTo>
                    <a:lnTo>
                      <a:pt x="82" y="20"/>
                    </a:lnTo>
                    <a:lnTo>
                      <a:pt x="96" y="28"/>
                    </a:lnTo>
                    <a:lnTo>
                      <a:pt x="104" y="20"/>
                    </a:lnTo>
                    <a:lnTo>
                      <a:pt x="96" y="20"/>
                    </a:lnTo>
                    <a:lnTo>
                      <a:pt x="104" y="6"/>
                    </a:lnTo>
                    <a:lnTo>
                      <a:pt x="104" y="0"/>
                    </a:lnTo>
                    <a:lnTo>
                      <a:pt x="110" y="0"/>
                    </a:lnTo>
                    <a:lnTo>
                      <a:pt x="124" y="6"/>
                    </a:lnTo>
                    <a:lnTo>
                      <a:pt x="118" y="6"/>
                    </a:lnTo>
                    <a:lnTo>
                      <a:pt x="124" y="14"/>
                    </a:lnTo>
                    <a:lnTo>
                      <a:pt x="132" y="6"/>
                    </a:lnTo>
                    <a:lnTo>
                      <a:pt x="132" y="14"/>
                    </a:lnTo>
                    <a:lnTo>
                      <a:pt x="144" y="20"/>
                    </a:lnTo>
                    <a:lnTo>
                      <a:pt x="158" y="14"/>
                    </a:lnTo>
                    <a:lnTo>
                      <a:pt x="158" y="20"/>
                    </a:lnTo>
                    <a:lnTo>
                      <a:pt x="166" y="20"/>
                    </a:lnTo>
                    <a:lnTo>
                      <a:pt x="172" y="20"/>
                    </a:lnTo>
                    <a:lnTo>
                      <a:pt x="180" y="28"/>
                    </a:lnTo>
                    <a:lnTo>
                      <a:pt x="172" y="34"/>
                    </a:lnTo>
                    <a:lnTo>
                      <a:pt x="172" y="42"/>
                    </a:lnTo>
                    <a:lnTo>
                      <a:pt x="158" y="42"/>
                    </a:lnTo>
                    <a:lnTo>
                      <a:pt x="152" y="48"/>
                    </a:lnTo>
                    <a:lnTo>
                      <a:pt x="144" y="56"/>
                    </a:lnTo>
                    <a:lnTo>
                      <a:pt x="138" y="56"/>
                    </a:lnTo>
                    <a:lnTo>
                      <a:pt x="132" y="56"/>
                    </a:lnTo>
                    <a:lnTo>
                      <a:pt x="124" y="62"/>
                    </a:lnTo>
                    <a:lnTo>
                      <a:pt x="124" y="70"/>
                    </a:lnTo>
                    <a:lnTo>
                      <a:pt x="118" y="70"/>
                    </a:lnTo>
                    <a:lnTo>
                      <a:pt x="104" y="76"/>
                    </a:lnTo>
                    <a:lnTo>
                      <a:pt x="104" y="82"/>
                    </a:lnTo>
                    <a:lnTo>
                      <a:pt x="110" y="82"/>
                    </a:lnTo>
                    <a:lnTo>
                      <a:pt x="104" y="82"/>
                    </a:lnTo>
                    <a:lnTo>
                      <a:pt x="104" y="90"/>
                    </a:lnTo>
                    <a:lnTo>
                      <a:pt x="104" y="96"/>
                    </a:lnTo>
                    <a:lnTo>
                      <a:pt x="110" y="96"/>
                    </a:lnTo>
                    <a:lnTo>
                      <a:pt x="124" y="90"/>
                    </a:lnTo>
                    <a:lnTo>
                      <a:pt x="132" y="90"/>
                    </a:lnTo>
                    <a:lnTo>
                      <a:pt x="144" y="90"/>
                    </a:lnTo>
                    <a:lnTo>
                      <a:pt x="152" y="90"/>
                    </a:lnTo>
                    <a:lnTo>
                      <a:pt x="166" y="90"/>
                    </a:lnTo>
                    <a:lnTo>
                      <a:pt x="172" y="90"/>
                    </a:lnTo>
                    <a:lnTo>
                      <a:pt x="180" y="96"/>
                    </a:lnTo>
                    <a:lnTo>
                      <a:pt x="180" y="104"/>
                    </a:lnTo>
                    <a:lnTo>
                      <a:pt x="186" y="104"/>
                    </a:lnTo>
                    <a:lnTo>
                      <a:pt x="194" y="104"/>
                    </a:lnTo>
                    <a:lnTo>
                      <a:pt x="200" y="104"/>
                    </a:lnTo>
                    <a:lnTo>
                      <a:pt x="200" y="110"/>
                    </a:lnTo>
                    <a:lnTo>
                      <a:pt x="200" y="118"/>
                    </a:lnTo>
                    <a:lnTo>
                      <a:pt x="194" y="124"/>
                    </a:lnTo>
                    <a:lnTo>
                      <a:pt x="186" y="124"/>
                    </a:lnTo>
                    <a:lnTo>
                      <a:pt x="186" y="132"/>
                    </a:lnTo>
                    <a:lnTo>
                      <a:pt x="180" y="132"/>
                    </a:lnTo>
                    <a:lnTo>
                      <a:pt x="172" y="138"/>
                    </a:lnTo>
                    <a:lnTo>
                      <a:pt x="180" y="144"/>
                    </a:lnTo>
                    <a:lnTo>
                      <a:pt x="180" y="152"/>
                    </a:lnTo>
                    <a:lnTo>
                      <a:pt x="172" y="158"/>
                    </a:lnTo>
                    <a:lnTo>
                      <a:pt x="158" y="164"/>
                    </a:lnTo>
                    <a:lnTo>
                      <a:pt x="158" y="172"/>
                    </a:lnTo>
                    <a:lnTo>
                      <a:pt x="152" y="172"/>
                    </a:lnTo>
                    <a:lnTo>
                      <a:pt x="144" y="180"/>
                    </a:lnTo>
                    <a:lnTo>
                      <a:pt x="138" y="172"/>
                    </a:lnTo>
                    <a:lnTo>
                      <a:pt x="132" y="172"/>
                    </a:lnTo>
                    <a:lnTo>
                      <a:pt x="118" y="172"/>
                    </a:lnTo>
                    <a:lnTo>
                      <a:pt x="118" y="180"/>
                    </a:lnTo>
                    <a:lnTo>
                      <a:pt x="124" y="180"/>
                    </a:lnTo>
                    <a:lnTo>
                      <a:pt x="132" y="186"/>
                    </a:lnTo>
                    <a:lnTo>
                      <a:pt x="138" y="186"/>
                    </a:lnTo>
                    <a:lnTo>
                      <a:pt x="132" y="194"/>
                    </a:lnTo>
                    <a:lnTo>
                      <a:pt x="118" y="194"/>
                    </a:lnTo>
                    <a:lnTo>
                      <a:pt x="118" y="200"/>
                    </a:lnTo>
                    <a:lnTo>
                      <a:pt x="110" y="200"/>
                    </a:lnTo>
                    <a:lnTo>
                      <a:pt x="104" y="200"/>
                    </a:lnTo>
                    <a:lnTo>
                      <a:pt x="96" y="194"/>
                    </a:lnTo>
                    <a:lnTo>
                      <a:pt x="90" y="194"/>
                    </a:lnTo>
                    <a:lnTo>
                      <a:pt x="90" y="200"/>
                    </a:lnTo>
                    <a:lnTo>
                      <a:pt x="96" y="200"/>
                    </a:lnTo>
                    <a:lnTo>
                      <a:pt x="104" y="206"/>
                    </a:lnTo>
                    <a:lnTo>
                      <a:pt x="110" y="206"/>
                    </a:lnTo>
                    <a:lnTo>
                      <a:pt x="124" y="206"/>
                    </a:lnTo>
                    <a:lnTo>
                      <a:pt x="132" y="206"/>
                    </a:lnTo>
                    <a:lnTo>
                      <a:pt x="138" y="214"/>
                    </a:lnTo>
                    <a:lnTo>
                      <a:pt x="144" y="220"/>
                    </a:lnTo>
                    <a:lnTo>
                      <a:pt x="152" y="234"/>
                    </a:lnTo>
                    <a:lnTo>
                      <a:pt x="144" y="248"/>
                    </a:lnTo>
                    <a:lnTo>
                      <a:pt x="138" y="248"/>
                    </a:lnTo>
                    <a:lnTo>
                      <a:pt x="144" y="254"/>
                    </a:lnTo>
                    <a:lnTo>
                      <a:pt x="138" y="262"/>
                    </a:lnTo>
                    <a:lnTo>
                      <a:pt x="132" y="254"/>
                    </a:lnTo>
                    <a:lnTo>
                      <a:pt x="124" y="254"/>
                    </a:lnTo>
                    <a:lnTo>
                      <a:pt x="124" y="262"/>
                    </a:lnTo>
                    <a:lnTo>
                      <a:pt x="118" y="262"/>
                    </a:lnTo>
                    <a:lnTo>
                      <a:pt x="118" y="268"/>
                    </a:lnTo>
                    <a:lnTo>
                      <a:pt x="110" y="268"/>
                    </a:lnTo>
                    <a:lnTo>
                      <a:pt x="104" y="276"/>
                    </a:lnTo>
                    <a:lnTo>
                      <a:pt x="96" y="282"/>
                    </a:lnTo>
                    <a:lnTo>
                      <a:pt x="90" y="282"/>
                    </a:lnTo>
                    <a:lnTo>
                      <a:pt x="90" y="276"/>
                    </a:lnTo>
                    <a:lnTo>
                      <a:pt x="90" y="276"/>
                    </a:lnTo>
                    <a:lnTo>
                      <a:pt x="90" y="276"/>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0" name="Freeform 44"/>
              <p:cNvSpPr>
                <a:spLocks/>
              </p:cNvSpPr>
              <p:nvPr>
                <p:custDataLst>
                  <p:tags r:id="rId137"/>
                </p:custDataLst>
              </p:nvPr>
            </p:nvSpPr>
            <p:spPr bwMode="gray">
              <a:xfrm>
                <a:off x="4114159" y="3619402"/>
                <a:ext cx="1036868" cy="1082915"/>
              </a:xfrm>
              <a:custGeom>
                <a:avLst/>
                <a:gdLst>
                  <a:gd name="T0" fmla="*/ 62 w 653"/>
                  <a:gd name="T1" fmla="*/ 208 h 682"/>
                  <a:gd name="T2" fmla="*/ 96 w 653"/>
                  <a:gd name="T3" fmla="*/ 172 h 682"/>
                  <a:gd name="T4" fmla="*/ 160 w 653"/>
                  <a:gd name="T5" fmla="*/ 194 h 682"/>
                  <a:gd name="T6" fmla="*/ 172 w 653"/>
                  <a:gd name="T7" fmla="*/ 186 h 682"/>
                  <a:gd name="T8" fmla="*/ 194 w 653"/>
                  <a:gd name="T9" fmla="*/ 248 h 682"/>
                  <a:gd name="T10" fmla="*/ 242 w 653"/>
                  <a:gd name="T11" fmla="*/ 332 h 682"/>
                  <a:gd name="T12" fmla="*/ 326 w 653"/>
                  <a:gd name="T13" fmla="*/ 420 h 682"/>
                  <a:gd name="T14" fmla="*/ 368 w 653"/>
                  <a:gd name="T15" fmla="*/ 442 h 682"/>
                  <a:gd name="T16" fmla="*/ 422 w 653"/>
                  <a:gd name="T17" fmla="*/ 490 h 682"/>
                  <a:gd name="T18" fmla="*/ 436 w 653"/>
                  <a:gd name="T19" fmla="*/ 524 h 682"/>
                  <a:gd name="T20" fmla="*/ 484 w 653"/>
                  <a:gd name="T21" fmla="*/ 544 h 682"/>
                  <a:gd name="T22" fmla="*/ 507 w 653"/>
                  <a:gd name="T23" fmla="*/ 620 h 682"/>
                  <a:gd name="T24" fmla="*/ 484 w 653"/>
                  <a:gd name="T25" fmla="*/ 642 h 682"/>
                  <a:gd name="T26" fmla="*/ 470 w 653"/>
                  <a:gd name="T27" fmla="*/ 676 h 682"/>
                  <a:gd name="T28" fmla="*/ 507 w 653"/>
                  <a:gd name="T29" fmla="*/ 676 h 682"/>
                  <a:gd name="T30" fmla="*/ 527 w 653"/>
                  <a:gd name="T31" fmla="*/ 642 h 682"/>
                  <a:gd name="T32" fmla="*/ 561 w 653"/>
                  <a:gd name="T33" fmla="*/ 620 h 682"/>
                  <a:gd name="T34" fmla="*/ 569 w 653"/>
                  <a:gd name="T35" fmla="*/ 586 h 682"/>
                  <a:gd name="T36" fmla="*/ 541 w 653"/>
                  <a:gd name="T37" fmla="*/ 560 h 682"/>
                  <a:gd name="T38" fmla="*/ 555 w 653"/>
                  <a:gd name="T39" fmla="*/ 518 h 682"/>
                  <a:gd name="T40" fmla="*/ 575 w 653"/>
                  <a:gd name="T41" fmla="*/ 504 h 682"/>
                  <a:gd name="T42" fmla="*/ 611 w 653"/>
                  <a:gd name="T43" fmla="*/ 518 h 682"/>
                  <a:gd name="T44" fmla="*/ 625 w 653"/>
                  <a:gd name="T45" fmla="*/ 544 h 682"/>
                  <a:gd name="T46" fmla="*/ 653 w 653"/>
                  <a:gd name="T47" fmla="*/ 530 h 682"/>
                  <a:gd name="T48" fmla="*/ 625 w 653"/>
                  <a:gd name="T49" fmla="*/ 482 h 682"/>
                  <a:gd name="T50" fmla="*/ 561 w 653"/>
                  <a:gd name="T51" fmla="*/ 454 h 682"/>
                  <a:gd name="T52" fmla="*/ 521 w 653"/>
                  <a:gd name="T53" fmla="*/ 434 h 682"/>
                  <a:gd name="T54" fmla="*/ 521 w 653"/>
                  <a:gd name="T55" fmla="*/ 414 h 682"/>
                  <a:gd name="T56" fmla="*/ 458 w 653"/>
                  <a:gd name="T57" fmla="*/ 394 h 682"/>
                  <a:gd name="T58" fmla="*/ 408 w 653"/>
                  <a:gd name="T59" fmla="*/ 338 h 682"/>
                  <a:gd name="T60" fmla="*/ 388 w 653"/>
                  <a:gd name="T61" fmla="*/ 276 h 682"/>
                  <a:gd name="T62" fmla="*/ 360 w 653"/>
                  <a:gd name="T63" fmla="*/ 242 h 682"/>
                  <a:gd name="T64" fmla="*/ 318 w 653"/>
                  <a:gd name="T65" fmla="*/ 214 h 682"/>
                  <a:gd name="T66" fmla="*/ 318 w 653"/>
                  <a:gd name="T67" fmla="*/ 172 h 682"/>
                  <a:gd name="T68" fmla="*/ 318 w 653"/>
                  <a:gd name="T69" fmla="*/ 146 h 682"/>
                  <a:gd name="T70" fmla="*/ 326 w 653"/>
                  <a:gd name="T71" fmla="*/ 118 h 682"/>
                  <a:gd name="T72" fmla="*/ 368 w 653"/>
                  <a:gd name="T73" fmla="*/ 110 h 682"/>
                  <a:gd name="T74" fmla="*/ 388 w 653"/>
                  <a:gd name="T75" fmla="*/ 110 h 682"/>
                  <a:gd name="T76" fmla="*/ 402 w 653"/>
                  <a:gd name="T77" fmla="*/ 90 h 682"/>
                  <a:gd name="T78" fmla="*/ 402 w 653"/>
                  <a:gd name="T79" fmla="*/ 56 h 682"/>
                  <a:gd name="T80" fmla="*/ 368 w 653"/>
                  <a:gd name="T81" fmla="*/ 42 h 682"/>
                  <a:gd name="T82" fmla="*/ 340 w 653"/>
                  <a:gd name="T83" fmla="*/ 22 h 682"/>
                  <a:gd name="T84" fmla="*/ 298 w 653"/>
                  <a:gd name="T85" fmla="*/ 8 h 682"/>
                  <a:gd name="T86" fmla="*/ 264 w 653"/>
                  <a:gd name="T87" fmla="*/ 14 h 682"/>
                  <a:gd name="T88" fmla="*/ 242 w 653"/>
                  <a:gd name="T89" fmla="*/ 0 h 682"/>
                  <a:gd name="T90" fmla="*/ 228 w 653"/>
                  <a:gd name="T91" fmla="*/ 22 h 682"/>
                  <a:gd name="T92" fmla="*/ 208 w 653"/>
                  <a:gd name="T93" fmla="*/ 42 h 682"/>
                  <a:gd name="T94" fmla="*/ 180 w 653"/>
                  <a:gd name="T95" fmla="*/ 28 h 682"/>
                  <a:gd name="T96" fmla="*/ 160 w 653"/>
                  <a:gd name="T97" fmla="*/ 42 h 682"/>
                  <a:gd name="T98" fmla="*/ 132 w 653"/>
                  <a:gd name="T99" fmla="*/ 50 h 682"/>
                  <a:gd name="T100" fmla="*/ 110 w 653"/>
                  <a:gd name="T101" fmla="*/ 22 h 682"/>
                  <a:gd name="T102" fmla="*/ 76 w 653"/>
                  <a:gd name="T103" fmla="*/ 50 h 682"/>
                  <a:gd name="T104" fmla="*/ 28 w 653"/>
                  <a:gd name="T105" fmla="*/ 56 h 682"/>
                  <a:gd name="T106" fmla="*/ 34 w 653"/>
                  <a:gd name="T107" fmla="*/ 90 h 682"/>
                  <a:gd name="T108" fmla="*/ 0 w 653"/>
                  <a:gd name="T109" fmla="*/ 104 h 682"/>
                  <a:gd name="T110" fmla="*/ 20 w 653"/>
                  <a:gd name="T111" fmla="*/ 132 h 682"/>
                  <a:gd name="T112" fmla="*/ 14 w 653"/>
                  <a:gd name="T113" fmla="*/ 172 h 682"/>
                  <a:gd name="T114" fmla="*/ 42 w 653"/>
                  <a:gd name="T115" fmla="*/ 200 h 682"/>
                  <a:gd name="T116" fmla="*/ 28 w 653"/>
                  <a:gd name="T117" fmla="*/ 22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53" h="682">
                    <a:moveTo>
                      <a:pt x="28" y="220"/>
                    </a:moveTo>
                    <a:lnTo>
                      <a:pt x="42" y="214"/>
                    </a:lnTo>
                    <a:lnTo>
                      <a:pt x="48" y="208"/>
                    </a:lnTo>
                    <a:lnTo>
                      <a:pt x="56" y="208"/>
                    </a:lnTo>
                    <a:lnTo>
                      <a:pt x="62" y="208"/>
                    </a:lnTo>
                    <a:lnTo>
                      <a:pt x="76" y="200"/>
                    </a:lnTo>
                    <a:lnTo>
                      <a:pt x="84" y="194"/>
                    </a:lnTo>
                    <a:lnTo>
                      <a:pt x="84" y="186"/>
                    </a:lnTo>
                    <a:lnTo>
                      <a:pt x="90" y="180"/>
                    </a:lnTo>
                    <a:lnTo>
                      <a:pt x="96" y="172"/>
                    </a:lnTo>
                    <a:lnTo>
                      <a:pt x="110" y="172"/>
                    </a:lnTo>
                    <a:lnTo>
                      <a:pt x="118" y="172"/>
                    </a:lnTo>
                    <a:lnTo>
                      <a:pt x="132" y="186"/>
                    </a:lnTo>
                    <a:lnTo>
                      <a:pt x="138" y="180"/>
                    </a:lnTo>
                    <a:lnTo>
                      <a:pt x="160" y="194"/>
                    </a:lnTo>
                    <a:lnTo>
                      <a:pt x="160" y="186"/>
                    </a:lnTo>
                    <a:lnTo>
                      <a:pt x="166" y="180"/>
                    </a:lnTo>
                    <a:lnTo>
                      <a:pt x="172" y="180"/>
                    </a:lnTo>
                    <a:lnTo>
                      <a:pt x="180" y="180"/>
                    </a:lnTo>
                    <a:lnTo>
                      <a:pt x="172" y="186"/>
                    </a:lnTo>
                    <a:lnTo>
                      <a:pt x="172" y="194"/>
                    </a:lnTo>
                    <a:lnTo>
                      <a:pt x="180" y="200"/>
                    </a:lnTo>
                    <a:lnTo>
                      <a:pt x="172" y="208"/>
                    </a:lnTo>
                    <a:lnTo>
                      <a:pt x="186" y="220"/>
                    </a:lnTo>
                    <a:lnTo>
                      <a:pt x="194" y="248"/>
                    </a:lnTo>
                    <a:lnTo>
                      <a:pt x="200" y="276"/>
                    </a:lnTo>
                    <a:lnTo>
                      <a:pt x="208" y="284"/>
                    </a:lnTo>
                    <a:lnTo>
                      <a:pt x="222" y="318"/>
                    </a:lnTo>
                    <a:lnTo>
                      <a:pt x="228" y="318"/>
                    </a:lnTo>
                    <a:lnTo>
                      <a:pt x="242" y="332"/>
                    </a:lnTo>
                    <a:lnTo>
                      <a:pt x="250" y="346"/>
                    </a:lnTo>
                    <a:lnTo>
                      <a:pt x="256" y="352"/>
                    </a:lnTo>
                    <a:lnTo>
                      <a:pt x="264" y="358"/>
                    </a:lnTo>
                    <a:lnTo>
                      <a:pt x="284" y="380"/>
                    </a:lnTo>
                    <a:lnTo>
                      <a:pt x="326" y="420"/>
                    </a:lnTo>
                    <a:lnTo>
                      <a:pt x="332" y="420"/>
                    </a:lnTo>
                    <a:lnTo>
                      <a:pt x="340" y="434"/>
                    </a:lnTo>
                    <a:lnTo>
                      <a:pt x="354" y="434"/>
                    </a:lnTo>
                    <a:lnTo>
                      <a:pt x="360" y="448"/>
                    </a:lnTo>
                    <a:lnTo>
                      <a:pt x="368" y="442"/>
                    </a:lnTo>
                    <a:lnTo>
                      <a:pt x="388" y="462"/>
                    </a:lnTo>
                    <a:lnTo>
                      <a:pt x="396" y="470"/>
                    </a:lnTo>
                    <a:lnTo>
                      <a:pt x="402" y="476"/>
                    </a:lnTo>
                    <a:lnTo>
                      <a:pt x="408" y="476"/>
                    </a:lnTo>
                    <a:lnTo>
                      <a:pt x="422" y="490"/>
                    </a:lnTo>
                    <a:lnTo>
                      <a:pt x="430" y="490"/>
                    </a:lnTo>
                    <a:lnTo>
                      <a:pt x="436" y="496"/>
                    </a:lnTo>
                    <a:lnTo>
                      <a:pt x="436" y="510"/>
                    </a:lnTo>
                    <a:lnTo>
                      <a:pt x="436" y="518"/>
                    </a:lnTo>
                    <a:lnTo>
                      <a:pt x="436" y="524"/>
                    </a:lnTo>
                    <a:lnTo>
                      <a:pt x="450" y="530"/>
                    </a:lnTo>
                    <a:lnTo>
                      <a:pt x="458" y="530"/>
                    </a:lnTo>
                    <a:lnTo>
                      <a:pt x="464" y="530"/>
                    </a:lnTo>
                    <a:lnTo>
                      <a:pt x="478" y="538"/>
                    </a:lnTo>
                    <a:lnTo>
                      <a:pt x="484" y="544"/>
                    </a:lnTo>
                    <a:lnTo>
                      <a:pt x="484" y="552"/>
                    </a:lnTo>
                    <a:lnTo>
                      <a:pt x="493" y="558"/>
                    </a:lnTo>
                    <a:lnTo>
                      <a:pt x="499" y="578"/>
                    </a:lnTo>
                    <a:lnTo>
                      <a:pt x="507" y="600"/>
                    </a:lnTo>
                    <a:lnTo>
                      <a:pt x="507" y="620"/>
                    </a:lnTo>
                    <a:lnTo>
                      <a:pt x="499" y="628"/>
                    </a:lnTo>
                    <a:lnTo>
                      <a:pt x="493" y="628"/>
                    </a:lnTo>
                    <a:lnTo>
                      <a:pt x="484" y="628"/>
                    </a:lnTo>
                    <a:lnTo>
                      <a:pt x="484" y="634"/>
                    </a:lnTo>
                    <a:lnTo>
                      <a:pt x="484" y="642"/>
                    </a:lnTo>
                    <a:lnTo>
                      <a:pt x="484" y="648"/>
                    </a:lnTo>
                    <a:lnTo>
                      <a:pt x="484" y="654"/>
                    </a:lnTo>
                    <a:lnTo>
                      <a:pt x="478" y="662"/>
                    </a:lnTo>
                    <a:lnTo>
                      <a:pt x="470" y="668"/>
                    </a:lnTo>
                    <a:lnTo>
                      <a:pt x="470" y="676"/>
                    </a:lnTo>
                    <a:lnTo>
                      <a:pt x="478" y="682"/>
                    </a:lnTo>
                    <a:lnTo>
                      <a:pt x="484" y="682"/>
                    </a:lnTo>
                    <a:lnTo>
                      <a:pt x="493" y="682"/>
                    </a:lnTo>
                    <a:lnTo>
                      <a:pt x="499" y="682"/>
                    </a:lnTo>
                    <a:lnTo>
                      <a:pt x="507" y="676"/>
                    </a:lnTo>
                    <a:lnTo>
                      <a:pt x="513" y="676"/>
                    </a:lnTo>
                    <a:lnTo>
                      <a:pt x="513" y="668"/>
                    </a:lnTo>
                    <a:lnTo>
                      <a:pt x="527" y="662"/>
                    </a:lnTo>
                    <a:lnTo>
                      <a:pt x="527" y="654"/>
                    </a:lnTo>
                    <a:lnTo>
                      <a:pt x="527" y="642"/>
                    </a:lnTo>
                    <a:lnTo>
                      <a:pt x="535" y="634"/>
                    </a:lnTo>
                    <a:lnTo>
                      <a:pt x="541" y="628"/>
                    </a:lnTo>
                    <a:lnTo>
                      <a:pt x="549" y="620"/>
                    </a:lnTo>
                    <a:lnTo>
                      <a:pt x="555" y="620"/>
                    </a:lnTo>
                    <a:lnTo>
                      <a:pt x="561" y="620"/>
                    </a:lnTo>
                    <a:lnTo>
                      <a:pt x="569" y="620"/>
                    </a:lnTo>
                    <a:lnTo>
                      <a:pt x="569" y="614"/>
                    </a:lnTo>
                    <a:lnTo>
                      <a:pt x="569" y="606"/>
                    </a:lnTo>
                    <a:lnTo>
                      <a:pt x="569" y="600"/>
                    </a:lnTo>
                    <a:lnTo>
                      <a:pt x="569" y="586"/>
                    </a:lnTo>
                    <a:lnTo>
                      <a:pt x="569" y="578"/>
                    </a:lnTo>
                    <a:lnTo>
                      <a:pt x="569" y="572"/>
                    </a:lnTo>
                    <a:lnTo>
                      <a:pt x="561" y="566"/>
                    </a:lnTo>
                    <a:lnTo>
                      <a:pt x="549" y="572"/>
                    </a:lnTo>
                    <a:lnTo>
                      <a:pt x="541" y="560"/>
                    </a:lnTo>
                    <a:lnTo>
                      <a:pt x="539" y="542"/>
                    </a:lnTo>
                    <a:lnTo>
                      <a:pt x="541" y="530"/>
                    </a:lnTo>
                    <a:lnTo>
                      <a:pt x="549" y="530"/>
                    </a:lnTo>
                    <a:lnTo>
                      <a:pt x="549" y="524"/>
                    </a:lnTo>
                    <a:lnTo>
                      <a:pt x="555" y="518"/>
                    </a:lnTo>
                    <a:lnTo>
                      <a:pt x="549" y="518"/>
                    </a:lnTo>
                    <a:lnTo>
                      <a:pt x="555" y="510"/>
                    </a:lnTo>
                    <a:lnTo>
                      <a:pt x="561" y="504"/>
                    </a:lnTo>
                    <a:lnTo>
                      <a:pt x="569" y="504"/>
                    </a:lnTo>
                    <a:lnTo>
                      <a:pt x="575" y="504"/>
                    </a:lnTo>
                    <a:lnTo>
                      <a:pt x="575" y="510"/>
                    </a:lnTo>
                    <a:lnTo>
                      <a:pt x="589" y="518"/>
                    </a:lnTo>
                    <a:lnTo>
                      <a:pt x="597" y="518"/>
                    </a:lnTo>
                    <a:lnTo>
                      <a:pt x="603" y="518"/>
                    </a:lnTo>
                    <a:lnTo>
                      <a:pt x="611" y="518"/>
                    </a:lnTo>
                    <a:lnTo>
                      <a:pt x="617" y="518"/>
                    </a:lnTo>
                    <a:lnTo>
                      <a:pt x="617" y="524"/>
                    </a:lnTo>
                    <a:lnTo>
                      <a:pt x="617" y="530"/>
                    </a:lnTo>
                    <a:lnTo>
                      <a:pt x="625" y="538"/>
                    </a:lnTo>
                    <a:lnTo>
                      <a:pt x="625" y="544"/>
                    </a:lnTo>
                    <a:lnTo>
                      <a:pt x="631" y="552"/>
                    </a:lnTo>
                    <a:lnTo>
                      <a:pt x="637" y="552"/>
                    </a:lnTo>
                    <a:lnTo>
                      <a:pt x="645" y="552"/>
                    </a:lnTo>
                    <a:lnTo>
                      <a:pt x="653" y="544"/>
                    </a:lnTo>
                    <a:lnTo>
                      <a:pt x="653" y="530"/>
                    </a:lnTo>
                    <a:lnTo>
                      <a:pt x="653" y="518"/>
                    </a:lnTo>
                    <a:lnTo>
                      <a:pt x="653" y="510"/>
                    </a:lnTo>
                    <a:lnTo>
                      <a:pt x="637" y="504"/>
                    </a:lnTo>
                    <a:lnTo>
                      <a:pt x="631" y="490"/>
                    </a:lnTo>
                    <a:lnTo>
                      <a:pt x="625" y="482"/>
                    </a:lnTo>
                    <a:lnTo>
                      <a:pt x="611" y="476"/>
                    </a:lnTo>
                    <a:lnTo>
                      <a:pt x="597" y="476"/>
                    </a:lnTo>
                    <a:lnTo>
                      <a:pt x="589" y="470"/>
                    </a:lnTo>
                    <a:lnTo>
                      <a:pt x="583" y="462"/>
                    </a:lnTo>
                    <a:lnTo>
                      <a:pt x="561" y="454"/>
                    </a:lnTo>
                    <a:lnTo>
                      <a:pt x="555" y="448"/>
                    </a:lnTo>
                    <a:lnTo>
                      <a:pt x="549" y="442"/>
                    </a:lnTo>
                    <a:lnTo>
                      <a:pt x="541" y="442"/>
                    </a:lnTo>
                    <a:lnTo>
                      <a:pt x="527" y="442"/>
                    </a:lnTo>
                    <a:lnTo>
                      <a:pt x="521" y="434"/>
                    </a:lnTo>
                    <a:lnTo>
                      <a:pt x="507" y="428"/>
                    </a:lnTo>
                    <a:lnTo>
                      <a:pt x="499" y="428"/>
                    </a:lnTo>
                    <a:lnTo>
                      <a:pt x="507" y="420"/>
                    </a:lnTo>
                    <a:lnTo>
                      <a:pt x="513" y="420"/>
                    </a:lnTo>
                    <a:lnTo>
                      <a:pt x="521" y="414"/>
                    </a:lnTo>
                    <a:lnTo>
                      <a:pt x="521" y="400"/>
                    </a:lnTo>
                    <a:lnTo>
                      <a:pt x="499" y="394"/>
                    </a:lnTo>
                    <a:lnTo>
                      <a:pt x="493" y="394"/>
                    </a:lnTo>
                    <a:lnTo>
                      <a:pt x="470" y="394"/>
                    </a:lnTo>
                    <a:lnTo>
                      <a:pt x="458" y="394"/>
                    </a:lnTo>
                    <a:lnTo>
                      <a:pt x="444" y="386"/>
                    </a:lnTo>
                    <a:lnTo>
                      <a:pt x="436" y="372"/>
                    </a:lnTo>
                    <a:lnTo>
                      <a:pt x="430" y="366"/>
                    </a:lnTo>
                    <a:lnTo>
                      <a:pt x="416" y="352"/>
                    </a:lnTo>
                    <a:lnTo>
                      <a:pt x="408" y="338"/>
                    </a:lnTo>
                    <a:lnTo>
                      <a:pt x="396" y="324"/>
                    </a:lnTo>
                    <a:lnTo>
                      <a:pt x="396" y="310"/>
                    </a:lnTo>
                    <a:lnTo>
                      <a:pt x="402" y="304"/>
                    </a:lnTo>
                    <a:lnTo>
                      <a:pt x="396" y="290"/>
                    </a:lnTo>
                    <a:lnTo>
                      <a:pt x="388" y="276"/>
                    </a:lnTo>
                    <a:lnTo>
                      <a:pt x="388" y="268"/>
                    </a:lnTo>
                    <a:lnTo>
                      <a:pt x="382" y="262"/>
                    </a:lnTo>
                    <a:lnTo>
                      <a:pt x="382" y="248"/>
                    </a:lnTo>
                    <a:lnTo>
                      <a:pt x="374" y="248"/>
                    </a:lnTo>
                    <a:lnTo>
                      <a:pt x="360" y="242"/>
                    </a:lnTo>
                    <a:lnTo>
                      <a:pt x="346" y="234"/>
                    </a:lnTo>
                    <a:lnTo>
                      <a:pt x="340" y="234"/>
                    </a:lnTo>
                    <a:lnTo>
                      <a:pt x="326" y="228"/>
                    </a:lnTo>
                    <a:lnTo>
                      <a:pt x="326" y="220"/>
                    </a:lnTo>
                    <a:lnTo>
                      <a:pt x="318" y="214"/>
                    </a:lnTo>
                    <a:lnTo>
                      <a:pt x="318" y="208"/>
                    </a:lnTo>
                    <a:lnTo>
                      <a:pt x="312" y="194"/>
                    </a:lnTo>
                    <a:lnTo>
                      <a:pt x="318" y="186"/>
                    </a:lnTo>
                    <a:lnTo>
                      <a:pt x="318" y="180"/>
                    </a:lnTo>
                    <a:lnTo>
                      <a:pt x="318" y="172"/>
                    </a:lnTo>
                    <a:lnTo>
                      <a:pt x="326" y="166"/>
                    </a:lnTo>
                    <a:lnTo>
                      <a:pt x="332" y="160"/>
                    </a:lnTo>
                    <a:lnTo>
                      <a:pt x="332" y="152"/>
                    </a:lnTo>
                    <a:lnTo>
                      <a:pt x="326" y="152"/>
                    </a:lnTo>
                    <a:lnTo>
                      <a:pt x="318" y="146"/>
                    </a:lnTo>
                    <a:lnTo>
                      <a:pt x="318" y="138"/>
                    </a:lnTo>
                    <a:lnTo>
                      <a:pt x="312" y="138"/>
                    </a:lnTo>
                    <a:lnTo>
                      <a:pt x="318" y="132"/>
                    </a:lnTo>
                    <a:lnTo>
                      <a:pt x="326" y="132"/>
                    </a:lnTo>
                    <a:lnTo>
                      <a:pt x="326" y="118"/>
                    </a:lnTo>
                    <a:lnTo>
                      <a:pt x="340" y="118"/>
                    </a:lnTo>
                    <a:lnTo>
                      <a:pt x="346" y="118"/>
                    </a:lnTo>
                    <a:lnTo>
                      <a:pt x="354" y="118"/>
                    </a:lnTo>
                    <a:lnTo>
                      <a:pt x="360" y="118"/>
                    </a:lnTo>
                    <a:lnTo>
                      <a:pt x="368" y="110"/>
                    </a:lnTo>
                    <a:lnTo>
                      <a:pt x="374" y="110"/>
                    </a:lnTo>
                    <a:lnTo>
                      <a:pt x="374" y="104"/>
                    </a:lnTo>
                    <a:lnTo>
                      <a:pt x="382" y="104"/>
                    </a:lnTo>
                    <a:lnTo>
                      <a:pt x="388" y="104"/>
                    </a:lnTo>
                    <a:lnTo>
                      <a:pt x="388" y="110"/>
                    </a:lnTo>
                    <a:lnTo>
                      <a:pt x="396" y="118"/>
                    </a:lnTo>
                    <a:lnTo>
                      <a:pt x="396" y="104"/>
                    </a:lnTo>
                    <a:lnTo>
                      <a:pt x="402" y="104"/>
                    </a:lnTo>
                    <a:lnTo>
                      <a:pt x="408" y="96"/>
                    </a:lnTo>
                    <a:lnTo>
                      <a:pt x="402" y="90"/>
                    </a:lnTo>
                    <a:lnTo>
                      <a:pt x="396" y="84"/>
                    </a:lnTo>
                    <a:lnTo>
                      <a:pt x="408" y="76"/>
                    </a:lnTo>
                    <a:lnTo>
                      <a:pt x="408" y="70"/>
                    </a:lnTo>
                    <a:lnTo>
                      <a:pt x="402" y="62"/>
                    </a:lnTo>
                    <a:lnTo>
                      <a:pt x="402" y="56"/>
                    </a:lnTo>
                    <a:lnTo>
                      <a:pt x="402" y="50"/>
                    </a:lnTo>
                    <a:lnTo>
                      <a:pt x="396" y="50"/>
                    </a:lnTo>
                    <a:lnTo>
                      <a:pt x="388" y="42"/>
                    </a:lnTo>
                    <a:lnTo>
                      <a:pt x="374" y="42"/>
                    </a:lnTo>
                    <a:lnTo>
                      <a:pt x="368" y="42"/>
                    </a:lnTo>
                    <a:lnTo>
                      <a:pt x="360" y="42"/>
                    </a:lnTo>
                    <a:lnTo>
                      <a:pt x="354" y="42"/>
                    </a:lnTo>
                    <a:lnTo>
                      <a:pt x="346" y="36"/>
                    </a:lnTo>
                    <a:lnTo>
                      <a:pt x="340" y="28"/>
                    </a:lnTo>
                    <a:lnTo>
                      <a:pt x="340" y="22"/>
                    </a:lnTo>
                    <a:lnTo>
                      <a:pt x="332" y="14"/>
                    </a:lnTo>
                    <a:lnTo>
                      <a:pt x="326" y="8"/>
                    </a:lnTo>
                    <a:lnTo>
                      <a:pt x="312" y="8"/>
                    </a:lnTo>
                    <a:lnTo>
                      <a:pt x="304" y="8"/>
                    </a:lnTo>
                    <a:lnTo>
                      <a:pt x="298" y="8"/>
                    </a:lnTo>
                    <a:lnTo>
                      <a:pt x="292" y="8"/>
                    </a:lnTo>
                    <a:lnTo>
                      <a:pt x="284" y="0"/>
                    </a:lnTo>
                    <a:lnTo>
                      <a:pt x="276" y="0"/>
                    </a:lnTo>
                    <a:lnTo>
                      <a:pt x="276" y="8"/>
                    </a:lnTo>
                    <a:lnTo>
                      <a:pt x="264" y="14"/>
                    </a:lnTo>
                    <a:lnTo>
                      <a:pt x="256" y="14"/>
                    </a:lnTo>
                    <a:lnTo>
                      <a:pt x="250" y="14"/>
                    </a:lnTo>
                    <a:lnTo>
                      <a:pt x="250" y="8"/>
                    </a:lnTo>
                    <a:lnTo>
                      <a:pt x="250" y="0"/>
                    </a:lnTo>
                    <a:lnTo>
                      <a:pt x="242" y="0"/>
                    </a:lnTo>
                    <a:lnTo>
                      <a:pt x="236" y="0"/>
                    </a:lnTo>
                    <a:lnTo>
                      <a:pt x="236" y="8"/>
                    </a:lnTo>
                    <a:lnTo>
                      <a:pt x="236" y="14"/>
                    </a:lnTo>
                    <a:lnTo>
                      <a:pt x="236" y="22"/>
                    </a:lnTo>
                    <a:lnTo>
                      <a:pt x="228" y="22"/>
                    </a:lnTo>
                    <a:lnTo>
                      <a:pt x="222" y="14"/>
                    </a:lnTo>
                    <a:lnTo>
                      <a:pt x="214" y="22"/>
                    </a:lnTo>
                    <a:lnTo>
                      <a:pt x="208" y="28"/>
                    </a:lnTo>
                    <a:lnTo>
                      <a:pt x="214" y="36"/>
                    </a:lnTo>
                    <a:lnTo>
                      <a:pt x="208" y="42"/>
                    </a:lnTo>
                    <a:lnTo>
                      <a:pt x="200" y="36"/>
                    </a:lnTo>
                    <a:lnTo>
                      <a:pt x="194" y="36"/>
                    </a:lnTo>
                    <a:lnTo>
                      <a:pt x="186" y="36"/>
                    </a:lnTo>
                    <a:lnTo>
                      <a:pt x="180" y="36"/>
                    </a:lnTo>
                    <a:lnTo>
                      <a:pt x="180" y="28"/>
                    </a:lnTo>
                    <a:lnTo>
                      <a:pt x="172" y="22"/>
                    </a:lnTo>
                    <a:lnTo>
                      <a:pt x="166" y="22"/>
                    </a:lnTo>
                    <a:lnTo>
                      <a:pt x="166" y="28"/>
                    </a:lnTo>
                    <a:lnTo>
                      <a:pt x="166" y="42"/>
                    </a:lnTo>
                    <a:lnTo>
                      <a:pt x="160" y="42"/>
                    </a:lnTo>
                    <a:lnTo>
                      <a:pt x="152" y="50"/>
                    </a:lnTo>
                    <a:lnTo>
                      <a:pt x="146" y="56"/>
                    </a:lnTo>
                    <a:lnTo>
                      <a:pt x="146" y="62"/>
                    </a:lnTo>
                    <a:lnTo>
                      <a:pt x="138" y="56"/>
                    </a:lnTo>
                    <a:lnTo>
                      <a:pt x="132" y="50"/>
                    </a:lnTo>
                    <a:lnTo>
                      <a:pt x="124" y="42"/>
                    </a:lnTo>
                    <a:lnTo>
                      <a:pt x="124" y="36"/>
                    </a:lnTo>
                    <a:lnTo>
                      <a:pt x="124" y="28"/>
                    </a:lnTo>
                    <a:lnTo>
                      <a:pt x="118" y="22"/>
                    </a:lnTo>
                    <a:lnTo>
                      <a:pt x="110" y="22"/>
                    </a:lnTo>
                    <a:lnTo>
                      <a:pt x="104" y="28"/>
                    </a:lnTo>
                    <a:lnTo>
                      <a:pt x="104" y="36"/>
                    </a:lnTo>
                    <a:lnTo>
                      <a:pt x="96" y="50"/>
                    </a:lnTo>
                    <a:lnTo>
                      <a:pt x="90" y="50"/>
                    </a:lnTo>
                    <a:lnTo>
                      <a:pt x="76" y="50"/>
                    </a:lnTo>
                    <a:lnTo>
                      <a:pt x="68" y="42"/>
                    </a:lnTo>
                    <a:lnTo>
                      <a:pt x="42" y="50"/>
                    </a:lnTo>
                    <a:lnTo>
                      <a:pt x="34" y="50"/>
                    </a:lnTo>
                    <a:lnTo>
                      <a:pt x="34" y="56"/>
                    </a:lnTo>
                    <a:lnTo>
                      <a:pt x="28" y="56"/>
                    </a:lnTo>
                    <a:lnTo>
                      <a:pt x="28" y="62"/>
                    </a:lnTo>
                    <a:lnTo>
                      <a:pt x="34" y="70"/>
                    </a:lnTo>
                    <a:lnTo>
                      <a:pt x="34" y="76"/>
                    </a:lnTo>
                    <a:lnTo>
                      <a:pt x="42" y="84"/>
                    </a:lnTo>
                    <a:lnTo>
                      <a:pt x="34" y="90"/>
                    </a:lnTo>
                    <a:lnTo>
                      <a:pt x="28" y="96"/>
                    </a:lnTo>
                    <a:lnTo>
                      <a:pt x="20" y="104"/>
                    </a:lnTo>
                    <a:lnTo>
                      <a:pt x="14" y="104"/>
                    </a:lnTo>
                    <a:lnTo>
                      <a:pt x="6" y="104"/>
                    </a:lnTo>
                    <a:lnTo>
                      <a:pt x="0" y="104"/>
                    </a:lnTo>
                    <a:lnTo>
                      <a:pt x="0" y="110"/>
                    </a:lnTo>
                    <a:lnTo>
                      <a:pt x="6" y="118"/>
                    </a:lnTo>
                    <a:lnTo>
                      <a:pt x="14" y="118"/>
                    </a:lnTo>
                    <a:lnTo>
                      <a:pt x="20" y="126"/>
                    </a:lnTo>
                    <a:lnTo>
                      <a:pt x="20" y="132"/>
                    </a:lnTo>
                    <a:lnTo>
                      <a:pt x="20" y="138"/>
                    </a:lnTo>
                    <a:lnTo>
                      <a:pt x="14" y="146"/>
                    </a:lnTo>
                    <a:lnTo>
                      <a:pt x="14" y="152"/>
                    </a:lnTo>
                    <a:lnTo>
                      <a:pt x="14" y="166"/>
                    </a:lnTo>
                    <a:lnTo>
                      <a:pt x="14" y="172"/>
                    </a:lnTo>
                    <a:lnTo>
                      <a:pt x="20" y="186"/>
                    </a:lnTo>
                    <a:lnTo>
                      <a:pt x="28" y="186"/>
                    </a:lnTo>
                    <a:lnTo>
                      <a:pt x="42" y="186"/>
                    </a:lnTo>
                    <a:lnTo>
                      <a:pt x="48" y="194"/>
                    </a:lnTo>
                    <a:lnTo>
                      <a:pt x="42" y="200"/>
                    </a:lnTo>
                    <a:lnTo>
                      <a:pt x="42" y="208"/>
                    </a:lnTo>
                    <a:lnTo>
                      <a:pt x="34" y="214"/>
                    </a:lnTo>
                    <a:lnTo>
                      <a:pt x="28" y="220"/>
                    </a:lnTo>
                    <a:lnTo>
                      <a:pt x="28" y="220"/>
                    </a:lnTo>
                    <a:lnTo>
                      <a:pt x="28" y="220"/>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1" name="Freeform 45"/>
              <p:cNvSpPr>
                <a:spLocks/>
              </p:cNvSpPr>
              <p:nvPr/>
            </p:nvSpPr>
            <p:spPr bwMode="gray">
              <a:xfrm>
                <a:off x="4104632" y="3514604"/>
                <a:ext cx="393788" cy="206421"/>
              </a:xfrm>
              <a:custGeom>
                <a:avLst/>
                <a:gdLst>
                  <a:gd name="T0" fmla="*/ 36 w 248"/>
                  <a:gd name="T1" fmla="*/ 104 h 130"/>
                  <a:gd name="T2" fmla="*/ 42 w 248"/>
                  <a:gd name="T3" fmla="*/ 96 h 130"/>
                  <a:gd name="T4" fmla="*/ 36 w 248"/>
                  <a:gd name="T5" fmla="*/ 82 h 130"/>
                  <a:gd name="T6" fmla="*/ 48 w 248"/>
                  <a:gd name="T7" fmla="*/ 82 h 130"/>
                  <a:gd name="T8" fmla="*/ 42 w 248"/>
                  <a:gd name="T9" fmla="*/ 62 h 130"/>
                  <a:gd name="T10" fmla="*/ 36 w 248"/>
                  <a:gd name="T11" fmla="*/ 68 h 130"/>
                  <a:gd name="T12" fmla="*/ 22 w 248"/>
                  <a:gd name="T13" fmla="*/ 82 h 130"/>
                  <a:gd name="T14" fmla="*/ 0 w 248"/>
                  <a:gd name="T15" fmla="*/ 74 h 130"/>
                  <a:gd name="T16" fmla="*/ 22 w 248"/>
                  <a:gd name="T17" fmla="*/ 48 h 130"/>
                  <a:gd name="T18" fmla="*/ 28 w 248"/>
                  <a:gd name="T19" fmla="*/ 34 h 130"/>
                  <a:gd name="T20" fmla="*/ 56 w 248"/>
                  <a:gd name="T21" fmla="*/ 28 h 130"/>
                  <a:gd name="T22" fmla="*/ 62 w 248"/>
                  <a:gd name="T23" fmla="*/ 6 h 130"/>
                  <a:gd name="T24" fmla="*/ 76 w 248"/>
                  <a:gd name="T25" fmla="*/ 6 h 130"/>
                  <a:gd name="T26" fmla="*/ 90 w 248"/>
                  <a:gd name="T27" fmla="*/ 0 h 130"/>
                  <a:gd name="T28" fmla="*/ 98 w 248"/>
                  <a:gd name="T29" fmla="*/ 0 h 130"/>
                  <a:gd name="T30" fmla="*/ 104 w 248"/>
                  <a:gd name="T31" fmla="*/ 0 h 130"/>
                  <a:gd name="T32" fmla="*/ 126 w 248"/>
                  <a:gd name="T33" fmla="*/ 6 h 130"/>
                  <a:gd name="T34" fmla="*/ 138 w 248"/>
                  <a:gd name="T35" fmla="*/ 6 h 130"/>
                  <a:gd name="T36" fmla="*/ 152 w 248"/>
                  <a:gd name="T37" fmla="*/ 6 h 130"/>
                  <a:gd name="T38" fmla="*/ 174 w 248"/>
                  <a:gd name="T39" fmla="*/ 6 h 130"/>
                  <a:gd name="T40" fmla="*/ 180 w 248"/>
                  <a:gd name="T41" fmla="*/ 14 h 130"/>
                  <a:gd name="T42" fmla="*/ 186 w 248"/>
                  <a:gd name="T43" fmla="*/ 20 h 130"/>
                  <a:gd name="T44" fmla="*/ 200 w 248"/>
                  <a:gd name="T45" fmla="*/ 34 h 130"/>
                  <a:gd name="T46" fmla="*/ 194 w 248"/>
                  <a:gd name="T47" fmla="*/ 48 h 130"/>
                  <a:gd name="T48" fmla="*/ 200 w 248"/>
                  <a:gd name="T49" fmla="*/ 54 h 130"/>
                  <a:gd name="T50" fmla="*/ 214 w 248"/>
                  <a:gd name="T51" fmla="*/ 62 h 130"/>
                  <a:gd name="T52" fmla="*/ 248 w 248"/>
                  <a:gd name="T53" fmla="*/ 68 h 130"/>
                  <a:gd name="T54" fmla="*/ 242 w 248"/>
                  <a:gd name="T55" fmla="*/ 74 h 130"/>
                  <a:gd name="T56" fmla="*/ 242 w 248"/>
                  <a:gd name="T57" fmla="*/ 90 h 130"/>
                  <a:gd name="T58" fmla="*/ 228 w 248"/>
                  <a:gd name="T59" fmla="*/ 82 h 130"/>
                  <a:gd name="T60" fmla="*/ 214 w 248"/>
                  <a:gd name="T61" fmla="*/ 96 h 130"/>
                  <a:gd name="T62" fmla="*/ 214 w 248"/>
                  <a:gd name="T63" fmla="*/ 110 h 130"/>
                  <a:gd name="T64" fmla="*/ 200 w 248"/>
                  <a:gd name="T65" fmla="*/ 104 h 130"/>
                  <a:gd name="T66" fmla="*/ 186 w 248"/>
                  <a:gd name="T67" fmla="*/ 104 h 130"/>
                  <a:gd name="T68" fmla="*/ 180 w 248"/>
                  <a:gd name="T69" fmla="*/ 90 h 130"/>
                  <a:gd name="T70" fmla="*/ 174 w 248"/>
                  <a:gd name="T71" fmla="*/ 96 h 130"/>
                  <a:gd name="T72" fmla="*/ 166 w 248"/>
                  <a:gd name="T73" fmla="*/ 110 h 130"/>
                  <a:gd name="T74" fmla="*/ 152 w 248"/>
                  <a:gd name="T75" fmla="*/ 124 h 130"/>
                  <a:gd name="T76" fmla="*/ 146 w 248"/>
                  <a:gd name="T77" fmla="*/ 124 h 130"/>
                  <a:gd name="T78" fmla="*/ 132 w 248"/>
                  <a:gd name="T79" fmla="*/ 110 h 130"/>
                  <a:gd name="T80" fmla="*/ 132 w 248"/>
                  <a:gd name="T81" fmla="*/ 96 h 130"/>
                  <a:gd name="T82" fmla="*/ 118 w 248"/>
                  <a:gd name="T83" fmla="*/ 90 h 130"/>
                  <a:gd name="T84" fmla="*/ 112 w 248"/>
                  <a:gd name="T85" fmla="*/ 104 h 130"/>
                  <a:gd name="T86" fmla="*/ 98 w 248"/>
                  <a:gd name="T87" fmla="*/ 116 h 130"/>
                  <a:gd name="T88" fmla="*/ 76 w 248"/>
                  <a:gd name="T89" fmla="*/ 110 h 130"/>
                  <a:gd name="T90" fmla="*/ 42 w 248"/>
                  <a:gd name="T91" fmla="*/ 110 h 130"/>
                  <a:gd name="T92" fmla="*/ 42 w 248"/>
                  <a:gd name="T93" fmla="*/ 11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8" h="130">
                    <a:moveTo>
                      <a:pt x="42" y="110"/>
                    </a:moveTo>
                    <a:lnTo>
                      <a:pt x="36" y="104"/>
                    </a:lnTo>
                    <a:lnTo>
                      <a:pt x="36" y="96"/>
                    </a:lnTo>
                    <a:lnTo>
                      <a:pt x="42" y="96"/>
                    </a:lnTo>
                    <a:lnTo>
                      <a:pt x="36" y="90"/>
                    </a:lnTo>
                    <a:lnTo>
                      <a:pt x="36" y="82"/>
                    </a:lnTo>
                    <a:lnTo>
                      <a:pt x="42" y="82"/>
                    </a:lnTo>
                    <a:lnTo>
                      <a:pt x="48" y="82"/>
                    </a:lnTo>
                    <a:lnTo>
                      <a:pt x="48" y="74"/>
                    </a:lnTo>
                    <a:lnTo>
                      <a:pt x="42" y="62"/>
                    </a:lnTo>
                    <a:lnTo>
                      <a:pt x="36" y="62"/>
                    </a:lnTo>
                    <a:lnTo>
                      <a:pt x="36" y="68"/>
                    </a:lnTo>
                    <a:lnTo>
                      <a:pt x="28" y="68"/>
                    </a:lnTo>
                    <a:lnTo>
                      <a:pt x="22" y="82"/>
                    </a:lnTo>
                    <a:lnTo>
                      <a:pt x="8" y="90"/>
                    </a:lnTo>
                    <a:lnTo>
                      <a:pt x="0" y="74"/>
                    </a:lnTo>
                    <a:lnTo>
                      <a:pt x="8" y="62"/>
                    </a:lnTo>
                    <a:lnTo>
                      <a:pt x="22" y="48"/>
                    </a:lnTo>
                    <a:lnTo>
                      <a:pt x="22" y="42"/>
                    </a:lnTo>
                    <a:lnTo>
                      <a:pt x="28" y="34"/>
                    </a:lnTo>
                    <a:lnTo>
                      <a:pt x="42" y="34"/>
                    </a:lnTo>
                    <a:lnTo>
                      <a:pt x="56" y="28"/>
                    </a:lnTo>
                    <a:lnTo>
                      <a:pt x="62" y="14"/>
                    </a:lnTo>
                    <a:lnTo>
                      <a:pt x="62" y="6"/>
                    </a:lnTo>
                    <a:lnTo>
                      <a:pt x="70" y="0"/>
                    </a:lnTo>
                    <a:lnTo>
                      <a:pt x="76" y="6"/>
                    </a:lnTo>
                    <a:lnTo>
                      <a:pt x="84" y="14"/>
                    </a:lnTo>
                    <a:lnTo>
                      <a:pt x="90" y="0"/>
                    </a:lnTo>
                    <a:lnTo>
                      <a:pt x="98" y="6"/>
                    </a:lnTo>
                    <a:lnTo>
                      <a:pt x="98" y="0"/>
                    </a:lnTo>
                    <a:lnTo>
                      <a:pt x="104" y="6"/>
                    </a:lnTo>
                    <a:lnTo>
                      <a:pt x="104" y="0"/>
                    </a:lnTo>
                    <a:lnTo>
                      <a:pt x="118" y="6"/>
                    </a:lnTo>
                    <a:lnTo>
                      <a:pt x="126" y="6"/>
                    </a:lnTo>
                    <a:lnTo>
                      <a:pt x="132" y="6"/>
                    </a:lnTo>
                    <a:lnTo>
                      <a:pt x="138" y="6"/>
                    </a:lnTo>
                    <a:lnTo>
                      <a:pt x="146" y="6"/>
                    </a:lnTo>
                    <a:lnTo>
                      <a:pt x="152" y="6"/>
                    </a:lnTo>
                    <a:lnTo>
                      <a:pt x="160" y="6"/>
                    </a:lnTo>
                    <a:lnTo>
                      <a:pt x="174" y="6"/>
                    </a:lnTo>
                    <a:lnTo>
                      <a:pt x="174" y="14"/>
                    </a:lnTo>
                    <a:lnTo>
                      <a:pt x="180" y="14"/>
                    </a:lnTo>
                    <a:lnTo>
                      <a:pt x="186" y="14"/>
                    </a:lnTo>
                    <a:lnTo>
                      <a:pt x="186" y="20"/>
                    </a:lnTo>
                    <a:lnTo>
                      <a:pt x="200" y="28"/>
                    </a:lnTo>
                    <a:lnTo>
                      <a:pt x="200" y="34"/>
                    </a:lnTo>
                    <a:lnTo>
                      <a:pt x="194" y="42"/>
                    </a:lnTo>
                    <a:lnTo>
                      <a:pt x="194" y="48"/>
                    </a:lnTo>
                    <a:lnTo>
                      <a:pt x="200" y="48"/>
                    </a:lnTo>
                    <a:lnTo>
                      <a:pt x="200" y="54"/>
                    </a:lnTo>
                    <a:lnTo>
                      <a:pt x="208" y="54"/>
                    </a:lnTo>
                    <a:lnTo>
                      <a:pt x="214" y="62"/>
                    </a:lnTo>
                    <a:lnTo>
                      <a:pt x="222" y="68"/>
                    </a:lnTo>
                    <a:lnTo>
                      <a:pt x="248" y="68"/>
                    </a:lnTo>
                    <a:lnTo>
                      <a:pt x="242" y="68"/>
                    </a:lnTo>
                    <a:lnTo>
                      <a:pt x="242" y="74"/>
                    </a:lnTo>
                    <a:lnTo>
                      <a:pt x="242" y="82"/>
                    </a:lnTo>
                    <a:lnTo>
                      <a:pt x="242" y="90"/>
                    </a:lnTo>
                    <a:lnTo>
                      <a:pt x="236" y="90"/>
                    </a:lnTo>
                    <a:lnTo>
                      <a:pt x="228" y="82"/>
                    </a:lnTo>
                    <a:lnTo>
                      <a:pt x="222" y="90"/>
                    </a:lnTo>
                    <a:lnTo>
                      <a:pt x="214" y="96"/>
                    </a:lnTo>
                    <a:lnTo>
                      <a:pt x="222" y="104"/>
                    </a:lnTo>
                    <a:lnTo>
                      <a:pt x="214" y="110"/>
                    </a:lnTo>
                    <a:lnTo>
                      <a:pt x="208" y="104"/>
                    </a:lnTo>
                    <a:lnTo>
                      <a:pt x="200" y="104"/>
                    </a:lnTo>
                    <a:lnTo>
                      <a:pt x="194" y="104"/>
                    </a:lnTo>
                    <a:lnTo>
                      <a:pt x="186" y="104"/>
                    </a:lnTo>
                    <a:lnTo>
                      <a:pt x="186" y="96"/>
                    </a:lnTo>
                    <a:lnTo>
                      <a:pt x="180" y="90"/>
                    </a:lnTo>
                    <a:lnTo>
                      <a:pt x="174" y="90"/>
                    </a:lnTo>
                    <a:lnTo>
                      <a:pt x="174" y="96"/>
                    </a:lnTo>
                    <a:lnTo>
                      <a:pt x="174" y="110"/>
                    </a:lnTo>
                    <a:lnTo>
                      <a:pt x="166" y="110"/>
                    </a:lnTo>
                    <a:lnTo>
                      <a:pt x="160" y="116"/>
                    </a:lnTo>
                    <a:lnTo>
                      <a:pt x="152" y="124"/>
                    </a:lnTo>
                    <a:lnTo>
                      <a:pt x="152" y="130"/>
                    </a:lnTo>
                    <a:lnTo>
                      <a:pt x="146" y="124"/>
                    </a:lnTo>
                    <a:lnTo>
                      <a:pt x="138" y="116"/>
                    </a:lnTo>
                    <a:lnTo>
                      <a:pt x="132" y="110"/>
                    </a:lnTo>
                    <a:lnTo>
                      <a:pt x="132" y="104"/>
                    </a:lnTo>
                    <a:lnTo>
                      <a:pt x="132" y="96"/>
                    </a:lnTo>
                    <a:lnTo>
                      <a:pt x="126" y="90"/>
                    </a:lnTo>
                    <a:lnTo>
                      <a:pt x="118" y="90"/>
                    </a:lnTo>
                    <a:lnTo>
                      <a:pt x="112" y="96"/>
                    </a:lnTo>
                    <a:lnTo>
                      <a:pt x="112" y="104"/>
                    </a:lnTo>
                    <a:lnTo>
                      <a:pt x="104" y="116"/>
                    </a:lnTo>
                    <a:lnTo>
                      <a:pt x="98" y="116"/>
                    </a:lnTo>
                    <a:lnTo>
                      <a:pt x="84" y="116"/>
                    </a:lnTo>
                    <a:lnTo>
                      <a:pt x="76" y="110"/>
                    </a:lnTo>
                    <a:lnTo>
                      <a:pt x="48" y="116"/>
                    </a:lnTo>
                    <a:lnTo>
                      <a:pt x="42" y="110"/>
                    </a:lnTo>
                    <a:lnTo>
                      <a:pt x="42" y="110"/>
                    </a:lnTo>
                    <a:lnTo>
                      <a:pt x="42" y="11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2" name="Freeform 46"/>
              <p:cNvSpPr>
                <a:spLocks/>
              </p:cNvSpPr>
              <p:nvPr>
                <p:custDataLst>
                  <p:tags r:id="rId138"/>
                </p:custDataLst>
              </p:nvPr>
            </p:nvSpPr>
            <p:spPr bwMode="gray">
              <a:xfrm>
                <a:off x="4412675" y="3425684"/>
                <a:ext cx="639905" cy="292165"/>
              </a:xfrm>
              <a:custGeom>
                <a:avLst/>
                <a:gdLst>
                  <a:gd name="T0" fmla="*/ 347 w 403"/>
                  <a:gd name="T1" fmla="*/ 164 h 184"/>
                  <a:gd name="T2" fmla="*/ 341 w 403"/>
                  <a:gd name="T3" fmla="*/ 164 h 184"/>
                  <a:gd name="T4" fmla="*/ 319 w 403"/>
                  <a:gd name="T5" fmla="*/ 164 h 184"/>
                  <a:gd name="T6" fmla="*/ 298 w 403"/>
                  <a:gd name="T7" fmla="*/ 164 h 184"/>
                  <a:gd name="T8" fmla="*/ 284 w 403"/>
                  <a:gd name="T9" fmla="*/ 178 h 184"/>
                  <a:gd name="T10" fmla="*/ 262 w 403"/>
                  <a:gd name="T11" fmla="*/ 184 h 184"/>
                  <a:gd name="T12" fmla="*/ 242 w 403"/>
                  <a:gd name="T13" fmla="*/ 178 h 184"/>
                  <a:gd name="T14" fmla="*/ 228 w 403"/>
                  <a:gd name="T15" fmla="*/ 178 h 184"/>
                  <a:gd name="T16" fmla="*/ 200 w 403"/>
                  <a:gd name="T17" fmla="*/ 164 h 184"/>
                  <a:gd name="T18" fmla="*/ 174 w 403"/>
                  <a:gd name="T19" fmla="*/ 164 h 184"/>
                  <a:gd name="T20" fmla="*/ 152 w 403"/>
                  <a:gd name="T21" fmla="*/ 150 h 184"/>
                  <a:gd name="T22" fmla="*/ 138 w 403"/>
                  <a:gd name="T23" fmla="*/ 130 h 184"/>
                  <a:gd name="T24" fmla="*/ 110 w 403"/>
                  <a:gd name="T25" fmla="*/ 130 h 184"/>
                  <a:gd name="T26" fmla="*/ 90 w 403"/>
                  <a:gd name="T27" fmla="*/ 124 h 184"/>
                  <a:gd name="T28" fmla="*/ 70 w 403"/>
                  <a:gd name="T29" fmla="*/ 138 h 184"/>
                  <a:gd name="T30" fmla="*/ 62 w 403"/>
                  <a:gd name="T31" fmla="*/ 124 h 184"/>
                  <a:gd name="T32" fmla="*/ 20 w 403"/>
                  <a:gd name="T33" fmla="*/ 116 h 184"/>
                  <a:gd name="T34" fmla="*/ 6 w 403"/>
                  <a:gd name="T35" fmla="*/ 104 h 184"/>
                  <a:gd name="T36" fmla="*/ 6 w 403"/>
                  <a:gd name="T37" fmla="*/ 88 h 184"/>
                  <a:gd name="T38" fmla="*/ 20 w 403"/>
                  <a:gd name="T39" fmla="*/ 76 h 184"/>
                  <a:gd name="T40" fmla="*/ 40 w 403"/>
                  <a:gd name="T41" fmla="*/ 88 h 184"/>
                  <a:gd name="T42" fmla="*/ 62 w 403"/>
                  <a:gd name="T43" fmla="*/ 88 h 184"/>
                  <a:gd name="T44" fmla="*/ 82 w 403"/>
                  <a:gd name="T45" fmla="*/ 88 h 184"/>
                  <a:gd name="T46" fmla="*/ 104 w 403"/>
                  <a:gd name="T47" fmla="*/ 82 h 184"/>
                  <a:gd name="T48" fmla="*/ 124 w 403"/>
                  <a:gd name="T49" fmla="*/ 88 h 184"/>
                  <a:gd name="T50" fmla="*/ 152 w 403"/>
                  <a:gd name="T51" fmla="*/ 82 h 184"/>
                  <a:gd name="T52" fmla="*/ 166 w 403"/>
                  <a:gd name="T53" fmla="*/ 82 h 184"/>
                  <a:gd name="T54" fmla="*/ 186 w 403"/>
                  <a:gd name="T55" fmla="*/ 96 h 184"/>
                  <a:gd name="T56" fmla="*/ 194 w 403"/>
                  <a:gd name="T57" fmla="*/ 104 h 184"/>
                  <a:gd name="T58" fmla="*/ 200 w 403"/>
                  <a:gd name="T59" fmla="*/ 88 h 184"/>
                  <a:gd name="T60" fmla="*/ 194 w 403"/>
                  <a:gd name="T61" fmla="*/ 68 h 184"/>
                  <a:gd name="T62" fmla="*/ 186 w 403"/>
                  <a:gd name="T63" fmla="*/ 42 h 184"/>
                  <a:gd name="T64" fmla="*/ 222 w 403"/>
                  <a:gd name="T65" fmla="*/ 28 h 184"/>
                  <a:gd name="T66" fmla="*/ 236 w 403"/>
                  <a:gd name="T67" fmla="*/ 20 h 184"/>
                  <a:gd name="T68" fmla="*/ 250 w 403"/>
                  <a:gd name="T69" fmla="*/ 14 h 184"/>
                  <a:gd name="T70" fmla="*/ 284 w 403"/>
                  <a:gd name="T71" fmla="*/ 20 h 184"/>
                  <a:gd name="T72" fmla="*/ 290 w 403"/>
                  <a:gd name="T73" fmla="*/ 0 h 184"/>
                  <a:gd name="T74" fmla="*/ 319 w 403"/>
                  <a:gd name="T75" fmla="*/ 0 h 184"/>
                  <a:gd name="T76" fmla="*/ 341 w 403"/>
                  <a:gd name="T77" fmla="*/ 6 h 184"/>
                  <a:gd name="T78" fmla="*/ 369 w 403"/>
                  <a:gd name="T79" fmla="*/ 14 h 184"/>
                  <a:gd name="T80" fmla="*/ 381 w 403"/>
                  <a:gd name="T81" fmla="*/ 28 h 184"/>
                  <a:gd name="T82" fmla="*/ 403 w 403"/>
                  <a:gd name="T83" fmla="*/ 34 h 184"/>
                  <a:gd name="T84" fmla="*/ 395 w 403"/>
                  <a:gd name="T85" fmla="*/ 54 h 184"/>
                  <a:gd name="T86" fmla="*/ 395 w 403"/>
                  <a:gd name="T87" fmla="*/ 88 h 184"/>
                  <a:gd name="T88" fmla="*/ 389 w 403"/>
                  <a:gd name="T89" fmla="*/ 88 h 184"/>
                  <a:gd name="T90" fmla="*/ 375 w 403"/>
                  <a:gd name="T91" fmla="*/ 96 h 184"/>
                  <a:gd name="T92" fmla="*/ 381 w 403"/>
                  <a:gd name="T93" fmla="*/ 116 h 184"/>
                  <a:gd name="T94" fmla="*/ 369 w 403"/>
                  <a:gd name="T95" fmla="*/ 144 h 184"/>
                  <a:gd name="T96" fmla="*/ 355 w 403"/>
                  <a:gd name="T97" fmla="*/ 164 h 184"/>
                  <a:gd name="T98" fmla="*/ 355 w 403"/>
                  <a:gd name="T99" fmla="*/ 158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3" h="184">
                    <a:moveTo>
                      <a:pt x="355" y="158"/>
                    </a:moveTo>
                    <a:lnTo>
                      <a:pt x="355" y="164"/>
                    </a:lnTo>
                    <a:lnTo>
                      <a:pt x="347" y="164"/>
                    </a:lnTo>
                    <a:lnTo>
                      <a:pt x="347" y="172"/>
                    </a:lnTo>
                    <a:lnTo>
                      <a:pt x="341" y="172"/>
                    </a:lnTo>
                    <a:lnTo>
                      <a:pt x="341" y="164"/>
                    </a:lnTo>
                    <a:lnTo>
                      <a:pt x="333" y="164"/>
                    </a:lnTo>
                    <a:lnTo>
                      <a:pt x="327" y="164"/>
                    </a:lnTo>
                    <a:lnTo>
                      <a:pt x="319" y="164"/>
                    </a:lnTo>
                    <a:lnTo>
                      <a:pt x="313" y="164"/>
                    </a:lnTo>
                    <a:lnTo>
                      <a:pt x="305" y="164"/>
                    </a:lnTo>
                    <a:lnTo>
                      <a:pt x="298" y="164"/>
                    </a:lnTo>
                    <a:lnTo>
                      <a:pt x="290" y="164"/>
                    </a:lnTo>
                    <a:lnTo>
                      <a:pt x="290" y="172"/>
                    </a:lnTo>
                    <a:lnTo>
                      <a:pt x="284" y="178"/>
                    </a:lnTo>
                    <a:lnTo>
                      <a:pt x="276" y="178"/>
                    </a:lnTo>
                    <a:lnTo>
                      <a:pt x="270" y="178"/>
                    </a:lnTo>
                    <a:lnTo>
                      <a:pt x="262" y="184"/>
                    </a:lnTo>
                    <a:lnTo>
                      <a:pt x="256" y="184"/>
                    </a:lnTo>
                    <a:lnTo>
                      <a:pt x="250" y="178"/>
                    </a:lnTo>
                    <a:lnTo>
                      <a:pt x="242" y="178"/>
                    </a:lnTo>
                    <a:lnTo>
                      <a:pt x="236" y="178"/>
                    </a:lnTo>
                    <a:lnTo>
                      <a:pt x="228" y="172"/>
                    </a:lnTo>
                    <a:lnTo>
                      <a:pt x="228" y="178"/>
                    </a:lnTo>
                    <a:lnTo>
                      <a:pt x="214" y="172"/>
                    </a:lnTo>
                    <a:lnTo>
                      <a:pt x="208" y="172"/>
                    </a:lnTo>
                    <a:lnTo>
                      <a:pt x="200" y="164"/>
                    </a:lnTo>
                    <a:lnTo>
                      <a:pt x="186" y="164"/>
                    </a:lnTo>
                    <a:lnTo>
                      <a:pt x="180" y="164"/>
                    </a:lnTo>
                    <a:lnTo>
                      <a:pt x="174" y="164"/>
                    </a:lnTo>
                    <a:lnTo>
                      <a:pt x="166" y="164"/>
                    </a:lnTo>
                    <a:lnTo>
                      <a:pt x="160" y="158"/>
                    </a:lnTo>
                    <a:lnTo>
                      <a:pt x="152" y="150"/>
                    </a:lnTo>
                    <a:lnTo>
                      <a:pt x="152" y="144"/>
                    </a:lnTo>
                    <a:lnTo>
                      <a:pt x="144" y="138"/>
                    </a:lnTo>
                    <a:lnTo>
                      <a:pt x="138" y="130"/>
                    </a:lnTo>
                    <a:lnTo>
                      <a:pt x="124" y="130"/>
                    </a:lnTo>
                    <a:lnTo>
                      <a:pt x="118" y="130"/>
                    </a:lnTo>
                    <a:lnTo>
                      <a:pt x="110" y="130"/>
                    </a:lnTo>
                    <a:lnTo>
                      <a:pt x="104" y="130"/>
                    </a:lnTo>
                    <a:lnTo>
                      <a:pt x="96" y="124"/>
                    </a:lnTo>
                    <a:lnTo>
                      <a:pt x="90" y="124"/>
                    </a:lnTo>
                    <a:lnTo>
                      <a:pt x="90" y="130"/>
                    </a:lnTo>
                    <a:lnTo>
                      <a:pt x="76" y="138"/>
                    </a:lnTo>
                    <a:lnTo>
                      <a:pt x="70" y="138"/>
                    </a:lnTo>
                    <a:lnTo>
                      <a:pt x="62" y="138"/>
                    </a:lnTo>
                    <a:lnTo>
                      <a:pt x="62" y="130"/>
                    </a:lnTo>
                    <a:lnTo>
                      <a:pt x="62" y="124"/>
                    </a:lnTo>
                    <a:lnTo>
                      <a:pt x="56" y="124"/>
                    </a:lnTo>
                    <a:lnTo>
                      <a:pt x="28" y="124"/>
                    </a:lnTo>
                    <a:lnTo>
                      <a:pt x="20" y="116"/>
                    </a:lnTo>
                    <a:lnTo>
                      <a:pt x="14" y="110"/>
                    </a:lnTo>
                    <a:lnTo>
                      <a:pt x="6" y="110"/>
                    </a:lnTo>
                    <a:lnTo>
                      <a:pt x="6" y="104"/>
                    </a:lnTo>
                    <a:lnTo>
                      <a:pt x="0" y="104"/>
                    </a:lnTo>
                    <a:lnTo>
                      <a:pt x="0" y="96"/>
                    </a:lnTo>
                    <a:lnTo>
                      <a:pt x="6" y="88"/>
                    </a:lnTo>
                    <a:lnTo>
                      <a:pt x="6" y="82"/>
                    </a:lnTo>
                    <a:lnTo>
                      <a:pt x="14" y="76"/>
                    </a:lnTo>
                    <a:lnTo>
                      <a:pt x="20" y="76"/>
                    </a:lnTo>
                    <a:lnTo>
                      <a:pt x="28" y="82"/>
                    </a:lnTo>
                    <a:lnTo>
                      <a:pt x="34" y="88"/>
                    </a:lnTo>
                    <a:lnTo>
                      <a:pt x="40" y="88"/>
                    </a:lnTo>
                    <a:lnTo>
                      <a:pt x="48" y="96"/>
                    </a:lnTo>
                    <a:lnTo>
                      <a:pt x="56" y="88"/>
                    </a:lnTo>
                    <a:lnTo>
                      <a:pt x="62" y="88"/>
                    </a:lnTo>
                    <a:lnTo>
                      <a:pt x="70" y="76"/>
                    </a:lnTo>
                    <a:lnTo>
                      <a:pt x="82" y="82"/>
                    </a:lnTo>
                    <a:lnTo>
                      <a:pt x="82" y="88"/>
                    </a:lnTo>
                    <a:lnTo>
                      <a:pt x="90" y="88"/>
                    </a:lnTo>
                    <a:lnTo>
                      <a:pt x="96" y="88"/>
                    </a:lnTo>
                    <a:lnTo>
                      <a:pt x="104" y="82"/>
                    </a:lnTo>
                    <a:lnTo>
                      <a:pt x="110" y="88"/>
                    </a:lnTo>
                    <a:lnTo>
                      <a:pt x="118" y="88"/>
                    </a:lnTo>
                    <a:lnTo>
                      <a:pt x="124" y="88"/>
                    </a:lnTo>
                    <a:lnTo>
                      <a:pt x="132" y="82"/>
                    </a:lnTo>
                    <a:lnTo>
                      <a:pt x="138" y="82"/>
                    </a:lnTo>
                    <a:lnTo>
                      <a:pt x="152" y="82"/>
                    </a:lnTo>
                    <a:lnTo>
                      <a:pt x="160" y="82"/>
                    </a:lnTo>
                    <a:lnTo>
                      <a:pt x="166" y="88"/>
                    </a:lnTo>
                    <a:lnTo>
                      <a:pt x="166" y="82"/>
                    </a:lnTo>
                    <a:lnTo>
                      <a:pt x="174" y="82"/>
                    </a:lnTo>
                    <a:lnTo>
                      <a:pt x="186" y="88"/>
                    </a:lnTo>
                    <a:lnTo>
                      <a:pt x="186" y="96"/>
                    </a:lnTo>
                    <a:lnTo>
                      <a:pt x="186" y="104"/>
                    </a:lnTo>
                    <a:lnTo>
                      <a:pt x="194" y="110"/>
                    </a:lnTo>
                    <a:lnTo>
                      <a:pt x="194" y="104"/>
                    </a:lnTo>
                    <a:lnTo>
                      <a:pt x="200" y="104"/>
                    </a:lnTo>
                    <a:lnTo>
                      <a:pt x="200" y="96"/>
                    </a:lnTo>
                    <a:lnTo>
                      <a:pt x="200" y="88"/>
                    </a:lnTo>
                    <a:lnTo>
                      <a:pt x="194" y="82"/>
                    </a:lnTo>
                    <a:lnTo>
                      <a:pt x="194" y="76"/>
                    </a:lnTo>
                    <a:lnTo>
                      <a:pt x="194" y="68"/>
                    </a:lnTo>
                    <a:lnTo>
                      <a:pt x="186" y="62"/>
                    </a:lnTo>
                    <a:lnTo>
                      <a:pt x="186" y="54"/>
                    </a:lnTo>
                    <a:lnTo>
                      <a:pt x="186" y="42"/>
                    </a:lnTo>
                    <a:lnTo>
                      <a:pt x="208" y="42"/>
                    </a:lnTo>
                    <a:lnTo>
                      <a:pt x="214" y="34"/>
                    </a:lnTo>
                    <a:lnTo>
                      <a:pt x="222" y="28"/>
                    </a:lnTo>
                    <a:lnTo>
                      <a:pt x="222" y="20"/>
                    </a:lnTo>
                    <a:lnTo>
                      <a:pt x="228" y="20"/>
                    </a:lnTo>
                    <a:lnTo>
                      <a:pt x="236" y="20"/>
                    </a:lnTo>
                    <a:lnTo>
                      <a:pt x="242" y="20"/>
                    </a:lnTo>
                    <a:lnTo>
                      <a:pt x="242" y="14"/>
                    </a:lnTo>
                    <a:lnTo>
                      <a:pt x="250" y="14"/>
                    </a:lnTo>
                    <a:lnTo>
                      <a:pt x="256" y="20"/>
                    </a:lnTo>
                    <a:lnTo>
                      <a:pt x="270" y="20"/>
                    </a:lnTo>
                    <a:lnTo>
                      <a:pt x="284" y="20"/>
                    </a:lnTo>
                    <a:lnTo>
                      <a:pt x="290" y="14"/>
                    </a:lnTo>
                    <a:lnTo>
                      <a:pt x="290" y="6"/>
                    </a:lnTo>
                    <a:lnTo>
                      <a:pt x="290" y="0"/>
                    </a:lnTo>
                    <a:lnTo>
                      <a:pt x="298" y="0"/>
                    </a:lnTo>
                    <a:lnTo>
                      <a:pt x="313" y="0"/>
                    </a:lnTo>
                    <a:lnTo>
                      <a:pt x="319" y="0"/>
                    </a:lnTo>
                    <a:lnTo>
                      <a:pt x="327" y="0"/>
                    </a:lnTo>
                    <a:lnTo>
                      <a:pt x="333" y="6"/>
                    </a:lnTo>
                    <a:lnTo>
                      <a:pt x="341" y="6"/>
                    </a:lnTo>
                    <a:lnTo>
                      <a:pt x="355" y="6"/>
                    </a:lnTo>
                    <a:lnTo>
                      <a:pt x="361" y="14"/>
                    </a:lnTo>
                    <a:lnTo>
                      <a:pt x="369" y="14"/>
                    </a:lnTo>
                    <a:lnTo>
                      <a:pt x="369" y="20"/>
                    </a:lnTo>
                    <a:lnTo>
                      <a:pt x="375" y="28"/>
                    </a:lnTo>
                    <a:lnTo>
                      <a:pt x="381" y="28"/>
                    </a:lnTo>
                    <a:lnTo>
                      <a:pt x="389" y="28"/>
                    </a:lnTo>
                    <a:lnTo>
                      <a:pt x="395" y="28"/>
                    </a:lnTo>
                    <a:lnTo>
                      <a:pt x="403" y="34"/>
                    </a:lnTo>
                    <a:lnTo>
                      <a:pt x="395" y="42"/>
                    </a:lnTo>
                    <a:lnTo>
                      <a:pt x="403" y="54"/>
                    </a:lnTo>
                    <a:lnTo>
                      <a:pt x="395" y="54"/>
                    </a:lnTo>
                    <a:lnTo>
                      <a:pt x="403" y="68"/>
                    </a:lnTo>
                    <a:lnTo>
                      <a:pt x="403" y="82"/>
                    </a:lnTo>
                    <a:lnTo>
                      <a:pt x="395" y="88"/>
                    </a:lnTo>
                    <a:lnTo>
                      <a:pt x="395" y="96"/>
                    </a:lnTo>
                    <a:lnTo>
                      <a:pt x="389" y="96"/>
                    </a:lnTo>
                    <a:lnTo>
                      <a:pt x="389" y="88"/>
                    </a:lnTo>
                    <a:lnTo>
                      <a:pt x="381" y="88"/>
                    </a:lnTo>
                    <a:lnTo>
                      <a:pt x="375" y="88"/>
                    </a:lnTo>
                    <a:lnTo>
                      <a:pt x="375" y="96"/>
                    </a:lnTo>
                    <a:lnTo>
                      <a:pt x="381" y="104"/>
                    </a:lnTo>
                    <a:lnTo>
                      <a:pt x="381" y="110"/>
                    </a:lnTo>
                    <a:lnTo>
                      <a:pt x="381" y="116"/>
                    </a:lnTo>
                    <a:lnTo>
                      <a:pt x="375" y="116"/>
                    </a:lnTo>
                    <a:lnTo>
                      <a:pt x="375" y="130"/>
                    </a:lnTo>
                    <a:lnTo>
                      <a:pt x="369" y="144"/>
                    </a:lnTo>
                    <a:lnTo>
                      <a:pt x="361" y="144"/>
                    </a:lnTo>
                    <a:lnTo>
                      <a:pt x="355" y="158"/>
                    </a:lnTo>
                    <a:lnTo>
                      <a:pt x="355" y="164"/>
                    </a:lnTo>
                    <a:lnTo>
                      <a:pt x="355" y="158"/>
                    </a:lnTo>
                    <a:lnTo>
                      <a:pt x="355" y="158"/>
                    </a:lnTo>
                    <a:lnTo>
                      <a:pt x="355" y="158"/>
                    </a:lnTo>
                    <a:close/>
                  </a:path>
                </a:pathLst>
              </a:custGeom>
              <a:solidFill>
                <a:srgbClr val="73C37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3" name="Freeform 47"/>
              <p:cNvSpPr>
                <a:spLocks/>
              </p:cNvSpPr>
              <p:nvPr>
                <p:custDataLst>
                  <p:tags r:id="rId139"/>
                </p:custDataLst>
              </p:nvPr>
            </p:nvSpPr>
            <p:spPr bwMode="gray">
              <a:xfrm>
                <a:off x="4193551" y="2673042"/>
                <a:ext cx="741528" cy="930481"/>
              </a:xfrm>
              <a:custGeom>
                <a:avLst/>
                <a:gdLst>
                  <a:gd name="T0" fmla="*/ 14 w 467"/>
                  <a:gd name="T1" fmla="*/ 358 h 586"/>
                  <a:gd name="T2" fmla="*/ 14 w 467"/>
                  <a:gd name="T3" fmla="*/ 392 h 586"/>
                  <a:gd name="T4" fmla="*/ 62 w 467"/>
                  <a:gd name="T5" fmla="*/ 426 h 586"/>
                  <a:gd name="T6" fmla="*/ 62 w 467"/>
                  <a:gd name="T7" fmla="*/ 454 h 586"/>
                  <a:gd name="T8" fmla="*/ 48 w 467"/>
                  <a:gd name="T9" fmla="*/ 502 h 586"/>
                  <a:gd name="T10" fmla="*/ 48 w 467"/>
                  <a:gd name="T11" fmla="*/ 538 h 586"/>
                  <a:gd name="T12" fmla="*/ 84 w 467"/>
                  <a:gd name="T13" fmla="*/ 538 h 586"/>
                  <a:gd name="T14" fmla="*/ 118 w 467"/>
                  <a:gd name="T15" fmla="*/ 544 h 586"/>
                  <a:gd name="T16" fmla="*/ 154 w 467"/>
                  <a:gd name="T17" fmla="*/ 550 h 586"/>
                  <a:gd name="T18" fmla="*/ 188 w 467"/>
                  <a:gd name="T19" fmla="*/ 572 h 586"/>
                  <a:gd name="T20" fmla="*/ 222 w 467"/>
                  <a:gd name="T21" fmla="*/ 564 h 586"/>
                  <a:gd name="T22" fmla="*/ 258 w 467"/>
                  <a:gd name="T23" fmla="*/ 564 h 586"/>
                  <a:gd name="T24" fmla="*/ 298 w 467"/>
                  <a:gd name="T25" fmla="*/ 558 h 586"/>
                  <a:gd name="T26" fmla="*/ 326 w 467"/>
                  <a:gd name="T27" fmla="*/ 572 h 586"/>
                  <a:gd name="T28" fmla="*/ 340 w 467"/>
                  <a:gd name="T29" fmla="*/ 572 h 586"/>
                  <a:gd name="T30" fmla="*/ 326 w 467"/>
                  <a:gd name="T31" fmla="*/ 538 h 586"/>
                  <a:gd name="T32" fmla="*/ 360 w 467"/>
                  <a:gd name="T33" fmla="*/ 502 h 586"/>
                  <a:gd name="T34" fmla="*/ 382 w 467"/>
                  <a:gd name="T35" fmla="*/ 490 h 586"/>
                  <a:gd name="T36" fmla="*/ 354 w 467"/>
                  <a:gd name="T37" fmla="*/ 462 h 586"/>
                  <a:gd name="T38" fmla="*/ 326 w 467"/>
                  <a:gd name="T39" fmla="*/ 414 h 586"/>
                  <a:gd name="T40" fmla="*/ 306 w 467"/>
                  <a:gd name="T41" fmla="*/ 372 h 586"/>
                  <a:gd name="T42" fmla="*/ 320 w 467"/>
                  <a:gd name="T43" fmla="*/ 352 h 586"/>
                  <a:gd name="T44" fmla="*/ 368 w 467"/>
                  <a:gd name="T45" fmla="*/ 344 h 586"/>
                  <a:gd name="T46" fmla="*/ 424 w 467"/>
                  <a:gd name="T47" fmla="*/ 310 h 586"/>
                  <a:gd name="T48" fmla="*/ 465 w 467"/>
                  <a:gd name="T49" fmla="*/ 308 h 586"/>
                  <a:gd name="T50" fmla="*/ 459 w 467"/>
                  <a:gd name="T51" fmla="*/ 264 h 586"/>
                  <a:gd name="T52" fmla="*/ 453 w 467"/>
                  <a:gd name="T53" fmla="*/ 210 h 586"/>
                  <a:gd name="T54" fmla="*/ 434 w 467"/>
                  <a:gd name="T55" fmla="*/ 180 h 586"/>
                  <a:gd name="T56" fmla="*/ 443 w 467"/>
                  <a:gd name="T57" fmla="*/ 140 h 586"/>
                  <a:gd name="T58" fmla="*/ 410 w 467"/>
                  <a:gd name="T59" fmla="*/ 98 h 586"/>
                  <a:gd name="T60" fmla="*/ 382 w 467"/>
                  <a:gd name="T61" fmla="*/ 70 h 586"/>
                  <a:gd name="T62" fmla="*/ 354 w 467"/>
                  <a:gd name="T63" fmla="*/ 70 h 586"/>
                  <a:gd name="T64" fmla="*/ 312 w 467"/>
                  <a:gd name="T65" fmla="*/ 84 h 586"/>
                  <a:gd name="T66" fmla="*/ 284 w 467"/>
                  <a:gd name="T67" fmla="*/ 70 h 586"/>
                  <a:gd name="T68" fmla="*/ 278 w 467"/>
                  <a:gd name="T69" fmla="*/ 56 h 586"/>
                  <a:gd name="T70" fmla="*/ 250 w 467"/>
                  <a:gd name="T71" fmla="*/ 42 h 586"/>
                  <a:gd name="T72" fmla="*/ 236 w 467"/>
                  <a:gd name="T73" fmla="*/ 22 h 586"/>
                  <a:gd name="T74" fmla="*/ 196 w 467"/>
                  <a:gd name="T75" fmla="*/ 0 h 586"/>
                  <a:gd name="T76" fmla="*/ 188 w 467"/>
                  <a:gd name="T77" fmla="*/ 42 h 586"/>
                  <a:gd name="T78" fmla="*/ 188 w 467"/>
                  <a:gd name="T79" fmla="*/ 64 h 586"/>
                  <a:gd name="T80" fmla="*/ 216 w 467"/>
                  <a:gd name="T81" fmla="*/ 104 h 586"/>
                  <a:gd name="T82" fmla="*/ 174 w 467"/>
                  <a:gd name="T83" fmla="*/ 90 h 586"/>
                  <a:gd name="T84" fmla="*/ 160 w 467"/>
                  <a:gd name="T85" fmla="*/ 112 h 586"/>
                  <a:gd name="T86" fmla="*/ 146 w 467"/>
                  <a:gd name="T87" fmla="*/ 104 h 586"/>
                  <a:gd name="T88" fmla="*/ 112 w 467"/>
                  <a:gd name="T89" fmla="*/ 84 h 586"/>
                  <a:gd name="T90" fmla="*/ 104 w 467"/>
                  <a:gd name="T91" fmla="*/ 104 h 586"/>
                  <a:gd name="T92" fmla="*/ 104 w 467"/>
                  <a:gd name="T93" fmla="*/ 138 h 586"/>
                  <a:gd name="T94" fmla="*/ 98 w 467"/>
                  <a:gd name="T95" fmla="*/ 172 h 586"/>
                  <a:gd name="T96" fmla="*/ 84 w 467"/>
                  <a:gd name="T97" fmla="*/ 214 h 586"/>
                  <a:gd name="T98" fmla="*/ 36 w 467"/>
                  <a:gd name="T99" fmla="*/ 214 h 586"/>
                  <a:gd name="T100" fmla="*/ 22 w 467"/>
                  <a:gd name="T101" fmla="*/ 256 h 586"/>
                  <a:gd name="T102" fmla="*/ 0 w 467"/>
                  <a:gd name="T103" fmla="*/ 296 h 586"/>
                  <a:gd name="T104" fmla="*/ 0 w 467"/>
                  <a:gd name="T105" fmla="*/ 318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7" h="586">
                    <a:moveTo>
                      <a:pt x="0" y="332"/>
                    </a:moveTo>
                    <a:lnTo>
                      <a:pt x="0" y="338"/>
                    </a:lnTo>
                    <a:lnTo>
                      <a:pt x="8" y="344"/>
                    </a:lnTo>
                    <a:lnTo>
                      <a:pt x="14" y="352"/>
                    </a:lnTo>
                    <a:lnTo>
                      <a:pt x="14" y="358"/>
                    </a:lnTo>
                    <a:lnTo>
                      <a:pt x="14" y="366"/>
                    </a:lnTo>
                    <a:lnTo>
                      <a:pt x="14" y="372"/>
                    </a:lnTo>
                    <a:lnTo>
                      <a:pt x="14" y="380"/>
                    </a:lnTo>
                    <a:lnTo>
                      <a:pt x="8" y="380"/>
                    </a:lnTo>
                    <a:lnTo>
                      <a:pt x="14" y="392"/>
                    </a:lnTo>
                    <a:lnTo>
                      <a:pt x="22" y="406"/>
                    </a:lnTo>
                    <a:lnTo>
                      <a:pt x="28" y="414"/>
                    </a:lnTo>
                    <a:lnTo>
                      <a:pt x="42" y="420"/>
                    </a:lnTo>
                    <a:lnTo>
                      <a:pt x="56" y="420"/>
                    </a:lnTo>
                    <a:lnTo>
                      <a:pt x="62" y="426"/>
                    </a:lnTo>
                    <a:lnTo>
                      <a:pt x="70" y="426"/>
                    </a:lnTo>
                    <a:lnTo>
                      <a:pt x="76" y="426"/>
                    </a:lnTo>
                    <a:lnTo>
                      <a:pt x="84" y="434"/>
                    </a:lnTo>
                    <a:lnTo>
                      <a:pt x="70" y="448"/>
                    </a:lnTo>
                    <a:lnTo>
                      <a:pt x="62" y="454"/>
                    </a:lnTo>
                    <a:lnTo>
                      <a:pt x="56" y="468"/>
                    </a:lnTo>
                    <a:lnTo>
                      <a:pt x="56" y="476"/>
                    </a:lnTo>
                    <a:lnTo>
                      <a:pt x="48" y="482"/>
                    </a:lnTo>
                    <a:lnTo>
                      <a:pt x="48" y="490"/>
                    </a:lnTo>
                    <a:lnTo>
                      <a:pt x="48" y="502"/>
                    </a:lnTo>
                    <a:lnTo>
                      <a:pt x="48" y="510"/>
                    </a:lnTo>
                    <a:lnTo>
                      <a:pt x="42" y="516"/>
                    </a:lnTo>
                    <a:lnTo>
                      <a:pt x="42" y="532"/>
                    </a:lnTo>
                    <a:lnTo>
                      <a:pt x="42" y="530"/>
                    </a:lnTo>
                    <a:lnTo>
                      <a:pt x="48" y="538"/>
                    </a:lnTo>
                    <a:lnTo>
                      <a:pt x="48" y="530"/>
                    </a:lnTo>
                    <a:lnTo>
                      <a:pt x="62" y="538"/>
                    </a:lnTo>
                    <a:lnTo>
                      <a:pt x="70" y="538"/>
                    </a:lnTo>
                    <a:lnTo>
                      <a:pt x="76" y="538"/>
                    </a:lnTo>
                    <a:lnTo>
                      <a:pt x="84" y="538"/>
                    </a:lnTo>
                    <a:lnTo>
                      <a:pt x="90" y="538"/>
                    </a:lnTo>
                    <a:lnTo>
                      <a:pt x="98" y="538"/>
                    </a:lnTo>
                    <a:lnTo>
                      <a:pt x="104" y="538"/>
                    </a:lnTo>
                    <a:lnTo>
                      <a:pt x="118" y="538"/>
                    </a:lnTo>
                    <a:lnTo>
                      <a:pt x="118" y="544"/>
                    </a:lnTo>
                    <a:lnTo>
                      <a:pt x="126" y="544"/>
                    </a:lnTo>
                    <a:lnTo>
                      <a:pt x="132" y="544"/>
                    </a:lnTo>
                    <a:lnTo>
                      <a:pt x="132" y="550"/>
                    </a:lnTo>
                    <a:lnTo>
                      <a:pt x="146" y="558"/>
                    </a:lnTo>
                    <a:lnTo>
                      <a:pt x="154" y="550"/>
                    </a:lnTo>
                    <a:lnTo>
                      <a:pt x="160" y="550"/>
                    </a:lnTo>
                    <a:lnTo>
                      <a:pt x="166" y="558"/>
                    </a:lnTo>
                    <a:lnTo>
                      <a:pt x="174" y="564"/>
                    </a:lnTo>
                    <a:lnTo>
                      <a:pt x="180" y="564"/>
                    </a:lnTo>
                    <a:lnTo>
                      <a:pt x="188" y="572"/>
                    </a:lnTo>
                    <a:lnTo>
                      <a:pt x="196" y="564"/>
                    </a:lnTo>
                    <a:lnTo>
                      <a:pt x="202" y="564"/>
                    </a:lnTo>
                    <a:lnTo>
                      <a:pt x="208" y="550"/>
                    </a:lnTo>
                    <a:lnTo>
                      <a:pt x="222" y="558"/>
                    </a:lnTo>
                    <a:lnTo>
                      <a:pt x="222" y="564"/>
                    </a:lnTo>
                    <a:lnTo>
                      <a:pt x="228" y="564"/>
                    </a:lnTo>
                    <a:lnTo>
                      <a:pt x="236" y="564"/>
                    </a:lnTo>
                    <a:lnTo>
                      <a:pt x="244" y="558"/>
                    </a:lnTo>
                    <a:lnTo>
                      <a:pt x="250" y="564"/>
                    </a:lnTo>
                    <a:lnTo>
                      <a:pt x="258" y="564"/>
                    </a:lnTo>
                    <a:lnTo>
                      <a:pt x="264" y="564"/>
                    </a:lnTo>
                    <a:lnTo>
                      <a:pt x="272" y="558"/>
                    </a:lnTo>
                    <a:lnTo>
                      <a:pt x="278" y="558"/>
                    </a:lnTo>
                    <a:lnTo>
                      <a:pt x="292" y="558"/>
                    </a:lnTo>
                    <a:lnTo>
                      <a:pt x="298" y="558"/>
                    </a:lnTo>
                    <a:lnTo>
                      <a:pt x="306" y="564"/>
                    </a:lnTo>
                    <a:lnTo>
                      <a:pt x="306" y="558"/>
                    </a:lnTo>
                    <a:lnTo>
                      <a:pt x="312" y="558"/>
                    </a:lnTo>
                    <a:lnTo>
                      <a:pt x="326" y="564"/>
                    </a:lnTo>
                    <a:lnTo>
                      <a:pt x="326" y="572"/>
                    </a:lnTo>
                    <a:lnTo>
                      <a:pt x="326" y="578"/>
                    </a:lnTo>
                    <a:lnTo>
                      <a:pt x="334" y="586"/>
                    </a:lnTo>
                    <a:lnTo>
                      <a:pt x="334" y="578"/>
                    </a:lnTo>
                    <a:lnTo>
                      <a:pt x="340" y="578"/>
                    </a:lnTo>
                    <a:lnTo>
                      <a:pt x="340" y="572"/>
                    </a:lnTo>
                    <a:lnTo>
                      <a:pt x="340" y="564"/>
                    </a:lnTo>
                    <a:lnTo>
                      <a:pt x="334" y="558"/>
                    </a:lnTo>
                    <a:lnTo>
                      <a:pt x="334" y="550"/>
                    </a:lnTo>
                    <a:lnTo>
                      <a:pt x="334" y="544"/>
                    </a:lnTo>
                    <a:lnTo>
                      <a:pt x="326" y="538"/>
                    </a:lnTo>
                    <a:lnTo>
                      <a:pt x="326" y="530"/>
                    </a:lnTo>
                    <a:lnTo>
                      <a:pt x="326" y="516"/>
                    </a:lnTo>
                    <a:lnTo>
                      <a:pt x="348" y="516"/>
                    </a:lnTo>
                    <a:lnTo>
                      <a:pt x="354" y="510"/>
                    </a:lnTo>
                    <a:lnTo>
                      <a:pt x="360" y="502"/>
                    </a:lnTo>
                    <a:lnTo>
                      <a:pt x="360" y="496"/>
                    </a:lnTo>
                    <a:lnTo>
                      <a:pt x="368" y="496"/>
                    </a:lnTo>
                    <a:lnTo>
                      <a:pt x="374" y="496"/>
                    </a:lnTo>
                    <a:lnTo>
                      <a:pt x="382" y="496"/>
                    </a:lnTo>
                    <a:lnTo>
                      <a:pt x="382" y="490"/>
                    </a:lnTo>
                    <a:lnTo>
                      <a:pt x="382" y="482"/>
                    </a:lnTo>
                    <a:lnTo>
                      <a:pt x="374" y="476"/>
                    </a:lnTo>
                    <a:lnTo>
                      <a:pt x="368" y="468"/>
                    </a:lnTo>
                    <a:lnTo>
                      <a:pt x="360" y="462"/>
                    </a:lnTo>
                    <a:lnTo>
                      <a:pt x="354" y="462"/>
                    </a:lnTo>
                    <a:lnTo>
                      <a:pt x="348" y="454"/>
                    </a:lnTo>
                    <a:lnTo>
                      <a:pt x="340" y="440"/>
                    </a:lnTo>
                    <a:lnTo>
                      <a:pt x="334" y="426"/>
                    </a:lnTo>
                    <a:lnTo>
                      <a:pt x="326" y="420"/>
                    </a:lnTo>
                    <a:lnTo>
                      <a:pt x="326" y="414"/>
                    </a:lnTo>
                    <a:lnTo>
                      <a:pt x="326" y="400"/>
                    </a:lnTo>
                    <a:lnTo>
                      <a:pt x="320" y="392"/>
                    </a:lnTo>
                    <a:lnTo>
                      <a:pt x="312" y="386"/>
                    </a:lnTo>
                    <a:lnTo>
                      <a:pt x="312" y="372"/>
                    </a:lnTo>
                    <a:lnTo>
                      <a:pt x="306" y="372"/>
                    </a:lnTo>
                    <a:lnTo>
                      <a:pt x="298" y="358"/>
                    </a:lnTo>
                    <a:lnTo>
                      <a:pt x="298" y="344"/>
                    </a:lnTo>
                    <a:lnTo>
                      <a:pt x="306" y="352"/>
                    </a:lnTo>
                    <a:lnTo>
                      <a:pt x="306" y="358"/>
                    </a:lnTo>
                    <a:lnTo>
                      <a:pt x="320" y="352"/>
                    </a:lnTo>
                    <a:lnTo>
                      <a:pt x="326" y="358"/>
                    </a:lnTo>
                    <a:lnTo>
                      <a:pt x="340" y="358"/>
                    </a:lnTo>
                    <a:lnTo>
                      <a:pt x="354" y="352"/>
                    </a:lnTo>
                    <a:lnTo>
                      <a:pt x="360" y="352"/>
                    </a:lnTo>
                    <a:lnTo>
                      <a:pt x="368" y="344"/>
                    </a:lnTo>
                    <a:lnTo>
                      <a:pt x="374" y="344"/>
                    </a:lnTo>
                    <a:lnTo>
                      <a:pt x="396" y="332"/>
                    </a:lnTo>
                    <a:lnTo>
                      <a:pt x="402" y="324"/>
                    </a:lnTo>
                    <a:lnTo>
                      <a:pt x="410" y="318"/>
                    </a:lnTo>
                    <a:lnTo>
                      <a:pt x="424" y="310"/>
                    </a:lnTo>
                    <a:lnTo>
                      <a:pt x="430" y="318"/>
                    </a:lnTo>
                    <a:lnTo>
                      <a:pt x="430" y="324"/>
                    </a:lnTo>
                    <a:lnTo>
                      <a:pt x="438" y="324"/>
                    </a:lnTo>
                    <a:lnTo>
                      <a:pt x="445" y="318"/>
                    </a:lnTo>
                    <a:lnTo>
                      <a:pt x="465" y="308"/>
                    </a:lnTo>
                    <a:lnTo>
                      <a:pt x="463" y="292"/>
                    </a:lnTo>
                    <a:lnTo>
                      <a:pt x="467" y="282"/>
                    </a:lnTo>
                    <a:lnTo>
                      <a:pt x="459" y="276"/>
                    </a:lnTo>
                    <a:lnTo>
                      <a:pt x="461" y="272"/>
                    </a:lnTo>
                    <a:lnTo>
                      <a:pt x="459" y="264"/>
                    </a:lnTo>
                    <a:lnTo>
                      <a:pt x="459" y="248"/>
                    </a:lnTo>
                    <a:lnTo>
                      <a:pt x="465" y="238"/>
                    </a:lnTo>
                    <a:lnTo>
                      <a:pt x="457" y="222"/>
                    </a:lnTo>
                    <a:lnTo>
                      <a:pt x="459" y="216"/>
                    </a:lnTo>
                    <a:lnTo>
                      <a:pt x="453" y="210"/>
                    </a:lnTo>
                    <a:lnTo>
                      <a:pt x="451" y="206"/>
                    </a:lnTo>
                    <a:lnTo>
                      <a:pt x="453" y="196"/>
                    </a:lnTo>
                    <a:lnTo>
                      <a:pt x="440" y="190"/>
                    </a:lnTo>
                    <a:lnTo>
                      <a:pt x="438" y="184"/>
                    </a:lnTo>
                    <a:lnTo>
                      <a:pt x="434" y="180"/>
                    </a:lnTo>
                    <a:lnTo>
                      <a:pt x="440" y="174"/>
                    </a:lnTo>
                    <a:lnTo>
                      <a:pt x="445" y="168"/>
                    </a:lnTo>
                    <a:lnTo>
                      <a:pt x="438" y="158"/>
                    </a:lnTo>
                    <a:lnTo>
                      <a:pt x="445" y="148"/>
                    </a:lnTo>
                    <a:lnTo>
                      <a:pt x="443" y="140"/>
                    </a:lnTo>
                    <a:lnTo>
                      <a:pt x="438" y="138"/>
                    </a:lnTo>
                    <a:lnTo>
                      <a:pt x="436" y="130"/>
                    </a:lnTo>
                    <a:lnTo>
                      <a:pt x="430" y="112"/>
                    </a:lnTo>
                    <a:lnTo>
                      <a:pt x="410" y="112"/>
                    </a:lnTo>
                    <a:lnTo>
                      <a:pt x="410" y="98"/>
                    </a:lnTo>
                    <a:lnTo>
                      <a:pt x="410" y="84"/>
                    </a:lnTo>
                    <a:lnTo>
                      <a:pt x="396" y="84"/>
                    </a:lnTo>
                    <a:lnTo>
                      <a:pt x="388" y="84"/>
                    </a:lnTo>
                    <a:lnTo>
                      <a:pt x="388" y="76"/>
                    </a:lnTo>
                    <a:lnTo>
                      <a:pt x="382" y="70"/>
                    </a:lnTo>
                    <a:lnTo>
                      <a:pt x="382" y="64"/>
                    </a:lnTo>
                    <a:lnTo>
                      <a:pt x="374" y="64"/>
                    </a:lnTo>
                    <a:lnTo>
                      <a:pt x="368" y="70"/>
                    </a:lnTo>
                    <a:lnTo>
                      <a:pt x="360" y="70"/>
                    </a:lnTo>
                    <a:lnTo>
                      <a:pt x="354" y="70"/>
                    </a:lnTo>
                    <a:lnTo>
                      <a:pt x="340" y="76"/>
                    </a:lnTo>
                    <a:lnTo>
                      <a:pt x="326" y="84"/>
                    </a:lnTo>
                    <a:lnTo>
                      <a:pt x="320" y="76"/>
                    </a:lnTo>
                    <a:lnTo>
                      <a:pt x="320" y="84"/>
                    </a:lnTo>
                    <a:lnTo>
                      <a:pt x="312" y="84"/>
                    </a:lnTo>
                    <a:lnTo>
                      <a:pt x="298" y="84"/>
                    </a:lnTo>
                    <a:lnTo>
                      <a:pt x="292" y="84"/>
                    </a:lnTo>
                    <a:lnTo>
                      <a:pt x="278" y="76"/>
                    </a:lnTo>
                    <a:lnTo>
                      <a:pt x="284" y="76"/>
                    </a:lnTo>
                    <a:lnTo>
                      <a:pt x="284" y="70"/>
                    </a:lnTo>
                    <a:lnTo>
                      <a:pt x="292" y="70"/>
                    </a:lnTo>
                    <a:lnTo>
                      <a:pt x="292" y="64"/>
                    </a:lnTo>
                    <a:lnTo>
                      <a:pt x="292" y="56"/>
                    </a:lnTo>
                    <a:lnTo>
                      <a:pt x="284" y="56"/>
                    </a:lnTo>
                    <a:lnTo>
                      <a:pt x="278" y="56"/>
                    </a:lnTo>
                    <a:lnTo>
                      <a:pt x="272" y="64"/>
                    </a:lnTo>
                    <a:lnTo>
                      <a:pt x="264" y="48"/>
                    </a:lnTo>
                    <a:lnTo>
                      <a:pt x="258" y="48"/>
                    </a:lnTo>
                    <a:lnTo>
                      <a:pt x="250" y="48"/>
                    </a:lnTo>
                    <a:lnTo>
                      <a:pt x="250" y="42"/>
                    </a:lnTo>
                    <a:lnTo>
                      <a:pt x="244" y="42"/>
                    </a:lnTo>
                    <a:lnTo>
                      <a:pt x="236" y="42"/>
                    </a:lnTo>
                    <a:lnTo>
                      <a:pt x="236" y="36"/>
                    </a:lnTo>
                    <a:lnTo>
                      <a:pt x="244" y="28"/>
                    </a:lnTo>
                    <a:lnTo>
                      <a:pt x="236" y="22"/>
                    </a:lnTo>
                    <a:lnTo>
                      <a:pt x="228" y="14"/>
                    </a:lnTo>
                    <a:lnTo>
                      <a:pt x="222" y="8"/>
                    </a:lnTo>
                    <a:lnTo>
                      <a:pt x="208" y="8"/>
                    </a:lnTo>
                    <a:lnTo>
                      <a:pt x="202" y="0"/>
                    </a:lnTo>
                    <a:lnTo>
                      <a:pt x="196" y="0"/>
                    </a:lnTo>
                    <a:lnTo>
                      <a:pt x="196" y="14"/>
                    </a:lnTo>
                    <a:lnTo>
                      <a:pt x="196" y="22"/>
                    </a:lnTo>
                    <a:lnTo>
                      <a:pt x="202" y="28"/>
                    </a:lnTo>
                    <a:lnTo>
                      <a:pt x="202" y="36"/>
                    </a:lnTo>
                    <a:lnTo>
                      <a:pt x="188" y="42"/>
                    </a:lnTo>
                    <a:lnTo>
                      <a:pt x="180" y="42"/>
                    </a:lnTo>
                    <a:lnTo>
                      <a:pt x="180" y="48"/>
                    </a:lnTo>
                    <a:lnTo>
                      <a:pt x="188" y="48"/>
                    </a:lnTo>
                    <a:lnTo>
                      <a:pt x="188" y="56"/>
                    </a:lnTo>
                    <a:lnTo>
                      <a:pt x="188" y="64"/>
                    </a:lnTo>
                    <a:lnTo>
                      <a:pt x="202" y="70"/>
                    </a:lnTo>
                    <a:lnTo>
                      <a:pt x="196" y="76"/>
                    </a:lnTo>
                    <a:lnTo>
                      <a:pt x="202" y="84"/>
                    </a:lnTo>
                    <a:lnTo>
                      <a:pt x="216" y="90"/>
                    </a:lnTo>
                    <a:lnTo>
                      <a:pt x="216" y="104"/>
                    </a:lnTo>
                    <a:lnTo>
                      <a:pt x="208" y="90"/>
                    </a:lnTo>
                    <a:lnTo>
                      <a:pt x="202" y="84"/>
                    </a:lnTo>
                    <a:lnTo>
                      <a:pt x="188" y="84"/>
                    </a:lnTo>
                    <a:lnTo>
                      <a:pt x="174" y="84"/>
                    </a:lnTo>
                    <a:lnTo>
                      <a:pt x="174" y="90"/>
                    </a:lnTo>
                    <a:lnTo>
                      <a:pt x="174" y="104"/>
                    </a:lnTo>
                    <a:lnTo>
                      <a:pt x="174" y="112"/>
                    </a:lnTo>
                    <a:lnTo>
                      <a:pt x="166" y="118"/>
                    </a:lnTo>
                    <a:lnTo>
                      <a:pt x="166" y="124"/>
                    </a:lnTo>
                    <a:lnTo>
                      <a:pt x="160" y="112"/>
                    </a:lnTo>
                    <a:lnTo>
                      <a:pt x="160" y="104"/>
                    </a:lnTo>
                    <a:lnTo>
                      <a:pt x="160" y="98"/>
                    </a:lnTo>
                    <a:lnTo>
                      <a:pt x="154" y="98"/>
                    </a:lnTo>
                    <a:lnTo>
                      <a:pt x="154" y="104"/>
                    </a:lnTo>
                    <a:lnTo>
                      <a:pt x="146" y="104"/>
                    </a:lnTo>
                    <a:lnTo>
                      <a:pt x="146" y="98"/>
                    </a:lnTo>
                    <a:lnTo>
                      <a:pt x="154" y="90"/>
                    </a:lnTo>
                    <a:lnTo>
                      <a:pt x="138" y="84"/>
                    </a:lnTo>
                    <a:lnTo>
                      <a:pt x="126" y="84"/>
                    </a:lnTo>
                    <a:lnTo>
                      <a:pt x="112" y="84"/>
                    </a:lnTo>
                    <a:lnTo>
                      <a:pt x="104" y="84"/>
                    </a:lnTo>
                    <a:lnTo>
                      <a:pt x="104" y="90"/>
                    </a:lnTo>
                    <a:lnTo>
                      <a:pt x="98" y="98"/>
                    </a:lnTo>
                    <a:lnTo>
                      <a:pt x="98" y="104"/>
                    </a:lnTo>
                    <a:lnTo>
                      <a:pt x="104" y="104"/>
                    </a:lnTo>
                    <a:lnTo>
                      <a:pt x="104" y="112"/>
                    </a:lnTo>
                    <a:lnTo>
                      <a:pt x="112" y="118"/>
                    </a:lnTo>
                    <a:lnTo>
                      <a:pt x="104" y="124"/>
                    </a:lnTo>
                    <a:lnTo>
                      <a:pt x="104" y="132"/>
                    </a:lnTo>
                    <a:lnTo>
                      <a:pt x="104" y="138"/>
                    </a:lnTo>
                    <a:lnTo>
                      <a:pt x="104" y="146"/>
                    </a:lnTo>
                    <a:lnTo>
                      <a:pt x="98" y="146"/>
                    </a:lnTo>
                    <a:lnTo>
                      <a:pt x="98" y="152"/>
                    </a:lnTo>
                    <a:lnTo>
                      <a:pt x="98" y="166"/>
                    </a:lnTo>
                    <a:lnTo>
                      <a:pt x="98" y="172"/>
                    </a:lnTo>
                    <a:lnTo>
                      <a:pt x="90" y="180"/>
                    </a:lnTo>
                    <a:lnTo>
                      <a:pt x="98" y="186"/>
                    </a:lnTo>
                    <a:lnTo>
                      <a:pt x="98" y="194"/>
                    </a:lnTo>
                    <a:lnTo>
                      <a:pt x="90" y="214"/>
                    </a:lnTo>
                    <a:lnTo>
                      <a:pt x="84" y="214"/>
                    </a:lnTo>
                    <a:lnTo>
                      <a:pt x="76" y="214"/>
                    </a:lnTo>
                    <a:lnTo>
                      <a:pt x="70" y="214"/>
                    </a:lnTo>
                    <a:lnTo>
                      <a:pt x="62" y="214"/>
                    </a:lnTo>
                    <a:lnTo>
                      <a:pt x="56" y="206"/>
                    </a:lnTo>
                    <a:lnTo>
                      <a:pt x="36" y="214"/>
                    </a:lnTo>
                    <a:lnTo>
                      <a:pt x="22" y="220"/>
                    </a:lnTo>
                    <a:lnTo>
                      <a:pt x="22" y="228"/>
                    </a:lnTo>
                    <a:lnTo>
                      <a:pt x="22" y="234"/>
                    </a:lnTo>
                    <a:lnTo>
                      <a:pt x="22" y="248"/>
                    </a:lnTo>
                    <a:lnTo>
                      <a:pt x="22" y="256"/>
                    </a:lnTo>
                    <a:lnTo>
                      <a:pt x="8" y="262"/>
                    </a:lnTo>
                    <a:lnTo>
                      <a:pt x="8" y="268"/>
                    </a:lnTo>
                    <a:lnTo>
                      <a:pt x="8" y="276"/>
                    </a:lnTo>
                    <a:lnTo>
                      <a:pt x="8" y="282"/>
                    </a:lnTo>
                    <a:lnTo>
                      <a:pt x="0" y="296"/>
                    </a:lnTo>
                    <a:lnTo>
                      <a:pt x="8" y="296"/>
                    </a:lnTo>
                    <a:lnTo>
                      <a:pt x="8" y="304"/>
                    </a:lnTo>
                    <a:lnTo>
                      <a:pt x="8" y="310"/>
                    </a:lnTo>
                    <a:lnTo>
                      <a:pt x="0" y="310"/>
                    </a:lnTo>
                    <a:lnTo>
                      <a:pt x="0" y="318"/>
                    </a:lnTo>
                    <a:lnTo>
                      <a:pt x="0" y="324"/>
                    </a:lnTo>
                    <a:lnTo>
                      <a:pt x="0" y="332"/>
                    </a:lnTo>
                    <a:lnTo>
                      <a:pt x="0" y="332"/>
                    </a:lnTo>
                    <a:lnTo>
                      <a:pt x="0" y="332"/>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4" name="Freeform 48"/>
              <p:cNvSpPr>
                <a:spLocks/>
              </p:cNvSpPr>
              <p:nvPr/>
            </p:nvSpPr>
            <p:spPr bwMode="gray">
              <a:xfrm>
                <a:off x="4473013" y="2444391"/>
                <a:ext cx="196894" cy="254057"/>
              </a:xfrm>
              <a:custGeom>
                <a:avLst/>
                <a:gdLst>
                  <a:gd name="T0" fmla="*/ 28 w 124"/>
                  <a:gd name="T1" fmla="*/ 146 h 160"/>
                  <a:gd name="T2" fmla="*/ 50 w 124"/>
                  <a:gd name="T3" fmla="*/ 152 h 160"/>
                  <a:gd name="T4" fmla="*/ 48 w 124"/>
                  <a:gd name="T5" fmla="*/ 160 h 160"/>
                  <a:gd name="T6" fmla="*/ 62 w 124"/>
                  <a:gd name="T7" fmla="*/ 152 h 160"/>
                  <a:gd name="T8" fmla="*/ 48 w 124"/>
                  <a:gd name="T9" fmla="*/ 138 h 160"/>
                  <a:gd name="T10" fmla="*/ 62 w 124"/>
                  <a:gd name="T11" fmla="*/ 132 h 160"/>
                  <a:gd name="T12" fmla="*/ 56 w 124"/>
                  <a:gd name="T13" fmla="*/ 118 h 160"/>
                  <a:gd name="T14" fmla="*/ 62 w 124"/>
                  <a:gd name="T15" fmla="*/ 110 h 160"/>
                  <a:gd name="T16" fmla="*/ 70 w 124"/>
                  <a:gd name="T17" fmla="*/ 104 h 160"/>
                  <a:gd name="T18" fmla="*/ 84 w 124"/>
                  <a:gd name="T19" fmla="*/ 96 h 160"/>
                  <a:gd name="T20" fmla="*/ 98 w 124"/>
                  <a:gd name="T21" fmla="*/ 82 h 160"/>
                  <a:gd name="T22" fmla="*/ 98 w 124"/>
                  <a:gd name="T23" fmla="*/ 62 h 160"/>
                  <a:gd name="T24" fmla="*/ 112 w 124"/>
                  <a:gd name="T25" fmla="*/ 56 h 160"/>
                  <a:gd name="T26" fmla="*/ 118 w 124"/>
                  <a:gd name="T27" fmla="*/ 62 h 160"/>
                  <a:gd name="T28" fmla="*/ 124 w 124"/>
                  <a:gd name="T29" fmla="*/ 48 h 160"/>
                  <a:gd name="T30" fmla="*/ 118 w 124"/>
                  <a:gd name="T31" fmla="*/ 34 h 160"/>
                  <a:gd name="T32" fmla="*/ 104 w 124"/>
                  <a:gd name="T33" fmla="*/ 34 h 160"/>
                  <a:gd name="T34" fmla="*/ 98 w 124"/>
                  <a:gd name="T35" fmla="*/ 28 h 160"/>
                  <a:gd name="T36" fmla="*/ 104 w 124"/>
                  <a:gd name="T37" fmla="*/ 14 h 160"/>
                  <a:gd name="T38" fmla="*/ 104 w 124"/>
                  <a:gd name="T39" fmla="*/ 6 h 160"/>
                  <a:gd name="T40" fmla="*/ 98 w 124"/>
                  <a:gd name="T41" fmla="*/ 0 h 160"/>
                  <a:gd name="T42" fmla="*/ 90 w 124"/>
                  <a:gd name="T43" fmla="*/ 6 h 160"/>
                  <a:gd name="T44" fmla="*/ 70 w 124"/>
                  <a:gd name="T45" fmla="*/ 6 h 160"/>
                  <a:gd name="T46" fmla="*/ 70 w 124"/>
                  <a:gd name="T47" fmla="*/ 20 h 160"/>
                  <a:gd name="T48" fmla="*/ 70 w 124"/>
                  <a:gd name="T49" fmla="*/ 34 h 160"/>
                  <a:gd name="T50" fmla="*/ 62 w 124"/>
                  <a:gd name="T51" fmla="*/ 20 h 160"/>
                  <a:gd name="T52" fmla="*/ 56 w 124"/>
                  <a:gd name="T53" fmla="*/ 20 h 160"/>
                  <a:gd name="T54" fmla="*/ 48 w 124"/>
                  <a:gd name="T55" fmla="*/ 14 h 160"/>
                  <a:gd name="T56" fmla="*/ 42 w 124"/>
                  <a:gd name="T57" fmla="*/ 28 h 160"/>
                  <a:gd name="T58" fmla="*/ 36 w 124"/>
                  <a:gd name="T59" fmla="*/ 34 h 160"/>
                  <a:gd name="T60" fmla="*/ 28 w 124"/>
                  <a:gd name="T61" fmla="*/ 20 h 160"/>
                  <a:gd name="T62" fmla="*/ 22 w 124"/>
                  <a:gd name="T63" fmla="*/ 14 h 160"/>
                  <a:gd name="T64" fmla="*/ 14 w 124"/>
                  <a:gd name="T65" fmla="*/ 20 h 160"/>
                  <a:gd name="T66" fmla="*/ 8 w 124"/>
                  <a:gd name="T67" fmla="*/ 34 h 160"/>
                  <a:gd name="T68" fmla="*/ 8 w 124"/>
                  <a:gd name="T69" fmla="*/ 56 h 160"/>
                  <a:gd name="T70" fmla="*/ 8 w 124"/>
                  <a:gd name="T71" fmla="*/ 70 h 160"/>
                  <a:gd name="T72" fmla="*/ 8 w 124"/>
                  <a:gd name="T73" fmla="*/ 82 h 160"/>
                  <a:gd name="T74" fmla="*/ 8 w 124"/>
                  <a:gd name="T75" fmla="*/ 96 h 160"/>
                  <a:gd name="T76" fmla="*/ 14 w 124"/>
                  <a:gd name="T77" fmla="*/ 104 h 160"/>
                  <a:gd name="T78" fmla="*/ 22 w 124"/>
                  <a:gd name="T79" fmla="*/ 118 h 160"/>
                  <a:gd name="T80" fmla="*/ 22 w 124"/>
                  <a:gd name="T81" fmla="*/ 138 h 160"/>
                  <a:gd name="T82" fmla="*/ 22 w 124"/>
                  <a:gd name="T83" fmla="*/ 152 h 160"/>
                  <a:gd name="T84" fmla="*/ 22 w 124"/>
                  <a:gd name="T85" fmla="*/ 14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4" h="160">
                    <a:moveTo>
                      <a:pt x="22" y="146"/>
                    </a:moveTo>
                    <a:lnTo>
                      <a:pt x="28" y="146"/>
                    </a:lnTo>
                    <a:lnTo>
                      <a:pt x="36" y="152"/>
                    </a:lnTo>
                    <a:lnTo>
                      <a:pt x="50" y="152"/>
                    </a:lnTo>
                    <a:lnTo>
                      <a:pt x="52" y="156"/>
                    </a:lnTo>
                    <a:lnTo>
                      <a:pt x="48" y="160"/>
                    </a:lnTo>
                    <a:lnTo>
                      <a:pt x="56" y="152"/>
                    </a:lnTo>
                    <a:lnTo>
                      <a:pt x="62" y="152"/>
                    </a:lnTo>
                    <a:lnTo>
                      <a:pt x="56" y="146"/>
                    </a:lnTo>
                    <a:lnTo>
                      <a:pt x="48" y="138"/>
                    </a:lnTo>
                    <a:lnTo>
                      <a:pt x="56" y="132"/>
                    </a:lnTo>
                    <a:lnTo>
                      <a:pt x="62" y="132"/>
                    </a:lnTo>
                    <a:lnTo>
                      <a:pt x="56" y="124"/>
                    </a:lnTo>
                    <a:lnTo>
                      <a:pt x="56" y="118"/>
                    </a:lnTo>
                    <a:lnTo>
                      <a:pt x="62" y="118"/>
                    </a:lnTo>
                    <a:lnTo>
                      <a:pt x="62" y="110"/>
                    </a:lnTo>
                    <a:lnTo>
                      <a:pt x="62" y="104"/>
                    </a:lnTo>
                    <a:lnTo>
                      <a:pt x="70" y="104"/>
                    </a:lnTo>
                    <a:lnTo>
                      <a:pt x="76" y="96"/>
                    </a:lnTo>
                    <a:lnTo>
                      <a:pt x="84" y="96"/>
                    </a:lnTo>
                    <a:lnTo>
                      <a:pt x="84" y="90"/>
                    </a:lnTo>
                    <a:lnTo>
                      <a:pt x="98" y="82"/>
                    </a:lnTo>
                    <a:lnTo>
                      <a:pt x="104" y="70"/>
                    </a:lnTo>
                    <a:lnTo>
                      <a:pt x="98" y="62"/>
                    </a:lnTo>
                    <a:lnTo>
                      <a:pt x="104" y="56"/>
                    </a:lnTo>
                    <a:lnTo>
                      <a:pt x="112" y="56"/>
                    </a:lnTo>
                    <a:lnTo>
                      <a:pt x="112" y="62"/>
                    </a:lnTo>
                    <a:lnTo>
                      <a:pt x="118" y="62"/>
                    </a:lnTo>
                    <a:lnTo>
                      <a:pt x="124" y="56"/>
                    </a:lnTo>
                    <a:lnTo>
                      <a:pt x="124" y="48"/>
                    </a:lnTo>
                    <a:lnTo>
                      <a:pt x="124" y="42"/>
                    </a:lnTo>
                    <a:lnTo>
                      <a:pt x="118" y="34"/>
                    </a:lnTo>
                    <a:lnTo>
                      <a:pt x="112" y="34"/>
                    </a:lnTo>
                    <a:lnTo>
                      <a:pt x="104" y="34"/>
                    </a:lnTo>
                    <a:lnTo>
                      <a:pt x="104" y="28"/>
                    </a:lnTo>
                    <a:lnTo>
                      <a:pt x="98" y="28"/>
                    </a:lnTo>
                    <a:lnTo>
                      <a:pt x="98" y="20"/>
                    </a:lnTo>
                    <a:lnTo>
                      <a:pt x="104" y="14"/>
                    </a:lnTo>
                    <a:lnTo>
                      <a:pt x="112" y="14"/>
                    </a:lnTo>
                    <a:lnTo>
                      <a:pt x="104" y="6"/>
                    </a:lnTo>
                    <a:lnTo>
                      <a:pt x="104" y="0"/>
                    </a:lnTo>
                    <a:lnTo>
                      <a:pt x="98" y="0"/>
                    </a:lnTo>
                    <a:lnTo>
                      <a:pt x="90" y="0"/>
                    </a:lnTo>
                    <a:lnTo>
                      <a:pt x="90" y="6"/>
                    </a:lnTo>
                    <a:lnTo>
                      <a:pt x="76" y="6"/>
                    </a:lnTo>
                    <a:lnTo>
                      <a:pt x="70" y="6"/>
                    </a:lnTo>
                    <a:lnTo>
                      <a:pt x="62" y="14"/>
                    </a:lnTo>
                    <a:lnTo>
                      <a:pt x="70" y="20"/>
                    </a:lnTo>
                    <a:lnTo>
                      <a:pt x="70" y="28"/>
                    </a:lnTo>
                    <a:lnTo>
                      <a:pt x="70" y="34"/>
                    </a:lnTo>
                    <a:lnTo>
                      <a:pt x="70" y="28"/>
                    </a:lnTo>
                    <a:lnTo>
                      <a:pt x="62" y="20"/>
                    </a:lnTo>
                    <a:lnTo>
                      <a:pt x="56" y="28"/>
                    </a:lnTo>
                    <a:lnTo>
                      <a:pt x="56" y="20"/>
                    </a:lnTo>
                    <a:lnTo>
                      <a:pt x="56" y="14"/>
                    </a:lnTo>
                    <a:lnTo>
                      <a:pt x="48" y="14"/>
                    </a:lnTo>
                    <a:lnTo>
                      <a:pt x="42" y="20"/>
                    </a:lnTo>
                    <a:lnTo>
                      <a:pt x="42" y="28"/>
                    </a:lnTo>
                    <a:lnTo>
                      <a:pt x="36" y="28"/>
                    </a:lnTo>
                    <a:lnTo>
                      <a:pt x="36" y="34"/>
                    </a:lnTo>
                    <a:lnTo>
                      <a:pt x="36" y="28"/>
                    </a:lnTo>
                    <a:lnTo>
                      <a:pt x="28" y="20"/>
                    </a:lnTo>
                    <a:lnTo>
                      <a:pt x="22" y="20"/>
                    </a:lnTo>
                    <a:lnTo>
                      <a:pt x="22" y="14"/>
                    </a:lnTo>
                    <a:lnTo>
                      <a:pt x="14" y="14"/>
                    </a:lnTo>
                    <a:lnTo>
                      <a:pt x="14" y="20"/>
                    </a:lnTo>
                    <a:lnTo>
                      <a:pt x="8" y="28"/>
                    </a:lnTo>
                    <a:lnTo>
                      <a:pt x="8" y="34"/>
                    </a:lnTo>
                    <a:lnTo>
                      <a:pt x="8" y="48"/>
                    </a:lnTo>
                    <a:lnTo>
                      <a:pt x="8" y="56"/>
                    </a:lnTo>
                    <a:lnTo>
                      <a:pt x="8" y="62"/>
                    </a:lnTo>
                    <a:lnTo>
                      <a:pt x="8" y="70"/>
                    </a:lnTo>
                    <a:lnTo>
                      <a:pt x="8" y="76"/>
                    </a:lnTo>
                    <a:lnTo>
                      <a:pt x="8" y="82"/>
                    </a:lnTo>
                    <a:lnTo>
                      <a:pt x="0" y="90"/>
                    </a:lnTo>
                    <a:lnTo>
                      <a:pt x="8" y="96"/>
                    </a:lnTo>
                    <a:lnTo>
                      <a:pt x="14" y="96"/>
                    </a:lnTo>
                    <a:lnTo>
                      <a:pt x="14" y="104"/>
                    </a:lnTo>
                    <a:lnTo>
                      <a:pt x="22" y="110"/>
                    </a:lnTo>
                    <a:lnTo>
                      <a:pt x="22" y="118"/>
                    </a:lnTo>
                    <a:lnTo>
                      <a:pt x="22" y="124"/>
                    </a:lnTo>
                    <a:lnTo>
                      <a:pt x="22" y="138"/>
                    </a:lnTo>
                    <a:lnTo>
                      <a:pt x="22" y="146"/>
                    </a:lnTo>
                    <a:lnTo>
                      <a:pt x="22" y="152"/>
                    </a:lnTo>
                    <a:lnTo>
                      <a:pt x="22" y="146"/>
                    </a:lnTo>
                    <a:lnTo>
                      <a:pt x="22" y="146"/>
                    </a:lnTo>
                    <a:lnTo>
                      <a:pt x="22" y="146"/>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5" name="Freeform 49"/>
              <p:cNvSpPr>
                <a:spLocks/>
              </p:cNvSpPr>
              <p:nvPr>
                <p:custDataLst>
                  <p:tags r:id="rId140"/>
                </p:custDataLst>
              </p:nvPr>
            </p:nvSpPr>
            <p:spPr bwMode="gray">
              <a:xfrm>
                <a:off x="3952198" y="3012842"/>
                <a:ext cx="254057" cy="263584"/>
              </a:xfrm>
              <a:custGeom>
                <a:avLst/>
                <a:gdLst>
                  <a:gd name="T0" fmla="*/ 146 w 160"/>
                  <a:gd name="T1" fmla="*/ 28 h 166"/>
                  <a:gd name="T2" fmla="*/ 132 w 160"/>
                  <a:gd name="T3" fmla="*/ 14 h 166"/>
                  <a:gd name="T4" fmla="*/ 118 w 160"/>
                  <a:gd name="T5" fmla="*/ 22 h 166"/>
                  <a:gd name="T6" fmla="*/ 112 w 160"/>
                  <a:gd name="T7" fmla="*/ 14 h 166"/>
                  <a:gd name="T8" fmla="*/ 84 w 160"/>
                  <a:gd name="T9" fmla="*/ 8 h 166"/>
                  <a:gd name="T10" fmla="*/ 76 w 160"/>
                  <a:gd name="T11" fmla="*/ 22 h 166"/>
                  <a:gd name="T12" fmla="*/ 56 w 160"/>
                  <a:gd name="T13" fmla="*/ 22 h 166"/>
                  <a:gd name="T14" fmla="*/ 50 w 160"/>
                  <a:gd name="T15" fmla="*/ 14 h 166"/>
                  <a:gd name="T16" fmla="*/ 36 w 160"/>
                  <a:gd name="T17" fmla="*/ 8 h 166"/>
                  <a:gd name="T18" fmla="*/ 28 w 160"/>
                  <a:gd name="T19" fmla="*/ 0 h 166"/>
                  <a:gd name="T20" fmla="*/ 14 w 160"/>
                  <a:gd name="T21" fmla="*/ 0 h 166"/>
                  <a:gd name="T22" fmla="*/ 0 w 160"/>
                  <a:gd name="T23" fmla="*/ 14 h 166"/>
                  <a:gd name="T24" fmla="*/ 0 w 160"/>
                  <a:gd name="T25" fmla="*/ 28 h 166"/>
                  <a:gd name="T26" fmla="*/ 8 w 160"/>
                  <a:gd name="T27" fmla="*/ 42 h 166"/>
                  <a:gd name="T28" fmla="*/ 14 w 160"/>
                  <a:gd name="T29" fmla="*/ 48 h 166"/>
                  <a:gd name="T30" fmla="*/ 20 w 160"/>
                  <a:gd name="T31" fmla="*/ 56 h 166"/>
                  <a:gd name="T32" fmla="*/ 28 w 160"/>
                  <a:gd name="T33" fmla="*/ 62 h 166"/>
                  <a:gd name="T34" fmla="*/ 36 w 160"/>
                  <a:gd name="T35" fmla="*/ 70 h 166"/>
                  <a:gd name="T36" fmla="*/ 50 w 160"/>
                  <a:gd name="T37" fmla="*/ 84 h 166"/>
                  <a:gd name="T38" fmla="*/ 62 w 160"/>
                  <a:gd name="T39" fmla="*/ 84 h 166"/>
                  <a:gd name="T40" fmla="*/ 62 w 160"/>
                  <a:gd name="T41" fmla="*/ 104 h 166"/>
                  <a:gd name="T42" fmla="*/ 62 w 160"/>
                  <a:gd name="T43" fmla="*/ 118 h 166"/>
                  <a:gd name="T44" fmla="*/ 76 w 160"/>
                  <a:gd name="T45" fmla="*/ 118 h 166"/>
                  <a:gd name="T46" fmla="*/ 84 w 160"/>
                  <a:gd name="T47" fmla="*/ 110 h 166"/>
                  <a:gd name="T48" fmla="*/ 90 w 160"/>
                  <a:gd name="T49" fmla="*/ 124 h 166"/>
                  <a:gd name="T50" fmla="*/ 98 w 160"/>
                  <a:gd name="T51" fmla="*/ 138 h 166"/>
                  <a:gd name="T52" fmla="*/ 104 w 160"/>
                  <a:gd name="T53" fmla="*/ 144 h 166"/>
                  <a:gd name="T54" fmla="*/ 118 w 160"/>
                  <a:gd name="T55" fmla="*/ 158 h 166"/>
                  <a:gd name="T56" fmla="*/ 126 w 160"/>
                  <a:gd name="T57" fmla="*/ 158 h 166"/>
                  <a:gd name="T58" fmla="*/ 134 w 160"/>
                  <a:gd name="T59" fmla="*/ 158 h 166"/>
                  <a:gd name="T60" fmla="*/ 134 w 160"/>
                  <a:gd name="T61" fmla="*/ 138 h 166"/>
                  <a:gd name="T62" fmla="*/ 134 w 160"/>
                  <a:gd name="T63" fmla="*/ 124 h 166"/>
                  <a:gd name="T64" fmla="*/ 148 w 160"/>
                  <a:gd name="T65" fmla="*/ 110 h 166"/>
                  <a:gd name="T66" fmla="*/ 154 w 160"/>
                  <a:gd name="T67" fmla="*/ 104 h 166"/>
                  <a:gd name="T68" fmla="*/ 160 w 160"/>
                  <a:gd name="T69" fmla="*/ 98 h 166"/>
                  <a:gd name="T70" fmla="*/ 160 w 160"/>
                  <a:gd name="T71" fmla="*/ 84 h 166"/>
                  <a:gd name="T72" fmla="*/ 160 w 160"/>
                  <a:gd name="T73" fmla="*/ 70 h 166"/>
                  <a:gd name="T74" fmla="*/ 160 w 160"/>
                  <a:gd name="T75" fmla="*/ 56 h 166"/>
                  <a:gd name="T76" fmla="*/ 160 w 160"/>
                  <a:gd name="T77" fmla="*/ 42 h 166"/>
                  <a:gd name="T78" fmla="*/ 160 w 160"/>
                  <a:gd name="T79" fmla="*/ 4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 h="166">
                    <a:moveTo>
                      <a:pt x="160" y="42"/>
                    </a:moveTo>
                    <a:lnTo>
                      <a:pt x="146" y="28"/>
                    </a:lnTo>
                    <a:lnTo>
                      <a:pt x="140" y="22"/>
                    </a:lnTo>
                    <a:lnTo>
                      <a:pt x="132" y="14"/>
                    </a:lnTo>
                    <a:lnTo>
                      <a:pt x="126" y="14"/>
                    </a:lnTo>
                    <a:lnTo>
                      <a:pt x="118" y="22"/>
                    </a:lnTo>
                    <a:lnTo>
                      <a:pt x="112" y="22"/>
                    </a:lnTo>
                    <a:lnTo>
                      <a:pt x="112" y="14"/>
                    </a:lnTo>
                    <a:lnTo>
                      <a:pt x="90" y="8"/>
                    </a:lnTo>
                    <a:lnTo>
                      <a:pt x="84" y="8"/>
                    </a:lnTo>
                    <a:lnTo>
                      <a:pt x="76" y="14"/>
                    </a:lnTo>
                    <a:lnTo>
                      <a:pt x="76" y="22"/>
                    </a:lnTo>
                    <a:lnTo>
                      <a:pt x="62" y="22"/>
                    </a:lnTo>
                    <a:lnTo>
                      <a:pt x="56" y="22"/>
                    </a:lnTo>
                    <a:lnTo>
                      <a:pt x="50" y="22"/>
                    </a:lnTo>
                    <a:lnTo>
                      <a:pt x="50" y="14"/>
                    </a:lnTo>
                    <a:lnTo>
                      <a:pt x="42" y="8"/>
                    </a:lnTo>
                    <a:lnTo>
                      <a:pt x="36" y="8"/>
                    </a:lnTo>
                    <a:lnTo>
                      <a:pt x="36" y="0"/>
                    </a:lnTo>
                    <a:lnTo>
                      <a:pt x="28" y="0"/>
                    </a:lnTo>
                    <a:lnTo>
                      <a:pt x="20" y="8"/>
                    </a:lnTo>
                    <a:lnTo>
                      <a:pt x="14" y="0"/>
                    </a:lnTo>
                    <a:lnTo>
                      <a:pt x="14" y="8"/>
                    </a:lnTo>
                    <a:lnTo>
                      <a:pt x="0" y="14"/>
                    </a:lnTo>
                    <a:lnTo>
                      <a:pt x="0" y="22"/>
                    </a:lnTo>
                    <a:lnTo>
                      <a:pt x="0" y="28"/>
                    </a:lnTo>
                    <a:lnTo>
                      <a:pt x="0" y="34"/>
                    </a:lnTo>
                    <a:lnTo>
                      <a:pt x="8" y="42"/>
                    </a:lnTo>
                    <a:lnTo>
                      <a:pt x="8" y="48"/>
                    </a:lnTo>
                    <a:lnTo>
                      <a:pt x="14" y="48"/>
                    </a:lnTo>
                    <a:lnTo>
                      <a:pt x="20" y="48"/>
                    </a:lnTo>
                    <a:lnTo>
                      <a:pt x="20" y="56"/>
                    </a:lnTo>
                    <a:lnTo>
                      <a:pt x="20" y="62"/>
                    </a:lnTo>
                    <a:lnTo>
                      <a:pt x="28" y="62"/>
                    </a:lnTo>
                    <a:lnTo>
                      <a:pt x="36" y="62"/>
                    </a:lnTo>
                    <a:lnTo>
                      <a:pt x="36" y="70"/>
                    </a:lnTo>
                    <a:lnTo>
                      <a:pt x="42" y="84"/>
                    </a:lnTo>
                    <a:lnTo>
                      <a:pt x="50" y="84"/>
                    </a:lnTo>
                    <a:lnTo>
                      <a:pt x="56" y="84"/>
                    </a:lnTo>
                    <a:lnTo>
                      <a:pt x="62" y="84"/>
                    </a:lnTo>
                    <a:lnTo>
                      <a:pt x="62" y="98"/>
                    </a:lnTo>
                    <a:lnTo>
                      <a:pt x="62" y="104"/>
                    </a:lnTo>
                    <a:lnTo>
                      <a:pt x="56" y="110"/>
                    </a:lnTo>
                    <a:lnTo>
                      <a:pt x="62" y="118"/>
                    </a:lnTo>
                    <a:lnTo>
                      <a:pt x="70" y="118"/>
                    </a:lnTo>
                    <a:lnTo>
                      <a:pt x="76" y="118"/>
                    </a:lnTo>
                    <a:lnTo>
                      <a:pt x="76" y="110"/>
                    </a:lnTo>
                    <a:lnTo>
                      <a:pt x="84" y="110"/>
                    </a:lnTo>
                    <a:lnTo>
                      <a:pt x="84" y="118"/>
                    </a:lnTo>
                    <a:lnTo>
                      <a:pt x="90" y="124"/>
                    </a:lnTo>
                    <a:lnTo>
                      <a:pt x="90" y="132"/>
                    </a:lnTo>
                    <a:lnTo>
                      <a:pt x="98" y="138"/>
                    </a:lnTo>
                    <a:lnTo>
                      <a:pt x="98" y="144"/>
                    </a:lnTo>
                    <a:lnTo>
                      <a:pt x="104" y="144"/>
                    </a:lnTo>
                    <a:lnTo>
                      <a:pt x="112" y="152"/>
                    </a:lnTo>
                    <a:lnTo>
                      <a:pt x="118" y="158"/>
                    </a:lnTo>
                    <a:lnTo>
                      <a:pt x="118" y="166"/>
                    </a:lnTo>
                    <a:lnTo>
                      <a:pt x="126" y="158"/>
                    </a:lnTo>
                    <a:lnTo>
                      <a:pt x="132" y="158"/>
                    </a:lnTo>
                    <a:lnTo>
                      <a:pt x="134" y="158"/>
                    </a:lnTo>
                    <a:lnTo>
                      <a:pt x="138" y="146"/>
                    </a:lnTo>
                    <a:lnTo>
                      <a:pt x="134" y="138"/>
                    </a:lnTo>
                    <a:lnTo>
                      <a:pt x="134" y="132"/>
                    </a:lnTo>
                    <a:lnTo>
                      <a:pt x="134" y="124"/>
                    </a:lnTo>
                    <a:lnTo>
                      <a:pt x="140" y="118"/>
                    </a:lnTo>
                    <a:lnTo>
                      <a:pt x="148" y="110"/>
                    </a:lnTo>
                    <a:lnTo>
                      <a:pt x="154" y="110"/>
                    </a:lnTo>
                    <a:lnTo>
                      <a:pt x="154" y="104"/>
                    </a:lnTo>
                    <a:lnTo>
                      <a:pt x="154" y="98"/>
                    </a:lnTo>
                    <a:lnTo>
                      <a:pt x="160" y="98"/>
                    </a:lnTo>
                    <a:lnTo>
                      <a:pt x="160" y="90"/>
                    </a:lnTo>
                    <a:lnTo>
                      <a:pt x="160" y="84"/>
                    </a:lnTo>
                    <a:lnTo>
                      <a:pt x="154" y="84"/>
                    </a:lnTo>
                    <a:lnTo>
                      <a:pt x="160" y="70"/>
                    </a:lnTo>
                    <a:lnTo>
                      <a:pt x="160" y="62"/>
                    </a:lnTo>
                    <a:lnTo>
                      <a:pt x="160" y="56"/>
                    </a:lnTo>
                    <a:lnTo>
                      <a:pt x="160" y="48"/>
                    </a:lnTo>
                    <a:lnTo>
                      <a:pt x="160" y="42"/>
                    </a:lnTo>
                    <a:lnTo>
                      <a:pt x="160" y="42"/>
                    </a:lnTo>
                    <a:lnTo>
                      <a:pt x="160" y="42"/>
                    </a:lnTo>
                    <a:close/>
                  </a:path>
                </a:pathLst>
              </a:custGeom>
              <a:solidFill>
                <a:srgbClr val="73C37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6" name="Freeform 50"/>
              <p:cNvSpPr>
                <a:spLocks/>
              </p:cNvSpPr>
              <p:nvPr/>
            </p:nvSpPr>
            <p:spPr bwMode="gray">
              <a:xfrm>
                <a:off x="4161794" y="3187506"/>
                <a:ext cx="53987" cy="88920"/>
              </a:xfrm>
              <a:custGeom>
                <a:avLst/>
                <a:gdLst>
                  <a:gd name="T0" fmla="*/ 2 w 34"/>
                  <a:gd name="T1" fmla="*/ 48 h 56"/>
                  <a:gd name="T2" fmla="*/ 4 w 34"/>
                  <a:gd name="T3" fmla="*/ 36 h 56"/>
                  <a:gd name="T4" fmla="*/ 0 w 34"/>
                  <a:gd name="T5" fmla="*/ 28 h 56"/>
                  <a:gd name="T6" fmla="*/ 0 w 34"/>
                  <a:gd name="T7" fmla="*/ 22 h 56"/>
                  <a:gd name="T8" fmla="*/ 0 w 34"/>
                  <a:gd name="T9" fmla="*/ 14 h 56"/>
                  <a:gd name="T10" fmla="*/ 8 w 34"/>
                  <a:gd name="T11" fmla="*/ 8 h 56"/>
                  <a:gd name="T12" fmla="*/ 14 w 34"/>
                  <a:gd name="T13" fmla="*/ 0 h 56"/>
                  <a:gd name="T14" fmla="*/ 22 w 34"/>
                  <a:gd name="T15" fmla="*/ 8 h 56"/>
                  <a:gd name="T16" fmla="*/ 22 w 34"/>
                  <a:gd name="T17" fmla="*/ 14 h 56"/>
                  <a:gd name="T18" fmla="*/ 28 w 34"/>
                  <a:gd name="T19" fmla="*/ 22 h 56"/>
                  <a:gd name="T20" fmla="*/ 34 w 34"/>
                  <a:gd name="T21" fmla="*/ 28 h 56"/>
                  <a:gd name="T22" fmla="*/ 34 w 34"/>
                  <a:gd name="T23" fmla="*/ 34 h 56"/>
                  <a:gd name="T24" fmla="*/ 34 w 34"/>
                  <a:gd name="T25" fmla="*/ 42 h 56"/>
                  <a:gd name="T26" fmla="*/ 34 w 34"/>
                  <a:gd name="T27" fmla="*/ 48 h 56"/>
                  <a:gd name="T28" fmla="*/ 34 w 34"/>
                  <a:gd name="T29" fmla="*/ 56 h 56"/>
                  <a:gd name="T30" fmla="*/ 28 w 34"/>
                  <a:gd name="T31" fmla="*/ 56 h 56"/>
                  <a:gd name="T32" fmla="*/ 2 w 34"/>
                  <a:gd name="T33" fmla="*/ 48 h 56"/>
                  <a:gd name="T34" fmla="*/ 2 w 34"/>
                  <a:gd name="T35" fmla="*/ 48 h 56"/>
                  <a:gd name="T36" fmla="*/ 2 w 34"/>
                  <a:gd name="T37"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6">
                    <a:moveTo>
                      <a:pt x="2" y="48"/>
                    </a:moveTo>
                    <a:lnTo>
                      <a:pt x="4" y="36"/>
                    </a:lnTo>
                    <a:lnTo>
                      <a:pt x="0" y="28"/>
                    </a:lnTo>
                    <a:lnTo>
                      <a:pt x="0" y="22"/>
                    </a:lnTo>
                    <a:lnTo>
                      <a:pt x="0" y="14"/>
                    </a:lnTo>
                    <a:lnTo>
                      <a:pt x="8" y="8"/>
                    </a:lnTo>
                    <a:lnTo>
                      <a:pt x="14" y="0"/>
                    </a:lnTo>
                    <a:lnTo>
                      <a:pt x="22" y="8"/>
                    </a:lnTo>
                    <a:lnTo>
                      <a:pt x="22" y="14"/>
                    </a:lnTo>
                    <a:lnTo>
                      <a:pt x="28" y="22"/>
                    </a:lnTo>
                    <a:lnTo>
                      <a:pt x="34" y="28"/>
                    </a:lnTo>
                    <a:lnTo>
                      <a:pt x="34" y="34"/>
                    </a:lnTo>
                    <a:lnTo>
                      <a:pt x="34" y="42"/>
                    </a:lnTo>
                    <a:lnTo>
                      <a:pt x="34" y="48"/>
                    </a:lnTo>
                    <a:lnTo>
                      <a:pt x="34" y="56"/>
                    </a:lnTo>
                    <a:lnTo>
                      <a:pt x="28" y="56"/>
                    </a:lnTo>
                    <a:lnTo>
                      <a:pt x="2" y="48"/>
                    </a:lnTo>
                    <a:lnTo>
                      <a:pt x="2" y="48"/>
                    </a:lnTo>
                    <a:lnTo>
                      <a:pt x="2" y="48"/>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7" name="Freeform 51"/>
              <p:cNvSpPr>
                <a:spLocks/>
              </p:cNvSpPr>
              <p:nvPr>
                <p:custDataLst>
                  <p:tags r:id="rId141"/>
                </p:custDataLst>
              </p:nvPr>
            </p:nvSpPr>
            <p:spPr bwMode="gray">
              <a:xfrm>
                <a:off x="4072875" y="2815949"/>
                <a:ext cx="298516" cy="276286"/>
              </a:xfrm>
              <a:custGeom>
                <a:avLst/>
                <a:gdLst>
                  <a:gd name="T0" fmla="*/ 166 w 188"/>
                  <a:gd name="T1" fmla="*/ 28 h 174"/>
                  <a:gd name="T2" fmla="*/ 160 w 188"/>
                  <a:gd name="T3" fmla="*/ 0 h 174"/>
                  <a:gd name="T4" fmla="*/ 146 w 188"/>
                  <a:gd name="T5" fmla="*/ 8 h 174"/>
                  <a:gd name="T6" fmla="*/ 132 w 188"/>
                  <a:gd name="T7" fmla="*/ 8 h 174"/>
                  <a:gd name="T8" fmla="*/ 124 w 188"/>
                  <a:gd name="T9" fmla="*/ 8 h 174"/>
                  <a:gd name="T10" fmla="*/ 112 w 188"/>
                  <a:gd name="T11" fmla="*/ 8 h 174"/>
                  <a:gd name="T12" fmla="*/ 90 w 188"/>
                  <a:gd name="T13" fmla="*/ 22 h 174"/>
                  <a:gd name="T14" fmla="*/ 90 w 188"/>
                  <a:gd name="T15" fmla="*/ 36 h 174"/>
                  <a:gd name="T16" fmla="*/ 90 w 188"/>
                  <a:gd name="T17" fmla="*/ 50 h 174"/>
                  <a:gd name="T18" fmla="*/ 76 w 188"/>
                  <a:gd name="T19" fmla="*/ 76 h 174"/>
                  <a:gd name="T20" fmla="*/ 62 w 188"/>
                  <a:gd name="T21" fmla="*/ 76 h 174"/>
                  <a:gd name="T22" fmla="*/ 70 w 188"/>
                  <a:gd name="T23" fmla="*/ 56 h 174"/>
                  <a:gd name="T24" fmla="*/ 70 w 188"/>
                  <a:gd name="T25" fmla="*/ 50 h 174"/>
                  <a:gd name="T26" fmla="*/ 76 w 188"/>
                  <a:gd name="T27" fmla="*/ 36 h 174"/>
                  <a:gd name="T28" fmla="*/ 56 w 188"/>
                  <a:gd name="T29" fmla="*/ 28 h 174"/>
                  <a:gd name="T30" fmla="*/ 56 w 188"/>
                  <a:gd name="T31" fmla="*/ 28 h 174"/>
                  <a:gd name="T32" fmla="*/ 48 w 188"/>
                  <a:gd name="T33" fmla="*/ 56 h 174"/>
                  <a:gd name="T34" fmla="*/ 42 w 188"/>
                  <a:gd name="T35" fmla="*/ 70 h 174"/>
                  <a:gd name="T36" fmla="*/ 34 w 188"/>
                  <a:gd name="T37" fmla="*/ 76 h 174"/>
                  <a:gd name="T38" fmla="*/ 14 w 188"/>
                  <a:gd name="T39" fmla="*/ 84 h 174"/>
                  <a:gd name="T40" fmla="*/ 20 w 188"/>
                  <a:gd name="T41" fmla="*/ 98 h 174"/>
                  <a:gd name="T42" fmla="*/ 8 w 188"/>
                  <a:gd name="T43" fmla="*/ 112 h 174"/>
                  <a:gd name="T44" fmla="*/ 0 w 188"/>
                  <a:gd name="T45" fmla="*/ 98 h 174"/>
                  <a:gd name="T46" fmla="*/ 0 w 188"/>
                  <a:gd name="T47" fmla="*/ 112 h 174"/>
                  <a:gd name="T48" fmla="*/ 8 w 188"/>
                  <a:gd name="T49" fmla="*/ 126 h 174"/>
                  <a:gd name="T50" fmla="*/ 34 w 188"/>
                  <a:gd name="T51" fmla="*/ 138 h 174"/>
                  <a:gd name="T52" fmla="*/ 42 w 188"/>
                  <a:gd name="T53" fmla="*/ 146 h 174"/>
                  <a:gd name="T54" fmla="*/ 56 w 188"/>
                  <a:gd name="T55" fmla="*/ 138 h 174"/>
                  <a:gd name="T56" fmla="*/ 70 w 188"/>
                  <a:gd name="T57" fmla="*/ 152 h 174"/>
                  <a:gd name="T58" fmla="*/ 82 w 188"/>
                  <a:gd name="T59" fmla="*/ 174 h 174"/>
                  <a:gd name="T60" fmla="*/ 96 w 188"/>
                  <a:gd name="T61" fmla="*/ 160 h 174"/>
                  <a:gd name="T62" fmla="*/ 96 w 188"/>
                  <a:gd name="T63" fmla="*/ 138 h 174"/>
                  <a:gd name="T64" fmla="*/ 112 w 188"/>
                  <a:gd name="T65" fmla="*/ 126 h 174"/>
                  <a:gd name="T66" fmla="*/ 138 w 188"/>
                  <a:gd name="T67" fmla="*/ 126 h 174"/>
                  <a:gd name="T68" fmla="*/ 152 w 188"/>
                  <a:gd name="T69" fmla="*/ 126 h 174"/>
                  <a:gd name="T70" fmla="*/ 166 w 188"/>
                  <a:gd name="T71" fmla="*/ 126 h 174"/>
                  <a:gd name="T72" fmla="*/ 174 w 188"/>
                  <a:gd name="T73" fmla="*/ 98 h 174"/>
                  <a:gd name="T74" fmla="*/ 174 w 188"/>
                  <a:gd name="T75" fmla="*/ 84 h 174"/>
                  <a:gd name="T76" fmla="*/ 174 w 188"/>
                  <a:gd name="T77" fmla="*/ 64 h 174"/>
                  <a:gd name="T78" fmla="*/ 180 w 188"/>
                  <a:gd name="T79" fmla="*/ 56 h 174"/>
                  <a:gd name="T80" fmla="*/ 180 w 188"/>
                  <a:gd name="T81" fmla="*/ 42 h 174"/>
                  <a:gd name="T82" fmla="*/ 188 w 188"/>
                  <a:gd name="T83" fmla="*/ 28 h 174"/>
                  <a:gd name="T84" fmla="*/ 174 w 188"/>
                  <a:gd name="T85" fmla="*/ 28 h 174"/>
                  <a:gd name="T86" fmla="*/ 174 w 188"/>
                  <a:gd name="T87" fmla="*/ 2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 h="174">
                    <a:moveTo>
                      <a:pt x="174" y="28"/>
                    </a:moveTo>
                    <a:lnTo>
                      <a:pt x="166" y="28"/>
                    </a:lnTo>
                    <a:lnTo>
                      <a:pt x="166" y="0"/>
                    </a:lnTo>
                    <a:lnTo>
                      <a:pt x="160" y="0"/>
                    </a:lnTo>
                    <a:lnTo>
                      <a:pt x="152" y="0"/>
                    </a:lnTo>
                    <a:lnTo>
                      <a:pt x="146" y="8"/>
                    </a:lnTo>
                    <a:lnTo>
                      <a:pt x="132" y="14"/>
                    </a:lnTo>
                    <a:lnTo>
                      <a:pt x="132" y="8"/>
                    </a:lnTo>
                    <a:lnTo>
                      <a:pt x="132" y="0"/>
                    </a:lnTo>
                    <a:lnTo>
                      <a:pt x="124" y="8"/>
                    </a:lnTo>
                    <a:lnTo>
                      <a:pt x="118" y="8"/>
                    </a:lnTo>
                    <a:lnTo>
                      <a:pt x="112" y="8"/>
                    </a:lnTo>
                    <a:lnTo>
                      <a:pt x="96" y="14"/>
                    </a:lnTo>
                    <a:lnTo>
                      <a:pt x="90" y="22"/>
                    </a:lnTo>
                    <a:lnTo>
                      <a:pt x="90" y="28"/>
                    </a:lnTo>
                    <a:lnTo>
                      <a:pt x="90" y="36"/>
                    </a:lnTo>
                    <a:lnTo>
                      <a:pt x="90" y="42"/>
                    </a:lnTo>
                    <a:lnTo>
                      <a:pt x="90" y="50"/>
                    </a:lnTo>
                    <a:lnTo>
                      <a:pt x="90" y="64"/>
                    </a:lnTo>
                    <a:lnTo>
                      <a:pt x="76" y="76"/>
                    </a:lnTo>
                    <a:lnTo>
                      <a:pt x="70" y="76"/>
                    </a:lnTo>
                    <a:lnTo>
                      <a:pt x="62" y="76"/>
                    </a:lnTo>
                    <a:lnTo>
                      <a:pt x="62" y="64"/>
                    </a:lnTo>
                    <a:lnTo>
                      <a:pt x="70" y="56"/>
                    </a:lnTo>
                    <a:lnTo>
                      <a:pt x="62" y="56"/>
                    </a:lnTo>
                    <a:lnTo>
                      <a:pt x="70" y="50"/>
                    </a:lnTo>
                    <a:lnTo>
                      <a:pt x="76" y="42"/>
                    </a:lnTo>
                    <a:lnTo>
                      <a:pt x="76" y="36"/>
                    </a:lnTo>
                    <a:lnTo>
                      <a:pt x="70" y="28"/>
                    </a:lnTo>
                    <a:lnTo>
                      <a:pt x="56" y="28"/>
                    </a:lnTo>
                    <a:lnTo>
                      <a:pt x="56" y="22"/>
                    </a:lnTo>
                    <a:lnTo>
                      <a:pt x="56" y="28"/>
                    </a:lnTo>
                    <a:lnTo>
                      <a:pt x="48" y="42"/>
                    </a:lnTo>
                    <a:lnTo>
                      <a:pt x="48" y="56"/>
                    </a:lnTo>
                    <a:lnTo>
                      <a:pt x="42" y="64"/>
                    </a:lnTo>
                    <a:lnTo>
                      <a:pt x="42" y="70"/>
                    </a:lnTo>
                    <a:lnTo>
                      <a:pt x="34" y="70"/>
                    </a:lnTo>
                    <a:lnTo>
                      <a:pt x="34" y="76"/>
                    </a:lnTo>
                    <a:lnTo>
                      <a:pt x="28" y="84"/>
                    </a:lnTo>
                    <a:lnTo>
                      <a:pt x="14" y="84"/>
                    </a:lnTo>
                    <a:lnTo>
                      <a:pt x="14" y="98"/>
                    </a:lnTo>
                    <a:lnTo>
                      <a:pt x="20" y="98"/>
                    </a:lnTo>
                    <a:lnTo>
                      <a:pt x="20" y="104"/>
                    </a:lnTo>
                    <a:lnTo>
                      <a:pt x="8" y="112"/>
                    </a:lnTo>
                    <a:lnTo>
                      <a:pt x="8" y="98"/>
                    </a:lnTo>
                    <a:lnTo>
                      <a:pt x="0" y="98"/>
                    </a:lnTo>
                    <a:lnTo>
                      <a:pt x="0" y="104"/>
                    </a:lnTo>
                    <a:lnTo>
                      <a:pt x="0" y="112"/>
                    </a:lnTo>
                    <a:lnTo>
                      <a:pt x="0" y="126"/>
                    </a:lnTo>
                    <a:lnTo>
                      <a:pt x="8" y="126"/>
                    </a:lnTo>
                    <a:lnTo>
                      <a:pt x="14" y="132"/>
                    </a:lnTo>
                    <a:lnTo>
                      <a:pt x="34" y="138"/>
                    </a:lnTo>
                    <a:lnTo>
                      <a:pt x="34" y="146"/>
                    </a:lnTo>
                    <a:lnTo>
                      <a:pt x="42" y="146"/>
                    </a:lnTo>
                    <a:lnTo>
                      <a:pt x="48" y="138"/>
                    </a:lnTo>
                    <a:lnTo>
                      <a:pt x="56" y="138"/>
                    </a:lnTo>
                    <a:lnTo>
                      <a:pt x="62" y="146"/>
                    </a:lnTo>
                    <a:lnTo>
                      <a:pt x="70" y="152"/>
                    </a:lnTo>
                    <a:lnTo>
                      <a:pt x="82" y="168"/>
                    </a:lnTo>
                    <a:lnTo>
                      <a:pt x="82" y="174"/>
                    </a:lnTo>
                    <a:lnTo>
                      <a:pt x="96" y="168"/>
                    </a:lnTo>
                    <a:lnTo>
                      <a:pt x="96" y="160"/>
                    </a:lnTo>
                    <a:lnTo>
                      <a:pt x="96" y="146"/>
                    </a:lnTo>
                    <a:lnTo>
                      <a:pt x="96" y="138"/>
                    </a:lnTo>
                    <a:lnTo>
                      <a:pt x="96" y="132"/>
                    </a:lnTo>
                    <a:lnTo>
                      <a:pt x="112" y="126"/>
                    </a:lnTo>
                    <a:lnTo>
                      <a:pt x="132" y="118"/>
                    </a:lnTo>
                    <a:lnTo>
                      <a:pt x="138" y="126"/>
                    </a:lnTo>
                    <a:lnTo>
                      <a:pt x="146" y="126"/>
                    </a:lnTo>
                    <a:lnTo>
                      <a:pt x="152" y="126"/>
                    </a:lnTo>
                    <a:lnTo>
                      <a:pt x="160" y="126"/>
                    </a:lnTo>
                    <a:lnTo>
                      <a:pt x="166" y="126"/>
                    </a:lnTo>
                    <a:lnTo>
                      <a:pt x="174" y="104"/>
                    </a:lnTo>
                    <a:lnTo>
                      <a:pt x="174" y="98"/>
                    </a:lnTo>
                    <a:lnTo>
                      <a:pt x="166" y="90"/>
                    </a:lnTo>
                    <a:lnTo>
                      <a:pt x="174" y="84"/>
                    </a:lnTo>
                    <a:lnTo>
                      <a:pt x="174" y="76"/>
                    </a:lnTo>
                    <a:lnTo>
                      <a:pt x="174" y="64"/>
                    </a:lnTo>
                    <a:lnTo>
                      <a:pt x="174" y="56"/>
                    </a:lnTo>
                    <a:lnTo>
                      <a:pt x="180" y="56"/>
                    </a:lnTo>
                    <a:lnTo>
                      <a:pt x="180" y="50"/>
                    </a:lnTo>
                    <a:lnTo>
                      <a:pt x="180" y="42"/>
                    </a:lnTo>
                    <a:lnTo>
                      <a:pt x="180" y="36"/>
                    </a:lnTo>
                    <a:lnTo>
                      <a:pt x="188" y="28"/>
                    </a:lnTo>
                    <a:lnTo>
                      <a:pt x="180" y="22"/>
                    </a:lnTo>
                    <a:lnTo>
                      <a:pt x="174" y="28"/>
                    </a:lnTo>
                    <a:lnTo>
                      <a:pt x="174" y="28"/>
                    </a:lnTo>
                    <a:lnTo>
                      <a:pt x="174" y="28"/>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8" name="Freeform 52"/>
              <p:cNvSpPr>
                <a:spLocks/>
              </p:cNvSpPr>
              <p:nvPr/>
            </p:nvSpPr>
            <p:spPr bwMode="gray">
              <a:xfrm>
                <a:off x="4517473" y="2352295"/>
                <a:ext cx="177840" cy="107974"/>
              </a:xfrm>
              <a:custGeom>
                <a:avLst/>
                <a:gdLst>
                  <a:gd name="T0" fmla="*/ 8 w 112"/>
                  <a:gd name="T1" fmla="*/ 68 h 68"/>
                  <a:gd name="T2" fmla="*/ 8 w 112"/>
                  <a:gd name="T3" fmla="*/ 62 h 68"/>
                  <a:gd name="T4" fmla="*/ 8 w 112"/>
                  <a:gd name="T5" fmla="*/ 54 h 68"/>
                  <a:gd name="T6" fmla="*/ 14 w 112"/>
                  <a:gd name="T7" fmla="*/ 48 h 68"/>
                  <a:gd name="T8" fmla="*/ 22 w 112"/>
                  <a:gd name="T9" fmla="*/ 48 h 68"/>
                  <a:gd name="T10" fmla="*/ 28 w 112"/>
                  <a:gd name="T11" fmla="*/ 48 h 68"/>
                  <a:gd name="T12" fmla="*/ 34 w 112"/>
                  <a:gd name="T13" fmla="*/ 48 h 68"/>
                  <a:gd name="T14" fmla="*/ 42 w 112"/>
                  <a:gd name="T15" fmla="*/ 48 h 68"/>
                  <a:gd name="T16" fmla="*/ 50 w 112"/>
                  <a:gd name="T17" fmla="*/ 48 h 68"/>
                  <a:gd name="T18" fmla="*/ 56 w 112"/>
                  <a:gd name="T19" fmla="*/ 42 h 68"/>
                  <a:gd name="T20" fmla="*/ 64 w 112"/>
                  <a:gd name="T21" fmla="*/ 42 h 68"/>
                  <a:gd name="T22" fmla="*/ 76 w 112"/>
                  <a:gd name="T23" fmla="*/ 42 h 68"/>
                  <a:gd name="T24" fmla="*/ 84 w 112"/>
                  <a:gd name="T25" fmla="*/ 48 h 68"/>
                  <a:gd name="T26" fmla="*/ 92 w 112"/>
                  <a:gd name="T27" fmla="*/ 54 h 68"/>
                  <a:gd name="T28" fmla="*/ 92 w 112"/>
                  <a:gd name="T29" fmla="*/ 48 h 68"/>
                  <a:gd name="T30" fmla="*/ 98 w 112"/>
                  <a:gd name="T31" fmla="*/ 42 h 68"/>
                  <a:gd name="T32" fmla="*/ 106 w 112"/>
                  <a:gd name="T33" fmla="*/ 34 h 68"/>
                  <a:gd name="T34" fmla="*/ 106 w 112"/>
                  <a:gd name="T35" fmla="*/ 20 h 68"/>
                  <a:gd name="T36" fmla="*/ 98 w 112"/>
                  <a:gd name="T37" fmla="*/ 20 h 68"/>
                  <a:gd name="T38" fmla="*/ 98 w 112"/>
                  <a:gd name="T39" fmla="*/ 14 h 68"/>
                  <a:gd name="T40" fmla="*/ 106 w 112"/>
                  <a:gd name="T41" fmla="*/ 6 h 68"/>
                  <a:gd name="T42" fmla="*/ 112 w 112"/>
                  <a:gd name="T43" fmla="*/ 0 h 68"/>
                  <a:gd name="T44" fmla="*/ 106 w 112"/>
                  <a:gd name="T45" fmla="*/ 0 h 68"/>
                  <a:gd name="T46" fmla="*/ 98 w 112"/>
                  <a:gd name="T47" fmla="*/ 6 h 68"/>
                  <a:gd name="T48" fmla="*/ 92 w 112"/>
                  <a:gd name="T49" fmla="*/ 6 h 68"/>
                  <a:gd name="T50" fmla="*/ 84 w 112"/>
                  <a:gd name="T51" fmla="*/ 6 h 68"/>
                  <a:gd name="T52" fmla="*/ 76 w 112"/>
                  <a:gd name="T53" fmla="*/ 14 h 68"/>
                  <a:gd name="T54" fmla="*/ 70 w 112"/>
                  <a:gd name="T55" fmla="*/ 14 h 68"/>
                  <a:gd name="T56" fmla="*/ 64 w 112"/>
                  <a:gd name="T57" fmla="*/ 20 h 68"/>
                  <a:gd name="T58" fmla="*/ 56 w 112"/>
                  <a:gd name="T59" fmla="*/ 28 h 68"/>
                  <a:gd name="T60" fmla="*/ 56 w 112"/>
                  <a:gd name="T61" fmla="*/ 34 h 68"/>
                  <a:gd name="T62" fmla="*/ 50 w 112"/>
                  <a:gd name="T63" fmla="*/ 42 h 68"/>
                  <a:gd name="T64" fmla="*/ 42 w 112"/>
                  <a:gd name="T65" fmla="*/ 42 h 68"/>
                  <a:gd name="T66" fmla="*/ 34 w 112"/>
                  <a:gd name="T67" fmla="*/ 42 h 68"/>
                  <a:gd name="T68" fmla="*/ 14 w 112"/>
                  <a:gd name="T69" fmla="*/ 42 h 68"/>
                  <a:gd name="T70" fmla="*/ 8 w 112"/>
                  <a:gd name="T71" fmla="*/ 42 h 68"/>
                  <a:gd name="T72" fmla="*/ 0 w 112"/>
                  <a:gd name="T73" fmla="*/ 48 h 68"/>
                  <a:gd name="T74" fmla="*/ 0 w 112"/>
                  <a:gd name="T75" fmla="*/ 54 h 68"/>
                  <a:gd name="T76" fmla="*/ 8 w 112"/>
                  <a:gd name="T77" fmla="*/ 68 h 68"/>
                  <a:gd name="T78" fmla="*/ 8 w 112"/>
                  <a:gd name="T79" fmla="*/ 68 h 68"/>
                  <a:gd name="T80" fmla="*/ 8 w 112"/>
                  <a:gd name="T8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68">
                    <a:moveTo>
                      <a:pt x="8" y="68"/>
                    </a:moveTo>
                    <a:lnTo>
                      <a:pt x="8" y="62"/>
                    </a:lnTo>
                    <a:lnTo>
                      <a:pt x="8" y="54"/>
                    </a:lnTo>
                    <a:lnTo>
                      <a:pt x="14" y="48"/>
                    </a:lnTo>
                    <a:lnTo>
                      <a:pt x="22" y="48"/>
                    </a:lnTo>
                    <a:lnTo>
                      <a:pt x="28" y="48"/>
                    </a:lnTo>
                    <a:lnTo>
                      <a:pt x="34" y="48"/>
                    </a:lnTo>
                    <a:lnTo>
                      <a:pt x="42" y="48"/>
                    </a:lnTo>
                    <a:lnTo>
                      <a:pt x="50" y="48"/>
                    </a:lnTo>
                    <a:lnTo>
                      <a:pt x="56" y="42"/>
                    </a:lnTo>
                    <a:lnTo>
                      <a:pt x="64" y="42"/>
                    </a:lnTo>
                    <a:lnTo>
                      <a:pt x="76" y="42"/>
                    </a:lnTo>
                    <a:lnTo>
                      <a:pt x="84" y="48"/>
                    </a:lnTo>
                    <a:lnTo>
                      <a:pt x="92" y="54"/>
                    </a:lnTo>
                    <a:lnTo>
                      <a:pt x="92" y="48"/>
                    </a:lnTo>
                    <a:lnTo>
                      <a:pt x="98" y="42"/>
                    </a:lnTo>
                    <a:lnTo>
                      <a:pt x="106" y="34"/>
                    </a:lnTo>
                    <a:lnTo>
                      <a:pt x="106" y="20"/>
                    </a:lnTo>
                    <a:lnTo>
                      <a:pt x="98" y="20"/>
                    </a:lnTo>
                    <a:lnTo>
                      <a:pt x="98" y="14"/>
                    </a:lnTo>
                    <a:lnTo>
                      <a:pt x="106" y="6"/>
                    </a:lnTo>
                    <a:lnTo>
                      <a:pt x="112" y="0"/>
                    </a:lnTo>
                    <a:lnTo>
                      <a:pt x="106" y="0"/>
                    </a:lnTo>
                    <a:lnTo>
                      <a:pt x="98" y="6"/>
                    </a:lnTo>
                    <a:lnTo>
                      <a:pt x="92" y="6"/>
                    </a:lnTo>
                    <a:lnTo>
                      <a:pt x="84" y="6"/>
                    </a:lnTo>
                    <a:lnTo>
                      <a:pt x="76" y="14"/>
                    </a:lnTo>
                    <a:lnTo>
                      <a:pt x="70" y="14"/>
                    </a:lnTo>
                    <a:lnTo>
                      <a:pt x="64" y="20"/>
                    </a:lnTo>
                    <a:lnTo>
                      <a:pt x="56" y="28"/>
                    </a:lnTo>
                    <a:lnTo>
                      <a:pt x="56" y="34"/>
                    </a:lnTo>
                    <a:lnTo>
                      <a:pt x="50" y="42"/>
                    </a:lnTo>
                    <a:lnTo>
                      <a:pt x="42" y="42"/>
                    </a:lnTo>
                    <a:lnTo>
                      <a:pt x="34" y="42"/>
                    </a:lnTo>
                    <a:lnTo>
                      <a:pt x="14" y="42"/>
                    </a:lnTo>
                    <a:lnTo>
                      <a:pt x="8" y="42"/>
                    </a:lnTo>
                    <a:lnTo>
                      <a:pt x="0" y="48"/>
                    </a:lnTo>
                    <a:lnTo>
                      <a:pt x="0" y="54"/>
                    </a:lnTo>
                    <a:lnTo>
                      <a:pt x="8" y="68"/>
                    </a:lnTo>
                    <a:lnTo>
                      <a:pt x="8" y="68"/>
                    </a:lnTo>
                    <a:lnTo>
                      <a:pt x="8" y="68"/>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9" name="Freeform 53"/>
              <p:cNvSpPr>
                <a:spLocks/>
              </p:cNvSpPr>
              <p:nvPr/>
            </p:nvSpPr>
            <p:spPr bwMode="gray">
              <a:xfrm>
                <a:off x="4596866" y="2615879"/>
                <a:ext cx="53987" cy="53987"/>
              </a:xfrm>
              <a:custGeom>
                <a:avLst/>
                <a:gdLst>
                  <a:gd name="T0" fmla="*/ 34 w 34"/>
                  <a:gd name="T1" fmla="*/ 34 h 34"/>
                  <a:gd name="T2" fmla="*/ 26 w 34"/>
                  <a:gd name="T3" fmla="*/ 34 h 34"/>
                  <a:gd name="T4" fmla="*/ 14 w 34"/>
                  <a:gd name="T5" fmla="*/ 34 h 34"/>
                  <a:gd name="T6" fmla="*/ 14 w 34"/>
                  <a:gd name="T7" fmla="*/ 28 h 34"/>
                  <a:gd name="T8" fmla="*/ 0 w 34"/>
                  <a:gd name="T9" fmla="*/ 28 h 34"/>
                  <a:gd name="T10" fmla="*/ 0 w 34"/>
                  <a:gd name="T11" fmla="*/ 14 h 34"/>
                  <a:gd name="T12" fmla="*/ 0 w 34"/>
                  <a:gd name="T13" fmla="*/ 6 h 34"/>
                  <a:gd name="T14" fmla="*/ 6 w 34"/>
                  <a:gd name="T15" fmla="*/ 6 h 34"/>
                  <a:gd name="T16" fmla="*/ 6 w 34"/>
                  <a:gd name="T17" fmla="*/ 0 h 34"/>
                  <a:gd name="T18" fmla="*/ 14 w 34"/>
                  <a:gd name="T19" fmla="*/ 6 h 34"/>
                  <a:gd name="T20" fmla="*/ 20 w 34"/>
                  <a:gd name="T21" fmla="*/ 0 h 34"/>
                  <a:gd name="T22" fmla="*/ 26 w 34"/>
                  <a:gd name="T23" fmla="*/ 6 h 34"/>
                  <a:gd name="T24" fmla="*/ 34 w 34"/>
                  <a:gd name="T25" fmla="*/ 6 h 34"/>
                  <a:gd name="T26" fmla="*/ 34 w 34"/>
                  <a:gd name="T27" fmla="*/ 14 h 34"/>
                  <a:gd name="T28" fmla="*/ 34 w 34"/>
                  <a:gd name="T29" fmla="*/ 20 h 34"/>
                  <a:gd name="T30" fmla="*/ 34 w 34"/>
                  <a:gd name="T31" fmla="*/ 28 h 34"/>
                  <a:gd name="T32" fmla="*/ 34 w 34"/>
                  <a:gd name="T33" fmla="*/ 34 h 34"/>
                  <a:gd name="T34" fmla="*/ 26 w 34"/>
                  <a:gd name="T35" fmla="*/ 34 h 34"/>
                  <a:gd name="T36" fmla="*/ 34 w 34"/>
                  <a:gd name="T37" fmla="*/ 34 h 34"/>
                  <a:gd name="T38" fmla="*/ 34 w 34"/>
                  <a:gd name="T39" fmla="*/ 34 h 34"/>
                  <a:gd name="T40" fmla="*/ 34 w 34"/>
                  <a:gd name="T4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34">
                    <a:moveTo>
                      <a:pt x="34" y="34"/>
                    </a:moveTo>
                    <a:lnTo>
                      <a:pt x="26" y="34"/>
                    </a:lnTo>
                    <a:lnTo>
                      <a:pt x="14" y="34"/>
                    </a:lnTo>
                    <a:lnTo>
                      <a:pt x="14" y="28"/>
                    </a:lnTo>
                    <a:lnTo>
                      <a:pt x="0" y="28"/>
                    </a:lnTo>
                    <a:lnTo>
                      <a:pt x="0" y="14"/>
                    </a:lnTo>
                    <a:lnTo>
                      <a:pt x="0" y="6"/>
                    </a:lnTo>
                    <a:lnTo>
                      <a:pt x="6" y="6"/>
                    </a:lnTo>
                    <a:lnTo>
                      <a:pt x="6" y="0"/>
                    </a:lnTo>
                    <a:lnTo>
                      <a:pt x="14" y="6"/>
                    </a:lnTo>
                    <a:lnTo>
                      <a:pt x="20" y="0"/>
                    </a:lnTo>
                    <a:lnTo>
                      <a:pt x="26" y="6"/>
                    </a:lnTo>
                    <a:lnTo>
                      <a:pt x="34" y="6"/>
                    </a:lnTo>
                    <a:lnTo>
                      <a:pt x="34" y="14"/>
                    </a:lnTo>
                    <a:lnTo>
                      <a:pt x="34" y="20"/>
                    </a:lnTo>
                    <a:lnTo>
                      <a:pt x="34" y="28"/>
                    </a:lnTo>
                    <a:lnTo>
                      <a:pt x="34" y="34"/>
                    </a:lnTo>
                    <a:lnTo>
                      <a:pt x="26" y="34"/>
                    </a:lnTo>
                    <a:lnTo>
                      <a:pt x="34" y="34"/>
                    </a:lnTo>
                    <a:lnTo>
                      <a:pt x="34" y="34"/>
                    </a:lnTo>
                    <a:lnTo>
                      <a:pt x="34" y="34"/>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0" name="Freeform 54"/>
              <p:cNvSpPr>
                <a:spLocks/>
              </p:cNvSpPr>
              <p:nvPr/>
            </p:nvSpPr>
            <p:spPr bwMode="gray">
              <a:xfrm>
                <a:off x="4666731" y="2558716"/>
                <a:ext cx="111150" cy="130204"/>
              </a:xfrm>
              <a:custGeom>
                <a:avLst/>
                <a:gdLst>
                  <a:gd name="T0" fmla="*/ 34 w 70"/>
                  <a:gd name="T1" fmla="*/ 82 h 82"/>
                  <a:gd name="T2" fmla="*/ 20 w 70"/>
                  <a:gd name="T3" fmla="*/ 76 h 82"/>
                  <a:gd name="T4" fmla="*/ 28 w 70"/>
                  <a:gd name="T5" fmla="*/ 76 h 82"/>
                  <a:gd name="T6" fmla="*/ 28 w 70"/>
                  <a:gd name="T7" fmla="*/ 68 h 82"/>
                  <a:gd name="T8" fmla="*/ 20 w 70"/>
                  <a:gd name="T9" fmla="*/ 68 h 82"/>
                  <a:gd name="T10" fmla="*/ 6 w 70"/>
                  <a:gd name="T11" fmla="*/ 68 h 82"/>
                  <a:gd name="T12" fmla="*/ 0 w 70"/>
                  <a:gd name="T13" fmla="*/ 62 h 82"/>
                  <a:gd name="T14" fmla="*/ 0 w 70"/>
                  <a:gd name="T15" fmla="*/ 56 h 82"/>
                  <a:gd name="T16" fmla="*/ 6 w 70"/>
                  <a:gd name="T17" fmla="*/ 48 h 82"/>
                  <a:gd name="T18" fmla="*/ 0 w 70"/>
                  <a:gd name="T19" fmla="*/ 42 h 82"/>
                  <a:gd name="T20" fmla="*/ 0 w 70"/>
                  <a:gd name="T21" fmla="*/ 34 h 82"/>
                  <a:gd name="T22" fmla="*/ 6 w 70"/>
                  <a:gd name="T23" fmla="*/ 28 h 82"/>
                  <a:gd name="T24" fmla="*/ 14 w 70"/>
                  <a:gd name="T25" fmla="*/ 28 h 82"/>
                  <a:gd name="T26" fmla="*/ 20 w 70"/>
                  <a:gd name="T27" fmla="*/ 22 h 82"/>
                  <a:gd name="T28" fmla="*/ 20 w 70"/>
                  <a:gd name="T29" fmla="*/ 14 h 82"/>
                  <a:gd name="T30" fmla="*/ 28 w 70"/>
                  <a:gd name="T31" fmla="*/ 14 h 82"/>
                  <a:gd name="T32" fmla="*/ 28 w 70"/>
                  <a:gd name="T33" fmla="*/ 22 h 82"/>
                  <a:gd name="T34" fmla="*/ 20 w 70"/>
                  <a:gd name="T35" fmla="*/ 28 h 82"/>
                  <a:gd name="T36" fmla="*/ 28 w 70"/>
                  <a:gd name="T37" fmla="*/ 34 h 82"/>
                  <a:gd name="T38" fmla="*/ 34 w 70"/>
                  <a:gd name="T39" fmla="*/ 34 h 82"/>
                  <a:gd name="T40" fmla="*/ 34 w 70"/>
                  <a:gd name="T41" fmla="*/ 28 h 82"/>
                  <a:gd name="T42" fmla="*/ 34 w 70"/>
                  <a:gd name="T43" fmla="*/ 22 h 82"/>
                  <a:gd name="T44" fmla="*/ 42 w 70"/>
                  <a:gd name="T45" fmla="*/ 22 h 82"/>
                  <a:gd name="T46" fmla="*/ 48 w 70"/>
                  <a:gd name="T47" fmla="*/ 22 h 82"/>
                  <a:gd name="T48" fmla="*/ 56 w 70"/>
                  <a:gd name="T49" fmla="*/ 14 h 82"/>
                  <a:gd name="T50" fmla="*/ 48 w 70"/>
                  <a:gd name="T51" fmla="*/ 8 h 82"/>
                  <a:gd name="T52" fmla="*/ 42 w 70"/>
                  <a:gd name="T53" fmla="*/ 8 h 82"/>
                  <a:gd name="T54" fmla="*/ 48 w 70"/>
                  <a:gd name="T55" fmla="*/ 0 h 82"/>
                  <a:gd name="T56" fmla="*/ 56 w 70"/>
                  <a:gd name="T57" fmla="*/ 0 h 82"/>
                  <a:gd name="T58" fmla="*/ 70 w 70"/>
                  <a:gd name="T59" fmla="*/ 0 h 82"/>
                  <a:gd name="T60" fmla="*/ 62 w 70"/>
                  <a:gd name="T61" fmla="*/ 8 h 82"/>
                  <a:gd name="T62" fmla="*/ 70 w 70"/>
                  <a:gd name="T63" fmla="*/ 8 h 82"/>
                  <a:gd name="T64" fmla="*/ 62 w 70"/>
                  <a:gd name="T65" fmla="*/ 14 h 82"/>
                  <a:gd name="T66" fmla="*/ 70 w 70"/>
                  <a:gd name="T67" fmla="*/ 28 h 82"/>
                  <a:gd name="T68" fmla="*/ 62 w 70"/>
                  <a:gd name="T69" fmla="*/ 34 h 82"/>
                  <a:gd name="T70" fmla="*/ 48 w 70"/>
                  <a:gd name="T71" fmla="*/ 48 h 82"/>
                  <a:gd name="T72" fmla="*/ 56 w 70"/>
                  <a:gd name="T73" fmla="*/ 56 h 82"/>
                  <a:gd name="T74" fmla="*/ 48 w 70"/>
                  <a:gd name="T75" fmla="*/ 68 h 82"/>
                  <a:gd name="T76" fmla="*/ 42 w 70"/>
                  <a:gd name="T77" fmla="*/ 68 h 82"/>
                  <a:gd name="T78" fmla="*/ 34 w 70"/>
                  <a:gd name="T79" fmla="*/ 76 h 82"/>
                  <a:gd name="T80" fmla="*/ 42 w 70"/>
                  <a:gd name="T81" fmla="*/ 82 h 82"/>
                  <a:gd name="T82" fmla="*/ 34 w 70"/>
                  <a:gd name="T83" fmla="*/ 82 h 82"/>
                  <a:gd name="T84" fmla="*/ 34 w 70"/>
                  <a:gd name="T85" fmla="*/ 82 h 82"/>
                  <a:gd name="T86" fmla="*/ 34 w 70"/>
                  <a:gd name="T8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 h="82">
                    <a:moveTo>
                      <a:pt x="34" y="82"/>
                    </a:moveTo>
                    <a:lnTo>
                      <a:pt x="20" y="76"/>
                    </a:lnTo>
                    <a:lnTo>
                      <a:pt x="28" y="76"/>
                    </a:lnTo>
                    <a:lnTo>
                      <a:pt x="28" y="68"/>
                    </a:lnTo>
                    <a:lnTo>
                      <a:pt x="20" y="68"/>
                    </a:lnTo>
                    <a:lnTo>
                      <a:pt x="6" y="68"/>
                    </a:lnTo>
                    <a:lnTo>
                      <a:pt x="0" y="62"/>
                    </a:lnTo>
                    <a:lnTo>
                      <a:pt x="0" y="56"/>
                    </a:lnTo>
                    <a:lnTo>
                      <a:pt x="6" y="48"/>
                    </a:lnTo>
                    <a:lnTo>
                      <a:pt x="0" y="42"/>
                    </a:lnTo>
                    <a:lnTo>
                      <a:pt x="0" y="34"/>
                    </a:lnTo>
                    <a:lnTo>
                      <a:pt x="6" y="28"/>
                    </a:lnTo>
                    <a:lnTo>
                      <a:pt x="14" y="28"/>
                    </a:lnTo>
                    <a:lnTo>
                      <a:pt x="20" y="22"/>
                    </a:lnTo>
                    <a:lnTo>
                      <a:pt x="20" y="14"/>
                    </a:lnTo>
                    <a:lnTo>
                      <a:pt x="28" y="14"/>
                    </a:lnTo>
                    <a:lnTo>
                      <a:pt x="28" y="22"/>
                    </a:lnTo>
                    <a:lnTo>
                      <a:pt x="20" y="28"/>
                    </a:lnTo>
                    <a:lnTo>
                      <a:pt x="28" y="34"/>
                    </a:lnTo>
                    <a:lnTo>
                      <a:pt x="34" y="34"/>
                    </a:lnTo>
                    <a:lnTo>
                      <a:pt x="34" y="28"/>
                    </a:lnTo>
                    <a:lnTo>
                      <a:pt x="34" y="22"/>
                    </a:lnTo>
                    <a:lnTo>
                      <a:pt x="42" y="22"/>
                    </a:lnTo>
                    <a:lnTo>
                      <a:pt x="48" y="22"/>
                    </a:lnTo>
                    <a:lnTo>
                      <a:pt x="56" y="14"/>
                    </a:lnTo>
                    <a:lnTo>
                      <a:pt x="48" y="8"/>
                    </a:lnTo>
                    <a:lnTo>
                      <a:pt x="42" y="8"/>
                    </a:lnTo>
                    <a:lnTo>
                      <a:pt x="48" y="0"/>
                    </a:lnTo>
                    <a:lnTo>
                      <a:pt x="56" y="0"/>
                    </a:lnTo>
                    <a:lnTo>
                      <a:pt x="70" y="0"/>
                    </a:lnTo>
                    <a:lnTo>
                      <a:pt x="62" y="8"/>
                    </a:lnTo>
                    <a:lnTo>
                      <a:pt x="70" y="8"/>
                    </a:lnTo>
                    <a:lnTo>
                      <a:pt x="62" y="14"/>
                    </a:lnTo>
                    <a:lnTo>
                      <a:pt x="70" y="28"/>
                    </a:lnTo>
                    <a:lnTo>
                      <a:pt x="62" y="34"/>
                    </a:lnTo>
                    <a:lnTo>
                      <a:pt x="48" y="48"/>
                    </a:lnTo>
                    <a:lnTo>
                      <a:pt x="56" y="56"/>
                    </a:lnTo>
                    <a:lnTo>
                      <a:pt x="48" y="68"/>
                    </a:lnTo>
                    <a:lnTo>
                      <a:pt x="42" y="68"/>
                    </a:lnTo>
                    <a:lnTo>
                      <a:pt x="34" y="76"/>
                    </a:lnTo>
                    <a:lnTo>
                      <a:pt x="42" y="82"/>
                    </a:lnTo>
                    <a:lnTo>
                      <a:pt x="34" y="82"/>
                    </a:lnTo>
                    <a:lnTo>
                      <a:pt x="34" y="82"/>
                    </a:lnTo>
                    <a:lnTo>
                      <a:pt x="34" y="82"/>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1" name="Freeform 55"/>
              <p:cNvSpPr>
                <a:spLocks/>
              </p:cNvSpPr>
              <p:nvPr/>
            </p:nvSpPr>
            <p:spPr bwMode="gray">
              <a:xfrm>
                <a:off x="4654029" y="2701623"/>
                <a:ext cx="44460" cy="31757"/>
              </a:xfrm>
              <a:custGeom>
                <a:avLst/>
                <a:gdLst>
                  <a:gd name="T0" fmla="*/ 22 w 28"/>
                  <a:gd name="T1" fmla="*/ 20 h 20"/>
                  <a:gd name="T2" fmla="*/ 14 w 28"/>
                  <a:gd name="T3" fmla="*/ 20 h 20"/>
                  <a:gd name="T4" fmla="*/ 8 w 28"/>
                  <a:gd name="T5" fmla="*/ 14 h 20"/>
                  <a:gd name="T6" fmla="*/ 0 w 28"/>
                  <a:gd name="T7" fmla="*/ 8 h 20"/>
                  <a:gd name="T8" fmla="*/ 0 w 28"/>
                  <a:gd name="T9" fmla="*/ 0 h 20"/>
                  <a:gd name="T10" fmla="*/ 8 w 28"/>
                  <a:gd name="T11" fmla="*/ 0 h 20"/>
                  <a:gd name="T12" fmla="*/ 14 w 28"/>
                  <a:gd name="T13" fmla="*/ 0 h 20"/>
                  <a:gd name="T14" fmla="*/ 14 w 28"/>
                  <a:gd name="T15" fmla="*/ 8 h 20"/>
                  <a:gd name="T16" fmla="*/ 22 w 28"/>
                  <a:gd name="T17" fmla="*/ 8 h 20"/>
                  <a:gd name="T18" fmla="*/ 28 w 28"/>
                  <a:gd name="T19" fmla="*/ 14 h 20"/>
                  <a:gd name="T20" fmla="*/ 28 w 28"/>
                  <a:gd name="T21" fmla="*/ 20 h 20"/>
                  <a:gd name="T22" fmla="*/ 22 w 28"/>
                  <a:gd name="T23" fmla="*/ 20 h 20"/>
                  <a:gd name="T24" fmla="*/ 22 w 28"/>
                  <a:gd name="T25" fmla="*/ 20 h 20"/>
                  <a:gd name="T26" fmla="*/ 22 w 28"/>
                  <a:gd name="T2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20">
                    <a:moveTo>
                      <a:pt x="22" y="20"/>
                    </a:moveTo>
                    <a:lnTo>
                      <a:pt x="14" y="20"/>
                    </a:lnTo>
                    <a:lnTo>
                      <a:pt x="8" y="14"/>
                    </a:lnTo>
                    <a:lnTo>
                      <a:pt x="0" y="8"/>
                    </a:lnTo>
                    <a:lnTo>
                      <a:pt x="0" y="0"/>
                    </a:lnTo>
                    <a:lnTo>
                      <a:pt x="8" y="0"/>
                    </a:lnTo>
                    <a:lnTo>
                      <a:pt x="14" y="0"/>
                    </a:lnTo>
                    <a:lnTo>
                      <a:pt x="14" y="8"/>
                    </a:lnTo>
                    <a:lnTo>
                      <a:pt x="22" y="8"/>
                    </a:lnTo>
                    <a:lnTo>
                      <a:pt x="28" y="14"/>
                    </a:lnTo>
                    <a:lnTo>
                      <a:pt x="28" y="20"/>
                    </a:lnTo>
                    <a:lnTo>
                      <a:pt x="22" y="20"/>
                    </a:lnTo>
                    <a:lnTo>
                      <a:pt x="22" y="20"/>
                    </a:lnTo>
                    <a:lnTo>
                      <a:pt x="22" y="20"/>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2" name="Freeform 56"/>
              <p:cNvSpPr>
                <a:spLocks/>
              </p:cNvSpPr>
              <p:nvPr/>
            </p:nvSpPr>
            <p:spPr bwMode="gray">
              <a:xfrm>
                <a:off x="4711192" y="2701623"/>
                <a:ext cx="22230" cy="31757"/>
              </a:xfrm>
              <a:custGeom>
                <a:avLst/>
                <a:gdLst>
                  <a:gd name="T0" fmla="*/ 0 w 14"/>
                  <a:gd name="T1" fmla="*/ 14 h 20"/>
                  <a:gd name="T2" fmla="*/ 0 w 14"/>
                  <a:gd name="T3" fmla="*/ 8 h 20"/>
                  <a:gd name="T4" fmla="*/ 0 w 14"/>
                  <a:gd name="T5" fmla="*/ 0 h 20"/>
                  <a:gd name="T6" fmla="*/ 8 w 14"/>
                  <a:gd name="T7" fmla="*/ 8 h 20"/>
                  <a:gd name="T8" fmla="*/ 14 w 14"/>
                  <a:gd name="T9" fmla="*/ 8 h 20"/>
                  <a:gd name="T10" fmla="*/ 14 w 14"/>
                  <a:gd name="T11" fmla="*/ 14 h 20"/>
                  <a:gd name="T12" fmla="*/ 8 w 14"/>
                  <a:gd name="T13" fmla="*/ 14 h 20"/>
                  <a:gd name="T14" fmla="*/ 8 w 14"/>
                  <a:gd name="T15" fmla="*/ 20 h 20"/>
                  <a:gd name="T16" fmla="*/ 0 w 14"/>
                  <a:gd name="T17" fmla="*/ 14 h 20"/>
                  <a:gd name="T18" fmla="*/ 0 w 14"/>
                  <a:gd name="T19" fmla="*/ 14 h 20"/>
                  <a:gd name="T20" fmla="*/ 0 w 14"/>
                  <a:gd name="T21"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20">
                    <a:moveTo>
                      <a:pt x="0" y="14"/>
                    </a:moveTo>
                    <a:lnTo>
                      <a:pt x="0" y="8"/>
                    </a:lnTo>
                    <a:lnTo>
                      <a:pt x="0" y="0"/>
                    </a:lnTo>
                    <a:lnTo>
                      <a:pt x="8" y="8"/>
                    </a:lnTo>
                    <a:lnTo>
                      <a:pt x="14" y="8"/>
                    </a:lnTo>
                    <a:lnTo>
                      <a:pt x="14" y="14"/>
                    </a:lnTo>
                    <a:lnTo>
                      <a:pt x="8" y="14"/>
                    </a:lnTo>
                    <a:lnTo>
                      <a:pt x="8" y="20"/>
                    </a:lnTo>
                    <a:lnTo>
                      <a:pt x="0" y="14"/>
                    </a:lnTo>
                    <a:lnTo>
                      <a:pt x="0" y="14"/>
                    </a:lnTo>
                    <a:lnTo>
                      <a:pt x="0" y="14"/>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3" name="Freeform 57"/>
              <p:cNvSpPr>
                <a:spLocks/>
              </p:cNvSpPr>
              <p:nvPr>
                <p:custDataLst>
                  <p:tags r:id="rId142"/>
                </p:custDataLst>
              </p:nvPr>
            </p:nvSpPr>
            <p:spPr bwMode="gray">
              <a:xfrm>
                <a:off x="4973186" y="3460617"/>
                <a:ext cx="555748" cy="349328"/>
              </a:xfrm>
              <a:custGeom>
                <a:avLst/>
                <a:gdLst>
                  <a:gd name="T0" fmla="*/ 56 w 350"/>
                  <a:gd name="T1" fmla="*/ 48 h 220"/>
                  <a:gd name="T2" fmla="*/ 70 w 350"/>
                  <a:gd name="T3" fmla="*/ 54 h 220"/>
                  <a:gd name="T4" fmla="*/ 84 w 350"/>
                  <a:gd name="T5" fmla="*/ 68 h 220"/>
                  <a:gd name="T6" fmla="*/ 104 w 350"/>
                  <a:gd name="T7" fmla="*/ 68 h 220"/>
                  <a:gd name="T8" fmla="*/ 114 w 350"/>
                  <a:gd name="T9" fmla="*/ 68 h 220"/>
                  <a:gd name="T10" fmla="*/ 138 w 350"/>
                  <a:gd name="T11" fmla="*/ 62 h 220"/>
                  <a:gd name="T12" fmla="*/ 138 w 350"/>
                  <a:gd name="T13" fmla="*/ 54 h 220"/>
                  <a:gd name="T14" fmla="*/ 150 w 350"/>
                  <a:gd name="T15" fmla="*/ 46 h 220"/>
                  <a:gd name="T16" fmla="*/ 166 w 350"/>
                  <a:gd name="T17" fmla="*/ 48 h 220"/>
                  <a:gd name="T18" fmla="*/ 188 w 350"/>
                  <a:gd name="T19" fmla="*/ 40 h 220"/>
                  <a:gd name="T20" fmla="*/ 208 w 350"/>
                  <a:gd name="T21" fmla="*/ 26 h 220"/>
                  <a:gd name="T22" fmla="*/ 222 w 350"/>
                  <a:gd name="T23" fmla="*/ 12 h 220"/>
                  <a:gd name="T24" fmla="*/ 230 w 350"/>
                  <a:gd name="T25" fmla="*/ 0 h 220"/>
                  <a:gd name="T26" fmla="*/ 242 w 350"/>
                  <a:gd name="T27" fmla="*/ 0 h 220"/>
                  <a:gd name="T28" fmla="*/ 264 w 350"/>
                  <a:gd name="T29" fmla="*/ 0 h 220"/>
                  <a:gd name="T30" fmla="*/ 278 w 350"/>
                  <a:gd name="T31" fmla="*/ 0 h 220"/>
                  <a:gd name="T32" fmla="*/ 284 w 350"/>
                  <a:gd name="T33" fmla="*/ 6 h 220"/>
                  <a:gd name="T34" fmla="*/ 304 w 350"/>
                  <a:gd name="T35" fmla="*/ 6 h 220"/>
                  <a:gd name="T36" fmla="*/ 322 w 350"/>
                  <a:gd name="T37" fmla="*/ 20 h 220"/>
                  <a:gd name="T38" fmla="*/ 334 w 350"/>
                  <a:gd name="T39" fmla="*/ 20 h 220"/>
                  <a:gd name="T40" fmla="*/ 350 w 350"/>
                  <a:gd name="T41" fmla="*/ 32 h 220"/>
                  <a:gd name="T42" fmla="*/ 348 w 350"/>
                  <a:gd name="T43" fmla="*/ 52 h 220"/>
                  <a:gd name="T44" fmla="*/ 328 w 350"/>
                  <a:gd name="T45" fmla="*/ 68 h 220"/>
                  <a:gd name="T46" fmla="*/ 314 w 350"/>
                  <a:gd name="T47" fmla="*/ 74 h 220"/>
                  <a:gd name="T48" fmla="*/ 306 w 350"/>
                  <a:gd name="T49" fmla="*/ 98 h 220"/>
                  <a:gd name="T50" fmla="*/ 300 w 350"/>
                  <a:gd name="T51" fmla="*/ 112 h 220"/>
                  <a:gd name="T52" fmla="*/ 288 w 350"/>
                  <a:gd name="T53" fmla="*/ 138 h 220"/>
                  <a:gd name="T54" fmla="*/ 274 w 350"/>
                  <a:gd name="T55" fmla="*/ 148 h 220"/>
                  <a:gd name="T56" fmla="*/ 262 w 350"/>
                  <a:gd name="T57" fmla="*/ 164 h 220"/>
                  <a:gd name="T58" fmla="*/ 252 w 350"/>
                  <a:gd name="T59" fmla="*/ 174 h 220"/>
                  <a:gd name="T60" fmla="*/ 244 w 350"/>
                  <a:gd name="T61" fmla="*/ 186 h 220"/>
                  <a:gd name="T62" fmla="*/ 214 w 350"/>
                  <a:gd name="T63" fmla="*/ 178 h 220"/>
                  <a:gd name="T64" fmla="*/ 208 w 350"/>
                  <a:gd name="T65" fmla="*/ 186 h 220"/>
                  <a:gd name="T66" fmla="*/ 188 w 350"/>
                  <a:gd name="T67" fmla="*/ 192 h 220"/>
                  <a:gd name="T68" fmla="*/ 166 w 350"/>
                  <a:gd name="T69" fmla="*/ 192 h 220"/>
                  <a:gd name="T70" fmla="*/ 146 w 350"/>
                  <a:gd name="T71" fmla="*/ 200 h 220"/>
                  <a:gd name="T72" fmla="*/ 132 w 350"/>
                  <a:gd name="T73" fmla="*/ 206 h 220"/>
                  <a:gd name="T74" fmla="*/ 118 w 350"/>
                  <a:gd name="T75" fmla="*/ 220 h 220"/>
                  <a:gd name="T76" fmla="*/ 96 w 350"/>
                  <a:gd name="T77" fmla="*/ 214 h 220"/>
                  <a:gd name="T78" fmla="*/ 84 w 350"/>
                  <a:gd name="T79" fmla="*/ 214 h 220"/>
                  <a:gd name="T80" fmla="*/ 70 w 350"/>
                  <a:gd name="T81" fmla="*/ 206 h 220"/>
                  <a:gd name="T82" fmla="*/ 62 w 350"/>
                  <a:gd name="T83" fmla="*/ 200 h 220"/>
                  <a:gd name="T84" fmla="*/ 48 w 350"/>
                  <a:gd name="T85" fmla="*/ 192 h 220"/>
                  <a:gd name="T86" fmla="*/ 34 w 350"/>
                  <a:gd name="T87" fmla="*/ 178 h 220"/>
                  <a:gd name="T88" fmla="*/ 28 w 350"/>
                  <a:gd name="T89" fmla="*/ 164 h 220"/>
                  <a:gd name="T90" fmla="*/ 20 w 350"/>
                  <a:gd name="T91" fmla="*/ 152 h 220"/>
                  <a:gd name="T92" fmla="*/ 14 w 350"/>
                  <a:gd name="T93" fmla="*/ 138 h 220"/>
                  <a:gd name="T94" fmla="*/ 0 w 350"/>
                  <a:gd name="T95" fmla="*/ 144 h 220"/>
                  <a:gd name="T96" fmla="*/ 8 w 350"/>
                  <a:gd name="T97" fmla="*/ 124 h 220"/>
                  <a:gd name="T98" fmla="*/ 20 w 350"/>
                  <a:gd name="T99" fmla="*/ 110 h 220"/>
                  <a:gd name="T100" fmla="*/ 28 w 350"/>
                  <a:gd name="T101" fmla="*/ 96 h 220"/>
                  <a:gd name="T102" fmla="*/ 28 w 350"/>
                  <a:gd name="T103" fmla="*/ 82 h 220"/>
                  <a:gd name="T104" fmla="*/ 20 w 350"/>
                  <a:gd name="T105" fmla="*/ 68 h 220"/>
                  <a:gd name="T106" fmla="*/ 32 w 350"/>
                  <a:gd name="T107" fmla="*/ 66 h 220"/>
                  <a:gd name="T108" fmla="*/ 42 w 350"/>
                  <a:gd name="T109" fmla="*/ 72 h 220"/>
                  <a:gd name="T110" fmla="*/ 48 w 350"/>
                  <a:gd name="T111" fmla="*/ 62 h 220"/>
                  <a:gd name="T112" fmla="*/ 40 w 350"/>
                  <a:gd name="T113" fmla="*/ 36 h 220"/>
                  <a:gd name="T114" fmla="*/ 40 w 350"/>
                  <a:gd name="T115" fmla="*/ 3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0" h="220">
                    <a:moveTo>
                      <a:pt x="40" y="36"/>
                    </a:moveTo>
                    <a:lnTo>
                      <a:pt x="56" y="48"/>
                    </a:lnTo>
                    <a:lnTo>
                      <a:pt x="62" y="54"/>
                    </a:lnTo>
                    <a:lnTo>
                      <a:pt x="70" y="54"/>
                    </a:lnTo>
                    <a:lnTo>
                      <a:pt x="76" y="62"/>
                    </a:lnTo>
                    <a:lnTo>
                      <a:pt x="84" y="68"/>
                    </a:lnTo>
                    <a:lnTo>
                      <a:pt x="96" y="68"/>
                    </a:lnTo>
                    <a:lnTo>
                      <a:pt x="104" y="68"/>
                    </a:lnTo>
                    <a:lnTo>
                      <a:pt x="112" y="68"/>
                    </a:lnTo>
                    <a:lnTo>
                      <a:pt x="114" y="68"/>
                    </a:lnTo>
                    <a:lnTo>
                      <a:pt x="132" y="62"/>
                    </a:lnTo>
                    <a:lnTo>
                      <a:pt x="138" y="62"/>
                    </a:lnTo>
                    <a:lnTo>
                      <a:pt x="134" y="56"/>
                    </a:lnTo>
                    <a:lnTo>
                      <a:pt x="138" y="54"/>
                    </a:lnTo>
                    <a:lnTo>
                      <a:pt x="138" y="48"/>
                    </a:lnTo>
                    <a:lnTo>
                      <a:pt x="150" y="46"/>
                    </a:lnTo>
                    <a:lnTo>
                      <a:pt x="158" y="48"/>
                    </a:lnTo>
                    <a:lnTo>
                      <a:pt x="166" y="48"/>
                    </a:lnTo>
                    <a:lnTo>
                      <a:pt x="174" y="48"/>
                    </a:lnTo>
                    <a:lnTo>
                      <a:pt x="188" y="40"/>
                    </a:lnTo>
                    <a:lnTo>
                      <a:pt x="194" y="34"/>
                    </a:lnTo>
                    <a:lnTo>
                      <a:pt x="208" y="26"/>
                    </a:lnTo>
                    <a:lnTo>
                      <a:pt x="214" y="20"/>
                    </a:lnTo>
                    <a:lnTo>
                      <a:pt x="222" y="12"/>
                    </a:lnTo>
                    <a:lnTo>
                      <a:pt x="222" y="6"/>
                    </a:lnTo>
                    <a:lnTo>
                      <a:pt x="230" y="0"/>
                    </a:lnTo>
                    <a:lnTo>
                      <a:pt x="236" y="0"/>
                    </a:lnTo>
                    <a:lnTo>
                      <a:pt x="242" y="0"/>
                    </a:lnTo>
                    <a:lnTo>
                      <a:pt x="256" y="0"/>
                    </a:lnTo>
                    <a:lnTo>
                      <a:pt x="264" y="0"/>
                    </a:lnTo>
                    <a:lnTo>
                      <a:pt x="270" y="0"/>
                    </a:lnTo>
                    <a:lnTo>
                      <a:pt x="278" y="0"/>
                    </a:lnTo>
                    <a:lnTo>
                      <a:pt x="278" y="6"/>
                    </a:lnTo>
                    <a:lnTo>
                      <a:pt x="284" y="6"/>
                    </a:lnTo>
                    <a:lnTo>
                      <a:pt x="292" y="12"/>
                    </a:lnTo>
                    <a:lnTo>
                      <a:pt x="304" y="6"/>
                    </a:lnTo>
                    <a:lnTo>
                      <a:pt x="318" y="12"/>
                    </a:lnTo>
                    <a:lnTo>
                      <a:pt x="322" y="20"/>
                    </a:lnTo>
                    <a:lnTo>
                      <a:pt x="326" y="18"/>
                    </a:lnTo>
                    <a:lnTo>
                      <a:pt x="334" y="20"/>
                    </a:lnTo>
                    <a:lnTo>
                      <a:pt x="340" y="26"/>
                    </a:lnTo>
                    <a:lnTo>
                      <a:pt x="350" y="32"/>
                    </a:lnTo>
                    <a:lnTo>
                      <a:pt x="350" y="40"/>
                    </a:lnTo>
                    <a:lnTo>
                      <a:pt x="348" y="52"/>
                    </a:lnTo>
                    <a:lnTo>
                      <a:pt x="338" y="62"/>
                    </a:lnTo>
                    <a:lnTo>
                      <a:pt x="328" y="68"/>
                    </a:lnTo>
                    <a:lnTo>
                      <a:pt x="322" y="72"/>
                    </a:lnTo>
                    <a:lnTo>
                      <a:pt x="314" y="74"/>
                    </a:lnTo>
                    <a:lnTo>
                      <a:pt x="308" y="84"/>
                    </a:lnTo>
                    <a:lnTo>
                      <a:pt x="306" y="98"/>
                    </a:lnTo>
                    <a:lnTo>
                      <a:pt x="302" y="104"/>
                    </a:lnTo>
                    <a:lnTo>
                      <a:pt x="300" y="112"/>
                    </a:lnTo>
                    <a:lnTo>
                      <a:pt x="296" y="130"/>
                    </a:lnTo>
                    <a:lnTo>
                      <a:pt x="288" y="138"/>
                    </a:lnTo>
                    <a:lnTo>
                      <a:pt x="284" y="146"/>
                    </a:lnTo>
                    <a:lnTo>
                      <a:pt x="274" y="148"/>
                    </a:lnTo>
                    <a:lnTo>
                      <a:pt x="274" y="156"/>
                    </a:lnTo>
                    <a:lnTo>
                      <a:pt x="262" y="164"/>
                    </a:lnTo>
                    <a:lnTo>
                      <a:pt x="260" y="166"/>
                    </a:lnTo>
                    <a:lnTo>
                      <a:pt x="252" y="174"/>
                    </a:lnTo>
                    <a:lnTo>
                      <a:pt x="248" y="180"/>
                    </a:lnTo>
                    <a:lnTo>
                      <a:pt x="244" y="186"/>
                    </a:lnTo>
                    <a:lnTo>
                      <a:pt x="222" y="186"/>
                    </a:lnTo>
                    <a:lnTo>
                      <a:pt x="214" y="178"/>
                    </a:lnTo>
                    <a:lnTo>
                      <a:pt x="208" y="178"/>
                    </a:lnTo>
                    <a:lnTo>
                      <a:pt x="208" y="186"/>
                    </a:lnTo>
                    <a:lnTo>
                      <a:pt x="194" y="192"/>
                    </a:lnTo>
                    <a:lnTo>
                      <a:pt x="188" y="192"/>
                    </a:lnTo>
                    <a:lnTo>
                      <a:pt x="180" y="186"/>
                    </a:lnTo>
                    <a:lnTo>
                      <a:pt x="166" y="192"/>
                    </a:lnTo>
                    <a:lnTo>
                      <a:pt x="158" y="200"/>
                    </a:lnTo>
                    <a:lnTo>
                      <a:pt x="146" y="200"/>
                    </a:lnTo>
                    <a:lnTo>
                      <a:pt x="138" y="200"/>
                    </a:lnTo>
                    <a:lnTo>
                      <a:pt x="132" y="206"/>
                    </a:lnTo>
                    <a:lnTo>
                      <a:pt x="126" y="214"/>
                    </a:lnTo>
                    <a:lnTo>
                      <a:pt x="118" y="220"/>
                    </a:lnTo>
                    <a:lnTo>
                      <a:pt x="112" y="220"/>
                    </a:lnTo>
                    <a:lnTo>
                      <a:pt x="96" y="214"/>
                    </a:lnTo>
                    <a:lnTo>
                      <a:pt x="90" y="214"/>
                    </a:lnTo>
                    <a:lnTo>
                      <a:pt x="84" y="214"/>
                    </a:lnTo>
                    <a:lnTo>
                      <a:pt x="76" y="214"/>
                    </a:lnTo>
                    <a:lnTo>
                      <a:pt x="70" y="206"/>
                    </a:lnTo>
                    <a:lnTo>
                      <a:pt x="62" y="206"/>
                    </a:lnTo>
                    <a:lnTo>
                      <a:pt x="62" y="200"/>
                    </a:lnTo>
                    <a:lnTo>
                      <a:pt x="56" y="200"/>
                    </a:lnTo>
                    <a:lnTo>
                      <a:pt x="48" y="192"/>
                    </a:lnTo>
                    <a:lnTo>
                      <a:pt x="42" y="186"/>
                    </a:lnTo>
                    <a:lnTo>
                      <a:pt x="34" y="178"/>
                    </a:lnTo>
                    <a:lnTo>
                      <a:pt x="28" y="172"/>
                    </a:lnTo>
                    <a:lnTo>
                      <a:pt x="28" y="164"/>
                    </a:lnTo>
                    <a:lnTo>
                      <a:pt x="28" y="158"/>
                    </a:lnTo>
                    <a:lnTo>
                      <a:pt x="20" y="152"/>
                    </a:lnTo>
                    <a:lnTo>
                      <a:pt x="14" y="144"/>
                    </a:lnTo>
                    <a:lnTo>
                      <a:pt x="14" y="138"/>
                    </a:lnTo>
                    <a:lnTo>
                      <a:pt x="0" y="138"/>
                    </a:lnTo>
                    <a:lnTo>
                      <a:pt x="0" y="144"/>
                    </a:lnTo>
                    <a:lnTo>
                      <a:pt x="0" y="138"/>
                    </a:lnTo>
                    <a:lnTo>
                      <a:pt x="8" y="124"/>
                    </a:lnTo>
                    <a:lnTo>
                      <a:pt x="14" y="124"/>
                    </a:lnTo>
                    <a:lnTo>
                      <a:pt x="20" y="110"/>
                    </a:lnTo>
                    <a:lnTo>
                      <a:pt x="20" y="96"/>
                    </a:lnTo>
                    <a:lnTo>
                      <a:pt x="28" y="96"/>
                    </a:lnTo>
                    <a:lnTo>
                      <a:pt x="28" y="90"/>
                    </a:lnTo>
                    <a:lnTo>
                      <a:pt x="28" y="82"/>
                    </a:lnTo>
                    <a:lnTo>
                      <a:pt x="20" y="76"/>
                    </a:lnTo>
                    <a:lnTo>
                      <a:pt x="20" y="68"/>
                    </a:lnTo>
                    <a:lnTo>
                      <a:pt x="28" y="68"/>
                    </a:lnTo>
                    <a:lnTo>
                      <a:pt x="32" y="66"/>
                    </a:lnTo>
                    <a:lnTo>
                      <a:pt x="34" y="70"/>
                    </a:lnTo>
                    <a:lnTo>
                      <a:pt x="42" y="72"/>
                    </a:lnTo>
                    <a:lnTo>
                      <a:pt x="42" y="68"/>
                    </a:lnTo>
                    <a:lnTo>
                      <a:pt x="48" y="62"/>
                    </a:lnTo>
                    <a:lnTo>
                      <a:pt x="44" y="48"/>
                    </a:lnTo>
                    <a:lnTo>
                      <a:pt x="40" y="36"/>
                    </a:lnTo>
                    <a:lnTo>
                      <a:pt x="40" y="36"/>
                    </a:lnTo>
                    <a:lnTo>
                      <a:pt x="40" y="36"/>
                    </a:lnTo>
                    <a:close/>
                  </a:path>
                </a:pathLst>
              </a:custGeom>
              <a:solidFill>
                <a:srgbClr val="73C37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4" name="Freeform 58"/>
              <p:cNvSpPr>
                <a:spLocks/>
              </p:cNvSpPr>
              <p:nvPr>
                <p:custDataLst>
                  <p:tags r:id="rId143"/>
                </p:custDataLst>
              </p:nvPr>
            </p:nvSpPr>
            <p:spPr bwMode="gray">
              <a:xfrm>
                <a:off x="5589273" y="4581641"/>
                <a:ext cx="155609" cy="107974"/>
              </a:xfrm>
              <a:custGeom>
                <a:avLst/>
                <a:gdLst>
                  <a:gd name="T0" fmla="*/ 0 w 98"/>
                  <a:gd name="T1" fmla="*/ 6 h 68"/>
                  <a:gd name="T2" fmla="*/ 14 w 98"/>
                  <a:gd name="T3" fmla="*/ 0 h 68"/>
                  <a:gd name="T4" fmla="*/ 20 w 98"/>
                  <a:gd name="T5" fmla="*/ 0 h 68"/>
                  <a:gd name="T6" fmla="*/ 28 w 98"/>
                  <a:gd name="T7" fmla="*/ 6 h 68"/>
                  <a:gd name="T8" fmla="*/ 34 w 98"/>
                  <a:gd name="T9" fmla="*/ 12 h 68"/>
                  <a:gd name="T10" fmla="*/ 48 w 98"/>
                  <a:gd name="T11" fmla="*/ 12 h 68"/>
                  <a:gd name="T12" fmla="*/ 62 w 98"/>
                  <a:gd name="T13" fmla="*/ 20 h 68"/>
                  <a:gd name="T14" fmla="*/ 70 w 98"/>
                  <a:gd name="T15" fmla="*/ 26 h 68"/>
                  <a:gd name="T16" fmla="*/ 76 w 98"/>
                  <a:gd name="T17" fmla="*/ 26 h 68"/>
                  <a:gd name="T18" fmla="*/ 84 w 98"/>
                  <a:gd name="T19" fmla="*/ 34 h 68"/>
                  <a:gd name="T20" fmla="*/ 84 w 98"/>
                  <a:gd name="T21" fmla="*/ 40 h 68"/>
                  <a:gd name="T22" fmla="*/ 90 w 98"/>
                  <a:gd name="T23" fmla="*/ 46 h 68"/>
                  <a:gd name="T24" fmla="*/ 98 w 98"/>
                  <a:gd name="T25" fmla="*/ 54 h 68"/>
                  <a:gd name="T26" fmla="*/ 98 w 98"/>
                  <a:gd name="T27" fmla="*/ 68 h 68"/>
                  <a:gd name="T28" fmla="*/ 90 w 98"/>
                  <a:gd name="T29" fmla="*/ 68 h 68"/>
                  <a:gd name="T30" fmla="*/ 84 w 98"/>
                  <a:gd name="T31" fmla="*/ 54 h 68"/>
                  <a:gd name="T32" fmla="*/ 76 w 98"/>
                  <a:gd name="T33" fmla="*/ 46 h 68"/>
                  <a:gd name="T34" fmla="*/ 70 w 98"/>
                  <a:gd name="T35" fmla="*/ 40 h 68"/>
                  <a:gd name="T36" fmla="*/ 56 w 98"/>
                  <a:gd name="T37" fmla="*/ 34 h 68"/>
                  <a:gd name="T38" fmla="*/ 48 w 98"/>
                  <a:gd name="T39" fmla="*/ 26 h 68"/>
                  <a:gd name="T40" fmla="*/ 34 w 98"/>
                  <a:gd name="T41" fmla="*/ 20 h 68"/>
                  <a:gd name="T42" fmla="*/ 28 w 98"/>
                  <a:gd name="T43" fmla="*/ 12 h 68"/>
                  <a:gd name="T44" fmla="*/ 14 w 98"/>
                  <a:gd name="T45" fmla="*/ 12 h 68"/>
                  <a:gd name="T46" fmla="*/ 6 w 98"/>
                  <a:gd name="T47" fmla="*/ 12 h 68"/>
                  <a:gd name="T48" fmla="*/ 0 w 98"/>
                  <a:gd name="T49" fmla="*/ 6 h 68"/>
                  <a:gd name="T50" fmla="*/ 0 w 98"/>
                  <a:gd name="T51" fmla="*/ 6 h 68"/>
                  <a:gd name="T52" fmla="*/ 0 w 98"/>
                  <a:gd name="T53" fmla="*/ 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68">
                    <a:moveTo>
                      <a:pt x="0" y="6"/>
                    </a:moveTo>
                    <a:lnTo>
                      <a:pt x="14" y="0"/>
                    </a:lnTo>
                    <a:lnTo>
                      <a:pt x="20" y="0"/>
                    </a:lnTo>
                    <a:lnTo>
                      <a:pt x="28" y="6"/>
                    </a:lnTo>
                    <a:lnTo>
                      <a:pt x="34" y="12"/>
                    </a:lnTo>
                    <a:lnTo>
                      <a:pt x="48" y="12"/>
                    </a:lnTo>
                    <a:lnTo>
                      <a:pt x="62" y="20"/>
                    </a:lnTo>
                    <a:lnTo>
                      <a:pt x="70" y="26"/>
                    </a:lnTo>
                    <a:lnTo>
                      <a:pt x="76" y="26"/>
                    </a:lnTo>
                    <a:lnTo>
                      <a:pt x="84" y="34"/>
                    </a:lnTo>
                    <a:lnTo>
                      <a:pt x="84" y="40"/>
                    </a:lnTo>
                    <a:lnTo>
                      <a:pt x="90" y="46"/>
                    </a:lnTo>
                    <a:lnTo>
                      <a:pt x="98" y="54"/>
                    </a:lnTo>
                    <a:lnTo>
                      <a:pt x="98" y="68"/>
                    </a:lnTo>
                    <a:lnTo>
                      <a:pt x="90" y="68"/>
                    </a:lnTo>
                    <a:lnTo>
                      <a:pt x="84" y="54"/>
                    </a:lnTo>
                    <a:lnTo>
                      <a:pt x="76" y="46"/>
                    </a:lnTo>
                    <a:lnTo>
                      <a:pt x="70" y="40"/>
                    </a:lnTo>
                    <a:lnTo>
                      <a:pt x="56" y="34"/>
                    </a:lnTo>
                    <a:lnTo>
                      <a:pt x="48" y="26"/>
                    </a:lnTo>
                    <a:lnTo>
                      <a:pt x="34" y="20"/>
                    </a:lnTo>
                    <a:lnTo>
                      <a:pt x="28" y="12"/>
                    </a:lnTo>
                    <a:lnTo>
                      <a:pt x="14" y="12"/>
                    </a:lnTo>
                    <a:lnTo>
                      <a:pt x="6" y="12"/>
                    </a:lnTo>
                    <a:lnTo>
                      <a:pt x="0" y="6"/>
                    </a:lnTo>
                    <a:lnTo>
                      <a:pt x="0" y="6"/>
                    </a:lnTo>
                    <a:lnTo>
                      <a:pt x="0" y="6"/>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5" name="Freeform 59"/>
              <p:cNvSpPr>
                <a:spLocks/>
              </p:cNvSpPr>
              <p:nvPr/>
            </p:nvSpPr>
            <p:spPr bwMode="gray">
              <a:xfrm>
                <a:off x="5157377" y="1018500"/>
                <a:ext cx="53987" cy="66690"/>
              </a:xfrm>
              <a:custGeom>
                <a:avLst/>
                <a:gdLst>
                  <a:gd name="T0" fmla="*/ 6 w 34"/>
                  <a:gd name="T1" fmla="*/ 42 h 42"/>
                  <a:gd name="T2" fmla="*/ 14 w 34"/>
                  <a:gd name="T3" fmla="*/ 34 h 42"/>
                  <a:gd name="T4" fmla="*/ 14 w 34"/>
                  <a:gd name="T5" fmla="*/ 28 h 42"/>
                  <a:gd name="T6" fmla="*/ 20 w 34"/>
                  <a:gd name="T7" fmla="*/ 28 h 42"/>
                  <a:gd name="T8" fmla="*/ 28 w 34"/>
                  <a:gd name="T9" fmla="*/ 28 h 42"/>
                  <a:gd name="T10" fmla="*/ 34 w 34"/>
                  <a:gd name="T11" fmla="*/ 8 h 42"/>
                  <a:gd name="T12" fmla="*/ 28 w 34"/>
                  <a:gd name="T13" fmla="*/ 0 h 42"/>
                  <a:gd name="T14" fmla="*/ 20 w 34"/>
                  <a:gd name="T15" fmla="*/ 0 h 42"/>
                  <a:gd name="T16" fmla="*/ 20 w 34"/>
                  <a:gd name="T17" fmla="*/ 8 h 42"/>
                  <a:gd name="T18" fmla="*/ 14 w 34"/>
                  <a:gd name="T19" fmla="*/ 8 h 42"/>
                  <a:gd name="T20" fmla="*/ 6 w 34"/>
                  <a:gd name="T21" fmla="*/ 8 h 42"/>
                  <a:gd name="T22" fmla="*/ 6 w 34"/>
                  <a:gd name="T23" fmla="*/ 14 h 42"/>
                  <a:gd name="T24" fmla="*/ 6 w 34"/>
                  <a:gd name="T25" fmla="*/ 22 h 42"/>
                  <a:gd name="T26" fmla="*/ 0 w 34"/>
                  <a:gd name="T27" fmla="*/ 28 h 42"/>
                  <a:gd name="T28" fmla="*/ 6 w 34"/>
                  <a:gd name="T29" fmla="*/ 34 h 42"/>
                  <a:gd name="T30" fmla="*/ 6 w 34"/>
                  <a:gd name="T31" fmla="*/ 42 h 42"/>
                  <a:gd name="T32" fmla="*/ 6 w 34"/>
                  <a:gd name="T33" fmla="*/ 42 h 42"/>
                  <a:gd name="T34" fmla="*/ 6 w 34"/>
                  <a:gd name="T3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42">
                    <a:moveTo>
                      <a:pt x="6" y="42"/>
                    </a:moveTo>
                    <a:lnTo>
                      <a:pt x="14" y="34"/>
                    </a:lnTo>
                    <a:lnTo>
                      <a:pt x="14" y="28"/>
                    </a:lnTo>
                    <a:lnTo>
                      <a:pt x="20" y="28"/>
                    </a:lnTo>
                    <a:lnTo>
                      <a:pt x="28" y="28"/>
                    </a:lnTo>
                    <a:lnTo>
                      <a:pt x="34" y="8"/>
                    </a:lnTo>
                    <a:lnTo>
                      <a:pt x="28" y="0"/>
                    </a:lnTo>
                    <a:lnTo>
                      <a:pt x="20" y="0"/>
                    </a:lnTo>
                    <a:lnTo>
                      <a:pt x="20" y="8"/>
                    </a:lnTo>
                    <a:lnTo>
                      <a:pt x="14" y="8"/>
                    </a:lnTo>
                    <a:lnTo>
                      <a:pt x="6" y="8"/>
                    </a:lnTo>
                    <a:lnTo>
                      <a:pt x="6" y="14"/>
                    </a:lnTo>
                    <a:lnTo>
                      <a:pt x="6" y="22"/>
                    </a:lnTo>
                    <a:lnTo>
                      <a:pt x="0" y="28"/>
                    </a:lnTo>
                    <a:lnTo>
                      <a:pt x="6" y="34"/>
                    </a:lnTo>
                    <a:lnTo>
                      <a:pt x="6" y="42"/>
                    </a:lnTo>
                    <a:lnTo>
                      <a:pt x="6" y="42"/>
                    </a:lnTo>
                    <a:lnTo>
                      <a:pt x="6" y="42"/>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6" name="Freeform 60"/>
              <p:cNvSpPr>
                <a:spLocks/>
              </p:cNvSpPr>
              <p:nvPr>
                <p:custDataLst>
                  <p:tags r:id="rId144"/>
                </p:custDataLst>
              </p:nvPr>
            </p:nvSpPr>
            <p:spPr bwMode="gray">
              <a:xfrm>
                <a:off x="4365040" y="802551"/>
                <a:ext cx="1398899" cy="1495757"/>
              </a:xfrm>
              <a:custGeom>
                <a:avLst/>
                <a:gdLst>
                  <a:gd name="T0" fmla="*/ 256 w 881"/>
                  <a:gd name="T1" fmla="*/ 866 h 942"/>
                  <a:gd name="T2" fmla="*/ 304 w 881"/>
                  <a:gd name="T3" fmla="*/ 804 h 942"/>
                  <a:gd name="T4" fmla="*/ 318 w 881"/>
                  <a:gd name="T5" fmla="*/ 716 h 942"/>
                  <a:gd name="T6" fmla="*/ 312 w 881"/>
                  <a:gd name="T7" fmla="*/ 646 h 942"/>
                  <a:gd name="T8" fmla="*/ 318 w 881"/>
                  <a:gd name="T9" fmla="*/ 556 h 942"/>
                  <a:gd name="T10" fmla="*/ 383 w 881"/>
                  <a:gd name="T11" fmla="*/ 536 h 942"/>
                  <a:gd name="T12" fmla="*/ 395 w 881"/>
                  <a:gd name="T13" fmla="*/ 468 h 942"/>
                  <a:gd name="T14" fmla="*/ 431 w 881"/>
                  <a:gd name="T15" fmla="*/ 378 h 942"/>
                  <a:gd name="T16" fmla="*/ 485 w 881"/>
                  <a:gd name="T17" fmla="*/ 308 h 942"/>
                  <a:gd name="T18" fmla="*/ 521 w 881"/>
                  <a:gd name="T19" fmla="*/ 240 h 942"/>
                  <a:gd name="T20" fmla="*/ 569 w 881"/>
                  <a:gd name="T21" fmla="*/ 220 h 942"/>
                  <a:gd name="T22" fmla="*/ 611 w 881"/>
                  <a:gd name="T23" fmla="*/ 150 h 942"/>
                  <a:gd name="T24" fmla="*/ 665 w 881"/>
                  <a:gd name="T25" fmla="*/ 192 h 942"/>
                  <a:gd name="T26" fmla="*/ 735 w 881"/>
                  <a:gd name="T27" fmla="*/ 172 h 942"/>
                  <a:gd name="T28" fmla="*/ 769 w 881"/>
                  <a:gd name="T29" fmla="*/ 96 h 942"/>
                  <a:gd name="T30" fmla="*/ 833 w 881"/>
                  <a:gd name="T31" fmla="*/ 116 h 942"/>
                  <a:gd name="T32" fmla="*/ 835 w 881"/>
                  <a:gd name="T33" fmla="*/ 140 h 942"/>
                  <a:gd name="T34" fmla="*/ 867 w 881"/>
                  <a:gd name="T35" fmla="*/ 82 h 942"/>
                  <a:gd name="T36" fmla="*/ 867 w 881"/>
                  <a:gd name="T37" fmla="*/ 34 h 942"/>
                  <a:gd name="T38" fmla="*/ 797 w 881"/>
                  <a:gd name="T39" fmla="*/ 48 h 942"/>
                  <a:gd name="T40" fmla="*/ 777 w 881"/>
                  <a:gd name="T41" fmla="*/ 20 h 942"/>
                  <a:gd name="T42" fmla="*/ 749 w 881"/>
                  <a:gd name="T43" fmla="*/ 20 h 942"/>
                  <a:gd name="T44" fmla="*/ 721 w 881"/>
                  <a:gd name="T45" fmla="*/ 62 h 942"/>
                  <a:gd name="T46" fmla="*/ 721 w 881"/>
                  <a:gd name="T47" fmla="*/ 14 h 942"/>
                  <a:gd name="T48" fmla="*/ 687 w 881"/>
                  <a:gd name="T49" fmla="*/ 48 h 942"/>
                  <a:gd name="T50" fmla="*/ 651 w 881"/>
                  <a:gd name="T51" fmla="*/ 82 h 942"/>
                  <a:gd name="T52" fmla="*/ 611 w 881"/>
                  <a:gd name="T53" fmla="*/ 88 h 942"/>
                  <a:gd name="T54" fmla="*/ 583 w 881"/>
                  <a:gd name="T55" fmla="*/ 130 h 942"/>
                  <a:gd name="T56" fmla="*/ 561 w 881"/>
                  <a:gd name="T57" fmla="*/ 150 h 942"/>
                  <a:gd name="T58" fmla="*/ 521 w 881"/>
                  <a:gd name="T59" fmla="*/ 178 h 942"/>
                  <a:gd name="T60" fmla="*/ 493 w 881"/>
                  <a:gd name="T61" fmla="*/ 212 h 942"/>
                  <a:gd name="T62" fmla="*/ 479 w 881"/>
                  <a:gd name="T63" fmla="*/ 226 h 942"/>
                  <a:gd name="T64" fmla="*/ 457 w 881"/>
                  <a:gd name="T65" fmla="*/ 246 h 942"/>
                  <a:gd name="T66" fmla="*/ 457 w 881"/>
                  <a:gd name="T67" fmla="*/ 274 h 942"/>
                  <a:gd name="T68" fmla="*/ 431 w 881"/>
                  <a:gd name="T69" fmla="*/ 302 h 942"/>
                  <a:gd name="T70" fmla="*/ 381 w 881"/>
                  <a:gd name="T71" fmla="*/ 336 h 942"/>
                  <a:gd name="T72" fmla="*/ 375 w 881"/>
                  <a:gd name="T73" fmla="*/ 370 h 942"/>
                  <a:gd name="T74" fmla="*/ 353 w 881"/>
                  <a:gd name="T75" fmla="*/ 412 h 942"/>
                  <a:gd name="T76" fmla="*/ 341 w 881"/>
                  <a:gd name="T77" fmla="*/ 446 h 942"/>
                  <a:gd name="T78" fmla="*/ 318 w 881"/>
                  <a:gd name="T79" fmla="*/ 488 h 942"/>
                  <a:gd name="T80" fmla="*/ 270 w 881"/>
                  <a:gd name="T81" fmla="*/ 496 h 942"/>
                  <a:gd name="T82" fmla="*/ 236 w 881"/>
                  <a:gd name="T83" fmla="*/ 550 h 942"/>
                  <a:gd name="T84" fmla="*/ 188 w 881"/>
                  <a:gd name="T85" fmla="*/ 578 h 942"/>
                  <a:gd name="T86" fmla="*/ 152 w 881"/>
                  <a:gd name="T87" fmla="*/ 584 h 942"/>
                  <a:gd name="T88" fmla="*/ 110 w 881"/>
                  <a:gd name="T89" fmla="*/ 598 h 942"/>
                  <a:gd name="T90" fmla="*/ 76 w 881"/>
                  <a:gd name="T91" fmla="*/ 618 h 942"/>
                  <a:gd name="T92" fmla="*/ 62 w 881"/>
                  <a:gd name="T93" fmla="*/ 640 h 942"/>
                  <a:gd name="T94" fmla="*/ 28 w 881"/>
                  <a:gd name="T95" fmla="*/ 668 h 942"/>
                  <a:gd name="T96" fmla="*/ 28 w 881"/>
                  <a:gd name="T97" fmla="*/ 702 h 942"/>
                  <a:gd name="T98" fmla="*/ 34 w 881"/>
                  <a:gd name="T99" fmla="*/ 750 h 942"/>
                  <a:gd name="T100" fmla="*/ 48 w 881"/>
                  <a:gd name="T101" fmla="*/ 776 h 942"/>
                  <a:gd name="T102" fmla="*/ 14 w 881"/>
                  <a:gd name="T103" fmla="*/ 804 h 942"/>
                  <a:gd name="T104" fmla="*/ 34 w 881"/>
                  <a:gd name="T105" fmla="*/ 846 h 942"/>
                  <a:gd name="T106" fmla="*/ 14 w 881"/>
                  <a:gd name="T107" fmla="*/ 894 h 942"/>
                  <a:gd name="T108" fmla="*/ 90 w 881"/>
                  <a:gd name="T109" fmla="*/ 942 h 942"/>
                  <a:gd name="T110" fmla="*/ 160 w 881"/>
                  <a:gd name="T111" fmla="*/ 894 h 942"/>
                  <a:gd name="T112" fmla="*/ 214 w 881"/>
                  <a:gd name="T113" fmla="*/ 852 h 942"/>
                  <a:gd name="T114" fmla="*/ 228 w 881"/>
                  <a:gd name="T115" fmla="*/ 838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81" h="942">
                    <a:moveTo>
                      <a:pt x="242" y="880"/>
                    </a:moveTo>
                    <a:lnTo>
                      <a:pt x="250" y="880"/>
                    </a:lnTo>
                    <a:lnTo>
                      <a:pt x="250" y="886"/>
                    </a:lnTo>
                    <a:lnTo>
                      <a:pt x="256" y="894"/>
                    </a:lnTo>
                    <a:lnTo>
                      <a:pt x="264" y="886"/>
                    </a:lnTo>
                    <a:lnTo>
                      <a:pt x="264" y="880"/>
                    </a:lnTo>
                    <a:lnTo>
                      <a:pt x="264" y="874"/>
                    </a:lnTo>
                    <a:lnTo>
                      <a:pt x="256" y="866"/>
                    </a:lnTo>
                    <a:lnTo>
                      <a:pt x="270" y="852"/>
                    </a:lnTo>
                    <a:lnTo>
                      <a:pt x="270" y="846"/>
                    </a:lnTo>
                    <a:lnTo>
                      <a:pt x="278" y="838"/>
                    </a:lnTo>
                    <a:lnTo>
                      <a:pt x="278" y="832"/>
                    </a:lnTo>
                    <a:lnTo>
                      <a:pt x="284" y="826"/>
                    </a:lnTo>
                    <a:lnTo>
                      <a:pt x="292" y="826"/>
                    </a:lnTo>
                    <a:lnTo>
                      <a:pt x="298" y="826"/>
                    </a:lnTo>
                    <a:lnTo>
                      <a:pt x="304" y="804"/>
                    </a:lnTo>
                    <a:lnTo>
                      <a:pt x="304" y="784"/>
                    </a:lnTo>
                    <a:lnTo>
                      <a:pt x="304" y="776"/>
                    </a:lnTo>
                    <a:lnTo>
                      <a:pt x="304" y="770"/>
                    </a:lnTo>
                    <a:lnTo>
                      <a:pt x="298" y="756"/>
                    </a:lnTo>
                    <a:lnTo>
                      <a:pt x="298" y="750"/>
                    </a:lnTo>
                    <a:lnTo>
                      <a:pt x="318" y="736"/>
                    </a:lnTo>
                    <a:lnTo>
                      <a:pt x="318" y="728"/>
                    </a:lnTo>
                    <a:lnTo>
                      <a:pt x="318" y="716"/>
                    </a:lnTo>
                    <a:lnTo>
                      <a:pt x="318" y="708"/>
                    </a:lnTo>
                    <a:lnTo>
                      <a:pt x="312" y="702"/>
                    </a:lnTo>
                    <a:lnTo>
                      <a:pt x="304" y="694"/>
                    </a:lnTo>
                    <a:lnTo>
                      <a:pt x="304" y="686"/>
                    </a:lnTo>
                    <a:lnTo>
                      <a:pt x="304" y="680"/>
                    </a:lnTo>
                    <a:lnTo>
                      <a:pt x="312" y="668"/>
                    </a:lnTo>
                    <a:lnTo>
                      <a:pt x="312" y="660"/>
                    </a:lnTo>
                    <a:lnTo>
                      <a:pt x="312" y="646"/>
                    </a:lnTo>
                    <a:lnTo>
                      <a:pt x="304" y="640"/>
                    </a:lnTo>
                    <a:lnTo>
                      <a:pt x="304" y="632"/>
                    </a:lnTo>
                    <a:lnTo>
                      <a:pt x="304" y="618"/>
                    </a:lnTo>
                    <a:lnTo>
                      <a:pt x="312" y="612"/>
                    </a:lnTo>
                    <a:lnTo>
                      <a:pt x="312" y="598"/>
                    </a:lnTo>
                    <a:lnTo>
                      <a:pt x="312" y="584"/>
                    </a:lnTo>
                    <a:lnTo>
                      <a:pt x="312" y="570"/>
                    </a:lnTo>
                    <a:lnTo>
                      <a:pt x="318" y="556"/>
                    </a:lnTo>
                    <a:lnTo>
                      <a:pt x="326" y="550"/>
                    </a:lnTo>
                    <a:lnTo>
                      <a:pt x="341" y="544"/>
                    </a:lnTo>
                    <a:lnTo>
                      <a:pt x="341" y="550"/>
                    </a:lnTo>
                    <a:lnTo>
                      <a:pt x="347" y="550"/>
                    </a:lnTo>
                    <a:lnTo>
                      <a:pt x="355" y="544"/>
                    </a:lnTo>
                    <a:lnTo>
                      <a:pt x="361" y="536"/>
                    </a:lnTo>
                    <a:lnTo>
                      <a:pt x="369" y="536"/>
                    </a:lnTo>
                    <a:lnTo>
                      <a:pt x="383" y="536"/>
                    </a:lnTo>
                    <a:lnTo>
                      <a:pt x="389" y="528"/>
                    </a:lnTo>
                    <a:lnTo>
                      <a:pt x="383" y="516"/>
                    </a:lnTo>
                    <a:lnTo>
                      <a:pt x="383" y="508"/>
                    </a:lnTo>
                    <a:lnTo>
                      <a:pt x="383" y="502"/>
                    </a:lnTo>
                    <a:lnTo>
                      <a:pt x="375" y="488"/>
                    </a:lnTo>
                    <a:lnTo>
                      <a:pt x="383" y="480"/>
                    </a:lnTo>
                    <a:lnTo>
                      <a:pt x="395" y="474"/>
                    </a:lnTo>
                    <a:lnTo>
                      <a:pt x="395" y="468"/>
                    </a:lnTo>
                    <a:lnTo>
                      <a:pt x="403" y="446"/>
                    </a:lnTo>
                    <a:lnTo>
                      <a:pt x="403" y="440"/>
                    </a:lnTo>
                    <a:lnTo>
                      <a:pt x="403" y="432"/>
                    </a:lnTo>
                    <a:lnTo>
                      <a:pt x="403" y="418"/>
                    </a:lnTo>
                    <a:lnTo>
                      <a:pt x="409" y="412"/>
                    </a:lnTo>
                    <a:lnTo>
                      <a:pt x="417" y="398"/>
                    </a:lnTo>
                    <a:lnTo>
                      <a:pt x="417" y="384"/>
                    </a:lnTo>
                    <a:lnTo>
                      <a:pt x="431" y="378"/>
                    </a:lnTo>
                    <a:lnTo>
                      <a:pt x="445" y="370"/>
                    </a:lnTo>
                    <a:lnTo>
                      <a:pt x="451" y="364"/>
                    </a:lnTo>
                    <a:lnTo>
                      <a:pt x="451" y="358"/>
                    </a:lnTo>
                    <a:lnTo>
                      <a:pt x="451" y="344"/>
                    </a:lnTo>
                    <a:lnTo>
                      <a:pt x="465" y="336"/>
                    </a:lnTo>
                    <a:lnTo>
                      <a:pt x="479" y="324"/>
                    </a:lnTo>
                    <a:lnTo>
                      <a:pt x="479" y="316"/>
                    </a:lnTo>
                    <a:lnTo>
                      <a:pt x="485" y="308"/>
                    </a:lnTo>
                    <a:lnTo>
                      <a:pt x="479" y="296"/>
                    </a:lnTo>
                    <a:lnTo>
                      <a:pt x="471" y="288"/>
                    </a:lnTo>
                    <a:lnTo>
                      <a:pt x="479" y="282"/>
                    </a:lnTo>
                    <a:lnTo>
                      <a:pt x="485" y="274"/>
                    </a:lnTo>
                    <a:lnTo>
                      <a:pt x="507" y="260"/>
                    </a:lnTo>
                    <a:lnTo>
                      <a:pt x="507" y="254"/>
                    </a:lnTo>
                    <a:lnTo>
                      <a:pt x="513" y="240"/>
                    </a:lnTo>
                    <a:lnTo>
                      <a:pt x="521" y="240"/>
                    </a:lnTo>
                    <a:lnTo>
                      <a:pt x="535" y="246"/>
                    </a:lnTo>
                    <a:lnTo>
                      <a:pt x="541" y="246"/>
                    </a:lnTo>
                    <a:lnTo>
                      <a:pt x="541" y="240"/>
                    </a:lnTo>
                    <a:lnTo>
                      <a:pt x="541" y="226"/>
                    </a:lnTo>
                    <a:lnTo>
                      <a:pt x="555" y="220"/>
                    </a:lnTo>
                    <a:lnTo>
                      <a:pt x="563" y="226"/>
                    </a:lnTo>
                    <a:lnTo>
                      <a:pt x="569" y="226"/>
                    </a:lnTo>
                    <a:lnTo>
                      <a:pt x="569" y="220"/>
                    </a:lnTo>
                    <a:lnTo>
                      <a:pt x="575" y="198"/>
                    </a:lnTo>
                    <a:lnTo>
                      <a:pt x="589" y="206"/>
                    </a:lnTo>
                    <a:lnTo>
                      <a:pt x="589" y="198"/>
                    </a:lnTo>
                    <a:lnTo>
                      <a:pt x="589" y="186"/>
                    </a:lnTo>
                    <a:lnTo>
                      <a:pt x="589" y="178"/>
                    </a:lnTo>
                    <a:lnTo>
                      <a:pt x="603" y="178"/>
                    </a:lnTo>
                    <a:lnTo>
                      <a:pt x="603" y="164"/>
                    </a:lnTo>
                    <a:lnTo>
                      <a:pt x="611" y="150"/>
                    </a:lnTo>
                    <a:lnTo>
                      <a:pt x="617" y="150"/>
                    </a:lnTo>
                    <a:lnTo>
                      <a:pt x="625" y="158"/>
                    </a:lnTo>
                    <a:lnTo>
                      <a:pt x="639" y="164"/>
                    </a:lnTo>
                    <a:lnTo>
                      <a:pt x="639" y="172"/>
                    </a:lnTo>
                    <a:lnTo>
                      <a:pt x="645" y="186"/>
                    </a:lnTo>
                    <a:lnTo>
                      <a:pt x="653" y="186"/>
                    </a:lnTo>
                    <a:lnTo>
                      <a:pt x="659" y="186"/>
                    </a:lnTo>
                    <a:lnTo>
                      <a:pt x="665" y="192"/>
                    </a:lnTo>
                    <a:lnTo>
                      <a:pt x="687" y="192"/>
                    </a:lnTo>
                    <a:lnTo>
                      <a:pt x="693" y="186"/>
                    </a:lnTo>
                    <a:lnTo>
                      <a:pt x="701" y="186"/>
                    </a:lnTo>
                    <a:lnTo>
                      <a:pt x="707" y="198"/>
                    </a:lnTo>
                    <a:lnTo>
                      <a:pt x="721" y="192"/>
                    </a:lnTo>
                    <a:lnTo>
                      <a:pt x="729" y="192"/>
                    </a:lnTo>
                    <a:lnTo>
                      <a:pt x="729" y="186"/>
                    </a:lnTo>
                    <a:lnTo>
                      <a:pt x="735" y="172"/>
                    </a:lnTo>
                    <a:lnTo>
                      <a:pt x="743" y="164"/>
                    </a:lnTo>
                    <a:lnTo>
                      <a:pt x="743" y="158"/>
                    </a:lnTo>
                    <a:lnTo>
                      <a:pt x="743" y="150"/>
                    </a:lnTo>
                    <a:lnTo>
                      <a:pt x="743" y="144"/>
                    </a:lnTo>
                    <a:lnTo>
                      <a:pt x="749" y="130"/>
                    </a:lnTo>
                    <a:lnTo>
                      <a:pt x="749" y="102"/>
                    </a:lnTo>
                    <a:lnTo>
                      <a:pt x="755" y="96"/>
                    </a:lnTo>
                    <a:lnTo>
                      <a:pt x="769" y="96"/>
                    </a:lnTo>
                    <a:lnTo>
                      <a:pt x="783" y="88"/>
                    </a:lnTo>
                    <a:lnTo>
                      <a:pt x="791" y="82"/>
                    </a:lnTo>
                    <a:lnTo>
                      <a:pt x="797" y="82"/>
                    </a:lnTo>
                    <a:lnTo>
                      <a:pt x="791" y="96"/>
                    </a:lnTo>
                    <a:lnTo>
                      <a:pt x="811" y="102"/>
                    </a:lnTo>
                    <a:lnTo>
                      <a:pt x="817" y="102"/>
                    </a:lnTo>
                    <a:lnTo>
                      <a:pt x="825" y="110"/>
                    </a:lnTo>
                    <a:lnTo>
                      <a:pt x="833" y="116"/>
                    </a:lnTo>
                    <a:lnTo>
                      <a:pt x="833" y="124"/>
                    </a:lnTo>
                    <a:lnTo>
                      <a:pt x="825" y="130"/>
                    </a:lnTo>
                    <a:lnTo>
                      <a:pt x="825" y="144"/>
                    </a:lnTo>
                    <a:lnTo>
                      <a:pt x="825" y="150"/>
                    </a:lnTo>
                    <a:lnTo>
                      <a:pt x="825" y="158"/>
                    </a:lnTo>
                    <a:lnTo>
                      <a:pt x="825" y="164"/>
                    </a:lnTo>
                    <a:lnTo>
                      <a:pt x="833" y="164"/>
                    </a:lnTo>
                    <a:lnTo>
                      <a:pt x="835" y="140"/>
                    </a:lnTo>
                    <a:lnTo>
                      <a:pt x="845" y="124"/>
                    </a:lnTo>
                    <a:lnTo>
                      <a:pt x="859" y="116"/>
                    </a:lnTo>
                    <a:lnTo>
                      <a:pt x="875" y="112"/>
                    </a:lnTo>
                    <a:lnTo>
                      <a:pt x="881" y="88"/>
                    </a:lnTo>
                    <a:lnTo>
                      <a:pt x="879" y="88"/>
                    </a:lnTo>
                    <a:lnTo>
                      <a:pt x="867" y="88"/>
                    </a:lnTo>
                    <a:lnTo>
                      <a:pt x="859" y="88"/>
                    </a:lnTo>
                    <a:lnTo>
                      <a:pt x="867" y="82"/>
                    </a:lnTo>
                    <a:lnTo>
                      <a:pt x="867" y="68"/>
                    </a:lnTo>
                    <a:lnTo>
                      <a:pt x="859" y="62"/>
                    </a:lnTo>
                    <a:lnTo>
                      <a:pt x="867" y="62"/>
                    </a:lnTo>
                    <a:lnTo>
                      <a:pt x="873" y="54"/>
                    </a:lnTo>
                    <a:lnTo>
                      <a:pt x="873" y="48"/>
                    </a:lnTo>
                    <a:lnTo>
                      <a:pt x="873" y="40"/>
                    </a:lnTo>
                    <a:lnTo>
                      <a:pt x="867" y="40"/>
                    </a:lnTo>
                    <a:lnTo>
                      <a:pt x="867" y="34"/>
                    </a:lnTo>
                    <a:lnTo>
                      <a:pt x="853" y="34"/>
                    </a:lnTo>
                    <a:lnTo>
                      <a:pt x="839" y="40"/>
                    </a:lnTo>
                    <a:lnTo>
                      <a:pt x="839" y="26"/>
                    </a:lnTo>
                    <a:lnTo>
                      <a:pt x="825" y="26"/>
                    </a:lnTo>
                    <a:lnTo>
                      <a:pt x="817" y="20"/>
                    </a:lnTo>
                    <a:lnTo>
                      <a:pt x="803" y="34"/>
                    </a:lnTo>
                    <a:lnTo>
                      <a:pt x="803" y="40"/>
                    </a:lnTo>
                    <a:lnTo>
                      <a:pt x="797" y="48"/>
                    </a:lnTo>
                    <a:lnTo>
                      <a:pt x="791" y="34"/>
                    </a:lnTo>
                    <a:lnTo>
                      <a:pt x="791" y="26"/>
                    </a:lnTo>
                    <a:lnTo>
                      <a:pt x="797" y="20"/>
                    </a:lnTo>
                    <a:lnTo>
                      <a:pt x="797" y="14"/>
                    </a:lnTo>
                    <a:lnTo>
                      <a:pt x="797" y="0"/>
                    </a:lnTo>
                    <a:lnTo>
                      <a:pt x="791" y="0"/>
                    </a:lnTo>
                    <a:lnTo>
                      <a:pt x="777" y="14"/>
                    </a:lnTo>
                    <a:lnTo>
                      <a:pt x="777" y="20"/>
                    </a:lnTo>
                    <a:lnTo>
                      <a:pt x="763" y="26"/>
                    </a:lnTo>
                    <a:lnTo>
                      <a:pt x="763" y="48"/>
                    </a:lnTo>
                    <a:lnTo>
                      <a:pt x="763" y="54"/>
                    </a:lnTo>
                    <a:lnTo>
                      <a:pt x="755" y="48"/>
                    </a:lnTo>
                    <a:lnTo>
                      <a:pt x="755" y="40"/>
                    </a:lnTo>
                    <a:lnTo>
                      <a:pt x="749" y="34"/>
                    </a:lnTo>
                    <a:lnTo>
                      <a:pt x="749" y="26"/>
                    </a:lnTo>
                    <a:lnTo>
                      <a:pt x="749" y="20"/>
                    </a:lnTo>
                    <a:lnTo>
                      <a:pt x="749" y="14"/>
                    </a:lnTo>
                    <a:lnTo>
                      <a:pt x="741" y="14"/>
                    </a:lnTo>
                    <a:lnTo>
                      <a:pt x="741" y="20"/>
                    </a:lnTo>
                    <a:lnTo>
                      <a:pt x="741" y="26"/>
                    </a:lnTo>
                    <a:lnTo>
                      <a:pt x="735" y="40"/>
                    </a:lnTo>
                    <a:lnTo>
                      <a:pt x="727" y="54"/>
                    </a:lnTo>
                    <a:lnTo>
                      <a:pt x="721" y="68"/>
                    </a:lnTo>
                    <a:lnTo>
                      <a:pt x="721" y="62"/>
                    </a:lnTo>
                    <a:lnTo>
                      <a:pt x="721" y="54"/>
                    </a:lnTo>
                    <a:lnTo>
                      <a:pt x="721" y="40"/>
                    </a:lnTo>
                    <a:lnTo>
                      <a:pt x="735" y="34"/>
                    </a:lnTo>
                    <a:lnTo>
                      <a:pt x="735" y="26"/>
                    </a:lnTo>
                    <a:lnTo>
                      <a:pt x="741" y="14"/>
                    </a:lnTo>
                    <a:lnTo>
                      <a:pt x="749" y="6"/>
                    </a:lnTo>
                    <a:lnTo>
                      <a:pt x="741" y="0"/>
                    </a:lnTo>
                    <a:lnTo>
                      <a:pt x="721" y="14"/>
                    </a:lnTo>
                    <a:lnTo>
                      <a:pt x="713" y="6"/>
                    </a:lnTo>
                    <a:lnTo>
                      <a:pt x="707" y="14"/>
                    </a:lnTo>
                    <a:lnTo>
                      <a:pt x="707" y="20"/>
                    </a:lnTo>
                    <a:lnTo>
                      <a:pt x="721" y="26"/>
                    </a:lnTo>
                    <a:lnTo>
                      <a:pt x="701" y="34"/>
                    </a:lnTo>
                    <a:lnTo>
                      <a:pt x="693" y="26"/>
                    </a:lnTo>
                    <a:lnTo>
                      <a:pt x="687" y="34"/>
                    </a:lnTo>
                    <a:lnTo>
                      <a:pt x="687" y="48"/>
                    </a:lnTo>
                    <a:lnTo>
                      <a:pt x="679" y="48"/>
                    </a:lnTo>
                    <a:lnTo>
                      <a:pt x="687" y="54"/>
                    </a:lnTo>
                    <a:lnTo>
                      <a:pt x="673" y="68"/>
                    </a:lnTo>
                    <a:lnTo>
                      <a:pt x="665" y="54"/>
                    </a:lnTo>
                    <a:lnTo>
                      <a:pt x="659" y="62"/>
                    </a:lnTo>
                    <a:lnTo>
                      <a:pt x="659" y="68"/>
                    </a:lnTo>
                    <a:lnTo>
                      <a:pt x="659" y="76"/>
                    </a:lnTo>
                    <a:lnTo>
                      <a:pt x="651" y="82"/>
                    </a:lnTo>
                    <a:lnTo>
                      <a:pt x="645" y="76"/>
                    </a:lnTo>
                    <a:lnTo>
                      <a:pt x="637" y="76"/>
                    </a:lnTo>
                    <a:lnTo>
                      <a:pt x="637" y="82"/>
                    </a:lnTo>
                    <a:lnTo>
                      <a:pt x="631" y="76"/>
                    </a:lnTo>
                    <a:lnTo>
                      <a:pt x="623" y="76"/>
                    </a:lnTo>
                    <a:lnTo>
                      <a:pt x="617" y="82"/>
                    </a:lnTo>
                    <a:lnTo>
                      <a:pt x="617" y="88"/>
                    </a:lnTo>
                    <a:lnTo>
                      <a:pt x="611" y="88"/>
                    </a:lnTo>
                    <a:lnTo>
                      <a:pt x="603" y="96"/>
                    </a:lnTo>
                    <a:lnTo>
                      <a:pt x="603" y="110"/>
                    </a:lnTo>
                    <a:lnTo>
                      <a:pt x="611" y="116"/>
                    </a:lnTo>
                    <a:lnTo>
                      <a:pt x="611" y="130"/>
                    </a:lnTo>
                    <a:lnTo>
                      <a:pt x="603" y="124"/>
                    </a:lnTo>
                    <a:lnTo>
                      <a:pt x="597" y="116"/>
                    </a:lnTo>
                    <a:lnTo>
                      <a:pt x="589" y="116"/>
                    </a:lnTo>
                    <a:lnTo>
                      <a:pt x="583" y="130"/>
                    </a:lnTo>
                    <a:lnTo>
                      <a:pt x="575" y="116"/>
                    </a:lnTo>
                    <a:lnTo>
                      <a:pt x="569" y="124"/>
                    </a:lnTo>
                    <a:lnTo>
                      <a:pt x="569" y="138"/>
                    </a:lnTo>
                    <a:lnTo>
                      <a:pt x="575" y="150"/>
                    </a:lnTo>
                    <a:lnTo>
                      <a:pt x="575" y="158"/>
                    </a:lnTo>
                    <a:lnTo>
                      <a:pt x="569" y="150"/>
                    </a:lnTo>
                    <a:lnTo>
                      <a:pt x="561" y="138"/>
                    </a:lnTo>
                    <a:lnTo>
                      <a:pt x="561" y="150"/>
                    </a:lnTo>
                    <a:lnTo>
                      <a:pt x="555" y="164"/>
                    </a:lnTo>
                    <a:lnTo>
                      <a:pt x="547" y="158"/>
                    </a:lnTo>
                    <a:lnTo>
                      <a:pt x="547" y="144"/>
                    </a:lnTo>
                    <a:lnTo>
                      <a:pt x="541" y="150"/>
                    </a:lnTo>
                    <a:lnTo>
                      <a:pt x="541" y="172"/>
                    </a:lnTo>
                    <a:lnTo>
                      <a:pt x="535" y="172"/>
                    </a:lnTo>
                    <a:lnTo>
                      <a:pt x="527" y="172"/>
                    </a:lnTo>
                    <a:lnTo>
                      <a:pt x="521" y="178"/>
                    </a:lnTo>
                    <a:lnTo>
                      <a:pt x="527" y="186"/>
                    </a:lnTo>
                    <a:lnTo>
                      <a:pt x="521" y="192"/>
                    </a:lnTo>
                    <a:lnTo>
                      <a:pt x="513" y="198"/>
                    </a:lnTo>
                    <a:lnTo>
                      <a:pt x="513" y="206"/>
                    </a:lnTo>
                    <a:lnTo>
                      <a:pt x="521" y="212"/>
                    </a:lnTo>
                    <a:lnTo>
                      <a:pt x="513" y="220"/>
                    </a:lnTo>
                    <a:lnTo>
                      <a:pt x="493" y="220"/>
                    </a:lnTo>
                    <a:lnTo>
                      <a:pt x="493" y="212"/>
                    </a:lnTo>
                    <a:lnTo>
                      <a:pt x="485" y="220"/>
                    </a:lnTo>
                    <a:lnTo>
                      <a:pt x="485" y="226"/>
                    </a:lnTo>
                    <a:lnTo>
                      <a:pt x="485" y="240"/>
                    </a:lnTo>
                    <a:lnTo>
                      <a:pt x="485" y="246"/>
                    </a:lnTo>
                    <a:lnTo>
                      <a:pt x="479" y="260"/>
                    </a:lnTo>
                    <a:lnTo>
                      <a:pt x="479" y="246"/>
                    </a:lnTo>
                    <a:lnTo>
                      <a:pt x="479" y="234"/>
                    </a:lnTo>
                    <a:lnTo>
                      <a:pt x="479" y="226"/>
                    </a:lnTo>
                    <a:lnTo>
                      <a:pt x="471" y="234"/>
                    </a:lnTo>
                    <a:lnTo>
                      <a:pt x="465" y="234"/>
                    </a:lnTo>
                    <a:lnTo>
                      <a:pt x="457" y="234"/>
                    </a:lnTo>
                    <a:lnTo>
                      <a:pt x="451" y="240"/>
                    </a:lnTo>
                    <a:lnTo>
                      <a:pt x="457" y="240"/>
                    </a:lnTo>
                    <a:lnTo>
                      <a:pt x="465" y="246"/>
                    </a:lnTo>
                    <a:lnTo>
                      <a:pt x="465" y="254"/>
                    </a:lnTo>
                    <a:lnTo>
                      <a:pt x="457" y="246"/>
                    </a:lnTo>
                    <a:lnTo>
                      <a:pt x="451" y="254"/>
                    </a:lnTo>
                    <a:lnTo>
                      <a:pt x="443" y="246"/>
                    </a:lnTo>
                    <a:lnTo>
                      <a:pt x="437" y="246"/>
                    </a:lnTo>
                    <a:lnTo>
                      <a:pt x="437" y="260"/>
                    </a:lnTo>
                    <a:lnTo>
                      <a:pt x="431" y="268"/>
                    </a:lnTo>
                    <a:lnTo>
                      <a:pt x="451" y="260"/>
                    </a:lnTo>
                    <a:lnTo>
                      <a:pt x="457" y="268"/>
                    </a:lnTo>
                    <a:lnTo>
                      <a:pt x="457" y="274"/>
                    </a:lnTo>
                    <a:lnTo>
                      <a:pt x="443" y="274"/>
                    </a:lnTo>
                    <a:lnTo>
                      <a:pt x="437" y="274"/>
                    </a:lnTo>
                    <a:lnTo>
                      <a:pt x="431" y="282"/>
                    </a:lnTo>
                    <a:lnTo>
                      <a:pt x="431" y="288"/>
                    </a:lnTo>
                    <a:lnTo>
                      <a:pt x="443" y="288"/>
                    </a:lnTo>
                    <a:lnTo>
                      <a:pt x="443" y="302"/>
                    </a:lnTo>
                    <a:lnTo>
                      <a:pt x="437" y="302"/>
                    </a:lnTo>
                    <a:lnTo>
                      <a:pt x="431" y="302"/>
                    </a:lnTo>
                    <a:lnTo>
                      <a:pt x="423" y="308"/>
                    </a:lnTo>
                    <a:lnTo>
                      <a:pt x="417" y="316"/>
                    </a:lnTo>
                    <a:lnTo>
                      <a:pt x="403" y="308"/>
                    </a:lnTo>
                    <a:lnTo>
                      <a:pt x="395" y="316"/>
                    </a:lnTo>
                    <a:lnTo>
                      <a:pt x="395" y="324"/>
                    </a:lnTo>
                    <a:lnTo>
                      <a:pt x="395" y="330"/>
                    </a:lnTo>
                    <a:lnTo>
                      <a:pt x="389" y="330"/>
                    </a:lnTo>
                    <a:lnTo>
                      <a:pt x="381" y="336"/>
                    </a:lnTo>
                    <a:lnTo>
                      <a:pt x="389" y="344"/>
                    </a:lnTo>
                    <a:lnTo>
                      <a:pt x="381" y="350"/>
                    </a:lnTo>
                    <a:lnTo>
                      <a:pt x="367" y="350"/>
                    </a:lnTo>
                    <a:lnTo>
                      <a:pt x="375" y="358"/>
                    </a:lnTo>
                    <a:lnTo>
                      <a:pt x="381" y="364"/>
                    </a:lnTo>
                    <a:lnTo>
                      <a:pt x="389" y="358"/>
                    </a:lnTo>
                    <a:lnTo>
                      <a:pt x="389" y="370"/>
                    </a:lnTo>
                    <a:lnTo>
                      <a:pt x="375" y="370"/>
                    </a:lnTo>
                    <a:lnTo>
                      <a:pt x="367" y="370"/>
                    </a:lnTo>
                    <a:lnTo>
                      <a:pt x="367" y="378"/>
                    </a:lnTo>
                    <a:lnTo>
                      <a:pt x="375" y="384"/>
                    </a:lnTo>
                    <a:lnTo>
                      <a:pt x="367" y="392"/>
                    </a:lnTo>
                    <a:lnTo>
                      <a:pt x="361" y="392"/>
                    </a:lnTo>
                    <a:lnTo>
                      <a:pt x="353" y="398"/>
                    </a:lnTo>
                    <a:lnTo>
                      <a:pt x="347" y="406"/>
                    </a:lnTo>
                    <a:lnTo>
                      <a:pt x="353" y="412"/>
                    </a:lnTo>
                    <a:lnTo>
                      <a:pt x="353" y="418"/>
                    </a:lnTo>
                    <a:lnTo>
                      <a:pt x="347" y="426"/>
                    </a:lnTo>
                    <a:lnTo>
                      <a:pt x="341" y="418"/>
                    </a:lnTo>
                    <a:lnTo>
                      <a:pt x="341" y="412"/>
                    </a:lnTo>
                    <a:lnTo>
                      <a:pt x="332" y="426"/>
                    </a:lnTo>
                    <a:lnTo>
                      <a:pt x="332" y="432"/>
                    </a:lnTo>
                    <a:lnTo>
                      <a:pt x="341" y="432"/>
                    </a:lnTo>
                    <a:lnTo>
                      <a:pt x="341" y="446"/>
                    </a:lnTo>
                    <a:lnTo>
                      <a:pt x="332" y="454"/>
                    </a:lnTo>
                    <a:lnTo>
                      <a:pt x="326" y="454"/>
                    </a:lnTo>
                    <a:lnTo>
                      <a:pt x="326" y="468"/>
                    </a:lnTo>
                    <a:lnTo>
                      <a:pt x="318" y="474"/>
                    </a:lnTo>
                    <a:lnTo>
                      <a:pt x="312" y="474"/>
                    </a:lnTo>
                    <a:lnTo>
                      <a:pt x="312" y="480"/>
                    </a:lnTo>
                    <a:lnTo>
                      <a:pt x="318" y="480"/>
                    </a:lnTo>
                    <a:lnTo>
                      <a:pt x="318" y="488"/>
                    </a:lnTo>
                    <a:lnTo>
                      <a:pt x="318" y="496"/>
                    </a:lnTo>
                    <a:lnTo>
                      <a:pt x="312" y="502"/>
                    </a:lnTo>
                    <a:lnTo>
                      <a:pt x="298" y="496"/>
                    </a:lnTo>
                    <a:lnTo>
                      <a:pt x="298" y="488"/>
                    </a:lnTo>
                    <a:lnTo>
                      <a:pt x="290" y="480"/>
                    </a:lnTo>
                    <a:lnTo>
                      <a:pt x="284" y="488"/>
                    </a:lnTo>
                    <a:lnTo>
                      <a:pt x="276" y="496"/>
                    </a:lnTo>
                    <a:lnTo>
                      <a:pt x="270" y="496"/>
                    </a:lnTo>
                    <a:lnTo>
                      <a:pt x="264" y="496"/>
                    </a:lnTo>
                    <a:lnTo>
                      <a:pt x="264" y="508"/>
                    </a:lnTo>
                    <a:lnTo>
                      <a:pt x="256" y="516"/>
                    </a:lnTo>
                    <a:lnTo>
                      <a:pt x="250" y="528"/>
                    </a:lnTo>
                    <a:lnTo>
                      <a:pt x="242" y="528"/>
                    </a:lnTo>
                    <a:lnTo>
                      <a:pt x="236" y="528"/>
                    </a:lnTo>
                    <a:lnTo>
                      <a:pt x="236" y="536"/>
                    </a:lnTo>
                    <a:lnTo>
                      <a:pt x="236" y="550"/>
                    </a:lnTo>
                    <a:lnTo>
                      <a:pt x="228" y="544"/>
                    </a:lnTo>
                    <a:lnTo>
                      <a:pt x="222" y="550"/>
                    </a:lnTo>
                    <a:lnTo>
                      <a:pt x="214" y="556"/>
                    </a:lnTo>
                    <a:lnTo>
                      <a:pt x="208" y="550"/>
                    </a:lnTo>
                    <a:lnTo>
                      <a:pt x="202" y="556"/>
                    </a:lnTo>
                    <a:lnTo>
                      <a:pt x="194" y="564"/>
                    </a:lnTo>
                    <a:lnTo>
                      <a:pt x="188" y="564"/>
                    </a:lnTo>
                    <a:lnTo>
                      <a:pt x="188" y="578"/>
                    </a:lnTo>
                    <a:lnTo>
                      <a:pt x="180" y="570"/>
                    </a:lnTo>
                    <a:lnTo>
                      <a:pt x="172" y="570"/>
                    </a:lnTo>
                    <a:lnTo>
                      <a:pt x="180" y="578"/>
                    </a:lnTo>
                    <a:lnTo>
                      <a:pt x="180" y="584"/>
                    </a:lnTo>
                    <a:lnTo>
                      <a:pt x="172" y="584"/>
                    </a:lnTo>
                    <a:lnTo>
                      <a:pt x="166" y="578"/>
                    </a:lnTo>
                    <a:lnTo>
                      <a:pt x="160" y="584"/>
                    </a:lnTo>
                    <a:lnTo>
                      <a:pt x="152" y="584"/>
                    </a:lnTo>
                    <a:lnTo>
                      <a:pt x="146" y="584"/>
                    </a:lnTo>
                    <a:lnTo>
                      <a:pt x="138" y="584"/>
                    </a:lnTo>
                    <a:lnTo>
                      <a:pt x="138" y="592"/>
                    </a:lnTo>
                    <a:lnTo>
                      <a:pt x="146" y="604"/>
                    </a:lnTo>
                    <a:lnTo>
                      <a:pt x="138" y="604"/>
                    </a:lnTo>
                    <a:lnTo>
                      <a:pt x="130" y="604"/>
                    </a:lnTo>
                    <a:lnTo>
                      <a:pt x="118" y="598"/>
                    </a:lnTo>
                    <a:lnTo>
                      <a:pt x="110" y="598"/>
                    </a:lnTo>
                    <a:lnTo>
                      <a:pt x="104" y="604"/>
                    </a:lnTo>
                    <a:lnTo>
                      <a:pt x="110" y="612"/>
                    </a:lnTo>
                    <a:lnTo>
                      <a:pt x="110" y="618"/>
                    </a:lnTo>
                    <a:lnTo>
                      <a:pt x="104" y="618"/>
                    </a:lnTo>
                    <a:lnTo>
                      <a:pt x="90" y="618"/>
                    </a:lnTo>
                    <a:lnTo>
                      <a:pt x="82" y="632"/>
                    </a:lnTo>
                    <a:lnTo>
                      <a:pt x="82" y="618"/>
                    </a:lnTo>
                    <a:lnTo>
                      <a:pt x="76" y="618"/>
                    </a:lnTo>
                    <a:lnTo>
                      <a:pt x="68" y="626"/>
                    </a:lnTo>
                    <a:lnTo>
                      <a:pt x="62" y="618"/>
                    </a:lnTo>
                    <a:lnTo>
                      <a:pt x="56" y="618"/>
                    </a:lnTo>
                    <a:lnTo>
                      <a:pt x="48" y="618"/>
                    </a:lnTo>
                    <a:lnTo>
                      <a:pt x="48" y="626"/>
                    </a:lnTo>
                    <a:lnTo>
                      <a:pt x="48" y="632"/>
                    </a:lnTo>
                    <a:lnTo>
                      <a:pt x="56" y="640"/>
                    </a:lnTo>
                    <a:lnTo>
                      <a:pt x="62" y="640"/>
                    </a:lnTo>
                    <a:lnTo>
                      <a:pt x="62" y="646"/>
                    </a:lnTo>
                    <a:lnTo>
                      <a:pt x="56" y="646"/>
                    </a:lnTo>
                    <a:lnTo>
                      <a:pt x="48" y="654"/>
                    </a:lnTo>
                    <a:lnTo>
                      <a:pt x="34" y="654"/>
                    </a:lnTo>
                    <a:lnTo>
                      <a:pt x="34" y="660"/>
                    </a:lnTo>
                    <a:lnTo>
                      <a:pt x="42" y="668"/>
                    </a:lnTo>
                    <a:lnTo>
                      <a:pt x="42" y="674"/>
                    </a:lnTo>
                    <a:lnTo>
                      <a:pt x="28" y="668"/>
                    </a:lnTo>
                    <a:lnTo>
                      <a:pt x="28" y="674"/>
                    </a:lnTo>
                    <a:lnTo>
                      <a:pt x="28" y="680"/>
                    </a:lnTo>
                    <a:lnTo>
                      <a:pt x="34" y="694"/>
                    </a:lnTo>
                    <a:lnTo>
                      <a:pt x="48" y="694"/>
                    </a:lnTo>
                    <a:lnTo>
                      <a:pt x="48" y="702"/>
                    </a:lnTo>
                    <a:lnTo>
                      <a:pt x="42" y="702"/>
                    </a:lnTo>
                    <a:lnTo>
                      <a:pt x="28" y="694"/>
                    </a:lnTo>
                    <a:lnTo>
                      <a:pt x="28" y="702"/>
                    </a:lnTo>
                    <a:lnTo>
                      <a:pt x="28" y="708"/>
                    </a:lnTo>
                    <a:lnTo>
                      <a:pt x="34" y="722"/>
                    </a:lnTo>
                    <a:lnTo>
                      <a:pt x="42" y="728"/>
                    </a:lnTo>
                    <a:lnTo>
                      <a:pt x="34" y="736"/>
                    </a:lnTo>
                    <a:lnTo>
                      <a:pt x="28" y="728"/>
                    </a:lnTo>
                    <a:lnTo>
                      <a:pt x="20" y="736"/>
                    </a:lnTo>
                    <a:lnTo>
                      <a:pt x="20" y="742"/>
                    </a:lnTo>
                    <a:lnTo>
                      <a:pt x="34" y="750"/>
                    </a:lnTo>
                    <a:lnTo>
                      <a:pt x="28" y="750"/>
                    </a:lnTo>
                    <a:lnTo>
                      <a:pt x="20" y="750"/>
                    </a:lnTo>
                    <a:lnTo>
                      <a:pt x="20" y="756"/>
                    </a:lnTo>
                    <a:lnTo>
                      <a:pt x="28" y="764"/>
                    </a:lnTo>
                    <a:lnTo>
                      <a:pt x="34" y="770"/>
                    </a:lnTo>
                    <a:lnTo>
                      <a:pt x="48" y="770"/>
                    </a:lnTo>
                    <a:lnTo>
                      <a:pt x="62" y="764"/>
                    </a:lnTo>
                    <a:lnTo>
                      <a:pt x="48" y="776"/>
                    </a:lnTo>
                    <a:lnTo>
                      <a:pt x="42" y="784"/>
                    </a:lnTo>
                    <a:lnTo>
                      <a:pt x="34" y="790"/>
                    </a:lnTo>
                    <a:lnTo>
                      <a:pt x="48" y="804"/>
                    </a:lnTo>
                    <a:lnTo>
                      <a:pt x="42" y="804"/>
                    </a:lnTo>
                    <a:lnTo>
                      <a:pt x="34" y="804"/>
                    </a:lnTo>
                    <a:lnTo>
                      <a:pt x="28" y="812"/>
                    </a:lnTo>
                    <a:lnTo>
                      <a:pt x="20" y="804"/>
                    </a:lnTo>
                    <a:lnTo>
                      <a:pt x="14" y="804"/>
                    </a:lnTo>
                    <a:lnTo>
                      <a:pt x="6" y="818"/>
                    </a:lnTo>
                    <a:lnTo>
                      <a:pt x="6" y="826"/>
                    </a:lnTo>
                    <a:lnTo>
                      <a:pt x="0" y="838"/>
                    </a:lnTo>
                    <a:lnTo>
                      <a:pt x="6" y="846"/>
                    </a:lnTo>
                    <a:lnTo>
                      <a:pt x="20" y="826"/>
                    </a:lnTo>
                    <a:lnTo>
                      <a:pt x="34" y="826"/>
                    </a:lnTo>
                    <a:lnTo>
                      <a:pt x="34" y="832"/>
                    </a:lnTo>
                    <a:lnTo>
                      <a:pt x="34" y="846"/>
                    </a:lnTo>
                    <a:lnTo>
                      <a:pt x="28" y="846"/>
                    </a:lnTo>
                    <a:lnTo>
                      <a:pt x="28" y="860"/>
                    </a:lnTo>
                    <a:lnTo>
                      <a:pt x="20" y="866"/>
                    </a:lnTo>
                    <a:lnTo>
                      <a:pt x="20" y="860"/>
                    </a:lnTo>
                    <a:lnTo>
                      <a:pt x="14" y="866"/>
                    </a:lnTo>
                    <a:lnTo>
                      <a:pt x="14" y="874"/>
                    </a:lnTo>
                    <a:lnTo>
                      <a:pt x="14" y="886"/>
                    </a:lnTo>
                    <a:lnTo>
                      <a:pt x="14" y="894"/>
                    </a:lnTo>
                    <a:lnTo>
                      <a:pt x="28" y="908"/>
                    </a:lnTo>
                    <a:lnTo>
                      <a:pt x="48" y="914"/>
                    </a:lnTo>
                    <a:lnTo>
                      <a:pt x="34" y="928"/>
                    </a:lnTo>
                    <a:lnTo>
                      <a:pt x="48" y="936"/>
                    </a:lnTo>
                    <a:lnTo>
                      <a:pt x="56" y="928"/>
                    </a:lnTo>
                    <a:lnTo>
                      <a:pt x="56" y="942"/>
                    </a:lnTo>
                    <a:lnTo>
                      <a:pt x="76" y="942"/>
                    </a:lnTo>
                    <a:lnTo>
                      <a:pt x="90" y="942"/>
                    </a:lnTo>
                    <a:lnTo>
                      <a:pt x="104" y="936"/>
                    </a:lnTo>
                    <a:lnTo>
                      <a:pt x="104" y="942"/>
                    </a:lnTo>
                    <a:lnTo>
                      <a:pt x="118" y="936"/>
                    </a:lnTo>
                    <a:lnTo>
                      <a:pt x="124" y="928"/>
                    </a:lnTo>
                    <a:lnTo>
                      <a:pt x="130" y="914"/>
                    </a:lnTo>
                    <a:lnTo>
                      <a:pt x="138" y="908"/>
                    </a:lnTo>
                    <a:lnTo>
                      <a:pt x="160" y="900"/>
                    </a:lnTo>
                    <a:lnTo>
                      <a:pt x="160" y="894"/>
                    </a:lnTo>
                    <a:lnTo>
                      <a:pt x="166" y="886"/>
                    </a:lnTo>
                    <a:lnTo>
                      <a:pt x="180" y="886"/>
                    </a:lnTo>
                    <a:lnTo>
                      <a:pt x="180" y="894"/>
                    </a:lnTo>
                    <a:lnTo>
                      <a:pt x="188" y="900"/>
                    </a:lnTo>
                    <a:lnTo>
                      <a:pt x="202" y="894"/>
                    </a:lnTo>
                    <a:lnTo>
                      <a:pt x="202" y="880"/>
                    </a:lnTo>
                    <a:lnTo>
                      <a:pt x="214" y="866"/>
                    </a:lnTo>
                    <a:lnTo>
                      <a:pt x="214" y="852"/>
                    </a:lnTo>
                    <a:lnTo>
                      <a:pt x="208" y="846"/>
                    </a:lnTo>
                    <a:lnTo>
                      <a:pt x="222" y="832"/>
                    </a:lnTo>
                    <a:lnTo>
                      <a:pt x="228" y="826"/>
                    </a:lnTo>
                    <a:lnTo>
                      <a:pt x="236" y="818"/>
                    </a:lnTo>
                    <a:lnTo>
                      <a:pt x="242" y="818"/>
                    </a:lnTo>
                    <a:lnTo>
                      <a:pt x="242" y="832"/>
                    </a:lnTo>
                    <a:lnTo>
                      <a:pt x="236" y="838"/>
                    </a:lnTo>
                    <a:lnTo>
                      <a:pt x="228" y="838"/>
                    </a:lnTo>
                    <a:lnTo>
                      <a:pt x="228" y="852"/>
                    </a:lnTo>
                    <a:lnTo>
                      <a:pt x="236" y="852"/>
                    </a:lnTo>
                    <a:lnTo>
                      <a:pt x="256" y="866"/>
                    </a:lnTo>
                    <a:lnTo>
                      <a:pt x="242" y="880"/>
                    </a:lnTo>
                    <a:lnTo>
                      <a:pt x="242" y="880"/>
                    </a:lnTo>
                    <a:lnTo>
                      <a:pt x="242" y="88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7" name="Freeform 61"/>
              <p:cNvSpPr>
                <a:spLocks/>
              </p:cNvSpPr>
              <p:nvPr>
                <p:custDataLst>
                  <p:tags r:id="rId145"/>
                </p:custDataLst>
              </p:nvPr>
            </p:nvSpPr>
            <p:spPr bwMode="gray">
              <a:xfrm>
                <a:off x="4749300" y="1085189"/>
                <a:ext cx="757406" cy="1575150"/>
              </a:xfrm>
              <a:custGeom>
                <a:avLst/>
                <a:gdLst>
                  <a:gd name="T0" fmla="*/ 465 w 477"/>
                  <a:gd name="T1" fmla="*/ 180 h 992"/>
                  <a:gd name="T2" fmla="*/ 465 w 477"/>
                  <a:gd name="T3" fmla="*/ 130 h 992"/>
                  <a:gd name="T4" fmla="*/ 443 w 477"/>
                  <a:gd name="T5" fmla="*/ 104 h 992"/>
                  <a:gd name="T6" fmla="*/ 451 w 477"/>
                  <a:gd name="T7" fmla="*/ 68 h 992"/>
                  <a:gd name="T8" fmla="*/ 409 w 477"/>
                  <a:gd name="T9" fmla="*/ 34 h 992"/>
                  <a:gd name="T10" fmla="*/ 375 w 477"/>
                  <a:gd name="T11" fmla="*/ 8 h 992"/>
                  <a:gd name="T12" fmla="*/ 347 w 477"/>
                  <a:gd name="T13" fmla="*/ 28 h 992"/>
                  <a:gd name="T14" fmla="*/ 311 w 477"/>
                  <a:gd name="T15" fmla="*/ 42 h 992"/>
                  <a:gd name="T16" fmla="*/ 277 w 477"/>
                  <a:gd name="T17" fmla="*/ 62 h 992"/>
                  <a:gd name="T18" fmla="*/ 237 w 477"/>
                  <a:gd name="T19" fmla="*/ 104 h 992"/>
                  <a:gd name="T20" fmla="*/ 237 w 477"/>
                  <a:gd name="T21" fmla="*/ 144 h 992"/>
                  <a:gd name="T22" fmla="*/ 201 w 477"/>
                  <a:gd name="T23" fmla="*/ 192 h 992"/>
                  <a:gd name="T24" fmla="*/ 159 w 477"/>
                  <a:gd name="T25" fmla="*/ 240 h 992"/>
                  <a:gd name="T26" fmla="*/ 153 w 477"/>
                  <a:gd name="T27" fmla="*/ 296 h 992"/>
                  <a:gd name="T28" fmla="*/ 139 w 477"/>
                  <a:gd name="T29" fmla="*/ 338 h 992"/>
                  <a:gd name="T30" fmla="*/ 111 w 477"/>
                  <a:gd name="T31" fmla="*/ 366 h 992"/>
                  <a:gd name="T32" fmla="*/ 76 w 477"/>
                  <a:gd name="T33" fmla="*/ 380 h 992"/>
                  <a:gd name="T34" fmla="*/ 62 w 477"/>
                  <a:gd name="T35" fmla="*/ 442 h 992"/>
                  <a:gd name="T36" fmla="*/ 68 w 477"/>
                  <a:gd name="T37" fmla="*/ 490 h 992"/>
                  <a:gd name="T38" fmla="*/ 76 w 477"/>
                  <a:gd name="T39" fmla="*/ 530 h 992"/>
                  <a:gd name="T40" fmla="*/ 56 w 477"/>
                  <a:gd name="T41" fmla="*/ 580 h 992"/>
                  <a:gd name="T42" fmla="*/ 56 w 477"/>
                  <a:gd name="T43" fmla="*/ 648 h 992"/>
                  <a:gd name="T44" fmla="*/ 28 w 477"/>
                  <a:gd name="T45" fmla="*/ 670 h 992"/>
                  <a:gd name="T46" fmla="*/ 20 w 477"/>
                  <a:gd name="T47" fmla="*/ 710 h 992"/>
                  <a:gd name="T48" fmla="*/ 0 w 477"/>
                  <a:gd name="T49" fmla="*/ 704 h 992"/>
                  <a:gd name="T50" fmla="*/ 0 w 477"/>
                  <a:gd name="T51" fmla="*/ 752 h 992"/>
                  <a:gd name="T52" fmla="*/ 14 w 477"/>
                  <a:gd name="T53" fmla="*/ 772 h 992"/>
                  <a:gd name="T54" fmla="*/ 14 w 477"/>
                  <a:gd name="T55" fmla="*/ 814 h 992"/>
                  <a:gd name="T56" fmla="*/ 14 w 477"/>
                  <a:gd name="T57" fmla="*/ 862 h 992"/>
                  <a:gd name="T58" fmla="*/ 42 w 477"/>
                  <a:gd name="T59" fmla="*/ 902 h 992"/>
                  <a:gd name="T60" fmla="*/ 28 w 477"/>
                  <a:gd name="T61" fmla="*/ 930 h 992"/>
                  <a:gd name="T62" fmla="*/ 42 w 477"/>
                  <a:gd name="T63" fmla="*/ 964 h 992"/>
                  <a:gd name="T64" fmla="*/ 56 w 477"/>
                  <a:gd name="T65" fmla="*/ 992 h 992"/>
                  <a:gd name="T66" fmla="*/ 99 w 477"/>
                  <a:gd name="T67" fmla="*/ 986 h 992"/>
                  <a:gd name="T68" fmla="*/ 119 w 477"/>
                  <a:gd name="T69" fmla="*/ 952 h 992"/>
                  <a:gd name="T70" fmla="*/ 153 w 477"/>
                  <a:gd name="T71" fmla="*/ 938 h 992"/>
                  <a:gd name="T72" fmla="*/ 181 w 477"/>
                  <a:gd name="T73" fmla="*/ 930 h 992"/>
                  <a:gd name="T74" fmla="*/ 209 w 477"/>
                  <a:gd name="T75" fmla="*/ 876 h 992"/>
                  <a:gd name="T76" fmla="*/ 209 w 477"/>
                  <a:gd name="T77" fmla="*/ 840 h 992"/>
                  <a:gd name="T78" fmla="*/ 223 w 477"/>
                  <a:gd name="T79" fmla="*/ 800 h 992"/>
                  <a:gd name="T80" fmla="*/ 209 w 477"/>
                  <a:gd name="T81" fmla="*/ 758 h 992"/>
                  <a:gd name="T82" fmla="*/ 249 w 477"/>
                  <a:gd name="T83" fmla="*/ 738 h 992"/>
                  <a:gd name="T84" fmla="*/ 277 w 477"/>
                  <a:gd name="T85" fmla="*/ 724 h 992"/>
                  <a:gd name="T86" fmla="*/ 291 w 477"/>
                  <a:gd name="T87" fmla="*/ 690 h 992"/>
                  <a:gd name="T88" fmla="*/ 291 w 477"/>
                  <a:gd name="T89" fmla="*/ 654 h 992"/>
                  <a:gd name="T90" fmla="*/ 277 w 477"/>
                  <a:gd name="T91" fmla="*/ 620 h 992"/>
                  <a:gd name="T92" fmla="*/ 249 w 477"/>
                  <a:gd name="T93" fmla="*/ 592 h 992"/>
                  <a:gd name="T94" fmla="*/ 249 w 477"/>
                  <a:gd name="T95" fmla="*/ 566 h 992"/>
                  <a:gd name="T96" fmla="*/ 249 w 477"/>
                  <a:gd name="T97" fmla="*/ 524 h 992"/>
                  <a:gd name="T98" fmla="*/ 243 w 477"/>
                  <a:gd name="T99" fmla="*/ 482 h 992"/>
                  <a:gd name="T100" fmla="*/ 277 w 477"/>
                  <a:gd name="T101" fmla="*/ 462 h 992"/>
                  <a:gd name="T102" fmla="*/ 313 w 477"/>
                  <a:gd name="T103" fmla="*/ 428 h 992"/>
                  <a:gd name="T104" fmla="*/ 347 w 477"/>
                  <a:gd name="T105" fmla="*/ 406 h 992"/>
                  <a:gd name="T106" fmla="*/ 367 w 477"/>
                  <a:gd name="T107" fmla="*/ 372 h 992"/>
                  <a:gd name="T108" fmla="*/ 389 w 477"/>
                  <a:gd name="T109" fmla="*/ 330 h 992"/>
                  <a:gd name="T110" fmla="*/ 389 w 477"/>
                  <a:gd name="T111" fmla="*/ 282 h 992"/>
                  <a:gd name="T112" fmla="*/ 417 w 477"/>
                  <a:gd name="T113" fmla="*/ 254 h 992"/>
                  <a:gd name="T114" fmla="*/ 429 w 477"/>
                  <a:gd name="T115" fmla="*/ 228 h 992"/>
                  <a:gd name="T116" fmla="*/ 471 w 477"/>
                  <a:gd name="T117" fmla="*/ 228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7" h="992">
                    <a:moveTo>
                      <a:pt x="477" y="220"/>
                    </a:moveTo>
                    <a:lnTo>
                      <a:pt x="477" y="206"/>
                    </a:lnTo>
                    <a:lnTo>
                      <a:pt x="471" y="200"/>
                    </a:lnTo>
                    <a:lnTo>
                      <a:pt x="465" y="186"/>
                    </a:lnTo>
                    <a:lnTo>
                      <a:pt x="465" y="180"/>
                    </a:lnTo>
                    <a:lnTo>
                      <a:pt x="465" y="166"/>
                    </a:lnTo>
                    <a:lnTo>
                      <a:pt x="465" y="152"/>
                    </a:lnTo>
                    <a:lnTo>
                      <a:pt x="471" y="144"/>
                    </a:lnTo>
                    <a:lnTo>
                      <a:pt x="465" y="138"/>
                    </a:lnTo>
                    <a:lnTo>
                      <a:pt x="465" y="130"/>
                    </a:lnTo>
                    <a:lnTo>
                      <a:pt x="457" y="124"/>
                    </a:lnTo>
                    <a:lnTo>
                      <a:pt x="457" y="116"/>
                    </a:lnTo>
                    <a:lnTo>
                      <a:pt x="457" y="110"/>
                    </a:lnTo>
                    <a:lnTo>
                      <a:pt x="457" y="104"/>
                    </a:lnTo>
                    <a:lnTo>
                      <a:pt x="443" y="104"/>
                    </a:lnTo>
                    <a:lnTo>
                      <a:pt x="451" y="96"/>
                    </a:lnTo>
                    <a:lnTo>
                      <a:pt x="451" y="90"/>
                    </a:lnTo>
                    <a:lnTo>
                      <a:pt x="451" y="82"/>
                    </a:lnTo>
                    <a:lnTo>
                      <a:pt x="451" y="76"/>
                    </a:lnTo>
                    <a:lnTo>
                      <a:pt x="451" y="68"/>
                    </a:lnTo>
                    <a:lnTo>
                      <a:pt x="443" y="62"/>
                    </a:lnTo>
                    <a:lnTo>
                      <a:pt x="443" y="48"/>
                    </a:lnTo>
                    <a:lnTo>
                      <a:pt x="437" y="48"/>
                    </a:lnTo>
                    <a:lnTo>
                      <a:pt x="423" y="42"/>
                    </a:lnTo>
                    <a:lnTo>
                      <a:pt x="409" y="34"/>
                    </a:lnTo>
                    <a:lnTo>
                      <a:pt x="403" y="34"/>
                    </a:lnTo>
                    <a:lnTo>
                      <a:pt x="395" y="28"/>
                    </a:lnTo>
                    <a:lnTo>
                      <a:pt x="387" y="28"/>
                    </a:lnTo>
                    <a:lnTo>
                      <a:pt x="387" y="14"/>
                    </a:lnTo>
                    <a:lnTo>
                      <a:pt x="375" y="8"/>
                    </a:lnTo>
                    <a:lnTo>
                      <a:pt x="361" y="0"/>
                    </a:lnTo>
                    <a:lnTo>
                      <a:pt x="347" y="0"/>
                    </a:lnTo>
                    <a:lnTo>
                      <a:pt x="347" y="8"/>
                    </a:lnTo>
                    <a:lnTo>
                      <a:pt x="347" y="20"/>
                    </a:lnTo>
                    <a:lnTo>
                      <a:pt x="347" y="28"/>
                    </a:lnTo>
                    <a:lnTo>
                      <a:pt x="333" y="20"/>
                    </a:lnTo>
                    <a:lnTo>
                      <a:pt x="327" y="42"/>
                    </a:lnTo>
                    <a:lnTo>
                      <a:pt x="327" y="48"/>
                    </a:lnTo>
                    <a:lnTo>
                      <a:pt x="319" y="48"/>
                    </a:lnTo>
                    <a:lnTo>
                      <a:pt x="311" y="42"/>
                    </a:lnTo>
                    <a:lnTo>
                      <a:pt x="297" y="48"/>
                    </a:lnTo>
                    <a:lnTo>
                      <a:pt x="297" y="62"/>
                    </a:lnTo>
                    <a:lnTo>
                      <a:pt x="297" y="68"/>
                    </a:lnTo>
                    <a:lnTo>
                      <a:pt x="291" y="68"/>
                    </a:lnTo>
                    <a:lnTo>
                      <a:pt x="277" y="62"/>
                    </a:lnTo>
                    <a:lnTo>
                      <a:pt x="271" y="62"/>
                    </a:lnTo>
                    <a:lnTo>
                      <a:pt x="263" y="76"/>
                    </a:lnTo>
                    <a:lnTo>
                      <a:pt x="263" y="82"/>
                    </a:lnTo>
                    <a:lnTo>
                      <a:pt x="243" y="96"/>
                    </a:lnTo>
                    <a:lnTo>
                      <a:pt x="237" y="104"/>
                    </a:lnTo>
                    <a:lnTo>
                      <a:pt x="229" y="110"/>
                    </a:lnTo>
                    <a:lnTo>
                      <a:pt x="237" y="116"/>
                    </a:lnTo>
                    <a:lnTo>
                      <a:pt x="243" y="130"/>
                    </a:lnTo>
                    <a:lnTo>
                      <a:pt x="237" y="138"/>
                    </a:lnTo>
                    <a:lnTo>
                      <a:pt x="237" y="144"/>
                    </a:lnTo>
                    <a:lnTo>
                      <a:pt x="223" y="158"/>
                    </a:lnTo>
                    <a:lnTo>
                      <a:pt x="207" y="166"/>
                    </a:lnTo>
                    <a:lnTo>
                      <a:pt x="207" y="180"/>
                    </a:lnTo>
                    <a:lnTo>
                      <a:pt x="207" y="186"/>
                    </a:lnTo>
                    <a:lnTo>
                      <a:pt x="201" y="192"/>
                    </a:lnTo>
                    <a:lnTo>
                      <a:pt x="187" y="200"/>
                    </a:lnTo>
                    <a:lnTo>
                      <a:pt x="173" y="206"/>
                    </a:lnTo>
                    <a:lnTo>
                      <a:pt x="173" y="220"/>
                    </a:lnTo>
                    <a:lnTo>
                      <a:pt x="167" y="234"/>
                    </a:lnTo>
                    <a:lnTo>
                      <a:pt x="159" y="240"/>
                    </a:lnTo>
                    <a:lnTo>
                      <a:pt x="159" y="254"/>
                    </a:lnTo>
                    <a:lnTo>
                      <a:pt x="159" y="262"/>
                    </a:lnTo>
                    <a:lnTo>
                      <a:pt x="159" y="268"/>
                    </a:lnTo>
                    <a:lnTo>
                      <a:pt x="153" y="290"/>
                    </a:lnTo>
                    <a:lnTo>
                      <a:pt x="153" y="296"/>
                    </a:lnTo>
                    <a:lnTo>
                      <a:pt x="139" y="302"/>
                    </a:lnTo>
                    <a:lnTo>
                      <a:pt x="133" y="310"/>
                    </a:lnTo>
                    <a:lnTo>
                      <a:pt x="139" y="324"/>
                    </a:lnTo>
                    <a:lnTo>
                      <a:pt x="139" y="330"/>
                    </a:lnTo>
                    <a:lnTo>
                      <a:pt x="139" y="338"/>
                    </a:lnTo>
                    <a:lnTo>
                      <a:pt x="147" y="352"/>
                    </a:lnTo>
                    <a:lnTo>
                      <a:pt x="139" y="358"/>
                    </a:lnTo>
                    <a:lnTo>
                      <a:pt x="125" y="358"/>
                    </a:lnTo>
                    <a:lnTo>
                      <a:pt x="119" y="358"/>
                    </a:lnTo>
                    <a:lnTo>
                      <a:pt x="111" y="366"/>
                    </a:lnTo>
                    <a:lnTo>
                      <a:pt x="105" y="372"/>
                    </a:lnTo>
                    <a:lnTo>
                      <a:pt x="97" y="372"/>
                    </a:lnTo>
                    <a:lnTo>
                      <a:pt x="97" y="366"/>
                    </a:lnTo>
                    <a:lnTo>
                      <a:pt x="82" y="372"/>
                    </a:lnTo>
                    <a:lnTo>
                      <a:pt x="76" y="380"/>
                    </a:lnTo>
                    <a:lnTo>
                      <a:pt x="68" y="392"/>
                    </a:lnTo>
                    <a:lnTo>
                      <a:pt x="68" y="406"/>
                    </a:lnTo>
                    <a:lnTo>
                      <a:pt x="68" y="420"/>
                    </a:lnTo>
                    <a:lnTo>
                      <a:pt x="68" y="434"/>
                    </a:lnTo>
                    <a:lnTo>
                      <a:pt x="62" y="442"/>
                    </a:lnTo>
                    <a:lnTo>
                      <a:pt x="62" y="456"/>
                    </a:lnTo>
                    <a:lnTo>
                      <a:pt x="62" y="462"/>
                    </a:lnTo>
                    <a:lnTo>
                      <a:pt x="68" y="468"/>
                    </a:lnTo>
                    <a:lnTo>
                      <a:pt x="68" y="482"/>
                    </a:lnTo>
                    <a:lnTo>
                      <a:pt x="68" y="490"/>
                    </a:lnTo>
                    <a:lnTo>
                      <a:pt x="62" y="504"/>
                    </a:lnTo>
                    <a:lnTo>
                      <a:pt x="62" y="510"/>
                    </a:lnTo>
                    <a:lnTo>
                      <a:pt x="62" y="516"/>
                    </a:lnTo>
                    <a:lnTo>
                      <a:pt x="68" y="524"/>
                    </a:lnTo>
                    <a:lnTo>
                      <a:pt x="76" y="530"/>
                    </a:lnTo>
                    <a:lnTo>
                      <a:pt x="76" y="538"/>
                    </a:lnTo>
                    <a:lnTo>
                      <a:pt x="76" y="552"/>
                    </a:lnTo>
                    <a:lnTo>
                      <a:pt x="76" y="558"/>
                    </a:lnTo>
                    <a:lnTo>
                      <a:pt x="56" y="572"/>
                    </a:lnTo>
                    <a:lnTo>
                      <a:pt x="56" y="580"/>
                    </a:lnTo>
                    <a:lnTo>
                      <a:pt x="62" y="592"/>
                    </a:lnTo>
                    <a:lnTo>
                      <a:pt x="62" y="600"/>
                    </a:lnTo>
                    <a:lnTo>
                      <a:pt x="62" y="606"/>
                    </a:lnTo>
                    <a:lnTo>
                      <a:pt x="62" y="628"/>
                    </a:lnTo>
                    <a:lnTo>
                      <a:pt x="56" y="648"/>
                    </a:lnTo>
                    <a:lnTo>
                      <a:pt x="48" y="648"/>
                    </a:lnTo>
                    <a:lnTo>
                      <a:pt x="42" y="648"/>
                    </a:lnTo>
                    <a:lnTo>
                      <a:pt x="34" y="654"/>
                    </a:lnTo>
                    <a:lnTo>
                      <a:pt x="34" y="662"/>
                    </a:lnTo>
                    <a:lnTo>
                      <a:pt x="28" y="670"/>
                    </a:lnTo>
                    <a:lnTo>
                      <a:pt x="28" y="676"/>
                    </a:lnTo>
                    <a:lnTo>
                      <a:pt x="14" y="690"/>
                    </a:lnTo>
                    <a:lnTo>
                      <a:pt x="20" y="696"/>
                    </a:lnTo>
                    <a:lnTo>
                      <a:pt x="20" y="704"/>
                    </a:lnTo>
                    <a:lnTo>
                      <a:pt x="20" y="710"/>
                    </a:lnTo>
                    <a:lnTo>
                      <a:pt x="14" y="718"/>
                    </a:lnTo>
                    <a:lnTo>
                      <a:pt x="6" y="710"/>
                    </a:lnTo>
                    <a:lnTo>
                      <a:pt x="6" y="704"/>
                    </a:lnTo>
                    <a:lnTo>
                      <a:pt x="0" y="704"/>
                    </a:lnTo>
                    <a:lnTo>
                      <a:pt x="0" y="704"/>
                    </a:lnTo>
                    <a:lnTo>
                      <a:pt x="0" y="718"/>
                    </a:lnTo>
                    <a:lnTo>
                      <a:pt x="0" y="724"/>
                    </a:lnTo>
                    <a:lnTo>
                      <a:pt x="0" y="738"/>
                    </a:lnTo>
                    <a:lnTo>
                      <a:pt x="0" y="744"/>
                    </a:lnTo>
                    <a:lnTo>
                      <a:pt x="0" y="752"/>
                    </a:lnTo>
                    <a:lnTo>
                      <a:pt x="0" y="758"/>
                    </a:lnTo>
                    <a:lnTo>
                      <a:pt x="0" y="766"/>
                    </a:lnTo>
                    <a:lnTo>
                      <a:pt x="8" y="766"/>
                    </a:lnTo>
                    <a:lnTo>
                      <a:pt x="8" y="780"/>
                    </a:lnTo>
                    <a:lnTo>
                      <a:pt x="14" y="772"/>
                    </a:lnTo>
                    <a:lnTo>
                      <a:pt x="20" y="780"/>
                    </a:lnTo>
                    <a:lnTo>
                      <a:pt x="14" y="794"/>
                    </a:lnTo>
                    <a:lnTo>
                      <a:pt x="14" y="800"/>
                    </a:lnTo>
                    <a:lnTo>
                      <a:pt x="14" y="806"/>
                    </a:lnTo>
                    <a:lnTo>
                      <a:pt x="14" y="814"/>
                    </a:lnTo>
                    <a:lnTo>
                      <a:pt x="14" y="828"/>
                    </a:lnTo>
                    <a:lnTo>
                      <a:pt x="14" y="834"/>
                    </a:lnTo>
                    <a:lnTo>
                      <a:pt x="20" y="840"/>
                    </a:lnTo>
                    <a:lnTo>
                      <a:pt x="14" y="848"/>
                    </a:lnTo>
                    <a:lnTo>
                      <a:pt x="14" y="862"/>
                    </a:lnTo>
                    <a:lnTo>
                      <a:pt x="20" y="868"/>
                    </a:lnTo>
                    <a:lnTo>
                      <a:pt x="28" y="868"/>
                    </a:lnTo>
                    <a:lnTo>
                      <a:pt x="28" y="890"/>
                    </a:lnTo>
                    <a:lnTo>
                      <a:pt x="42" y="896"/>
                    </a:lnTo>
                    <a:lnTo>
                      <a:pt x="42" y="902"/>
                    </a:lnTo>
                    <a:lnTo>
                      <a:pt x="42" y="910"/>
                    </a:lnTo>
                    <a:lnTo>
                      <a:pt x="34" y="910"/>
                    </a:lnTo>
                    <a:lnTo>
                      <a:pt x="34" y="918"/>
                    </a:lnTo>
                    <a:lnTo>
                      <a:pt x="28" y="924"/>
                    </a:lnTo>
                    <a:lnTo>
                      <a:pt x="28" y="930"/>
                    </a:lnTo>
                    <a:lnTo>
                      <a:pt x="28" y="938"/>
                    </a:lnTo>
                    <a:lnTo>
                      <a:pt x="34" y="944"/>
                    </a:lnTo>
                    <a:lnTo>
                      <a:pt x="34" y="952"/>
                    </a:lnTo>
                    <a:lnTo>
                      <a:pt x="42" y="958"/>
                    </a:lnTo>
                    <a:lnTo>
                      <a:pt x="42" y="964"/>
                    </a:lnTo>
                    <a:lnTo>
                      <a:pt x="42" y="980"/>
                    </a:lnTo>
                    <a:lnTo>
                      <a:pt x="34" y="986"/>
                    </a:lnTo>
                    <a:lnTo>
                      <a:pt x="42" y="992"/>
                    </a:lnTo>
                    <a:lnTo>
                      <a:pt x="48" y="986"/>
                    </a:lnTo>
                    <a:lnTo>
                      <a:pt x="56" y="992"/>
                    </a:lnTo>
                    <a:lnTo>
                      <a:pt x="76" y="986"/>
                    </a:lnTo>
                    <a:lnTo>
                      <a:pt x="84" y="992"/>
                    </a:lnTo>
                    <a:lnTo>
                      <a:pt x="90" y="992"/>
                    </a:lnTo>
                    <a:lnTo>
                      <a:pt x="99" y="992"/>
                    </a:lnTo>
                    <a:lnTo>
                      <a:pt x="99" y="986"/>
                    </a:lnTo>
                    <a:lnTo>
                      <a:pt x="99" y="972"/>
                    </a:lnTo>
                    <a:lnTo>
                      <a:pt x="99" y="958"/>
                    </a:lnTo>
                    <a:lnTo>
                      <a:pt x="105" y="952"/>
                    </a:lnTo>
                    <a:lnTo>
                      <a:pt x="111" y="952"/>
                    </a:lnTo>
                    <a:lnTo>
                      <a:pt x="119" y="952"/>
                    </a:lnTo>
                    <a:lnTo>
                      <a:pt x="125" y="944"/>
                    </a:lnTo>
                    <a:lnTo>
                      <a:pt x="119" y="944"/>
                    </a:lnTo>
                    <a:lnTo>
                      <a:pt x="125" y="938"/>
                    </a:lnTo>
                    <a:lnTo>
                      <a:pt x="139" y="930"/>
                    </a:lnTo>
                    <a:lnTo>
                      <a:pt x="153" y="938"/>
                    </a:lnTo>
                    <a:lnTo>
                      <a:pt x="153" y="944"/>
                    </a:lnTo>
                    <a:lnTo>
                      <a:pt x="161" y="944"/>
                    </a:lnTo>
                    <a:lnTo>
                      <a:pt x="175" y="944"/>
                    </a:lnTo>
                    <a:lnTo>
                      <a:pt x="181" y="944"/>
                    </a:lnTo>
                    <a:lnTo>
                      <a:pt x="181" y="930"/>
                    </a:lnTo>
                    <a:lnTo>
                      <a:pt x="181" y="924"/>
                    </a:lnTo>
                    <a:lnTo>
                      <a:pt x="195" y="902"/>
                    </a:lnTo>
                    <a:lnTo>
                      <a:pt x="195" y="890"/>
                    </a:lnTo>
                    <a:lnTo>
                      <a:pt x="201" y="882"/>
                    </a:lnTo>
                    <a:lnTo>
                      <a:pt x="209" y="876"/>
                    </a:lnTo>
                    <a:lnTo>
                      <a:pt x="209" y="868"/>
                    </a:lnTo>
                    <a:lnTo>
                      <a:pt x="201" y="868"/>
                    </a:lnTo>
                    <a:lnTo>
                      <a:pt x="209" y="854"/>
                    </a:lnTo>
                    <a:lnTo>
                      <a:pt x="215" y="848"/>
                    </a:lnTo>
                    <a:lnTo>
                      <a:pt x="209" y="840"/>
                    </a:lnTo>
                    <a:lnTo>
                      <a:pt x="209" y="834"/>
                    </a:lnTo>
                    <a:lnTo>
                      <a:pt x="209" y="828"/>
                    </a:lnTo>
                    <a:lnTo>
                      <a:pt x="215" y="820"/>
                    </a:lnTo>
                    <a:lnTo>
                      <a:pt x="215" y="814"/>
                    </a:lnTo>
                    <a:lnTo>
                      <a:pt x="223" y="800"/>
                    </a:lnTo>
                    <a:lnTo>
                      <a:pt x="223" y="794"/>
                    </a:lnTo>
                    <a:lnTo>
                      <a:pt x="223" y="786"/>
                    </a:lnTo>
                    <a:lnTo>
                      <a:pt x="215" y="772"/>
                    </a:lnTo>
                    <a:lnTo>
                      <a:pt x="229" y="766"/>
                    </a:lnTo>
                    <a:lnTo>
                      <a:pt x="209" y="758"/>
                    </a:lnTo>
                    <a:lnTo>
                      <a:pt x="215" y="752"/>
                    </a:lnTo>
                    <a:lnTo>
                      <a:pt x="229" y="758"/>
                    </a:lnTo>
                    <a:lnTo>
                      <a:pt x="237" y="758"/>
                    </a:lnTo>
                    <a:lnTo>
                      <a:pt x="249" y="744"/>
                    </a:lnTo>
                    <a:lnTo>
                      <a:pt x="249" y="738"/>
                    </a:lnTo>
                    <a:lnTo>
                      <a:pt x="249" y="730"/>
                    </a:lnTo>
                    <a:lnTo>
                      <a:pt x="257" y="730"/>
                    </a:lnTo>
                    <a:lnTo>
                      <a:pt x="263" y="730"/>
                    </a:lnTo>
                    <a:lnTo>
                      <a:pt x="271" y="738"/>
                    </a:lnTo>
                    <a:lnTo>
                      <a:pt x="277" y="724"/>
                    </a:lnTo>
                    <a:lnTo>
                      <a:pt x="285" y="718"/>
                    </a:lnTo>
                    <a:lnTo>
                      <a:pt x="299" y="710"/>
                    </a:lnTo>
                    <a:lnTo>
                      <a:pt x="285" y="704"/>
                    </a:lnTo>
                    <a:lnTo>
                      <a:pt x="285" y="696"/>
                    </a:lnTo>
                    <a:lnTo>
                      <a:pt x="291" y="690"/>
                    </a:lnTo>
                    <a:lnTo>
                      <a:pt x="299" y="690"/>
                    </a:lnTo>
                    <a:lnTo>
                      <a:pt x="313" y="670"/>
                    </a:lnTo>
                    <a:lnTo>
                      <a:pt x="305" y="662"/>
                    </a:lnTo>
                    <a:lnTo>
                      <a:pt x="305" y="648"/>
                    </a:lnTo>
                    <a:lnTo>
                      <a:pt x="291" y="654"/>
                    </a:lnTo>
                    <a:lnTo>
                      <a:pt x="291" y="648"/>
                    </a:lnTo>
                    <a:lnTo>
                      <a:pt x="291" y="640"/>
                    </a:lnTo>
                    <a:lnTo>
                      <a:pt x="285" y="634"/>
                    </a:lnTo>
                    <a:lnTo>
                      <a:pt x="277" y="628"/>
                    </a:lnTo>
                    <a:lnTo>
                      <a:pt x="277" y="620"/>
                    </a:lnTo>
                    <a:lnTo>
                      <a:pt x="277" y="614"/>
                    </a:lnTo>
                    <a:lnTo>
                      <a:pt x="263" y="620"/>
                    </a:lnTo>
                    <a:lnTo>
                      <a:pt x="257" y="614"/>
                    </a:lnTo>
                    <a:lnTo>
                      <a:pt x="249" y="606"/>
                    </a:lnTo>
                    <a:lnTo>
                      <a:pt x="249" y="592"/>
                    </a:lnTo>
                    <a:lnTo>
                      <a:pt x="243" y="586"/>
                    </a:lnTo>
                    <a:lnTo>
                      <a:pt x="243" y="580"/>
                    </a:lnTo>
                    <a:lnTo>
                      <a:pt x="237" y="572"/>
                    </a:lnTo>
                    <a:lnTo>
                      <a:pt x="243" y="572"/>
                    </a:lnTo>
                    <a:lnTo>
                      <a:pt x="249" y="566"/>
                    </a:lnTo>
                    <a:lnTo>
                      <a:pt x="249" y="552"/>
                    </a:lnTo>
                    <a:lnTo>
                      <a:pt x="249" y="544"/>
                    </a:lnTo>
                    <a:lnTo>
                      <a:pt x="249" y="530"/>
                    </a:lnTo>
                    <a:lnTo>
                      <a:pt x="257" y="530"/>
                    </a:lnTo>
                    <a:lnTo>
                      <a:pt x="249" y="524"/>
                    </a:lnTo>
                    <a:lnTo>
                      <a:pt x="257" y="516"/>
                    </a:lnTo>
                    <a:lnTo>
                      <a:pt x="257" y="504"/>
                    </a:lnTo>
                    <a:lnTo>
                      <a:pt x="263" y="496"/>
                    </a:lnTo>
                    <a:lnTo>
                      <a:pt x="263" y="482"/>
                    </a:lnTo>
                    <a:lnTo>
                      <a:pt x="243" y="482"/>
                    </a:lnTo>
                    <a:lnTo>
                      <a:pt x="243" y="468"/>
                    </a:lnTo>
                    <a:lnTo>
                      <a:pt x="249" y="462"/>
                    </a:lnTo>
                    <a:lnTo>
                      <a:pt x="263" y="468"/>
                    </a:lnTo>
                    <a:lnTo>
                      <a:pt x="271" y="462"/>
                    </a:lnTo>
                    <a:lnTo>
                      <a:pt x="277" y="462"/>
                    </a:lnTo>
                    <a:lnTo>
                      <a:pt x="285" y="456"/>
                    </a:lnTo>
                    <a:lnTo>
                      <a:pt x="291" y="456"/>
                    </a:lnTo>
                    <a:lnTo>
                      <a:pt x="305" y="448"/>
                    </a:lnTo>
                    <a:lnTo>
                      <a:pt x="299" y="442"/>
                    </a:lnTo>
                    <a:lnTo>
                      <a:pt x="313" y="428"/>
                    </a:lnTo>
                    <a:lnTo>
                      <a:pt x="305" y="420"/>
                    </a:lnTo>
                    <a:lnTo>
                      <a:pt x="319" y="420"/>
                    </a:lnTo>
                    <a:lnTo>
                      <a:pt x="327" y="406"/>
                    </a:lnTo>
                    <a:lnTo>
                      <a:pt x="333" y="414"/>
                    </a:lnTo>
                    <a:lnTo>
                      <a:pt x="347" y="406"/>
                    </a:lnTo>
                    <a:lnTo>
                      <a:pt x="341" y="400"/>
                    </a:lnTo>
                    <a:lnTo>
                      <a:pt x="347" y="392"/>
                    </a:lnTo>
                    <a:lnTo>
                      <a:pt x="353" y="392"/>
                    </a:lnTo>
                    <a:lnTo>
                      <a:pt x="367" y="386"/>
                    </a:lnTo>
                    <a:lnTo>
                      <a:pt x="367" y="372"/>
                    </a:lnTo>
                    <a:lnTo>
                      <a:pt x="367" y="366"/>
                    </a:lnTo>
                    <a:lnTo>
                      <a:pt x="367" y="358"/>
                    </a:lnTo>
                    <a:lnTo>
                      <a:pt x="375" y="344"/>
                    </a:lnTo>
                    <a:lnTo>
                      <a:pt x="381" y="344"/>
                    </a:lnTo>
                    <a:lnTo>
                      <a:pt x="389" y="330"/>
                    </a:lnTo>
                    <a:lnTo>
                      <a:pt x="395" y="324"/>
                    </a:lnTo>
                    <a:lnTo>
                      <a:pt x="389" y="318"/>
                    </a:lnTo>
                    <a:lnTo>
                      <a:pt x="389" y="310"/>
                    </a:lnTo>
                    <a:lnTo>
                      <a:pt x="389" y="296"/>
                    </a:lnTo>
                    <a:lnTo>
                      <a:pt x="389" y="282"/>
                    </a:lnTo>
                    <a:lnTo>
                      <a:pt x="395" y="276"/>
                    </a:lnTo>
                    <a:lnTo>
                      <a:pt x="395" y="268"/>
                    </a:lnTo>
                    <a:lnTo>
                      <a:pt x="395" y="262"/>
                    </a:lnTo>
                    <a:lnTo>
                      <a:pt x="403" y="254"/>
                    </a:lnTo>
                    <a:lnTo>
                      <a:pt x="417" y="254"/>
                    </a:lnTo>
                    <a:lnTo>
                      <a:pt x="417" y="240"/>
                    </a:lnTo>
                    <a:lnTo>
                      <a:pt x="417" y="228"/>
                    </a:lnTo>
                    <a:lnTo>
                      <a:pt x="417" y="220"/>
                    </a:lnTo>
                    <a:lnTo>
                      <a:pt x="423" y="220"/>
                    </a:lnTo>
                    <a:lnTo>
                      <a:pt x="429" y="228"/>
                    </a:lnTo>
                    <a:lnTo>
                      <a:pt x="443" y="214"/>
                    </a:lnTo>
                    <a:lnTo>
                      <a:pt x="451" y="220"/>
                    </a:lnTo>
                    <a:lnTo>
                      <a:pt x="457" y="220"/>
                    </a:lnTo>
                    <a:lnTo>
                      <a:pt x="465" y="220"/>
                    </a:lnTo>
                    <a:lnTo>
                      <a:pt x="471" y="228"/>
                    </a:lnTo>
                    <a:lnTo>
                      <a:pt x="477" y="220"/>
                    </a:lnTo>
                    <a:lnTo>
                      <a:pt x="477" y="220"/>
                    </a:lnTo>
                    <a:lnTo>
                      <a:pt x="477" y="220"/>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8" name="Freeform 62"/>
              <p:cNvSpPr>
                <a:spLocks/>
              </p:cNvSpPr>
              <p:nvPr>
                <p:custDataLst>
                  <p:tags r:id="rId146"/>
                </p:custDataLst>
              </p:nvPr>
            </p:nvSpPr>
            <p:spPr bwMode="gray">
              <a:xfrm>
                <a:off x="5322514" y="932755"/>
                <a:ext cx="652608" cy="1190889"/>
              </a:xfrm>
              <a:custGeom>
                <a:avLst/>
                <a:gdLst>
                  <a:gd name="T0" fmla="*/ 222 w 411"/>
                  <a:gd name="T1" fmla="*/ 68 h 750"/>
                  <a:gd name="T2" fmla="*/ 228 w 411"/>
                  <a:gd name="T3" fmla="*/ 34 h 750"/>
                  <a:gd name="T4" fmla="*/ 186 w 411"/>
                  <a:gd name="T5" fmla="*/ 14 h 750"/>
                  <a:gd name="T6" fmla="*/ 166 w 411"/>
                  <a:gd name="T7" fmla="*/ 14 h 750"/>
                  <a:gd name="T8" fmla="*/ 138 w 411"/>
                  <a:gd name="T9" fmla="*/ 62 h 750"/>
                  <a:gd name="T10" fmla="*/ 130 w 411"/>
                  <a:gd name="T11" fmla="*/ 88 h 750"/>
                  <a:gd name="T12" fmla="*/ 104 w 411"/>
                  <a:gd name="T13" fmla="*/ 116 h 750"/>
                  <a:gd name="T14" fmla="*/ 62 w 411"/>
                  <a:gd name="T15" fmla="*/ 110 h 750"/>
                  <a:gd name="T16" fmla="*/ 34 w 411"/>
                  <a:gd name="T17" fmla="*/ 88 h 750"/>
                  <a:gd name="T18" fmla="*/ 6 w 411"/>
                  <a:gd name="T19" fmla="*/ 68 h 750"/>
                  <a:gd name="T20" fmla="*/ 26 w 411"/>
                  <a:gd name="T21" fmla="*/ 110 h 750"/>
                  <a:gd name="T22" fmla="*/ 48 w 411"/>
                  <a:gd name="T23" fmla="*/ 130 h 750"/>
                  <a:gd name="T24" fmla="*/ 82 w 411"/>
                  <a:gd name="T25" fmla="*/ 158 h 750"/>
                  <a:gd name="T26" fmla="*/ 90 w 411"/>
                  <a:gd name="T27" fmla="*/ 186 h 750"/>
                  <a:gd name="T28" fmla="*/ 96 w 411"/>
                  <a:gd name="T29" fmla="*/ 206 h 750"/>
                  <a:gd name="T30" fmla="*/ 104 w 411"/>
                  <a:gd name="T31" fmla="*/ 234 h 750"/>
                  <a:gd name="T32" fmla="*/ 104 w 411"/>
                  <a:gd name="T33" fmla="*/ 276 h 750"/>
                  <a:gd name="T34" fmla="*/ 116 w 411"/>
                  <a:gd name="T35" fmla="*/ 316 h 750"/>
                  <a:gd name="T36" fmla="*/ 144 w 411"/>
                  <a:gd name="T37" fmla="*/ 330 h 750"/>
                  <a:gd name="T38" fmla="*/ 152 w 411"/>
                  <a:gd name="T39" fmla="*/ 364 h 750"/>
                  <a:gd name="T40" fmla="*/ 152 w 411"/>
                  <a:gd name="T41" fmla="*/ 384 h 750"/>
                  <a:gd name="T42" fmla="*/ 124 w 411"/>
                  <a:gd name="T43" fmla="*/ 414 h 750"/>
                  <a:gd name="T44" fmla="*/ 96 w 411"/>
                  <a:gd name="T45" fmla="*/ 454 h 750"/>
                  <a:gd name="T46" fmla="*/ 82 w 411"/>
                  <a:gd name="T47" fmla="*/ 482 h 750"/>
                  <a:gd name="T48" fmla="*/ 68 w 411"/>
                  <a:gd name="T49" fmla="*/ 496 h 750"/>
                  <a:gd name="T50" fmla="*/ 40 w 411"/>
                  <a:gd name="T51" fmla="*/ 510 h 750"/>
                  <a:gd name="T52" fmla="*/ 26 w 411"/>
                  <a:gd name="T53" fmla="*/ 558 h 750"/>
                  <a:gd name="T54" fmla="*/ 26 w 411"/>
                  <a:gd name="T55" fmla="*/ 592 h 750"/>
                  <a:gd name="T56" fmla="*/ 40 w 411"/>
                  <a:gd name="T57" fmla="*/ 640 h 750"/>
                  <a:gd name="T58" fmla="*/ 26 w 411"/>
                  <a:gd name="T59" fmla="*/ 682 h 750"/>
                  <a:gd name="T60" fmla="*/ 82 w 411"/>
                  <a:gd name="T61" fmla="*/ 710 h 750"/>
                  <a:gd name="T62" fmla="*/ 104 w 411"/>
                  <a:gd name="T63" fmla="*/ 744 h 750"/>
                  <a:gd name="T64" fmla="*/ 144 w 411"/>
                  <a:gd name="T65" fmla="*/ 736 h 750"/>
                  <a:gd name="T66" fmla="*/ 172 w 411"/>
                  <a:gd name="T67" fmla="*/ 730 h 750"/>
                  <a:gd name="T68" fmla="*/ 222 w 411"/>
                  <a:gd name="T69" fmla="*/ 716 h 750"/>
                  <a:gd name="T70" fmla="*/ 236 w 411"/>
                  <a:gd name="T71" fmla="*/ 710 h 750"/>
                  <a:gd name="T72" fmla="*/ 270 w 411"/>
                  <a:gd name="T73" fmla="*/ 688 h 750"/>
                  <a:gd name="T74" fmla="*/ 312 w 411"/>
                  <a:gd name="T75" fmla="*/ 654 h 750"/>
                  <a:gd name="T76" fmla="*/ 338 w 411"/>
                  <a:gd name="T77" fmla="*/ 620 h 750"/>
                  <a:gd name="T78" fmla="*/ 361 w 411"/>
                  <a:gd name="T79" fmla="*/ 592 h 750"/>
                  <a:gd name="T80" fmla="*/ 367 w 411"/>
                  <a:gd name="T81" fmla="*/ 558 h 750"/>
                  <a:gd name="T82" fmla="*/ 389 w 411"/>
                  <a:gd name="T83" fmla="*/ 522 h 750"/>
                  <a:gd name="T84" fmla="*/ 395 w 411"/>
                  <a:gd name="T85" fmla="*/ 482 h 750"/>
                  <a:gd name="T86" fmla="*/ 338 w 411"/>
                  <a:gd name="T87" fmla="*/ 454 h 750"/>
                  <a:gd name="T88" fmla="*/ 338 w 411"/>
                  <a:gd name="T89" fmla="*/ 440 h 750"/>
                  <a:gd name="T90" fmla="*/ 338 w 411"/>
                  <a:gd name="T91" fmla="*/ 414 h 750"/>
                  <a:gd name="T92" fmla="*/ 326 w 411"/>
                  <a:gd name="T93" fmla="*/ 392 h 750"/>
                  <a:gd name="T94" fmla="*/ 318 w 411"/>
                  <a:gd name="T95" fmla="*/ 364 h 750"/>
                  <a:gd name="T96" fmla="*/ 304 w 411"/>
                  <a:gd name="T97" fmla="*/ 350 h 750"/>
                  <a:gd name="T98" fmla="*/ 304 w 411"/>
                  <a:gd name="T99" fmla="*/ 322 h 750"/>
                  <a:gd name="T100" fmla="*/ 304 w 411"/>
                  <a:gd name="T101" fmla="*/ 288 h 750"/>
                  <a:gd name="T102" fmla="*/ 270 w 411"/>
                  <a:gd name="T103" fmla="*/ 248 h 750"/>
                  <a:gd name="T104" fmla="*/ 256 w 411"/>
                  <a:gd name="T105" fmla="*/ 206 h 750"/>
                  <a:gd name="T106" fmla="*/ 262 w 411"/>
                  <a:gd name="T107" fmla="*/ 172 h 750"/>
                  <a:gd name="T108" fmla="*/ 236 w 411"/>
                  <a:gd name="T109" fmla="*/ 130 h 750"/>
                  <a:gd name="T110" fmla="*/ 214 w 411"/>
                  <a:gd name="T111" fmla="*/ 102 h 750"/>
                  <a:gd name="T112" fmla="*/ 228 w 411"/>
                  <a:gd name="T113" fmla="*/ 82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1" h="750">
                    <a:moveTo>
                      <a:pt x="228" y="82"/>
                    </a:moveTo>
                    <a:lnTo>
                      <a:pt x="222" y="82"/>
                    </a:lnTo>
                    <a:lnTo>
                      <a:pt x="222" y="74"/>
                    </a:lnTo>
                    <a:lnTo>
                      <a:pt x="222" y="68"/>
                    </a:lnTo>
                    <a:lnTo>
                      <a:pt x="222" y="62"/>
                    </a:lnTo>
                    <a:lnTo>
                      <a:pt x="222" y="48"/>
                    </a:lnTo>
                    <a:lnTo>
                      <a:pt x="228" y="40"/>
                    </a:lnTo>
                    <a:lnTo>
                      <a:pt x="228" y="34"/>
                    </a:lnTo>
                    <a:lnTo>
                      <a:pt x="222" y="26"/>
                    </a:lnTo>
                    <a:lnTo>
                      <a:pt x="214" y="20"/>
                    </a:lnTo>
                    <a:lnTo>
                      <a:pt x="206" y="20"/>
                    </a:lnTo>
                    <a:lnTo>
                      <a:pt x="186" y="14"/>
                    </a:lnTo>
                    <a:lnTo>
                      <a:pt x="194" y="0"/>
                    </a:lnTo>
                    <a:lnTo>
                      <a:pt x="186" y="0"/>
                    </a:lnTo>
                    <a:lnTo>
                      <a:pt x="180" y="6"/>
                    </a:lnTo>
                    <a:lnTo>
                      <a:pt x="166" y="14"/>
                    </a:lnTo>
                    <a:lnTo>
                      <a:pt x="152" y="14"/>
                    </a:lnTo>
                    <a:lnTo>
                      <a:pt x="144" y="20"/>
                    </a:lnTo>
                    <a:lnTo>
                      <a:pt x="144" y="48"/>
                    </a:lnTo>
                    <a:lnTo>
                      <a:pt x="138" y="62"/>
                    </a:lnTo>
                    <a:lnTo>
                      <a:pt x="138" y="68"/>
                    </a:lnTo>
                    <a:lnTo>
                      <a:pt x="138" y="74"/>
                    </a:lnTo>
                    <a:lnTo>
                      <a:pt x="138" y="82"/>
                    </a:lnTo>
                    <a:lnTo>
                      <a:pt x="130" y="88"/>
                    </a:lnTo>
                    <a:lnTo>
                      <a:pt x="124" y="102"/>
                    </a:lnTo>
                    <a:lnTo>
                      <a:pt x="124" y="110"/>
                    </a:lnTo>
                    <a:lnTo>
                      <a:pt x="116" y="110"/>
                    </a:lnTo>
                    <a:lnTo>
                      <a:pt x="104" y="116"/>
                    </a:lnTo>
                    <a:lnTo>
                      <a:pt x="96" y="102"/>
                    </a:lnTo>
                    <a:lnTo>
                      <a:pt x="90" y="102"/>
                    </a:lnTo>
                    <a:lnTo>
                      <a:pt x="82" y="110"/>
                    </a:lnTo>
                    <a:lnTo>
                      <a:pt x="62" y="110"/>
                    </a:lnTo>
                    <a:lnTo>
                      <a:pt x="54" y="102"/>
                    </a:lnTo>
                    <a:lnTo>
                      <a:pt x="48" y="102"/>
                    </a:lnTo>
                    <a:lnTo>
                      <a:pt x="40" y="102"/>
                    </a:lnTo>
                    <a:lnTo>
                      <a:pt x="34" y="88"/>
                    </a:lnTo>
                    <a:lnTo>
                      <a:pt x="34" y="82"/>
                    </a:lnTo>
                    <a:lnTo>
                      <a:pt x="20" y="74"/>
                    </a:lnTo>
                    <a:lnTo>
                      <a:pt x="14" y="68"/>
                    </a:lnTo>
                    <a:lnTo>
                      <a:pt x="6" y="68"/>
                    </a:lnTo>
                    <a:lnTo>
                      <a:pt x="0" y="82"/>
                    </a:lnTo>
                    <a:lnTo>
                      <a:pt x="0" y="96"/>
                    </a:lnTo>
                    <a:lnTo>
                      <a:pt x="14" y="102"/>
                    </a:lnTo>
                    <a:lnTo>
                      <a:pt x="26" y="110"/>
                    </a:lnTo>
                    <a:lnTo>
                      <a:pt x="26" y="124"/>
                    </a:lnTo>
                    <a:lnTo>
                      <a:pt x="34" y="124"/>
                    </a:lnTo>
                    <a:lnTo>
                      <a:pt x="40" y="130"/>
                    </a:lnTo>
                    <a:lnTo>
                      <a:pt x="48" y="130"/>
                    </a:lnTo>
                    <a:lnTo>
                      <a:pt x="62" y="138"/>
                    </a:lnTo>
                    <a:lnTo>
                      <a:pt x="76" y="144"/>
                    </a:lnTo>
                    <a:lnTo>
                      <a:pt x="82" y="144"/>
                    </a:lnTo>
                    <a:lnTo>
                      <a:pt x="82" y="158"/>
                    </a:lnTo>
                    <a:lnTo>
                      <a:pt x="90" y="164"/>
                    </a:lnTo>
                    <a:lnTo>
                      <a:pt x="90" y="172"/>
                    </a:lnTo>
                    <a:lnTo>
                      <a:pt x="90" y="178"/>
                    </a:lnTo>
                    <a:lnTo>
                      <a:pt x="90" y="186"/>
                    </a:lnTo>
                    <a:lnTo>
                      <a:pt x="90" y="192"/>
                    </a:lnTo>
                    <a:lnTo>
                      <a:pt x="82" y="198"/>
                    </a:lnTo>
                    <a:lnTo>
                      <a:pt x="96" y="198"/>
                    </a:lnTo>
                    <a:lnTo>
                      <a:pt x="96" y="206"/>
                    </a:lnTo>
                    <a:lnTo>
                      <a:pt x="96" y="212"/>
                    </a:lnTo>
                    <a:lnTo>
                      <a:pt x="96" y="220"/>
                    </a:lnTo>
                    <a:lnTo>
                      <a:pt x="104" y="226"/>
                    </a:lnTo>
                    <a:lnTo>
                      <a:pt x="104" y="234"/>
                    </a:lnTo>
                    <a:lnTo>
                      <a:pt x="110" y="240"/>
                    </a:lnTo>
                    <a:lnTo>
                      <a:pt x="104" y="248"/>
                    </a:lnTo>
                    <a:lnTo>
                      <a:pt x="104" y="262"/>
                    </a:lnTo>
                    <a:lnTo>
                      <a:pt x="104" y="276"/>
                    </a:lnTo>
                    <a:lnTo>
                      <a:pt x="104" y="282"/>
                    </a:lnTo>
                    <a:lnTo>
                      <a:pt x="110" y="296"/>
                    </a:lnTo>
                    <a:lnTo>
                      <a:pt x="116" y="302"/>
                    </a:lnTo>
                    <a:lnTo>
                      <a:pt x="116" y="316"/>
                    </a:lnTo>
                    <a:lnTo>
                      <a:pt x="124" y="316"/>
                    </a:lnTo>
                    <a:lnTo>
                      <a:pt x="130" y="322"/>
                    </a:lnTo>
                    <a:lnTo>
                      <a:pt x="144" y="322"/>
                    </a:lnTo>
                    <a:lnTo>
                      <a:pt x="144" y="330"/>
                    </a:lnTo>
                    <a:lnTo>
                      <a:pt x="152" y="336"/>
                    </a:lnTo>
                    <a:lnTo>
                      <a:pt x="152" y="344"/>
                    </a:lnTo>
                    <a:lnTo>
                      <a:pt x="152" y="350"/>
                    </a:lnTo>
                    <a:lnTo>
                      <a:pt x="152" y="364"/>
                    </a:lnTo>
                    <a:lnTo>
                      <a:pt x="152" y="372"/>
                    </a:lnTo>
                    <a:lnTo>
                      <a:pt x="158" y="378"/>
                    </a:lnTo>
                    <a:lnTo>
                      <a:pt x="158" y="384"/>
                    </a:lnTo>
                    <a:lnTo>
                      <a:pt x="152" y="384"/>
                    </a:lnTo>
                    <a:lnTo>
                      <a:pt x="144" y="384"/>
                    </a:lnTo>
                    <a:lnTo>
                      <a:pt x="138" y="384"/>
                    </a:lnTo>
                    <a:lnTo>
                      <a:pt x="138" y="392"/>
                    </a:lnTo>
                    <a:lnTo>
                      <a:pt x="124" y="414"/>
                    </a:lnTo>
                    <a:lnTo>
                      <a:pt x="124" y="420"/>
                    </a:lnTo>
                    <a:lnTo>
                      <a:pt x="116" y="434"/>
                    </a:lnTo>
                    <a:lnTo>
                      <a:pt x="110" y="440"/>
                    </a:lnTo>
                    <a:lnTo>
                      <a:pt x="96" y="454"/>
                    </a:lnTo>
                    <a:lnTo>
                      <a:pt x="96" y="462"/>
                    </a:lnTo>
                    <a:lnTo>
                      <a:pt x="96" y="468"/>
                    </a:lnTo>
                    <a:lnTo>
                      <a:pt x="82" y="474"/>
                    </a:lnTo>
                    <a:lnTo>
                      <a:pt x="82" y="482"/>
                    </a:lnTo>
                    <a:lnTo>
                      <a:pt x="82" y="474"/>
                    </a:lnTo>
                    <a:lnTo>
                      <a:pt x="76" y="482"/>
                    </a:lnTo>
                    <a:lnTo>
                      <a:pt x="68" y="488"/>
                    </a:lnTo>
                    <a:lnTo>
                      <a:pt x="68" y="496"/>
                    </a:lnTo>
                    <a:lnTo>
                      <a:pt x="68" y="510"/>
                    </a:lnTo>
                    <a:lnTo>
                      <a:pt x="54" y="516"/>
                    </a:lnTo>
                    <a:lnTo>
                      <a:pt x="48" y="510"/>
                    </a:lnTo>
                    <a:lnTo>
                      <a:pt x="40" y="510"/>
                    </a:lnTo>
                    <a:lnTo>
                      <a:pt x="40" y="522"/>
                    </a:lnTo>
                    <a:lnTo>
                      <a:pt x="26" y="536"/>
                    </a:lnTo>
                    <a:lnTo>
                      <a:pt x="26" y="550"/>
                    </a:lnTo>
                    <a:lnTo>
                      <a:pt x="26" y="558"/>
                    </a:lnTo>
                    <a:lnTo>
                      <a:pt x="34" y="564"/>
                    </a:lnTo>
                    <a:lnTo>
                      <a:pt x="34" y="578"/>
                    </a:lnTo>
                    <a:lnTo>
                      <a:pt x="26" y="586"/>
                    </a:lnTo>
                    <a:lnTo>
                      <a:pt x="26" y="592"/>
                    </a:lnTo>
                    <a:lnTo>
                      <a:pt x="40" y="598"/>
                    </a:lnTo>
                    <a:lnTo>
                      <a:pt x="40" y="606"/>
                    </a:lnTo>
                    <a:lnTo>
                      <a:pt x="40" y="620"/>
                    </a:lnTo>
                    <a:lnTo>
                      <a:pt x="40" y="640"/>
                    </a:lnTo>
                    <a:lnTo>
                      <a:pt x="40" y="654"/>
                    </a:lnTo>
                    <a:lnTo>
                      <a:pt x="26" y="660"/>
                    </a:lnTo>
                    <a:lnTo>
                      <a:pt x="26" y="674"/>
                    </a:lnTo>
                    <a:lnTo>
                      <a:pt x="26" y="682"/>
                    </a:lnTo>
                    <a:lnTo>
                      <a:pt x="40" y="702"/>
                    </a:lnTo>
                    <a:lnTo>
                      <a:pt x="62" y="702"/>
                    </a:lnTo>
                    <a:lnTo>
                      <a:pt x="68" y="710"/>
                    </a:lnTo>
                    <a:lnTo>
                      <a:pt x="82" y="710"/>
                    </a:lnTo>
                    <a:lnTo>
                      <a:pt x="90" y="710"/>
                    </a:lnTo>
                    <a:lnTo>
                      <a:pt x="96" y="724"/>
                    </a:lnTo>
                    <a:lnTo>
                      <a:pt x="96" y="736"/>
                    </a:lnTo>
                    <a:lnTo>
                      <a:pt x="104" y="744"/>
                    </a:lnTo>
                    <a:lnTo>
                      <a:pt x="110" y="750"/>
                    </a:lnTo>
                    <a:lnTo>
                      <a:pt x="130" y="750"/>
                    </a:lnTo>
                    <a:lnTo>
                      <a:pt x="138" y="750"/>
                    </a:lnTo>
                    <a:lnTo>
                      <a:pt x="144" y="736"/>
                    </a:lnTo>
                    <a:lnTo>
                      <a:pt x="152" y="730"/>
                    </a:lnTo>
                    <a:lnTo>
                      <a:pt x="158" y="744"/>
                    </a:lnTo>
                    <a:lnTo>
                      <a:pt x="166" y="736"/>
                    </a:lnTo>
                    <a:lnTo>
                      <a:pt x="172" y="730"/>
                    </a:lnTo>
                    <a:lnTo>
                      <a:pt x="186" y="724"/>
                    </a:lnTo>
                    <a:lnTo>
                      <a:pt x="206" y="716"/>
                    </a:lnTo>
                    <a:lnTo>
                      <a:pt x="214" y="716"/>
                    </a:lnTo>
                    <a:lnTo>
                      <a:pt x="222" y="716"/>
                    </a:lnTo>
                    <a:lnTo>
                      <a:pt x="222" y="710"/>
                    </a:lnTo>
                    <a:lnTo>
                      <a:pt x="222" y="702"/>
                    </a:lnTo>
                    <a:lnTo>
                      <a:pt x="228" y="696"/>
                    </a:lnTo>
                    <a:lnTo>
                      <a:pt x="236" y="710"/>
                    </a:lnTo>
                    <a:lnTo>
                      <a:pt x="242" y="702"/>
                    </a:lnTo>
                    <a:lnTo>
                      <a:pt x="256" y="696"/>
                    </a:lnTo>
                    <a:lnTo>
                      <a:pt x="262" y="682"/>
                    </a:lnTo>
                    <a:lnTo>
                      <a:pt x="270" y="688"/>
                    </a:lnTo>
                    <a:lnTo>
                      <a:pt x="284" y="688"/>
                    </a:lnTo>
                    <a:lnTo>
                      <a:pt x="290" y="688"/>
                    </a:lnTo>
                    <a:lnTo>
                      <a:pt x="298" y="682"/>
                    </a:lnTo>
                    <a:lnTo>
                      <a:pt x="312" y="654"/>
                    </a:lnTo>
                    <a:lnTo>
                      <a:pt x="318" y="648"/>
                    </a:lnTo>
                    <a:lnTo>
                      <a:pt x="326" y="634"/>
                    </a:lnTo>
                    <a:lnTo>
                      <a:pt x="332" y="626"/>
                    </a:lnTo>
                    <a:lnTo>
                      <a:pt x="338" y="620"/>
                    </a:lnTo>
                    <a:lnTo>
                      <a:pt x="346" y="606"/>
                    </a:lnTo>
                    <a:lnTo>
                      <a:pt x="353" y="586"/>
                    </a:lnTo>
                    <a:lnTo>
                      <a:pt x="353" y="592"/>
                    </a:lnTo>
                    <a:lnTo>
                      <a:pt x="361" y="592"/>
                    </a:lnTo>
                    <a:lnTo>
                      <a:pt x="367" y="586"/>
                    </a:lnTo>
                    <a:lnTo>
                      <a:pt x="361" y="578"/>
                    </a:lnTo>
                    <a:lnTo>
                      <a:pt x="367" y="572"/>
                    </a:lnTo>
                    <a:lnTo>
                      <a:pt x="367" y="558"/>
                    </a:lnTo>
                    <a:lnTo>
                      <a:pt x="375" y="550"/>
                    </a:lnTo>
                    <a:lnTo>
                      <a:pt x="381" y="544"/>
                    </a:lnTo>
                    <a:lnTo>
                      <a:pt x="381" y="536"/>
                    </a:lnTo>
                    <a:lnTo>
                      <a:pt x="389" y="522"/>
                    </a:lnTo>
                    <a:lnTo>
                      <a:pt x="403" y="516"/>
                    </a:lnTo>
                    <a:lnTo>
                      <a:pt x="411" y="502"/>
                    </a:lnTo>
                    <a:lnTo>
                      <a:pt x="403" y="488"/>
                    </a:lnTo>
                    <a:lnTo>
                      <a:pt x="395" y="482"/>
                    </a:lnTo>
                    <a:lnTo>
                      <a:pt x="375" y="474"/>
                    </a:lnTo>
                    <a:lnTo>
                      <a:pt x="353" y="468"/>
                    </a:lnTo>
                    <a:lnTo>
                      <a:pt x="346" y="462"/>
                    </a:lnTo>
                    <a:lnTo>
                      <a:pt x="338" y="454"/>
                    </a:lnTo>
                    <a:lnTo>
                      <a:pt x="332" y="454"/>
                    </a:lnTo>
                    <a:lnTo>
                      <a:pt x="326" y="440"/>
                    </a:lnTo>
                    <a:lnTo>
                      <a:pt x="332" y="440"/>
                    </a:lnTo>
                    <a:lnTo>
                      <a:pt x="338" y="440"/>
                    </a:lnTo>
                    <a:lnTo>
                      <a:pt x="346" y="434"/>
                    </a:lnTo>
                    <a:lnTo>
                      <a:pt x="346" y="426"/>
                    </a:lnTo>
                    <a:lnTo>
                      <a:pt x="346" y="420"/>
                    </a:lnTo>
                    <a:lnTo>
                      <a:pt x="338" y="414"/>
                    </a:lnTo>
                    <a:lnTo>
                      <a:pt x="338" y="406"/>
                    </a:lnTo>
                    <a:lnTo>
                      <a:pt x="326" y="406"/>
                    </a:lnTo>
                    <a:lnTo>
                      <a:pt x="326" y="398"/>
                    </a:lnTo>
                    <a:lnTo>
                      <a:pt x="326" y="392"/>
                    </a:lnTo>
                    <a:lnTo>
                      <a:pt x="312" y="384"/>
                    </a:lnTo>
                    <a:lnTo>
                      <a:pt x="326" y="378"/>
                    </a:lnTo>
                    <a:lnTo>
                      <a:pt x="318" y="372"/>
                    </a:lnTo>
                    <a:lnTo>
                      <a:pt x="318" y="364"/>
                    </a:lnTo>
                    <a:lnTo>
                      <a:pt x="312" y="372"/>
                    </a:lnTo>
                    <a:lnTo>
                      <a:pt x="304" y="364"/>
                    </a:lnTo>
                    <a:lnTo>
                      <a:pt x="304" y="358"/>
                    </a:lnTo>
                    <a:lnTo>
                      <a:pt x="304" y="350"/>
                    </a:lnTo>
                    <a:lnTo>
                      <a:pt x="304" y="344"/>
                    </a:lnTo>
                    <a:lnTo>
                      <a:pt x="298" y="336"/>
                    </a:lnTo>
                    <a:lnTo>
                      <a:pt x="298" y="330"/>
                    </a:lnTo>
                    <a:lnTo>
                      <a:pt x="304" y="322"/>
                    </a:lnTo>
                    <a:lnTo>
                      <a:pt x="298" y="310"/>
                    </a:lnTo>
                    <a:lnTo>
                      <a:pt x="304" y="302"/>
                    </a:lnTo>
                    <a:lnTo>
                      <a:pt x="304" y="296"/>
                    </a:lnTo>
                    <a:lnTo>
                      <a:pt x="304" y="288"/>
                    </a:lnTo>
                    <a:lnTo>
                      <a:pt x="298" y="276"/>
                    </a:lnTo>
                    <a:lnTo>
                      <a:pt x="290" y="262"/>
                    </a:lnTo>
                    <a:lnTo>
                      <a:pt x="284" y="254"/>
                    </a:lnTo>
                    <a:lnTo>
                      <a:pt x="270" y="248"/>
                    </a:lnTo>
                    <a:lnTo>
                      <a:pt x="270" y="240"/>
                    </a:lnTo>
                    <a:lnTo>
                      <a:pt x="262" y="234"/>
                    </a:lnTo>
                    <a:lnTo>
                      <a:pt x="256" y="220"/>
                    </a:lnTo>
                    <a:lnTo>
                      <a:pt x="256" y="206"/>
                    </a:lnTo>
                    <a:lnTo>
                      <a:pt x="256" y="198"/>
                    </a:lnTo>
                    <a:lnTo>
                      <a:pt x="256" y="186"/>
                    </a:lnTo>
                    <a:lnTo>
                      <a:pt x="262" y="178"/>
                    </a:lnTo>
                    <a:lnTo>
                      <a:pt x="262" y="172"/>
                    </a:lnTo>
                    <a:lnTo>
                      <a:pt x="262" y="158"/>
                    </a:lnTo>
                    <a:lnTo>
                      <a:pt x="248" y="144"/>
                    </a:lnTo>
                    <a:lnTo>
                      <a:pt x="236" y="138"/>
                    </a:lnTo>
                    <a:lnTo>
                      <a:pt x="236" y="130"/>
                    </a:lnTo>
                    <a:lnTo>
                      <a:pt x="228" y="124"/>
                    </a:lnTo>
                    <a:lnTo>
                      <a:pt x="222" y="116"/>
                    </a:lnTo>
                    <a:lnTo>
                      <a:pt x="214" y="110"/>
                    </a:lnTo>
                    <a:lnTo>
                      <a:pt x="214" y="102"/>
                    </a:lnTo>
                    <a:lnTo>
                      <a:pt x="222" y="96"/>
                    </a:lnTo>
                    <a:lnTo>
                      <a:pt x="222" y="88"/>
                    </a:lnTo>
                    <a:lnTo>
                      <a:pt x="228" y="82"/>
                    </a:lnTo>
                    <a:lnTo>
                      <a:pt x="228" y="82"/>
                    </a:lnTo>
                    <a:lnTo>
                      <a:pt x="228" y="82"/>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9" name="Freeform 63"/>
              <p:cNvSpPr>
                <a:spLocks/>
              </p:cNvSpPr>
              <p:nvPr>
                <p:custDataLst>
                  <p:tags r:id="rId147"/>
                </p:custDataLst>
              </p:nvPr>
            </p:nvSpPr>
            <p:spPr bwMode="gray">
              <a:xfrm>
                <a:off x="5494002" y="3952851"/>
                <a:ext cx="573215" cy="358855"/>
              </a:xfrm>
              <a:custGeom>
                <a:avLst/>
                <a:gdLst>
                  <a:gd name="T0" fmla="*/ 56 w 361"/>
                  <a:gd name="T1" fmla="*/ 220 h 226"/>
                  <a:gd name="T2" fmla="*/ 84 w 361"/>
                  <a:gd name="T3" fmla="*/ 220 h 226"/>
                  <a:gd name="T4" fmla="*/ 104 w 361"/>
                  <a:gd name="T5" fmla="*/ 226 h 226"/>
                  <a:gd name="T6" fmla="*/ 118 w 361"/>
                  <a:gd name="T7" fmla="*/ 212 h 226"/>
                  <a:gd name="T8" fmla="*/ 132 w 361"/>
                  <a:gd name="T9" fmla="*/ 206 h 226"/>
                  <a:gd name="T10" fmla="*/ 140 w 361"/>
                  <a:gd name="T11" fmla="*/ 206 h 226"/>
                  <a:gd name="T12" fmla="*/ 152 w 361"/>
                  <a:gd name="T13" fmla="*/ 212 h 226"/>
                  <a:gd name="T14" fmla="*/ 160 w 361"/>
                  <a:gd name="T15" fmla="*/ 220 h 226"/>
                  <a:gd name="T16" fmla="*/ 180 w 361"/>
                  <a:gd name="T17" fmla="*/ 212 h 226"/>
                  <a:gd name="T18" fmla="*/ 202 w 361"/>
                  <a:gd name="T19" fmla="*/ 212 h 226"/>
                  <a:gd name="T20" fmla="*/ 222 w 361"/>
                  <a:gd name="T21" fmla="*/ 206 h 226"/>
                  <a:gd name="T22" fmla="*/ 243 w 361"/>
                  <a:gd name="T23" fmla="*/ 200 h 226"/>
                  <a:gd name="T24" fmla="*/ 236 w 361"/>
                  <a:gd name="T25" fmla="*/ 186 h 226"/>
                  <a:gd name="T26" fmla="*/ 251 w 361"/>
                  <a:gd name="T27" fmla="*/ 186 h 226"/>
                  <a:gd name="T28" fmla="*/ 259 w 361"/>
                  <a:gd name="T29" fmla="*/ 178 h 226"/>
                  <a:gd name="T30" fmla="*/ 269 w 361"/>
                  <a:gd name="T31" fmla="*/ 166 h 226"/>
                  <a:gd name="T32" fmla="*/ 279 w 361"/>
                  <a:gd name="T33" fmla="*/ 158 h 226"/>
                  <a:gd name="T34" fmla="*/ 293 w 361"/>
                  <a:gd name="T35" fmla="*/ 158 h 226"/>
                  <a:gd name="T36" fmla="*/ 299 w 361"/>
                  <a:gd name="T37" fmla="*/ 164 h 226"/>
                  <a:gd name="T38" fmla="*/ 319 w 361"/>
                  <a:gd name="T39" fmla="*/ 164 h 226"/>
                  <a:gd name="T40" fmla="*/ 341 w 361"/>
                  <a:gd name="T41" fmla="*/ 158 h 226"/>
                  <a:gd name="T42" fmla="*/ 333 w 361"/>
                  <a:gd name="T43" fmla="*/ 144 h 226"/>
                  <a:gd name="T44" fmla="*/ 327 w 361"/>
                  <a:gd name="T45" fmla="*/ 130 h 226"/>
                  <a:gd name="T46" fmla="*/ 305 w 361"/>
                  <a:gd name="T47" fmla="*/ 138 h 226"/>
                  <a:gd name="T48" fmla="*/ 305 w 361"/>
                  <a:gd name="T49" fmla="*/ 116 h 226"/>
                  <a:gd name="T50" fmla="*/ 319 w 361"/>
                  <a:gd name="T51" fmla="*/ 110 h 226"/>
                  <a:gd name="T52" fmla="*/ 327 w 361"/>
                  <a:gd name="T53" fmla="*/ 96 h 226"/>
                  <a:gd name="T54" fmla="*/ 319 w 361"/>
                  <a:gd name="T55" fmla="*/ 76 h 226"/>
                  <a:gd name="T56" fmla="*/ 327 w 361"/>
                  <a:gd name="T57" fmla="*/ 62 h 226"/>
                  <a:gd name="T58" fmla="*/ 341 w 361"/>
                  <a:gd name="T59" fmla="*/ 48 h 226"/>
                  <a:gd name="T60" fmla="*/ 361 w 361"/>
                  <a:gd name="T61" fmla="*/ 42 h 226"/>
                  <a:gd name="T62" fmla="*/ 353 w 361"/>
                  <a:gd name="T63" fmla="*/ 20 h 226"/>
                  <a:gd name="T64" fmla="*/ 319 w 361"/>
                  <a:gd name="T65" fmla="*/ 8 h 226"/>
                  <a:gd name="T66" fmla="*/ 307 w 361"/>
                  <a:gd name="T67" fmla="*/ 8 h 226"/>
                  <a:gd name="T68" fmla="*/ 285 w 361"/>
                  <a:gd name="T69" fmla="*/ 6 h 226"/>
                  <a:gd name="T70" fmla="*/ 265 w 361"/>
                  <a:gd name="T71" fmla="*/ 6 h 226"/>
                  <a:gd name="T72" fmla="*/ 228 w 361"/>
                  <a:gd name="T73" fmla="*/ 6 h 226"/>
                  <a:gd name="T74" fmla="*/ 208 w 361"/>
                  <a:gd name="T75" fmla="*/ 28 h 226"/>
                  <a:gd name="T76" fmla="*/ 180 w 361"/>
                  <a:gd name="T77" fmla="*/ 48 h 226"/>
                  <a:gd name="T78" fmla="*/ 160 w 361"/>
                  <a:gd name="T79" fmla="*/ 54 h 226"/>
                  <a:gd name="T80" fmla="*/ 140 w 361"/>
                  <a:gd name="T81" fmla="*/ 48 h 226"/>
                  <a:gd name="T82" fmla="*/ 118 w 361"/>
                  <a:gd name="T83" fmla="*/ 48 h 226"/>
                  <a:gd name="T84" fmla="*/ 90 w 361"/>
                  <a:gd name="T85" fmla="*/ 48 h 226"/>
                  <a:gd name="T86" fmla="*/ 70 w 361"/>
                  <a:gd name="T87" fmla="*/ 42 h 226"/>
                  <a:gd name="T88" fmla="*/ 42 w 361"/>
                  <a:gd name="T89" fmla="*/ 42 h 226"/>
                  <a:gd name="T90" fmla="*/ 36 w 361"/>
                  <a:gd name="T91" fmla="*/ 28 h 226"/>
                  <a:gd name="T92" fmla="*/ 22 w 361"/>
                  <a:gd name="T93" fmla="*/ 14 h 226"/>
                  <a:gd name="T94" fmla="*/ 14 w 361"/>
                  <a:gd name="T95" fmla="*/ 28 h 226"/>
                  <a:gd name="T96" fmla="*/ 0 w 361"/>
                  <a:gd name="T97" fmla="*/ 34 h 226"/>
                  <a:gd name="T98" fmla="*/ 8 w 361"/>
                  <a:gd name="T99" fmla="*/ 62 h 226"/>
                  <a:gd name="T100" fmla="*/ 14 w 361"/>
                  <a:gd name="T101" fmla="*/ 76 h 226"/>
                  <a:gd name="T102" fmla="*/ 28 w 361"/>
                  <a:gd name="T103" fmla="*/ 76 h 226"/>
                  <a:gd name="T104" fmla="*/ 28 w 361"/>
                  <a:gd name="T105" fmla="*/ 90 h 226"/>
                  <a:gd name="T106" fmla="*/ 14 w 361"/>
                  <a:gd name="T107" fmla="*/ 102 h 226"/>
                  <a:gd name="T108" fmla="*/ 14 w 361"/>
                  <a:gd name="T109" fmla="*/ 124 h 226"/>
                  <a:gd name="T110" fmla="*/ 8 w 361"/>
                  <a:gd name="T111" fmla="*/ 138 h 226"/>
                  <a:gd name="T112" fmla="*/ 8 w 361"/>
                  <a:gd name="T113" fmla="*/ 158 h 226"/>
                  <a:gd name="T114" fmla="*/ 28 w 361"/>
                  <a:gd name="T115" fmla="*/ 172 h 226"/>
                  <a:gd name="T116" fmla="*/ 42 w 361"/>
                  <a:gd name="T117" fmla="*/ 186 h 226"/>
                  <a:gd name="T118" fmla="*/ 48 w 361"/>
                  <a:gd name="T119" fmla="*/ 200 h 226"/>
                  <a:gd name="T120" fmla="*/ 42 w 361"/>
                  <a:gd name="T121" fmla="*/ 212 h 226"/>
                  <a:gd name="T122" fmla="*/ 42 w 361"/>
                  <a:gd name="T123" fmla="*/ 22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1" h="226">
                    <a:moveTo>
                      <a:pt x="42" y="220"/>
                    </a:moveTo>
                    <a:lnTo>
                      <a:pt x="56" y="220"/>
                    </a:lnTo>
                    <a:lnTo>
                      <a:pt x="70" y="220"/>
                    </a:lnTo>
                    <a:lnTo>
                      <a:pt x="84" y="220"/>
                    </a:lnTo>
                    <a:lnTo>
                      <a:pt x="98" y="220"/>
                    </a:lnTo>
                    <a:lnTo>
                      <a:pt x="104" y="226"/>
                    </a:lnTo>
                    <a:lnTo>
                      <a:pt x="118" y="220"/>
                    </a:lnTo>
                    <a:lnTo>
                      <a:pt x="118" y="212"/>
                    </a:lnTo>
                    <a:lnTo>
                      <a:pt x="124" y="212"/>
                    </a:lnTo>
                    <a:lnTo>
                      <a:pt x="132" y="206"/>
                    </a:lnTo>
                    <a:lnTo>
                      <a:pt x="140" y="212"/>
                    </a:lnTo>
                    <a:lnTo>
                      <a:pt x="140" y="206"/>
                    </a:lnTo>
                    <a:lnTo>
                      <a:pt x="146" y="206"/>
                    </a:lnTo>
                    <a:lnTo>
                      <a:pt x="152" y="212"/>
                    </a:lnTo>
                    <a:lnTo>
                      <a:pt x="160" y="212"/>
                    </a:lnTo>
                    <a:lnTo>
                      <a:pt x="160" y="220"/>
                    </a:lnTo>
                    <a:lnTo>
                      <a:pt x="174" y="212"/>
                    </a:lnTo>
                    <a:lnTo>
                      <a:pt x="180" y="212"/>
                    </a:lnTo>
                    <a:lnTo>
                      <a:pt x="186" y="212"/>
                    </a:lnTo>
                    <a:lnTo>
                      <a:pt x="202" y="212"/>
                    </a:lnTo>
                    <a:lnTo>
                      <a:pt x="208" y="206"/>
                    </a:lnTo>
                    <a:lnTo>
                      <a:pt x="222" y="206"/>
                    </a:lnTo>
                    <a:lnTo>
                      <a:pt x="236" y="206"/>
                    </a:lnTo>
                    <a:lnTo>
                      <a:pt x="243" y="200"/>
                    </a:lnTo>
                    <a:lnTo>
                      <a:pt x="236" y="192"/>
                    </a:lnTo>
                    <a:lnTo>
                      <a:pt x="236" y="186"/>
                    </a:lnTo>
                    <a:lnTo>
                      <a:pt x="243" y="186"/>
                    </a:lnTo>
                    <a:lnTo>
                      <a:pt x="251" y="186"/>
                    </a:lnTo>
                    <a:lnTo>
                      <a:pt x="251" y="178"/>
                    </a:lnTo>
                    <a:lnTo>
                      <a:pt x="259" y="178"/>
                    </a:lnTo>
                    <a:lnTo>
                      <a:pt x="261" y="166"/>
                    </a:lnTo>
                    <a:lnTo>
                      <a:pt x="269" y="166"/>
                    </a:lnTo>
                    <a:lnTo>
                      <a:pt x="271" y="164"/>
                    </a:lnTo>
                    <a:lnTo>
                      <a:pt x="279" y="158"/>
                    </a:lnTo>
                    <a:lnTo>
                      <a:pt x="285" y="158"/>
                    </a:lnTo>
                    <a:lnTo>
                      <a:pt x="293" y="158"/>
                    </a:lnTo>
                    <a:lnTo>
                      <a:pt x="299" y="158"/>
                    </a:lnTo>
                    <a:lnTo>
                      <a:pt x="299" y="164"/>
                    </a:lnTo>
                    <a:lnTo>
                      <a:pt x="305" y="164"/>
                    </a:lnTo>
                    <a:lnTo>
                      <a:pt x="319" y="164"/>
                    </a:lnTo>
                    <a:lnTo>
                      <a:pt x="341" y="164"/>
                    </a:lnTo>
                    <a:lnTo>
                      <a:pt x="341" y="158"/>
                    </a:lnTo>
                    <a:lnTo>
                      <a:pt x="341" y="144"/>
                    </a:lnTo>
                    <a:lnTo>
                      <a:pt x="333" y="144"/>
                    </a:lnTo>
                    <a:lnTo>
                      <a:pt x="327" y="138"/>
                    </a:lnTo>
                    <a:lnTo>
                      <a:pt x="327" y="130"/>
                    </a:lnTo>
                    <a:lnTo>
                      <a:pt x="313" y="130"/>
                    </a:lnTo>
                    <a:lnTo>
                      <a:pt x="305" y="138"/>
                    </a:lnTo>
                    <a:lnTo>
                      <a:pt x="305" y="124"/>
                    </a:lnTo>
                    <a:lnTo>
                      <a:pt x="305" y="116"/>
                    </a:lnTo>
                    <a:lnTo>
                      <a:pt x="313" y="110"/>
                    </a:lnTo>
                    <a:lnTo>
                      <a:pt x="319" y="110"/>
                    </a:lnTo>
                    <a:lnTo>
                      <a:pt x="319" y="102"/>
                    </a:lnTo>
                    <a:lnTo>
                      <a:pt x="327" y="96"/>
                    </a:lnTo>
                    <a:lnTo>
                      <a:pt x="319" y="90"/>
                    </a:lnTo>
                    <a:lnTo>
                      <a:pt x="319" y="76"/>
                    </a:lnTo>
                    <a:lnTo>
                      <a:pt x="327" y="76"/>
                    </a:lnTo>
                    <a:lnTo>
                      <a:pt x="327" y="62"/>
                    </a:lnTo>
                    <a:lnTo>
                      <a:pt x="327" y="48"/>
                    </a:lnTo>
                    <a:lnTo>
                      <a:pt x="341" y="48"/>
                    </a:lnTo>
                    <a:lnTo>
                      <a:pt x="355" y="48"/>
                    </a:lnTo>
                    <a:lnTo>
                      <a:pt x="361" y="42"/>
                    </a:lnTo>
                    <a:lnTo>
                      <a:pt x="353" y="24"/>
                    </a:lnTo>
                    <a:lnTo>
                      <a:pt x="353" y="20"/>
                    </a:lnTo>
                    <a:lnTo>
                      <a:pt x="327" y="10"/>
                    </a:lnTo>
                    <a:lnTo>
                      <a:pt x="319" y="8"/>
                    </a:lnTo>
                    <a:lnTo>
                      <a:pt x="313" y="8"/>
                    </a:lnTo>
                    <a:lnTo>
                      <a:pt x="307" y="8"/>
                    </a:lnTo>
                    <a:lnTo>
                      <a:pt x="291" y="10"/>
                    </a:lnTo>
                    <a:lnTo>
                      <a:pt x="285" y="6"/>
                    </a:lnTo>
                    <a:lnTo>
                      <a:pt x="271" y="6"/>
                    </a:lnTo>
                    <a:lnTo>
                      <a:pt x="265" y="6"/>
                    </a:lnTo>
                    <a:lnTo>
                      <a:pt x="257" y="0"/>
                    </a:lnTo>
                    <a:lnTo>
                      <a:pt x="228" y="6"/>
                    </a:lnTo>
                    <a:lnTo>
                      <a:pt x="222" y="14"/>
                    </a:lnTo>
                    <a:lnTo>
                      <a:pt x="208" y="28"/>
                    </a:lnTo>
                    <a:lnTo>
                      <a:pt x="194" y="42"/>
                    </a:lnTo>
                    <a:lnTo>
                      <a:pt x="180" y="48"/>
                    </a:lnTo>
                    <a:lnTo>
                      <a:pt x="174" y="54"/>
                    </a:lnTo>
                    <a:lnTo>
                      <a:pt x="160" y="54"/>
                    </a:lnTo>
                    <a:lnTo>
                      <a:pt x="146" y="48"/>
                    </a:lnTo>
                    <a:lnTo>
                      <a:pt x="140" y="48"/>
                    </a:lnTo>
                    <a:lnTo>
                      <a:pt x="124" y="48"/>
                    </a:lnTo>
                    <a:lnTo>
                      <a:pt x="118" y="48"/>
                    </a:lnTo>
                    <a:lnTo>
                      <a:pt x="104" y="48"/>
                    </a:lnTo>
                    <a:lnTo>
                      <a:pt x="90" y="48"/>
                    </a:lnTo>
                    <a:lnTo>
                      <a:pt x="84" y="42"/>
                    </a:lnTo>
                    <a:lnTo>
                      <a:pt x="70" y="42"/>
                    </a:lnTo>
                    <a:lnTo>
                      <a:pt x="56" y="42"/>
                    </a:lnTo>
                    <a:lnTo>
                      <a:pt x="42" y="42"/>
                    </a:lnTo>
                    <a:lnTo>
                      <a:pt x="36" y="34"/>
                    </a:lnTo>
                    <a:lnTo>
                      <a:pt x="36" y="28"/>
                    </a:lnTo>
                    <a:lnTo>
                      <a:pt x="36" y="14"/>
                    </a:lnTo>
                    <a:lnTo>
                      <a:pt x="22" y="14"/>
                    </a:lnTo>
                    <a:lnTo>
                      <a:pt x="28" y="14"/>
                    </a:lnTo>
                    <a:lnTo>
                      <a:pt x="14" y="28"/>
                    </a:lnTo>
                    <a:lnTo>
                      <a:pt x="8" y="34"/>
                    </a:lnTo>
                    <a:lnTo>
                      <a:pt x="0" y="34"/>
                    </a:lnTo>
                    <a:lnTo>
                      <a:pt x="8" y="48"/>
                    </a:lnTo>
                    <a:lnTo>
                      <a:pt x="8" y="62"/>
                    </a:lnTo>
                    <a:lnTo>
                      <a:pt x="14" y="68"/>
                    </a:lnTo>
                    <a:lnTo>
                      <a:pt x="14" y="76"/>
                    </a:lnTo>
                    <a:lnTo>
                      <a:pt x="22" y="76"/>
                    </a:lnTo>
                    <a:lnTo>
                      <a:pt x="28" y="76"/>
                    </a:lnTo>
                    <a:lnTo>
                      <a:pt x="36" y="82"/>
                    </a:lnTo>
                    <a:lnTo>
                      <a:pt x="28" y="90"/>
                    </a:lnTo>
                    <a:lnTo>
                      <a:pt x="28" y="96"/>
                    </a:lnTo>
                    <a:lnTo>
                      <a:pt x="14" y="102"/>
                    </a:lnTo>
                    <a:lnTo>
                      <a:pt x="14" y="110"/>
                    </a:lnTo>
                    <a:lnTo>
                      <a:pt x="14" y="124"/>
                    </a:lnTo>
                    <a:lnTo>
                      <a:pt x="8" y="124"/>
                    </a:lnTo>
                    <a:lnTo>
                      <a:pt x="8" y="138"/>
                    </a:lnTo>
                    <a:lnTo>
                      <a:pt x="8" y="144"/>
                    </a:lnTo>
                    <a:lnTo>
                      <a:pt x="8" y="158"/>
                    </a:lnTo>
                    <a:lnTo>
                      <a:pt x="22" y="164"/>
                    </a:lnTo>
                    <a:lnTo>
                      <a:pt x="28" y="172"/>
                    </a:lnTo>
                    <a:lnTo>
                      <a:pt x="36" y="178"/>
                    </a:lnTo>
                    <a:lnTo>
                      <a:pt x="42" y="186"/>
                    </a:lnTo>
                    <a:lnTo>
                      <a:pt x="48" y="192"/>
                    </a:lnTo>
                    <a:lnTo>
                      <a:pt x="48" y="200"/>
                    </a:lnTo>
                    <a:lnTo>
                      <a:pt x="48" y="206"/>
                    </a:lnTo>
                    <a:lnTo>
                      <a:pt x="42" y="212"/>
                    </a:lnTo>
                    <a:lnTo>
                      <a:pt x="42" y="220"/>
                    </a:lnTo>
                    <a:lnTo>
                      <a:pt x="42" y="220"/>
                    </a:lnTo>
                    <a:lnTo>
                      <a:pt x="42" y="220"/>
                    </a:lnTo>
                    <a:close/>
                  </a:path>
                </a:pathLst>
              </a:custGeom>
              <a:solidFill>
                <a:srgbClr val="73C37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0" name="Freeform 64"/>
              <p:cNvSpPr>
                <a:spLocks/>
              </p:cNvSpPr>
              <p:nvPr>
                <p:custDataLst>
                  <p:tags r:id="rId148"/>
                </p:custDataLst>
              </p:nvPr>
            </p:nvSpPr>
            <p:spPr bwMode="gray">
              <a:xfrm>
                <a:off x="5347919" y="3454265"/>
                <a:ext cx="792339" cy="590681"/>
              </a:xfrm>
              <a:custGeom>
                <a:avLst/>
                <a:gdLst>
                  <a:gd name="T0" fmla="*/ 110 w 499"/>
                  <a:gd name="T1" fmla="*/ 312 h 372"/>
                  <a:gd name="T2" fmla="*/ 110 w 499"/>
                  <a:gd name="T3" fmla="*/ 292 h 372"/>
                  <a:gd name="T4" fmla="*/ 76 w 499"/>
                  <a:gd name="T5" fmla="*/ 300 h 372"/>
                  <a:gd name="T6" fmla="*/ 48 w 499"/>
                  <a:gd name="T7" fmla="*/ 292 h 372"/>
                  <a:gd name="T8" fmla="*/ 40 w 499"/>
                  <a:gd name="T9" fmla="*/ 278 h 372"/>
                  <a:gd name="T10" fmla="*/ 40 w 499"/>
                  <a:gd name="T11" fmla="*/ 258 h 372"/>
                  <a:gd name="T12" fmla="*/ 20 w 499"/>
                  <a:gd name="T13" fmla="*/ 250 h 372"/>
                  <a:gd name="T14" fmla="*/ 12 w 499"/>
                  <a:gd name="T15" fmla="*/ 224 h 372"/>
                  <a:gd name="T16" fmla="*/ 6 w 499"/>
                  <a:gd name="T17" fmla="*/ 202 h 372"/>
                  <a:gd name="T18" fmla="*/ 6 w 499"/>
                  <a:gd name="T19" fmla="*/ 190 h 372"/>
                  <a:gd name="T20" fmla="*/ 28 w 499"/>
                  <a:gd name="T21" fmla="*/ 162 h 372"/>
                  <a:gd name="T22" fmla="*/ 42 w 499"/>
                  <a:gd name="T23" fmla="*/ 142 h 372"/>
                  <a:gd name="T24" fmla="*/ 62 w 499"/>
                  <a:gd name="T25" fmla="*/ 126 h 372"/>
                  <a:gd name="T26" fmla="*/ 68 w 499"/>
                  <a:gd name="T27" fmla="*/ 86 h 372"/>
                  <a:gd name="T28" fmla="*/ 90 w 499"/>
                  <a:gd name="T29" fmla="*/ 72 h 372"/>
                  <a:gd name="T30" fmla="*/ 110 w 499"/>
                  <a:gd name="T31" fmla="*/ 52 h 372"/>
                  <a:gd name="T32" fmla="*/ 112 w 499"/>
                  <a:gd name="T33" fmla="*/ 24 h 372"/>
                  <a:gd name="T34" fmla="*/ 154 w 499"/>
                  <a:gd name="T35" fmla="*/ 32 h 372"/>
                  <a:gd name="T36" fmla="*/ 180 w 499"/>
                  <a:gd name="T37" fmla="*/ 30 h 372"/>
                  <a:gd name="T38" fmla="*/ 220 w 499"/>
                  <a:gd name="T39" fmla="*/ 36 h 372"/>
                  <a:gd name="T40" fmla="*/ 248 w 499"/>
                  <a:gd name="T41" fmla="*/ 20 h 372"/>
                  <a:gd name="T42" fmla="*/ 274 w 499"/>
                  <a:gd name="T43" fmla="*/ 16 h 372"/>
                  <a:gd name="T44" fmla="*/ 310 w 499"/>
                  <a:gd name="T45" fmla="*/ 6 h 372"/>
                  <a:gd name="T46" fmla="*/ 353 w 499"/>
                  <a:gd name="T47" fmla="*/ 30 h 372"/>
                  <a:gd name="T48" fmla="*/ 381 w 499"/>
                  <a:gd name="T49" fmla="*/ 64 h 372"/>
                  <a:gd name="T50" fmla="*/ 395 w 499"/>
                  <a:gd name="T51" fmla="*/ 92 h 372"/>
                  <a:gd name="T52" fmla="*/ 415 w 499"/>
                  <a:gd name="T53" fmla="*/ 120 h 372"/>
                  <a:gd name="T54" fmla="*/ 409 w 499"/>
                  <a:gd name="T55" fmla="*/ 140 h 372"/>
                  <a:gd name="T56" fmla="*/ 415 w 499"/>
                  <a:gd name="T57" fmla="*/ 160 h 372"/>
                  <a:gd name="T58" fmla="*/ 415 w 499"/>
                  <a:gd name="T59" fmla="*/ 196 h 372"/>
                  <a:gd name="T60" fmla="*/ 445 w 499"/>
                  <a:gd name="T61" fmla="*/ 208 h 372"/>
                  <a:gd name="T62" fmla="*/ 459 w 499"/>
                  <a:gd name="T63" fmla="*/ 200 h 372"/>
                  <a:gd name="T64" fmla="*/ 485 w 499"/>
                  <a:gd name="T65" fmla="*/ 208 h 372"/>
                  <a:gd name="T66" fmla="*/ 499 w 499"/>
                  <a:gd name="T67" fmla="*/ 236 h 372"/>
                  <a:gd name="T68" fmla="*/ 485 w 499"/>
                  <a:gd name="T69" fmla="*/ 258 h 372"/>
                  <a:gd name="T70" fmla="*/ 471 w 499"/>
                  <a:gd name="T71" fmla="*/ 250 h 372"/>
                  <a:gd name="T72" fmla="*/ 457 w 499"/>
                  <a:gd name="T73" fmla="*/ 258 h 372"/>
                  <a:gd name="T74" fmla="*/ 457 w 499"/>
                  <a:gd name="T75" fmla="*/ 278 h 372"/>
                  <a:gd name="T76" fmla="*/ 451 w 499"/>
                  <a:gd name="T77" fmla="*/ 292 h 372"/>
                  <a:gd name="T78" fmla="*/ 457 w 499"/>
                  <a:gd name="T79" fmla="*/ 320 h 372"/>
                  <a:gd name="T80" fmla="*/ 449 w 499"/>
                  <a:gd name="T81" fmla="*/ 342 h 372"/>
                  <a:gd name="T82" fmla="*/ 409 w 499"/>
                  <a:gd name="T83" fmla="*/ 326 h 372"/>
                  <a:gd name="T84" fmla="*/ 381 w 499"/>
                  <a:gd name="T85" fmla="*/ 324 h 372"/>
                  <a:gd name="T86" fmla="*/ 353 w 499"/>
                  <a:gd name="T87" fmla="*/ 316 h 372"/>
                  <a:gd name="T88" fmla="*/ 306 w 499"/>
                  <a:gd name="T89" fmla="*/ 342 h 372"/>
                  <a:gd name="T90" fmla="*/ 270 w 499"/>
                  <a:gd name="T91" fmla="*/ 370 h 372"/>
                  <a:gd name="T92" fmla="*/ 236 w 499"/>
                  <a:gd name="T93" fmla="*/ 366 h 372"/>
                  <a:gd name="T94" fmla="*/ 200 w 499"/>
                  <a:gd name="T95" fmla="*/ 366 h 372"/>
                  <a:gd name="T96" fmla="*/ 166 w 499"/>
                  <a:gd name="T97" fmla="*/ 360 h 372"/>
                  <a:gd name="T98" fmla="*/ 130 w 499"/>
                  <a:gd name="T99" fmla="*/ 356 h 372"/>
                  <a:gd name="T100" fmla="*/ 124 w 499"/>
                  <a:gd name="T101" fmla="*/ 334 h 372"/>
                  <a:gd name="T102" fmla="*/ 124 w 499"/>
                  <a:gd name="T103" fmla="*/ 33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99" h="372">
                    <a:moveTo>
                      <a:pt x="124" y="330"/>
                    </a:moveTo>
                    <a:lnTo>
                      <a:pt x="116" y="316"/>
                    </a:lnTo>
                    <a:lnTo>
                      <a:pt x="110" y="312"/>
                    </a:lnTo>
                    <a:lnTo>
                      <a:pt x="110" y="306"/>
                    </a:lnTo>
                    <a:lnTo>
                      <a:pt x="116" y="300"/>
                    </a:lnTo>
                    <a:lnTo>
                      <a:pt x="110" y="292"/>
                    </a:lnTo>
                    <a:lnTo>
                      <a:pt x="96" y="300"/>
                    </a:lnTo>
                    <a:lnTo>
                      <a:pt x="90" y="306"/>
                    </a:lnTo>
                    <a:lnTo>
                      <a:pt x="76" y="300"/>
                    </a:lnTo>
                    <a:lnTo>
                      <a:pt x="68" y="292"/>
                    </a:lnTo>
                    <a:lnTo>
                      <a:pt x="62" y="292"/>
                    </a:lnTo>
                    <a:lnTo>
                      <a:pt x="48" y="292"/>
                    </a:lnTo>
                    <a:lnTo>
                      <a:pt x="40" y="292"/>
                    </a:lnTo>
                    <a:lnTo>
                      <a:pt x="40" y="286"/>
                    </a:lnTo>
                    <a:lnTo>
                      <a:pt x="40" y="278"/>
                    </a:lnTo>
                    <a:lnTo>
                      <a:pt x="48" y="272"/>
                    </a:lnTo>
                    <a:lnTo>
                      <a:pt x="48" y="264"/>
                    </a:lnTo>
                    <a:lnTo>
                      <a:pt x="40" y="258"/>
                    </a:lnTo>
                    <a:lnTo>
                      <a:pt x="34" y="250"/>
                    </a:lnTo>
                    <a:lnTo>
                      <a:pt x="26" y="250"/>
                    </a:lnTo>
                    <a:lnTo>
                      <a:pt x="20" y="250"/>
                    </a:lnTo>
                    <a:lnTo>
                      <a:pt x="20" y="236"/>
                    </a:lnTo>
                    <a:lnTo>
                      <a:pt x="12" y="230"/>
                    </a:lnTo>
                    <a:lnTo>
                      <a:pt x="12" y="224"/>
                    </a:lnTo>
                    <a:lnTo>
                      <a:pt x="12" y="210"/>
                    </a:lnTo>
                    <a:lnTo>
                      <a:pt x="12" y="202"/>
                    </a:lnTo>
                    <a:lnTo>
                      <a:pt x="6" y="202"/>
                    </a:lnTo>
                    <a:lnTo>
                      <a:pt x="0" y="202"/>
                    </a:lnTo>
                    <a:lnTo>
                      <a:pt x="6" y="188"/>
                    </a:lnTo>
                    <a:lnTo>
                      <a:pt x="6" y="190"/>
                    </a:lnTo>
                    <a:lnTo>
                      <a:pt x="14" y="176"/>
                    </a:lnTo>
                    <a:lnTo>
                      <a:pt x="20" y="168"/>
                    </a:lnTo>
                    <a:lnTo>
                      <a:pt x="28" y="162"/>
                    </a:lnTo>
                    <a:lnTo>
                      <a:pt x="34" y="154"/>
                    </a:lnTo>
                    <a:lnTo>
                      <a:pt x="42" y="148"/>
                    </a:lnTo>
                    <a:lnTo>
                      <a:pt x="42" y="142"/>
                    </a:lnTo>
                    <a:lnTo>
                      <a:pt x="48" y="142"/>
                    </a:lnTo>
                    <a:lnTo>
                      <a:pt x="56" y="134"/>
                    </a:lnTo>
                    <a:lnTo>
                      <a:pt x="62" y="126"/>
                    </a:lnTo>
                    <a:lnTo>
                      <a:pt x="62" y="106"/>
                    </a:lnTo>
                    <a:lnTo>
                      <a:pt x="68" y="100"/>
                    </a:lnTo>
                    <a:lnTo>
                      <a:pt x="68" y="86"/>
                    </a:lnTo>
                    <a:lnTo>
                      <a:pt x="76" y="78"/>
                    </a:lnTo>
                    <a:lnTo>
                      <a:pt x="82" y="72"/>
                    </a:lnTo>
                    <a:lnTo>
                      <a:pt x="90" y="72"/>
                    </a:lnTo>
                    <a:lnTo>
                      <a:pt x="96" y="64"/>
                    </a:lnTo>
                    <a:lnTo>
                      <a:pt x="104" y="58"/>
                    </a:lnTo>
                    <a:lnTo>
                      <a:pt x="110" y="52"/>
                    </a:lnTo>
                    <a:lnTo>
                      <a:pt x="110" y="44"/>
                    </a:lnTo>
                    <a:lnTo>
                      <a:pt x="98" y="28"/>
                    </a:lnTo>
                    <a:lnTo>
                      <a:pt x="112" y="24"/>
                    </a:lnTo>
                    <a:lnTo>
                      <a:pt x="130" y="24"/>
                    </a:lnTo>
                    <a:lnTo>
                      <a:pt x="144" y="28"/>
                    </a:lnTo>
                    <a:lnTo>
                      <a:pt x="154" y="32"/>
                    </a:lnTo>
                    <a:lnTo>
                      <a:pt x="162" y="36"/>
                    </a:lnTo>
                    <a:lnTo>
                      <a:pt x="174" y="40"/>
                    </a:lnTo>
                    <a:lnTo>
                      <a:pt x="180" y="30"/>
                    </a:lnTo>
                    <a:lnTo>
                      <a:pt x="192" y="28"/>
                    </a:lnTo>
                    <a:lnTo>
                      <a:pt x="200" y="28"/>
                    </a:lnTo>
                    <a:lnTo>
                      <a:pt x="220" y="36"/>
                    </a:lnTo>
                    <a:lnTo>
                      <a:pt x="228" y="32"/>
                    </a:lnTo>
                    <a:lnTo>
                      <a:pt x="242" y="20"/>
                    </a:lnTo>
                    <a:lnTo>
                      <a:pt x="248" y="20"/>
                    </a:lnTo>
                    <a:lnTo>
                      <a:pt x="260" y="20"/>
                    </a:lnTo>
                    <a:lnTo>
                      <a:pt x="272" y="20"/>
                    </a:lnTo>
                    <a:lnTo>
                      <a:pt x="274" y="16"/>
                    </a:lnTo>
                    <a:lnTo>
                      <a:pt x="278" y="8"/>
                    </a:lnTo>
                    <a:lnTo>
                      <a:pt x="298" y="0"/>
                    </a:lnTo>
                    <a:lnTo>
                      <a:pt x="310" y="6"/>
                    </a:lnTo>
                    <a:lnTo>
                      <a:pt x="324" y="10"/>
                    </a:lnTo>
                    <a:lnTo>
                      <a:pt x="333" y="16"/>
                    </a:lnTo>
                    <a:lnTo>
                      <a:pt x="353" y="30"/>
                    </a:lnTo>
                    <a:lnTo>
                      <a:pt x="351" y="54"/>
                    </a:lnTo>
                    <a:lnTo>
                      <a:pt x="367" y="58"/>
                    </a:lnTo>
                    <a:lnTo>
                      <a:pt x="381" y="64"/>
                    </a:lnTo>
                    <a:lnTo>
                      <a:pt x="381" y="78"/>
                    </a:lnTo>
                    <a:lnTo>
                      <a:pt x="387" y="86"/>
                    </a:lnTo>
                    <a:lnTo>
                      <a:pt x="395" y="92"/>
                    </a:lnTo>
                    <a:lnTo>
                      <a:pt x="409" y="100"/>
                    </a:lnTo>
                    <a:lnTo>
                      <a:pt x="409" y="106"/>
                    </a:lnTo>
                    <a:lnTo>
                      <a:pt x="415" y="120"/>
                    </a:lnTo>
                    <a:lnTo>
                      <a:pt x="415" y="126"/>
                    </a:lnTo>
                    <a:lnTo>
                      <a:pt x="415" y="140"/>
                    </a:lnTo>
                    <a:lnTo>
                      <a:pt x="409" y="140"/>
                    </a:lnTo>
                    <a:lnTo>
                      <a:pt x="409" y="146"/>
                    </a:lnTo>
                    <a:lnTo>
                      <a:pt x="409" y="154"/>
                    </a:lnTo>
                    <a:lnTo>
                      <a:pt x="415" y="160"/>
                    </a:lnTo>
                    <a:lnTo>
                      <a:pt x="415" y="168"/>
                    </a:lnTo>
                    <a:lnTo>
                      <a:pt x="415" y="182"/>
                    </a:lnTo>
                    <a:lnTo>
                      <a:pt x="415" y="196"/>
                    </a:lnTo>
                    <a:lnTo>
                      <a:pt x="423" y="206"/>
                    </a:lnTo>
                    <a:lnTo>
                      <a:pt x="437" y="202"/>
                    </a:lnTo>
                    <a:lnTo>
                      <a:pt x="445" y="208"/>
                    </a:lnTo>
                    <a:lnTo>
                      <a:pt x="449" y="210"/>
                    </a:lnTo>
                    <a:lnTo>
                      <a:pt x="453" y="208"/>
                    </a:lnTo>
                    <a:lnTo>
                      <a:pt x="459" y="200"/>
                    </a:lnTo>
                    <a:lnTo>
                      <a:pt x="475" y="202"/>
                    </a:lnTo>
                    <a:lnTo>
                      <a:pt x="479" y="206"/>
                    </a:lnTo>
                    <a:lnTo>
                      <a:pt x="485" y="208"/>
                    </a:lnTo>
                    <a:lnTo>
                      <a:pt x="493" y="220"/>
                    </a:lnTo>
                    <a:lnTo>
                      <a:pt x="499" y="210"/>
                    </a:lnTo>
                    <a:lnTo>
                      <a:pt x="499" y="236"/>
                    </a:lnTo>
                    <a:lnTo>
                      <a:pt x="491" y="250"/>
                    </a:lnTo>
                    <a:lnTo>
                      <a:pt x="485" y="250"/>
                    </a:lnTo>
                    <a:lnTo>
                      <a:pt x="485" y="258"/>
                    </a:lnTo>
                    <a:lnTo>
                      <a:pt x="477" y="264"/>
                    </a:lnTo>
                    <a:lnTo>
                      <a:pt x="471" y="264"/>
                    </a:lnTo>
                    <a:lnTo>
                      <a:pt x="471" y="250"/>
                    </a:lnTo>
                    <a:lnTo>
                      <a:pt x="463" y="244"/>
                    </a:lnTo>
                    <a:lnTo>
                      <a:pt x="457" y="250"/>
                    </a:lnTo>
                    <a:lnTo>
                      <a:pt x="457" y="258"/>
                    </a:lnTo>
                    <a:lnTo>
                      <a:pt x="451" y="272"/>
                    </a:lnTo>
                    <a:lnTo>
                      <a:pt x="451" y="278"/>
                    </a:lnTo>
                    <a:lnTo>
                      <a:pt x="457" y="278"/>
                    </a:lnTo>
                    <a:lnTo>
                      <a:pt x="463" y="278"/>
                    </a:lnTo>
                    <a:lnTo>
                      <a:pt x="457" y="286"/>
                    </a:lnTo>
                    <a:lnTo>
                      <a:pt x="451" y="292"/>
                    </a:lnTo>
                    <a:lnTo>
                      <a:pt x="451" y="300"/>
                    </a:lnTo>
                    <a:lnTo>
                      <a:pt x="451" y="312"/>
                    </a:lnTo>
                    <a:lnTo>
                      <a:pt x="457" y="320"/>
                    </a:lnTo>
                    <a:lnTo>
                      <a:pt x="451" y="334"/>
                    </a:lnTo>
                    <a:lnTo>
                      <a:pt x="451" y="340"/>
                    </a:lnTo>
                    <a:lnTo>
                      <a:pt x="449" y="342"/>
                    </a:lnTo>
                    <a:lnTo>
                      <a:pt x="423" y="328"/>
                    </a:lnTo>
                    <a:lnTo>
                      <a:pt x="415" y="328"/>
                    </a:lnTo>
                    <a:lnTo>
                      <a:pt x="409" y="326"/>
                    </a:lnTo>
                    <a:lnTo>
                      <a:pt x="403" y="326"/>
                    </a:lnTo>
                    <a:lnTo>
                      <a:pt x="387" y="328"/>
                    </a:lnTo>
                    <a:lnTo>
                      <a:pt x="381" y="324"/>
                    </a:lnTo>
                    <a:lnTo>
                      <a:pt x="367" y="324"/>
                    </a:lnTo>
                    <a:lnTo>
                      <a:pt x="361" y="324"/>
                    </a:lnTo>
                    <a:lnTo>
                      <a:pt x="353" y="316"/>
                    </a:lnTo>
                    <a:lnTo>
                      <a:pt x="324" y="324"/>
                    </a:lnTo>
                    <a:lnTo>
                      <a:pt x="318" y="326"/>
                    </a:lnTo>
                    <a:lnTo>
                      <a:pt x="306" y="342"/>
                    </a:lnTo>
                    <a:lnTo>
                      <a:pt x="290" y="358"/>
                    </a:lnTo>
                    <a:lnTo>
                      <a:pt x="274" y="362"/>
                    </a:lnTo>
                    <a:lnTo>
                      <a:pt x="270" y="370"/>
                    </a:lnTo>
                    <a:lnTo>
                      <a:pt x="254" y="372"/>
                    </a:lnTo>
                    <a:lnTo>
                      <a:pt x="242" y="366"/>
                    </a:lnTo>
                    <a:lnTo>
                      <a:pt x="236" y="366"/>
                    </a:lnTo>
                    <a:lnTo>
                      <a:pt x="220" y="366"/>
                    </a:lnTo>
                    <a:lnTo>
                      <a:pt x="212" y="366"/>
                    </a:lnTo>
                    <a:lnTo>
                      <a:pt x="200" y="366"/>
                    </a:lnTo>
                    <a:lnTo>
                      <a:pt x="186" y="366"/>
                    </a:lnTo>
                    <a:lnTo>
                      <a:pt x="176" y="360"/>
                    </a:lnTo>
                    <a:lnTo>
                      <a:pt x="166" y="360"/>
                    </a:lnTo>
                    <a:lnTo>
                      <a:pt x="150" y="360"/>
                    </a:lnTo>
                    <a:lnTo>
                      <a:pt x="138" y="360"/>
                    </a:lnTo>
                    <a:lnTo>
                      <a:pt x="130" y="356"/>
                    </a:lnTo>
                    <a:lnTo>
                      <a:pt x="128" y="346"/>
                    </a:lnTo>
                    <a:lnTo>
                      <a:pt x="126" y="336"/>
                    </a:lnTo>
                    <a:lnTo>
                      <a:pt x="124" y="334"/>
                    </a:lnTo>
                    <a:lnTo>
                      <a:pt x="124" y="330"/>
                    </a:lnTo>
                    <a:lnTo>
                      <a:pt x="124" y="330"/>
                    </a:lnTo>
                    <a:lnTo>
                      <a:pt x="124" y="330"/>
                    </a:lnTo>
                    <a:close/>
                  </a:path>
                </a:pathLst>
              </a:custGeom>
              <a:solidFill>
                <a:schemeClr val="bg1">
                  <a:lumMod val="85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2" name="Freeform 66"/>
              <p:cNvSpPr>
                <a:spLocks/>
              </p:cNvSpPr>
              <p:nvPr>
                <p:custDataLst>
                  <p:tags r:id="rId149"/>
                </p:custDataLst>
              </p:nvPr>
            </p:nvSpPr>
            <p:spPr bwMode="gray">
              <a:xfrm>
                <a:off x="5313554" y="4244826"/>
                <a:ext cx="604972" cy="641492"/>
              </a:xfrm>
              <a:custGeom>
                <a:avLst/>
                <a:gdLst>
                  <a:gd name="T0" fmla="*/ 214 w 381"/>
                  <a:gd name="T1" fmla="*/ 40 h 404"/>
                  <a:gd name="T2" fmla="*/ 248 w 381"/>
                  <a:gd name="T3" fmla="*/ 24 h 404"/>
                  <a:gd name="T4" fmla="*/ 278 w 381"/>
                  <a:gd name="T5" fmla="*/ 32 h 404"/>
                  <a:gd name="T6" fmla="*/ 318 w 381"/>
                  <a:gd name="T7" fmla="*/ 32 h 404"/>
                  <a:gd name="T8" fmla="*/ 348 w 381"/>
                  <a:gd name="T9" fmla="*/ 12 h 404"/>
                  <a:gd name="T10" fmla="*/ 381 w 381"/>
                  <a:gd name="T11" fmla="*/ 12 h 404"/>
                  <a:gd name="T12" fmla="*/ 369 w 381"/>
                  <a:gd name="T13" fmla="*/ 42 h 404"/>
                  <a:gd name="T14" fmla="*/ 355 w 381"/>
                  <a:gd name="T15" fmla="*/ 82 h 404"/>
                  <a:gd name="T16" fmla="*/ 292 w 381"/>
                  <a:gd name="T17" fmla="*/ 68 h 404"/>
                  <a:gd name="T18" fmla="*/ 264 w 381"/>
                  <a:gd name="T19" fmla="*/ 74 h 404"/>
                  <a:gd name="T20" fmla="*/ 242 w 381"/>
                  <a:gd name="T21" fmla="*/ 88 h 404"/>
                  <a:gd name="T22" fmla="*/ 228 w 381"/>
                  <a:gd name="T23" fmla="*/ 108 h 404"/>
                  <a:gd name="T24" fmla="*/ 242 w 381"/>
                  <a:gd name="T25" fmla="*/ 136 h 404"/>
                  <a:gd name="T26" fmla="*/ 222 w 381"/>
                  <a:gd name="T27" fmla="*/ 130 h 404"/>
                  <a:gd name="T28" fmla="*/ 208 w 381"/>
                  <a:gd name="T29" fmla="*/ 136 h 404"/>
                  <a:gd name="T30" fmla="*/ 202 w 381"/>
                  <a:gd name="T31" fmla="*/ 144 h 404"/>
                  <a:gd name="T32" fmla="*/ 180 w 381"/>
                  <a:gd name="T33" fmla="*/ 130 h 404"/>
                  <a:gd name="T34" fmla="*/ 146 w 381"/>
                  <a:gd name="T35" fmla="*/ 102 h 404"/>
                  <a:gd name="T36" fmla="*/ 146 w 381"/>
                  <a:gd name="T37" fmla="*/ 144 h 404"/>
                  <a:gd name="T38" fmla="*/ 202 w 381"/>
                  <a:gd name="T39" fmla="*/ 192 h 404"/>
                  <a:gd name="T40" fmla="*/ 180 w 381"/>
                  <a:gd name="T41" fmla="*/ 184 h 404"/>
                  <a:gd name="T42" fmla="*/ 166 w 381"/>
                  <a:gd name="T43" fmla="*/ 204 h 404"/>
                  <a:gd name="T44" fmla="*/ 174 w 381"/>
                  <a:gd name="T45" fmla="*/ 232 h 404"/>
                  <a:gd name="T46" fmla="*/ 228 w 381"/>
                  <a:gd name="T47" fmla="*/ 266 h 404"/>
                  <a:gd name="T48" fmla="*/ 236 w 381"/>
                  <a:gd name="T49" fmla="*/ 308 h 404"/>
                  <a:gd name="T50" fmla="*/ 188 w 381"/>
                  <a:gd name="T51" fmla="*/ 308 h 404"/>
                  <a:gd name="T52" fmla="*/ 214 w 381"/>
                  <a:gd name="T53" fmla="*/ 328 h 404"/>
                  <a:gd name="T54" fmla="*/ 174 w 381"/>
                  <a:gd name="T55" fmla="*/ 328 h 404"/>
                  <a:gd name="T56" fmla="*/ 174 w 381"/>
                  <a:gd name="T57" fmla="*/ 356 h 404"/>
                  <a:gd name="T58" fmla="*/ 202 w 381"/>
                  <a:gd name="T59" fmla="*/ 390 h 404"/>
                  <a:gd name="T60" fmla="*/ 158 w 381"/>
                  <a:gd name="T61" fmla="*/ 384 h 404"/>
                  <a:gd name="T62" fmla="*/ 152 w 381"/>
                  <a:gd name="T63" fmla="*/ 404 h 404"/>
                  <a:gd name="T64" fmla="*/ 124 w 381"/>
                  <a:gd name="T65" fmla="*/ 378 h 404"/>
                  <a:gd name="T66" fmla="*/ 112 w 381"/>
                  <a:gd name="T67" fmla="*/ 370 h 404"/>
                  <a:gd name="T68" fmla="*/ 90 w 381"/>
                  <a:gd name="T69" fmla="*/ 370 h 404"/>
                  <a:gd name="T70" fmla="*/ 90 w 381"/>
                  <a:gd name="T71" fmla="*/ 328 h 404"/>
                  <a:gd name="T72" fmla="*/ 62 w 381"/>
                  <a:gd name="T73" fmla="*/ 294 h 404"/>
                  <a:gd name="T74" fmla="*/ 90 w 381"/>
                  <a:gd name="T75" fmla="*/ 280 h 404"/>
                  <a:gd name="T76" fmla="*/ 124 w 381"/>
                  <a:gd name="T77" fmla="*/ 274 h 404"/>
                  <a:gd name="T78" fmla="*/ 152 w 381"/>
                  <a:gd name="T79" fmla="*/ 288 h 404"/>
                  <a:gd name="T80" fmla="*/ 166 w 381"/>
                  <a:gd name="T81" fmla="*/ 274 h 404"/>
                  <a:gd name="T82" fmla="*/ 132 w 381"/>
                  <a:gd name="T83" fmla="*/ 260 h 404"/>
                  <a:gd name="T84" fmla="*/ 82 w 381"/>
                  <a:gd name="T85" fmla="*/ 260 h 404"/>
                  <a:gd name="T86" fmla="*/ 48 w 381"/>
                  <a:gd name="T87" fmla="*/ 254 h 404"/>
                  <a:gd name="T88" fmla="*/ 42 w 381"/>
                  <a:gd name="T89" fmla="*/ 226 h 404"/>
                  <a:gd name="T90" fmla="*/ 56 w 381"/>
                  <a:gd name="T91" fmla="*/ 212 h 404"/>
                  <a:gd name="T92" fmla="*/ 28 w 381"/>
                  <a:gd name="T93" fmla="*/ 198 h 404"/>
                  <a:gd name="T94" fmla="*/ 6 w 381"/>
                  <a:gd name="T95" fmla="*/ 170 h 404"/>
                  <a:gd name="T96" fmla="*/ 34 w 381"/>
                  <a:gd name="T97" fmla="*/ 144 h 404"/>
                  <a:gd name="T98" fmla="*/ 56 w 381"/>
                  <a:gd name="T99" fmla="*/ 108 h 404"/>
                  <a:gd name="T100" fmla="*/ 48 w 381"/>
                  <a:gd name="T101" fmla="*/ 74 h 404"/>
                  <a:gd name="T102" fmla="*/ 82 w 381"/>
                  <a:gd name="T103" fmla="*/ 74 h 404"/>
                  <a:gd name="T104" fmla="*/ 132 w 381"/>
                  <a:gd name="T105" fmla="*/ 60 h 404"/>
                  <a:gd name="T106" fmla="*/ 174 w 381"/>
                  <a:gd name="T107" fmla="*/ 4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1" h="404">
                    <a:moveTo>
                      <a:pt x="158" y="40"/>
                    </a:moveTo>
                    <a:lnTo>
                      <a:pt x="174" y="40"/>
                    </a:lnTo>
                    <a:lnTo>
                      <a:pt x="188" y="40"/>
                    </a:lnTo>
                    <a:lnTo>
                      <a:pt x="202" y="40"/>
                    </a:lnTo>
                    <a:lnTo>
                      <a:pt x="214" y="40"/>
                    </a:lnTo>
                    <a:lnTo>
                      <a:pt x="222" y="46"/>
                    </a:lnTo>
                    <a:lnTo>
                      <a:pt x="232" y="40"/>
                    </a:lnTo>
                    <a:lnTo>
                      <a:pt x="228" y="32"/>
                    </a:lnTo>
                    <a:lnTo>
                      <a:pt x="234" y="30"/>
                    </a:lnTo>
                    <a:lnTo>
                      <a:pt x="248" y="24"/>
                    </a:lnTo>
                    <a:lnTo>
                      <a:pt x="256" y="30"/>
                    </a:lnTo>
                    <a:lnTo>
                      <a:pt x="262" y="24"/>
                    </a:lnTo>
                    <a:lnTo>
                      <a:pt x="264" y="24"/>
                    </a:lnTo>
                    <a:lnTo>
                      <a:pt x="270" y="32"/>
                    </a:lnTo>
                    <a:lnTo>
                      <a:pt x="278" y="32"/>
                    </a:lnTo>
                    <a:lnTo>
                      <a:pt x="278" y="40"/>
                    </a:lnTo>
                    <a:lnTo>
                      <a:pt x="292" y="32"/>
                    </a:lnTo>
                    <a:lnTo>
                      <a:pt x="298" y="32"/>
                    </a:lnTo>
                    <a:lnTo>
                      <a:pt x="304" y="32"/>
                    </a:lnTo>
                    <a:lnTo>
                      <a:pt x="318" y="32"/>
                    </a:lnTo>
                    <a:lnTo>
                      <a:pt x="326" y="26"/>
                    </a:lnTo>
                    <a:lnTo>
                      <a:pt x="340" y="26"/>
                    </a:lnTo>
                    <a:lnTo>
                      <a:pt x="355" y="26"/>
                    </a:lnTo>
                    <a:lnTo>
                      <a:pt x="352" y="20"/>
                    </a:lnTo>
                    <a:lnTo>
                      <a:pt x="348" y="12"/>
                    </a:lnTo>
                    <a:lnTo>
                      <a:pt x="348" y="6"/>
                    </a:lnTo>
                    <a:lnTo>
                      <a:pt x="361" y="0"/>
                    </a:lnTo>
                    <a:lnTo>
                      <a:pt x="371" y="6"/>
                    </a:lnTo>
                    <a:lnTo>
                      <a:pt x="375" y="12"/>
                    </a:lnTo>
                    <a:lnTo>
                      <a:pt x="381" y="12"/>
                    </a:lnTo>
                    <a:lnTo>
                      <a:pt x="381" y="20"/>
                    </a:lnTo>
                    <a:lnTo>
                      <a:pt x="381" y="26"/>
                    </a:lnTo>
                    <a:lnTo>
                      <a:pt x="375" y="32"/>
                    </a:lnTo>
                    <a:lnTo>
                      <a:pt x="379" y="40"/>
                    </a:lnTo>
                    <a:lnTo>
                      <a:pt x="369" y="42"/>
                    </a:lnTo>
                    <a:lnTo>
                      <a:pt x="371" y="46"/>
                    </a:lnTo>
                    <a:lnTo>
                      <a:pt x="367" y="60"/>
                    </a:lnTo>
                    <a:lnTo>
                      <a:pt x="361" y="68"/>
                    </a:lnTo>
                    <a:lnTo>
                      <a:pt x="361" y="74"/>
                    </a:lnTo>
                    <a:lnTo>
                      <a:pt x="355" y="82"/>
                    </a:lnTo>
                    <a:lnTo>
                      <a:pt x="346" y="82"/>
                    </a:lnTo>
                    <a:lnTo>
                      <a:pt x="340" y="74"/>
                    </a:lnTo>
                    <a:lnTo>
                      <a:pt x="318" y="74"/>
                    </a:lnTo>
                    <a:lnTo>
                      <a:pt x="304" y="68"/>
                    </a:lnTo>
                    <a:lnTo>
                      <a:pt x="292" y="68"/>
                    </a:lnTo>
                    <a:lnTo>
                      <a:pt x="284" y="68"/>
                    </a:lnTo>
                    <a:lnTo>
                      <a:pt x="292" y="74"/>
                    </a:lnTo>
                    <a:lnTo>
                      <a:pt x="284" y="82"/>
                    </a:lnTo>
                    <a:lnTo>
                      <a:pt x="270" y="82"/>
                    </a:lnTo>
                    <a:lnTo>
                      <a:pt x="264" y="74"/>
                    </a:lnTo>
                    <a:lnTo>
                      <a:pt x="256" y="68"/>
                    </a:lnTo>
                    <a:lnTo>
                      <a:pt x="250" y="74"/>
                    </a:lnTo>
                    <a:lnTo>
                      <a:pt x="250" y="82"/>
                    </a:lnTo>
                    <a:lnTo>
                      <a:pt x="250" y="88"/>
                    </a:lnTo>
                    <a:lnTo>
                      <a:pt x="242" y="88"/>
                    </a:lnTo>
                    <a:lnTo>
                      <a:pt x="222" y="88"/>
                    </a:lnTo>
                    <a:lnTo>
                      <a:pt x="214" y="88"/>
                    </a:lnTo>
                    <a:lnTo>
                      <a:pt x="214" y="94"/>
                    </a:lnTo>
                    <a:lnTo>
                      <a:pt x="222" y="102"/>
                    </a:lnTo>
                    <a:lnTo>
                      <a:pt x="228" y="108"/>
                    </a:lnTo>
                    <a:lnTo>
                      <a:pt x="242" y="116"/>
                    </a:lnTo>
                    <a:lnTo>
                      <a:pt x="256" y="122"/>
                    </a:lnTo>
                    <a:lnTo>
                      <a:pt x="264" y="122"/>
                    </a:lnTo>
                    <a:lnTo>
                      <a:pt x="256" y="130"/>
                    </a:lnTo>
                    <a:lnTo>
                      <a:pt x="242" y="136"/>
                    </a:lnTo>
                    <a:lnTo>
                      <a:pt x="228" y="136"/>
                    </a:lnTo>
                    <a:lnTo>
                      <a:pt x="228" y="122"/>
                    </a:lnTo>
                    <a:lnTo>
                      <a:pt x="222" y="122"/>
                    </a:lnTo>
                    <a:lnTo>
                      <a:pt x="214" y="122"/>
                    </a:lnTo>
                    <a:lnTo>
                      <a:pt x="222" y="130"/>
                    </a:lnTo>
                    <a:lnTo>
                      <a:pt x="228" y="144"/>
                    </a:lnTo>
                    <a:lnTo>
                      <a:pt x="236" y="144"/>
                    </a:lnTo>
                    <a:lnTo>
                      <a:pt x="236" y="150"/>
                    </a:lnTo>
                    <a:lnTo>
                      <a:pt x="214" y="144"/>
                    </a:lnTo>
                    <a:lnTo>
                      <a:pt x="208" y="136"/>
                    </a:lnTo>
                    <a:lnTo>
                      <a:pt x="202" y="130"/>
                    </a:lnTo>
                    <a:lnTo>
                      <a:pt x="194" y="122"/>
                    </a:lnTo>
                    <a:lnTo>
                      <a:pt x="194" y="130"/>
                    </a:lnTo>
                    <a:lnTo>
                      <a:pt x="194" y="136"/>
                    </a:lnTo>
                    <a:lnTo>
                      <a:pt x="202" y="144"/>
                    </a:lnTo>
                    <a:lnTo>
                      <a:pt x="214" y="150"/>
                    </a:lnTo>
                    <a:lnTo>
                      <a:pt x="214" y="156"/>
                    </a:lnTo>
                    <a:lnTo>
                      <a:pt x="202" y="150"/>
                    </a:lnTo>
                    <a:lnTo>
                      <a:pt x="188" y="144"/>
                    </a:lnTo>
                    <a:lnTo>
                      <a:pt x="180" y="130"/>
                    </a:lnTo>
                    <a:lnTo>
                      <a:pt x="174" y="116"/>
                    </a:lnTo>
                    <a:lnTo>
                      <a:pt x="166" y="108"/>
                    </a:lnTo>
                    <a:lnTo>
                      <a:pt x="166" y="94"/>
                    </a:lnTo>
                    <a:lnTo>
                      <a:pt x="158" y="94"/>
                    </a:lnTo>
                    <a:lnTo>
                      <a:pt x="146" y="102"/>
                    </a:lnTo>
                    <a:lnTo>
                      <a:pt x="138" y="108"/>
                    </a:lnTo>
                    <a:lnTo>
                      <a:pt x="146" y="116"/>
                    </a:lnTo>
                    <a:lnTo>
                      <a:pt x="146" y="122"/>
                    </a:lnTo>
                    <a:lnTo>
                      <a:pt x="146" y="130"/>
                    </a:lnTo>
                    <a:lnTo>
                      <a:pt x="146" y="144"/>
                    </a:lnTo>
                    <a:lnTo>
                      <a:pt x="152" y="150"/>
                    </a:lnTo>
                    <a:lnTo>
                      <a:pt x="166" y="156"/>
                    </a:lnTo>
                    <a:lnTo>
                      <a:pt x="174" y="170"/>
                    </a:lnTo>
                    <a:lnTo>
                      <a:pt x="194" y="192"/>
                    </a:lnTo>
                    <a:lnTo>
                      <a:pt x="202" y="192"/>
                    </a:lnTo>
                    <a:lnTo>
                      <a:pt x="194" y="204"/>
                    </a:lnTo>
                    <a:lnTo>
                      <a:pt x="188" y="204"/>
                    </a:lnTo>
                    <a:lnTo>
                      <a:pt x="188" y="198"/>
                    </a:lnTo>
                    <a:lnTo>
                      <a:pt x="188" y="192"/>
                    </a:lnTo>
                    <a:lnTo>
                      <a:pt x="180" y="184"/>
                    </a:lnTo>
                    <a:lnTo>
                      <a:pt x="166" y="184"/>
                    </a:lnTo>
                    <a:lnTo>
                      <a:pt x="158" y="184"/>
                    </a:lnTo>
                    <a:lnTo>
                      <a:pt x="152" y="192"/>
                    </a:lnTo>
                    <a:lnTo>
                      <a:pt x="158" y="204"/>
                    </a:lnTo>
                    <a:lnTo>
                      <a:pt x="166" y="204"/>
                    </a:lnTo>
                    <a:lnTo>
                      <a:pt x="166" y="212"/>
                    </a:lnTo>
                    <a:lnTo>
                      <a:pt x="158" y="220"/>
                    </a:lnTo>
                    <a:lnTo>
                      <a:pt x="152" y="226"/>
                    </a:lnTo>
                    <a:lnTo>
                      <a:pt x="158" y="232"/>
                    </a:lnTo>
                    <a:lnTo>
                      <a:pt x="174" y="232"/>
                    </a:lnTo>
                    <a:lnTo>
                      <a:pt x="188" y="240"/>
                    </a:lnTo>
                    <a:lnTo>
                      <a:pt x="202" y="246"/>
                    </a:lnTo>
                    <a:lnTo>
                      <a:pt x="208" y="246"/>
                    </a:lnTo>
                    <a:lnTo>
                      <a:pt x="214" y="260"/>
                    </a:lnTo>
                    <a:lnTo>
                      <a:pt x="228" y="266"/>
                    </a:lnTo>
                    <a:lnTo>
                      <a:pt x="236" y="266"/>
                    </a:lnTo>
                    <a:lnTo>
                      <a:pt x="236" y="280"/>
                    </a:lnTo>
                    <a:lnTo>
                      <a:pt x="236" y="294"/>
                    </a:lnTo>
                    <a:lnTo>
                      <a:pt x="236" y="302"/>
                    </a:lnTo>
                    <a:lnTo>
                      <a:pt x="236" y="308"/>
                    </a:lnTo>
                    <a:lnTo>
                      <a:pt x="222" y="302"/>
                    </a:lnTo>
                    <a:lnTo>
                      <a:pt x="214" y="288"/>
                    </a:lnTo>
                    <a:lnTo>
                      <a:pt x="208" y="288"/>
                    </a:lnTo>
                    <a:lnTo>
                      <a:pt x="194" y="302"/>
                    </a:lnTo>
                    <a:lnTo>
                      <a:pt x="188" y="308"/>
                    </a:lnTo>
                    <a:lnTo>
                      <a:pt x="188" y="314"/>
                    </a:lnTo>
                    <a:lnTo>
                      <a:pt x="194" y="322"/>
                    </a:lnTo>
                    <a:lnTo>
                      <a:pt x="202" y="322"/>
                    </a:lnTo>
                    <a:lnTo>
                      <a:pt x="214" y="314"/>
                    </a:lnTo>
                    <a:lnTo>
                      <a:pt x="214" y="328"/>
                    </a:lnTo>
                    <a:lnTo>
                      <a:pt x="202" y="336"/>
                    </a:lnTo>
                    <a:lnTo>
                      <a:pt x="188" y="342"/>
                    </a:lnTo>
                    <a:lnTo>
                      <a:pt x="180" y="342"/>
                    </a:lnTo>
                    <a:lnTo>
                      <a:pt x="174" y="336"/>
                    </a:lnTo>
                    <a:lnTo>
                      <a:pt x="174" y="328"/>
                    </a:lnTo>
                    <a:lnTo>
                      <a:pt x="166" y="322"/>
                    </a:lnTo>
                    <a:lnTo>
                      <a:pt x="158" y="322"/>
                    </a:lnTo>
                    <a:lnTo>
                      <a:pt x="158" y="336"/>
                    </a:lnTo>
                    <a:lnTo>
                      <a:pt x="166" y="342"/>
                    </a:lnTo>
                    <a:lnTo>
                      <a:pt x="174" y="356"/>
                    </a:lnTo>
                    <a:lnTo>
                      <a:pt x="180" y="356"/>
                    </a:lnTo>
                    <a:lnTo>
                      <a:pt x="180" y="370"/>
                    </a:lnTo>
                    <a:lnTo>
                      <a:pt x="188" y="378"/>
                    </a:lnTo>
                    <a:lnTo>
                      <a:pt x="188" y="384"/>
                    </a:lnTo>
                    <a:lnTo>
                      <a:pt x="202" y="390"/>
                    </a:lnTo>
                    <a:lnTo>
                      <a:pt x="202" y="398"/>
                    </a:lnTo>
                    <a:lnTo>
                      <a:pt x="174" y="398"/>
                    </a:lnTo>
                    <a:lnTo>
                      <a:pt x="166" y="398"/>
                    </a:lnTo>
                    <a:lnTo>
                      <a:pt x="166" y="384"/>
                    </a:lnTo>
                    <a:lnTo>
                      <a:pt x="158" y="384"/>
                    </a:lnTo>
                    <a:lnTo>
                      <a:pt x="158" y="370"/>
                    </a:lnTo>
                    <a:lnTo>
                      <a:pt x="152" y="378"/>
                    </a:lnTo>
                    <a:lnTo>
                      <a:pt x="152" y="384"/>
                    </a:lnTo>
                    <a:lnTo>
                      <a:pt x="152" y="390"/>
                    </a:lnTo>
                    <a:lnTo>
                      <a:pt x="152" y="404"/>
                    </a:lnTo>
                    <a:lnTo>
                      <a:pt x="146" y="404"/>
                    </a:lnTo>
                    <a:lnTo>
                      <a:pt x="138" y="390"/>
                    </a:lnTo>
                    <a:lnTo>
                      <a:pt x="132" y="390"/>
                    </a:lnTo>
                    <a:lnTo>
                      <a:pt x="124" y="384"/>
                    </a:lnTo>
                    <a:lnTo>
                      <a:pt x="124" y="378"/>
                    </a:lnTo>
                    <a:lnTo>
                      <a:pt x="124" y="370"/>
                    </a:lnTo>
                    <a:lnTo>
                      <a:pt x="124" y="364"/>
                    </a:lnTo>
                    <a:lnTo>
                      <a:pt x="118" y="356"/>
                    </a:lnTo>
                    <a:lnTo>
                      <a:pt x="112" y="364"/>
                    </a:lnTo>
                    <a:lnTo>
                      <a:pt x="112" y="370"/>
                    </a:lnTo>
                    <a:lnTo>
                      <a:pt x="118" y="378"/>
                    </a:lnTo>
                    <a:lnTo>
                      <a:pt x="112" y="384"/>
                    </a:lnTo>
                    <a:lnTo>
                      <a:pt x="104" y="384"/>
                    </a:lnTo>
                    <a:lnTo>
                      <a:pt x="96" y="384"/>
                    </a:lnTo>
                    <a:lnTo>
                      <a:pt x="90" y="370"/>
                    </a:lnTo>
                    <a:lnTo>
                      <a:pt x="90" y="364"/>
                    </a:lnTo>
                    <a:lnTo>
                      <a:pt x="90" y="356"/>
                    </a:lnTo>
                    <a:lnTo>
                      <a:pt x="82" y="350"/>
                    </a:lnTo>
                    <a:lnTo>
                      <a:pt x="90" y="342"/>
                    </a:lnTo>
                    <a:lnTo>
                      <a:pt x="90" y="328"/>
                    </a:lnTo>
                    <a:lnTo>
                      <a:pt x="90" y="322"/>
                    </a:lnTo>
                    <a:lnTo>
                      <a:pt x="82" y="314"/>
                    </a:lnTo>
                    <a:lnTo>
                      <a:pt x="76" y="308"/>
                    </a:lnTo>
                    <a:lnTo>
                      <a:pt x="70" y="308"/>
                    </a:lnTo>
                    <a:lnTo>
                      <a:pt x="62" y="294"/>
                    </a:lnTo>
                    <a:lnTo>
                      <a:pt x="62" y="288"/>
                    </a:lnTo>
                    <a:lnTo>
                      <a:pt x="70" y="280"/>
                    </a:lnTo>
                    <a:lnTo>
                      <a:pt x="76" y="280"/>
                    </a:lnTo>
                    <a:lnTo>
                      <a:pt x="82" y="280"/>
                    </a:lnTo>
                    <a:lnTo>
                      <a:pt x="90" y="280"/>
                    </a:lnTo>
                    <a:lnTo>
                      <a:pt x="96" y="280"/>
                    </a:lnTo>
                    <a:lnTo>
                      <a:pt x="104" y="274"/>
                    </a:lnTo>
                    <a:lnTo>
                      <a:pt x="112" y="274"/>
                    </a:lnTo>
                    <a:lnTo>
                      <a:pt x="118" y="274"/>
                    </a:lnTo>
                    <a:lnTo>
                      <a:pt x="124" y="274"/>
                    </a:lnTo>
                    <a:lnTo>
                      <a:pt x="132" y="274"/>
                    </a:lnTo>
                    <a:lnTo>
                      <a:pt x="132" y="280"/>
                    </a:lnTo>
                    <a:lnTo>
                      <a:pt x="146" y="274"/>
                    </a:lnTo>
                    <a:lnTo>
                      <a:pt x="152" y="280"/>
                    </a:lnTo>
                    <a:lnTo>
                      <a:pt x="152" y="288"/>
                    </a:lnTo>
                    <a:lnTo>
                      <a:pt x="158" y="294"/>
                    </a:lnTo>
                    <a:lnTo>
                      <a:pt x="166" y="288"/>
                    </a:lnTo>
                    <a:lnTo>
                      <a:pt x="174" y="288"/>
                    </a:lnTo>
                    <a:lnTo>
                      <a:pt x="180" y="280"/>
                    </a:lnTo>
                    <a:lnTo>
                      <a:pt x="166" y="274"/>
                    </a:lnTo>
                    <a:lnTo>
                      <a:pt x="158" y="266"/>
                    </a:lnTo>
                    <a:lnTo>
                      <a:pt x="152" y="260"/>
                    </a:lnTo>
                    <a:lnTo>
                      <a:pt x="138" y="260"/>
                    </a:lnTo>
                    <a:lnTo>
                      <a:pt x="138" y="266"/>
                    </a:lnTo>
                    <a:lnTo>
                      <a:pt x="132" y="260"/>
                    </a:lnTo>
                    <a:lnTo>
                      <a:pt x="124" y="254"/>
                    </a:lnTo>
                    <a:lnTo>
                      <a:pt x="112" y="254"/>
                    </a:lnTo>
                    <a:lnTo>
                      <a:pt x="104" y="254"/>
                    </a:lnTo>
                    <a:lnTo>
                      <a:pt x="96" y="254"/>
                    </a:lnTo>
                    <a:lnTo>
                      <a:pt x="82" y="260"/>
                    </a:lnTo>
                    <a:lnTo>
                      <a:pt x="82" y="254"/>
                    </a:lnTo>
                    <a:lnTo>
                      <a:pt x="76" y="254"/>
                    </a:lnTo>
                    <a:lnTo>
                      <a:pt x="70" y="254"/>
                    </a:lnTo>
                    <a:lnTo>
                      <a:pt x="62" y="260"/>
                    </a:lnTo>
                    <a:lnTo>
                      <a:pt x="48" y="254"/>
                    </a:lnTo>
                    <a:lnTo>
                      <a:pt x="42" y="254"/>
                    </a:lnTo>
                    <a:lnTo>
                      <a:pt x="42" y="246"/>
                    </a:lnTo>
                    <a:lnTo>
                      <a:pt x="42" y="240"/>
                    </a:lnTo>
                    <a:lnTo>
                      <a:pt x="34" y="232"/>
                    </a:lnTo>
                    <a:lnTo>
                      <a:pt x="42" y="226"/>
                    </a:lnTo>
                    <a:lnTo>
                      <a:pt x="48" y="226"/>
                    </a:lnTo>
                    <a:lnTo>
                      <a:pt x="62" y="226"/>
                    </a:lnTo>
                    <a:lnTo>
                      <a:pt x="62" y="220"/>
                    </a:lnTo>
                    <a:lnTo>
                      <a:pt x="62" y="212"/>
                    </a:lnTo>
                    <a:lnTo>
                      <a:pt x="56" y="212"/>
                    </a:lnTo>
                    <a:lnTo>
                      <a:pt x="48" y="212"/>
                    </a:lnTo>
                    <a:lnTo>
                      <a:pt x="42" y="212"/>
                    </a:lnTo>
                    <a:lnTo>
                      <a:pt x="34" y="220"/>
                    </a:lnTo>
                    <a:lnTo>
                      <a:pt x="28" y="212"/>
                    </a:lnTo>
                    <a:lnTo>
                      <a:pt x="28" y="198"/>
                    </a:lnTo>
                    <a:lnTo>
                      <a:pt x="28" y="192"/>
                    </a:lnTo>
                    <a:lnTo>
                      <a:pt x="14" y="192"/>
                    </a:lnTo>
                    <a:lnTo>
                      <a:pt x="6" y="184"/>
                    </a:lnTo>
                    <a:lnTo>
                      <a:pt x="0" y="170"/>
                    </a:lnTo>
                    <a:lnTo>
                      <a:pt x="6" y="170"/>
                    </a:lnTo>
                    <a:lnTo>
                      <a:pt x="6" y="164"/>
                    </a:lnTo>
                    <a:lnTo>
                      <a:pt x="6" y="156"/>
                    </a:lnTo>
                    <a:lnTo>
                      <a:pt x="14" y="150"/>
                    </a:lnTo>
                    <a:lnTo>
                      <a:pt x="22" y="150"/>
                    </a:lnTo>
                    <a:lnTo>
                      <a:pt x="34" y="144"/>
                    </a:lnTo>
                    <a:lnTo>
                      <a:pt x="28" y="136"/>
                    </a:lnTo>
                    <a:lnTo>
                      <a:pt x="34" y="136"/>
                    </a:lnTo>
                    <a:lnTo>
                      <a:pt x="42" y="130"/>
                    </a:lnTo>
                    <a:lnTo>
                      <a:pt x="48" y="116"/>
                    </a:lnTo>
                    <a:lnTo>
                      <a:pt x="56" y="108"/>
                    </a:lnTo>
                    <a:lnTo>
                      <a:pt x="56" y="102"/>
                    </a:lnTo>
                    <a:lnTo>
                      <a:pt x="56" y="94"/>
                    </a:lnTo>
                    <a:lnTo>
                      <a:pt x="48" y="88"/>
                    </a:lnTo>
                    <a:lnTo>
                      <a:pt x="42" y="82"/>
                    </a:lnTo>
                    <a:lnTo>
                      <a:pt x="48" y="74"/>
                    </a:lnTo>
                    <a:lnTo>
                      <a:pt x="56" y="74"/>
                    </a:lnTo>
                    <a:lnTo>
                      <a:pt x="56" y="68"/>
                    </a:lnTo>
                    <a:lnTo>
                      <a:pt x="62" y="74"/>
                    </a:lnTo>
                    <a:lnTo>
                      <a:pt x="76" y="74"/>
                    </a:lnTo>
                    <a:lnTo>
                      <a:pt x="82" y="74"/>
                    </a:lnTo>
                    <a:lnTo>
                      <a:pt x="96" y="68"/>
                    </a:lnTo>
                    <a:lnTo>
                      <a:pt x="112" y="68"/>
                    </a:lnTo>
                    <a:lnTo>
                      <a:pt x="118" y="60"/>
                    </a:lnTo>
                    <a:lnTo>
                      <a:pt x="124" y="54"/>
                    </a:lnTo>
                    <a:lnTo>
                      <a:pt x="132" y="60"/>
                    </a:lnTo>
                    <a:lnTo>
                      <a:pt x="138" y="60"/>
                    </a:lnTo>
                    <a:lnTo>
                      <a:pt x="146" y="60"/>
                    </a:lnTo>
                    <a:lnTo>
                      <a:pt x="152" y="54"/>
                    </a:lnTo>
                    <a:lnTo>
                      <a:pt x="158" y="46"/>
                    </a:lnTo>
                    <a:lnTo>
                      <a:pt x="174" y="40"/>
                    </a:lnTo>
                    <a:lnTo>
                      <a:pt x="158" y="40"/>
                    </a:lnTo>
                    <a:lnTo>
                      <a:pt x="158" y="40"/>
                    </a:lnTo>
                    <a:lnTo>
                      <a:pt x="158" y="40"/>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3" name="Freeform 69"/>
              <p:cNvSpPr>
                <a:spLocks/>
              </p:cNvSpPr>
              <p:nvPr/>
            </p:nvSpPr>
            <p:spPr bwMode="gray">
              <a:xfrm>
                <a:off x="3629863" y="3990959"/>
                <a:ext cx="44460" cy="41284"/>
              </a:xfrm>
              <a:custGeom>
                <a:avLst/>
                <a:gdLst>
                  <a:gd name="T0" fmla="*/ 0 w 28"/>
                  <a:gd name="T1" fmla="*/ 10 h 26"/>
                  <a:gd name="T2" fmla="*/ 4 w 28"/>
                  <a:gd name="T3" fmla="*/ 4 h 26"/>
                  <a:gd name="T4" fmla="*/ 8 w 28"/>
                  <a:gd name="T5" fmla="*/ 2 h 26"/>
                  <a:gd name="T6" fmla="*/ 16 w 28"/>
                  <a:gd name="T7" fmla="*/ 0 h 26"/>
                  <a:gd name="T8" fmla="*/ 22 w 28"/>
                  <a:gd name="T9" fmla="*/ 0 h 26"/>
                  <a:gd name="T10" fmla="*/ 28 w 28"/>
                  <a:gd name="T11" fmla="*/ 10 h 26"/>
                  <a:gd name="T12" fmla="*/ 28 w 28"/>
                  <a:gd name="T13" fmla="*/ 20 h 26"/>
                  <a:gd name="T14" fmla="*/ 22 w 28"/>
                  <a:gd name="T15" fmla="*/ 26 h 26"/>
                  <a:gd name="T16" fmla="*/ 16 w 28"/>
                  <a:gd name="T17" fmla="*/ 26 h 26"/>
                  <a:gd name="T18" fmla="*/ 10 w 28"/>
                  <a:gd name="T19" fmla="*/ 26 h 26"/>
                  <a:gd name="T20" fmla="*/ 4 w 28"/>
                  <a:gd name="T21" fmla="*/ 22 h 26"/>
                  <a:gd name="T22" fmla="*/ 0 w 28"/>
                  <a:gd name="T23" fmla="*/ 10 h 26"/>
                  <a:gd name="T24" fmla="*/ 0 w 28"/>
                  <a:gd name="T25" fmla="*/ 10 h 26"/>
                  <a:gd name="T26" fmla="*/ 0 w 28"/>
                  <a:gd name="T2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26">
                    <a:moveTo>
                      <a:pt x="0" y="10"/>
                    </a:moveTo>
                    <a:lnTo>
                      <a:pt x="4" y="4"/>
                    </a:lnTo>
                    <a:lnTo>
                      <a:pt x="8" y="2"/>
                    </a:lnTo>
                    <a:lnTo>
                      <a:pt x="16" y="0"/>
                    </a:lnTo>
                    <a:lnTo>
                      <a:pt x="22" y="0"/>
                    </a:lnTo>
                    <a:lnTo>
                      <a:pt x="28" y="10"/>
                    </a:lnTo>
                    <a:lnTo>
                      <a:pt x="28" y="20"/>
                    </a:lnTo>
                    <a:lnTo>
                      <a:pt x="22" y="26"/>
                    </a:lnTo>
                    <a:lnTo>
                      <a:pt x="16" y="26"/>
                    </a:lnTo>
                    <a:lnTo>
                      <a:pt x="10" y="26"/>
                    </a:lnTo>
                    <a:lnTo>
                      <a:pt x="4" y="22"/>
                    </a:lnTo>
                    <a:lnTo>
                      <a:pt x="0" y="10"/>
                    </a:lnTo>
                    <a:lnTo>
                      <a:pt x="0" y="10"/>
                    </a:lnTo>
                    <a:lnTo>
                      <a:pt x="0" y="10"/>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4" name="Freeform 70"/>
              <p:cNvSpPr>
                <a:spLocks/>
              </p:cNvSpPr>
              <p:nvPr/>
            </p:nvSpPr>
            <p:spPr bwMode="gray">
              <a:xfrm>
                <a:off x="4412675" y="3568591"/>
                <a:ext cx="31757" cy="34933"/>
              </a:xfrm>
              <a:custGeom>
                <a:avLst/>
                <a:gdLst>
                  <a:gd name="T0" fmla="*/ 10 w 20"/>
                  <a:gd name="T1" fmla="*/ 0 h 22"/>
                  <a:gd name="T2" fmla="*/ 20 w 20"/>
                  <a:gd name="T3" fmla="*/ 6 h 22"/>
                  <a:gd name="T4" fmla="*/ 20 w 20"/>
                  <a:gd name="T5" fmla="*/ 18 h 22"/>
                  <a:gd name="T6" fmla="*/ 16 w 20"/>
                  <a:gd name="T7" fmla="*/ 22 h 22"/>
                  <a:gd name="T8" fmla="*/ 10 w 20"/>
                  <a:gd name="T9" fmla="*/ 22 h 22"/>
                  <a:gd name="T10" fmla="*/ 4 w 20"/>
                  <a:gd name="T11" fmla="*/ 22 h 22"/>
                  <a:gd name="T12" fmla="*/ 0 w 20"/>
                  <a:gd name="T13" fmla="*/ 18 h 22"/>
                  <a:gd name="T14" fmla="*/ 0 w 20"/>
                  <a:gd name="T15" fmla="*/ 6 h 22"/>
                  <a:gd name="T16" fmla="*/ 8 w 20"/>
                  <a:gd name="T17" fmla="*/ 2 h 22"/>
                  <a:gd name="T18" fmla="*/ 10 w 20"/>
                  <a:gd name="T19" fmla="*/ 0 h 22"/>
                  <a:gd name="T20" fmla="*/ 10 w 20"/>
                  <a:gd name="T21" fmla="*/ 0 h 22"/>
                  <a:gd name="T22" fmla="*/ 10 w 2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2">
                    <a:moveTo>
                      <a:pt x="10" y="0"/>
                    </a:moveTo>
                    <a:lnTo>
                      <a:pt x="20" y="6"/>
                    </a:lnTo>
                    <a:lnTo>
                      <a:pt x="20" y="18"/>
                    </a:lnTo>
                    <a:lnTo>
                      <a:pt x="16" y="22"/>
                    </a:lnTo>
                    <a:lnTo>
                      <a:pt x="10" y="22"/>
                    </a:lnTo>
                    <a:lnTo>
                      <a:pt x="4" y="22"/>
                    </a:lnTo>
                    <a:lnTo>
                      <a:pt x="0" y="18"/>
                    </a:lnTo>
                    <a:lnTo>
                      <a:pt x="0" y="6"/>
                    </a:lnTo>
                    <a:lnTo>
                      <a:pt x="8" y="2"/>
                    </a:lnTo>
                    <a:lnTo>
                      <a:pt x="10" y="0"/>
                    </a:lnTo>
                    <a:lnTo>
                      <a:pt x="10" y="0"/>
                    </a:lnTo>
                    <a:lnTo>
                      <a:pt x="10" y="0"/>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5" name="Line 71"/>
              <p:cNvSpPr>
                <a:spLocks noChangeShapeType="1"/>
              </p:cNvSpPr>
              <p:nvPr/>
            </p:nvSpPr>
            <p:spPr bwMode="gray">
              <a:xfrm>
                <a:off x="5039876" y="3295480"/>
                <a:ext cx="0" cy="0"/>
              </a:xfrm>
              <a:prstGeom prst="line">
                <a:avLst/>
              </a:prstGeom>
              <a:solidFill>
                <a:schemeClr val="bg2">
                  <a:lumMod val="40000"/>
                  <a:lumOff val="60000"/>
                </a:schemeClr>
              </a:solid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826" name="Line 72"/>
              <p:cNvSpPr>
                <a:spLocks noChangeShapeType="1"/>
              </p:cNvSpPr>
              <p:nvPr/>
            </p:nvSpPr>
            <p:spPr bwMode="gray">
              <a:xfrm>
                <a:off x="5039876" y="3295480"/>
                <a:ext cx="0" cy="0"/>
              </a:xfrm>
              <a:prstGeom prst="line">
                <a:avLst/>
              </a:prstGeom>
              <a:solidFill>
                <a:schemeClr val="bg2">
                  <a:lumMod val="40000"/>
                  <a:lumOff val="60000"/>
                </a:schemeClr>
              </a:solid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827" name="Freeform 73"/>
              <p:cNvSpPr>
                <a:spLocks/>
              </p:cNvSpPr>
              <p:nvPr>
                <p:custDataLst>
                  <p:tags r:id="rId150"/>
                </p:custDataLst>
              </p:nvPr>
            </p:nvSpPr>
            <p:spPr bwMode="gray">
              <a:xfrm>
                <a:off x="4669907" y="3158925"/>
                <a:ext cx="570039" cy="314395"/>
              </a:xfrm>
              <a:custGeom>
                <a:avLst/>
                <a:gdLst>
                  <a:gd name="T0" fmla="*/ 133 w 179"/>
                  <a:gd name="T1" fmla="*/ 19 h 99"/>
                  <a:gd name="T2" fmla="*/ 114 w 179"/>
                  <a:gd name="T3" fmla="*/ 13 h 99"/>
                  <a:gd name="T4" fmla="*/ 95 w 179"/>
                  <a:gd name="T5" fmla="*/ 5 h 99"/>
                  <a:gd name="T6" fmla="*/ 79 w 179"/>
                  <a:gd name="T7" fmla="*/ 2 h 99"/>
                  <a:gd name="T8" fmla="*/ 72 w 179"/>
                  <a:gd name="T9" fmla="*/ 6 h 99"/>
                  <a:gd name="T10" fmla="*/ 65 w 179"/>
                  <a:gd name="T11" fmla="*/ 9 h 99"/>
                  <a:gd name="T12" fmla="*/ 62 w 179"/>
                  <a:gd name="T13" fmla="*/ 2 h 99"/>
                  <a:gd name="T14" fmla="*/ 51 w 179"/>
                  <a:gd name="T15" fmla="*/ 9 h 99"/>
                  <a:gd name="T16" fmla="*/ 37 w 179"/>
                  <a:gd name="T17" fmla="*/ 19 h 99"/>
                  <a:gd name="T18" fmla="*/ 30 w 179"/>
                  <a:gd name="T19" fmla="*/ 23 h 99"/>
                  <a:gd name="T20" fmla="*/ 20 w 179"/>
                  <a:gd name="T21" fmla="*/ 26 h 99"/>
                  <a:gd name="T22" fmla="*/ 10 w 179"/>
                  <a:gd name="T23" fmla="*/ 23 h 99"/>
                  <a:gd name="T24" fmla="*/ 3 w 179"/>
                  <a:gd name="T25" fmla="*/ 23 h 99"/>
                  <a:gd name="T26" fmla="*/ 0 w 179"/>
                  <a:gd name="T27" fmla="*/ 26 h 99"/>
                  <a:gd name="T28" fmla="*/ 7 w 179"/>
                  <a:gd name="T29" fmla="*/ 33 h 99"/>
                  <a:gd name="T30" fmla="*/ 10 w 179"/>
                  <a:gd name="T31" fmla="*/ 43 h 99"/>
                  <a:gd name="T32" fmla="*/ 13 w 179"/>
                  <a:gd name="T33" fmla="*/ 54 h 99"/>
                  <a:gd name="T34" fmla="*/ 17 w 179"/>
                  <a:gd name="T35" fmla="*/ 60 h 99"/>
                  <a:gd name="T36" fmla="*/ 24 w 179"/>
                  <a:gd name="T37" fmla="*/ 74 h 99"/>
                  <a:gd name="T38" fmla="*/ 30 w 179"/>
                  <a:gd name="T39" fmla="*/ 78 h 99"/>
                  <a:gd name="T40" fmla="*/ 36 w 179"/>
                  <a:gd name="T41" fmla="*/ 84 h 99"/>
                  <a:gd name="T42" fmla="*/ 41 w 179"/>
                  <a:gd name="T43" fmla="*/ 91 h 99"/>
                  <a:gd name="T44" fmla="*/ 48 w 179"/>
                  <a:gd name="T45" fmla="*/ 95 h 99"/>
                  <a:gd name="T46" fmla="*/ 62 w 179"/>
                  <a:gd name="T47" fmla="*/ 95 h 99"/>
                  <a:gd name="T48" fmla="*/ 65 w 179"/>
                  <a:gd name="T49" fmla="*/ 88 h 99"/>
                  <a:gd name="T50" fmla="*/ 68 w 179"/>
                  <a:gd name="T51" fmla="*/ 84 h 99"/>
                  <a:gd name="T52" fmla="*/ 79 w 179"/>
                  <a:gd name="T53" fmla="*/ 84 h 99"/>
                  <a:gd name="T54" fmla="*/ 86 w 179"/>
                  <a:gd name="T55" fmla="*/ 88 h 99"/>
                  <a:gd name="T56" fmla="*/ 96 w 179"/>
                  <a:gd name="T57" fmla="*/ 88 h 99"/>
                  <a:gd name="T58" fmla="*/ 100 w 179"/>
                  <a:gd name="T59" fmla="*/ 93 h 99"/>
                  <a:gd name="T60" fmla="*/ 106 w 179"/>
                  <a:gd name="T61" fmla="*/ 98 h 99"/>
                  <a:gd name="T62" fmla="*/ 110 w 179"/>
                  <a:gd name="T63" fmla="*/ 99 h 99"/>
                  <a:gd name="T64" fmla="*/ 113 w 179"/>
                  <a:gd name="T65" fmla="*/ 99 h 99"/>
                  <a:gd name="T66" fmla="*/ 151 w 179"/>
                  <a:gd name="T67" fmla="*/ 71 h 99"/>
                  <a:gd name="T68" fmla="*/ 152 w 179"/>
                  <a:gd name="T69" fmla="*/ 66 h 99"/>
                  <a:gd name="T70" fmla="*/ 163 w 179"/>
                  <a:gd name="T71" fmla="*/ 66 h 99"/>
                  <a:gd name="T72" fmla="*/ 178 w 179"/>
                  <a:gd name="T73" fmla="*/ 60 h 99"/>
                  <a:gd name="T74" fmla="*/ 179 w 179"/>
                  <a:gd name="T75" fmla="*/ 52 h 99"/>
                  <a:gd name="T76" fmla="*/ 172 w 179"/>
                  <a:gd name="T77" fmla="*/ 44 h 99"/>
                  <a:gd name="T78" fmla="*/ 155 w 179"/>
                  <a:gd name="T79" fmla="*/ 39 h 99"/>
                  <a:gd name="T80" fmla="*/ 139 w 179"/>
                  <a:gd name="T81" fmla="*/ 28 h 99"/>
                  <a:gd name="T82" fmla="*/ 123 w 179"/>
                  <a:gd name="T83" fmla="*/ 3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9" h="99">
                    <a:moveTo>
                      <a:pt x="121" y="20"/>
                    </a:moveTo>
                    <a:cubicBezTo>
                      <a:pt x="133" y="19"/>
                      <a:pt x="133" y="19"/>
                      <a:pt x="133" y="19"/>
                    </a:cubicBezTo>
                    <a:cubicBezTo>
                      <a:pt x="121" y="17"/>
                      <a:pt x="121" y="17"/>
                      <a:pt x="121" y="17"/>
                    </a:cubicBezTo>
                    <a:cubicBezTo>
                      <a:pt x="114" y="13"/>
                      <a:pt x="114" y="13"/>
                      <a:pt x="114" y="13"/>
                    </a:cubicBezTo>
                    <a:cubicBezTo>
                      <a:pt x="106" y="10"/>
                      <a:pt x="106" y="10"/>
                      <a:pt x="106" y="10"/>
                    </a:cubicBezTo>
                    <a:cubicBezTo>
                      <a:pt x="95" y="5"/>
                      <a:pt x="95" y="5"/>
                      <a:pt x="95" y="5"/>
                    </a:cubicBezTo>
                    <a:cubicBezTo>
                      <a:pt x="89" y="0"/>
                      <a:pt x="89" y="0"/>
                      <a:pt x="89" y="0"/>
                    </a:cubicBezTo>
                    <a:cubicBezTo>
                      <a:pt x="79" y="2"/>
                      <a:pt x="79" y="2"/>
                      <a:pt x="79" y="2"/>
                    </a:cubicBezTo>
                    <a:cubicBezTo>
                      <a:pt x="72" y="2"/>
                      <a:pt x="72" y="2"/>
                      <a:pt x="72" y="2"/>
                    </a:cubicBezTo>
                    <a:cubicBezTo>
                      <a:pt x="72" y="6"/>
                      <a:pt x="72" y="6"/>
                      <a:pt x="72" y="6"/>
                    </a:cubicBezTo>
                    <a:cubicBezTo>
                      <a:pt x="68" y="9"/>
                      <a:pt x="68" y="9"/>
                      <a:pt x="68" y="9"/>
                    </a:cubicBezTo>
                    <a:cubicBezTo>
                      <a:pt x="65" y="9"/>
                      <a:pt x="65" y="9"/>
                      <a:pt x="65" y="9"/>
                    </a:cubicBezTo>
                    <a:cubicBezTo>
                      <a:pt x="65" y="6"/>
                      <a:pt x="65" y="6"/>
                      <a:pt x="65" y="6"/>
                    </a:cubicBezTo>
                    <a:cubicBezTo>
                      <a:pt x="62" y="2"/>
                      <a:pt x="62" y="2"/>
                      <a:pt x="62" y="2"/>
                    </a:cubicBezTo>
                    <a:cubicBezTo>
                      <a:pt x="55" y="6"/>
                      <a:pt x="55" y="6"/>
                      <a:pt x="55" y="6"/>
                    </a:cubicBezTo>
                    <a:cubicBezTo>
                      <a:pt x="51" y="9"/>
                      <a:pt x="51" y="9"/>
                      <a:pt x="51" y="9"/>
                    </a:cubicBezTo>
                    <a:cubicBezTo>
                      <a:pt x="48" y="13"/>
                      <a:pt x="48" y="13"/>
                      <a:pt x="48" y="13"/>
                    </a:cubicBezTo>
                    <a:cubicBezTo>
                      <a:pt x="37" y="19"/>
                      <a:pt x="37" y="19"/>
                      <a:pt x="37" y="19"/>
                    </a:cubicBezTo>
                    <a:cubicBezTo>
                      <a:pt x="34" y="19"/>
                      <a:pt x="34" y="19"/>
                      <a:pt x="34" y="19"/>
                    </a:cubicBezTo>
                    <a:cubicBezTo>
                      <a:pt x="30" y="23"/>
                      <a:pt x="30" y="23"/>
                      <a:pt x="30" y="23"/>
                    </a:cubicBezTo>
                    <a:cubicBezTo>
                      <a:pt x="27" y="23"/>
                      <a:pt x="27" y="23"/>
                      <a:pt x="27" y="23"/>
                    </a:cubicBezTo>
                    <a:cubicBezTo>
                      <a:pt x="20" y="26"/>
                      <a:pt x="20" y="26"/>
                      <a:pt x="20" y="26"/>
                    </a:cubicBezTo>
                    <a:cubicBezTo>
                      <a:pt x="13" y="26"/>
                      <a:pt x="13" y="26"/>
                      <a:pt x="13" y="26"/>
                    </a:cubicBezTo>
                    <a:cubicBezTo>
                      <a:pt x="10" y="23"/>
                      <a:pt x="10" y="23"/>
                      <a:pt x="10" y="23"/>
                    </a:cubicBezTo>
                    <a:cubicBezTo>
                      <a:pt x="3" y="26"/>
                      <a:pt x="3" y="26"/>
                      <a:pt x="3" y="26"/>
                    </a:cubicBezTo>
                    <a:cubicBezTo>
                      <a:pt x="3" y="23"/>
                      <a:pt x="3" y="23"/>
                      <a:pt x="3" y="23"/>
                    </a:cubicBezTo>
                    <a:cubicBezTo>
                      <a:pt x="0" y="19"/>
                      <a:pt x="0" y="19"/>
                      <a:pt x="0" y="19"/>
                    </a:cubicBezTo>
                    <a:cubicBezTo>
                      <a:pt x="0" y="26"/>
                      <a:pt x="0" y="26"/>
                      <a:pt x="0" y="26"/>
                    </a:cubicBezTo>
                    <a:cubicBezTo>
                      <a:pt x="3" y="33"/>
                      <a:pt x="3" y="33"/>
                      <a:pt x="3" y="33"/>
                    </a:cubicBezTo>
                    <a:cubicBezTo>
                      <a:pt x="7" y="33"/>
                      <a:pt x="7" y="33"/>
                      <a:pt x="7" y="33"/>
                    </a:cubicBezTo>
                    <a:cubicBezTo>
                      <a:pt x="7" y="40"/>
                      <a:pt x="7" y="40"/>
                      <a:pt x="7" y="40"/>
                    </a:cubicBezTo>
                    <a:cubicBezTo>
                      <a:pt x="10" y="43"/>
                      <a:pt x="10" y="43"/>
                      <a:pt x="10" y="43"/>
                    </a:cubicBezTo>
                    <a:cubicBezTo>
                      <a:pt x="13" y="47"/>
                      <a:pt x="13" y="47"/>
                      <a:pt x="13" y="47"/>
                    </a:cubicBezTo>
                    <a:cubicBezTo>
                      <a:pt x="13" y="54"/>
                      <a:pt x="13" y="54"/>
                      <a:pt x="13" y="54"/>
                    </a:cubicBezTo>
                    <a:cubicBezTo>
                      <a:pt x="13" y="57"/>
                      <a:pt x="13" y="57"/>
                      <a:pt x="13" y="57"/>
                    </a:cubicBezTo>
                    <a:cubicBezTo>
                      <a:pt x="17" y="60"/>
                      <a:pt x="17" y="60"/>
                      <a:pt x="17" y="60"/>
                    </a:cubicBezTo>
                    <a:cubicBezTo>
                      <a:pt x="20" y="67"/>
                      <a:pt x="20" y="67"/>
                      <a:pt x="20" y="67"/>
                    </a:cubicBezTo>
                    <a:cubicBezTo>
                      <a:pt x="24" y="74"/>
                      <a:pt x="24" y="74"/>
                      <a:pt x="24" y="74"/>
                    </a:cubicBezTo>
                    <a:cubicBezTo>
                      <a:pt x="27" y="78"/>
                      <a:pt x="27" y="78"/>
                      <a:pt x="27" y="78"/>
                    </a:cubicBezTo>
                    <a:cubicBezTo>
                      <a:pt x="30" y="78"/>
                      <a:pt x="30" y="78"/>
                      <a:pt x="30" y="78"/>
                    </a:cubicBezTo>
                    <a:cubicBezTo>
                      <a:pt x="33" y="81"/>
                      <a:pt x="33" y="81"/>
                      <a:pt x="33" y="81"/>
                    </a:cubicBezTo>
                    <a:cubicBezTo>
                      <a:pt x="36" y="84"/>
                      <a:pt x="36" y="84"/>
                      <a:pt x="36" y="84"/>
                    </a:cubicBezTo>
                    <a:cubicBezTo>
                      <a:pt x="39" y="88"/>
                      <a:pt x="39" y="88"/>
                      <a:pt x="39" y="88"/>
                    </a:cubicBezTo>
                    <a:cubicBezTo>
                      <a:pt x="41" y="91"/>
                      <a:pt x="41" y="91"/>
                      <a:pt x="41" y="91"/>
                    </a:cubicBezTo>
                    <a:cubicBezTo>
                      <a:pt x="44" y="91"/>
                      <a:pt x="44" y="91"/>
                      <a:pt x="44" y="91"/>
                    </a:cubicBezTo>
                    <a:cubicBezTo>
                      <a:pt x="48" y="95"/>
                      <a:pt x="48" y="95"/>
                      <a:pt x="48" y="95"/>
                    </a:cubicBezTo>
                    <a:cubicBezTo>
                      <a:pt x="55" y="95"/>
                      <a:pt x="55" y="95"/>
                      <a:pt x="55" y="95"/>
                    </a:cubicBezTo>
                    <a:cubicBezTo>
                      <a:pt x="62" y="95"/>
                      <a:pt x="62" y="95"/>
                      <a:pt x="62" y="95"/>
                    </a:cubicBezTo>
                    <a:cubicBezTo>
                      <a:pt x="65" y="91"/>
                      <a:pt x="65" y="91"/>
                      <a:pt x="65" y="91"/>
                    </a:cubicBezTo>
                    <a:cubicBezTo>
                      <a:pt x="65" y="88"/>
                      <a:pt x="65" y="88"/>
                      <a:pt x="65" y="88"/>
                    </a:cubicBezTo>
                    <a:cubicBezTo>
                      <a:pt x="66" y="86"/>
                      <a:pt x="66" y="86"/>
                      <a:pt x="66" y="86"/>
                    </a:cubicBezTo>
                    <a:cubicBezTo>
                      <a:pt x="68" y="84"/>
                      <a:pt x="68" y="84"/>
                      <a:pt x="68" y="84"/>
                    </a:cubicBezTo>
                    <a:cubicBezTo>
                      <a:pt x="75" y="84"/>
                      <a:pt x="75" y="84"/>
                      <a:pt x="75" y="84"/>
                    </a:cubicBezTo>
                    <a:cubicBezTo>
                      <a:pt x="79" y="84"/>
                      <a:pt x="79" y="84"/>
                      <a:pt x="79" y="84"/>
                    </a:cubicBezTo>
                    <a:cubicBezTo>
                      <a:pt x="82" y="84"/>
                      <a:pt x="82" y="84"/>
                      <a:pt x="82" y="84"/>
                    </a:cubicBezTo>
                    <a:cubicBezTo>
                      <a:pt x="86" y="88"/>
                      <a:pt x="86" y="88"/>
                      <a:pt x="86" y="88"/>
                    </a:cubicBezTo>
                    <a:cubicBezTo>
                      <a:pt x="89" y="88"/>
                      <a:pt x="89" y="88"/>
                      <a:pt x="89" y="88"/>
                    </a:cubicBezTo>
                    <a:cubicBezTo>
                      <a:pt x="96" y="88"/>
                      <a:pt x="96" y="88"/>
                      <a:pt x="96" y="88"/>
                    </a:cubicBezTo>
                    <a:cubicBezTo>
                      <a:pt x="97" y="91"/>
                      <a:pt x="97" y="91"/>
                      <a:pt x="97" y="91"/>
                    </a:cubicBezTo>
                    <a:cubicBezTo>
                      <a:pt x="100" y="93"/>
                      <a:pt x="100" y="93"/>
                      <a:pt x="100" y="93"/>
                    </a:cubicBezTo>
                    <a:cubicBezTo>
                      <a:pt x="101" y="95"/>
                      <a:pt x="101" y="95"/>
                      <a:pt x="101" y="95"/>
                    </a:cubicBezTo>
                    <a:cubicBezTo>
                      <a:pt x="106" y="98"/>
                      <a:pt x="106" y="98"/>
                      <a:pt x="106" y="98"/>
                    </a:cubicBezTo>
                    <a:cubicBezTo>
                      <a:pt x="109" y="99"/>
                      <a:pt x="109" y="99"/>
                      <a:pt x="109" y="99"/>
                    </a:cubicBezTo>
                    <a:cubicBezTo>
                      <a:pt x="110" y="99"/>
                      <a:pt x="110" y="99"/>
                      <a:pt x="110" y="99"/>
                    </a:cubicBezTo>
                    <a:cubicBezTo>
                      <a:pt x="110" y="98"/>
                      <a:pt x="110" y="98"/>
                      <a:pt x="110" y="98"/>
                    </a:cubicBezTo>
                    <a:cubicBezTo>
                      <a:pt x="110" y="98"/>
                      <a:pt x="111" y="99"/>
                      <a:pt x="113" y="99"/>
                    </a:cubicBezTo>
                    <a:cubicBezTo>
                      <a:pt x="121" y="95"/>
                      <a:pt x="140" y="93"/>
                      <a:pt x="145" y="77"/>
                    </a:cubicBezTo>
                    <a:cubicBezTo>
                      <a:pt x="147" y="75"/>
                      <a:pt x="148" y="73"/>
                      <a:pt x="151" y="71"/>
                    </a:cubicBezTo>
                    <a:cubicBezTo>
                      <a:pt x="152" y="67"/>
                      <a:pt x="150" y="69"/>
                      <a:pt x="152" y="66"/>
                    </a:cubicBezTo>
                    <a:cubicBezTo>
                      <a:pt x="152" y="64"/>
                      <a:pt x="152" y="66"/>
                      <a:pt x="152" y="66"/>
                    </a:cubicBezTo>
                    <a:cubicBezTo>
                      <a:pt x="154" y="66"/>
                      <a:pt x="154" y="66"/>
                      <a:pt x="156" y="66"/>
                    </a:cubicBezTo>
                    <a:cubicBezTo>
                      <a:pt x="158" y="66"/>
                      <a:pt x="162" y="66"/>
                      <a:pt x="163" y="66"/>
                    </a:cubicBezTo>
                    <a:cubicBezTo>
                      <a:pt x="163" y="62"/>
                      <a:pt x="165" y="60"/>
                      <a:pt x="167" y="60"/>
                    </a:cubicBezTo>
                    <a:cubicBezTo>
                      <a:pt x="169" y="60"/>
                      <a:pt x="177" y="60"/>
                      <a:pt x="178" y="60"/>
                    </a:cubicBezTo>
                    <a:cubicBezTo>
                      <a:pt x="176" y="56"/>
                      <a:pt x="176" y="56"/>
                      <a:pt x="176" y="56"/>
                    </a:cubicBezTo>
                    <a:cubicBezTo>
                      <a:pt x="179" y="52"/>
                      <a:pt x="179" y="52"/>
                      <a:pt x="179" y="52"/>
                    </a:cubicBezTo>
                    <a:cubicBezTo>
                      <a:pt x="170" y="50"/>
                      <a:pt x="170" y="50"/>
                      <a:pt x="170" y="50"/>
                    </a:cubicBezTo>
                    <a:cubicBezTo>
                      <a:pt x="172" y="44"/>
                      <a:pt x="172" y="44"/>
                      <a:pt x="172" y="44"/>
                    </a:cubicBezTo>
                    <a:cubicBezTo>
                      <a:pt x="165" y="40"/>
                      <a:pt x="165" y="40"/>
                      <a:pt x="165" y="40"/>
                    </a:cubicBezTo>
                    <a:cubicBezTo>
                      <a:pt x="155" y="39"/>
                      <a:pt x="155" y="39"/>
                      <a:pt x="155" y="39"/>
                    </a:cubicBezTo>
                    <a:cubicBezTo>
                      <a:pt x="146" y="29"/>
                      <a:pt x="146" y="29"/>
                      <a:pt x="146" y="29"/>
                    </a:cubicBezTo>
                    <a:cubicBezTo>
                      <a:pt x="139" y="28"/>
                      <a:pt x="139" y="28"/>
                      <a:pt x="139" y="28"/>
                    </a:cubicBezTo>
                    <a:cubicBezTo>
                      <a:pt x="135" y="26"/>
                      <a:pt x="135" y="26"/>
                      <a:pt x="135" y="26"/>
                    </a:cubicBezTo>
                    <a:cubicBezTo>
                      <a:pt x="123" y="33"/>
                      <a:pt x="123" y="33"/>
                      <a:pt x="123" y="33"/>
                    </a:cubicBezTo>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8" name="Freeform 74"/>
              <p:cNvSpPr>
                <a:spLocks/>
              </p:cNvSpPr>
              <p:nvPr/>
            </p:nvSpPr>
            <p:spPr bwMode="gray">
              <a:xfrm>
                <a:off x="5281230" y="2666690"/>
                <a:ext cx="247705" cy="114326"/>
              </a:xfrm>
              <a:custGeom>
                <a:avLst/>
                <a:gdLst>
                  <a:gd name="T0" fmla="*/ 152 w 156"/>
                  <a:gd name="T1" fmla="*/ 30 h 72"/>
                  <a:gd name="T2" fmla="*/ 150 w 156"/>
                  <a:gd name="T3" fmla="*/ 26 h 72"/>
                  <a:gd name="T4" fmla="*/ 146 w 156"/>
                  <a:gd name="T5" fmla="*/ 26 h 72"/>
                  <a:gd name="T6" fmla="*/ 144 w 156"/>
                  <a:gd name="T7" fmla="*/ 20 h 72"/>
                  <a:gd name="T8" fmla="*/ 142 w 156"/>
                  <a:gd name="T9" fmla="*/ 16 h 72"/>
                  <a:gd name="T10" fmla="*/ 122 w 156"/>
                  <a:gd name="T11" fmla="*/ 18 h 72"/>
                  <a:gd name="T12" fmla="*/ 120 w 156"/>
                  <a:gd name="T13" fmla="*/ 20 h 72"/>
                  <a:gd name="T14" fmla="*/ 116 w 156"/>
                  <a:gd name="T15" fmla="*/ 16 h 72"/>
                  <a:gd name="T16" fmla="*/ 114 w 156"/>
                  <a:gd name="T17" fmla="*/ 16 h 72"/>
                  <a:gd name="T18" fmla="*/ 110 w 156"/>
                  <a:gd name="T19" fmla="*/ 14 h 72"/>
                  <a:gd name="T20" fmla="*/ 102 w 156"/>
                  <a:gd name="T21" fmla="*/ 12 h 72"/>
                  <a:gd name="T22" fmla="*/ 92 w 156"/>
                  <a:gd name="T23" fmla="*/ 8 h 72"/>
                  <a:gd name="T24" fmla="*/ 84 w 156"/>
                  <a:gd name="T25" fmla="*/ 0 h 72"/>
                  <a:gd name="T26" fmla="*/ 80 w 156"/>
                  <a:gd name="T27" fmla="*/ 4 h 72"/>
                  <a:gd name="T28" fmla="*/ 78 w 156"/>
                  <a:gd name="T29" fmla="*/ 6 h 72"/>
                  <a:gd name="T30" fmla="*/ 78 w 156"/>
                  <a:gd name="T31" fmla="*/ 6 h 72"/>
                  <a:gd name="T32" fmla="*/ 76 w 156"/>
                  <a:gd name="T33" fmla="*/ 8 h 72"/>
                  <a:gd name="T34" fmla="*/ 76 w 156"/>
                  <a:gd name="T35" fmla="*/ 12 h 72"/>
                  <a:gd name="T36" fmla="*/ 78 w 156"/>
                  <a:gd name="T37" fmla="*/ 26 h 72"/>
                  <a:gd name="T38" fmla="*/ 72 w 156"/>
                  <a:gd name="T39" fmla="*/ 30 h 72"/>
                  <a:gd name="T40" fmla="*/ 70 w 156"/>
                  <a:gd name="T41" fmla="*/ 30 h 72"/>
                  <a:gd name="T42" fmla="*/ 66 w 156"/>
                  <a:gd name="T43" fmla="*/ 30 h 72"/>
                  <a:gd name="T44" fmla="*/ 48 w 156"/>
                  <a:gd name="T45" fmla="*/ 26 h 72"/>
                  <a:gd name="T46" fmla="*/ 44 w 156"/>
                  <a:gd name="T47" fmla="*/ 26 h 72"/>
                  <a:gd name="T48" fmla="*/ 46 w 156"/>
                  <a:gd name="T49" fmla="*/ 24 h 72"/>
                  <a:gd name="T50" fmla="*/ 58 w 156"/>
                  <a:gd name="T51" fmla="*/ 10 h 72"/>
                  <a:gd name="T52" fmla="*/ 62 w 156"/>
                  <a:gd name="T53" fmla="*/ 8 h 72"/>
                  <a:gd name="T54" fmla="*/ 62 w 156"/>
                  <a:gd name="T55" fmla="*/ 6 h 72"/>
                  <a:gd name="T56" fmla="*/ 64 w 156"/>
                  <a:gd name="T57" fmla="*/ 4 h 72"/>
                  <a:gd name="T58" fmla="*/ 66 w 156"/>
                  <a:gd name="T59" fmla="*/ 2 h 72"/>
                  <a:gd name="T60" fmla="*/ 64 w 156"/>
                  <a:gd name="T61" fmla="*/ 0 h 72"/>
                  <a:gd name="T62" fmla="*/ 42 w 156"/>
                  <a:gd name="T63" fmla="*/ 24 h 72"/>
                  <a:gd name="T64" fmla="*/ 26 w 156"/>
                  <a:gd name="T65" fmla="*/ 26 h 72"/>
                  <a:gd name="T66" fmla="*/ 20 w 156"/>
                  <a:gd name="T67" fmla="*/ 24 h 72"/>
                  <a:gd name="T68" fmla="*/ 16 w 156"/>
                  <a:gd name="T69" fmla="*/ 28 h 72"/>
                  <a:gd name="T70" fmla="*/ 18 w 156"/>
                  <a:gd name="T71" fmla="*/ 36 h 72"/>
                  <a:gd name="T72" fmla="*/ 16 w 156"/>
                  <a:gd name="T73" fmla="*/ 44 h 72"/>
                  <a:gd name="T74" fmla="*/ 14 w 156"/>
                  <a:gd name="T75" fmla="*/ 46 h 72"/>
                  <a:gd name="T76" fmla="*/ 14 w 156"/>
                  <a:gd name="T77" fmla="*/ 48 h 72"/>
                  <a:gd name="T78" fmla="*/ 6 w 156"/>
                  <a:gd name="T79" fmla="*/ 60 h 72"/>
                  <a:gd name="T80" fmla="*/ 0 w 156"/>
                  <a:gd name="T81" fmla="*/ 64 h 72"/>
                  <a:gd name="T82" fmla="*/ 18 w 156"/>
                  <a:gd name="T83" fmla="*/ 66 h 72"/>
                  <a:gd name="T84" fmla="*/ 102 w 156"/>
                  <a:gd name="T85" fmla="*/ 70 h 72"/>
                  <a:gd name="T86" fmla="*/ 152 w 156"/>
                  <a:gd name="T87" fmla="*/ 72 h 72"/>
                  <a:gd name="T88" fmla="*/ 148 w 156"/>
                  <a:gd name="T89" fmla="*/ 56 h 72"/>
                  <a:gd name="T90" fmla="*/ 150 w 156"/>
                  <a:gd name="T91" fmla="*/ 48 h 72"/>
                  <a:gd name="T92" fmla="*/ 150 w 156"/>
                  <a:gd name="T93" fmla="*/ 44 h 72"/>
                  <a:gd name="T94" fmla="*/ 150 w 156"/>
                  <a:gd name="T95" fmla="*/ 44 h 72"/>
                  <a:gd name="T96" fmla="*/ 152 w 156"/>
                  <a:gd name="T97" fmla="*/ 42 h 72"/>
                  <a:gd name="T98" fmla="*/ 156 w 156"/>
                  <a:gd name="T99" fmla="*/ 38 h 72"/>
                  <a:gd name="T100" fmla="*/ 156 w 156"/>
                  <a:gd name="T101" fmla="*/ 3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6" h="72">
                    <a:moveTo>
                      <a:pt x="156" y="32"/>
                    </a:moveTo>
                    <a:lnTo>
                      <a:pt x="156" y="32"/>
                    </a:lnTo>
                    <a:lnTo>
                      <a:pt x="154" y="30"/>
                    </a:lnTo>
                    <a:lnTo>
                      <a:pt x="152" y="30"/>
                    </a:lnTo>
                    <a:lnTo>
                      <a:pt x="152" y="28"/>
                    </a:lnTo>
                    <a:lnTo>
                      <a:pt x="152" y="28"/>
                    </a:lnTo>
                    <a:lnTo>
                      <a:pt x="152" y="28"/>
                    </a:lnTo>
                    <a:lnTo>
                      <a:pt x="150" y="26"/>
                    </a:lnTo>
                    <a:lnTo>
                      <a:pt x="150" y="26"/>
                    </a:lnTo>
                    <a:lnTo>
                      <a:pt x="150" y="26"/>
                    </a:lnTo>
                    <a:lnTo>
                      <a:pt x="150" y="26"/>
                    </a:lnTo>
                    <a:lnTo>
                      <a:pt x="146" y="26"/>
                    </a:lnTo>
                    <a:lnTo>
                      <a:pt x="146" y="26"/>
                    </a:lnTo>
                    <a:lnTo>
                      <a:pt x="146" y="24"/>
                    </a:lnTo>
                    <a:lnTo>
                      <a:pt x="144" y="22"/>
                    </a:lnTo>
                    <a:lnTo>
                      <a:pt x="144" y="20"/>
                    </a:lnTo>
                    <a:lnTo>
                      <a:pt x="144" y="18"/>
                    </a:lnTo>
                    <a:lnTo>
                      <a:pt x="144" y="18"/>
                    </a:lnTo>
                    <a:lnTo>
                      <a:pt x="142" y="16"/>
                    </a:lnTo>
                    <a:lnTo>
                      <a:pt x="142" y="16"/>
                    </a:lnTo>
                    <a:lnTo>
                      <a:pt x="136" y="18"/>
                    </a:lnTo>
                    <a:lnTo>
                      <a:pt x="128" y="16"/>
                    </a:lnTo>
                    <a:lnTo>
                      <a:pt x="128" y="16"/>
                    </a:lnTo>
                    <a:lnTo>
                      <a:pt x="122" y="18"/>
                    </a:lnTo>
                    <a:lnTo>
                      <a:pt x="122" y="18"/>
                    </a:lnTo>
                    <a:lnTo>
                      <a:pt x="122" y="20"/>
                    </a:lnTo>
                    <a:lnTo>
                      <a:pt x="120" y="20"/>
                    </a:lnTo>
                    <a:lnTo>
                      <a:pt x="120" y="20"/>
                    </a:lnTo>
                    <a:lnTo>
                      <a:pt x="118" y="20"/>
                    </a:lnTo>
                    <a:lnTo>
                      <a:pt x="116" y="18"/>
                    </a:lnTo>
                    <a:lnTo>
                      <a:pt x="116" y="18"/>
                    </a:lnTo>
                    <a:lnTo>
                      <a:pt x="116" y="16"/>
                    </a:lnTo>
                    <a:lnTo>
                      <a:pt x="116" y="16"/>
                    </a:lnTo>
                    <a:lnTo>
                      <a:pt x="116" y="14"/>
                    </a:lnTo>
                    <a:lnTo>
                      <a:pt x="114" y="14"/>
                    </a:lnTo>
                    <a:lnTo>
                      <a:pt x="114" y="16"/>
                    </a:lnTo>
                    <a:lnTo>
                      <a:pt x="112" y="16"/>
                    </a:lnTo>
                    <a:lnTo>
                      <a:pt x="112" y="16"/>
                    </a:lnTo>
                    <a:lnTo>
                      <a:pt x="112" y="16"/>
                    </a:lnTo>
                    <a:lnTo>
                      <a:pt x="110" y="14"/>
                    </a:lnTo>
                    <a:lnTo>
                      <a:pt x="108" y="14"/>
                    </a:lnTo>
                    <a:lnTo>
                      <a:pt x="106" y="12"/>
                    </a:lnTo>
                    <a:lnTo>
                      <a:pt x="104" y="12"/>
                    </a:lnTo>
                    <a:lnTo>
                      <a:pt x="102" y="12"/>
                    </a:lnTo>
                    <a:lnTo>
                      <a:pt x="102" y="10"/>
                    </a:lnTo>
                    <a:lnTo>
                      <a:pt x="98" y="8"/>
                    </a:lnTo>
                    <a:lnTo>
                      <a:pt x="96" y="8"/>
                    </a:lnTo>
                    <a:lnTo>
                      <a:pt x="92" y="8"/>
                    </a:lnTo>
                    <a:lnTo>
                      <a:pt x="90" y="6"/>
                    </a:lnTo>
                    <a:lnTo>
                      <a:pt x="86" y="0"/>
                    </a:lnTo>
                    <a:lnTo>
                      <a:pt x="86" y="0"/>
                    </a:lnTo>
                    <a:lnTo>
                      <a:pt x="84" y="0"/>
                    </a:lnTo>
                    <a:lnTo>
                      <a:pt x="80" y="2"/>
                    </a:lnTo>
                    <a:lnTo>
                      <a:pt x="80" y="4"/>
                    </a:lnTo>
                    <a:lnTo>
                      <a:pt x="80" y="4"/>
                    </a:lnTo>
                    <a:lnTo>
                      <a:pt x="80" y="4"/>
                    </a:lnTo>
                    <a:lnTo>
                      <a:pt x="80" y="6"/>
                    </a:lnTo>
                    <a:lnTo>
                      <a:pt x="80" y="6"/>
                    </a:lnTo>
                    <a:lnTo>
                      <a:pt x="80" y="6"/>
                    </a:lnTo>
                    <a:lnTo>
                      <a:pt x="78" y="6"/>
                    </a:lnTo>
                    <a:lnTo>
                      <a:pt x="78" y="6"/>
                    </a:lnTo>
                    <a:lnTo>
                      <a:pt x="78" y="6"/>
                    </a:lnTo>
                    <a:lnTo>
                      <a:pt x="78" y="6"/>
                    </a:lnTo>
                    <a:lnTo>
                      <a:pt x="78" y="6"/>
                    </a:lnTo>
                    <a:lnTo>
                      <a:pt x="76" y="6"/>
                    </a:lnTo>
                    <a:lnTo>
                      <a:pt x="76" y="6"/>
                    </a:lnTo>
                    <a:lnTo>
                      <a:pt x="76" y="8"/>
                    </a:lnTo>
                    <a:lnTo>
                      <a:pt x="76" y="8"/>
                    </a:lnTo>
                    <a:lnTo>
                      <a:pt x="76" y="8"/>
                    </a:lnTo>
                    <a:lnTo>
                      <a:pt x="76" y="10"/>
                    </a:lnTo>
                    <a:lnTo>
                      <a:pt x="76" y="10"/>
                    </a:lnTo>
                    <a:lnTo>
                      <a:pt x="76" y="12"/>
                    </a:lnTo>
                    <a:lnTo>
                      <a:pt x="78" y="22"/>
                    </a:lnTo>
                    <a:lnTo>
                      <a:pt x="78" y="24"/>
                    </a:lnTo>
                    <a:lnTo>
                      <a:pt x="80" y="26"/>
                    </a:lnTo>
                    <a:lnTo>
                      <a:pt x="78" y="26"/>
                    </a:lnTo>
                    <a:lnTo>
                      <a:pt x="76" y="28"/>
                    </a:lnTo>
                    <a:lnTo>
                      <a:pt x="72" y="28"/>
                    </a:lnTo>
                    <a:lnTo>
                      <a:pt x="72" y="30"/>
                    </a:lnTo>
                    <a:lnTo>
                      <a:pt x="72" y="30"/>
                    </a:lnTo>
                    <a:lnTo>
                      <a:pt x="72" y="30"/>
                    </a:lnTo>
                    <a:lnTo>
                      <a:pt x="72" y="30"/>
                    </a:lnTo>
                    <a:lnTo>
                      <a:pt x="72" y="30"/>
                    </a:lnTo>
                    <a:lnTo>
                      <a:pt x="70" y="30"/>
                    </a:lnTo>
                    <a:lnTo>
                      <a:pt x="70" y="28"/>
                    </a:lnTo>
                    <a:lnTo>
                      <a:pt x="70" y="30"/>
                    </a:lnTo>
                    <a:lnTo>
                      <a:pt x="70" y="30"/>
                    </a:lnTo>
                    <a:lnTo>
                      <a:pt x="66" y="30"/>
                    </a:lnTo>
                    <a:lnTo>
                      <a:pt x="60" y="30"/>
                    </a:lnTo>
                    <a:lnTo>
                      <a:pt x="58" y="26"/>
                    </a:lnTo>
                    <a:lnTo>
                      <a:pt x="56" y="26"/>
                    </a:lnTo>
                    <a:lnTo>
                      <a:pt x="48" y="26"/>
                    </a:lnTo>
                    <a:lnTo>
                      <a:pt x="46" y="26"/>
                    </a:lnTo>
                    <a:lnTo>
                      <a:pt x="46" y="26"/>
                    </a:lnTo>
                    <a:lnTo>
                      <a:pt x="46" y="26"/>
                    </a:lnTo>
                    <a:lnTo>
                      <a:pt x="44" y="26"/>
                    </a:lnTo>
                    <a:lnTo>
                      <a:pt x="44" y="24"/>
                    </a:lnTo>
                    <a:lnTo>
                      <a:pt x="44" y="24"/>
                    </a:lnTo>
                    <a:lnTo>
                      <a:pt x="46" y="24"/>
                    </a:lnTo>
                    <a:lnTo>
                      <a:pt x="46" y="24"/>
                    </a:lnTo>
                    <a:lnTo>
                      <a:pt x="46" y="24"/>
                    </a:lnTo>
                    <a:lnTo>
                      <a:pt x="52" y="18"/>
                    </a:lnTo>
                    <a:lnTo>
                      <a:pt x="56" y="14"/>
                    </a:lnTo>
                    <a:lnTo>
                      <a:pt x="58" y="10"/>
                    </a:lnTo>
                    <a:lnTo>
                      <a:pt x="60" y="10"/>
                    </a:lnTo>
                    <a:lnTo>
                      <a:pt x="60" y="8"/>
                    </a:lnTo>
                    <a:lnTo>
                      <a:pt x="60" y="8"/>
                    </a:lnTo>
                    <a:lnTo>
                      <a:pt x="62" y="8"/>
                    </a:lnTo>
                    <a:lnTo>
                      <a:pt x="62" y="6"/>
                    </a:lnTo>
                    <a:lnTo>
                      <a:pt x="62" y="6"/>
                    </a:lnTo>
                    <a:lnTo>
                      <a:pt x="62" y="6"/>
                    </a:lnTo>
                    <a:lnTo>
                      <a:pt x="62" y="6"/>
                    </a:lnTo>
                    <a:lnTo>
                      <a:pt x="62" y="6"/>
                    </a:lnTo>
                    <a:lnTo>
                      <a:pt x="62" y="4"/>
                    </a:lnTo>
                    <a:lnTo>
                      <a:pt x="64" y="4"/>
                    </a:lnTo>
                    <a:lnTo>
                      <a:pt x="64" y="4"/>
                    </a:lnTo>
                    <a:lnTo>
                      <a:pt x="64" y="4"/>
                    </a:lnTo>
                    <a:lnTo>
                      <a:pt x="64" y="4"/>
                    </a:lnTo>
                    <a:lnTo>
                      <a:pt x="64" y="2"/>
                    </a:lnTo>
                    <a:lnTo>
                      <a:pt x="66" y="2"/>
                    </a:lnTo>
                    <a:lnTo>
                      <a:pt x="66" y="0"/>
                    </a:lnTo>
                    <a:lnTo>
                      <a:pt x="66" y="0"/>
                    </a:lnTo>
                    <a:lnTo>
                      <a:pt x="66" y="0"/>
                    </a:lnTo>
                    <a:lnTo>
                      <a:pt x="64" y="0"/>
                    </a:lnTo>
                    <a:lnTo>
                      <a:pt x="58" y="8"/>
                    </a:lnTo>
                    <a:lnTo>
                      <a:pt x="58" y="8"/>
                    </a:lnTo>
                    <a:lnTo>
                      <a:pt x="50" y="18"/>
                    </a:lnTo>
                    <a:lnTo>
                      <a:pt x="42" y="24"/>
                    </a:lnTo>
                    <a:lnTo>
                      <a:pt x="38" y="26"/>
                    </a:lnTo>
                    <a:lnTo>
                      <a:pt x="36" y="26"/>
                    </a:lnTo>
                    <a:lnTo>
                      <a:pt x="30" y="26"/>
                    </a:lnTo>
                    <a:lnTo>
                      <a:pt x="26" y="26"/>
                    </a:lnTo>
                    <a:lnTo>
                      <a:pt x="22" y="26"/>
                    </a:lnTo>
                    <a:lnTo>
                      <a:pt x="22" y="26"/>
                    </a:lnTo>
                    <a:lnTo>
                      <a:pt x="20" y="26"/>
                    </a:lnTo>
                    <a:lnTo>
                      <a:pt x="20" y="24"/>
                    </a:lnTo>
                    <a:lnTo>
                      <a:pt x="18" y="24"/>
                    </a:lnTo>
                    <a:lnTo>
                      <a:pt x="18" y="26"/>
                    </a:lnTo>
                    <a:lnTo>
                      <a:pt x="16" y="28"/>
                    </a:lnTo>
                    <a:lnTo>
                      <a:pt x="16" y="28"/>
                    </a:lnTo>
                    <a:lnTo>
                      <a:pt x="16" y="30"/>
                    </a:lnTo>
                    <a:lnTo>
                      <a:pt x="16" y="32"/>
                    </a:lnTo>
                    <a:lnTo>
                      <a:pt x="16" y="32"/>
                    </a:lnTo>
                    <a:lnTo>
                      <a:pt x="18" y="36"/>
                    </a:lnTo>
                    <a:lnTo>
                      <a:pt x="18" y="38"/>
                    </a:lnTo>
                    <a:lnTo>
                      <a:pt x="18" y="40"/>
                    </a:lnTo>
                    <a:lnTo>
                      <a:pt x="18" y="40"/>
                    </a:lnTo>
                    <a:lnTo>
                      <a:pt x="16" y="44"/>
                    </a:lnTo>
                    <a:lnTo>
                      <a:pt x="16" y="46"/>
                    </a:lnTo>
                    <a:lnTo>
                      <a:pt x="14" y="46"/>
                    </a:lnTo>
                    <a:lnTo>
                      <a:pt x="14" y="46"/>
                    </a:lnTo>
                    <a:lnTo>
                      <a:pt x="14" y="46"/>
                    </a:lnTo>
                    <a:lnTo>
                      <a:pt x="14" y="48"/>
                    </a:lnTo>
                    <a:lnTo>
                      <a:pt x="14" y="48"/>
                    </a:lnTo>
                    <a:lnTo>
                      <a:pt x="14" y="48"/>
                    </a:lnTo>
                    <a:lnTo>
                      <a:pt x="14" y="48"/>
                    </a:lnTo>
                    <a:lnTo>
                      <a:pt x="14" y="48"/>
                    </a:lnTo>
                    <a:lnTo>
                      <a:pt x="14" y="48"/>
                    </a:lnTo>
                    <a:lnTo>
                      <a:pt x="12" y="54"/>
                    </a:lnTo>
                    <a:lnTo>
                      <a:pt x="6" y="60"/>
                    </a:lnTo>
                    <a:lnTo>
                      <a:pt x="2" y="64"/>
                    </a:lnTo>
                    <a:lnTo>
                      <a:pt x="2" y="64"/>
                    </a:lnTo>
                    <a:lnTo>
                      <a:pt x="0" y="64"/>
                    </a:lnTo>
                    <a:lnTo>
                      <a:pt x="0" y="64"/>
                    </a:lnTo>
                    <a:lnTo>
                      <a:pt x="2" y="64"/>
                    </a:lnTo>
                    <a:lnTo>
                      <a:pt x="4" y="66"/>
                    </a:lnTo>
                    <a:lnTo>
                      <a:pt x="8" y="66"/>
                    </a:lnTo>
                    <a:lnTo>
                      <a:pt x="18" y="66"/>
                    </a:lnTo>
                    <a:lnTo>
                      <a:pt x="36" y="68"/>
                    </a:lnTo>
                    <a:lnTo>
                      <a:pt x="64" y="68"/>
                    </a:lnTo>
                    <a:lnTo>
                      <a:pt x="82" y="70"/>
                    </a:lnTo>
                    <a:lnTo>
                      <a:pt x="102" y="70"/>
                    </a:lnTo>
                    <a:lnTo>
                      <a:pt x="128" y="72"/>
                    </a:lnTo>
                    <a:lnTo>
                      <a:pt x="140" y="72"/>
                    </a:lnTo>
                    <a:lnTo>
                      <a:pt x="150" y="72"/>
                    </a:lnTo>
                    <a:lnTo>
                      <a:pt x="152" y="72"/>
                    </a:lnTo>
                    <a:lnTo>
                      <a:pt x="150" y="68"/>
                    </a:lnTo>
                    <a:lnTo>
                      <a:pt x="148" y="64"/>
                    </a:lnTo>
                    <a:lnTo>
                      <a:pt x="148" y="62"/>
                    </a:lnTo>
                    <a:lnTo>
                      <a:pt x="148" y="56"/>
                    </a:lnTo>
                    <a:lnTo>
                      <a:pt x="150" y="52"/>
                    </a:lnTo>
                    <a:lnTo>
                      <a:pt x="150" y="50"/>
                    </a:lnTo>
                    <a:lnTo>
                      <a:pt x="150" y="50"/>
                    </a:lnTo>
                    <a:lnTo>
                      <a:pt x="150" y="48"/>
                    </a:lnTo>
                    <a:lnTo>
                      <a:pt x="150" y="48"/>
                    </a:lnTo>
                    <a:lnTo>
                      <a:pt x="150" y="46"/>
                    </a:lnTo>
                    <a:lnTo>
                      <a:pt x="150" y="44"/>
                    </a:lnTo>
                    <a:lnTo>
                      <a:pt x="150" y="44"/>
                    </a:lnTo>
                    <a:lnTo>
                      <a:pt x="150" y="44"/>
                    </a:lnTo>
                    <a:lnTo>
                      <a:pt x="150" y="44"/>
                    </a:lnTo>
                    <a:lnTo>
                      <a:pt x="150" y="44"/>
                    </a:lnTo>
                    <a:lnTo>
                      <a:pt x="150" y="44"/>
                    </a:lnTo>
                    <a:lnTo>
                      <a:pt x="152" y="44"/>
                    </a:lnTo>
                    <a:lnTo>
                      <a:pt x="152" y="42"/>
                    </a:lnTo>
                    <a:lnTo>
                      <a:pt x="152" y="42"/>
                    </a:lnTo>
                    <a:lnTo>
                      <a:pt x="152" y="42"/>
                    </a:lnTo>
                    <a:lnTo>
                      <a:pt x="154" y="42"/>
                    </a:lnTo>
                    <a:lnTo>
                      <a:pt x="156" y="40"/>
                    </a:lnTo>
                    <a:lnTo>
                      <a:pt x="156" y="40"/>
                    </a:lnTo>
                    <a:lnTo>
                      <a:pt x="156" y="38"/>
                    </a:lnTo>
                    <a:lnTo>
                      <a:pt x="156" y="36"/>
                    </a:lnTo>
                    <a:lnTo>
                      <a:pt x="156" y="36"/>
                    </a:lnTo>
                    <a:lnTo>
                      <a:pt x="156" y="32"/>
                    </a:lnTo>
                    <a:lnTo>
                      <a:pt x="156" y="32"/>
                    </a:lnTo>
                    <a:lnTo>
                      <a:pt x="156" y="32"/>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9" name="Freeform 75"/>
              <p:cNvSpPr>
                <a:spLocks/>
              </p:cNvSpPr>
              <p:nvPr>
                <p:custDataLst>
                  <p:tags r:id="rId151"/>
                </p:custDataLst>
              </p:nvPr>
            </p:nvSpPr>
            <p:spPr bwMode="gray">
              <a:xfrm>
                <a:off x="4860450" y="2720678"/>
                <a:ext cx="766933" cy="676425"/>
              </a:xfrm>
              <a:custGeom>
                <a:avLst/>
                <a:gdLst>
                  <a:gd name="T0" fmla="*/ 473 w 483"/>
                  <a:gd name="T1" fmla="*/ 284 h 426"/>
                  <a:gd name="T2" fmla="*/ 461 w 483"/>
                  <a:gd name="T3" fmla="*/ 258 h 426"/>
                  <a:gd name="T4" fmla="*/ 455 w 483"/>
                  <a:gd name="T5" fmla="*/ 240 h 426"/>
                  <a:gd name="T6" fmla="*/ 459 w 483"/>
                  <a:gd name="T7" fmla="*/ 228 h 426"/>
                  <a:gd name="T8" fmla="*/ 459 w 483"/>
                  <a:gd name="T9" fmla="*/ 208 h 426"/>
                  <a:gd name="T10" fmla="*/ 447 w 483"/>
                  <a:gd name="T11" fmla="*/ 200 h 426"/>
                  <a:gd name="T12" fmla="*/ 473 w 483"/>
                  <a:gd name="T13" fmla="*/ 162 h 426"/>
                  <a:gd name="T14" fmla="*/ 471 w 483"/>
                  <a:gd name="T15" fmla="*/ 132 h 426"/>
                  <a:gd name="T16" fmla="*/ 453 w 483"/>
                  <a:gd name="T17" fmla="*/ 74 h 426"/>
                  <a:gd name="T18" fmla="*/ 449 w 483"/>
                  <a:gd name="T19" fmla="*/ 52 h 426"/>
                  <a:gd name="T20" fmla="*/ 429 w 483"/>
                  <a:gd name="T21" fmla="*/ 38 h 426"/>
                  <a:gd name="T22" fmla="*/ 273 w 483"/>
                  <a:gd name="T23" fmla="*/ 32 h 426"/>
                  <a:gd name="T24" fmla="*/ 219 w 483"/>
                  <a:gd name="T25" fmla="*/ 34 h 426"/>
                  <a:gd name="T26" fmla="*/ 209 w 483"/>
                  <a:gd name="T27" fmla="*/ 10 h 426"/>
                  <a:gd name="T28" fmla="*/ 225 w 483"/>
                  <a:gd name="T29" fmla="*/ 18 h 426"/>
                  <a:gd name="T30" fmla="*/ 135 w 483"/>
                  <a:gd name="T31" fmla="*/ 20 h 426"/>
                  <a:gd name="T32" fmla="*/ 109 w 483"/>
                  <a:gd name="T33" fmla="*/ 38 h 426"/>
                  <a:gd name="T34" fmla="*/ 101 w 483"/>
                  <a:gd name="T35" fmla="*/ 46 h 426"/>
                  <a:gd name="T36" fmla="*/ 4 w 483"/>
                  <a:gd name="T37" fmla="*/ 72 h 426"/>
                  <a:gd name="T38" fmla="*/ 14 w 483"/>
                  <a:gd name="T39" fmla="*/ 76 h 426"/>
                  <a:gd name="T40" fmla="*/ 23 w 483"/>
                  <a:gd name="T41" fmla="*/ 78 h 426"/>
                  <a:gd name="T42" fmla="*/ 25 w 483"/>
                  <a:gd name="T43" fmla="*/ 92 h 426"/>
                  <a:gd name="T44" fmla="*/ 10 w 483"/>
                  <a:gd name="T45" fmla="*/ 84 h 426"/>
                  <a:gd name="T46" fmla="*/ 10 w 483"/>
                  <a:gd name="T47" fmla="*/ 104 h 426"/>
                  <a:gd name="T48" fmla="*/ 14 w 483"/>
                  <a:gd name="T49" fmla="*/ 130 h 426"/>
                  <a:gd name="T50" fmla="*/ 8 w 483"/>
                  <a:gd name="T51" fmla="*/ 156 h 426"/>
                  <a:gd name="T52" fmla="*/ 23 w 483"/>
                  <a:gd name="T53" fmla="*/ 192 h 426"/>
                  <a:gd name="T54" fmla="*/ 29 w 483"/>
                  <a:gd name="T55" fmla="*/ 214 h 426"/>
                  <a:gd name="T56" fmla="*/ 29 w 483"/>
                  <a:gd name="T57" fmla="*/ 248 h 426"/>
                  <a:gd name="T58" fmla="*/ 45 w 483"/>
                  <a:gd name="T59" fmla="*/ 268 h 426"/>
                  <a:gd name="T60" fmla="*/ 43 w 483"/>
                  <a:gd name="T61" fmla="*/ 292 h 426"/>
                  <a:gd name="T62" fmla="*/ 49 w 483"/>
                  <a:gd name="T63" fmla="*/ 288 h 426"/>
                  <a:gd name="T64" fmla="*/ 61 w 483"/>
                  <a:gd name="T65" fmla="*/ 300 h 426"/>
                  <a:gd name="T66" fmla="*/ 87 w 483"/>
                  <a:gd name="T67" fmla="*/ 310 h 426"/>
                  <a:gd name="T68" fmla="*/ 103 w 483"/>
                  <a:gd name="T69" fmla="*/ 310 h 426"/>
                  <a:gd name="T70" fmla="*/ 105 w 483"/>
                  <a:gd name="T71" fmla="*/ 324 h 426"/>
                  <a:gd name="T72" fmla="*/ 109 w 483"/>
                  <a:gd name="T73" fmla="*/ 332 h 426"/>
                  <a:gd name="T74" fmla="*/ 129 w 483"/>
                  <a:gd name="T75" fmla="*/ 346 h 426"/>
                  <a:gd name="T76" fmla="*/ 141 w 483"/>
                  <a:gd name="T77" fmla="*/ 340 h 426"/>
                  <a:gd name="T78" fmla="*/ 147 w 483"/>
                  <a:gd name="T79" fmla="*/ 330 h 426"/>
                  <a:gd name="T80" fmla="*/ 157 w 483"/>
                  <a:gd name="T81" fmla="*/ 338 h 426"/>
                  <a:gd name="T82" fmla="*/ 175 w 483"/>
                  <a:gd name="T83" fmla="*/ 336 h 426"/>
                  <a:gd name="T84" fmla="*/ 173 w 483"/>
                  <a:gd name="T85" fmla="*/ 348 h 426"/>
                  <a:gd name="T86" fmla="*/ 189 w 483"/>
                  <a:gd name="T87" fmla="*/ 354 h 426"/>
                  <a:gd name="T88" fmla="*/ 203 w 483"/>
                  <a:gd name="T89" fmla="*/ 362 h 426"/>
                  <a:gd name="T90" fmla="*/ 221 w 483"/>
                  <a:gd name="T91" fmla="*/ 378 h 426"/>
                  <a:gd name="T92" fmla="*/ 235 w 483"/>
                  <a:gd name="T93" fmla="*/ 396 h 426"/>
                  <a:gd name="T94" fmla="*/ 245 w 483"/>
                  <a:gd name="T95" fmla="*/ 394 h 426"/>
                  <a:gd name="T96" fmla="*/ 263 w 483"/>
                  <a:gd name="T97" fmla="*/ 394 h 426"/>
                  <a:gd name="T98" fmla="*/ 275 w 483"/>
                  <a:gd name="T99" fmla="*/ 406 h 426"/>
                  <a:gd name="T100" fmla="*/ 289 w 483"/>
                  <a:gd name="T101" fmla="*/ 410 h 426"/>
                  <a:gd name="T102" fmla="*/ 305 w 483"/>
                  <a:gd name="T103" fmla="*/ 398 h 426"/>
                  <a:gd name="T104" fmla="*/ 329 w 483"/>
                  <a:gd name="T105" fmla="*/ 404 h 426"/>
                  <a:gd name="T106" fmla="*/ 345 w 483"/>
                  <a:gd name="T107" fmla="*/ 394 h 426"/>
                  <a:gd name="T108" fmla="*/ 371 w 483"/>
                  <a:gd name="T109" fmla="*/ 400 h 426"/>
                  <a:gd name="T110" fmla="*/ 391 w 483"/>
                  <a:gd name="T111" fmla="*/ 416 h 426"/>
                  <a:gd name="T112" fmla="*/ 421 w 483"/>
                  <a:gd name="T113" fmla="*/ 426 h 426"/>
                  <a:gd name="T114" fmla="*/ 415 w 483"/>
                  <a:gd name="T115" fmla="*/ 408 h 426"/>
                  <a:gd name="T116" fmla="*/ 423 w 483"/>
                  <a:gd name="T117" fmla="*/ 372 h 426"/>
                  <a:gd name="T118" fmla="*/ 463 w 483"/>
                  <a:gd name="T119" fmla="*/ 330 h 426"/>
                  <a:gd name="T120" fmla="*/ 479 w 483"/>
                  <a:gd name="T121" fmla="*/ 30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3" h="426">
                    <a:moveTo>
                      <a:pt x="475" y="298"/>
                    </a:moveTo>
                    <a:lnTo>
                      <a:pt x="477" y="298"/>
                    </a:lnTo>
                    <a:lnTo>
                      <a:pt x="477" y="298"/>
                    </a:lnTo>
                    <a:lnTo>
                      <a:pt x="479" y="298"/>
                    </a:lnTo>
                    <a:lnTo>
                      <a:pt x="481" y="298"/>
                    </a:lnTo>
                    <a:lnTo>
                      <a:pt x="481" y="298"/>
                    </a:lnTo>
                    <a:lnTo>
                      <a:pt x="483" y="298"/>
                    </a:lnTo>
                    <a:lnTo>
                      <a:pt x="483" y="296"/>
                    </a:lnTo>
                    <a:lnTo>
                      <a:pt x="483" y="296"/>
                    </a:lnTo>
                    <a:lnTo>
                      <a:pt x="479" y="292"/>
                    </a:lnTo>
                    <a:lnTo>
                      <a:pt x="475" y="290"/>
                    </a:lnTo>
                    <a:lnTo>
                      <a:pt x="475" y="290"/>
                    </a:lnTo>
                    <a:lnTo>
                      <a:pt x="475" y="288"/>
                    </a:lnTo>
                    <a:lnTo>
                      <a:pt x="475" y="288"/>
                    </a:lnTo>
                    <a:lnTo>
                      <a:pt x="475" y="286"/>
                    </a:lnTo>
                    <a:lnTo>
                      <a:pt x="475" y="286"/>
                    </a:lnTo>
                    <a:lnTo>
                      <a:pt x="473" y="286"/>
                    </a:lnTo>
                    <a:lnTo>
                      <a:pt x="473" y="286"/>
                    </a:lnTo>
                    <a:lnTo>
                      <a:pt x="473" y="286"/>
                    </a:lnTo>
                    <a:lnTo>
                      <a:pt x="473" y="284"/>
                    </a:lnTo>
                    <a:lnTo>
                      <a:pt x="473" y="284"/>
                    </a:lnTo>
                    <a:lnTo>
                      <a:pt x="473" y="282"/>
                    </a:lnTo>
                    <a:lnTo>
                      <a:pt x="471" y="280"/>
                    </a:lnTo>
                    <a:lnTo>
                      <a:pt x="471" y="278"/>
                    </a:lnTo>
                    <a:lnTo>
                      <a:pt x="469" y="278"/>
                    </a:lnTo>
                    <a:lnTo>
                      <a:pt x="471" y="276"/>
                    </a:lnTo>
                    <a:lnTo>
                      <a:pt x="471" y="276"/>
                    </a:lnTo>
                    <a:lnTo>
                      <a:pt x="471" y="276"/>
                    </a:lnTo>
                    <a:lnTo>
                      <a:pt x="467" y="274"/>
                    </a:lnTo>
                    <a:lnTo>
                      <a:pt x="465" y="272"/>
                    </a:lnTo>
                    <a:lnTo>
                      <a:pt x="465" y="270"/>
                    </a:lnTo>
                    <a:lnTo>
                      <a:pt x="461" y="264"/>
                    </a:lnTo>
                    <a:lnTo>
                      <a:pt x="461" y="264"/>
                    </a:lnTo>
                    <a:lnTo>
                      <a:pt x="461" y="264"/>
                    </a:lnTo>
                    <a:lnTo>
                      <a:pt x="459" y="264"/>
                    </a:lnTo>
                    <a:lnTo>
                      <a:pt x="459" y="262"/>
                    </a:lnTo>
                    <a:lnTo>
                      <a:pt x="459" y="262"/>
                    </a:lnTo>
                    <a:lnTo>
                      <a:pt x="459" y="260"/>
                    </a:lnTo>
                    <a:lnTo>
                      <a:pt x="461" y="260"/>
                    </a:lnTo>
                    <a:lnTo>
                      <a:pt x="461" y="260"/>
                    </a:lnTo>
                    <a:lnTo>
                      <a:pt x="461" y="258"/>
                    </a:lnTo>
                    <a:lnTo>
                      <a:pt x="461" y="258"/>
                    </a:lnTo>
                    <a:lnTo>
                      <a:pt x="461" y="258"/>
                    </a:lnTo>
                    <a:lnTo>
                      <a:pt x="463" y="258"/>
                    </a:lnTo>
                    <a:lnTo>
                      <a:pt x="461" y="256"/>
                    </a:lnTo>
                    <a:lnTo>
                      <a:pt x="461" y="254"/>
                    </a:lnTo>
                    <a:lnTo>
                      <a:pt x="459" y="254"/>
                    </a:lnTo>
                    <a:lnTo>
                      <a:pt x="461" y="252"/>
                    </a:lnTo>
                    <a:lnTo>
                      <a:pt x="461" y="252"/>
                    </a:lnTo>
                    <a:lnTo>
                      <a:pt x="459" y="250"/>
                    </a:lnTo>
                    <a:lnTo>
                      <a:pt x="459" y="250"/>
                    </a:lnTo>
                    <a:lnTo>
                      <a:pt x="457" y="250"/>
                    </a:lnTo>
                    <a:lnTo>
                      <a:pt x="457" y="248"/>
                    </a:lnTo>
                    <a:lnTo>
                      <a:pt x="457" y="248"/>
                    </a:lnTo>
                    <a:lnTo>
                      <a:pt x="457" y="248"/>
                    </a:lnTo>
                    <a:lnTo>
                      <a:pt x="457" y="248"/>
                    </a:lnTo>
                    <a:lnTo>
                      <a:pt x="455" y="246"/>
                    </a:lnTo>
                    <a:lnTo>
                      <a:pt x="455" y="246"/>
                    </a:lnTo>
                    <a:lnTo>
                      <a:pt x="457" y="246"/>
                    </a:lnTo>
                    <a:lnTo>
                      <a:pt x="455" y="244"/>
                    </a:lnTo>
                    <a:lnTo>
                      <a:pt x="455" y="244"/>
                    </a:lnTo>
                    <a:lnTo>
                      <a:pt x="455" y="242"/>
                    </a:lnTo>
                    <a:lnTo>
                      <a:pt x="455" y="240"/>
                    </a:lnTo>
                    <a:lnTo>
                      <a:pt x="455" y="240"/>
                    </a:lnTo>
                    <a:lnTo>
                      <a:pt x="455" y="240"/>
                    </a:lnTo>
                    <a:lnTo>
                      <a:pt x="455" y="238"/>
                    </a:lnTo>
                    <a:lnTo>
                      <a:pt x="455" y="238"/>
                    </a:lnTo>
                    <a:lnTo>
                      <a:pt x="455" y="238"/>
                    </a:lnTo>
                    <a:lnTo>
                      <a:pt x="455" y="238"/>
                    </a:lnTo>
                    <a:lnTo>
                      <a:pt x="455" y="238"/>
                    </a:lnTo>
                    <a:lnTo>
                      <a:pt x="455" y="236"/>
                    </a:lnTo>
                    <a:lnTo>
                      <a:pt x="455" y="236"/>
                    </a:lnTo>
                    <a:lnTo>
                      <a:pt x="455" y="236"/>
                    </a:lnTo>
                    <a:lnTo>
                      <a:pt x="455" y="236"/>
                    </a:lnTo>
                    <a:lnTo>
                      <a:pt x="455" y="236"/>
                    </a:lnTo>
                    <a:lnTo>
                      <a:pt x="455" y="234"/>
                    </a:lnTo>
                    <a:lnTo>
                      <a:pt x="455" y="234"/>
                    </a:lnTo>
                    <a:lnTo>
                      <a:pt x="455" y="234"/>
                    </a:lnTo>
                    <a:lnTo>
                      <a:pt x="455" y="232"/>
                    </a:lnTo>
                    <a:lnTo>
                      <a:pt x="455" y="232"/>
                    </a:lnTo>
                    <a:lnTo>
                      <a:pt x="457" y="230"/>
                    </a:lnTo>
                    <a:lnTo>
                      <a:pt x="457" y="230"/>
                    </a:lnTo>
                    <a:lnTo>
                      <a:pt x="459" y="230"/>
                    </a:lnTo>
                    <a:lnTo>
                      <a:pt x="459" y="228"/>
                    </a:lnTo>
                    <a:lnTo>
                      <a:pt x="457" y="226"/>
                    </a:lnTo>
                    <a:lnTo>
                      <a:pt x="457" y="226"/>
                    </a:lnTo>
                    <a:lnTo>
                      <a:pt x="457" y="224"/>
                    </a:lnTo>
                    <a:lnTo>
                      <a:pt x="457" y="224"/>
                    </a:lnTo>
                    <a:lnTo>
                      <a:pt x="459" y="222"/>
                    </a:lnTo>
                    <a:lnTo>
                      <a:pt x="459" y="222"/>
                    </a:lnTo>
                    <a:lnTo>
                      <a:pt x="459" y="222"/>
                    </a:lnTo>
                    <a:lnTo>
                      <a:pt x="459" y="222"/>
                    </a:lnTo>
                    <a:lnTo>
                      <a:pt x="459" y="222"/>
                    </a:lnTo>
                    <a:lnTo>
                      <a:pt x="459" y="220"/>
                    </a:lnTo>
                    <a:lnTo>
                      <a:pt x="459" y="218"/>
                    </a:lnTo>
                    <a:lnTo>
                      <a:pt x="459" y="216"/>
                    </a:lnTo>
                    <a:lnTo>
                      <a:pt x="461" y="214"/>
                    </a:lnTo>
                    <a:lnTo>
                      <a:pt x="461" y="214"/>
                    </a:lnTo>
                    <a:lnTo>
                      <a:pt x="461" y="214"/>
                    </a:lnTo>
                    <a:lnTo>
                      <a:pt x="461" y="210"/>
                    </a:lnTo>
                    <a:lnTo>
                      <a:pt x="459" y="210"/>
                    </a:lnTo>
                    <a:lnTo>
                      <a:pt x="459" y="208"/>
                    </a:lnTo>
                    <a:lnTo>
                      <a:pt x="459" y="208"/>
                    </a:lnTo>
                    <a:lnTo>
                      <a:pt x="459" y="208"/>
                    </a:lnTo>
                    <a:lnTo>
                      <a:pt x="459" y="208"/>
                    </a:lnTo>
                    <a:lnTo>
                      <a:pt x="457" y="206"/>
                    </a:lnTo>
                    <a:lnTo>
                      <a:pt x="457" y="206"/>
                    </a:lnTo>
                    <a:lnTo>
                      <a:pt x="457" y="206"/>
                    </a:lnTo>
                    <a:lnTo>
                      <a:pt x="457" y="206"/>
                    </a:lnTo>
                    <a:lnTo>
                      <a:pt x="455" y="206"/>
                    </a:lnTo>
                    <a:lnTo>
                      <a:pt x="453" y="206"/>
                    </a:lnTo>
                    <a:lnTo>
                      <a:pt x="451" y="202"/>
                    </a:lnTo>
                    <a:lnTo>
                      <a:pt x="453" y="202"/>
                    </a:lnTo>
                    <a:lnTo>
                      <a:pt x="453" y="202"/>
                    </a:lnTo>
                    <a:lnTo>
                      <a:pt x="453" y="200"/>
                    </a:lnTo>
                    <a:lnTo>
                      <a:pt x="451" y="202"/>
                    </a:lnTo>
                    <a:lnTo>
                      <a:pt x="451" y="202"/>
                    </a:lnTo>
                    <a:lnTo>
                      <a:pt x="451" y="200"/>
                    </a:lnTo>
                    <a:lnTo>
                      <a:pt x="451" y="200"/>
                    </a:lnTo>
                    <a:lnTo>
                      <a:pt x="449" y="202"/>
                    </a:lnTo>
                    <a:lnTo>
                      <a:pt x="449" y="202"/>
                    </a:lnTo>
                    <a:lnTo>
                      <a:pt x="449" y="200"/>
                    </a:lnTo>
                    <a:lnTo>
                      <a:pt x="449" y="200"/>
                    </a:lnTo>
                    <a:lnTo>
                      <a:pt x="447" y="200"/>
                    </a:lnTo>
                    <a:lnTo>
                      <a:pt x="447" y="200"/>
                    </a:lnTo>
                    <a:lnTo>
                      <a:pt x="447" y="200"/>
                    </a:lnTo>
                    <a:lnTo>
                      <a:pt x="447" y="200"/>
                    </a:lnTo>
                    <a:lnTo>
                      <a:pt x="447" y="200"/>
                    </a:lnTo>
                    <a:lnTo>
                      <a:pt x="443" y="198"/>
                    </a:lnTo>
                    <a:lnTo>
                      <a:pt x="443" y="198"/>
                    </a:lnTo>
                    <a:lnTo>
                      <a:pt x="443" y="198"/>
                    </a:lnTo>
                    <a:lnTo>
                      <a:pt x="439" y="198"/>
                    </a:lnTo>
                    <a:lnTo>
                      <a:pt x="437" y="196"/>
                    </a:lnTo>
                    <a:lnTo>
                      <a:pt x="439" y="196"/>
                    </a:lnTo>
                    <a:lnTo>
                      <a:pt x="437" y="194"/>
                    </a:lnTo>
                    <a:lnTo>
                      <a:pt x="437" y="194"/>
                    </a:lnTo>
                    <a:lnTo>
                      <a:pt x="437" y="194"/>
                    </a:lnTo>
                    <a:lnTo>
                      <a:pt x="437" y="192"/>
                    </a:lnTo>
                    <a:lnTo>
                      <a:pt x="439" y="188"/>
                    </a:lnTo>
                    <a:lnTo>
                      <a:pt x="439" y="188"/>
                    </a:lnTo>
                    <a:lnTo>
                      <a:pt x="441" y="184"/>
                    </a:lnTo>
                    <a:lnTo>
                      <a:pt x="447" y="176"/>
                    </a:lnTo>
                    <a:lnTo>
                      <a:pt x="451" y="174"/>
                    </a:lnTo>
                    <a:lnTo>
                      <a:pt x="457" y="172"/>
                    </a:lnTo>
                    <a:lnTo>
                      <a:pt x="465" y="168"/>
                    </a:lnTo>
                    <a:lnTo>
                      <a:pt x="471" y="164"/>
                    </a:lnTo>
                    <a:lnTo>
                      <a:pt x="473" y="162"/>
                    </a:lnTo>
                    <a:lnTo>
                      <a:pt x="473" y="160"/>
                    </a:lnTo>
                    <a:lnTo>
                      <a:pt x="473" y="158"/>
                    </a:lnTo>
                    <a:lnTo>
                      <a:pt x="473" y="148"/>
                    </a:lnTo>
                    <a:lnTo>
                      <a:pt x="473" y="148"/>
                    </a:lnTo>
                    <a:lnTo>
                      <a:pt x="473" y="148"/>
                    </a:lnTo>
                    <a:lnTo>
                      <a:pt x="473" y="146"/>
                    </a:lnTo>
                    <a:lnTo>
                      <a:pt x="471" y="146"/>
                    </a:lnTo>
                    <a:lnTo>
                      <a:pt x="473" y="146"/>
                    </a:lnTo>
                    <a:lnTo>
                      <a:pt x="473" y="144"/>
                    </a:lnTo>
                    <a:lnTo>
                      <a:pt x="473" y="144"/>
                    </a:lnTo>
                    <a:lnTo>
                      <a:pt x="473" y="144"/>
                    </a:lnTo>
                    <a:lnTo>
                      <a:pt x="473" y="142"/>
                    </a:lnTo>
                    <a:lnTo>
                      <a:pt x="473" y="140"/>
                    </a:lnTo>
                    <a:lnTo>
                      <a:pt x="473" y="140"/>
                    </a:lnTo>
                    <a:lnTo>
                      <a:pt x="473" y="140"/>
                    </a:lnTo>
                    <a:lnTo>
                      <a:pt x="471" y="138"/>
                    </a:lnTo>
                    <a:lnTo>
                      <a:pt x="471" y="136"/>
                    </a:lnTo>
                    <a:lnTo>
                      <a:pt x="471" y="136"/>
                    </a:lnTo>
                    <a:lnTo>
                      <a:pt x="471" y="134"/>
                    </a:lnTo>
                    <a:lnTo>
                      <a:pt x="471" y="132"/>
                    </a:lnTo>
                    <a:lnTo>
                      <a:pt x="471" y="132"/>
                    </a:lnTo>
                    <a:lnTo>
                      <a:pt x="471" y="130"/>
                    </a:lnTo>
                    <a:lnTo>
                      <a:pt x="471" y="130"/>
                    </a:lnTo>
                    <a:lnTo>
                      <a:pt x="471" y="128"/>
                    </a:lnTo>
                    <a:lnTo>
                      <a:pt x="471" y="128"/>
                    </a:lnTo>
                    <a:lnTo>
                      <a:pt x="469" y="126"/>
                    </a:lnTo>
                    <a:lnTo>
                      <a:pt x="469" y="126"/>
                    </a:lnTo>
                    <a:lnTo>
                      <a:pt x="469" y="124"/>
                    </a:lnTo>
                    <a:lnTo>
                      <a:pt x="467" y="124"/>
                    </a:lnTo>
                    <a:lnTo>
                      <a:pt x="467" y="122"/>
                    </a:lnTo>
                    <a:lnTo>
                      <a:pt x="467" y="120"/>
                    </a:lnTo>
                    <a:lnTo>
                      <a:pt x="465" y="114"/>
                    </a:lnTo>
                    <a:lnTo>
                      <a:pt x="463" y="110"/>
                    </a:lnTo>
                    <a:lnTo>
                      <a:pt x="461" y="106"/>
                    </a:lnTo>
                    <a:lnTo>
                      <a:pt x="457" y="94"/>
                    </a:lnTo>
                    <a:lnTo>
                      <a:pt x="455" y="90"/>
                    </a:lnTo>
                    <a:lnTo>
                      <a:pt x="455" y="84"/>
                    </a:lnTo>
                    <a:lnTo>
                      <a:pt x="455" y="84"/>
                    </a:lnTo>
                    <a:lnTo>
                      <a:pt x="455" y="82"/>
                    </a:lnTo>
                    <a:lnTo>
                      <a:pt x="453" y="78"/>
                    </a:lnTo>
                    <a:lnTo>
                      <a:pt x="453" y="76"/>
                    </a:lnTo>
                    <a:lnTo>
                      <a:pt x="453" y="74"/>
                    </a:lnTo>
                    <a:lnTo>
                      <a:pt x="453" y="72"/>
                    </a:lnTo>
                    <a:lnTo>
                      <a:pt x="453" y="70"/>
                    </a:lnTo>
                    <a:lnTo>
                      <a:pt x="453" y="70"/>
                    </a:lnTo>
                    <a:lnTo>
                      <a:pt x="453" y="68"/>
                    </a:lnTo>
                    <a:lnTo>
                      <a:pt x="453" y="68"/>
                    </a:lnTo>
                    <a:lnTo>
                      <a:pt x="451" y="68"/>
                    </a:lnTo>
                    <a:lnTo>
                      <a:pt x="451" y="68"/>
                    </a:lnTo>
                    <a:lnTo>
                      <a:pt x="451" y="68"/>
                    </a:lnTo>
                    <a:lnTo>
                      <a:pt x="451" y="66"/>
                    </a:lnTo>
                    <a:lnTo>
                      <a:pt x="451" y="66"/>
                    </a:lnTo>
                    <a:lnTo>
                      <a:pt x="451" y="66"/>
                    </a:lnTo>
                    <a:lnTo>
                      <a:pt x="451" y="66"/>
                    </a:lnTo>
                    <a:lnTo>
                      <a:pt x="451" y="64"/>
                    </a:lnTo>
                    <a:lnTo>
                      <a:pt x="453" y="64"/>
                    </a:lnTo>
                    <a:lnTo>
                      <a:pt x="453" y="62"/>
                    </a:lnTo>
                    <a:lnTo>
                      <a:pt x="451" y="58"/>
                    </a:lnTo>
                    <a:lnTo>
                      <a:pt x="451" y="56"/>
                    </a:lnTo>
                    <a:lnTo>
                      <a:pt x="451" y="54"/>
                    </a:lnTo>
                    <a:lnTo>
                      <a:pt x="451" y="54"/>
                    </a:lnTo>
                    <a:lnTo>
                      <a:pt x="449" y="52"/>
                    </a:lnTo>
                    <a:lnTo>
                      <a:pt x="449" y="52"/>
                    </a:lnTo>
                    <a:lnTo>
                      <a:pt x="447" y="52"/>
                    </a:lnTo>
                    <a:lnTo>
                      <a:pt x="447" y="52"/>
                    </a:lnTo>
                    <a:lnTo>
                      <a:pt x="447" y="50"/>
                    </a:lnTo>
                    <a:lnTo>
                      <a:pt x="447" y="50"/>
                    </a:lnTo>
                    <a:lnTo>
                      <a:pt x="445" y="48"/>
                    </a:lnTo>
                    <a:lnTo>
                      <a:pt x="445" y="48"/>
                    </a:lnTo>
                    <a:lnTo>
                      <a:pt x="445" y="48"/>
                    </a:lnTo>
                    <a:lnTo>
                      <a:pt x="441" y="46"/>
                    </a:lnTo>
                    <a:lnTo>
                      <a:pt x="439" y="44"/>
                    </a:lnTo>
                    <a:lnTo>
                      <a:pt x="435" y="42"/>
                    </a:lnTo>
                    <a:lnTo>
                      <a:pt x="435" y="42"/>
                    </a:lnTo>
                    <a:lnTo>
                      <a:pt x="433" y="42"/>
                    </a:lnTo>
                    <a:lnTo>
                      <a:pt x="433" y="42"/>
                    </a:lnTo>
                    <a:lnTo>
                      <a:pt x="431" y="42"/>
                    </a:lnTo>
                    <a:lnTo>
                      <a:pt x="431" y="42"/>
                    </a:lnTo>
                    <a:lnTo>
                      <a:pt x="431" y="40"/>
                    </a:lnTo>
                    <a:lnTo>
                      <a:pt x="431" y="40"/>
                    </a:lnTo>
                    <a:lnTo>
                      <a:pt x="431" y="40"/>
                    </a:lnTo>
                    <a:lnTo>
                      <a:pt x="431" y="38"/>
                    </a:lnTo>
                    <a:lnTo>
                      <a:pt x="429" y="38"/>
                    </a:lnTo>
                    <a:lnTo>
                      <a:pt x="429" y="38"/>
                    </a:lnTo>
                    <a:lnTo>
                      <a:pt x="427" y="38"/>
                    </a:lnTo>
                    <a:lnTo>
                      <a:pt x="427" y="38"/>
                    </a:lnTo>
                    <a:lnTo>
                      <a:pt x="427" y="36"/>
                    </a:lnTo>
                    <a:lnTo>
                      <a:pt x="427" y="36"/>
                    </a:lnTo>
                    <a:lnTo>
                      <a:pt x="427" y="36"/>
                    </a:lnTo>
                    <a:lnTo>
                      <a:pt x="425" y="36"/>
                    </a:lnTo>
                    <a:lnTo>
                      <a:pt x="425" y="36"/>
                    </a:lnTo>
                    <a:lnTo>
                      <a:pt x="421" y="34"/>
                    </a:lnTo>
                    <a:lnTo>
                      <a:pt x="421" y="34"/>
                    </a:lnTo>
                    <a:lnTo>
                      <a:pt x="419" y="36"/>
                    </a:lnTo>
                    <a:lnTo>
                      <a:pt x="419" y="38"/>
                    </a:lnTo>
                    <a:lnTo>
                      <a:pt x="417" y="38"/>
                    </a:lnTo>
                    <a:lnTo>
                      <a:pt x="415" y="38"/>
                    </a:lnTo>
                    <a:lnTo>
                      <a:pt x="405" y="38"/>
                    </a:lnTo>
                    <a:lnTo>
                      <a:pt x="393" y="38"/>
                    </a:lnTo>
                    <a:lnTo>
                      <a:pt x="367" y="36"/>
                    </a:lnTo>
                    <a:lnTo>
                      <a:pt x="347" y="36"/>
                    </a:lnTo>
                    <a:lnTo>
                      <a:pt x="329" y="34"/>
                    </a:lnTo>
                    <a:lnTo>
                      <a:pt x="301" y="34"/>
                    </a:lnTo>
                    <a:lnTo>
                      <a:pt x="283" y="32"/>
                    </a:lnTo>
                    <a:lnTo>
                      <a:pt x="273" y="32"/>
                    </a:lnTo>
                    <a:lnTo>
                      <a:pt x="269" y="32"/>
                    </a:lnTo>
                    <a:lnTo>
                      <a:pt x="267" y="30"/>
                    </a:lnTo>
                    <a:lnTo>
                      <a:pt x="265" y="30"/>
                    </a:lnTo>
                    <a:lnTo>
                      <a:pt x="265" y="30"/>
                    </a:lnTo>
                    <a:lnTo>
                      <a:pt x="261" y="34"/>
                    </a:lnTo>
                    <a:lnTo>
                      <a:pt x="261" y="34"/>
                    </a:lnTo>
                    <a:lnTo>
                      <a:pt x="259" y="34"/>
                    </a:lnTo>
                    <a:lnTo>
                      <a:pt x="255" y="36"/>
                    </a:lnTo>
                    <a:lnTo>
                      <a:pt x="237" y="38"/>
                    </a:lnTo>
                    <a:lnTo>
                      <a:pt x="235" y="38"/>
                    </a:lnTo>
                    <a:lnTo>
                      <a:pt x="235" y="38"/>
                    </a:lnTo>
                    <a:lnTo>
                      <a:pt x="233" y="38"/>
                    </a:lnTo>
                    <a:lnTo>
                      <a:pt x="233" y="38"/>
                    </a:lnTo>
                    <a:lnTo>
                      <a:pt x="231" y="38"/>
                    </a:lnTo>
                    <a:lnTo>
                      <a:pt x="223" y="36"/>
                    </a:lnTo>
                    <a:lnTo>
                      <a:pt x="221" y="34"/>
                    </a:lnTo>
                    <a:lnTo>
                      <a:pt x="221" y="34"/>
                    </a:lnTo>
                    <a:lnTo>
                      <a:pt x="221" y="34"/>
                    </a:lnTo>
                    <a:lnTo>
                      <a:pt x="219" y="34"/>
                    </a:lnTo>
                    <a:lnTo>
                      <a:pt x="219" y="34"/>
                    </a:lnTo>
                    <a:lnTo>
                      <a:pt x="219" y="34"/>
                    </a:lnTo>
                    <a:lnTo>
                      <a:pt x="217" y="32"/>
                    </a:lnTo>
                    <a:lnTo>
                      <a:pt x="217" y="32"/>
                    </a:lnTo>
                    <a:lnTo>
                      <a:pt x="215" y="30"/>
                    </a:lnTo>
                    <a:lnTo>
                      <a:pt x="215" y="28"/>
                    </a:lnTo>
                    <a:lnTo>
                      <a:pt x="215" y="24"/>
                    </a:lnTo>
                    <a:lnTo>
                      <a:pt x="215" y="24"/>
                    </a:lnTo>
                    <a:lnTo>
                      <a:pt x="215" y="22"/>
                    </a:lnTo>
                    <a:lnTo>
                      <a:pt x="213" y="18"/>
                    </a:lnTo>
                    <a:lnTo>
                      <a:pt x="213" y="18"/>
                    </a:lnTo>
                    <a:lnTo>
                      <a:pt x="213" y="16"/>
                    </a:lnTo>
                    <a:lnTo>
                      <a:pt x="213" y="16"/>
                    </a:lnTo>
                    <a:lnTo>
                      <a:pt x="213" y="16"/>
                    </a:lnTo>
                    <a:lnTo>
                      <a:pt x="211" y="16"/>
                    </a:lnTo>
                    <a:lnTo>
                      <a:pt x="211" y="16"/>
                    </a:lnTo>
                    <a:lnTo>
                      <a:pt x="211" y="14"/>
                    </a:lnTo>
                    <a:lnTo>
                      <a:pt x="211" y="14"/>
                    </a:lnTo>
                    <a:lnTo>
                      <a:pt x="211" y="14"/>
                    </a:lnTo>
                    <a:lnTo>
                      <a:pt x="211" y="14"/>
                    </a:lnTo>
                    <a:lnTo>
                      <a:pt x="211" y="12"/>
                    </a:lnTo>
                    <a:lnTo>
                      <a:pt x="211" y="10"/>
                    </a:lnTo>
                    <a:lnTo>
                      <a:pt x="209" y="10"/>
                    </a:lnTo>
                    <a:lnTo>
                      <a:pt x="209" y="10"/>
                    </a:lnTo>
                    <a:lnTo>
                      <a:pt x="209" y="10"/>
                    </a:lnTo>
                    <a:lnTo>
                      <a:pt x="209" y="8"/>
                    </a:lnTo>
                    <a:lnTo>
                      <a:pt x="209" y="8"/>
                    </a:lnTo>
                    <a:lnTo>
                      <a:pt x="209" y="8"/>
                    </a:lnTo>
                    <a:lnTo>
                      <a:pt x="209" y="6"/>
                    </a:lnTo>
                    <a:lnTo>
                      <a:pt x="209" y="4"/>
                    </a:lnTo>
                    <a:lnTo>
                      <a:pt x="209" y="4"/>
                    </a:lnTo>
                    <a:lnTo>
                      <a:pt x="209" y="4"/>
                    </a:lnTo>
                    <a:lnTo>
                      <a:pt x="211" y="6"/>
                    </a:lnTo>
                    <a:lnTo>
                      <a:pt x="213" y="6"/>
                    </a:lnTo>
                    <a:lnTo>
                      <a:pt x="215" y="8"/>
                    </a:lnTo>
                    <a:lnTo>
                      <a:pt x="217" y="10"/>
                    </a:lnTo>
                    <a:lnTo>
                      <a:pt x="219" y="10"/>
                    </a:lnTo>
                    <a:lnTo>
                      <a:pt x="219" y="10"/>
                    </a:lnTo>
                    <a:lnTo>
                      <a:pt x="219" y="10"/>
                    </a:lnTo>
                    <a:lnTo>
                      <a:pt x="221" y="12"/>
                    </a:lnTo>
                    <a:lnTo>
                      <a:pt x="223" y="12"/>
                    </a:lnTo>
                    <a:lnTo>
                      <a:pt x="225" y="14"/>
                    </a:lnTo>
                    <a:lnTo>
                      <a:pt x="225" y="16"/>
                    </a:lnTo>
                    <a:lnTo>
                      <a:pt x="225" y="18"/>
                    </a:lnTo>
                    <a:lnTo>
                      <a:pt x="227" y="18"/>
                    </a:lnTo>
                    <a:lnTo>
                      <a:pt x="227" y="18"/>
                    </a:lnTo>
                    <a:lnTo>
                      <a:pt x="227" y="20"/>
                    </a:lnTo>
                    <a:lnTo>
                      <a:pt x="227" y="20"/>
                    </a:lnTo>
                    <a:lnTo>
                      <a:pt x="229" y="20"/>
                    </a:lnTo>
                    <a:lnTo>
                      <a:pt x="229" y="18"/>
                    </a:lnTo>
                    <a:lnTo>
                      <a:pt x="227" y="16"/>
                    </a:lnTo>
                    <a:lnTo>
                      <a:pt x="227" y="16"/>
                    </a:lnTo>
                    <a:lnTo>
                      <a:pt x="225" y="12"/>
                    </a:lnTo>
                    <a:lnTo>
                      <a:pt x="207" y="2"/>
                    </a:lnTo>
                    <a:lnTo>
                      <a:pt x="207" y="2"/>
                    </a:lnTo>
                    <a:lnTo>
                      <a:pt x="207" y="2"/>
                    </a:lnTo>
                    <a:lnTo>
                      <a:pt x="205" y="0"/>
                    </a:lnTo>
                    <a:lnTo>
                      <a:pt x="203" y="0"/>
                    </a:lnTo>
                    <a:lnTo>
                      <a:pt x="195" y="0"/>
                    </a:lnTo>
                    <a:lnTo>
                      <a:pt x="183" y="2"/>
                    </a:lnTo>
                    <a:lnTo>
                      <a:pt x="175" y="4"/>
                    </a:lnTo>
                    <a:lnTo>
                      <a:pt x="157" y="8"/>
                    </a:lnTo>
                    <a:lnTo>
                      <a:pt x="141" y="14"/>
                    </a:lnTo>
                    <a:lnTo>
                      <a:pt x="137" y="18"/>
                    </a:lnTo>
                    <a:lnTo>
                      <a:pt x="135" y="20"/>
                    </a:lnTo>
                    <a:lnTo>
                      <a:pt x="133" y="20"/>
                    </a:lnTo>
                    <a:lnTo>
                      <a:pt x="129" y="22"/>
                    </a:lnTo>
                    <a:lnTo>
                      <a:pt x="119" y="22"/>
                    </a:lnTo>
                    <a:lnTo>
                      <a:pt x="115" y="24"/>
                    </a:lnTo>
                    <a:lnTo>
                      <a:pt x="115" y="26"/>
                    </a:lnTo>
                    <a:lnTo>
                      <a:pt x="113" y="28"/>
                    </a:lnTo>
                    <a:lnTo>
                      <a:pt x="115" y="28"/>
                    </a:lnTo>
                    <a:lnTo>
                      <a:pt x="115" y="26"/>
                    </a:lnTo>
                    <a:lnTo>
                      <a:pt x="115" y="28"/>
                    </a:lnTo>
                    <a:lnTo>
                      <a:pt x="115" y="28"/>
                    </a:lnTo>
                    <a:lnTo>
                      <a:pt x="113" y="28"/>
                    </a:lnTo>
                    <a:lnTo>
                      <a:pt x="113" y="30"/>
                    </a:lnTo>
                    <a:lnTo>
                      <a:pt x="113" y="28"/>
                    </a:lnTo>
                    <a:lnTo>
                      <a:pt x="113" y="28"/>
                    </a:lnTo>
                    <a:lnTo>
                      <a:pt x="113" y="28"/>
                    </a:lnTo>
                    <a:lnTo>
                      <a:pt x="107" y="34"/>
                    </a:lnTo>
                    <a:lnTo>
                      <a:pt x="105" y="38"/>
                    </a:lnTo>
                    <a:lnTo>
                      <a:pt x="105" y="38"/>
                    </a:lnTo>
                    <a:lnTo>
                      <a:pt x="107" y="36"/>
                    </a:lnTo>
                    <a:lnTo>
                      <a:pt x="107" y="36"/>
                    </a:lnTo>
                    <a:lnTo>
                      <a:pt x="109" y="38"/>
                    </a:lnTo>
                    <a:lnTo>
                      <a:pt x="107" y="38"/>
                    </a:lnTo>
                    <a:lnTo>
                      <a:pt x="105" y="40"/>
                    </a:lnTo>
                    <a:lnTo>
                      <a:pt x="105" y="40"/>
                    </a:lnTo>
                    <a:lnTo>
                      <a:pt x="105" y="40"/>
                    </a:lnTo>
                    <a:lnTo>
                      <a:pt x="103" y="40"/>
                    </a:lnTo>
                    <a:lnTo>
                      <a:pt x="103" y="40"/>
                    </a:lnTo>
                    <a:lnTo>
                      <a:pt x="103" y="40"/>
                    </a:lnTo>
                    <a:lnTo>
                      <a:pt x="105" y="38"/>
                    </a:lnTo>
                    <a:lnTo>
                      <a:pt x="105" y="38"/>
                    </a:lnTo>
                    <a:lnTo>
                      <a:pt x="101" y="42"/>
                    </a:lnTo>
                    <a:lnTo>
                      <a:pt x="101" y="42"/>
                    </a:lnTo>
                    <a:lnTo>
                      <a:pt x="99" y="44"/>
                    </a:lnTo>
                    <a:lnTo>
                      <a:pt x="101" y="42"/>
                    </a:lnTo>
                    <a:lnTo>
                      <a:pt x="103" y="42"/>
                    </a:lnTo>
                    <a:lnTo>
                      <a:pt x="101" y="44"/>
                    </a:lnTo>
                    <a:lnTo>
                      <a:pt x="103" y="44"/>
                    </a:lnTo>
                    <a:lnTo>
                      <a:pt x="103" y="44"/>
                    </a:lnTo>
                    <a:lnTo>
                      <a:pt x="101" y="44"/>
                    </a:lnTo>
                    <a:lnTo>
                      <a:pt x="101" y="44"/>
                    </a:lnTo>
                    <a:lnTo>
                      <a:pt x="101" y="44"/>
                    </a:lnTo>
                    <a:lnTo>
                      <a:pt x="101" y="46"/>
                    </a:lnTo>
                    <a:lnTo>
                      <a:pt x="97" y="46"/>
                    </a:lnTo>
                    <a:lnTo>
                      <a:pt x="95" y="46"/>
                    </a:lnTo>
                    <a:lnTo>
                      <a:pt x="97" y="44"/>
                    </a:lnTo>
                    <a:lnTo>
                      <a:pt x="99" y="44"/>
                    </a:lnTo>
                    <a:lnTo>
                      <a:pt x="93" y="46"/>
                    </a:lnTo>
                    <a:lnTo>
                      <a:pt x="85" y="46"/>
                    </a:lnTo>
                    <a:lnTo>
                      <a:pt x="75" y="50"/>
                    </a:lnTo>
                    <a:lnTo>
                      <a:pt x="67" y="52"/>
                    </a:lnTo>
                    <a:lnTo>
                      <a:pt x="57" y="54"/>
                    </a:lnTo>
                    <a:lnTo>
                      <a:pt x="45" y="60"/>
                    </a:lnTo>
                    <a:lnTo>
                      <a:pt x="33" y="62"/>
                    </a:lnTo>
                    <a:lnTo>
                      <a:pt x="20" y="68"/>
                    </a:lnTo>
                    <a:lnTo>
                      <a:pt x="16" y="70"/>
                    </a:lnTo>
                    <a:lnTo>
                      <a:pt x="14" y="72"/>
                    </a:lnTo>
                    <a:lnTo>
                      <a:pt x="12" y="72"/>
                    </a:lnTo>
                    <a:lnTo>
                      <a:pt x="8" y="72"/>
                    </a:lnTo>
                    <a:lnTo>
                      <a:pt x="6" y="70"/>
                    </a:lnTo>
                    <a:lnTo>
                      <a:pt x="6" y="70"/>
                    </a:lnTo>
                    <a:lnTo>
                      <a:pt x="4" y="70"/>
                    </a:lnTo>
                    <a:lnTo>
                      <a:pt x="4" y="72"/>
                    </a:lnTo>
                    <a:lnTo>
                      <a:pt x="4" y="72"/>
                    </a:lnTo>
                    <a:lnTo>
                      <a:pt x="2" y="72"/>
                    </a:lnTo>
                    <a:lnTo>
                      <a:pt x="4" y="74"/>
                    </a:lnTo>
                    <a:lnTo>
                      <a:pt x="4" y="74"/>
                    </a:lnTo>
                    <a:lnTo>
                      <a:pt x="6" y="76"/>
                    </a:lnTo>
                    <a:lnTo>
                      <a:pt x="8" y="78"/>
                    </a:lnTo>
                    <a:lnTo>
                      <a:pt x="8" y="78"/>
                    </a:lnTo>
                    <a:lnTo>
                      <a:pt x="10" y="78"/>
                    </a:lnTo>
                    <a:lnTo>
                      <a:pt x="10" y="78"/>
                    </a:lnTo>
                    <a:lnTo>
                      <a:pt x="10" y="78"/>
                    </a:lnTo>
                    <a:lnTo>
                      <a:pt x="10" y="78"/>
                    </a:lnTo>
                    <a:lnTo>
                      <a:pt x="10" y="78"/>
                    </a:lnTo>
                    <a:lnTo>
                      <a:pt x="10" y="78"/>
                    </a:lnTo>
                    <a:lnTo>
                      <a:pt x="10" y="78"/>
                    </a:lnTo>
                    <a:lnTo>
                      <a:pt x="10" y="78"/>
                    </a:lnTo>
                    <a:lnTo>
                      <a:pt x="12" y="78"/>
                    </a:lnTo>
                    <a:lnTo>
                      <a:pt x="14" y="78"/>
                    </a:lnTo>
                    <a:lnTo>
                      <a:pt x="14" y="78"/>
                    </a:lnTo>
                    <a:lnTo>
                      <a:pt x="14" y="78"/>
                    </a:lnTo>
                    <a:lnTo>
                      <a:pt x="14" y="76"/>
                    </a:lnTo>
                    <a:lnTo>
                      <a:pt x="14" y="76"/>
                    </a:lnTo>
                    <a:lnTo>
                      <a:pt x="14" y="76"/>
                    </a:lnTo>
                    <a:lnTo>
                      <a:pt x="14" y="74"/>
                    </a:lnTo>
                    <a:lnTo>
                      <a:pt x="12" y="74"/>
                    </a:lnTo>
                    <a:lnTo>
                      <a:pt x="12" y="74"/>
                    </a:lnTo>
                    <a:lnTo>
                      <a:pt x="12" y="74"/>
                    </a:lnTo>
                    <a:lnTo>
                      <a:pt x="14" y="74"/>
                    </a:lnTo>
                    <a:lnTo>
                      <a:pt x="14" y="72"/>
                    </a:lnTo>
                    <a:lnTo>
                      <a:pt x="14" y="74"/>
                    </a:lnTo>
                    <a:lnTo>
                      <a:pt x="14" y="74"/>
                    </a:lnTo>
                    <a:lnTo>
                      <a:pt x="14" y="74"/>
                    </a:lnTo>
                    <a:lnTo>
                      <a:pt x="16" y="72"/>
                    </a:lnTo>
                    <a:lnTo>
                      <a:pt x="16" y="72"/>
                    </a:lnTo>
                    <a:lnTo>
                      <a:pt x="16" y="72"/>
                    </a:lnTo>
                    <a:lnTo>
                      <a:pt x="14" y="74"/>
                    </a:lnTo>
                    <a:lnTo>
                      <a:pt x="16" y="76"/>
                    </a:lnTo>
                    <a:lnTo>
                      <a:pt x="23" y="76"/>
                    </a:lnTo>
                    <a:lnTo>
                      <a:pt x="23" y="76"/>
                    </a:lnTo>
                    <a:lnTo>
                      <a:pt x="25" y="78"/>
                    </a:lnTo>
                    <a:lnTo>
                      <a:pt x="23" y="78"/>
                    </a:lnTo>
                    <a:lnTo>
                      <a:pt x="23" y="78"/>
                    </a:lnTo>
                    <a:lnTo>
                      <a:pt x="23" y="78"/>
                    </a:lnTo>
                    <a:lnTo>
                      <a:pt x="23" y="78"/>
                    </a:lnTo>
                    <a:lnTo>
                      <a:pt x="23" y="80"/>
                    </a:lnTo>
                    <a:lnTo>
                      <a:pt x="23" y="80"/>
                    </a:lnTo>
                    <a:lnTo>
                      <a:pt x="25" y="80"/>
                    </a:lnTo>
                    <a:lnTo>
                      <a:pt x="25" y="78"/>
                    </a:lnTo>
                    <a:lnTo>
                      <a:pt x="25" y="78"/>
                    </a:lnTo>
                    <a:lnTo>
                      <a:pt x="25" y="78"/>
                    </a:lnTo>
                    <a:lnTo>
                      <a:pt x="25" y="76"/>
                    </a:lnTo>
                    <a:lnTo>
                      <a:pt x="25" y="76"/>
                    </a:lnTo>
                    <a:lnTo>
                      <a:pt x="25" y="78"/>
                    </a:lnTo>
                    <a:lnTo>
                      <a:pt x="25" y="80"/>
                    </a:lnTo>
                    <a:lnTo>
                      <a:pt x="25" y="80"/>
                    </a:lnTo>
                    <a:lnTo>
                      <a:pt x="25" y="82"/>
                    </a:lnTo>
                    <a:lnTo>
                      <a:pt x="25" y="82"/>
                    </a:lnTo>
                    <a:lnTo>
                      <a:pt x="25" y="82"/>
                    </a:lnTo>
                    <a:lnTo>
                      <a:pt x="23" y="84"/>
                    </a:lnTo>
                    <a:lnTo>
                      <a:pt x="23" y="82"/>
                    </a:lnTo>
                    <a:lnTo>
                      <a:pt x="20" y="86"/>
                    </a:lnTo>
                    <a:lnTo>
                      <a:pt x="20" y="88"/>
                    </a:lnTo>
                    <a:lnTo>
                      <a:pt x="23" y="90"/>
                    </a:lnTo>
                    <a:lnTo>
                      <a:pt x="23" y="92"/>
                    </a:lnTo>
                    <a:lnTo>
                      <a:pt x="25" y="92"/>
                    </a:lnTo>
                    <a:lnTo>
                      <a:pt x="25" y="92"/>
                    </a:lnTo>
                    <a:lnTo>
                      <a:pt x="25" y="92"/>
                    </a:lnTo>
                    <a:lnTo>
                      <a:pt x="25" y="92"/>
                    </a:lnTo>
                    <a:lnTo>
                      <a:pt x="25" y="92"/>
                    </a:lnTo>
                    <a:lnTo>
                      <a:pt x="25" y="94"/>
                    </a:lnTo>
                    <a:lnTo>
                      <a:pt x="25" y="94"/>
                    </a:lnTo>
                    <a:lnTo>
                      <a:pt x="25" y="94"/>
                    </a:lnTo>
                    <a:lnTo>
                      <a:pt x="25" y="96"/>
                    </a:lnTo>
                    <a:lnTo>
                      <a:pt x="25" y="96"/>
                    </a:lnTo>
                    <a:lnTo>
                      <a:pt x="23" y="96"/>
                    </a:lnTo>
                    <a:lnTo>
                      <a:pt x="20" y="92"/>
                    </a:lnTo>
                    <a:lnTo>
                      <a:pt x="20" y="92"/>
                    </a:lnTo>
                    <a:lnTo>
                      <a:pt x="20" y="90"/>
                    </a:lnTo>
                    <a:lnTo>
                      <a:pt x="16" y="90"/>
                    </a:lnTo>
                    <a:lnTo>
                      <a:pt x="14" y="90"/>
                    </a:lnTo>
                    <a:lnTo>
                      <a:pt x="14" y="88"/>
                    </a:lnTo>
                    <a:lnTo>
                      <a:pt x="14" y="88"/>
                    </a:lnTo>
                    <a:lnTo>
                      <a:pt x="12" y="88"/>
                    </a:lnTo>
                    <a:lnTo>
                      <a:pt x="10" y="86"/>
                    </a:lnTo>
                    <a:lnTo>
                      <a:pt x="10" y="86"/>
                    </a:lnTo>
                    <a:lnTo>
                      <a:pt x="10" y="84"/>
                    </a:lnTo>
                    <a:lnTo>
                      <a:pt x="10" y="84"/>
                    </a:lnTo>
                    <a:lnTo>
                      <a:pt x="8" y="84"/>
                    </a:lnTo>
                    <a:lnTo>
                      <a:pt x="8" y="84"/>
                    </a:lnTo>
                    <a:lnTo>
                      <a:pt x="8" y="86"/>
                    </a:lnTo>
                    <a:lnTo>
                      <a:pt x="10" y="86"/>
                    </a:lnTo>
                    <a:lnTo>
                      <a:pt x="8" y="86"/>
                    </a:lnTo>
                    <a:lnTo>
                      <a:pt x="8" y="86"/>
                    </a:lnTo>
                    <a:lnTo>
                      <a:pt x="10" y="86"/>
                    </a:lnTo>
                    <a:lnTo>
                      <a:pt x="10" y="86"/>
                    </a:lnTo>
                    <a:lnTo>
                      <a:pt x="8" y="88"/>
                    </a:lnTo>
                    <a:lnTo>
                      <a:pt x="8" y="88"/>
                    </a:lnTo>
                    <a:lnTo>
                      <a:pt x="8" y="88"/>
                    </a:lnTo>
                    <a:lnTo>
                      <a:pt x="8" y="90"/>
                    </a:lnTo>
                    <a:lnTo>
                      <a:pt x="6" y="92"/>
                    </a:lnTo>
                    <a:lnTo>
                      <a:pt x="8" y="92"/>
                    </a:lnTo>
                    <a:lnTo>
                      <a:pt x="8" y="96"/>
                    </a:lnTo>
                    <a:lnTo>
                      <a:pt x="8" y="96"/>
                    </a:lnTo>
                    <a:lnTo>
                      <a:pt x="8" y="100"/>
                    </a:lnTo>
                    <a:lnTo>
                      <a:pt x="8" y="100"/>
                    </a:lnTo>
                    <a:lnTo>
                      <a:pt x="10" y="102"/>
                    </a:lnTo>
                    <a:lnTo>
                      <a:pt x="10" y="104"/>
                    </a:lnTo>
                    <a:lnTo>
                      <a:pt x="10" y="106"/>
                    </a:lnTo>
                    <a:lnTo>
                      <a:pt x="12" y="108"/>
                    </a:lnTo>
                    <a:lnTo>
                      <a:pt x="12" y="112"/>
                    </a:lnTo>
                    <a:lnTo>
                      <a:pt x="14" y="116"/>
                    </a:lnTo>
                    <a:lnTo>
                      <a:pt x="14" y="116"/>
                    </a:lnTo>
                    <a:lnTo>
                      <a:pt x="14" y="118"/>
                    </a:lnTo>
                    <a:lnTo>
                      <a:pt x="14" y="118"/>
                    </a:lnTo>
                    <a:lnTo>
                      <a:pt x="14" y="120"/>
                    </a:lnTo>
                    <a:lnTo>
                      <a:pt x="14" y="120"/>
                    </a:lnTo>
                    <a:lnTo>
                      <a:pt x="14" y="120"/>
                    </a:lnTo>
                    <a:lnTo>
                      <a:pt x="16" y="122"/>
                    </a:lnTo>
                    <a:lnTo>
                      <a:pt x="16" y="122"/>
                    </a:lnTo>
                    <a:lnTo>
                      <a:pt x="14" y="124"/>
                    </a:lnTo>
                    <a:lnTo>
                      <a:pt x="14" y="124"/>
                    </a:lnTo>
                    <a:lnTo>
                      <a:pt x="14" y="124"/>
                    </a:lnTo>
                    <a:lnTo>
                      <a:pt x="14" y="126"/>
                    </a:lnTo>
                    <a:lnTo>
                      <a:pt x="12" y="126"/>
                    </a:lnTo>
                    <a:lnTo>
                      <a:pt x="12" y="128"/>
                    </a:lnTo>
                    <a:lnTo>
                      <a:pt x="14" y="128"/>
                    </a:lnTo>
                    <a:lnTo>
                      <a:pt x="14" y="130"/>
                    </a:lnTo>
                    <a:lnTo>
                      <a:pt x="14" y="130"/>
                    </a:lnTo>
                    <a:lnTo>
                      <a:pt x="12" y="134"/>
                    </a:lnTo>
                    <a:lnTo>
                      <a:pt x="12" y="136"/>
                    </a:lnTo>
                    <a:lnTo>
                      <a:pt x="10" y="136"/>
                    </a:lnTo>
                    <a:lnTo>
                      <a:pt x="10" y="138"/>
                    </a:lnTo>
                    <a:lnTo>
                      <a:pt x="6" y="140"/>
                    </a:lnTo>
                    <a:lnTo>
                      <a:pt x="4" y="142"/>
                    </a:lnTo>
                    <a:lnTo>
                      <a:pt x="2" y="144"/>
                    </a:lnTo>
                    <a:lnTo>
                      <a:pt x="2" y="144"/>
                    </a:lnTo>
                    <a:lnTo>
                      <a:pt x="2" y="144"/>
                    </a:lnTo>
                    <a:lnTo>
                      <a:pt x="2" y="148"/>
                    </a:lnTo>
                    <a:lnTo>
                      <a:pt x="2" y="148"/>
                    </a:lnTo>
                    <a:lnTo>
                      <a:pt x="2" y="150"/>
                    </a:lnTo>
                    <a:lnTo>
                      <a:pt x="2" y="150"/>
                    </a:lnTo>
                    <a:lnTo>
                      <a:pt x="0" y="152"/>
                    </a:lnTo>
                    <a:lnTo>
                      <a:pt x="2" y="152"/>
                    </a:lnTo>
                    <a:lnTo>
                      <a:pt x="2" y="154"/>
                    </a:lnTo>
                    <a:lnTo>
                      <a:pt x="2" y="154"/>
                    </a:lnTo>
                    <a:lnTo>
                      <a:pt x="4" y="154"/>
                    </a:lnTo>
                    <a:lnTo>
                      <a:pt x="4" y="154"/>
                    </a:lnTo>
                    <a:lnTo>
                      <a:pt x="6" y="156"/>
                    </a:lnTo>
                    <a:lnTo>
                      <a:pt x="8" y="156"/>
                    </a:lnTo>
                    <a:lnTo>
                      <a:pt x="14" y="160"/>
                    </a:lnTo>
                    <a:lnTo>
                      <a:pt x="14" y="160"/>
                    </a:lnTo>
                    <a:lnTo>
                      <a:pt x="16" y="164"/>
                    </a:lnTo>
                    <a:lnTo>
                      <a:pt x="16" y="164"/>
                    </a:lnTo>
                    <a:lnTo>
                      <a:pt x="16" y="164"/>
                    </a:lnTo>
                    <a:lnTo>
                      <a:pt x="18" y="166"/>
                    </a:lnTo>
                    <a:lnTo>
                      <a:pt x="20" y="168"/>
                    </a:lnTo>
                    <a:lnTo>
                      <a:pt x="25" y="170"/>
                    </a:lnTo>
                    <a:lnTo>
                      <a:pt x="25" y="170"/>
                    </a:lnTo>
                    <a:lnTo>
                      <a:pt x="27" y="172"/>
                    </a:lnTo>
                    <a:lnTo>
                      <a:pt x="25" y="174"/>
                    </a:lnTo>
                    <a:lnTo>
                      <a:pt x="25" y="176"/>
                    </a:lnTo>
                    <a:lnTo>
                      <a:pt x="25" y="176"/>
                    </a:lnTo>
                    <a:lnTo>
                      <a:pt x="25" y="178"/>
                    </a:lnTo>
                    <a:lnTo>
                      <a:pt x="25" y="180"/>
                    </a:lnTo>
                    <a:lnTo>
                      <a:pt x="25" y="182"/>
                    </a:lnTo>
                    <a:lnTo>
                      <a:pt x="20" y="184"/>
                    </a:lnTo>
                    <a:lnTo>
                      <a:pt x="20" y="186"/>
                    </a:lnTo>
                    <a:lnTo>
                      <a:pt x="23" y="190"/>
                    </a:lnTo>
                    <a:lnTo>
                      <a:pt x="25" y="192"/>
                    </a:lnTo>
                    <a:lnTo>
                      <a:pt x="23" y="192"/>
                    </a:lnTo>
                    <a:lnTo>
                      <a:pt x="25" y="194"/>
                    </a:lnTo>
                    <a:lnTo>
                      <a:pt x="27" y="194"/>
                    </a:lnTo>
                    <a:lnTo>
                      <a:pt x="27" y="194"/>
                    </a:lnTo>
                    <a:lnTo>
                      <a:pt x="29" y="196"/>
                    </a:lnTo>
                    <a:lnTo>
                      <a:pt x="29" y="196"/>
                    </a:lnTo>
                    <a:lnTo>
                      <a:pt x="29" y="198"/>
                    </a:lnTo>
                    <a:lnTo>
                      <a:pt x="29" y="200"/>
                    </a:lnTo>
                    <a:lnTo>
                      <a:pt x="29" y="200"/>
                    </a:lnTo>
                    <a:lnTo>
                      <a:pt x="29" y="200"/>
                    </a:lnTo>
                    <a:lnTo>
                      <a:pt x="29" y="202"/>
                    </a:lnTo>
                    <a:lnTo>
                      <a:pt x="29" y="204"/>
                    </a:lnTo>
                    <a:lnTo>
                      <a:pt x="29" y="206"/>
                    </a:lnTo>
                    <a:lnTo>
                      <a:pt x="29" y="206"/>
                    </a:lnTo>
                    <a:lnTo>
                      <a:pt x="33" y="208"/>
                    </a:lnTo>
                    <a:lnTo>
                      <a:pt x="31" y="210"/>
                    </a:lnTo>
                    <a:lnTo>
                      <a:pt x="31" y="210"/>
                    </a:lnTo>
                    <a:lnTo>
                      <a:pt x="31" y="210"/>
                    </a:lnTo>
                    <a:lnTo>
                      <a:pt x="31" y="212"/>
                    </a:lnTo>
                    <a:lnTo>
                      <a:pt x="31" y="212"/>
                    </a:lnTo>
                    <a:lnTo>
                      <a:pt x="29" y="214"/>
                    </a:lnTo>
                    <a:lnTo>
                      <a:pt x="29" y="214"/>
                    </a:lnTo>
                    <a:lnTo>
                      <a:pt x="29" y="218"/>
                    </a:lnTo>
                    <a:lnTo>
                      <a:pt x="29" y="220"/>
                    </a:lnTo>
                    <a:lnTo>
                      <a:pt x="27" y="222"/>
                    </a:lnTo>
                    <a:lnTo>
                      <a:pt x="27" y="222"/>
                    </a:lnTo>
                    <a:lnTo>
                      <a:pt x="25" y="226"/>
                    </a:lnTo>
                    <a:lnTo>
                      <a:pt x="23" y="226"/>
                    </a:lnTo>
                    <a:lnTo>
                      <a:pt x="23" y="228"/>
                    </a:lnTo>
                    <a:lnTo>
                      <a:pt x="25" y="230"/>
                    </a:lnTo>
                    <a:lnTo>
                      <a:pt x="25" y="230"/>
                    </a:lnTo>
                    <a:lnTo>
                      <a:pt x="25" y="230"/>
                    </a:lnTo>
                    <a:lnTo>
                      <a:pt x="27" y="232"/>
                    </a:lnTo>
                    <a:lnTo>
                      <a:pt x="27" y="234"/>
                    </a:lnTo>
                    <a:lnTo>
                      <a:pt x="27" y="236"/>
                    </a:lnTo>
                    <a:lnTo>
                      <a:pt x="31" y="238"/>
                    </a:lnTo>
                    <a:lnTo>
                      <a:pt x="31" y="238"/>
                    </a:lnTo>
                    <a:lnTo>
                      <a:pt x="31" y="240"/>
                    </a:lnTo>
                    <a:lnTo>
                      <a:pt x="31" y="242"/>
                    </a:lnTo>
                    <a:lnTo>
                      <a:pt x="31" y="244"/>
                    </a:lnTo>
                    <a:lnTo>
                      <a:pt x="29" y="246"/>
                    </a:lnTo>
                    <a:lnTo>
                      <a:pt x="29" y="246"/>
                    </a:lnTo>
                    <a:lnTo>
                      <a:pt x="29" y="248"/>
                    </a:lnTo>
                    <a:lnTo>
                      <a:pt x="29" y="248"/>
                    </a:lnTo>
                    <a:lnTo>
                      <a:pt x="31" y="248"/>
                    </a:lnTo>
                    <a:lnTo>
                      <a:pt x="33" y="250"/>
                    </a:lnTo>
                    <a:lnTo>
                      <a:pt x="35" y="250"/>
                    </a:lnTo>
                    <a:lnTo>
                      <a:pt x="37" y="252"/>
                    </a:lnTo>
                    <a:lnTo>
                      <a:pt x="39" y="252"/>
                    </a:lnTo>
                    <a:lnTo>
                      <a:pt x="39" y="252"/>
                    </a:lnTo>
                    <a:lnTo>
                      <a:pt x="41" y="252"/>
                    </a:lnTo>
                    <a:lnTo>
                      <a:pt x="41" y="254"/>
                    </a:lnTo>
                    <a:lnTo>
                      <a:pt x="41" y="254"/>
                    </a:lnTo>
                    <a:lnTo>
                      <a:pt x="41" y="256"/>
                    </a:lnTo>
                    <a:lnTo>
                      <a:pt x="41" y="258"/>
                    </a:lnTo>
                    <a:lnTo>
                      <a:pt x="41" y="260"/>
                    </a:lnTo>
                    <a:lnTo>
                      <a:pt x="41" y="262"/>
                    </a:lnTo>
                    <a:lnTo>
                      <a:pt x="41" y="262"/>
                    </a:lnTo>
                    <a:lnTo>
                      <a:pt x="43" y="264"/>
                    </a:lnTo>
                    <a:lnTo>
                      <a:pt x="43" y="264"/>
                    </a:lnTo>
                    <a:lnTo>
                      <a:pt x="45" y="266"/>
                    </a:lnTo>
                    <a:lnTo>
                      <a:pt x="45" y="268"/>
                    </a:lnTo>
                    <a:lnTo>
                      <a:pt x="45" y="268"/>
                    </a:lnTo>
                    <a:lnTo>
                      <a:pt x="45" y="268"/>
                    </a:lnTo>
                    <a:lnTo>
                      <a:pt x="43" y="270"/>
                    </a:lnTo>
                    <a:lnTo>
                      <a:pt x="43" y="272"/>
                    </a:lnTo>
                    <a:lnTo>
                      <a:pt x="43" y="274"/>
                    </a:lnTo>
                    <a:lnTo>
                      <a:pt x="43" y="276"/>
                    </a:lnTo>
                    <a:lnTo>
                      <a:pt x="43" y="278"/>
                    </a:lnTo>
                    <a:lnTo>
                      <a:pt x="43" y="278"/>
                    </a:lnTo>
                    <a:lnTo>
                      <a:pt x="41" y="278"/>
                    </a:lnTo>
                    <a:lnTo>
                      <a:pt x="41" y="278"/>
                    </a:lnTo>
                    <a:lnTo>
                      <a:pt x="41" y="280"/>
                    </a:lnTo>
                    <a:lnTo>
                      <a:pt x="41" y="280"/>
                    </a:lnTo>
                    <a:lnTo>
                      <a:pt x="41" y="282"/>
                    </a:lnTo>
                    <a:lnTo>
                      <a:pt x="39" y="286"/>
                    </a:lnTo>
                    <a:lnTo>
                      <a:pt x="37" y="292"/>
                    </a:lnTo>
                    <a:lnTo>
                      <a:pt x="35" y="294"/>
                    </a:lnTo>
                    <a:lnTo>
                      <a:pt x="35" y="294"/>
                    </a:lnTo>
                    <a:lnTo>
                      <a:pt x="35" y="296"/>
                    </a:lnTo>
                    <a:lnTo>
                      <a:pt x="35" y="296"/>
                    </a:lnTo>
                    <a:lnTo>
                      <a:pt x="37" y="296"/>
                    </a:lnTo>
                    <a:lnTo>
                      <a:pt x="43" y="296"/>
                    </a:lnTo>
                    <a:lnTo>
                      <a:pt x="43" y="296"/>
                    </a:lnTo>
                    <a:lnTo>
                      <a:pt x="43" y="292"/>
                    </a:lnTo>
                    <a:lnTo>
                      <a:pt x="43" y="292"/>
                    </a:lnTo>
                    <a:lnTo>
                      <a:pt x="43" y="292"/>
                    </a:lnTo>
                    <a:lnTo>
                      <a:pt x="43" y="292"/>
                    </a:lnTo>
                    <a:lnTo>
                      <a:pt x="43" y="292"/>
                    </a:lnTo>
                    <a:lnTo>
                      <a:pt x="43" y="290"/>
                    </a:lnTo>
                    <a:lnTo>
                      <a:pt x="43" y="288"/>
                    </a:lnTo>
                    <a:lnTo>
                      <a:pt x="43" y="288"/>
                    </a:lnTo>
                    <a:lnTo>
                      <a:pt x="41" y="286"/>
                    </a:lnTo>
                    <a:lnTo>
                      <a:pt x="41" y="286"/>
                    </a:lnTo>
                    <a:lnTo>
                      <a:pt x="41" y="286"/>
                    </a:lnTo>
                    <a:lnTo>
                      <a:pt x="43" y="286"/>
                    </a:lnTo>
                    <a:lnTo>
                      <a:pt x="43" y="286"/>
                    </a:lnTo>
                    <a:lnTo>
                      <a:pt x="43" y="286"/>
                    </a:lnTo>
                    <a:lnTo>
                      <a:pt x="43" y="286"/>
                    </a:lnTo>
                    <a:lnTo>
                      <a:pt x="43" y="284"/>
                    </a:lnTo>
                    <a:lnTo>
                      <a:pt x="43" y="284"/>
                    </a:lnTo>
                    <a:lnTo>
                      <a:pt x="45" y="286"/>
                    </a:lnTo>
                    <a:lnTo>
                      <a:pt x="47" y="286"/>
                    </a:lnTo>
                    <a:lnTo>
                      <a:pt x="47" y="286"/>
                    </a:lnTo>
                    <a:lnTo>
                      <a:pt x="47" y="286"/>
                    </a:lnTo>
                    <a:lnTo>
                      <a:pt x="49" y="288"/>
                    </a:lnTo>
                    <a:lnTo>
                      <a:pt x="49" y="286"/>
                    </a:lnTo>
                    <a:lnTo>
                      <a:pt x="49" y="286"/>
                    </a:lnTo>
                    <a:lnTo>
                      <a:pt x="49" y="286"/>
                    </a:lnTo>
                    <a:lnTo>
                      <a:pt x="51" y="284"/>
                    </a:lnTo>
                    <a:lnTo>
                      <a:pt x="51" y="286"/>
                    </a:lnTo>
                    <a:lnTo>
                      <a:pt x="51" y="286"/>
                    </a:lnTo>
                    <a:lnTo>
                      <a:pt x="51" y="288"/>
                    </a:lnTo>
                    <a:lnTo>
                      <a:pt x="55" y="288"/>
                    </a:lnTo>
                    <a:lnTo>
                      <a:pt x="55" y="288"/>
                    </a:lnTo>
                    <a:lnTo>
                      <a:pt x="57" y="290"/>
                    </a:lnTo>
                    <a:lnTo>
                      <a:pt x="57" y="290"/>
                    </a:lnTo>
                    <a:lnTo>
                      <a:pt x="57" y="290"/>
                    </a:lnTo>
                    <a:lnTo>
                      <a:pt x="55" y="292"/>
                    </a:lnTo>
                    <a:lnTo>
                      <a:pt x="55" y="292"/>
                    </a:lnTo>
                    <a:lnTo>
                      <a:pt x="57" y="294"/>
                    </a:lnTo>
                    <a:lnTo>
                      <a:pt x="57" y="296"/>
                    </a:lnTo>
                    <a:lnTo>
                      <a:pt x="57" y="296"/>
                    </a:lnTo>
                    <a:lnTo>
                      <a:pt x="59" y="296"/>
                    </a:lnTo>
                    <a:lnTo>
                      <a:pt x="59" y="298"/>
                    </a:lnTo>
                    <a:lnTo>
                      <a:pt x="61" y="298"/>
                    </a:lnTo>
                    <a:lnTo>
                      <a:pt x="61" y="300"/>
                    </a:lnTo>
                    <a:lnTo>
                      <a:pt x="61" y="300"/>
                    </a:lnTo>
                    <a:lnTo>
                      <a:pt x="61" y="300"/>
                    </a:lnTo>
                    <a:lnTo>
                      <a:pt x="61" y="302"/>
                    </a:lnTo>
                    <a:lnTo>
                      <a:pt x="61" y="302"/>
                    </a:lnTo>
                    <a:lnTo>
                      <a:pt x="61" y="302"/>
                    </a:lnTo>
                    <a:lnTo>
                      <a:pt x="61" y="302"/>
                    </a:lnTo>
                    <a:lnTo>
                      <a:pt x="63" y="300"/>
                    </a:lnTo>
                    <a:lnTo>
                      <a:pt x="63" y="300"/>
                    </a:lnTo>
                    <a:lnTo>
                      <a:pt x="65" y="300"/>
                    </a:lnTo>
                    <a:lnTo>
                      <a:pt x="75" y="304"/>
                    </a:lnTo>
                    <a:lnTo>
                      <a:pt x="75" y="304"/>
                    </a:lnTo>
                    <a:lnTo>
                      <a:pt x="75" y="304"/>
                    </a:lnTo>
                    <a:lnTo>
                      <a:pt x="77" y="304"/>
                    </a:lnTo>
                    <a:lnTo>
                      <a:pt x="77" y="304"/>
                    </a:lnTo>
                    <a:lnTo>
                      <a:pt x="81" y="304"/>
                    </a:lnTo>
                    <a:lnTo>
                      <a:pt x="81" y="304"/>
                    </a:lnTo>
                    <a:lnTo>
                      <a:pt x="81" y="304"/>
                    </a:lnTo>
                    <a:lnTo>
                      <a:pt x="81" y="306"/>
                    </a:lnTo>
                    <a:lnTo>
                      <a:pt x="85" y="308"/>
                    </a:lnTo>
                    <a:lnTo>
                      <a:pt x="85" y="310"/>
                    </a:lnTo>
                    <a:lnTo>
                      <a:pt x="87" y="310"/>
                    </a:lnTo>
                    <a:lnTo>
                      <a:pt x="89" y="308"/>
                    </a:lnTo>
                    <a:lnTo>
                      <a:pt x="89" y="308"/>
                    </a:lnTo>
                    <a:lnTo>
                      <a:pt x="91" y="308"/>
                    </a:lnTo>
                    <a:lnTo>
                      <a:pt x="91" y="310"/>
                    </a:lnTo>
                    <a:lnTo>
                      <a:pt x="91" y="310"/>
                    </a:lnTo>
                    <a:lnTo>
                      <a:pt x="91" y="312"/>
                    </a:lnTo>
                    <a:lnTo>
                      <a:pt x="91" y="312"/>
                    </a:lnTo>
                    <a:lnTo>
                      <a:pt x="91" y="312"/>
                    </a:lnTo>
                    <a:lnTo>
                      <a:pt x="91" y="314"/>
                    </a:lnTo>
                    <a:lnTo>
                      <a:pt x="91" y="314"/>
                    </a:lnTo>
                    <a:lnTo>
                      <a:pt x="91" y="314"/>
                    </a:lnTo>
                    <a:lnTo>
                      <a:pt x="93" y="314"/>
                    </a:lnTo>
                    <a:lnTo>
                      <a:pt x="95" y="310"/>
                    </a:lnTo>
                    <a:lnTo>
                      <a:pt x="99" y="312"/>
                    </a:lnTo>
                    <a:lnTo>
                      <a:pt x="99" y="312"/>
                    </a:lnTo>
                    <a:lnTo>
                      <a:pt x="101" y="312"/>
                    </a:lnTo>
                    <a:lnTo>
                      <a:pt x="101" y="312"/>
                    </a:lnTo>
                    <a:lnTo>
                      <a:pt x="101" y="312"/>
                    </a:lnTo>
                    <a:lnTo>
                      <a:pt x="101" y="310"/>
                    </a:lnTo>
                    <a:lnTo>
                      <a:pt x="103" y="310"/>
                    </a:lnTo>
                    <a:lnTo>
                      <a:pt x="103" y="310"/>
                    </a:lnTo>
                    <a:lnTo>
                      <a:pt x="105" y="310"/>
                    </a:lnTo>
                    <a:lnTo>
                      <a:pt x="107" y="310"/>
                    </a:lnTo>
                    <a:lnTo>
                      <a:pt x="107" y="312"/>
                    </a:lnTo>
                    <a:lnTo>
                      <a:pt x="111" y="314"/>
                    </a:lnTo>
                    <a:lnTo>
                      <a:pt x="113" y="316"/>
                    </a:lnTo>
                    <a:lnTo>
                      <a:pt x="111" y="316"/>
                    </a:lnTo>
                    <a:lnTo>
                      <a:pt x="111" y="318"/>
                    </a:lnTo>
                    <a:lnTo>
                      <a:pt x="111" y="318"/>
                    </a:lnTo>
                    <a:lnTo>
                      <a:pt x="111" y="318"/>
                    </a:lnTo>
                    <a:lnTo>
                      <a:pt x="111" y="318"/>
                    </a:lnTo>
                    <a:lnTo>
                      <a:pt x="111" y="318"/>
                    </a:lnTo>
                    <a:lnTo>
                      <a:pt x="111" y="320"/>
                    </a:lnTo>
                    <a:lnTo>
                      <a:pt x="111" y="320"/>
                    </a:lnTo>
                    <a:lnTo>
                      <a:pt x="111" y="320"/>
                    </a:lnTo>
                    <a:lnTo>
                      <a:pt x="109" y="322"/>
                    </a:lnTo>
                    <a:lnTo>
                      <a:pt x="109" y="322"/>
                    </a:lnTo>
                    <a:lnTo>
                      <a:pt x="109" y="322"/>
                    </a:lnTo>
                    <a:lnTo>
                      <a:pt x="107" y="322"/>
                    </a:lnTo>
                    <a:lnTo>
                      <a:pt x="105" y="322"/>
                    </a:lnTo>
                    <a:lnTo>
                      <a:pt x="105" y="322"/>
                    </a:lnTo>
                    <a:lnTo>
                      <a:pt x="105" y="324"/>
                    </a:lnTo>
                    <a:lnTo>
                      <a:pt x="103" y="324"/>
                    </a:lnTo>
                    <a:lnTo>
                      <a:pt x="103" y="324"/>
                    </a:lnTo>
                    <a:lnTo>
                      <a:pt x="103" y="324"/>
                    </a:lnTo>
                    <a:lnTo>
                      <a:pt x="103" y="324"/>
                    </a:lnTo>
                    <a:lnTo>
                      <a:pt x="101" y="324"/>
                    </a:lnTo>
                    <a:lnTo>
                      <a:pt x="103" y="326"/>
                    </a:lnTo>
                    <a:lnTo>
                      <a:pt x="103" y="326"/>
                    </a:lnTo>
                    <a:lnTo>
                      <a:pt x="101" y="326"/>
                    </a:lnTo>
                    <a:lnTo>
                      <a:pt x="101" y="326"/>
                    </a:lnTo>
                    <a:lnTo>
                      <a:pt x="101" y="328"/>
                    </a:lnTo>
                    <a:lnTo>
                      <a:pt x="103" y="328"/>
                    </a:lnTo>
                    <a:lnTo>
                      <a:pt x="103" y="330"/>
                    </a:lnTo>
                    <a:lnTo>
                      <a:pt x="103" y="330"/>
                    </a:lnTo>
                    <a:lnTo>
                      <a:pt x="105" y="330"/>
                    </a:lnTo>
                    <a:lnTo>
                      <a:pt x="105" y="330"/>
                    </a:lnTo>
                    <a:lnTo>
                      <a:pt x="105" y="330"/>
                    </a:lnTo>
                    <a:lnTo>
                      <a:pt x="105" y="330"/>
                    </a:lnTo>
                    <a:lnTo>
                      <a:pt x="107" y="330"/>
                    </a:lnTo>
                    <a:lnTo>
                      <a:pt x="109" y="330"/>
                    </a:lnTo>
                    <a:lnTo>
                      <a:pt x="109" y="332"/>
                    </a:lnTo>
                    <a:lnTo>
                      <a:pt x="109" y="332"/>
                    </a:lnTo>
                    <a:lnTo>
                      <a:pt x="109" y="332"/>
                    </a:lnTo>
                    <a:lnTo>
                      <a:pt x="109" y="332"/>
                    </a:lnTo>
                    <a:lnTo>
                      <a:pt x="109" y="334"/>
                    </a:lnTo>
                    <a:lnTo>
                      <a:pt x="111" y="334"/>
                    </a:lnTo>
                    <a:lnTo>
                      <a:pt x="113" y="336"/>
                    </a:lnTo>
                    <a:lnTo>
                      <a:pt x="113" y="336"/>
                    </a:lnTo>
                    <a:lnTo>
                      <a:pt x="115" y="338"/>
                    </a:lnTo>
                    <a:lnTo>
                      <a:pt x="115" y="340"/>
                    </a:lnTo>
                    <a:lnTo>
                      <a:pt x="117" y="340"/>
                    </a:lnTo>
                    <a:lnTo>
                      <a:pt x="117" y="342"/>
                    </a:lnTo>
                    <a:lnTo>
                      <a:pt x="119" y="342"/>
                    </a:lnTo>
                    <a:lnTo>
                      <a:pt x="119" y="346"/>
                    </a:lnTo>
                    <a:lnTo>
                      <a:pt x="119" y="346"/>
                    </a:lnTo>
                    <a:lnTo>
                      <a:pt x="119" y="348"/>
                    </a:lnTo>
                    <a:lnTo>
                      <a:pt x="121" y="348"/>
                    </a:lnTo>
                    <a:lnTo>
                      <a:pt x="123" y="350"/>
                    </a:lnTo>
                    <a:lnTo>
                      <a:pt x="125" y="350"/>
                    </a:lnTo>
                    <a:lnTo>
                      <a:pt x="127" y="348"/>
                    </a:lnTo>
                    <a:lnTo>
                      <a:pt x="129" y="346"/>
                    </a:lnTo>
                    <a:lnTo>
                      <a:pt x="129" y="346"/>
                    </a:lnTo>
                    <a:lnTo>
                      <a:pt x="129" y="346"/>
                    </a:lnTo>
                    <a:lnTo>
                      <a:pt x="131" y="344"/>
                    </a:lnTo>
                    <a:lnTo>
                      <a:pt x="131" y="344"/>
                    </a:lnTo>
                    <a:lnTo>
                      <a:pt x="131" y="342"/>
                    </a:lnTo>
                    <a:lnTo>
                      <a:pt x="133" y="342"/>
                    </a:lnTo>
                    <a:lnTo>
                      <a:pt x="133" y="342"/>
                    </a:lnTo>
                    <a:lnTo>
                      <a:pt x="135" y="342"/>
                    </a:lnTo>
                    <a:lnTo>
                      <a:pt x="135" y="342"/>
                    </a:lnTo>
                    <a:lnTo>
                      <a:pt x="135" y="342"/>
                    </a:lnTo>
                    <a:lnTo>
                      <a:pt x="135" y="340"/>
                    </a:lnTo>
                    <a:lnTo>
                      <a:pt x="137" y="340"/>
                    </a:lnTo>
                    <a:lnTo>
                      <a:pt x="137" y="342"/>
                    </a:lnTo>
                    <a:lnTo>
                      <a:pt x="137" y="342"/>
                    </a:lnTo>
                    <a:lnTo>
                      <a:pt x="137" y="340"/>
                    </a:lnTo>
                    <a:lnTo>
                      <a:pt x="137" y="340"/>
                    </a:lnTo>
                    <a:lnTo>
                      <a:pt x="139" y="340"/>
                    </a:lnTo>
                    <a:lnTo>
                      <a:pt x="139" y="340"/>
                    </a:lnTo>
                    <a:lnTo>
                      <a:pt x="139" y="340"/>
                    </a:lnTo>
                    <a:lnTo>
                      <a:pt x="139" y="340"/>
                    </a:lnTo>
                    <a:lnTo>
                      <a:pt x="139" y="342"/>
                    </a:lnTo>
                    <a:lnTo>
                      <a:pt x="141" y="342"/>
                    </a:lnTo>
                    <a:lnTo>
                      <a:pt x="141" y="340"/>
                    </a:lnTo>
                    <a:lnTo>
                      <a:pt x="141" y="340"/>
                    </a:lnTo>
                    <a:lnTo>
                      <a:pt x="139" y="340"/>
                    </a:lnTo>
                    <a:lnTo>
                      <a:pt x="139" y="338"/>
                    </a:lnTo>
                    <a:lnTo>
                      <a:pt x="139" y="336"/>
                    </a:lnTo>
                    <a:lnTo>
                      <a:pt x="139" y="336"/>
                    </a:lnTo>
                    <a:lnTo>
                      <a:pt x="137" y="334"/>
                    </a:lnTo>
                    <a:lnTo>
                      <a:pt x="137" y="334"/>
                    </a:lnTo>
                    <a:lnTo>
                      <a:pt x="135" y="332"/>
                    </a:lnTo>
                    <a:lnTo>
                      <a:pt x="135" y="332"/>
                    </a:lnTo>
                    <a:lnTo>
                      <a:pt x="135" y="330"/>
                    </a:lnTo>
                    <a:lnTo>
                      <a:pt x="133" y="328"/>
                    </a:lnTo>
                    <a:lnTo>
                      <a:pt x="133" y="326"/>
                    </a:lnTo>
                    <a:lnTo>
                      <a:pt x="135" y="326"/>
                    </a:lnTo>
                    <a:lnTo>
                      <a:pt x="135" y="326"/>
                    </a:lnTo>
                    <a:lnTo>
                      <a:pt x="137" y="326"/>
                    </a:lnTo>
                    <a:lnTo>
                      <a:pt x="139" y="328"/>
                    </a:lnTo>
                    <a:lnTo>
                      <a:pt x="139" y="328"/>
                    </a:lnTo>
                    <a:lnTo>
                      <a:pt x="145" y="328"/>
                    </a:lnTo>
                    <a:lnTo>
                      <a:pt x="145" y="328"/>
                    </a:lnTo>
                    <a:lnTo>
                      <a:pt x="145" y="330"/>
                    </a:lnTo>
                    <a:lnTo>
                      <a:pt x="147" y="330"/>
                    </a:lnTo>
                    <a:lnTo>
                      <a:pt x="147" y="330"/>
                    </a:lnTo>
                    <a:lnTo>
                      <a:pt x="149" y="330"/>
                    </a:lnTo>
                    <a:lnTo>
                      <a:pt x="149" y="330"/>
                    </a:lnTo>
                    <a:lnTo>
                      <a:pt x="149" y="330"/>
                    </a:lnTo>
                    <a:lnTo>
                      <a:pt x="149" y="330"/>
                    </a:lnTo>
                    <a:lnTo>
                      <a:pt x="149" y="332"/>
                    </a:lnTo>
                    <a:lnTo>
                      <a:pt x="149" y="332"/>
                    </a:lnTo>
                    <a:lnTo>
                      <a:pt x="151" y="332"/>
                    </a:lnTo>
                    <a:lnTo>
                      <a:pt x="151" y="334"/>
                    </a:lnTo>
                    <a:lnTo>
                      <a:pt x="153" y="334"/>
                    </a:lnTo>
                    <a:lnTo>
                      <a:pt x="155" y="334"/>
                    </a:lnTo>
                    <a:lnTo>
                      <a:pt x="157" y="334"/>
                    </a:lnTo>
                    <a:lnTo>
                      <a:pt x="155" y="334"/>
                    </a:lnTo>
                    <a:lnTo>
                      <a:pt x="155" y="336"/>
                    </a:lnTo>
                    <a:lnTo>
                      <a:pt x="155" y="336"/>
                    </a:lnTo>
                    <a:lnTo>
                      <a:pt x="155" y="336"/>
                    </a:lnTo>
                    <a:lnTo>
                      <a:pt x="155" y="336"/>
                    </a:lnTo>
                    <a:lnTo>
                      <a:pt x="155" y="338"/>
                    </a:lnTo>
                    <a:lnTo>
                      <a:pt x="157" y="338"/>
                    </a:lnTo>
                    <a:lnTo>
                      <a:pt x="157" y="338"/>
                    </a:lnTo>
                    <a:lnTo>
                      <a:pt x="157" y="338"/>
                    </a:lnTo>
                    <a:lnTo>
                      <a:pt x="159" y="338"/>
                    </a:lnTo>
                    <a:lnTo>
                      <a:pt x="159" y="338"/>
                    </a:lnTo>
                    <a:lnTo>
                      <a:pt x="161" y="340"/>
                    </a:lnTo>
                    <a:lnTo>
                      <a:pt x="161" y="340"/>
                    </a:lnTo>
                    <a:lnTo>
                      <a:pt x="161" y="340"/>
                    </a:lnTo>
                    <a:lnTo>
                      <a:pt x="161" y="340"/>
                    </a:lnTo>
                    <a:lnTo>
                      <a:pt x="161" y="340"/>
                    </a:lnTo>
                    <a:lnTo>
                      <a:pt x="163" y="338"/>
                    </a:lnTo>
                    <a:lnTo>
                      <a:pt x="165" y="338"/>
                    </a:lnTo>
                    <a:lnTo>
                      <a:pt x="169" y="338"/>
                    </a:lnTo>
                    <a:lnTo>
                      <a:pt x="171" y="338"/>
                    </a:lnTo>
                    <a:lnTo>
                      <a:pt x="171" y="338"/>
                    </a:lnTo>
                    <a:lnTo>
                      <a:pt x="173" y="336"/>
                    </a:lnTo>
                    <a:lnTo>
                      <a:pt x="173" y="334"/>
                    </a:lnTo>
                    <a:lnTo>
                      <a:pt x="173" y="334"/>
                    </a:lnTo>
                    <a:lnTo>
                      <a:pt x="173" y="334"/>
                    </a:lnTo>
                    <a:lnTo>
                      <a:pt x="175" y="334"/>
                    </a:lnTo>
                    <a:lnTo>
                      <a:pt x="175" y="334"/>
                    </a:lnTo>
                    <a:lnTo>
                      <a:pt x="175" y="336"/>
                    </a:lnTo>
                    <a:lnTo>
                      <a:pt x="175" y="336"/>
                    </a:lnTo>
                    <a:lnTo>
                      <a:pt x="175" y="336"/>
                    </a:lnTo>
                    <a:lnTo>
                      <a:pt x="175" y="336"/>
                    </a:lnTo>
                    <a:lnTo>
                      <a:pt x="175" y="336"/>
                    </a:lnTo>
                    <a:lnTo>
                      <a:pt x="175" y="338"/>
                    </a:lnTo>
                    <a:lnTo>
                      <a:pt x="175" y="338"/>
                    </a:lnTo>
                    <a:lnTo>
                      <a:pt x="175" y="340"/>
                    </a:lnTo>
                    <a:lnTo>
                      <a:pt x="175" y="340"/>
                    </a:lnTo>
                    <a:lnTo>
                      <a:pt x="175" y="340"/>
                    </a:lnTo>
                    <a:lnTo>
                      <a:pt x="175" y="342"/>
                    </a:lnTo>
                    <a:lnTo>
                      <a:pt x="175" y="342"/>
                    </a:lnTo>
                    <a:lnTo>
                      <a:pt x="173" y="344"/>
                    </a:lnTo>
                    <a:lnTo>
                      <a:pt x="171" y="344"/>
                    </a:lnTo>
                    <a:lnTo>
                      <a:pt x="169" y="344"/>
                    </a:lnTo>
                    <a:lnTo>
                      <a:pt x="169" y="344"/>
                    </a:lnTo>
                    <a:lnTo>
                      <a:pt x="169" y="346"/>
                    </a:lnTo>
                    <a:lnTo>
                      <a:pt x="169" y="346"/>
                    </a:lnTo>
                    <a:lnTo>
                      <a:pt x="171" y="348"/>
                    </a:lnTo>
                    <a:lnTo>
                      <a:pt x="171" y="350"/>
                    </a:lnTo>
                    <a:lnTo>
                      <a:pt x="171" y="350"/>
                    </a:lnTo>
                    <a:lnTo>
                      <a:pt x="173" y="348"/>
                    </a:lnTo>
                    <a:lnTo>
                      <a:pt x="173" y="348"/>
                    </a:lnTo>
                    <a:lnTo>
                      <a:pt x="173" y="348"/>
                    </a:lnTo>
                    <a:lnTo>
                      <a:pt x="175" y="350"/>
                    </a:lnTo>
                    <a:lnTo>
                      <a:pt x="175" y="350"/>
                    </a:lnTo>
                    <a:lnTo>
                      <a:pt x="175" y="350"/>
                    </a:lnTo>
                    <a:lnTo>
                      <a:pt x="175" y="350"/>
                    </a:lnTo>
                    <a:lnTo>
                      <a:pt x="175" y="350"/>
                    </a:lnTo>
                    <a:lnTo>
                      <a:pt x="175" y="350"/>
                    </a:lnTo>
                    <a:lnTo>
                      <a:pt x="175" y="352"/>
                    </a:lnTo>
                    <a:lnTo>
                      <a:pt x="175" y="352"/>
                    </a:lnTo>
                    <a:lnTo>
                      <a:pt x="175" y="352"/>
                    </a:lnTo>
                    <a:lnTo>
                      <a:pt x="177" y="354"/>
                    </a:lnTo>
                    <a:lnTo>
                      <a:pt x="177" y="354"/>
                    </a:lnTo>
                    <a:lnTo>
                      <a:pt x="177" y="356"/>
                    </a:lnTo>
                    <a:lnTo>
                      <a:pt x="181" y="358"/>
                    </a:lnTo>
                    <a:lnTo>
                      <a:pt x="183" y="358"/>
                    </a:lnTo>
                    <a:lnTo>
                      <a:pt x="183" y="358"/>
                    </a:lnTo>
                    <a:lnTo>
                      <a:pt x="185" y="356"/>
                    </a:lnTo>
                    <a:lnTo>
                      <a:pt x="185" y="356"/>
                    </a:lnTo>
                    <a:lnTo>
                      <a:pt x="189" y="356"/>
                    </a:lnTo>
                    <a:lnTo>
                      <a:pt x="189" y="356"/>
                    </a:lnTo>
                    <a:lnTo>
                      <a:pt x="189" y="356"/>
                    </a:lnTo>
                    <a:lnTo>
                      <a:pt x="189" y="354"/>
                    </a:lnTo>
                    <a:lnTo>
                      <a:pt x="189" y="354"/>
                    </a:lnTo>
                    <a:lnTo>
                      <a:pt x="189" y="354"/>
                    </a:lnTo>
                    <a:lnTo>
                      <a:pt x="189" y="354"/>
                    </a:lnTo>
                    <a:lnTo>
                      <a:pt x="189" y="354"/>
                    </a:lnTo>
                    <a:lnTo>
                      <a:pt x="189" y="352"/>
                    </a:lnTo>
                    <a:lnTo>
                      <a:pt x="189" y="354"/>
                    </a:lnTo>
                    <a:lnTo>
                      <a:pt x="189" y="354"/>
                    </a:lnTo>
                    <a:lnTo>
                      <a:pt x="193" y="354"/>
                    </a:lnTo>
                    <a:lnTo>
                      <a:pt x="193" y="356"/>
                    </a:lnTo>
                    <a:lnTo>
                      <a:pt x="193" y="358"/>
                    </a:lnTo>
                    <a:lnTo>
                      <a:pt x="195" y="358"/>
                    </a:lnTo>
                    <a:lnTo>
                      <a:pt x="197" y="358"/>
                    </a:lnTo>
                    <a:lnTo>
                      <a:pt x="199" y="360"/>
                    </a:lnTo>
                    <a:lnTo>
                      <a:pt x="199" y="360"/>
                    </a:lnTo>
                    <a:lnTo>
                      <a:pt x="199" y="360"/>
                    </a:lnTo>
                    <a:lnTo>
                      <a:pt x="201" y="360"/>
                    </a:lnTo>
                    <a:lnTo>
                      <a:pt x="201" y="360"/>
                    </a:lnTo>
                    <a:lnTo>
                      <a:pt x="201" y="362"/>
                    </a:lnTo>
                    <a:lnTo>
                      <a:pt x="201" y="362"/>
                    </a:lnTo>
                    <a:lnTo>
                      <a:pt x="203" y="362"/>
                    </a:lnTo>
                    <a:lnTo>
                      <a:pt x="203" y="362"/>
                    </a:lnTo>
                    <a:lnTo>
                      <a:pt x="205" y="362"/>
                    </a:lnTo>
                    <a:lnTo>
                      <a:pt x="203" y="362"/>
                    </a:lnTo>
                    <a:lnTo>
                      <a:pt x="205" y="362"/>
                    </a:lnTo>
                    <a:lnTo>
                      <a:pt x="207" y="362"/>
                    </a:lnTo>
                    <a:lnTo>
                      <a:pt x="211" y="364"/>
                    </a:lnTo>
                    <a:lnTo>
                      <a:pt x="213" y="364"/>
                    </a:lnTo>
                    <a:lnTo>
                      <a:pt x="215" y="362"/>
                    </a:lnTo>
                    <a:lnTo>
                      <a:pt x="215" y="362"/>
                    </a:lnTo>
                    <a:lnTo>
                      <a:pt x="215" y="364"/>
                    </a:lnTo>
                    <a:lnTo>
                      <a:pt x="215" y="364"/>
                    </a:lnTo>
                    <a:lnTo>
                      <a:pt x="215" y="366"/>
                    </a:lnTo>
                    <a:lnTo>
                      <a:pt x="217" y="366"/>
                    </a:lnTo>
                    <a:lnTo>
                      <a:pt x="215" y="368"/>
                    </a:lnTo>
                    <a:lnTo>
                      <a:pt x="215" y="370"/>
                    </a:lnTo>
                    <a:lnTo>
                      <a:pt x="217" y="372"/>
                    </a:lnTo>
                    <a:lnTo>
                      <a:pt x="217" y="374"/>
                    </a:lnTo>
                    <a:lnTo>
                      <a:pt x="217" y="376"/>
                    </a:lnTo>
                    <a:lnTo>
                      <a:pt x="219" y="376"/>
                    </a:lnTo>
                    <a:lnTo>
                      <a:pt x="219" y="376"/>
                    </a:lnTo>
                    <a:lnTo>
                      <a:pt x="221" y="378"/>
                    </a:lnTo>
                    <a:lnTo>
                      <a:pt x="221" y="378"/>
                    </a:lnTo>
                    <a:lnTo>
                      <a:pt x="221" y="378"/>
                    </a:lnTo>
                    <a:lnTo>
                      <a:pt x="223" y="378"/>
                    </a:lnTo>
                    <a:lnTo>
                      <a:pt x="223" y="380"/>
                    </a:lnTo>
                    <a:lnTo>
                      <a:pt x="223" y="380"/>
                    </a:lnTo>
                    <a:lnTo>
                      <a:pt x="225" y="378"/>
                    </a:lnTo>
                    <a:lnTo>
                      <a:pt x="225" y="378"/>
                    </a:lnTo>
                    <a:lnTo>
                      <a:pt x="225" y="380"/>
                    </a:lnTo>
                    <a:lnTo>
                      <a:pt x="227" y="380"/>
                    </a:lnTo>
                    <a:lnTo>
                      <a:pt x="227" y="382"/>
                    </a:lnTo>
                    <a:lnTo>
                      <a:pt x="227" y="382"/>
                    </a:lnTo>
                    <a:lnTo>
                      <a:pt x="227" y="384"/>
                    </a:lnTo>
                    <a:lnTo>
                      <a:pt x="227" y="384"/>
                    </a:lnTo>
                    <a:lnTo>
                      <a:pt x="229" y="388"/>
                    </a:lnTo>
                    <a:lnTo>
                      <a:pt x="229" y="390"/>
                    </a:lnTo>
                    <a:lnTo>
                      <a:pt x="229" y="390"/>
                    </a:lnTo>
                    <a:lnTo>
                      <a:pt x="233" y="390"/>
                    </a:lnTo>
                    <a:lnTo>
                      <a:pt x="235" y="392"/>
                    </a:lnTo>
                    <a:lnTo>
                      <a:pt x="233" y="392"/>
                    </a:lnTo>
                    <a:lnTo>
                      <a:pt x="233" y="394"/>
                    </a:lnTo>
                    <a:lnTo>
                      <a:pt x="235" y="394"/>
                    </a:lnTo>
                    <a:lnTo>
                      <a:pt x="235" y="396"/>
                    </a:lnTo>
                    <a:lnTo>
                      <a:pt x="235" y="398"/>
                    </a:lnTo>
                    <a:lnTo>
                      <a:pt x="235" y="398"/>
                    </a:lnTo>
                    <a:lnTo>
                      <a:pt x="235" y="398"/>
                    </a:lnTo>
                    <a:lnTo>
                      <a:pt x="237" y="398"/>
                    </a:lnTo>
                    <a:lnTo>
                      <a:pt x="239" y="398"/>
                    </a:lnTo>
                    <a:lnTo>
                      <a:pt x="239" y="398"/>
                    </a:lnTo>
                    <a:lnTo>
                      <a:pt x="239" y="398"/>
                    </a:lnTo>
                    <a:lnTo>
                      <a:pt x="241" y="398"/>
                    </a:lnTo>
                    <a:lnTo>
                      <a:pt x="241" y="398"/>
                    </a:lnTo>
                    <a:lnTo>
                      <a:pt x="241" y="398"/>
                    </a:lnTo>
                    <a:lnTo>
                      <a:pt x="243" y="398"/>
                    </a:lnTo>
                    <a:lnTo>
                      <a:pt x="245" y="398"/>
                    </a:lnTo>
                    <a:lnTo>
                      <a:pt x="245" y="396"/>
                    </a:lnTo>
                    <a:lnTo>
                      <a:pt x="245" y="396"/>
                    </a:lnTo>
                    <a:lnTo>
                      <a:pt x="245" y="394"/>
                    </a:lnTo>
                    <a:lnTo>
                      <a:pt x="245" y="394"/>
                    </a:lnTo>
                    <a:lnTo>
                      <a:pt x="245" y="394"/>
                    </a:lnTo>
                    <a:lnTo>
                      <a:pt x="247" y="394"/>
                    </a:lnTo>
                    <a:lnTo>
                      <a:pt x="247" y="394"/>
                    </a:lnTo>
                    <a:lnTo>
                      <a:pt x="247" y="394"/>
                    </a:lnTo>
                    <a:lnTo>
                      <a:pt x="245" y="394"/>
                    </a:lnTo>
                    <a:lnTo>
                      <a:pt x="247" y="392"/>
                    </a:lnTo>
                    <a:lnTo>
                      <a:pt x="247" y="390"/>
                    </a:lnTo>
                    <a:lnTo>
                      <a:pt x="249" y="390"/>
                    </a:lnTo>
                    <a:lnTo>
                      <a:pt x="249" y="390"/>
                    </a:lnTo>
                    <a:lnTo>
                      <a:pt x="249" y="390"/>
                    </a:lnTo>
                    <a:lnTo>
                      <a:pt x="251" y="390"/>
                    </a:lnTo>
                    <a:lnTo>
                      <a:pt x="251" y="390"/>
                    </a:lnTo>
                    <a:lnTo>
                      <a:pt x="253" y="388"/>
                    </a:lnTo>
                    <a:lnTo>
                      <a:pt x="253" y="388"/>
                    </a:lnTo>
                    <a:lnTo>
                      <a:pt x="257" y="384"/>
                    </a:lnTo>
                    <a:lnTo>
                      <a:pt x="257" y="384"/>
                    </a:lnTo>
                    <a:lnTo>
                      <a:pt x="257" y="384"/>
                    </a:lnTo>
                    <a:lnTo>
                      <a:pt x="257" y="384"/>
                    </a:lnTo>
                    <a:lnTo>
                      <a:pt x="259" y="384"/>
                    </a:lnTo>
                    <a:lnTo>
                      <a:pt x="259" y="386"/>
                    </a:lnTo>
                    <a:lnTo>
                      <a:pt x="259" y="386"/>
                    </a:lnTo>
                    <a:lnTo>
                      <a:pt x="261" y="386"/>
                    </a:lnTo>
                    <a:lnTo>
                      <a:pt x="261" y="388"/>
                    </a:lnTo>
                    <a:lnTo>
                      <a:pt x="261" y="392"/>
                    </a:lnTo>
                    <a:lnTo>
                      <a:pt x="263" y="394"/>
                    </a:lnTo>
                    <a:lnTo>
                      <a:pt x="263" y="394"/>
                    </a:lnTo>
                    <a:lnTo>
                      <a:pt x="263" y="394"/>
                    </a:lnTo>
                    <a:lnTo>
                      <a:pt x="265" y="394"/>
                    </a:lnTo>
                    <a:lnTo>
                      <a:pt x="267" y="394"/>
                    </a:lnTo>
                    <a:lnTo>
                      <a:pt x="267" y="396"/>
                    </a:lnTo>
                    <a:lnTo>
                      <a:pt x="267" y="396"/>
                    </a:lnTo>
                    <a:lnTo>
                      <a:pt x="267" y="396"/>
                    </a:lnTo>
                    <a:lnTo>
                      <a:pt x="267" y="398"/>
                    </a:lnTo>
                    <a:lnTo>
                      <a:pt x="269" y="398"/>
                    </a:lnTo>
                    <a:lnTo>
                      <a:pt x="271" y="398"/>
                    </a:lnTo>
                    <a:lnTo>
                      <a:pt x="271" y="398"/>
                    </a:lnTo>
                    <a:lnTo>
                      <a:pt x="273" y="398"/>
                    </a:lnTo>
                    <a:lnTo>
                      <a:pt x="273" y="398"/>
                    </a:lnTo>
                    <a:lnTo>
                      <a:pt x="273" y="400"/>
                    </a:lnTo>
                    <a:lnTo>
                      <a:pt x="273" y="400"/>
                    </a:lnTo>
                    <a:lnTo>
                      <a:pt x="275" y="404"/>
                    </a:lnTo>
                    <a:lnTo>
                      <a:pt x="275" y="404"/>
                    </a:lnTo>
                    <a:lnTo>
                      <a:pt x="273" y="404"/>
                    </a:lnTo>
                    <a:lnTo>
                      <a:pt x="273" y="404"/>
                    </a:lnTo>
                    <a:lnTo>
                      <a:pt x="273" y="406"/>
                    </a:lnTo>
                    <a:lnTo>
                      <a:pt x="273" y="406"/>
                    </a:lnTo>
                    <a:lnTo>
                      <a:pt x="275" y="406"/>
                    </a:lnTo>
                    <a:lnTo>
                      <a:pt x="275" y="406"/>
                    </a:lnTo>
                    <a:lnTo>
                      <a:pt x="275" y="406"/>
                    </a:lnTo>
                    <a:lnTo>
                      <a:pt x="275" y="406"/>
                    </a:lnTo>
                    <a:lnTo>
                      <a:pt x="275" y="408"/>
                    </a:lnTo>
                    <a:lnTo>
                      <a:pt x="275" y="408"/>
                    </a:lnTo>
                    <a:lnTo>
                      <a:pt x="275" y="408"/>
                    </a:lnTo>
                    <a:lnTo>
                      <a:pt x="273" y="410"/>
                    </a:lnTo>
                    <a:lnTo>
                      <a:pt x="273" y="412"/>
                    </a:lnTo>
                    <a:lnTo>
                      <a:pt x="273" y="412"/>
                    </a:lnTo>
                    <a:lnTo>
                      <a:pt x="273" y="412"/>
                    </a:lnTo>
                    <a:lnTo>
                      <a:pt x="277" y="412"/>
                    </a:lnTo>
                    <a:lnTo>
                      <a:pt x="277" y="412"/>
                    </a:lnTo>
                    <a:lnTo>
                      <a:pt x="277" y="412"/>
                    </a:lnTo>
                    <a:lnTo>
                      <a:pt x="279" y="410"/>
                    </a:lnTo>
                    <a:lnTo>
                      <a:pt x="279" y="410"/>
                    </a:lnTo>
                    <a:lnTo>
                      <a:pt x="281" y="410"/>
                    </a:lnTo>
                    <a:lnTo>
                      <a:pt x="283" y="410"/>
                    </a:lnTo>
                    <a:lnTo>
                      <a:pt x="285" y="412"/>
                    </a:lnTo>
                    <a:lnTo>
                      <a:pt x="287" y="414"/>
                    </a:lnTo>
                    <a:lnTo>
                      <a:pt x="287" y="412"/>
                    </a:lnTo>
                    <a:lnTo>
                      <a:pt x="289" y="410"/>
                    </a:lnTo>
                    <a:lnTo>
                      <a:pt x="289" y="408"/>
                    </a:lnTo>
                    <a:lnTo>
                      <a:pt x="289" y="408"/>
                    </a:lnTo>
                    <a:lnTo>
                      <a:pt x="289" y="408"/>
                    </a:lnTo>
                    <a:lnTo>
                      <a:pt x="289" y="406"/>
                    </a:lnTo>
                    <a:lnTo>
                      <a:pt x="291" y="404"/>
                    </a:lnTo>
                    <a:lnTo>
                      <a:pt x="291" y="404"/>
                    </a:lnTo>
                    <a:lnTo>
                      <a:pt x="293" y="404"/>
                    </a:lnTo>
                    <a:lnTo>
                      <a:pt x="293" y="404"/>
                    </a:lnTo>
                    <a:lnTo>
                      <a:pt x="293" y="402"/>
                    </a:lnTo>
                    <a:lnTo>
                      <a:pt x="295" y="402"/>
                    </a:lnTo>
                    <a:lnTo>
                      <a:pt x="297" y="402"/>
                    </a:lnTo>
                    <a:lnTo>
                      <a:pt x="299" y="402"/>
                    </a:lnTo>
                    <a:lnTo>
                      <a:pt x="299" y="400"/>
                    </a:lnTo>
                    <a:lnTo>
                      <a:pt x="299" y="400"/>
                    </a:lnTo>
                    <a:lnTo>
                      <a:pt x="299" y="398"/>
                    </a:lnTo>
                    <a:lnTo>
                      <a:pt x="299" y="398"/>
                    </a:lnTo>
                    <a:lnTo>
                      <a:pt x="299" y="398"/>
                    </a:lnTo>
                    <a:lnTo>
                      <a:pt x="299" y="398"/>
                    </a:lnTo>
                    <a:lnTo>
                      <a:pt x="303" y="398"/>
                    </a:lnTo>
                    <a:lnTo>
                      <a:pt x="305" y="398"/>
                    </a:lnTo>
                    <a:lnTo>
                      <a:pt x="305" y="398"/>
                    </a:lnTo>
                    <a:lnTo>
                      <a:pt x="305" y="398"/>
                    </a:lnTo>
                    <a:lnTo>
                      <a:pt x="309" y="400"/>
                    </a:lnTo>
                    <a:lnTo>
                      <a:pt x="311" y="400"/>
                    </a:lnTo>
                    <a:lnTo>
                      <a:pt x="311" y="400"/>
                    </a:lnTo>
                    <a:lnTo>
                      <a:pt x="313" y="398"/>
                    </a:lnTo>
                    <a:lnTo>
                      <a:pt x="313" y="398"/>
                    </a:lnTo>
                    <a:lnTo>
                      <a:pt x="313" y="398"/>
                    </a:lnTo>
                    <a:lnTo>
                      <a:pt x="313" y="398"/>
                    </a:lnTo>
                    <a:lnTo>
                      <a:pt x="315" y="398"/>
                    </a:lnTo>
                    <a:lnTo>
                      <a:pt x="317" y="398"/>
                    </a:lnTo>
                    <a:lnTo>
                      <a:pt x="317" y="398"/>
                    </a:lnTo>
                    <a:lnTo>
                      <a:pt x="321" y="402"/>
                    </a:lnTo>
                    <a:lnTo>
                      <a:pt x="323" y="402"/>
                    </a:lnTo>
                    <a:lnTo>
                      <a:pt x="323" y="404"/>
                    </a:lnTo>
                    <a:lnTo>
                      <a:pt x="325" y="404"/>
                    </a:lnTo>
                    <a:lnTo>
                      <a:pt x="325" y="404"/>
                    </a:lnTo>
                    <a:lnTo>
                      <a:pt x="327" y="404"/>
                    </a:lnTo>
                    <a:lnTo>
                      <a:pt x="327" y="404"/>
                    </a:lnTo>
                    <a:lnTo>
                      <a:pt x="327" y="406"/>
                    </a:lnTo>
                    <a:lnTo>
                      <a:pt x="329" y="406"/>
                    </a:lnTo>
                    <a:lnTo>
                      <a:pt x="329" y="404"/>
                    </a:lnTo>
                    <a:lnTo>
                      <a:pt x="331" y="404"/>
                    </a:lnTo>
                    <a:lnTo>
                      <a:pt x="333" y="402"/>
                    </a:lnTo>
                    <a:lnTo>
                      <a:pt x="333" y="400"/>
                    </a:lnTo>
                    <a:lnTo>
                      <a:pt x="333" y="400"/>
                    </a:lnTo>
                    <a:lnTo>
                      <a:pt x="335" y="400"/>
                    </a:lnTo>
                    <a:lnTo>
                      <a:pt x="335" y="400"/>
                    </a:lnTo>
                    <a:lnTo>
                      <a:pt x="337" y="400"/>
                    </a:lnTo>
                    <a:lnTo>
                      <a:pt x="335" y="398"/>
                    </a:lnTo>
                    <a:lnTo>
                      <a:pt x="335" y="398"/>
                    </a:lnTo>
                    <a:lnTo>
                      <a:pt x="333" y="398"/>
                    </a:lnTo>
                    <a:lnTo>
                      <a:pt x="335" y="396"/>
                    </a:lnTo>
                    <a:lnTo>
                      <a:pt x="335" y="396"/>
                    </a:lnTo>
                    <a:lnTo>
                      <a:pt x="337" y="396"/>
                    </a:lnTo>
                    <a:lnTo>
                      <a:pt x="339" y="396"/>
                    </a:lnTo>
                    <a:lnTo>
                      <a:pt x="339" y="396"/>
                    </a:lnTo>
                    <a:lnTo>
                      <a:pt x="341" y="398"/>
                    </a:lnTo>
                    <a:lnTo>
                      <a:pt x="341" y="398"/>
                    </a:lnTo>
                    <a:lnTo>
                      <a:pt x="341" y="398"/>
                    </a:lnTo>
                    <a:lnTo>
                      <a:pt x="343" y="396"/>
                    </a:lnTo>
                    <a:lnTo>
                      <a:pt x="345" y="394"/>
                    </a:lnTo>
                    <a:lnTo>
                      <a:pt x="345" y="394"/>
                    </a:lnTo>
                    <a:lnTo>
                      <a:pt x="345" y="394"/>
                    </a:lnTo>
                    <a:lnTo>
                      <a:pt x="349" y="396"/>
                    </a:lnTo>
                    <a:lnTo>
                      <a:pt x="353" y="396"/>
                    </a:lnTo>
                    <a:lnTo>
                      <a:pt x="353" y="396"/>
                    </a:lnTo>
                    <a:lnTo>
                      <a:pt x="355" y="396"/>
                    </a:lnTo>
                    <a:lnTo>
                      <a:pt x="357" y="396"/>
                    </a:lnTo>
                    <a:lnTo>
                      <a:pt x="357" y="396"/>
                    </a:lnTo>
                    <a:lnTo>
                      <a:pt x="357" y="396"/>
                    </a:lnTo>
                    <a:lnTo>
                      <a:pt x="361" y="396"/>
                    </a:lnTo>
                    <a:lnTo>
                      <a:pt x="363" y="396"/>
                    </a:lnTo>
                    <a:lnTo>
                      <a:pt x="363" y="396"/>
                    </a:lnTo>
                    <a:lnTo>
                      <a:pt x="363" y="398"/>
                    </a:lnTo>
                    <a:lnTo>
                      <a:pt x="365" y="398"/>
                    </a:lnTo>
                    <a:lnTo>
                      <a:pt x="365" y="398"/>
                    </a:lnTo>
                    <a:lnTo>
                      <a:pt x="365" y="398"/>
                    </a:lnTo>
                    <a:lnTo>
                      <a:pt x="365" y="398"/>
                    </a:lnTo>
                    <a:lnTo>
                      <a:pt x="367" y="398"/>
                    </a:lnTo>
                    <a:lnTo>
                      <a:pt x="369" y="400"/>
                    </a:lnTo>
                    <a:lnTo>
                      <a:pt x="369" y="402"/>
                    </a:lnTo>
                    <a:lnTo>
                      <a:pt x="369" y="400"/>
                    </a:lnTo>
                    <a:lnTo>
                      <a:pt x="371" y="400"/>
                    </a:lnTo>
                    <a:lnTo>
                      <a:pt x="371" y="400"/>
                    </a:lnTo>
                    <a:lnTo>
                      <a:pt x="371" y="400"/>
                    </a:lnTo>
                    <a:lnTo>
                      <a:pt x="373" y="400"/>
                    </a:lnTo>
                    <a:lnTo>
                      <a:pt x="375" y="402"/>
                    </a:lnTo>
                    <a:lnTo>
                      <a:pt x="377" y="402"/>
                    </a:lnTo>
                    <a:lnTo>
                      <a:pt x="379" y="404"/>
                    </a:lnTo>
                    <a:lnTo>
                      <a:pt x="381" y="406"/>
                    </a:lnTo>
                    <a:lnTo>
                      <a:pt x="381" y="408"/>
                    </a:lnTo>
                    <a:lnTo>
                      <a:pt x="381" y="410"/>
                    </a:lnTo>
                    <a:lnTo>
                      <a:pt x="383" y="412"/>
                    </a:lnTo>
                    <a:lnTo>
                      <a:pt x="385" y="412"/>
                    </a:lnTo>
                    <a:lnTo>
                      <a:pt x="387" y="414"/>
                    </a:lnTo>
                    <a:lnTo>
                      <a:pt x="387" y="414"/>
                    </a:lnTo>
                    <a:lnTo>
                      <a:pt x="389" y="414"/>
                    </a:lnTo>
                    <a:lnTo>
                      <a:pt x="389" y="414"/>
                    </a:lnTo>
                    <a:lnTo>
                      <a:pt x="391" y="414"/>
                    </a:lnTo>
                    <a:lnTo>
                      <a:pt x="391" y="414"/>
                    </a:lnTo>
                    <a:lnTo>
                      <a:pt x="391" y="414"/>
                    </a:lnTo>
                    <a:lnTo>
                      <a:pt x="391" y="414"/>
                    </a:lnTo>
                    <a:lnTo>
                      <a:pt x="391" y="416"/>
                    </a:lnTo>
                    <a:lnTo>
                      <a:pt x="391" y="416"/>
                    </a:lnTo>
                    <a:lnTo>
                      <a:pt x="393" y="416"/>
                    </a:lnTo>
                    <a:lnTo>
                      <a:pt x="395" y="416"/>
                    </a:lnTo>
                    <a:lnTo>
                      <a:pt x="397" y="416"/>
                    </a:lnTo>
                    <a:lnTo>
                      <a:pt x="399" y="418"/>
                    </a:lnTo>
                    <a:lnTo>
                      <a:pt x="401" y="420"/>
                    </a:lnTo>
                    <a:lnTo>
                      <a:pt x="405" y="420"/>
                    </a:lnTo>
                    <a:lnTo>
                      <a:pt x="407" y="420"/>
                    </a:lnTo>
                    <a:lnTo>
                      <a:pt x="407" y="420"/>
                    </a:lnTo>
                    <a:lnTo>
                      <a:pt x="409" y="420"/>
                    </a:lnTo>
                    <a:lnTo>
                      <a:pt x="411" y="422"/>
                    </a:lnTo>
                    <a:lnTo>
                      <a:pt x="411" y="422"/>
                    </a:lnTo>
                    <a:lnTo>
                      <a:pt x="413" y="422"/>
                    </a:lnTo>
                    <a:lnTo>
                      <a:pt x="413" y="422"/>
                    </a:lnTo>
                    <a:lnTo>
                      <a:pt x="415" y="422"/>
                    </a:lnTo>
                    <a:lnTo>
                      <a:pt x="417" y="422"/>
                    </a:lnTo>
                    <a:lnTo>
                      <a:pt x="417" y="422"/>
                    </a:lnTo>
                    <a:lnTo>
                      <a:pt x="417" y="422"/>
                    </a:lnTo>
                    <a:lnTo>
                      <a:pt x="419" y="424"/>
                    </a:lnTo>
                    <a:lnTo>
                      <a:pt x="419" y="424"/>
                    </a:lnTo>
                    <a:lnTo>
                      <a:pt x="419" y="424"/>
                    </a:lnTo>
                    <a:lnTo>
                      <a:pt x="421" y="426"/>
                    </a:lnTo>
                    <a:lnTo>
                      <a:pt x="421" y="426"/>
                    </a:lnTo>
                    <a:lnTo>
                      <a:pt x="423" y="424"/>
                    </a:lnTo>
                    <a:lnTo>
                      <a:pt x="423" y="424"/>
                    </a:lnTo>
                    <a:lnTo>
                      <a:pt x="421" y="422"/>
                    </a:lnTo>
                    <a:lnTo>
                      <a:pt x="421" y="422"/>
                    </a:lnTo>
                    <a:lnTo>
                      <a:pt x="421" y="422"/>
                    </a:lnTo>
                    <a:lnTo>
                      <a:pt x="421" y="420"/>
                    </a:lnTo>
                    <a:lnTo>
                      <a:pt x="421" y="420"/>
                    </a:lnTo>
                    <a:lnTo>
                      <a:pt x="421" y="418"/>
                    </a:lnTo>
                    <a:lnTo>
                      <a:pt x="419" y="418"/>
                    </a:lnTo>
                    <a:lnTo>
                      <a:pt x="417" y="416"/>
                    </a:lnTo>
                    <a:lnTo>
                      <a:pt x="417" y="416"/>
                    </a:lnTo>
                    <a:lnTo>
                      <a:pt x="415" y="414"/>
                    </a:lnTo>
                    <a:lnTo>
                      <a:pt x="415" y="414"/>
                    </a:lnTo>
                    <a:lnTo>
                      <a:pt x="415" y="414"/>
                    </a:lnTo>
                    <a:lnTo>
                      <a:pt x="413" y="414"/>
                    </a:lnTo>
                    <a:lnTo>
                      <a:pt x="413" y="414"/>
                    </a:lnTo>
                    <a:lnTo>
                      <a:pt x="413" y="414"/>
                    </a:lnTo>
                    <a:lnTo>
                      <a:pt x="415" y="412"/>
                    </a:lnTo>
                    <a:lnTo>
                      <a:pt x="415" y="410"/>
                    </a:lnTo>
                    <a:lnTo>
                      <a:pt x="415" y="408"/>
                    </a:lnTo>
                    <a:lnTo>
                      <a:pt x="417" y="406"/>
                    </a:lnTo>
                    <a:lnTo>
                      <a:pt x="415" y="400"/>
                    </a:lnTo>
                    <a:lnTo>
                      <a:pt x="415" y="398"/>
                    </a:lnTo>
                    <a:lnTo>
                      <a:pt x="415" y="398"/>
                    </a:lnTo>
                    <a:lnTo>
                      <a:pt x="415" y="398"/>
                    </a:lnTo>
                    <a:lnTo>
                      <a:pt x="413" y="396"/>
                    </a:lnTo>
                    <a:lnTo>
                      <a:pt x="413" y="396"/>
                    </a:lnTo>
                    <a:lnTo>
                      <a:pt x="413" y="396"/>
                    </a:lnTo>
                    <a:lnTo>
                      <a:pt x="413" y="392"/>
                    </a:lnTo>
                    <a:lnTo>
                      <a:pt x="413" y="392"/>
                    </a:lnTo>
                    <a:lnTo>
                      <a:pt x="411" y="388"/>
                    </a:lnTo>
                    <a:lnTo>
                      <a:pt x="413" y="386"/>
                    </a:lnTo>
                    <a:lnTo>
                      <a:pt x="417" y="382"/>
                    </a:lnTo>
                    <a:lnTo>
                      <a:pt x="417" y="380"/>
                    </a:lnTo>
                    <a:lnTo>
                      <a:pt x="417" y="378"/>
                    </a:lnTo>
                    <a:lnTo>
                      <a:pt x="417" y="378"/>
                    </a:lnTo>
                    <a:lnTo>
                      <a:pt x="419" y="378"/>
                    </a:lnTo>
                    <a:lnTo>
                      <a:pt x="419" y="378"/>
                    </a:lnTo>
                    <a:lnTo>
                      <a:pt x="421" y="378"/>
                    </a:lnTo>
                    <a:lnTo>
                      <a:pt x="423" y="372"/>
                    </a:lnTo>
                    <a:lnTo>
                      <a:pt x="423" y="372"/>
                    </a:lnTo>
                    <a:lnTo>
                      <a:pt x="425" y="372"/>
                    </a:lnTo>
                    <a:lnTo>
                      <a:pt x="425" y="372"/>
                    </a:lnTo>
                    <a:lnTo>
                      <a:pt x="425" y="370"/>
                    </a:lnTo>
                    <a:lnTo>
                      <a:pt x="425" y="370"/>
                    </a:lnTo>
                    <a:lnTo>
                      <a:pt x="427" y="368"/>
                    </a:lnTo>
                    <a:lnTo>
                      <a:pt x="427" y="368"/>
                    </a:lnTo>
                    <a:lnTo>
                      <a:pt x="429" y="366"/>
                    </a:lnTo>
                    <a:lnTo>
                      <a:pt x="433" y="360"/>
                    </a:lnTo>
                    <a:lnTo>
                      <a:pt x="435" y="358"/>
                    </a:lnTo>
                    <a:lnTo>
                      <a:pt x="437" y="356"/>
                    </a:lnTo>
                    <a:lnTo>
                      <a:pt x="439" y="354"/>
                    </a:lnTo>
                    <a:lnTo>
                      <a:pt x="449" y="342"/>
                    </a:lnTo>
                    <a:lnTo>
                      <a:pt x="451" y="340"/>
                    </a:lnTo>
                    <a:lnTo>
                      <a:pt x="455" y="340"/>
                    </a:lnTo>
                    <a:lnTo>
                      <a:pt x="455" y="340"/>
                    </a:lnTo>
                    <a:lnTo>
                      <a:pt x="455" y="338"/>
                    </a:lnTo>
                    <a:lnTo>
                      <a:pt x="459" y="334"/>
                    </a:lnTo>
                    <a:lnTo>
                      <a:pt x="461" y="334"/>
                    </a:lnTo>
                    <a:lnTo>
                      <a:pt x="461" y="332"/>
                    </a:lnTo>
                    <a:lnTo>
                      <a:pt x="461" y="330"/>
                    </a:lnTo>
                    <a:lnTo>
                      <a:pt x="463" y="330"/>
                    </a:lnTo>
                    <a:lnTo>
                      <a:pt x="463" y="330"/>
                    </a:lnTo>
                    <a:lnTo>
                      <a:pt x="465" y="328"/>
                    </a:lnTo>
                    <a:lnTo>
                      <a:pt x="473" y="328"/>
                    </a:lnTo>
                    <a:lnTo>
                      <a:pt x="475" y="328"/>
                    </a:lnTo>
                    <a:lnTo>
                      <a:pt x="477" y="326"/>
                    </a:lnTo>
                    <a:lnTo>
                      <a:pt x="477" y="324"/>
                    </a:lnTo>
                    <a:lnTo>
                      <a:pt x="477" y="324"/>
                    </a:lnTo>
                    <a:lnTo>
                      <a:pt x="477" y="322"/>
                    </a:lnTo>
                    <a:lnTo>
                      <a:pt x="477" y="322"/>
                    </a:lnTo>
                    <a:lnTo>
                      <a:pt x="481" y="320"/>
                    </a:lnTo>
                    <a:lnTo>
                      <a:pt x="481" y="320"/>
                    </a:lnTo>
                    <a:lnTo>
                      <a:pt x="481" y="318"/>
                    </a:lnTo>
                    <a:lnTo>
                      <a:pt x="481" y="318"/>
                    </a:lnTo>
                    <a:lnTo>
                      <a:pt x="481" y="318"/>
                    </a:lnTo>
                    <a:lnTo>
                      <a:pt x="481" y="314"/>
                    </a:lnTo>
                    <a:lnTo>
                      <a:pt x="483" y="312"/>
                    </a:lnTo>
                    <a:lnTo>
                      <a:pt x="481" y="312"/>
                    </a:lnTo>
                    <a:lnTo>
                      <a:pt x="481" y="310"/>
                    </a:lnTo>
                    <a:lnTo>
                      <a:pt x="481" y="308"/>
                    </a:lnTo>
                    <a:lnTo>
                      <a:pt x="481" y="306"/>
                    </a:lnTo>
                    <a:lnTo>
                      <a:pt x="479" y="306"/>
                    </a:lnTo>
                    <a:lnTo>
                      <a:pt x="477" y="306"/>
                    </a:lnTo>
                    <a:lnTo>
                      <a:pt x="477" y="304"/>
                    </a:lnTo>
                    <a:lnTo>
                      <a:pt x="477" y="302"/>
                    </a:lnTo>
                    <a:lnTo>
                      <a:pt x="477" y="302"/>
                    </a:lnTo>
                    <a:lnTo>
                      <a:pt x="477" y="302"/>
                    </a:lnTo>
                    <a:lnTo>
                      <a:pt x="475" y="302"/>
                    </a:lnTo>
                    <a:lnTo>
                      <a:pt x="475" y="300"/>
                    </a:lnTo>
                    <a:lnTo>
                      <a:pt x="475" y="300"/>
                    </a:lnTo>
                    <a:lnTo>
                      <a:pt x="475" y="298"/>
                    </a:lnTo>
                    <a:close/>
                  </a:path>
                </a:pathLst>
              </a:custGeom>
              <a:solidFill>
                <a:srgbClr val="73C37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30" name="Freeform 76"/>
              <p:cNvSpPr>
                <a:spLocks/>
              </p:cNvSpPr>
              <p:nvPr>
                <p:custDataLst>
                  <p:tags r:id="rId152"/>
                </p:custDataLst>
              </p:nvPr>
            </p:nvSpPr>
            <p:spPr bwMode="gray">
              <a:xfrm>
                <a:off x="5030349" y="3330413"/>
                <a:ext cx="476356" cy="241353"/>
              </a:xfrm>
              <a:custGeom>
                <a:avLst/>
                <a:gdLst>
                  <a:gd name="T0" fmla="*/ 149 w 150"/>
                  <a:gd name="T1" fmla="*/ 20 h 76"/>
                  <a:gd name="T2" fmla="*/ 144 w 150"/>
                  <a:gd name="T3" fmla="*/ 16 h 76"/>
                  <a:gd name="T4" fmla="*/ 138 w 150"/>
                  <a:gd name="T5" fmla="*/ 14 h 76"/>
                  <a:gd name="T6" fmla="*/ 130 w 150"/>
                  <a:gd name="T7" fmla="*/ 7 h 76"/>
                  <a:gd name="T8" fmla="*/ 119 w 150"/>
                  <a:gd name="T9" fmla="*/ 6 h 76"/>
                  <a:gd name="T10" fmla="*/ 113 w 150"/>
                  <a:gd name="T11" fmla="*/ 10 h 76"/>
                  <a:gd name="T12" fmla="*/ 105 w 150"/>
                  <a:gd name="T13" fmla="*/ 6 h 76"/>
                  <a:gd name="T14" fmla="*/ 99 w 150"/>
                  <a:gd name="T15" fmla="*/ 5 h 76"/>
                  <a:gd name="T16" fmla="*/ 92 w 150"/>
                  <a:gd name="T17" fmla="*/ 3 h 76"/>
                  <a:gd name="T18" fmla="*/ 85 w 150"/>
                  <a:gd name="T19" fmla="*/ 10 h 76"/>
                  <a:gd name="T20" fmla="*/ 82 w 150"/>
                  <a:gd name="T21" fmla="*/ 6 h 76"/>
                  <a:gd name="T22" fmla="*/ 76 w 150"/>
                  <a:gd name="T23" fmla="*/ 0 h 76"/>
                  <a:gd name="T24" fmla="*/ 67 w 150"/>
                  <a:gd name="T25" fmla="*/ 7 h 76"/>
                  <a:gd name="T26" fmla="*/ 58 w 150"/>
                  <a:gd name="T27" fmla="*/ 6 h 76"/>
                  <a:gd name="T28" fmla="*/ 54 w 150"/>
                  <a:gd name="T29" fmla="*/ 6 h 76"/>
                  <a:gd name="T30" fmla="*/ 50 w 150"/>
                  <a:gd name="T31" fmla="*/ 12 h 76"/>
                  <a:gd name="T32" fmla="*/ 41 w 150"/>
                  <a:gd name="T33" fmla="*/ 12 h 76"/>
                  <a:gd name="T34" fmla="*/ 35 w 150"/>
                  <a:gd name="T35" fmla="*/ 19 h 76"/>
                  <a:gd name="T36" fmla="*/ 0 w 150"/>
                  <a:gd name="T37" fmla="*/ 45 h 76"/>
                  <a:gd name="T38" fmla="*/ 1 w 150"/>
                  <a:gd name="T39" fmla="*/ 51 h 76"/>
                  <a:gd name="T40" fmla="*/ 0 w 150"/>
                  <a:gd name="T41" fmla="*/ 58 h 76"/>
                  <a:gd name="T42" fmla="*/ 10 w 150"/>
                  <a:gd name="T43" fmla="*/ 65 h 76"/>
                  <a:gd name="T44" fmla="*/ 17 w 150"/>
                  <a:gd name="T45" fmla="*/ 71 h 76"/>
                  <a:gd name="T46" fmla="*/ 23 w 150"/>
                  <a:gd name="T47" fmla="*/ 75 h 76"/>
                  <a:gd name="T48" fmla="*/ 34 w 150"/>
                  <a:gd name="T49" fmla="*/ 75 h 76"/>
                  <a:gd name="T50" fmla="*/ 38 w 150"/>
                  <a:gd name="T51" fmla="*/ 75 h 76"/>
                  <a:gd name="T52" fmla="*/ 47 w 150"/>
                  <a:gd name="T53" fmla="*/ 72 h 76"/>
                  <a:gd name="T54" fmla="*/ 51 w 150"/>
                  <a:gd name="T55" fmla="*/ 68 h 76"/>
                  <a:gd name="T56" fmla="*/ 54 w 150"/>
                  <a:gd name="T57" fmla="*/ 65 h 76"/>
                  <a:gd name="T58" fmla="*/ 65 w 150"/>
                  <a:gd name="T59" fmla="*/ 65 h 76"/>
                  <a:gd name="T60" fmla="*/ 75 w 150"/>
                  <a:gd name="T61" fmla="*/ 61 h 76"/>
                  <a:gd name="T62" fmla="*/ 85 w 150"/>
                  <a:gd name="T63" fmla="*/ 54 h 76"/>
                  <a:gd name="T64" fmla="*/ 92 w 150"/>
                  <a:gd name="T65" fmla="*/ 47 h 76"/>
                  <a:gd name="T66" fmla="*/ 96 w 150"/>
                  <a:gd name="T67" fmla="*/ 41 h 76"/>
                  <a:gd name="T68" fmla="*/ 102 w 150"/>
                  <a:gd name="T69" fmla="*/ 41 h 76"/>
                  <a:gd name="T70" fmla="*/ 113 w 150"/>
                  <a:gd name="T71" fmla="*/ 41 h 76"/>
                  <a:gd name="T72" fmla="*/ 119 w 150"/>
                  <a:gd name="T73" fmla="*/ 41 h 76"/>
                  <a:gd name="T74" fmla="*/ 124 w 150"/>
                  <a:gd name="T75" fmla="*/ 45 h 76"/>
                  <a:gd name="T76" fmla="*/ 134 w 150"/>
                  <a:gd name="T77" fmla="*/ 45 h 76"/>
                  <a:gd name="T78" fmla="*/ 140 w 150"/>
                  <a:gd name="T79" fmla="*/ 44 h 76"/>
                  <a:gd name="T80" fmla="*/ 140 w 150"/>
                  <a:gd name="T81" fmla="*/ 37 h 76"/>
                  <a:gd name="T82" fmla="*/ 145 w 150"/>
                  <a:gd name="T83" fmla="*/ 34 h 76"/>
                  <a:gd name="T84" fmla="*/ 146 w 150"/>
                  <a:gd name="T85" fmla="*/ 2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76">
                    <a:moveTo>
                      <a:pt x="150" y="25"/>
                    </a:moveTo>
                    <a:cubicBezTo>
                      <a:pt x="149" y="20"/>
                      <a:pt x="149" y="20"/>
                      <a:pt x="149" y="20"/>
                    </a:cubicBezTo>
                    <a:cubicBezTo>
                      <a:pt x="146" y="17"/>
                      <a:pt x="146" y="17"/>
                      <a:pt x="146" y="17"/>
                    </a:cubicBezTo>
                    <a:cubicBezTo>
                      <a:pt x="144" y="16"/>
                      <a:pt x="144" y="16"/>
                      <a:pt x="144" y="16"/>
                    </a:cubicBezTo>
                    <a:cubicBezTo>
                      <a:pt x="142" y="16"/>
                      <a:pt x="142" y="16"/>
                      <a:pt x="142" y="16"/>
                    </a:cubicBezTo>
                    <a:cubicBezTo>
                      <a:pt x="138" y="14"/>
                      <a:pt x="138" y="14"/>
                      <a:pt x="138" y="14"/>
                    </a:cubicBezTo>
                    <a:cubicBezTo>
                      <a:pt x="135" y="9"/>
                      <a:pt x="135" y="9"/>
                      <a:pt x="135" y="9"/>
                    </a:cubicBezTo>
                    <a:cubicBezTo>
                      <a:pt x="130" y="7"/>
                      <a:pt x="130" y="7"/>
                      <a:pt x="130" y="7"/>
                    </a:cubicBezTo>
                    <a:cubicBezTo>
                      <a:pt x="124" y="6"/>
                      <a:pt x="124" y="6"/>
                      <a:pt x="124" y="6"/>
                    </a:cubicBezTo>
                    <a:cubicBezTo>
                      <a:pt x="119" y="6"/>
                      <a:pt x="119" y="6"/>
                      <a:pt x="119" y="6"/>
                    </a:cubicBezTo>
                    <a:cubicBezTo>
                      <a:pt x="115" y="7"/>
                      <a:pt x="115" y="7"/>
                      <a:pt x="115" y="7"/>
                    </a:cubicBezTo>
                    <a:cubicBezTo>
                      <a:pt x="113" y="10"/>
                      <a:pt x="113" y="10"/>
                      <a:pt x="113" y="10"/>
                    </a:cubicBezTo>
                    <a:cubicBezTo>
                      <a:pt x="107" y="8"/>
                      <a:pt x="107" y="8"/>
                      <a:pt x="107" y="8"/>
                    </a:cubicBezTo>
                    <a:cubicBezTo>
                      <a:pt x="105" y="6"/>
                      <a:pt x="105" y="6"/>
                      <a:pt x="105" y="6"/>
                    </a:cubicBezTo>
                    <a:cubicBezTo>
                      <a:pt x="102" y="2"/>
                      <a:pt x="102" y="2"/>
                      <a:pt x="102" y="2"/>
                    </a:cubicBezTo>
                    <a:cubicBezTo>
                      <a:pt x="99" y="5"/>
                      <a:pt x="99" y="5"/>
                      <a:pt x="99" y="5"/>
                    </a:cubicBezTo>
                    <a:cubicBezTo>
                      <a:pt x="96" y="6"/>
                      <a:pt x="96" y="6"/>
                      <a:pt x="96" y="6"/>
                    </a:cubicBezTo>
                    <a:cubicBezTo>
                      <a:pt x="92" y="3"/>
                      <a:pt x="92" y="3"/>
                      <a:pt x="92" y="3"/>
                    </a:cubicBezTo>
                    <a:cubicBezTo>
                      <a:pt x="85" y="6"/>
                      <a:pt x="85" y="6"/>
                      <a:pt x="85" y="6"/>
                    </a:cubicBezTo>
                    <a:cubicBezTo>
                      <a:pt x="85" y="10"/>
                      <a:pt x="85" y="10"/>
                      <a:pt x="85" y="10"/>
                    </a:cubicBezTo>
                    <a:cubicBezTo>
                      <a:pt x="83" y="7"/>
                      <a:pt x="83" y="7"/>
                      <a:pt x="83" y="7"/>
                    </a:cubicBezTo>
                    <a:cubicBezTo>
                      <a:pt x="82" y="6"/>
                      <a:pt x="82" y="6"/>
                      <a:pt x="82" y="6"/>
                    </a:cubicBezTo>
                    <a:cubicBezTo>
                      <a:pt x="78" y="3"/>
                      <a:pt x="78" y="3"/>
                      <a:pt x="78" y="3"/>
                    </a:cubicBezTo>
                    <a:cubicBezTo>
                      <a:pt x="76" y="0"/>
                      <a:pt x="76" y="0"/>
                      <a:pt x="76" y="0"/>
                    </a:cubicBezTo>
                    <a:cubicBezTo>
                      <a:pt x="70" y="4"/>
                      <a:pt x="70" y="4"/>
                      <a:pt x="70" y="4"/>
                    </a:cubicBezTo>
                    <a:cubicBezTo>
                      <a:pt x="67" y="7"/>
                      <a:pt x="67" y="7"/>
                      <a:pt x="67" y="7"/>
                    </a:cubicBezTo>
                    <a:cubicBezTo>
                      <a:pt x="65" y="6"/>
                      <a:pt x="65" y="6"/>
                      <a:pt x="65" y="6"/>
                    </a:cubicBezTo>
                    <a:cubicBezTo>
                      <a:pt x="58" y="6"/>
                      <a:pt x="58" y="6"/>
                      <a:pt x="58" y="6"/>
                    </a:cubicBezTo>
                    <a:cubicBezTo>
                      <a:pt x="57" y="6"/>
                      <a:pt x="57" y="6"/>
                      <a:pt x="57" y="6"/>
                    </a:cubicBezTo>
                    <a:cubicBezTo>
                      <a:pt x="56" y="6"/>
                      <a:pt x="54" y="6"/>
                      <a:pt x="54" y="6"/>
                    </a:cubicBezTo>
                    <a:cubicBezTo>
                      <a:pt x="52" y="6"/>
                      <a:pt x="50" y="8"/>
                      <a:pt x="50" y="10"/>
                    </a:cubicBezTo>
                    <a:cubicBezTo>
                      <a:pt x="50" y="12"/>
                      <a:pt x="50" y="12"/>
                      <a:pt x="50" y="12"/>
                    </a:cubicBezTo>
                    <a:cubicBezTo>
                      <a:pt x="50" y="12"/>
                      <a:pt x="50" y="12"/>
                      <a:pt x="49" y="12"/>
                    </a:cubicBezTo>
                    <a:cubicBezTo>
                      <a:pt x="47" y="12"/>
                      <a:pt x="45" y="12"/>
                      <a:pt x="41" y="12"/>
                    </a:cubicBezTo>
                    <a:cubicBezTo>
                      <a:pt x="39" y="12"/>
                      <a:pt x="39" y="12"/>
                      <a:pt x="39" y="12"/>
                    </a:cubicBezTo>
                    <a:cubicBezTo>
                      <a:pt x="37" y="17"/>
                      <a:pt x="35" y="19"/>
                      <a:pt x="35" y="19"/>
                    </a:cubicBezTo>
                    <a:cubicBezTo>
                      <a:pt x="34" y="21"/>
                      <a:pt x="34" y="21"/>
                      <a:pt x="32" y="23"/>
                    </a:cubicBezTo>
                    <a:cubicBezTo>
                      <a:pt x="30" y="37"/>
                      <a:pt x="9" y="42"/>
                      <a:pt x="0" y="45"/>
                    </a:cubicBezTo>
                    <a:cubicBezTo>
                      <a:pt x="2" y="48"/>
                      <a:pt x="2" y="48"/>
                      <a:pt x="2" y="48"/>
                    </a:cubicBezTo>
                    <a:cubicBezTo>
                      <a:pt x="1" y="51"/>
                      <a:pt x="1" y="51"/>
                      <a:pt x="1" y="51"/>
                    </a:cubicBezTo>
                    <a:cubicBezTo>
                      <a:pt x="5" y="56"/>
                      <a:pt x="5" y="56"/>
                      <a:pt x="5" y="56"/>
                    </a:cubicBezTo>
                    <a:cubicBezTo>
                      <a:pt x="0" y="58"/>
                      <a:pt x="0" y="58"/>
                      <a:pt x="0" y="58"/>
                    </a:cubicBezTo>
                    <a:cubicBezTo>
                      <a:pt x="4" y="65"/>
                      <a:pt x="4" y="65"/>
                      <a:pt x="4" y="65"/>
                    </a:cubicBezTo>
                    <a:cubicBezTo>
                      <a:pt x="10" y="65"/>
                      <a:pt x="10" y="65"/>
                      <a:pt x="10" y="65"/>
                    </a:cubicBezTo>
                    <a:cubicBezTo>
                      <a:pt x="13" y="68"/>
                      <a:pt x="13" y="68"/>
                      <a:pt x="13" y="68"/>
                    </a:cubicBezTo>
                    <a:cubicBezTo>
                      <a:pt x="17" y="71"/>
                      <a:pt x="17" y="71"/>
                      <a:pt x="17" y="71"/>
                    </a:cubicBezTo>
                    <a:cubicBezTo>
                      <a:pt x="20" y="73"/>
                      <a:pt x="20" y="73"/>
                      <a:pt x="20" y="73"/>
                    </a:cubicBezTo>
                    <a:cubicBezTo>
                      <a:pt x="23" y="75"/>
                      <a:pt x="23" y="75"/>
                      <a:pt x="23" y="75"/>
                    </a:cubicBezTo>
                    <a:cubicBezTo>
                      <a:pt x="30" y="76"/>
                      <a:pt x="30" y="76"/>
                      <a:pt x="30" y="76"/>
                    </a:cubicBezTo>
                    <a:cubicBezTo>
                      <a:pt x="34" y="75"/>
                      <a:pt x="34" y="75"/>
                      <a:pt x="34" y="75"/>
                    </a:cubicBezTo>
                    <a:cubicBezTo>
                      <a:pt x="37" y="75"/>
                      <a:pt x="37" y="75"/>
                      <a:pt x="37" y="75"/>
                    </a:cubicBezTo>
                    <a:cubicBezTo>
                      <a:pt x="38" y="75"/>
                      <a:pt x="38" y="75"/>
                      <a:pt x="38" y="75"/>
                    </a:cubicBezTo>
                    <a:cubicBezTo>
                      <a:pt x="44" y="72"/>
                      <a:pt x="44" y="72"/>
                      <a:pt x="44" y="72"/>
                    </a:cubicBezTo>
                    <a:cubicBezTo>
                      <a:pt x="47" y="72"/>
                      <a:pt x="47" y="72"/>
                      <a:pt x="47" y="72"/>
                    </a:cubicBezTo>
                    <a:cubicBezTo>
                      <a:pt x="50" y="71"/>
                      <a:pt x="50" y="71"/>
                      <a:pt x="50" y="71"/>
                    </a:cubicBezTo>
                    <a:cubicBezTo>
                      <a:pt x="51" y="68"/>
                      <a:pt x="51" y="68"/>
                      <a:pt x="51" y="68"/>
                    </a:cubicBezTo>
                    <a:cubicBezTo>
                      <a:pt x="53" y="65"/>
                      <a:pt x="53" y="65"/>
                      <a:pt x="53" y="65"/>
                    </a:cubicBezTo>
                    <a:cubicBezTo>
                      <a:pt x="54" y="65"/>
                      <a:pt x="54" y="65"/>
                      <a:pt x="54" y="65"/>
                    </a:cubicBezTo>
                    <a:cubicBezTo>
                      <a:pt x="61" y="65"/>
                      <a:pt x="61" y="65"/>
                      <a:pt x="61" y="65"/>
                    </a:cubicBezTo>
                    <a:cubicBezTo>
                      <a:pt x="65" y="65"/>
                      <a:pt x="65" y="65"/>
                      <a:pt x="65" y="65"/>
                    </a:cubicBezTo>
                    <a:cubicBezTo>
                      <a:pt x="68" y="65"/>
                      <a:pt x="68" y="65"/>
                      <a:pt x="68" y="65"/>
                    </a:cubicBezTo>
                    <a:cubicBezTo>
                      <a:pt x="75" y="61"/>
                      <a:pt x="75" y="61"/>
                      <a:pt x="75" y="61"/>
                    </a:cubicBezTo>
                    <a:cubicBezTo>
                      <a:pt x="78" y="58"/>
                      <a:pt x="78" y="58"/>
                      <a:pt x="78" y="58"/>
                    </a:cubicBezTo>
                    <a:cubicBezTo>
                      <a:pt x="85" y="54"/>
                      <a:pt x="85" y="54"/>
                      <a:pt x="85" y="54"/>
                    </a:cubicBezTo>
                    <a:cubicBezTo>
                      <a:pt x="89" y="51"/>
                      <a:pt x="89" y="51"/>
                      <a:pt x="89" y="51"/>
                    </a:cubicBezTo>
                    <a:cubicBezTo>
                      <a:pt x="92" y="47"/>
                      <a:pt x="92" y="47"/>
                      <a:pt x="92" y="47"/>
                    </a:cubicBezTo>
                    <a:cubicBezTo>
                      <a:pt x="92" y="44"/>
                      <a:pt x="92" y="44"/>
                      <a:pt x="92" y="44"/>
                    </a:cubicBezTo>
                    <a:cubicBezTo>
                      <a:pt x="96" y="41"/>
                      <a:pt x="96" y="41"/>
                      <a:pt x="96" y="41"/>
                    </a:cubicBezTo>
                    <a:cubicBezTo>
                      <a:pt x="99" y="41"/>
                      <a:pt x="99" y="41"/>
                      <a:pt x="99" y="41"/>
                    </a:cubicBezTo>
                    <a:cubicBezTo>
                      <a:pt x="102" y="41"/>
                      <a:pt x="102" y="41"/>
                      <a:pt x="102" y="41"/>
                    </a:cubicBezTo>
                    <a:cubicBezTo>
                      <a:pt x="109" y="41"/>
                      <a:pt x="109" y="41"/>
                      <a:pt x="109" y="41"/>
                    </a:cubicBezTo>
                    <a:cubicBezTo>
                      <a:pt x="113" y="41"/>
                      <a:pt x="113" y="41"/>
                      <a:pt x="113" y="41"/>
                    </a:cubicBezTo>
                    <a:cubicBezTo>
                      <a:pt x="114" y="41"/>
                      <a:pt x="114" y="41"/>
                      <a:pt x="114" y="41"/>
                    </a:cubicBezTo>
                    <a:cubicBezTo>
                      <a:pt x="119" y="41"/>
                      <a:pt x="119" y="41"/>
                      <a:pt x="119" y="41"/>
                    </a:cubicBezTo>
                    <a:cubicBezTo>
                      <a:pt x="119" y="46"/>
                      <a:pt x="119" y="46"/>
                      <a:pt x="119" y="46"/>
                    </a:cubicBezTo>
                    <a:cubicBezTo>
                      <a:pt x="124" y="45"/>
                      <a:pt x="124" y="45"/>
                      <a:pt x="124" y="45"/>
                    </a:cubicBezTo>
                    <a:cubicBezTo>
                      <a:pt x="128" y="49"/>
                      <a:pt x="128" y="49"/>
                      <a:pt x="128" y="49"/>
                    </a:cubicBezTo>
                    <a:cubicBezTo>
                      <a:pt x="134" y="45"/>
                      <a:pt x="134" y="45"/>
                      <a:pt x="134" y="45"/>
                    </a:cubicBezTo>
                    <a:cubicBezTo>
                      <a:pt x="140" y="48"/>
                      <a:pt x="140" y="48"/>
                      <a:pt x="140" y="48"/>
                    </a:cubicBezTo>
                    <a:cubicBezTo>
                      <a:pt x="140" y="44"/>
                      <a:pt x="140" y="44"/>
                      <a:pt x="140" y="44"/>
                    </a:cubicBezTo>
                    <a:cubicBezTo>
                      <a:pt x="139" y="41"/>
                      <a:pt x="139" y="41"/>
                      <a:pt x="139" y="41"/>
                    </a:cubicBezTo>
                    <a:cubicBezTo>
                      <a:pt x="140" y="37"/>
                      <a:pt x="140" y="37"/>
                      <a:pt x="140" y="37"/>
                    </a:cubicBezTo>
                    <a:cubicBezTo>
                      <a:pt x="142" y="34"/>
                      <a:pt x="142" y="34"/>
                      <a:pt x="142" y="34"/>
                    </a:cubicBezTo>
                    <a:cubicBezTo>
                      <a:pt x="145" y="34"/>
                      <a:pt x="145" y="34"/>
                      <a:pt x="145" y="34"/>
                    </a:cubicBezTo>
                    <a:cubicBezTo>
                      <a:pt x="144" y="30"/>
                      <a:pt x="144" y="30"/>
                      <a:pt x="144" y="30"/>
                    </a:cubicBezTo>
                    <a:cubicBezTo>
                      <a:pt x="146" y="28"/>
                      <a:pt x="146" y="28"/>
                      <a:pt x="146" y="28"/>
                    </a:cubicBezTo>
                    <a:lnTo>
                      <a:pt x="150" y="25"/>
                    </a:lnTo>
                    <a:close/>
                  </a:path>
                </a:pathLst>
              </a:custGeom>
              <a:solidFill>
                <a:srgbClr val="73C37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grpSp>
        <p:sp>
          <p:nvSpPr>
            <p:cNvPr id="910" name="Rechteck 909"/>
            <p:cNvSpPr/>
            <p:nvPr>
              <p:custDataLst>
                <p:tags r:id="rId84"/>
              </p:custDataLst>
            </p:nvPr>
          </p:nvSpPr>
          <p:spPr bwMode="gray">
            <a:xfrm>
              <a:off x="2915820" y="397590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2</a:t>
              </a:r>
            </a:p>
          </p:txBody>
        </p:sp>
        <p:sp>
          <p:nvSpPr>
            <p:cNvPr id="911" name="Rechteck 910"/>
            <p:cNvSpPr/>
            <p:nvPr>
              <p:custDataLst>
                <p:tags r:id="rId85"/>
              </p:custDataLst>
            </p:nvPr>
          </p:nvSpPr>
          <p:spPr bwMode="gray">
            <a:xfrm>
              <a:off x="2876836" y="4119938"/>
              <a:ext cx="182964"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1</a:t>
              </a:r>
            </a:p>
          </p:txBody>
        </p:sp>
        <p:sp>
          <p:nvSpPr>
            <p:cNvPr id="916" name="Rechteck 915"/>
            <p:cNvSpPr/>
            <p:nvPr>
              <p:custDataLst>
                <p:tags r:id="rId86"/>
              </p:custDataLst>
            </p:nvPr>
          </p:nvSpPr>
          <p:spPr bwMode="gray">
            <a:xfrm>
              <a:off x="2303752" y="368787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8</a:t>
              </a:r>
            </a:p>
          </p:txBody>
        </p:sp>
        <p:sp>
          <p:nvSpPr>
            <p:cNvPr id="917" name="Rechteck 916"/>
            <p:cNvSpPr/>
            <p:nvPr>
              <p:custDataLst>
                <p:tags r:id="rId87"/>
              </p:custDataLst>
            </p:nvPr>
          </p:nvSpPr>
          <p:spPr bwMode="gray">
            <a:xfrm>
              <a:off x="2159732" y="383190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10</a:t>
              </a:r>
            </a:p>
          </p:txBody>
        </p:sp>
        <p:sp>
          <p:nvSpPr>
            <p:cNvPr id="919" name="Ellipse 918"/>
            <p:cNvSpPr/>
            <p:nvPr>
              <p:custDataLst>
                <p:tags r:id="rId88"/>
              </p:custDataLst>
            </p:nvPr>
          </p:nvSpPr>
          <p:spPr bwMode="gray">
            <a:xfrm rot="10800000">
              <a:off x="2483752" y="3831906"/>
              <a:ext cx="108000" cy="108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endParaRPr lang="en-US" sz="1067" dirty="0">
                <a:solidFill>
                  <a:schemeClr val="bg1"/>
                </a:solidFill>
              </a:endParaRPr>
            </a:p>
          </p:txBody>
        </p:sp>
        <p:sp>
          <p:nvSpPr>
            <p:cNvPr id="921" name="Rechteck 920"/>
            <p:cNvSpPr/>
            <p:nvPr>
              <p:custDataLst>
                <p:tags r:id="rId89"/>
              </p:custDataLst>
            </p:nvPr>
          </p:nvSpPr>
          <p:spPr bwMode="gray">
            <a:xfrm>
              <a:off x="3671932" y="3399838"/>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4</a:t>
              </a:r>
            </a:p>
          </p:txBody>
        </p:sp>
        <p:sp>
          <p:nvSpPr>
            <p:cNvPr id="922" name="Rechteck 921"/>
            <p:cNvSpPr/>
            <p:nvPr>
              <p:custDataLst>
                <p:tags r:id="rId90"/>
              </p:custDataLst>
            </p:nvPr>
          </p:nvSpPr>
          <p:spPr bwMode="gray">
            <a:xfrm>
              <a:off x="3527912" y="3543870"/>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de-DE" sz="1200" dirty="0">
                  <a:solidFill>
                    <a:schemeClr val="tx1"/>
                  </a:solidFill>
                </a:rPr>
                <a:t>-3</a:t>
              </a:r>
              <a:endParaRPr lang="en-US" sz="1200" dirty="0">
                <a:solidFill>
                  <a:schemeClr val="tx1"/>
                </a:solidFill>
              </a:endParaRPr>
            </a:p>
          </p:txBody>
        </p:sp>
        <p:sp>
          <p:nvSpPr>
            <p:cNvPr id="932" name="Rechteck 931"/>
            <p:cNvSpPr/>
            <p:nvPr>
              <p:custDataLst>
                <p:tags r:id="rId91"/>
              </p:custDataLst>
            </p:nvPr>
          </p:nvSpPr>
          <p:spPr bwMode="gray">
            <a:xfrm>
              <a:off x="2627816" y="2823790"/>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2</a:t>
              </a:r>
            </a:p>
          </p:txBody>
        </p:sp>
        <p:sp>
          <p:nvSpPr>
            <p:cNvPr id="933" name="Rechteck 932"/>
            <p:cNvSpPr/>
            <p:nvPr>
              <p:custDataLst>
                <p:tags r:id="rId92"/>
              </p:custDataLst>
            </p:nvPr>
          </p:nvSpPr>
          <p:spPr bwMode="gray">
            <a:xfrm>
              <a:off x="2483796" y="295293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3</a:t>
              </a:r>
            </a:p>
          </p:txBody>
        </p:sp>
        <p:sp>
          <p:nvSpPr>
            <p:cNvPr id="935" name="Ellipse 934"/>
            <p:cNvSpPr/>
            <p:nvPr>
              <p:custDataLst>
                <p:tags r:id="rId93"/>
              </p:custDataLst>
            </p:nvPr>
          </p:nvSpPr>
          <p:spPr bwMode="gray">
            <a:xfrm>
              <a:off x="2807816" y="2952928"/>
              <a:ext cx="108000" cy="108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endParaRPr lang="en-US" sz="1067" dirty="0">
                <a:solidFill>
                  <a:schemeClr val="bg1"/>
                </a:solidFill>
              </a:endParaRPr>
            </a:p>
          </p:txBody>
        </p:sp>
        <p:sp>
          <p:nvSpPr>
            <p:cNvPr id="937" name="Rechteck 936"/>
            <p:cNvSpPr/>
            <p:nvPr>
              <p:custDataLst>
                <p:tags r:id="rId94"/>
              </p:custDataLst>
            </p:nvPr>
          </p:nvSpPr>
          <p:spPr bwMode="gray">
            <a:xfrm>
              <a:off x="4031972" y="2643758"/>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8</a:t>
              </a:r>
            </a:p>
          </p:txBody>
        </p:sp>
        <p:sp>
          <p:nvSpPr>
            <p:cNvPr id="938" name="Rechteck 937"/>
            <p:cNvSpPr/>
            <p:nvPr>
              <p:custDataLst>
                <p:tags r:id="rId95"/>
              </p:custDataLst>
            </p:nvPr>
          </p:nvSpPr>
          <p:spPr bwMode="gray">
            <a:xfrm>
              <a:off x="3887952" y="2787790"/>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2</a:t>
              </a:r>
            </a:p>
          </p:txBody>
        </p:sp>
        <p:sp>
          <p:nvSpPr>
            <p:cNvPr id="942" name="Rechteck 941"/>
            <p:cNvSpPr/>
            <p:nvPr>
              <p:custDataLst>
                <p:tags r:id="rId96"/>
              </p:custDataLst>
            </p:nvPr>
          </p:nvSpPr>
          <p:spPr bwMode="gray">
            <a:xfrm>
              <a:off x="4309140" y="3008338"/>
              <a:ext cx="288000" cy="746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7</a:t>
              </a:r>
            </a:p>
          </p:txBody>
        </p:sp>
        <p:sp>
          <p:nvSpPr>
            <p:cNvPr id="943" name="Rechteck 942"/>
            <p:cNvSpPr/>
            <p:nvPr>
              <p:custDataLst>
                <p:tags r:id="rId97"/>
              </p:custDataLst>
            </p:nvPr>
          </p:nvSpPr>
          <p:spPr bwMode="gray">
            <a:xfrm>
              <a:off x="4177705" y="3146078"/>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10</a:t>
              </a:r>
            </a:p>
          </p:txBody>
        </p:sp>
        <p:sp>
          <p:nvSpPr>
            <p:cNvPr id="947" name="Rechteck 946"/>
            <p:cNvSpPr/>
            <p:nvPr>
              <p:custDataLst>
                <p:tags r:id="rId98"/>
              </p:custDataLst>
            </p:nvPr>
          </p:nvSpPr>
          <p:spPr bwMode="gray">
            <a:xfrm>
              <a:off x="5112064" y="289578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2</a:t>
              </a:r>
            </a:p>
          </p:txBody>
        </p:sp>
        <p:sp>
          <p:nvSpPr>
            <p:cNvPr id="948" name="Rechteck 947"/>
            <p:cNvSpPr/>
            <p:nvPr>
              <p:custDataLst>
                <p:tags r:id="rId99"/>
              </p:custDataLst>
            </p:nvPr>
          </p:nvSpPr>
          <p:spPr bwMode="gray">
            <a:xfrm>
              <a:off x="4968044" y="303981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9</a:t>
              </a:r>
            </a:p>
          </p:txBody>
        </p:sp>
        <p:sp>
          <p:nvSpPr>
            <p:cNvPr id="957" name="Rechteck 956"/>
            <p:cNvSpPr/>
            <p:nvPr>
              <p:custDataLst>
                <p:tags r:id="rId100"/>
              </p:custDataLst>
            </p:nvPr>
          </p:nvSpPr>
          <p:spPr bwMode="gray">
            <a:xfrm>
              <a:off x="6146773" y="301357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22</a:t>
              </a:r>
            </a:p>
          </p:txBody>
        </p:sp>
        <p:sp>
          <p:nvSpPr>
            <p:cNvPr id="958" name="Rechteck 957"/>
            <p:cNvSpPr/>
            <p:nvPr>
              <p:custDataLst>
                <p:tags r:id="rId101"/>
              </p:custDataLst>
            </p:nvPr>
          </p:nvSpPr>
          <p:spPr bwMode="gray">
            <a:xfrm>
              <a:off x="6002755" y="3157609"/>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9</a:t>
              </a:r>
            </a:p>
          </p:txBody>
        </p:sp>
        <p:sp>
          <p:nvSpPr>
            <p:cNvPr id="963" name="Rechteck 962"/>
            <p:cNvSpPr/>
            <p:nvPr>
              <p:custDataLst>
                <p:tags r:id="rId102"/>
              </p:custDataLst>
            </p:nvPr>
          </p:nvSpPr>
          <p:spPr bwMode="gray">
            <a:xfrm>
              <a:off x="5485885" y="3703811"/>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err="1">
                  <a:solidFill>
                    <a:schemeClr val="tx1"/>
                  </a:solidFill>
                </a:rPr>
                <a:t>na</a:t>
              </a:r>
              <a:endParaRPr lang="en-US" sz="1200" b="1" dirty="0">
                <a:solidFill>
                  <a:schemeClr val="tx1"/>
                </a:solidFill>
              </a:endParaRPr>
            </a:p>
          </p:txBody>
        </p:sp>
        <p:sp>
          <p:nvSpPr>
            <p:cNvPr id="968" name="Rechteck 967"/>
            <p:cNvSpPr/>
            <p:nvPr>
              <p:custDataLst>
                <p:tags r:id="rId103"/>
              </p:custDataLst>
            </p:nvPr>
          </p:nvSpPr>
          <p:spPr bwMode="gray">
            <a:xfrm>
              <a:off x="5686146" y="4008857"/>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2</a:t>
              </a:r>
            </a:p>
          </p:txBody>
        </p:sp>
        <p:sp>
          <p:nvSpPr>
            <p:cNvPr id="969" name="Rechteck 968"/>
            <p:cNvSpPr/>
            <p:nvPr>
              <p:custDataLst>
                <p:tags r:id="rId104"/>
              </p:custDataLst>
            </p:nvPr>
          </p:nvSpPr>
          <p:spPr bwMode="gray">
            <a:xfrm>
              <a:off x="5542125" y="4134011"/>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GB" sz="1200" dirty="0">
                  <a:solidFill>
                    <a:schemeClr val="tx1"/>
                  </a:solidFill>
                </a:rPr>
                <a:t>+2</a:t>
              </a:r>
              <a:endParaRPr lang="en-US" sz="1200" dirty="0">
                <a:solidFill>
                  <a:schemeClr val="tx1"/>
                </a:solidFill>
              </a:endParaRPr>
            </a:p>
          </p:txBody>
        </p:sp>
        <p:sp>
          <p:nvSpPr>
            <p:cNvPr id="971" name="Ellipse 970"/>
            <p:cNvSpPr/>
            <p:nvPr>
              <p:custDataLst>
                <p:tags r:id="rId105"/>
              </p:custDataLst>
            </p:nvPr>
          </p:nvSpPr>
          <p:spPr bwMode="gray">
            <a:xfrm>
              <a:off x="6660244" y="3953550"/>
              <a:ext cx="108000" cy="108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endParaRPr lang="en-US" sz="1067" dirty="0">
                <a:solidFill>
                  <a:schemeClr val="bg1"/>
                </a:solidFill>
              </a:endParaRPr>
            </a:p>
          </p:txBody>
        </p:sp>
        <p:grpSp>
          <p:nvGrpSpPr>
            <p:cNvPr id="979" name="Gruppieren 978"/>
            <p:cNvGrpSpPr/>
            <p:nvPr/>
          </p:nvGrpSpPr>
          <p:grpSpPr bwMode="gray">
            <a:xfrm>
              <a:off x="2627944" y="3075806"/>
              <a:ext cx="1440000" cy="0"/>
              <a:chOff x="2627944" y="3075806"/>
              <a:chExt cx="1440000" cy="0"/>
            </a:xfrm>
          </p:grpSpPr>
          <p:cxnSp>
            <p:nvCxnSpPr>
              <p:cNvPr id="931" name="Gerade Verbindung 930"/>
              <p:cNvCxnSpPr/>
              <p:nvPr>
                <p:custDataLst>
                  <p:tags r:id="rId120"/>
                </p:custDataLst>
              </p:nvPr>
            </p:nvCxnSpPr>
            <p:spPr bwMode="gray">
              <a:xfrm>
                <a:off x="2627944" y="3075806"/>
                <a:ext cx="1440000" cy="0"/>
              </a:xfrm>
              <a:prstGeom prst="line">
                <a:avLst/>
              </a:prstGeom>
              <a:ln w="38100" cap="rnd">
                <a:solidFill>
                  <a:schemeClr val="bg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978" name="Gerade Verbindung 977"/>
              <p:cNvCxnSpPr/>
              <p:nvPr>
                <p:custDataLst>
                  <p:tags r:id="rId121"/>
                </p:custDataLst>
              </p:nvPr>
            </p:nvCxnSpPr>
            <p:spPr bwMode="gray">
              <a:xfrm>
                <a:off x="2627944" y="3075806"/>
                <a:ext cx="1440000" cy="0"/>
              </a:xfrm>
              <a:prstGeom prst="line">
                <a:avLst/>
              </a:prstGeom>
              <a:ln cap="rnd">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grpSp>
        <p:sp>
          <p:nvSpPr>
            <p:cNvPr id="980" name="Rechteck 979"/>
            <p:cNvSpPr/>
            <p:nvPr>
              <p:custDataLst>
                <p:tags r:id="rId106"/>
              </p:custDataLst>
            </p:nvPr>
          </p:nvSpPr>
          <p:spPr bwMode="gray">
            <a:xfrm>
              <a:off x="5704198" y="441601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3</a:t>
              </a:r>
            </a:p>
          </p:txBody>
        </p:sp>
        <p:sp>
          <p:nvSpPr>
            <p:cNvPr id="981" name="Rechteck 980"/>
            <p:cNvSpPr/>
            <p:nvPr>
              <p:custDataLst>
                <p:tags r:id="rId107"/>
              </p:custDataLst>
            </p:nvPr>
          </p:nvSpPr>
          <p:spPr bwMode="gray">
            <a:xfrm>
              <a:off x="5560177" y="456004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6</a:t>
              </a:r>
            </a:p>
          </p:txBody>
        </p:sp>
        <p:sp>
          <p:nvSpPr>
            <p:cNvPr id="989" name="Freihandform 988"/>
            <p:cNvSpPr/>
            <p:nvPr>
              <p:custDataLst>
                <p:tags r:id="rId108"/>
              </p:custDataLst>
            </p:nvPr>
          </p:nvSpPr>
          <p:spPr bwMode="gray">
            <a:xfrm flipV="1">
              <a:off x="4853758" y="3777134"/>
              <a:ext cx="1908002" cy="1152000"/>
            </a:xfrm>
            <a:custGeom>
              <a:avLst/>
              <a:gdLst>
                <a:gd name="connsiteX0" fmla="*/ 0 w 1574800"/>
                <a:gd name="connsiteY0" fmla="*/ 654050 h 654050"/>
                <a:gd name="connsiteX1" fmla="*/ 0 w 1574800"/>
                <a:gd name="connsiteY1" fmla="*/ 0 h 654050"/>
                <a:gd name="connsiteX2" fmla="*/ 1574800 w 1574800"/>
                <a:gd name="connsiteY2" fmla="*/ 0 h 654050"/>
              </a:gdLst>
              <a:ahLst/>
              <a:cxnLst>
                <a:cxn ang="0">
                  <a:pos x="connsiteX0" y="connsiteY0"/>
                </a:cxn>
                <a:cxn ang="0">
                  <a:pos x="connsiteX1" y="connsiteY1"/>
                </a:cxn>
                <a:cxn ang="0">
                  <a:pos x="connsiteX2" y="connsiteY2"/>
                </a:cxn>
              </a:cxnLst>
              <a:rect l="l" t="t" r="r" b="b"/>
              <a:pathLst>
                <a:path w="1574800" h="654050">
                  <a:moveTo>
                    <a:pt x="0" y="654050"/>
                  </a:moveTo>
                  <a:lnTo>
                    <a:pt x="0" y="0"/>
                  </a:lnTo>
                  <a:lnTo>
                    <a:pt x="1574800" y="0"/>
                  </a:lnTo>
                </a:path>
              </a:pathLst>
            </a:custGeom>
            <a:noFill/>
            <a:ln w="9525" cap="rnd">
              <a:solidFill>
                <a:schemeClr val="tx1"/>
              </a:solidFill>
              <a:head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991" name="Rechteck 990"/>
            <p:cNvSpPr/>
            <p:nvPr>
              <p:custDataLst>
                <p:tags r:id="rId109"/>
              </p:custDataLst>
            </p:nvPr>
          </p:nvSpPr>
          <p:spPr bwMode="gray">
            <a:xfrm>
              <a:off x="6939532" y="313872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7</a:t>
              </a:r>
            </a:p>
          </p:txBody>
        </p:sp>
        <p:sp>
          <p:nvSpPr>
            <p:cNvPr id="992" name="Rechteck 991"/>
            <p:cNvSpPr/>
            <p:nvPr>
              <p:custDataLst>
                <p:tags r:id="rId110"/>
              </p:custDataLst>
            </p:nvPr>
          </p:nvSpPr>
          <p:spPr bwMode="gray">
            <a:xfrm>
              <a:off x="6795511" y="328275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GB" sz="1200" dirty="0">
                  <a:solidFill>
                    <a:schemeClr val="tx1"/>
                  </a:solidFill>
                </a:rPr>
                <a:t>+/-0</a:t>
              </a:r>
              <a:endParaRPr lang="en-US" sz="1200" dirty="0">
                <a:solidFill>
                  <a:schemeClr val="tx1"/>
                </a:solidFill>
              </a:endParaRPr>
            </a:p>
          </p:txBody>
        </p:sp>
        <p:sp>
          <p:nvSpPr>
            <p:cNvPr id="994" name="Ellipse 993"/>
            <p:cNvSpPr/>
            <p:nvPr>
              <p:custDataLst>
                <p:tags r:id="rId111"/>
              </p:custDataLst>
            </p:nvPr>
          </p:nvSpPr>
          <p:spPr bwMode="gray">
            <a:xfrm>
              <a:off x="7695737" y="2977892"/>
              <a:ext cx="108000" cy="108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endParaRPr lang="en-US" sz="1067" dirty="0">
                <a:solidFill>
                  <a:schemeClr val="bg1"/>
                </a:solidFill>
              </a:endParaRPr>
            </a:p>
          </p:txBody>
        </p:sp>
        <p:cxnSp>
          <p:nvCxnSpPr>
            <p:cNvPr id="998" name="Gerade Verbindung 997"/>
            <p:cNvCxnSpPr/>
            <p:nvPr>
              <p:custDataLst>
                <p:tags r:id="rId112"/>
              </p:custDataLst>
            </p:nvPr>
          </p:nvCxnSpPr>
          <p:spPr bwMode="gray">
            <a:xfrm>
              <a:off x="5266211" y="3399842"/>
              <a:ext cx="1980005" cy="0"/>
            </a:xfrm>
            <a:prstGeom prst="line">
              <a:avLst/>
            </a:prstGeom>
            <a:ln cap="rnd">
              <a:solidFill>
                <a:schemeClr val="tx1"/>
              </a:solidFill>
              <a:headEnd type="oval" w="sm" len="sm"/>
              <a:tailEnd type="none"/>
            </a:ln>
            <a:effectLst/>
          </p:spPr>
          <p:style>
            <a:lnRef idx="1">
              <a:schemeClr val="accent1"/>
            </a:lnRef>
            <a:fillRef idx="0">
              <a:schemeClr val="accent1"/>
            </a:fillRef>
            <a:effectRef idx="0">
              <a:schemeClr val="accent1"/>
            </a:effectRef>
            <a:fontRef idx="minor">
              <a:schemeClr val="tx1"/>
            </a:fontRef>
          </p:style>
        </p:cxnSp>
        <p:sp>
          <p:nvSpPr>
            <p:cNvPr id="1016" name="Rechteck 1015"/>
            <p:cNvSpPr/>
            <p:nvPr>
              <p:custDataLst>
                <p:tags r:id="rId113"/>
              </p:custDataLst>
            </p:nvPr>
          </p:nvSpPr>
          <p:spPr bwMode="gray">
            <a:xfrm>
              <a:off x="6480244" y="467361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20</a:t>
              </a:r>
            </a:p>
          </p:txBody>
        </p:sp>
        <p:sp>
          <p:nvSpPr>
            <p:cNvPr id="1017" name="Rechteck 1016"/>
            <p:cNvSpPr/>
            <p:nvPr>
              <p:custDataLst>
                <p:tags r:id="rId114"/>
              </p:custDataLst>
            </p:nvPr>
          </p:nvSpPr>
          <p:spPr bwMode="gray">
            <a:xfrm>
              <a:off x="6336224" y="481764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8</a:t>
              </a:r>
            </a:p>
          </p:txBody>
        </p:sp>
        <p:sp>
          <p:nvSpPr>
            <p:cNvPr id="1025" name="Rechteck 1024"/>
            <p:cNvSpPr/>
            <p:nvPr>
              <p:custDataLst>
                <p:tags r:id="rId115"/>
              </p:custDataLst>
            </p:nvPr>
          </p:nvSpPr>
          <p:spPr bwMode="gray">
            <a:xfrm>
              <a:off x="4717543" y="3456873"/>
              <a:ext cx="288000" cy="14200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5</a:t>
              </a:r>
            </a:p>
          </p:txBody>
        </p:sp>
        <p:sp>
          <p:nvSpPr>
            <p:cNvPr id="1026" name="Rechteck 1025"/>
            <p:cNvSpPr/>
            <p:nvPr>
              <p:custDataLst>
                <p:tags r:id="rId116"/>
              </p:custDataLst>
            </p:nvPr>
          </p:nvSpPr>
          <p:spPr bwMode="gray">
            <a:xfrm>
              <a:off x="4572028" y="357987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15</a:t>
              </a:r>
            </a:p>
          </p:txBody>
        </p:sp>
        <p:sp>
          <p:nvSpPr>
            <p:cNvPr id="1034" name="Rechteck 1033"/>
            <p:cNvSpPr/>
            <p:nvPr>
              <p:custDataLst>
                <p:tags r:id="rId117"/>
              </p:custDataLst>
            </p:nvPr>
          </p:nvSpPr>
          <p:spPr bwMode="gray">
            <a:xfrm>
              <a:off x="4391984" y="433594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2</a:t>
              </a:r>
            </a:p>
          </p:txBody>
        </p:sp>
        <p:sp>
          <p:nvSpPr>
            <p:cNvPr id="1035" name="Rechteck 1034"/>
            <p:cNvSpPr/>
            <p:nvPr>
              <p:custDataLst>
                <p:tags r:id="rId118"/>
              </p:custDataLst>
            </p:nvPr>
          </p:nvSpPr>
          <p:spPr bwMode="gray">
            <a:xfrm>
              <a:off x="4273157" y="447368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de-DE" sz="1200" dirty="0">
                  <a:solidFill>
                    <a:schemeClr val="tx1"/>
                  </a:solidFill>
                </a:rPr>
                <a:t>+8</a:t>
              </a:r>
              <a:endParaRPr lang="en-US" sz="1200" dirty="0">
                <a:solidFill>
                  <a:schemeClr val="tx1"/>
                </a:solidFill>
              </a:endParaRPr>
            </a:p>
          </p:txBody>
        </p:sp>
        <p:cxnSp>
          <p:nvCxnSpPr>
            <p:cNvPr id="974" name="Gerade Verbindung 973"/>
            <p:cNvCxnSpPr>
              <a:cxnSpLocks/>
            </p:cNvCxnSpPr>
            <p:nvPr>
              <p:custDataLst>
                <p:tags r:id="rId119"/>
              </p:custDataLst>
            </p:nvPr>
          </p:nvCxnSpPr>
          <p:spPr bwMode="gray">
            <a:xfrm>
              <a:off x="4924012" y="3299863"/>
              <a:ext cx="1527078" cy="0"/>
            </a:xfrm>
            <a:prstGeom prst="line">
              <a:avLst/>
            </a:prstGeom>
            <a:ln cap="rnd">
              <a:solidFill>
                <a:schemeClr val="tx1"/>
              </a:solidFill>
              <a:headEnd type="oval" w="sm" len="sm"/>
              <a:tailEnd type="none"/>
            </a:ln>
          </p:spPr>
          <p:style>
            <a:lnRef idx="1">
              <a:schemeClr val="accent1"/>
            </a:lnRef>
            <a:fillRef idx="0">
              <a:schemeClr val="accent1"/>
            </a:fillRef>
            <a:effectRef idx="0">
              <a:schemeClr val="accent1"/>
            </a:effectRef>
            <a:fontRef idx="minor">
              <a:schemeClr val="tx1"/>
            </a:fontRef>
          </p:style>
        </p:cxnSp>
      </p:grpSp>
      <p:sp>
        <p:nvSpPr>
          <p:cNvPr id="192" name="Rechteck 191">
            <a:extLst>
              <a:ext uri="{FF2B5EF4-FFF2-40B4-BE49-F238E27FC236}">
                <a16:creationId xmlns:a16="http://schemas.microsoft.com/office/drawing/2014/main" id="{8CDEF71B-AD69-46E5-A52F-6DA82D02DF0F}"/>
              </a:ext>
            </a:extLst>
          </p:cNvPr>
          <p:cNvSpPr/>
          <p:nvPr>
            <p:custDataLst>
              <p:tags r:id="rId4"/>
            </p:custDataLst>
          </p:nvPr>
        </p:nvSpPr>
        <p:spPr bwMode="gray">
          <a:xfrm>
            <a:off x="6420808" y="2674706"/>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bg1"/>
                </a:solidFill>
              </a:rPr>
              <a:t>-22</a:t>
            </a:r>
          </a:p>
        </p:txBody>
      </p:sp>
      <p:sp>
        <p:nvSpPr>
          <p:cNvPr id="198" name="Rechteck 197">
            <a:extLst>
              <a:ext uri="{FF2B5EF4-FFF2-40B4-BE49-F238E27FC236}">
                <a16:creationId xmlns:a16="http://schemas.microsoft.com/office/drawing/2014/main" id="{364FA076-8CFE-44C3-BE26-B8E411532D31}"/>
              </a:ext>
            </a:extLst>
          </p:cNvPr>
          <p:cNvSpPr/>
          <p:nvPr>
            <p:custDataLst>
              <p:tags r:id="rId5"/>
            </p:custDataLst>
          </p:nvPr>
        </p:nvSpPr>
        <p:spPr bwMode="gray">
          <a:xfrm>
            <a:off x="6246979" y="2866749"/>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de-DE" sz="1200" dirty="0">
                <a:solidFill>
                  <a:schemeClr val="bg1"/>
                </a:solidFill>
              </a:rPr>
              <a:t>+3</a:t>
            </a:r>
            <a:endParaRPr lang="en-US" sz="1200" dirty="0">
              <a:solidFill>
                <a:schemeClr val="bg1"/>
              </a:solidFill>
            </a:endParaRPr>
          </a:p>
        </p:txBody>
      </p:sp>
      <p:sp>
        <p:nvSpPr>
          <p:cNvPr id="206" name="Rechteck 205">
            <a:extLst>
              <a:ext uri="{FF2B5EF4-FFF2-40B4-BE49-F238E27FC236}">
                <a16:creationId xmlns:a16="http://schemas.microsoft.com/office/drawing/2014/main" id="{1C8E8956-A32F-4F91-A6EF-7B6C5D7CE4B5}"/>
              </a:ext>
            </a:extLst>
          </p:cNvPr>
          <p:cNvSpPr/>
          <p:nvPr>
            <p:custDataLst>
              <p:tags r:id="rId6"/>
            </p:custDataLst>
          </p:nvPr>
        </p:nvSpPr>
        <p:spPr bwMode="gray">
          <a:xfrm>
            <a:off x="7277884" y="2214709"/>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0</a:t>
            </a:r>
          </a:p>
        </p:txBody>
      </p:sp>
      <p:sp>
        <p:nvSpPr>
          <p:cNvPr id="216" name="Rechteck 215">
            <a:extLst>
              <a:ext uri="{FF2B5EF4-FFF2-40B4-BE49-F238E27FC236}">
                <a16:creationId xmlns:a16="http://schemas.microsoft.com/office/drawing/2014/main" id="{367D58A3-BB20-46FD-93D5-54C5192760E8}"/>
              </a:ext>
            </a:extLst>
          </p:cNvPr>
          <p:cNvSpPr/>
          <p:nvPr>
            <p:custDataLst>
              <p:tags r:id="rId7"/>
            </p:custDataLst>
          </p:nvPr>
        </p:nvSpPr>
        <p:spPr bwMode="gray">
          <a:xfrm>
            <a:off x="7104055" y="2406752"/>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de-DE" sz="1200" dirty="0">
                <a:solidFill>
                  <a:schemeClr val="tx1"/>
                </a:solidFill>
              </a:rPr>
              <a:t>+/-0</a:t>
            </a:r>
            <a:endParaRPr lang="en-US" sz="1200" dirty="0">
              <a:solidFill>
                <a:schemeClr val="tx1"/>
              </a:solidFill>
            </a:endParaRPr>
          </a:p>
        </p:txBody>
      </p:sp>
      <p:sp>
        <p:nvSpPr>
          <p:cNvPr id="225" name="Rechteck 224">
            <a:extLst>
              <a:ext uri="{FF2B5EF4-FFF2-40B4-BE49-F238E27FC236}">
                <a16:creationId xmlns:a16="http://schemas.microsoft.com/office/drawing/2014/main" id="{09F6619A-2C01-4531-8440-206D08DE91FD}"/>
              </a:ext>
            </a:extLst>
          </p:cNvPr>
          <p:cNvSpPr/>
          <p:nvPr>
            <p:custDataLst>
              <p:tags r:id="rId8"/>
            </p:custDataLst>
          </p:nvPr>
        </p:nvSpPr>
        <p:spPr bwMode="gray">
          <a:xfrm>
            <a:off x="7779826" y="2691484"/>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37</a:t>
            </a:r>
          </a:p>
        </p:txBody>
      </p:sp>
      <p:sp>
        <p:nvSpPr>
          <p:cNvPr id="226" name="Rechteck 225">
            <a:extLst>
              <a:ext uri="{FF2B5EF4-FFF2-40B4-BE49-F238E27FC236}">
                <a16:creationId xmlns:a16="http://schemas.microsoft.com/office/drawing/2014/main" id="{4175E6EE-B99F-418B-87E4-73DBB925D2FA}"/>
              </a:ext>
            </a:extLst>
          </p:cNvPr>
          <p:cNvSpPr/>
          <p:nvPr>
            <p:custDataLst>
              <p:tags r:id="rId9"/>
            </p:custDataLst>
          </p:nvPr>
        </p:nvSpPr>
        <p:spPr bwMode="gray">
          <a:xfrm>
            <a:off x="7719464" y="2849971"/>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2</a:t>
            </a:r>
          </a:p>
        </p:txBody>
      </p:sp>
      <p:sp>
        <p:nvSpPr>
          <p:cNvPr id="228" name="Rechteck 227">
            <a:extLst>
              <a:ext uri="{FF2B5EF4-FFF2-40B4-BE49-F238E27FC236}">
                <a16:creationId xmlns:a16="http://schemas.microsoft.com/office/drawing/2014/main" id="{DE748FB1-2376-429B-A6BD-F786DAB5C008}"/>
              </a:ext>
            </a:extLst>
          </p:cNvPr>
          <p:cNvSpPr/>
          <p:nvPr>
            <p:custDataLst>
              <p:tags r:id="rId10"/>
            </p:custDataLst>
          </p:nvPr>
        </p:nvSpPr>
        <p:spPr bwMode="gray">
          <a:xfrm>
            <a:off x="8922128" y="3313668"/>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9</a:t>
            </a:r>
          </a:p>
        </p:txBody>
      </p:sp>
      <p:sp>
        <p:nvSpPr>
          <p:cNvPr id="229" name="Rechteck 228">
            <a:extLst>
              <a:ext uri="{FF2B5EF4-FFF2-40B4-BE49-F238E27FC236}">
                <a16:creationId xmlns:a16="http://schemas.microsoft.com/office/drawing/2014/main" id="{CFB87258-F801-48BA-B193-4053837C75F3}"/>
              </a:ext>
            </a:extLst>
          </p:cNvPr>
          <p:cNvSpPr/>
          <p:nvPr>
            <p:custDataLst>
              <p:tags r:id="rId11"/>
            </p:custDataLst>
          </p:nvPr>
        </p:nvSpPr>
        <p:spPr bwMode="gray">
          <a:xfrm>
            <a:off x="8748299" y="348893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2</a:t>
            </a:r>
          </a:p>
        </p:txBody>
      </p:sp>
      <p:sp>
        <p:nvSpPr>
          <p:cNvPr id="231" name="Rechteck 230">
            <a:extLst>
              <a:ext uri="{FF2B5EF4-FFF2-40B4-BE49-F238E27FC236}">
                <a16:creationId xmlns:a16="http://schemas.microsoft.com/office/drawing/2014/main" id="{4A824B33-3B0E-4E11-AD9A-B602B283BBF1}"/>
              </a:ext>
            </a:extLst>
          </p:cNvPr>
          <p:cNvSpPr/>
          <p:nvPr>
            <p:custDataLst>
              <p:tags r:id="rId12"/>
            </p:custDataLst>
          </p:nvPr>
        </p:nvSpPr>
        <p:spPr bwMode="gray">
          <a:xfrm>
            <a:off x="8251008" y="3045220"/>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5</a:t>
            </a:r>
          </a:p>
        </p:txBody>
      </p:sp>
      <p:sp>
        <p:nvSpPr>
          <p:cNvPr id="232" name="Rechteck 231">
            <a:extLst>
              <a:ext uri="{FF2B5EF4-FFF2-40B4-BE49-F238E27FC236}">
                <a16:creationId xmlns:a16="http://schemas.microsoft.com/office/drawing/2014/main" id="{2C697118-C9F2-4B6C-A7E4-EBA18D078C0B}"/>
              </a:ext>
            </a:extLst>
          </p:cNvPr>
          <p:cNvSpPr/>
          <p:nvPr>
            <p:custDataLst>
              <p:tags r:id="rId13"/>
            </p:custDataLst>
          </p:nvPr>
        </p:nvSpPr>
        <p:spPr bwMode="gray">
          <a:xfrm>
            <a:off x="8077179" y="3203707"/>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de-DE" sz="1200" dirty="0">
                <a:solidFill>
                  <a:schemeClr val="tx1"/>
                </a:solidFill>
              </a:rPr>
              <a:t>+17</a:t>
            </a:r>
            <a:endParaRPr lang="en-US" sz="1200" dirty="0">
              <a:solidFill>
                <a:schemeClr val="tx1"/>
              </a:solidFill>
            </a:endParaRPr>
          </a:p>
        </p:txBody>
      </p:sp>
      <p:cxnSp>
        <p:nvCxnSpPr>
          <p:cNvPr id="234" name="Gerade Verbindung 997">
            <a:extLst>
              <a:ext uri="{FF2B5EF4-FFF2-40B4-BE49-F238E27FC236}">
                <a16:creationId xmlns:a16="http://schemas.microsoft.com/office/drawing/2014/main" id="{8EE88C56-6909-49FC-BBED-DB298FDD9DAE}"/>
              </a:ext>
            </a:extLst>
          </p:cNvPr>
          <p:cNvCxnSpPr>
            <a:cxnSpLocks/>
          </p:cNvCxnSpPr>
          <p:nvPr>
            <p:custDataLst>
              <p:tags r:id="rId14"/>
            </p:custDataLst>
          </p:nvPr>
        </p:nvCxnSpPr>
        <p:spPr bwMode="gray">
          <a:xfrm flipV="1">
            <a:off x="7661884" y="3011687"/>
            <a:ext cx="501800" cy="6148"/>
          </a:xfrm>
          <a:prstGeom prst="line">
            <a:avLst/>
          </a:prstGeom>
          <a:ln cap="rnd">
            <a:solidFill>
              <a:schemeClr val="tx1"/>
            </a:solidFill>
            <a:headEnd type="oval" w="sm" len="sm"/>
            <a:tailEnd type="none"/>
          </a:ln>
        </p:spPr>
        <p:style>
          <a:lnRef idx="1">
            <a:schemeClr val="accent1"/>
          </a:lnRef>
          <a:fillRef idx="0">
            <a:schemeClr val="accent1"/>
          </a:fillRef>
          <a:effectRef idx="0">
            <a:schemeClr val="accent1"/>
          </a:effectRef>
          <a:fontRef idx="minor">
            <a:schemeClr val="tx1"/>
          </a:fontRef>
        </p:style>
      </p:cxnSp>
      <p:cxnSp>
        <p:nvCxnSpPr>
          <p:cNvPr id="236" name="Gerade Verbindung 997">
            <a:extLst>
              <a:ext uri="{FF2B5EF4-FFF2-40B4-BE49-F238E27FC236}">
                <a16:creationId xmlns:a16="http://schemas.microsoft.com/office/drawing/2014/main" id="{C6C32F3A-6671-4349-A6A1-CC38BECDC670}"/>
              </a:ext>
            </a:extLst>
          </p:cNvPr>
          <p:cNvCxnSpPr>
            <a:cxnSpLocks/>
          </p:cNvCxnSpPr>
          <p:nvPr>
            <p:custDataLst>
              <p:tags r:id="rId15"/>
            </p:custDataLst>
          </p:nvPr>
        </p:nvCxnSpPr>
        <p:spPr bwMode="gray">
          <a:xfrm>
            <a:off x="7570665" y="3624157"/>
            <a:ext cx="1734013" cy="21582"/>
          </a:xfrm>
          <a:prstGeom prst="line">
            <a:avLst/>
          </a:prstGeom>
          <a:ln cap="rnd">
            <a:solidFill>
              <a:schemeClr val="tx1"/>
            </a:solidFill>
            <a:headEnd type="oval" w="sm" len="sm"/>
            <a:tailEnd type="none"/>
          </a:ln>
        </p:spPr>
        <p:style>
          <a:lnRef idx="1">
            <a:schemeClr val="accent1"/>
          </a:lnRef>
          <a:fillRef idx="0">
            <a:schemeClr val="accent1"/>
          </a:fillRef>
          <a:effectRef idx="0">
            <a:schemeClr val="accent1"/>
          </a:effectRef>
          <a:fontRef idx="minor">
            <a:schemeClr val="tx1"/>
          </a:fontRef>
        </p:style>
      </p:cxnSp>
      <p:cxnSp>
        <p:nvCxnSpPr>
          <p:cNvPr id="237" name="Gerade Verbindung 997">
            <a:extLst>
              <a:ext uri="{FF2B5EF4-FFF2-40B4-BE49-F238E27FC236}">
                <a16:creationId xmlns:a16="http://schemas.microsoft.com/office/drawing/2014/main" id="{CD2B5108-3EF0-4A96-B43A-7F85682C3B3E}"/>
              </a:ext>
            </a:extLst>
          </p:cNvPr>
          <p:cNvCxnSpPr>
            <a:cxnSpLocks/>
          </p:cNvCxnSpPr>
          <p:nvPr>
            <p:custDataLst>
              <p:tags r:id="rId16"/>
            </p:custDataLst>
          </p:nvPr>
        </p:nvCxnSpPr>
        <p:spPr bwMode="gray">
          <a:xfrm>
            <a:off x="7688405" y="3355417"/>
            <a:ext cx="932277" cy="10593"/>
          </a:xfrm>
          <a:prstGeom prst="line">
            <a:avLst/>
          </a:prstGeom>
          <a:ln cap="rnd">
            <a:solidFill>
              <a:schemeClr val="tx1"/>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238" name="Rechteck 237">
            <a:extLst>
              <a:ext uri="{FF2B5EF4-FFF2-40B4-BE49-F238E27FC236}">
                <a16:creationId xmlns:a16="http://schemas.microsoft.com/office/drawing/2014/main" id="{A3D78A8D-084A-433B-BE49-0148CE372A67}"/>
              </a:ext>
            </a:extLst>
          </p:cNvPr>
          <p:cNvSpPr/>
          <p:nvPr>
            <p:custDataLst>
              <p:tags r:id="rId17"/>
            </p:custDataLst>
          </p:nvPr>
        </p:nvSpPr>
        <p:spPr bwMode="gray">
          <a:xfrm>
            <a:off x="5802818" y="2962728"/>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6</a:t>
            </a:r>
          </a:p>
        </p:txBody>
      </p:sp>
      <p:sp>
        <p:nvSpPr>
          <p:cNvPr id="239" name="Rechteck 238">
            <a:extLst>
              <a:ext uri="{FF2B5EF4-FFF2-40B4-BE49-F238E27FC236}">
                <a16:creationId xmlns:a16="http://schemas.microsoft.com/office/drawing/2014/main" id="{3A57E9E1-33CA-4D58-B82D-FC112D49872B}"/>
              </a:ext>
            </a:extLst>
          </p:cNvPr>
          <p:cNvSpPr/>
          <p:nvPr>
            <p:custDataLst>
              <p:tags r:id="rId18"/>
            </p:custDataLst>
          </p:nvPr>
        </p:nvSpPr>
        <p:spPr bwMode="gray">
          <a:xfrm>
            <a:off x="5628989" y="313799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7</a:t>
            </a:r>
          </a:p>
        </p:txBody>
      </p:sp>
      <p:sp>
        <p:nvSpPr>
          <p:cNvPr id="14" name="Textfeld 13">
            <a:extLst>
              <a:ext uri="{FF2B5EF4-FFF2-40B4-BE49-F238E27FC236}">
                <a16:creationId xmlns:a16="http://schemas.microsoft.com/office/drawing/2014/main" id="{DB88D01E-B885-4E9F-A02C-86E958554558}"/>
              </a:ext>
            </a:extLst>
          </p:cNvPr>
          <p:cNvSpPr txBox="1"/>
          <p:nvPr/>
        </p:nvSpPr>
        <p:spPr>
          <a:xfrm>
            <a:off x="10192920" y="5572178"/>
            <a:ext cx="712855" cy="328418"/>
          </a:xfrm>
          <a:prstGeom prst="rect">
            <a:avLst/>
          </a:prstGeom>
          <a:solidFill>
            <a:srgbClr val="9B0009"/>
          </a:solidFill>
        </p:spPr>
        <p:txBody>
          <a:bodyPr wrap="none" lIns="0" tIns="0" rIns="0" bIns="0" rtlCol="0">
            <a:noAutofit/>
          </a:bodyPr>
          <a:lstStyle/>
          <a:p>
            <a:pPr>
              <a:lnSpc>
                <a:spcPct val="125000"/>
              </a:lnSpc>
              <a:buClr>
                <a:schemeClr val="tx2"/>
              </a:buClr>
            </a:pPr>
            <a:r>
              <a:rPr lang="es-ES_tradnl" sz="1600">
                <a:solidFill>
                  <a:schemeClr val="bg1"/>
                </a:solidFill>
              </a:rPr>
              <a:t>Turquía</a:t>
            </a:r>
          </a:p>
        </p:txBody>
      </p:sp>
      <p:sp>
        <p:nvSpPr>
          <p:cNvPr id="241" name="Rechteck 240">
            <a:extLst>
              <a:ext uri="{FF2B5EF4-FFF2-40B4-BE49-F238E27FC236}">
                <a16:creationId xmlns:a16="http://schemas.microsoft.com/office/drawing/2014/main" id="{78886C40-9725-46FE-A31F-00AC3D709778}"/>
              </a:ext>
            </a:extLst>
          </p:cNvPr>
          <p:cNvSpPr/>
          <p:nvPr>
            <p:custDataLst>
              <p:tags r:id="rId19"/>
            </p:custDataLst>
          </p:nvPr>
        </p:nvSpPr>
        <p:spPr bwMode="gray">
          <a:xfrm>
            <a:off x="11015885" y="557937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28</a:t>
            </a:r>
          </a:p>
        </p:txBody>
      </p:sp>
      <p:sp>
        <p:nvSpPr>
          <p:cNvPr id="242" name="Rechteck 241">
            <a:extLst>
              <a:ext uri="{FF2B5EF4-FFF2-40B4-BE49-F238E27FC236}">
                <a16:creationId xmlns:a16="http://schemas.microsoft.com/office/drawing/2014/main" id="{EE1671ED-38D7-475B-B5F3-473E3CE3A83B}"/>
              </a:ext>
            </a:extLst>
          </p:cNvPr>
          <p:cNvSpPr/>
          <p:nvPr>
            <p:custDataLst>
              <p:tags r:id="rId20"/>
            </p:custDataLst>
          </p:nvPr>
        </p:nvSpPr>
        <p:spPr bwMode="gray">
          <a:xfrm>
            <a:off x="10823857" y="577141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4</a:t>
            </a:r>
          </a:p>
        </p:txBody>
      </p:sp>
      <p:sp>
        <p:nvSpPr>
          <p:cNvPr id="244" name="Rechteck 243">
            <a:extLst>
              <a:ext uri="{FF2B5EF4-FFF2-40B4-BE49-F238E27FC236}">
                <a16:creationId xmlns:a16="http://schemas.microsoft.com/office/drawing/2014/main" id="{F9061F18-33CD-4043-9AC6-AD32872EF77B}"/>
              </a:ext>
            </a:extLst>
          </p:cNvPr>
          <p:cNvSpPr/>
          <p:nvPr>
            <p:custDataLst>
              <p:tags r:id="rId21"/>
            </p:custDataLst>
          </p:nvPr>
        </p:nvSpPr>
        <p:spPr bwMode="gray">
          <a:xfrm>
            <a:off x="6509571" y="5181015"/>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22</a:t>
            </a:r>
          </a:p>
        </p:txBody>
      </p:sp>
      <p:sp>
        <p:nvSpPr>
          <p:cNvPr id="245" name="Rechteck 244">
            <a:extLst>
              <a:ext uri="{FF2B5EF4-FFF2-40B4-BE49-F238E27FC236}">
                <a16:creationId xmlns:a16="http://schemas.microsoft.com/office/drawing/2014/main" id="{4BFA3DBF-115D-4292-8D6D-0967618A0F6E}"/>
              </a:ext>
            </a:extLst>
          </p:cNvPr>
          <p:cNvSpPr/>
          <p:nvPr>
            <p:custDataLst>
              <p:tags r:id="rId22"/>
            </p:custDataLst>
          </p:nvPr>
        </p:nvSpPr>
        <p:spPr bwMode="gray">
          <a:xfrm>
            <a:off x="6340718" y="5345016"/>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2</a:t>
            </a:r>
          </a:p>
        </p:txBody>
      </p:sp>
      <p:sp>
        <p:nvSpPr>
          <p:cNvPr id="251" name="Rechteck 250">
            <a:extLst>
              <a:ext uri="{FF2B5EF4-FFF2-40B4-BE49-F238E27FC236}">
                <a16:creationId xmlns:a16="http://schemas.microsoft.com/office/drawing/2014/main" id="{7C3D59A1-522F-4956-BEA3-9984F9522922}"/>
              </a:ext>
            </a:extLst>
          </p:cNvPr>
          <p:cNvSpPr/>
          <p:nvPr>
            <p:custDataLst>
              <p:tags r:id="rId23"/>
            </p:custDataLst>
          </p:nvPr>
        </p:nvSpPr>
        <p:spPr bwMode="gray">
          <a:xfrm>
            <a:off x="6779355" y="4688628"/>
            <a:ext cx="384000" cy="21113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3</a:t>
            </a:r>
          </a:p>
        </p:txBody>
      </p:sp>
      <p:sp>
        <p:nvSpPr>
          <p:cNvPr id="252" name="Rechteck 251">
            <a:extLst>
              <a:ext uri="{FF2B5EF4-FFF2-40B4-BE49-F238E27FC236}">
                <a16:creationId xmlns:a16="http://schemas.microsoft.com/office/drawing/2014/main" id="{018A02F7-8F7F-4EB1-9726-499D82D3F751}"/>
              </a:ext>
            </a:extLst>
          </p:cNvPr>
          <p:cNvSpPr/>
          <p:nvPr>
            <p:custDataLst>
              <p:tags r:id="rId24"/>
            </p:custDataLst>
          </p:nvPr>
        </p:nvSpPr>
        <p:spPr bwMode="gray">
          <a:xfrm>
            <a:off x="6587331" y="4865886"/>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GB" sz="1200" dirty="0">
                <a:solidFill>
                  <a:schemeClr val="tx1"/>
                </a:solidFill>
              </a:rPr>
              <a:t>-2</a:t>
            </a:r>
            <a:endParaRPr lang="en-US" sz="1200" dirty="0">
              <a:solidFill>
                <a:schemeClr val="tx1"/>
              </a:solidFill>
            </a:endParaRPr>
          </a:p>
        </p:txBody>
      </p:sp>
      <p:sp>
        <p:nvSpPr>
          <p:cNvPr id="253" name="Ellipse 252">
            <a:extLst>
              <a:ext uri="{FF2B5EF4-FFF2-40B4-BE49-F238E27FC236}">
                <a16:creationId xmlns:a16="http://schemas.microsoft.com/office/drawing/2014/main" id="{F4F91C04-4371-4E05-BA26-03D5721D752E}"/>
              </a:ext>
            </a:extLst>
          </p:cNvPr>
          <p:cNvSpPr/>
          <p:nvPr>
            <p:custDataLst>
              <p:tags r:id="rId25"/>
            </p:custDataLst>
          </p:nvPr>
        </p:nvSpPr>
        <p:spPr bwMode="gray">
          <a:xfrm>
            <a:off x="6111732" y="5985513"/>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75" name="Ellipse 1037">
            <a:extLst>
              <a:ext uri="{FF2B5EF4-FFF2-40B4-BE49-F238E27FC236}">
                <a16:creationId xmlns:a16="http://schemas.microsoft.com/office/drawing/2014/main" id="{D34A905F-B3B6-4069-A0BE-6C197E4D512E}"/>
              </a:ext>
            </a:extLst>
          </p:cNvPr>
          <p:cNvSpPr/>
          <p:nvPr>
            <p:custDataLst>
              <p:tags r:id="rId26"/>
            </p:custDataLst>
          </p:nvPr>
        </p:nvSpPr>
        <p:spPr bwMode="gray">
          <a:xfrm rot="17685231">
            <a:off x="5119840" y="4705394"/>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54" name="Ellipse 983">
            <a:extLst>
              <a:ext uri="{FF2B5EF4-FFF2-40B4-BE49-F238E27FC236}">
                <a16:creationId xmlns:a16="http://schemas.microsoft.com/office/drawing/2014/main" id="{59373F5E-AA02-413D-BB45-4AF3B94EDECF}"/>
              </a:ext>
            </a:extLst>
          </p:cNvPr>
          <p:cNvSpPr/>
          <p:nvPr>
            <p:custDataLst>
              <p:tags r:id="rId27"/>
            </p:custDataLst>
          </p:nvPr>
        </p:nvSpPr>
        <p:spPr bwMode="gray">
          <a:xfrm rot="15980682">
            <a:off x="7530689" y="2402379"/>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80" name="Ellipse 1037">
            <a:extLst>
              <a:ext uri="{FF2B5EF4-FFF2-40B4-BE49-F238E27FC236}">
                <a16:creationId xmlns:a16="http://schemas.microsoft.com/office/drawing/2014/main" id="{933BDD1C-5632-499C-9A76-79C67B9C2EB8}"/>
              </a:ext>
            </a:extLst>
          </p:cNvPr>
          <p:cNvSpPr/>
          <p:nvPr>
            <p:custDataLst>
              <p:tags r:id="rId28"/>
            </p:custDataLst>
          </p:nvPr>
        </p:nvSpPr>
        <p:spPr bwMode="gray">
          <a:xfrm rot="10800000">
            <a:off x="8485311" y="3208358"/>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83" name="Ellipse 1037">
            <a:extLst>
              <a:ext uri="{FF2B5EF4-FFF2-40B4-BE49-F238E27FC236}">
                <a16:creationId xmlns:a16="http://schemas.microsoft.com/office/drawing/2014/main" id="{F4CB7C4C-C0F7-4A2B-8682-F65EF7996F09}"/>
              </a:ext>
            </a:extLst>
          </p:cNvPr>
          <p:cNvSpPr/>
          <p:nvPr>
            <p:custDataLst>
              <p:tags r:id="rId29"/>
            </p:custDataLst>
          </p:nvPr>
        </p:nvSpPr>
        <p:spPr bwMode="gray">
          <a:xfrm rot="13713695">
            <a:off x="11246932" y="5774523"/>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89" name="Ellipse 1037">
            <a:extLst>
              <a:ext uri="{FF2B5EF4-FFF2-40B4-BE49-F238E27FC236}">
                <a16:creationId xmlns:a16="http://schemas.microsoft.com/office/drawing/2014/main" id="{D8190AF7-3C6B-4C6E-80B9-3631C63DC718}"/>
              </a:ext>
            </a:extLst>
          </p:cNvPr>
          <p:cNvSpPr/>
          <p:nvPr>
            <p:custDataLst>
              <p:tags r:id="rId30"/>
            </p:custDataLst>
          </p:nvPr>
        </p:nvSpPr>
        <p:spPr bwMode="gray">
          <a:xfrm rot="14148435">
            <a:off x="2423592" y="3326359"/>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15" name="Ellipse 983">
            <a:extLst>
              <a:ext uri="{FF2B5EF4-FFF2-40B4-BE49-F238E27FC236}">
                <a16:creationId xmlns:a16="http://schemas.microsoft.com/office/drawing/2014/main" id="{18A568CA-28D4-4B11-912F-9F671F078D77}"/>
              </a:ext>
            </a:extLst>
          </p:cNvPr>
          <p:cNvSpPr/>
          <p:nvPr>
            <p:custDataLst>
              <p:tags r:id="rId31"/>
            </p:custDataLst>
          </p:nvPr>
        </p:nvSpPr>
        <p:spPr bwMode="gray">
          <a:xfrm rot="11049431">
            <a:off x="3301187" y="5119124"/>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18" name="Ellipse 983">
            <a:extLst>
              <a:ext uri="{FF2B5EF4-FFF2-40B4-BE49-F238E27FC236}">
                <a16:creationId xmlns:a16="http://schemas.microsoft.com/office/drawing/2014/main" id="{A1F7EA38-8AEA-43F8-8697-698C2364307D}"/>
              </a:ext>
            </a:extLst>
          </p:cNvPr>
          <p:cNvSpPr/>
          <p:nvPr>
            <p:custDataLst>
              <p:tags r:id="rId32"/>
            </p:custDataLst>
          </p:nvPr>
        </p:nvSpPr>
        <p:spPr bwMode="gray">
          <a:xfrm rot="10800000">
            <a:off x="6002091" y="4192846"/>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19" name="Ellipse 929">
            <a:extLst>
              <a:ext uri="{FF2B5EF4-FFF2-40B4-BE49-F238E27FC236}">
                <a16:creationId xmlns:a16="http://schemas.microsoft.com/office/drawing/2014/main" id="{D85BBADC-349C-4512-9905-BB0352B5DC59}"/>
              </a:ext>
            </a:extLst>
          </p:cNvPr>
          <p:cNvSpPr/>
          <p:nvPr>
            <p:custDataLst>
              <p:tags r:id="rId33"/>
            </p:custDataLst>
          </p:nvPr>
        </p:nvSpPr>
        <p:spPr bwMode="gray">
          <a:xfrm rot="16628263">
            <a:off x="3766433" y="3940800"/>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23" name="Ellipse 929">
            <a:extLst>
              <a:ext uri="{FF2B5EF4-FFF2-40B4-BE49-F238E27FC236}">
                <a16:creationId xmlns:a16="http://schemas.microsoft.com/office/drawing/2014/main" id="{8C30560A-F717-4E29-B9AF-45C6B212C6A4}"/>
              </a:ext>
            </a:extLst>
          </p:cNvPr>
          <p:cNvSpPr/>
          <p:nvPr>
            <p:custDataLst>
              <p:tags r:id="rId34"/>
            </p:custDataLst>
          </p:nvPr>
        </p:nvSpPr>
        <p:spPr bwMode="gray">
          <a:xfrm rot="13350721">
            <a:off x="6511517" y="4793792"/>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48" name="Ellipse 247">
            <a:extLst>
              <a:ext uri="{FF2B5EF4-FFF2-40B4-BE49-F238E27FC236}">
                <a16:creationId xmlns:a16="http://schemas.microsoft.com/office/drawing/2014/main" id="{EFFA6147-A84E-4F5F-96F1-DE33E8AEE851}"/>
              </a:ext>
            </a:extLst>
          </p:cNvPr>
          <p:cNvSpPr/>
          <p:nvPr>
            <p:custDataLst>
              <p:tags r:id="rId35"/>
            </p:custDataLst>
          </p:nvPr>
        </p:nvSpPr>
        <p:spPr bwMode="gray">
          <a:xfrm rot="19649543">
            <a:off x="7806535" y="5530443"/>
            <a:ext cx="143999"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59" name="Ellipse 1037">
            <a:extLst>
              <a:ext uri="{FF2B5EF4-FFF2-40B4-BE49-F238E27FC236}">
                <a16:creationId xmlns:a16="http://schemas.microsoft.com/office/drawing/2014/main" id="{560E1B6C-B3DA-4FA0-967A-F7A428F5C7BD}"/>
              </a:ext>
            </a:extLst>
          </p:cNvPr>
          <p:cNvSpPr/>
          <p:nvPr>
            <p:custDataLst>
              <p:tags r:id="rId36"/>
            </p:custDataLst>
          </p:nvPr>
        </p:nvSpPr>
        <p:spPr bwMode="gray">
          <a:xfrm rot="16200000">
            <a:off x="9468469" y="4369980"/>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4" name="Ellipse 263">
            <a:extLst>
              <a:ext uri="{FF2B5EF4-FFF2-40B4-BE49-F238E27FC236}">
                <a16:creationId xmlns:a16="http://schemas.microsoft.com/office/drawing/2014/main" id="{AFB13DC7-46B1-4E0C-B14B-5BBCE210F649}"/>
              </a:ext>
            </a:extLst>
          </p:cNvPr>
          <p:cNvSpPr/>
          <p:nvPr>
            <p:custDataLst>
              <p:tags r:id="rId37"/>
            </p:custDataLst>
          </p:nvPr>
        </p:nvSpPr>
        <p:spPr bwMode="gray">
          <a:xfrm rot="6978397">
            <a:off x="6748457" y="5331906"/>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6" name="Ellipse 265">
            <a:extLst>
              <a:ext uri="{FF2B5EF4-FFF2-40B4-BE49-F238E27FC236}">
                <a16:creationId xmlns:a16="http://schemas.microsoft.com/office/drawing/2014/main" id="{B7382FE1-DF90-4CB9-812A-5843E63FDAFE}"/>
              </a:ext>
            </a:extLst>
          </p:cNvPr>
          <p:cNvSpPr/>
          <p:nvPr>
            <p:custDataLst>
              <p:tags r:id="rId38"/>
            </p:custDataLst>
          </p:nvPr>
        </p:nvSpPr>
        <p:spPr bwMode="gray">
          <a:xfrm rot="5585018">
            <a:off x="4132165" y="5490606"/>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84" name="Ellipse 929">
            <a:extLst>
              <a:ext uri="{FF2B5EF4-FFF2-40B4-BE49-F238E27FC236}">
                <a16:creationId xmlns:a16="http://schemas.microsoft.com/office/drawing/2014/main" id="{53AA3BDA-6014-4041-A759-DC4BABD36684}"/>
              </a:ext>
            </a:extLst>
          </p:cNvPr>
          <p:cNvSpPr/>
          <p:nvPr>
            <p:custDataLst>
              <p:tags r:id="rId39"/>
            </p:custDataLst>
          </p:nvPr>
        </p:nvSpPr>
        <p:spPr bwMode="gray">
          <a:xfrm rot="2841992">
            <a:off x="8420111" y="4233015"/>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194" name="Ellipse 983">
            <a:extLst>
              <a:ext uri="{FF2B5EF4-FFF2-40B4-BE49-F238E27FC236}">
                <a16:creationId xmlns:a16="http://schemas.microsoft.com/office/drawing/2014/main" id="{0D6E7686-9A31-4E0A-8DA0-5AB3D79767A6}"/>
              </a:ext>
            </a:extLst>
          </p:cNvPr>
          <p:cNvSpPr/>
          <p:nvPr>
            <p:custDataLst>
              <p:tags r:id="rId40"/>
            </p:custDataLst>
          </p:nvPr>
        </p:nvSpPr>
        <p:spPr bwMode="gray">
          <a:xfrm rot="10800000">
            <a:off x="8884882" y="6419480"/>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00" name="Ellipse 199">
            <a:extLst>
              <a:ext uri="{FF2B5EF4-FFF2-40B4-BE49-F238E27FC236}">
                <a16:creationId xmlns:a16="http://schemas.microsoft.com/office/drawing/2014/main" id="{78CE1C28-9E48-491D-A6DF-FF81A59B7F6E}"/>
              </a:ext>
            </a:extLst>
          </p:cNvPr>
          <p:cNvSpPr/>
          <p:nvPr>
            <p:custDataLst>
              <p:tags r:id="rId41"/>
            </p:custDataLst>
          </p:nvPr>
        </p:nvSpPr>
        <p:spPr bwMode="gray">
          <a:xfrm>
            <a:off x="7819791" y="6074023"/>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02" name="Ellipse 201">
            <a:extLst>
              <a:ext uri="{FF2B5EF4-FFF2-40B4-BE49-F238E27FC236}">
                <a16:creationId xmlns:a16="http://schemas.microsoft.com/office/drawing/2014/main" id="{D90A99EB-9963-4385-B4C6-22B26D54FF85}"/>
              </a:ext>
            </a:extLst>
          </p:cNvPr>
          <p:cNvSpPr/>
          <p:nvPr>
            <p:custDataLst>
              <p:tags r:id="rId42"/>
            </p:custDataLst>
          </p:nvPr>
        </p:nvSpPr>
        <p:spPr bwMode="gray">
          <a:xfrm rot="3462107">
            <a:off x="9165515" y="3487421"/>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03" name="Ellipse 202">
            <a:extLst>
              <a:ext uri="{FF2B5EF4-FFF2-40B4-BE49-F238E27FC236}">
                <a16:creationId xmlns:a16="http://schemas.microsoft.com/office/drawing/2014/main" id="{9FFC51E1-A019-49AF-91CA-E0AAADC52F85}"/>
              </a:ext>
            </a:extLst>
          </p:cNvPr>
          <p:cNvSpPr/>
          <p:nvPr>
            <p:custDataLst>
              <p:tags r:id="rId43"/>
            </p:custDataLst>
          </p:nvPr>
        </p:nvSpPr>
        <p:spPr bwMode="gray">
          <a:xfrm rot="3683210">
            <a:off x="5618377" y="3704381"/>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33" name="Ellipse 232">
            <a:extLst>
              <a:ext uri="{FF2B5EF4-FFF2-40B4-BE49-F238E27FC236}">
                <a16:creationId xmlns:a16="http://schemas.microsoft.com/office/drawing/2014/main" id="{AC49F3A4-FC90-4C60-8B12-6D88402BA052}"/>
              </a:ext>
            </a:extLst>
          </p:cNvPr>
          <p:cNvSpPr/>
          <p:nvPr>
            <p:custDataLst>
              <p:tags r:id="rId44"/>
            </p:custDataLst>
          </p:nvPr>
        </p:nvSpPr>
        <p:spPr bwMode="gray">
          <a:xfrm rot="2379995">
            <a:off x="7015831" y="4871226"/>
            <a:ext cx="143999"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47" name="Ellipse 983">
            <a:extLst>
              <a:ext uri="{FF2B5EF4-FFF2-40B4-BE49-F238E27FC236}">
                <a16:creationId xmlns:a16="http://schemas.microsoft.com/office/drawing/2014/main" id="{1C175489-E46E-41DD-8179-592B0DC602C1}"/>
              </a:ext>
            </a:extLst>
          </p:cNvPr>
          <p:cNvSpPr/>
          <p:nvPr>
            <p:custDataLst>
              <p:tags r:id="rId45"/>
            </p:custDataLst>
          </p:nvPr>
        </p:nvSpPr>
        <p:spPr bwMode="gray">
          <a:xfrm rot="21441104">
            <a:off x="7031277" y="4045899"/>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96" name="Ellipse 295">
            <a:extLst>
              <a:ext uri="{FF2B5EF4-FFF2-40B4-BE49-F238E27FC236}">
                <a16:creationId xmlns:a16="http://schemas.microsoft.com/office/drawing/2014/main" id="{72A2A59C-3FE1-47B8-B5ED-045CE05191E1}"/>
              </a:ext>
            </a:extLst>
          </p:cNvPr>
          <p:cNvSpPr/>
          <p:nvPr>
            <p:custDataLst>
              <p:tags r:id="rId46"/>
            </p:custDataLst>
          </p:nvPr>
        </p:nvSpPr>
        <p:spPr bwMode="gray">
          <a:xfrm rot="20368749">
            <a:off x="6663513" y="2875843"/>
            <a:ext cx="143999"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97" name="Ellipse 296">
            <a:extLst>
              <a:ext uri="{FF2B5EF4-FFF2-40B4-BE49-F238E27FC236}">
                <a16:creationId xmlns:a16="http://schemas.microsoft.com/office/drawing/2014/main" id="{8B9B7FC3-1C80-4762-B789-91830B8B65F0}"/>
              </a:ext>
            </a:extLst>
          </p:cNvPr>
          <p:cNvSpPr/>
          <p:nvPr>
            <p:custDataLst>
              <p:tags r:id="rId47"/>
            </p:custDataLst>
          </p:nvPr>
        </p:nvSpPr>
        <p:spPr bwMode="gray">
          <a:xfrm rot="5400000">
            <a:off x="6065351" y="3135496"/>
            <a:ext cx="143999"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300" name="Ellipse 299">
            <a:extLst>
              <a:ext uri="{FF2B5EF4-FFF2-40B4-BE49-F238E27FC236}">
                <a16:creationId xmlns:a16="http://schemas.microsoft.com/office/drawing/2014/main" id="{A5D0D770-55B4-4341-B6B0-43E1E695AAD7}"/>
              </a:ext>
            </a:extLst>
          </p:cNvPr>
          <p:cNvSpPr/>
          <p:nvPr>
            <p:custDataLst>
              <p:tags r:id="rId48"/>
            </p:custDataLst>
          </p:nvPr>
        </p:nvSpPr>
        <p:spPr bwMode="gray">
          <a:xfrm rot="19310694">
            <a:off x="8107076" y="2839199"/>
            <a:ext cx="143999"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304" name="Rechteck 303">
            <a:extLst>
              <a:ext uri="{FF2B5EF4-FFF2-40B4-BE49-F238E27FC236}">
                <a16:creationId xmlns:a16="http://schemas.microsoft.com/office/drawing/2014/main" id="{B0D6FBFF-3BA4-411A-9B21-F1C9727D2FB8}"/>
              </a:ext>
            </a:extLst>
          </p:cNvPr>
          <p:cNvSpPr/>
          <p:nvPr>
            <p:custDataLst>
              <p:tags r:id="rId49"/>
            </p:custDataLst>
          </p:nvPr>
        </p:nvSpPr>
        <p:spPr bwMode="gray">
          <a:xfrm>
            <a:off x="8844185" y="493167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6</a:t>
            </a:r>
          </a:p>
        </p:txBody>
      </p:sp>
      <p:sp>
        <p:nvSpPr>
          <p:cNvPr id="305" name="Rechteck 304">
            <a:extLst>
              <a:ext uri="{FF2B5EF4-FFF2-40B4-BE49-F238E27FC236}">
                <a16:creationId xmlns:a16="http://schemas.microsoft.com/office/drawing/2014/main" id="{CBAB3C64-2E25-468C-BA98-2D6D7A6AC8E7}"/>
              </a:ext>
            </a:extLst>
          </p:cNvPr>
          <p:cNvSpPr/>
          <p:nvPr>
            <p:custDataLst>
              <p:tags r:id="rId50"/>
            </p:custDataLst>
          </p:nvPr>
        </p:nvSpPr>
        <p:spPr bwMode="gray">
          <a:xfrm>
            <a:off x="8652157" y="512371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8</a:t>
            </a:r>
          </a:p>
        </p:txBody>
      </p:sp>
      <p:sp>
        <p:nvSpPr>
          <p:cNvPr id="306" name="Ellipse 983">
            <a:extLst>
              <a:ext uri="{FF2B5EF4-FFF2-40B4-BE49-F238E27FC236}">
                <a16:creationId xmlns:a16="http://schemas.microsoft.com/office/drawing/2014/main" id="{EE66F744-5A57-40C7-A8B5-061BCAD54925}"/>
              </a:ext>
            </a:extLst>
          </p:cNvPr>
          <p:cNvSpPr/>
          <p:nvPr>
            <p:custDataLst>
              <p:tags r:id="rId51"/>
            </p:custDataLst>
          </p:nvPr>
        </p:nvSpPr>
        <p:spPr bwMode="gray">
          <a:xfrm rot="11043712">
            <a:off x="9084185" y="5134974"/>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cxnSp>
        <p:nvCxnSpPr>
          <p:cNvPr id="308" name="Gerade Verbindung 997">
            <a:extLst>
              <a:ext uri="{FF2B5EF4-FFF2-40B4-BE49-F238E27FC236}">
                <a16:creationId xmlns:a16="http://schemas.microsoft.com/office/drawing/2014/main" id="{99FF05E1-1372-440E-81B7-E1A634BC3EAE}"/>
              </a:ext>
            </a:extLst>
          </p:cNvPr>
          <p:cNvCxnSpPr>
            <a:cxnSpLocks/>
          </p:cNvCxnSpPr>
          <p:nvPr>
            <p:custDataLst>
              <p:tags r:id="rId52"/>
            </p:custDataLst>
          </p:nvPr>
        </p:nvCxnSpPr>
        <p:spPr bwMode="gray">
          <a:xfrm>
            <a:off x="7161154" y="5300433"/>
            <a:ext cx="2091556" cy="20847"/>
          </a:xfrm>
          <a:prstGeom prst="line">
            <a:avLst/>
          </a:prstGeom>
          <a:ln cap="rnd">
            <a:solidFill>
              <a:schemeClr val="tx1"/>
            </a:solidFill>
            <a:headEnd type="oval" w="sm" len="sm"/>
            <a:tailEnd type="none"/>
          </a:ln>
          <a:effectLst/>
        </p:spPr>
        <p:style>
          <a:lnRef idx="1">
            <a:schemeClr val="accent1"/>
          </a:lnRef>
          <a:fillRef idx="0">
            <a:schemeClr val="accent1"/>
          </a:fillRef>
          <a:effectRef idx="0">
            <a:schemeClr val="accent1"/>
          </a:effectRef>
          <a:fontRef idx="minor">
            <a:schemeClr val="tx1"/>
          </a:fontRef>
        </p:style>
      </p:cxnSp>
      <p:sp>
        <p:nvSpPr>
          <p:cNvPr id="199" name="Rechteck 198">
            <a:extLst>
              <a:ext uri="{FF2B5EF4-FFF2-40B4-BE49-F238E27FC236}">
                <a16:creationId xmlns:a16="http://schemas.microsoft.com/office/drawing/2014/main" id="{0AC29673-137D-4CEA-9463-1DC961D443DF}"/>
              </a:ext>
            </a:extLst>
          </p:cNvPr>
          <p:cNvSpPr/>
          <p:nvPr>
            <p:custDataLst>
              <p:tags r:id="rId53"/>
            </p:custDataLst>
          </p:nvPr>
        </p:nvSpPr>
        <p:spPr bwMode="gray">
          <a:xfrm>
            <a:off x="4748963" y="3517489"/>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5</a:t>
            </a:r>
          </a:p>
        </p:txBody>
      </p:sp>
      <p:sp>
        <p:nvSpPr>
          <p:cNvPr id="204" name="Rechteck 203">
            <a:extLst>
              <a:ext uri="{FF2B5EF4-FFF2-40B4-BE49-F238E27FC236}">
                <a16:creationId xmlns:a16="http://schemas.microsoft.com/office/drawing/2014/main" id="{3A6B48CE-9A84-45BD-A5D5-03F4897847A8}"/>
              </a:ext>
            </a:extLst>
          </p:cNvPr>
          <p:cNvSpPr/>
          <p:nvPr>
            <p:custDataLst>
              <p:tags r:id="rId54"/>
            </p:custDataLst>
          </p:nvPr>
        </p:nvSpPr>
        <p:spPr bwMode="gray">
          <a:xfrm>
            <a:off x="4575134" y="3709532"/>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2</a:t>
            </a:r>
          </a:p>
        </p:txBody>
      </p:sp>
      <p:sp>
        <p:nvSpPr>
          <p:cNvPr id="205" name="Ellipse 204">
            <a:extLst>
              <a:ext uri="{FF2B5EF4-FFF2-40B4-BE49-F238E27FC236}">
                <a16:creationId xmlns:a16="http://schemas.microsoft.com/office/drawing/2014/main" id="{AAD017F5-3E96-4D9D-AAF2-A6CE4F41982D}"/>
              </a:ext>
            </a:extLst>
          </p:cNvPr>
          <p:cNvSpPr/>
          <p:nvPr>
            <p:custDataLst>
              <p:tags r:id="rId55"/>
            </p:custDataLst>
          </p:nvPr>
        </p:nvSpPr>
        <p:spPr bwMode="gray">
          <a:xfrm rot="4190761">
            <a:off x="4976071" y="3695924"/>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27" name="Subtitle 19">
            <a:extLst>
              <a:ext uri="{FF2B5EF4-FFF2-40B4-BE49-F238E27FC236}">
                <a16:creationId xmlns:a16="http://schemas.microsoft.com/office/drawing/2014/main" id="{0BD0C317-3F7C-49CF-935B-715CE454677C}"/>
              </a:ext>
            </a:extLst>
          </p:cNvPr>
          <p:cNvSpPr txBox="1">
            <a:spLocks/>
          </p:cNvSpPr>
          <p:nvPr/>
        </p:nvSpPr>
        <p:spPr>
          <a:xfrm>
            <a:off x="263352" y="980728"/>
            <a:ext cx="8641357" cy="360040"/>
          </a:xfrm>
          <a:prstGeom prst="rect">
            <a:avLst/>
          </a:prstGeom>
        </p:spPr>
        <p:txBody>
          <a:bodyPr/>
          <a:lstStyle>
            <a:lvl1pPr marL="266700" indent="-266700" algn="l" defTabSz="914400" rtl="0" eaLnBrk="1" latinLnBrk="0" hangingPunct="1">
              <a:lnSpc>
                <a:spcPct val="100000"/>
              </a:lnSpc>
              <a:spcBef>
                <a:spcPts val="1000"/>
              </a:spcBef>
              <a:buClrTx/>
              <a:buSzPct val="80000"/>
              <a:buFont typeface="Wingdings" panose="05000000000000000000" pitchFamily="2" charset="2"/>
              <a:buChar char="n"/>
              <a:defRPr sz="1600" kern="1200">
                <a:solidFill>
                  <a:schemeClr val="tx1"/>
                </a:solidFill>
                <a:latin typeface="+mn-lt"/>
                <a:ea typeface="+mn-ea"/>
                <a:cs typeface="+mn-cs"/>
              </a:defRPr>
            </a:lvl1pPr>
            <a:lvl2pPr marL="542925" indent="-276225" algn="l" defTabSz="914400" rtl="0" eaLnBrk="1" latinLnBrk="0" hangingPunct="1">
              <a:lnSpc>
                <a:spcPct val="100000"/>
              </a:lnSpc>
              <a:spcBef>
                <a:spcPts val="1000"/>
              </a:spcBef>
              <a:buClrTx/>
              <a:buSzPct val="80000"/>
              <a:buFont typeface="Wingdings" panose="05000000000000000000" pitchFamily="2" charset="2"/>
              <a:buChar char=""/>
              <a:defRPr sz="1600" kern="1200">
                <a:solidFill>
                  <a:schemeClr val="tx1"/>
                </a:solidFill>
                <a:latin typeface="+mn-lt"/>
                <a:ea typeface="+mn-ea"/>
                <a:cs typeface="+mn-cs"/>
              </a:defRPr>
            </a:lvl2pPr>
            <a:lvl3pPr marL="809625" indent="-266700" algn="l" defTabSz="914400" rtl="0" eaLnBrk="1" latinLnBrk="0" hangingPunct="1">
              <a:lnSpc>
                <a:spcPct val="100000"/>
              </a:lnSpc>
              <a:spcBef>
                <a:spcPts val="1000"/>
              </a:spcBef>
              <a:buClrTx/>
              <a:buSzPct val="100000"/>
              <a:buFont typeface="Courier New" panose="02070309020205020404" pitchFamily="49" charset="0"/>
              <a:buChar char="o"/>
              <a:defRPr sz="1600" kern="1200">
                <a:solidFill>
                  <a:schemeClr val="tx1"/>
                </a:solidFill>
                <a:latin typeface="+mn-lt"/>
                <a:ea typeface="+mn-ea"/>
                <a:cs typeface="+mn-cs"/>
              </a:defRPr>
            </a:lvl3pPr>
            <a:lvl4pPr marL="0" indent="0" algn="l" defTabSz="914400" rtl="0" eaLnBrk="1" latinLnBrk="0" hangingPunct="1">
              <a:lnSpc>
                <a:spcPct val="100000"/>
              </a:lnSpc>
              <a:spcBef>
                <a:spcPts val="1000"/>
              </a:spcBef>
              <a:buClrTx/>
              <a:buSzPct val="80000"/>
              <a:buFont typeface="Wingdings" panose="05000000000000000000" pitchFamily="2" charset="2"/>
              <a:buNone/>
              <a:defRPr sz="1600" kern="1200">
                <a:solidFill>
                  <a:schemeClr val="tx1"/>
                </a:solidFill>
                <a:latin typeface="+mn-lt"/>
                <a:ea typeface="+mn-ea"/>
                <a:cs typeface="+mn-cs"/>
              </a:defRPr>
            </a:lvl4pPr>
            <a:lvl5pPr marL="0" indent="0" algn="l" defTabSz="914400" rtl="0" eaLnBrk="1" latinLnBrk="0" hangingPunct="1">
              <a:lnSpc>
                <a:spcPct val="100000"/>
              </a:lnSpc>
              <a:spcBef>
                <a:spcPts val="1000"/>
              </a:spcBef>
              <a:buClrTx/>
              <a:buFont typeface="Wingdings 2" panose="05020102010507070707" pitchFamily="18" charset="2"/>
              <a:buNone/>
              <a:defRPr sz="1200" b="0" kern="1200">
                <a:solidFill>
                  <a:schemeClr val="tx1"/>
                </a:solidFill>
                <a:latin typeface="+mn-lt"/>
                <a:ea typeface="+mn-ea"/>
                <a:cs typeface="+mn-cs"/>
              </a:defRPr>
            </a:lvl5pPr>
            <a:lvl6pPr marL="266700" indent="-266700" algn="l" defTabSz="914400" rtl="0" eaLnBrk="1" latinLnBrk="0" hangingPunct="1">
              <a:lnSpc>
                <a:spcPct val="100000"/>
              </a:lnSpc>
              <a:spcBef>
                <a:spcPts val="600"/>
              </a:spcBef>
              <a:buClrTx/>
              <a:buSzPct val="80000"/>
              <a:buFont typeface="Wingdings" panose="05000000000000000000" pitchFamily="2" charset="2"/>
              <a:buChar char="n"/>
              <a:defRPr sz="1200" b="0" kern="1200">
                <a:solidFill>
                  <a:schemeClr val="tx1"/>
                </a:solidFill>
                <a:latin typeface="+mn-lt"/>
                <a:ea typeface="+mn-ea"/>
                <a:cs typeface="+mn-cs"/>
              </a:defRPr>
            </a:lvl6pPr>
            <a:lvl7pPr marL="542925" indent="-276225" algn="l" defTabSz="914400" rtl="0" eaLnBrk="1" latinLnBrk="0" hangingPunct="1">
              <a:lnSpc>
                <a:spcPct val="100000"/>
              </a:lnSpc>
              <a:spcBef>
                <a:spcPts val="600"/>
              </a:spcBef>
              <a:buClrTx/>
              <a:buSzPct val="80000"/>
              <a:buFont typeface="Wingdings" panose="05000000000000000000" pitchFamily="2" charset="2"/>
              <a:buChar char="o"/>
              <a:defRPr sz="1200" b="0" kern="1200">
                <a:solidFill>
                  <a:schemeClr val="tx1"/>
                </a:solidFill>
                <a:latin typeface="+mn-lt"/>
                <a:ea typeface="+mn-ea"/>
                <a:cs typeface="+mn-cs"/>
              </a:defRPr>
            </a:lvl7pPr>
            <a:lvl8pPr marL="809625" indent="-266700" algn="l" defTabSz="914400" rtl="0" eaLnBrk="1" latinLnBrk="0" hangingPunct="1">
              <a:lnSpc>
                <a:spcPct val="100000"/>
              </a:lnSpc>
              <a:spcBef>
                <a:spcPts val="600"/>
              </a:spcBef>
              <a:buClrTx/>
              <a:buSzPct val="100000"/>
              <a:buFont typeface="Courier New" panose="02070309020205020404" pitchFamily="49" charset="0"/>
              <a:buChar char="o"/>
              <a:defRPr sz="1200" b="0" kern="1200">
                <a:solidFill>
                  <a:schemeClr val="tx1"/>
                </a:solidFill>
                <a:latin typeface="+mn-lt"/>
                <a:ea typeface="+mn-ea"/>
                <a:cs typeface="+mn-cs"/>
              </a:defRPr>
            </a:lvl8pPr>
            <a:lvl9pPr marL="803275" indent="-268288" algn="l" defTabSz="914400" rtl="0" eaLnBrk="1" latinLnBrk="0" hangingPunct="1">
              <a:lnSpc>
                <a:spcPct val="100000"/>
              </a:lnSpc>
              <a:spcBef>
                <a:spcPts val="600"/>
              </a:spcBef>
              <a:buClrTx/>
              <a:buSzPct val="100000"/>
              <a:buFont typeface="Courier New" panose="02070309020205020404" pitchFamily="49" charset="0"/>
              <a:buChar char="o"/>
              <a:defRPr sz="1200" b="0" kern="1200">
                <a:solidFill>
                  <a:schemeClr val="tx1"/>
                </a:solidFill>
                <a:latin typeface="+mn-lt"/>
                <a:ea typeface="+mn-ea"/>
                <a:cs typeface="+mn-cs"/>
              </a:defRPr>
            </a:lvl9pPr>
          </a:lstStyle>
          <a:p>
            <a:pPr marL="0" indent="0">
              <a:buNone/>
            </a:pPr>
            <a:r>
              <a:rPr lang="es-ES_tradnl" sz="2000" dirty="0">
                <a:latin typeface="Lato Light" panose="020F0502020204030203" pitchFamily="34" charset="0"/>
                <a:ea typeface="Lato Light" panose="020F0502020204030203" pitchFamily="34" charset="0"/>
                <a:cs typeface="Lato Light" panose="020F0502020204030203" pitchFamily="34" charset="0"/>
              </a:rPr>
              <a:t>Diciembre 2023</a:t>
            </a:r>
          </a:p>
        </p:txBody>
      </p:sp>
      <p:sp>
        <p:nvSpPr>
          <p:cNvPr id="220" name="Freihandform: Form 219">
            <a:extLst>
              <a:ext uri="{FF2B5EF4-FFF2-40B4-BE49-F238E27FC236}">
                <a16:creationId xmlns:a16="http://schemas.microsoft.com/office/drawing/2014/main" id="{F85EA5AC-AEEE-4642-97CC-16E0D34B9340}"/>
              </a:ext>
            </a:extLst>
          </p:cNvPr>
          <p:cNvSpPr/>
          <p:nvPr/>
        </p:nvSpPr>
        <p:spPr>
          <a:xfrm>
            <a:off x="8018304" y="4848334"/>
            <a:ext cx="196724" cy="128042"/>
          </a:xfrm>
          <a:custGeom>
            <a:avLst/>
            <a:gdLst>
              <a:gd name="connsiteX0" fmla="*/ 0 w 196724"/>
              <a:gd name="connsiteY0" fmla="*/ 128042 h 128042"/>
              <a:gd name="connsiteX1" fmla="*/ 3643 w 196724"/>
              <a:gd name="connsiteY1" fmla="*/ 109827 h 128042"/>
              <a:gd name="connsiteX2" fmla="*/ 14572 w 196724"/>
              <a:gd name="connsiteY2" fmla="*/ 102541 h 128042"/>
              <a:gd name="connsiteX3" fmla="*/ 21859 w 196724"/>
              <a:gd name="connsiteY3" fmla="*/ 91612 h 128042"/>
              <a:gd name="connsiteX4" fmla="*/ 32788 w 196724"/>
              <a:gd name="connsiteY4" fmla="*/ 87969 h 128042"/>
              <a:gd name="connsiteX5" fmla="*/ 76504 w 196724"/>
              <a:gd name="connsiteY5" fmla="*/ 84326 h 128042"/>
              <a:gd name="connsiteX6" fmla="*/ 54646 w 196724"/>
              <a:gd name="connsiteY6" fmla="*/ 51539 h 128042"/>
              <a:gd name="connsiteX7" fmla="*/ 58289 w 196724"/>
              <a:gd name="connsiteY7" fmla="*/ 26037 h 128042"/>
              <a:gd name="connsiteX8" fmla="*/ 69218 w 196724"/>
              <a:gd name="connsiteY8" fmla="*/ 22394 h 128042"/>
              <a:gd name="connsiteX9" fmla="*/ 80147 w 196724"/>
              <a:gd name="connsiteY9" fmla="*/ 11465 h 128042"/>
              <a:gd name="connsiteX10" fmla="*/ 87433 w 196724"/>
              <a:gd name="connsiteY10" fmla="*/ 536 h 128042"/>
              <a:gd name="connsiteX11" fmla="*/ 131149 w 196724"/>
              <a:gd name="connsiteY11" fmla="*/ 4179 h 128042"/>
              <a:gd name="connsiteX12" fmla="*/ 196724 w 196724"/>
              <a:gd name="connsiteY12" fmla="*/ 11465 h 12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24" h="128042">
                <a:moveTo>
                  <a:pt x="0" y="128042"/>
                </a:moveTo>
                <a:cubicBezTo>
                  <a:pt x="1214" y="121970"/>
                  <a:pt x="571" y="115203"/>
                  <a:pt x="3643" y="109827"/>
                </a:cubicBezTo>
                <a:cubicBezTo>
                  <a:pt x="5815" y="106026"/>
                  <a:pt x="11476" y="105637"/>
                  <a:pt x="14572" y="102541"/>
                </a:cubicBezTo>
                <a:cubicBezTo>
                  <a:pt x="17668" y="99445"/>
                  <a:pt x="18440" y="94347"/>
                  <a:pt x="21859" y="91612"/>
                </a:cubicBezTo>
                <a:cubicBezTo>
                  <a:pt x="24858" y="89213"/>
                  <a:pt x="28982" y="88477"/>
                  <a:pt x="32788" y="87969"/>
                </a:cubicBezTo>
                <a:cubicBezTo>
                  <a:pt x="47282" y="86036"/>
                  <a:pt x="61932" y="85540"/>
                  <a:pt x="76504" y="84326"/>
                </a:cubicBezTo>
                <a:cubicBezTo>
                  <a:pt x="72765" y="79652"/>
                  <a:pt x="55474" y="60646"/>
                  <a:pt x="54646" y="51539"/>
                </a:cubicBezTo>
                <a:cubicBezTo>
                  <a:pt x="53869" y="42987"/>
                  <a:pt x="54449" y="33717"/>
                  <a:pt x="58289" y="26037"/>
                </a:cubicBezTo>
                <a:cubicBezTo>
                  <a:pt x="60006" y="22602"/>
                  <a:pt x="65575" y="23608"/>
                  <a:pt x="69218" y="22394"/>
                </a:cubicBezTo>
                <a:cubicBezTo>
                  <a:pt x="72861" y="18751"/>
                  <a:pt x="76849" y="15423"/>
                  <a:pt x="80147" y="11465"/>
                </a:cubicBezTo>
                <a:cubicBezTo>
                  <a:pt x="82950" y="8101"/>
                  <a:pt x="83099" y="1155"/>
                  <a:pt x="87433" y="536"/>
                </a:cubicBezTo>
                <a:cubicBezTo>
                  <a:pt x="101909" y="-1532"/>
                  <a:pt x="116577" y="2965"/>
                  <a:pt x="131149" y="4179"/>
                </a:cubicBezTo>
                <a:cubicBezTo>
                  <a:pt x="172075" y="14410"/>
                  <a:pt x="150280" y="11465"/>
                  <a:pt x="196724" y="11465"/>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Rechteck 13">
            <a:extLst>
              <a:ext uri="{FF2B5EF4-FFF2-40B4-BE49-F238E27FC236}">
                <a16:creationId xmlns:a16="http://schemas.microsoft.com/office/drawing/2014/main" id="{C272E623-087F-55A9-A573-822F10351177}"/>
              </a:ext>
            </a:extLst>
          </p:cNvPr>
          <p:cNvSpPr/>
          <p:nvPr/>
        </p:nvSpPr>
        <p:spPr bwMode="gray">
          <a:xfrm>
            <a:off x="1023888" y="6597368"/>
            <a:ext cx="7056000" cy="144000"/>
          </a:xfrm>
          <a:prstGeom prst="rect">
            <a:avLst/>
          </a:prstGeom>
          <a:no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s-ES_tradnl" sz="800" dirty="0">
                <a:solidFill>
                  <a:srgbClr val="8E8581"/>
                </a:solidFill>
                <a:latin typeface="Arial" pitchFamily="34" charset="0"/>
                <a:cs typeface="Arial" pitchFamily="34" charset="0"/>
              </a:rPr>
              <a:t>Fuente</a:t>
            </a:r>
            <a:r>
              <a:rPr kumimoji="0" lang="es-ES_tradnl" sz="800" b="0" i="0" u="none" strike="noStrike" kern="1200" cap="none" spc="0" normalizeH="0" baseline="0" noProof="0" dirty="0">
                <a:ln>
                  <a:noFill/>
                </a:ln>
                <a:solidFill>
                  <a:srgbClr val="8E8581"/>
                </a:solidFill>
                <a:effectLst/>
                <a:uLnTx/>
                <a:uFillTx/>
                <a:latin typeface="Arial" pitchFamily="34" charset="0"/>
                <a:ea typeface="+mn-ea"/>
                <a:cs typeface="Arial" pitchFamily="34" charset="0"/>
              </a:rPr>
              <a:t>: GfK Euro Clima </a:t>
            </a:r>
            <a:r>
              <a:rPr kumimoji="0" lang="es-ES_tradnl" sz="800" b="0" i="1" u="none" strike="noStrike" kern="1200" cap="none" spc="0" normalizeH="0" baseline="0" noProof="0" dirty="0" err="1">
                <a:ln>
                  <a:noFill/>
                </a:ln>
                <a:solidFill>
                  <a:srgbClr val="8E8581"/>
                </a:solidFill>
                <a:effectLst/>
                <a:uLnTx/>
                <a:uFillTx/>
                <a:latin typeface="Arial" pitchFamily="34" charset="0"/>
                <a:ea typeface="+mn-ea"/>
                <a:cs typeface="Arial" pitchFamily="34" charset="0"/>
              </a:rPr>
              <a:t>powered</a:t>
            </a:r>
            <a:r>
              <a:rPr kumimoji="0" lang="es-ES_tradnl" sz="800" b="0" i="1" u="none" strike="noStrike" kern="1200" cap="none" spc="0" normalizeH="0" baseline="0" noProof="0" dirty="0">
                <a:ln>
                  <a:noFill/>
                </a:ln>
                <a:solidFill>
                  <a:srgbClr val="8E8581"/>
                </a:solidFill>
                <a:effectLst/>
                <a:uLnTx/>
                <a:uFillTx/>
                <a:latin typeface="Arial" pitchFamily="34" charset="0"/>
                <a:ea typeface="+mn-ea"/>
                <a:cs typeface="Arial" pitchFamily="34" charset="0"/>
              </a:rPr>
              <a:t> </a:t>
            </a:r>
            <a:r>
              <a:rPr kumimoji="0" lang="es-ES_tradnl" sz="800" b="0" i="1" u="none" strike="noStrike" kern="1200" cap="none" spc="0" normalizeH="0" baseline="0" noProof="0" dirty="0" err="1">
                <a:ln>
                  <a:noFill/>
                </a:ln>
                <a:solidFill>
                  <a:srgbClr val="8E8581"/>
                </a:solidFill>
                <a:effectLst/>
                <a:uLnTx/>
                <a:uFillTx/>
                <a:latin typeface="Arial" pitchFamily="34" charset="0"/>
                <a:ea typeface="+mn-ea"/>
                <a:cs typeface="Arial" pitchFamily="34" charset="0"/>
              </a:rPr>
              <a:t>by</a:t>
            </a:r>
            <a:r>
              <a:rPr kumimoji="0" lang="es-ES_tradnl" sz="800" b="0" i="0" u="none" strike="noStrike" kern="1200" cap="none" spc="0" normalizeH="0" baseline="0" noProof="0" dirty="0">
                <a:ln>
                  <a:noFill/>
                </a:ln>
                <a:solidFill>
                  <a:srgbClr val="8E8581"/>
                </a:solidFill>
                <a:effectLst/>
                <a:uLnTx/>
                <a:uFillTx/>
                <a:latin typeface="Arial" pitchFamily="34" charset="0"/>
                <a:ea typeface="+mn-ea"/>
                <a:cs typeface="Arial" pitchFamily="34" charset="0"/>
              </a:rPr>
              <a:t> NIM, estudio por encargo de la Comisión EU | Diciembre 2023 | valores redondeados</a:t>
            </a:r>
          </a:p>
        </p:txBody>
      </p:sp>
      <p:sp>
        <p:nvSpPr>
          <p:cNvPr id="9" name="Titel 1">
            <a:extLst>
              <a:ext uri="{FF2B5EF4-FFF2-40B4-BE49-F238E27FC236}">
                <a16:creationId xmlns:a16="http://schemas.microsoft.com/office/drawing/2014/main" id="{5207667B-718C-D80E-F9F1-FBEA1FB08FC4}"/>
              </a:ext>
            </a:extLst>
          </p:cNvPr>
          <p:cNvSpPr>
            <a:spLocks noGrp="1"/>
          </p:cNvSpPr>
          <p:nvPr>
            <p:ph type="title"/>
            <p:custDataLst>
              <p:tags r:id="rId56"/>
            </p:custDataLst>
          </p:nvPr>
        </p:nvSpPr>
        <p:spPr bwMode="gray">
          <a:xfrm>
            <a:off x="304682" y="247119"/>
            <a:ext cx="9104148" cy="369332"/>
          </a:xfrm>
        </p:spPr>
        <p:txBody>
          <a:bodyPr/>
          <a:lstStyle/>
          <a:p>
            <a:r>
              <a:rPr lang="es-ES_tradnl" b="1" dirty="0"/>
              <a:t>Expectativas de ingresos | Poco a poco al alza</a:t>
            </a:r>
          </a:p>
        </p:txBody>
      </p:sp>
      <p:cxnSp>
        <p:nvCxnSpPr>
          <p:cNvPr id="10" name="Gerade Verbindung 907">
            <a:extLst>
              <a:ext uri="{FF2B5EF4-FFF2-40B4-BE49-F238E27FC236}">
                <a16:creationId xmlns:a16="http://schemas.microsoft.com/office/drawing/2014/main" id="{E6EF8A1B-B7E0-2DEB-1F0F-094407F3C098}"/>
              </a:ext>
            </a:extLst>
          </p:cNvPr>
          <p:cNvCxnSpPr>
            <a:cxnSpLocks/>
          </p:cNvCxnSpPr>
          <p:nvPr>
            <p:custDataLst>
              <p:tags r:id="rId57"/>
            </p:custDataLst>
          </p:nvPr>
        </p:nvCxnSpPr>
        <p:spPr bwMode="gray">
          <a:xfrm>
            <a:off x="1025138" y="3140968"/>
            <a:ext cx="1486335"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1" name="Rechteck 465">
            <a:extLst>
              <a:ext uri="{FF2B5EF4-FFF2-40B4-BE49-F238E27FC236}">
                <a16:creationId xmlns:a16="http://schemas.microsoft.com/office/drawing/2014/main" id="{A80E69B8-BAF0-C8AC-AF93-5DD862FF551B}"/>
              </a:ext>
            </a:extLst>
          </p:cNvPr>
          <p:cNvSpPr/>
          <p:nvPr>
            <p:custDataLst>
              <p:tags r:id="rId58"/>
            </p:custDataLst>
          </p:nvPr>
        </p:nvSpPr>
        <p:spPr bwMode="gray">
          <a:xfrm>
            <a:off x="1024935" y="2180872"/>
            <a:ext cx="74317" cy="96000"/>
          </a:xfrm>
          <a:prstGeom prst="rect">
            <a:avLst/>
          </a:prstGeom>
          <a:solidFill>
            <a:srgbClr val="24892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88000" tIns="60960" rIns="0" bIns="60960" numCol="1" spcCol="0" rtlCol="0" fromWordArt="0" anchor="ctr" anchorCtr="0" forceAA="0" compatLnSpc="1">
            <a:prstTxWarp prst="textNoShape">
              <a:avLst/>
            </a:prstTxWarp>
            <a:noAutofit/>
          </a:bodyPr>
          <a:lstStyle/>
          <a:p>
            <a:pPr>
              <a:spcBef>
                <a:spcPts val="400"/>
              </a:spcBef>
            </a:pPr>
            <a:r>
              <a:rPr lang="es-ES_tradnl" sz="1100" dirty="0">
                <a:solidFill>
                  <a:schemeClr val="tx1"/>
                </a:solidFill>
                <a:cs typeface="Arial" pitchFamily="34" charset="0"/>
              </a:rPr>
              <a:t>Indicador &gt; +20</a:t>
            </a:r>
          </a:p>
        </p:txBody>
      </p:sp>
      <p:sp>
        <p:nvSpPr>
          <p:cNvPr id="12" name="Rechteck 466">
            <a:extLst>
              <a:ext uri="{FF2B5EF4-FFF2-40B4-BE49-F238E27FC236}">
                <a16:creationId xmlns:a16="http://schemas.microsoft.com/office/drawing/2014/main" id="{83D43EC8-3131-3ECA-FDFD-952BE6BA2273}"/>
              </a:ext>
            </a:extLst>
          </p:cNvPr>
          <p:cNvSpPr/>
          <p:nvPr>
            <p:custDataLst>
              <p:tags r:id="rId59"/>
            </p:custDataLst>
          </p:nvPr>
        </p:nvSpPr>
        <p:spPr bwMode="gray">
          <a:xfrm>
            <a:off x="1024935" y="2420899"/>
            <a:ext cx="74317" cy="96000"/>
          </a:xfrm>
          <a:prstGeom prst="rect">
            <a:avLst/>
          </a:prstGeom>
          <a:solidFill>
            <a:srgbClr val="73C37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88000" tIns="60960" rIns="0" bIns="60960" numCol="1" spcCol="0" rtlCol="0" fromWordArt="0" anchor="ctr" anchorCtr="0" forceAA="0" compatLnSpc="1">
            <a:prstTxWarp prst="textNoShape">
              <a:avLst/>
            </a:prstTxWarp>
            <a:noAutofit/>
          </a:bodyPr>
          <a:lstStyle/>
          <a:p>
            <a:pPr>
              <a:spcBef>
                <a:spcPts val="400"/>
              </a:spcBef>
            </a:pPr>
            <a:r>
              <a:rPr lang="es-ES_tradnl" sz="1100" dirty="0">
                <a:solidFill>
                  <a:schemeClr val="tx1"/>
                </a:solidFill>
                <a:cs typeface="Arial" pitchFamily="34" charset="0"/>
              </a:rPr>
              <a:t>Indicador 0 a +20</a:t>
            </a:r>
          </a:p>
        </p:txBody>
      </p:sp>
      <p:sp>
        <p:nvSpPr>
          <p:cNvPr id="13" name="Rechteck 467">
            <a:extLst>
              <a:ext uri="{FF2B5EF4-FFF2-40B4-BE49-F238E27FC236}">
                <a16:creationId xmlns:a16="http://schemas.microsoft.com/office/drawing/2014/main" id="{BAAAFE06-DA50-BB1D-6C68-5DDDEFE5A3A7}"/>
              </a:ext>
            </a:extLst>
          </p:cNvPr>
          <p:cNvSpPr/>
          <p:nvPr>
            <p:custDataLst>
              <p:tags r:id="rId60"/>
            </p:custDataLst>
          </p:nvPr>
        </p:nvSpPr>
        <p:spPr bwMode="gray">
          <a:xfrm>
            <a:off x="1024935" y="2660925"/>
            <a:ext cx="74317" cy="96000"/>
          </a:xfrm>
          <a:prstGeom prst="rect">
            <a:avLst/>
          </a:prstGeom>
          <a:solidFill>
            <a:srgbClr val="CBA6A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88000" tIns="60960" rIns="0" bIns="60960" numCol="1" spcCol="0" rtlCol="0" fromWordArt="0" anchor="ctr" anchorCtr="0" forceAA="0" compatLnSpc="1">
            <a:prstTxWarp prst="textNoShape">
              <a:avLst/>
            </a:prstTxWarp>
            <a:noAutofit/>
          </a:bodyPr>
          <a:lstStyle/>
          <a:p>
            <a:pPr>
              <a:spcBef>
                <a:spcPts val="400"/>
              </a:spcBef>
            </a:pPr>
            <a:r>
              <a:rPr lang="es-ES_tradnl" sz="1100">
                <a:solidFill>
                  <a:schemeClr val="tx1"/>
                </a:solidFill>
                <a:cs typeface="Arial" pitchFamily="34" charset="0"/>
              </a:rPr>
              <a:t>Indicador 0 a -20</a:t>
            </a:r>
          </a:p>
        </p:txBody>
      </p:sp>
      <p:sp>
        <p:nvSpPr>
          <p:cNvPr id="15" name="Rechteck 468">
            <a:extLst>
              <a:ext uri="{FF2B5EF4-FFF2-40B4-BE49-F238E27FC236}">
                <a16:creationId xmlns:a16="http://schemas.microsoft.com/office/drawing/2014/main" id="{F0B8CAC4-F2DC-EFB3-3D2D-27D6E7885082}"/>
              </a:ext>
            </a:extLst>
          </p:cNvPr>
          <p:cNvSpPr/>
          <p:nvPr>
            <p:custDataLst>
              <p:tags r:id="rId61"/>
            </p:custDataLst>
          </p:nvPr>
        </p:nvSpPr>
        <p:spPr bwMode="gray">
          <a:xfrm>
            <a:off x="1025229" y="2900941"/>
            <a:ext cx="74317" cy="96000"/>
          </a:xfrm>
          <a:prstGeom prst="rect">
            <a:avLst/>
          </a:prstGeom>
          <a:solidFill>
            <a:srgbClr val="9B000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88000" tIns="60960" rIns="0" bIns="60960" numCol="1" spcCol="0" rtlCol="0" fromWordArt="0" anchor="ctr" anchorCtr="0" forceAA="0" compatLnSpc="1">
            <a:prstTxWarp prst="textNoShape">
              <a:avLst/>
            </a:prstTxWarp>
            <a:noAutofit/>
          </a:bodyPr>
          <a:lstStyle/>
          <a:p>
            <a:pPr>
              <a:spcBef>
                <a:spcPts val="400"/>
              </a:spcBef>
            </a:pPr>
            <a:r>
              <a:rPr lang="es-ES_tradnl" sz="1100">
                <a:solidFill>
                  <a:schemeClr val="tx1"/>
                </a:solidFill>
                <a:cs typeface="Arial" pitchFamily="34" charset="0"/>
              </a:rPr>
              <a:t>Indicador &lt; -20</a:t>
            </a:r>
          </a:p>
        </p:txBody>
      </p:sp>
      <p:sp>
        <p:nvSpPr>
          <p:cNvPr id="16" name="Textfeld 201">
            <a:extLst>
              <a:ext uri="{FF2B5EF4-FFF2-40B4-BE49-F238E27FC236}">
                <a16:creationId xmlns:a16="http://schemas.microsoft.com/office/drawing/2014/main" id="{513954EF-35D0-E702-05FD-29B441AB8E0C}"/>
              </a:ext>
            </a:extLst>
          </p:cNvPr>
          <p:cNvSpPr txBox="1"/>
          <p:nvPr/>
        </p:nvSpPr>
        <p:spPr>
          <a:xfrm>
            <a:off x="1022457" y="1810352"/>
            <a:ext cx="914400" cy="284281"/>
          </a:xfrm>
          <a:prstGeom prst="rect">
            <a:avLst/>
          </a:prstGeom>
          <a:noFill/>
        </p:spPr>
        <p:txBody>
          <a:bodyPr wrap="none" lIns="0" tIns="0" rIns="0" bIns="0" rtlCol="0">
            <a:noAutofit/>
          </a:bodyPr>
          <a:lstStyle/>
          <a:p>
            <a:pPr>
              <a:lnSpc>
                <a:spcPct val="125000"/>
              </a:lnSpc>
              <a:buClr>
                <a:schemeClr val="tx2"/>
              </a:buClr>
            </a:pPr>
            <a:r>
              <a:rPr lang="es-ES_tradnl" sz="1100" dirty="0"/>
              <a:t>Nivel del indicador:</a:t>
            </a:r>
          </a:p>
        </p:txBody>
      </p:sp>
      <p:sp>
        <p:nvSpPr>
          <p:cNvPr id="17" name="Rechteck 388">
            <a:extLst>
              <a:ext uri="{FF2B5EF4-FFF2-40B4-BE49-F238E27FC236}">
                <a16:creationId xmlns:a16="http://schemas.microsoft.com/office/drawing/2014/main" id="{F0099111-92A9-F438-6464-2453D2D53573}"/>
              </a:ext>
            </a:extLst>
          </p:cNvPr>
          <p:cNvSpPr/>
          <p:nvPr>
            <p:custDataLst>
              <p:tags r:id="rId62"/>
            </p:custDataLst>
          </p:nvPr>
        </p:nvSpPr>
        <p:spPr bwMode="gray">
          <a:xfrm>
            <a:off x="1313127" y="4677133"/>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en-US" sz="1100" dirty="0">
                <a:solidFill>
                  <a:schemeClr val="tx1">
                    <a:lumMod val="65000"/>
                    <a:lumOff val="35000"/>
                  </a:schemeClr>
                </a:solidFill>
                <a:cs typeface="Arial" pitchFamily="34" charset="0"/>
                <a:sym typeface="Wingdings"/>
              </a:rPr>
              <a:t>&gt; +5</a:t>
            </a:r>
            <a:endParaRPr lang="en-US" sz="1100" dirty="0">
              <a:solidFill>
                <a:schemeClr val="tx1">
                  <a:lumMod val="65000"/>
                  <a:lumOff val="35000"/>
                </a:schemeClr>
              </a:solidFill>
              <a:cs typeface="Arial" pitchFamily="34" charset="0"/>
            </a:endParaRPr>
          </a:p>
        </p:txBody>
      </p:sp>
      <p:sp>
        <p:nvSpPr>
          <p:cNvPr id="18" name="Rechteck 176">
            <a:extLst>
              <a:ext uri="{FF2B5EF4-FFF2-40B4-BE49-F238E27FC236}">
                <a16:creationId xmlns:a16="http://schemas.microsoft.com/office/drawing/2014/main" id="{31E67316-EFDC-85C5-0F28-1AD4BA305502}"/>
              </a:ext>
            </a:extLst>
          </p:cNvPr>
          <p:cNvSpPr/>
          <p:nvPr>
            <p:custDataLst>
              <p:tags r:id="rId63"/>
            </p:custDataLst>
          </p:nvPr>
        </p:nvSpPr>
        <p:spPr bwMode="gray">
          <a:xfrm>
            <a:off x="1313127" y="4965165"/>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de-DE" sz="1100" dirty="0">
                <a:solidFill>
                  <a:schemeClr val="tx1">
                    <a:lumMod val="65000"/>
                    <a:lumOff val="35000"/>
                  </a:schemeClr>
                </a:solidFill>
                <a:cs typeface="Arial" pitchFamily="34" charset="0"/>
                <a:sym typeface="Wingdings"/>
              </a:rPr>
              <a:t>+1 a +5</a:t>
            </a:r>
            <a:endParaRPr lang="de-DE" sz="1100" dirty="0">
              <a:solidFill>
                <a:schemeClr val="tx1">
                  <a:lumMod val="65000"/>
                  <a:lumOff val="35000"/>
                </a:schemeClr>
              </a:solidFill>
              <a:cs typeface="Arial" pitchFamily="34" charset="0"/>
            </a:endParaRPr>
          </a:p>
        </p:txBody>
      </p:sp>
      <p:sp>
        <p:nvSpPr>
          <p:cNvPr id="19" name="Rechteck 177">
            <a:extLst>
              <a:ext uri="{FF2B5EF4-FFF2-40B4-BE49-F238E27FC236}">
                <a16:creationId xmlns:a16="http://schemas.microsoft.com/office/drawing/2014/main" id="{A88A48CF-51BA-9594-6D9D-F3983F8AE585}"/>
              </a:ext>
            </a:extLst>
          </p:cNvPr>
          <p:cNvSpPr/>
          <p:nvPr>
            <p:custDataLst>
              <p:tags r:id="rId64"/>
            </p:custDataLst>
          </p:nvPr>
        </p:nvSpPr>
        <p:spPr bwMode="gray">
          <a:xfrm>
            <a:off x="1313127" y="5253229"/>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de-DE" sz="1100" dirty="0">
                <a:solidFill>
                  <a:schemeClr val="tx1">
                    <a:lumMod val="65000"/>
                    <a:lumOff val="35000"/>
                  </a:schemeClr>
                </a:solidFill>
                <a:cs typeface="Arial" pitchFamily="34" charset="0"/>
                <a:sym typeface="Wingdings"/>
              </a:rPr>
              <a:t>-1 a +1</a:t>
            </a:r>
            <a:endParaRPr lang="de-DE" sz="1100" dirty="0">
              <a:solidFill>
                <a:schemeClr val="tx1">
                  <a:lumMod val="65000"/>
                  <a:lumOff val="35000"/>
                </a:schemeClr>
              </a:solidFill>
              <a:cs typeface="Arial" pitchFamily="34" charset="0"/>
            </a:endParaRPr>
          </a:p>
        </p:txBody>
      </p:sp>
      <p:sp>
        <p:nvSpPr>
          <p:cNvPr id="20" name="Rechteck 178">
            <a:extLst>
              <a:ext uri="{FF2B5EF4-FFF2-40B4-BE49-F238E27FC236}">
                <a16:creationId xmlns:a16="http://schemas.microsoft.com/office/drawing/2014/main" id="{645CD9DA-6A59-AC40-DA1B-449462BBC813}"/>
              </a:ext>
            </a:extLst>
          </p:cNvPr>
          <p:cNvSpPr/>
          <p:nvPr>
            <p:custDataLst>
              <p:tags r:id="rId65"/>
            </p:custDataLst>
          </p:nvPr>
        </p:nvSpPr>
        <p:spPr bwMode="gray">
          <a:xfrm>
            <a:off x="1313127" y="5541229"/>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de-DE" sz="1100" dirty="0">
                <a:solidFill>
                  <a:schemeClr val="tx1">
                    <a:lumMod val="65000"/>
                    <a:lumOff val="35000"/>
                  </a:schemeClr>
                </a:solidFill>
                <a:cs typeface="Arial" pitchFamily="34" charset="0"/>
                <a:sym typeface="Wingdings"/>
              </a:rPr>
              <a:t>-5 a -1</a:t>
            </a:r>
            <a:endParaRPr lang="de-DE" sz="1100" dirty="0">
              <a:solidFill>
                <a:schemeClr val="tx1">
                  <a:lumMod val="65000"/>
                  <a:lumOff val="35000"/>
                </a:schemeClr>
              </a:solidFill>
              <a:cs typeface="Arial" pitchFamily="34" charset="0"/>
            </a:endParaRPr>
          </a:p>
        </p:txBody>
      </p:sp>
      <p:sp>
        <p:nvSpPr>
          <p:cNvPr id="21" name="Rechteck 179">
            <a:extLst>
              <a:ext uri="{FF2B5EF4-FFF2-40B4-BE49-F238E27FC236}">
                <a16:creationId xmlns:a16="http://schemas.microsoft.com/office/drawing/2014/main" id="{285EFB89-65AE-D9C4-FD56-F32F22D085DE}"/>
              </a:ext>
            </a:extLst>
          </p:cNvPr>
          <p:cNvSpPr/>
          <p:nvPr>
            <p:custDataLst>
              <p:tags r:id="rId66"/>
            </p:custDataLst>
          </p:nvPr>
        </p:nvSpPr>
        <p:spPr bwMode="gray">
          <a:xfrm>
            <a:off x="1313127" y="5829261"/>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en-US" sz="1100" dirty="0">
                <a:solidFill>
                  <a:schemeClr val="tx1">
                    <a:lumMod val="65000"/>
                    <a:lumOff val="35000"/>
                  </a:schemeClr>
                </a:solidFill>
                <a:cs typeface="Arial" pitchFamily="34" charset="0"/>
                <a:sym typeface="Wingdings"/>
              </a:rPr>
              <a:t>&lt; -5</a:t>
            </a:r>
            <a:endParaRPr lang="en-US" sz="1100" dirty="0">
              <a:solidFill>
                <a:schemeClr val="tx1">
                  <a:lumMod val="65000"/>
                  <a:lumOff val="35000"/>
                </a:schemeClr>
              </a:solidFill>
              <a:cs typeface="Arial" pitchFamily="34" charset="0"/>
            </a:endParaRPr>
          </a:p>
        </p:txBody>
      </p:sp>
      <p:grpSp>
        <p:nvGrpSpPr>
          <p:cNvPr id="22" name="Gruppieren 184">
            <a:extLst>
              <a:ext uri="{FF2B5EF4-FFF2-40B4-BE49-F238E27FC236}">
                <a16:creationId xmlns:a16="http://schemas.microsoft.com/office/drawing/2014/main" id="{0D100E81-C6A2-D75F-C3E2-DDA833FF89DD}"/>
              </a:ext>
            </a:extLst>
          </p:cNvPr>
          <p:cNvGrpSpPr/>
          <p:nvPr>
            <p:custDataLst>
              <p:tags r:id="rId67"/>
            </p:custDataLst>
          </p:nvPr>
        </p:nvGrpSpPr>
        <p:grpSpPr bwMode="gray">
          <a:xfrm>
            <a:off x="1037417" y="4694964"/>
            <a:ext cx="144000" cy="144000"/>
            <a:chOff x="323548" y="3507850"/>
            <a:chExt cx="144000" cy="144000"/>
          </a:xfrm>
          <a:solidFill>
            <a:schemeClr val="bg2">
              <a:lumMod val="90000"/>
            </a:schemeClr>
          </a:solidFill>
        </p:grpSpPr>
        <p:sp>
          <p:nvSpPr>
            <p:cNvPr id="23" name="Ellipse 188">
              <a:extLst>
                <a:ext uri="{FF2B5EF4-FFF2-40B4-BE49-F238E27FC236}">
                  <a16:creationId xmlns:a16="http://schemas.microsoft.com/office/drawing/2014/main" id="{1C308699-EBA4-AC34-9AA7-F5EE75A0F6C4}"/>
                </a:ext>
              </a:extLst>
            </p:cNvPr>
            <p:cNvSpPr/>
            <p:nvPr>
              <p:custDataLst>
                <p:tags r:id="rId81"/>
              </p:custDataLst>
            </p:nvPr>
          </p:nvSpPr>
          <p:spPr bwMode="gray">
            <a:xfrm>
              <a:off x="323548" y="3507850"/>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24" name="Ellipse 189">
              <a:extLst>
                <a:ext uri="{FF2B5EF4-FFF2-40B4-BE49-F238E27FC236}">
                  <a16:creationId xmlns:a16="http://schemas.microsoft.com/office/drawing/2014/main" id="{5D9AD7CD-856A-13F3-F170-D05D64623DC1}"/>
                </a:ext>
              </a:extLst>
            </p:cNvPr>
            <p:cNvSpPr/>
            <p:nvPr>
              <p:custDataLst>
                <p:tags r:id="rId82"/>
              </p:custDataLst>
            </p:nvPr>
          </p:nvSpPr>
          <p:spPr bwMode="gray">
            <a:xfrm>
              <a:off x="323548" y="3507850"/>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grpSp>
        <p:nvGrpSpPr>
          <p:cNvPr id="25" name="Gruppieren 190">
            <a:extLst>
              <a:ext uri="{FF2B5EF4-FFF2-40B4-BE49-F238E27FC236}">
                <a16:creationId xmlns:a16="http://schemas.microsoft.com/office/drawing/2014/main" id="{5990C709-D6D9-CA0B-E45F-9E6772A115F8}"/>
              </a:ext>
            </a:extLst>
          </p:cNvPr>
          <p:cNvGrpSpPr/>
          <p:nvPr>
            <p:custDataLst>
              <p:tags r:id="rId68"/>
            </p:custDataLst>
          </p:nvPr>
        </p:nvGrpSpPr>
        <p:grpSpPr bwMode="gray">
          <a:xfrm>
            <a:off x="1037417" y="5855837"/>
            <a:ext cx="144000" cy="144000"/>
            <a:chOff x="323548" y="4371946"/>
            <a:chExt cx="144000" cy="144000"/>
          </a:xfrm>
          <a:solidFill>
            <a:schemeClr val="bg2">
              <a:lumMod val="90000"/>
            </a:schemeClr>
          </a:solidFill>
        </p:grpSpPr>
        <p:sp>
          <p:nvSpPr>
            <p:cNvPr id="26" name="Ellipse 192">
              <a:extLst>
                <a:ext uri="{FF2B5EF4-FFF2-40B4-BE49-F238E27FC236}">
                  <a16:creationId xmlns:a16="http://schemas.microsoft.com/office/drawing/2014/main" id="{2D410EB8-D588-2D0F-39E7-0A10C3BF01DC}"/>
                </a:ext>
              </a:extLst>
            </p:cNvPr>
            <p:cNvSpPr/>
            <p:nvPr>
              <p:custDataLst>
                <p:tags r:id="rId79"/>
              </p:custDataLst>
            </p:nvPr>
          </p:nvSpPr>
          <p:spPr bwMode="gray">
            <a:xfrm>
              <a:off x="323548" y="4371946"/>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27" name="Ellipse 194">
              <a:extLst>
                <a:ext uri="{FF2B5EF4-FFF2-40B4-BE49-F238E27FC236}">
                  <a16:creationId xmlns:a16="http://schemas.microsoft.com/office/drawing/2014/main" id="{5327B676-AC09-08E0-07CC-8B4D38FDC916}"/>
                </a:ext>
              </a:extLst>
            </p:cNvPr>
            <p:cNvSpPr/>
            <p:nvPr>
              <p:custDataLst>
                <p:tags r:id="rId80"/>
              </p:custDataLst>
            </p:nvPr>
          </p:nvSpPr>
          <p:spPr bwMode="gray">
            <a:xfrm>
              <a:off x="323548" y="4371946"/>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grpSp>
        <p:nvGrpSpPr>
          <p:cNvPr id="28" name="Gruppieren 195">
            <a:extLst>
              <a:ext uri="{FF2B5EF4-FFF2-40B4-BE49-F238E27FC236}">
                <a16:creationId xmlns:a16="http://schemas.microsoft.com/office/drawing/2014/main" id="{776A5721-B6C5-175A-FFEA-670A9AAE2D4D}"/>
              </a:ext>
            </a:extLst>
          </p:cNvPr>
          <p:cNvGrpSpPr/>
          <p:nvPr>
            <p:custDataLst>
              <p:tags r:id="rId69"/>
            </p:custDataLst>
          </p:nvPr>
        </p:nvGrpSpPr>
        <p:grpSpPr bwMode="gray">
          <a:xfrm>
            <a:off x="1037417" y="5565618"/>
            <a:ext cx="144000" cy="144000"/>
            <a:chOff x="323548" y="4155922"/>
            <a:chExt cx="144000" cy="144000"/>
          </a:xfrm>
          <a:solidFill>
            <a:schemeClr val="bg2">
              <a:lumMod val="90000"/>
            </a:schemeClr>
          </a:solidFill>
        </p:grpSpPr>
        <p:sp>
          <p:nvSpPr>
            <p:cNvPr id="29" name="Ellipse 206">
              <a:extLst>
                <a:ext uri="{FF2B5EF4-FFF2-40B4-BE49-F238E27FC236}">
                  <a16:creationId xmlns:a16="http://schemas.microsoft.com/office/drawing/2014/main" id="{3A92DFED-3BA0-57C9-EE12-11D9F19D21CA}"/>
                </a:ext>
              </a:extLst>
            </p:cNvPr>
            <p:cNvSpPr/>
            <p:nvPr>
              <p:custDataLst>
                <p:tags r:id="rId77"/>
              </p:custDataLst>
            </p:nvPr>
          </p:nvSpPr>
          <p:spPr bwMode="gray">
            <a:xfrm>
              <a:off x="323548" y="4155922"/>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30" name="Ellipse 207">
              <a:extLst>
                <a:ext uri="{FF2B5EF4-FFF2-40B4-BE49-F238E27FC236}">
                  <a16:creationId xmlns:a16="http://schemas.microsoft.com/office/drawing/2014/main" id="{8A38DFAF-6FD0-70F0-AB31-722001AE89B6}"/>
                </a:ext>
              </a:extLst>
            </p:cNvPr>
            <p:cNvSpPr/>
            <p:nvPr>
              <p:custDataLst>
                <p:tags r:id="rId78"/>
              </p:custDataLst>
            </p:nvPr>
          </p:nvSpPr>
          <p:spPr bwMode="gray">
            <a:xfrm>
              <a:off x="323548" y="4155922"/>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grpSp>
        <p:nvGrpSpPr>
          <p:cNvPr id="31" name="Gruppieren 208">
            <a:extLst>
              <a:ext uri="{FF2B5EF4-FFF2-40B4-BE49-F238E27FC236}">
                <a16:creationId xmlns:a16="http://schemas.microsoft.com/office/drawing/2014/main" id="{A87F2296-05BD-E131-9C64-5F520748F703}"/>
              </a:ext>
            </a:extLst>
          </p:cNvPr>
          <p:cNvGrpSpPr/>
          <p:nvPr>
            <p:custDataLst>
              <p:tags r:id="rId70"/>
            </p:custDataLst>
          </p:nvPr>
        </p:nvGrpSpPr>
        <p:grpSpPr bwMode="gray">
          <a:xfrm>
            <a:off x="1037417" y="5275400"/>
            <a:ext cx="144000" cy="144000"/>
            <a:chOff x="323548" y="3939922"/>
            <a:chExt cx="144000" cy="144000"/>
          </a:xfrm>
          <a:solidFill>
            <a:schemeClr val="bg2">
              <a:lumMod val="90000"/>
            </a:schemeClr>
          </a:solidFill>
        </p:grpSpPr>
        <p:sp>
          <p:nvSpPr>
            <p:cNvPr id="32" name="Ellipse 209">
              <a:extLst>
                <a:ext uri="{FF2B5EF4-FFF2-40B4-BE49-F238E27FC236}">
                  <a16:creationId xmlns:a16="http://schemas.microsoft.com/office/drawing/2014/main" id="{5F26C862-2F43-8610-BCAE-A70DCC9DA5DA}"/>
                </a:ext>
              </a:extLst>
            </p:cNvPr>
            <p:cNvSpPr/>
            <p:nvPr>
              <p:custDataLst>
                <p:tags r:id="rId75"/>
              </p:custDataLst>
            </p:nvPr>
          </p:nvSpPr>
          <p:spPr bwMode="gray">
            <a:xfrm>
              <a:off x="323548" y="3939922"/>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33" name="Ellipse 210">
              <a:extLst>
                <a:ext uri="{FF2B5EF4-FFF2-40B4-BE49-F238E27FC236}">
                  <a16:creationId xmlns:a16="http://schemas.microsoft.com/office/drawing/2014/main" id="{2F4B354E-92BE-5DEF-7C38-49D7F8DB0A6A}"/>
                </a:ext>
              </a:extLst>
            </p:cNvPr>
            <p:cNvSpPr/>
            <p:nvPr>
              <p:custDataLst>
                <p:tags r:id="rId76"/>
              </p:custDataLst>
            </p:nvPr>
          </p:nvSpPr>
          <p:spPr bwMode="gray">
            <a:xfrm>
              <a:off x="323548" y="3939922"/>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grpSp>
        <p:nvGrpSpPr>
          <p:cNvPr id="34" name="Gruppieren 211">
            <a:extLst>
              <a:ext uri="{FF2B5EF4-FFF2-40B4-BE49-F238E27FC236}">
                <a16:creationId xmlns:a16="http://schemas.microsoft.com/office/drawing/2014/main" id="{F7999339-A6A4-B869-4AAC-54EBB7868F6C}"/>
              </a:ext>
            </a:extLst>
          </p:cNvPr>
          <p:cNvGrpSpPr/>
          <p:nvPr>
            <p:custDataLst>
              <p:tags r:id="rId71"/>
            </p:custDataLst>
          </p:nvPr>
        </p:nvGrpSpPr>
        <p:grpSpPr bwMode="gray">
          <a:xfrm>
            <a:off x="1037417" y="4985182"/>
            <a:ext cx="144000" cy="144000"/>
            <a:chOff x="323548" y="3723874"/>
            <a:chExt cx="144000" cy="144000"/>
          </a:xfrm>
          <a:solidFill>
            <a:schemeClr val="bg2">
              <a:lumMod val="90000"/>
            </a:schemeClr>
          </a:solidFill>
        </p:grpSpPr>
        <p:sp>
          <p:nvSpPr>
            <p:cNvPr id="35" name="Ellipse 212">
              <a:extLst>
                <a:ext uri="{FF2B5EF4-FFF2-40B4-BE49-F238E27FC236}">
                  <a16:creationId xmlns:a16="http://schemas.microsoft.com/office/drawing/2014/main" id="{33ABF52A-75A5-8CFD-B69A-FA1CC5BC5DC7}"/>
                </a:ext>
              </a:extLst>
            </p:cNvPr>
            <p:cNvSpPr/>
            <p:nvPr>
              <p:custDataLst>
                <p:tags r:id="rId73"/>
              </p:custDataLst>
            </p:nvPr>
          </p:nvSpPr>
          <p:spPr bwMode="gray">
            <a:xfrm>
              <a:off x="323548" y="3723874"/>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36" name="Ellipse 213">
              <a:extLst>
                <a:ext uri="{FF2B5EF4-FFF2-40B4-BE49-F238E27FC236}">
                  <a16:creationId xmlns:a16="http://schemas.microsoft.com/office/drawing/2014/main" id="{564EBCEC-7C6B-895E-A2DC-46B1A8106B0B}"/>
                </a:ext>
              </a:extLst>
            </p:cNvPr>
            <p:cNvSpPr/>
            <p:nvPr>
              <p:custDataLst>
                <p:tags r:id="rId74"/>
              </p:custDataLst>
            </p:nvPr>
          </p:nvSpPr>
          <p:spPr bwMode="gray">
            <a:xfrm>
              <a:off x="323548" y="3723874"/>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sp>
        <p:nvSpPr>
          <p:cNvPr id="37" name="Rechteck 236">
            <a:extLst>
              <a:ext uri="{FF2B5EF4-FFF2-40B4-BE49-F238E27FC236}">
                <a16:creationId xmlns:a16="http://schemas.microsoft.com/office/drawing/2014/main" id="{34232EFF-D529-DE7B-EA7B-A2A1D9791C7E}"/>
              </a:ext>
            </a:extLst>
          </p:cNvPr>
          <p:cNvSpPr/>
          <p:nvPr>
            <p:custDataLst>
              <p:tags r:id="rId72"/>
            </p:custDataLst>
          </p:nvPr>
        </p:nvSpPr>
        <p:spPr bwMode="gray">
          <a:xfrm>
            <a:off x="984612" y="4118266"/>
            <a:ext cx="1759701" cy="4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s-ES_tradnl" sz="1100" dirty="0">
                <a:solidFill>
                  <a:schemeClr val="tx1"/>
                </a:solidFill>
                <a:cs typeface="Arial" pitchFamily="34" charset="0"/>
                <a:sym typeface="Wingdings"/>
              </a:rPr>
              <a:t>Variación:</a:t>
            </a:r>
          </a:p>
          <a:p>
            <a:r>
              <a:rPr lang="es-ES_tradnl" sz="1100" dirty="0">
                <a:solidFill>
                  <a:schemeClr val="tx1"/>
                </a:solidFill>
                <a:cs typeface="Arial" pitchFamily="34" charset="0"/>
                <a:sym typeface="Wingdings"/>
              </a:rPr>
              <a:t>Diciembre 2023 vs. Noviembre 2023  </a:t>
            </a:r>
            <a:endParaRPr lang="es-ES_tradnl" sz="1100" dirty="0">
              <a:solidFill>
                <a:schemeClr val="tx1"/>
              </a:solidFill>
              <a:cs typeface="Arial" pitchFamily="34" charset="0"/>
            </a:endParaRPr>
          </a:p>
        </p:txBody>
      </p:sp>
    </p:spTree>
    <p:custDataLst>
      <p:tags r:id="rId1"/>
    </p:custDataLst>
    <p:extLst>
      <p:ext uri="{BB962C8B-B14F-4D97-AF65-F5344CB8AC3E}">
        <p14:creationId xmlns:p14="http://schemas.microsoft.com/office/powerpoint/2010/main" val="2558359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7" name="Objekt 216"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Folie" r:id="rId154" imgW="270" imgH="270" progId="TCLayout.ActiveDocument.1">
                  <p:embed/>
                </p:oleObj>
              </mc:Choice>
              <mc:Fallback>
                <p:oleObj name="think-cell Folie" r:id="rId154" imgW="270" imgH="270" progId="TCLayout.ActiveDocument.1">
                  <p:embed/>
                  <p:pic>
                    <p:nvPicPr>
                      <p:cNvPr id="217" name="Objekt 216" hidden="1"/>
                      <p:cNvPicPr/>
                      <p:nvPr/>
                    </p:nvPicPr>
                    <p:blipFill>
                      <a:blip r:embed="rId155"/>
                      <a:stretch>
                        <a:fillRect/>
                      </a:stretch>
                    </p:blipFill>
                    <p:spPr>
                      <a:xfrm>
                        <a:off x="2118" y="2118"/>
                        <a:ext cx="2116" cy="2116"/>
                      </a:xfrm>
                      <a:prstGeom prst="rect">
                        <a:avLst/>
                      </a:prstGeom>
                    </p:spPr>
                  </p:pic>
                </p:oleObj>
              </mc:Fallback>
            </mc:AlternateContent>
          </a:graphicData>
        </a:graphic>
      </p:graphicFrame>
      <p:sp>
        <p:nvSpPr>
          <p:cNvPr id="475" name="Rechteck 474"/>
          <p:cNvSpPr/>
          <p:nvPr>
            <p:custDataLst>
              <p:tags r:id="rId3"/>
            </p:custDataLst>
          </p:nvPr>
        </p:nvSpPr>
        <p:spPr bwMode="gray">
          <a:xfrm>
            <a:off x="1025322" y="3140968"/>
            <a:ext cx="1820823" cy="4800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0960" rIns="0" bIns="60960" numCol="1" spcCol="0" rtlCol="0" fromWordArt="0" anchor="ctr" anchorCtr="0" forceAA="0" compatLnSpc="1">
            <a:prstTxWarp prst="textNoShape">
              <a:avLst/>
            </a:prstTxWarp>
            <a:noAutofit/>
          </a:bodyPr>
          <a:lstStyle/>
          <a:p>
            <a:pPr>
              <a:spcBef>
                <a:spcPts val="400"/>
              </a:spcBef>
            </a:pPr>
            <a:r>
              <a:rPr lang="de-DE" sz="1400" b="1" dirty="0">
                <a:solidFill>
                  <a:schemeClr val="tx1"/>
                </a:solidFill>
                <a:cs typeface="Arial" pitchFamily="34" charset="0"/>
              </a:rPr>
              <a:t>Total UE: </a:t>
            </a:r>
            <a:r>
              <a:rPr lang="de-DE" sz="1400" b="1" dirty="0">
                <a:solidFill>
                  <a:srgbClr val="9B0009"/>
                </a:solidFill>
                <a:cs typeface="Arial" pitchFamily="34" charset="0"/>
              </a:rPr>
              <a:t>-23 </a:t>
            </a:r>
            <a:r>
              <a:rPr lang="de-DE" sz="1400" b="1" dirty="0">
                <a:solidFill>
                  <a:schemeClr val="tx1"/>
                </a:solidFill>
                <a:cs typeface="Arial" pitchFamily="34" charset="0"/>
              </a:rPr>
              <a:t>(+2</a:t>
            </a:r>
            <a:r>
              <a:rPr lang="de-DE" sz="1400" b="1" dirty="0">
                <a:solidFill>
                  <a:schemeClr val="accent2"/>
                </a:solidFill>
                <a:cs typeface="Arial" pitchFamily="34" charset="0"/>
              </a:rPr>
              <a:t> </a:t>
            </a:r>
            <a:r>
              <a:rPr lang="de-DE" sz="1400" b="1" dirty="0">
                <a:solidFill>
                  <a:schemeClr val="tx1"/>
                </a:solidFill>
                <a:cs typeface="Arial" pitchFamily="34" charset="0"/>
              </a:rPr>
              <a:t>    )</a:t>
            </a:r>
          </a:p>
        </p:txBody>
      </p:sp>
      <p:grpSp>
        <p:nvGrpSpPr>
          <p:cNvPr id="5" name="Group 4"/>
          <p:cNvGrpSpPr/>
          <p:nvPr/>
        </p:nvGrpSpPr>
        <p:grpSpPr>
          <a:xfrm>
            <a:off x="2907989" y="643540"/>
            <a:ext cx="8258657" cy="5925538"/>
            <a:chOff x="2159732" y="484981"/>
            <a:chExt cx="6193993" cy="4444153"/>
          </a:xfrm>
        </p:grpSpPr>
        <p:grpSp>
          <p:nvGrpSpPr>
            <p:cNvPr id="906" name="Gruppieren 905"/>
            <p:cNvGrpSpPr/>
            <p:nvPr>
              <p:custDataLst>
                <p:tags r:id="rId83"/>
              </p:custDataLst>
            </p:nvPr>
          </p:nvGrpSpPr>
          <p:grpSpPr bwMode="gray">
            <a:xfrm>
              <a:off x="2475495" y="484981"/>
              <a:ext cx="5878230" cy="4392000"/>
              <a:chOff x="2475495" y="484981"/>
              <a:chExt cx="5878230" cy="4392000"/>
            </a:xfrm>
          </p:grpSpPr>
          <p:sp>
            <p:nvSpPr>
              <p:cNvPr id="757" name="Freeform 65"/>
              <p:cNvSpPr>
                <a:spLocks/>
              </p:cNvSpPr>
              <p:nvPr>
                <p:custDataLst>
                  <p:tags r:id="rId121"/>
                </p:custDataLst>
              </p:nvPr>
            </p:nvSpPr>
            <p:spPr bwMode="gray">
              <a:xfrm>
                <a:off x="5352957" y="4203300"/>
                <a:ext cx="219644" cy="183710"/>
              </a:xfrm>
              <a:custGeom>
                <a:avLst/>
                <a:gdLst>
                  <a:gd name="T0" fmla="*/ 36 w 47"/>
                  <a:gd name="T1" fmla="*/ 2 h 40"/>
                  <a:gd name="T2" fmla="*/ 34 w 47"/>
                  <a:gd name="T3" fmla="*/ 0 h 40"/>
                  <a:gd name="T4" fmla="*/ 30 w 47"/>
                  <a:gd name="T5" fmla="*/ 1 h 40"/>
                  <a:gd name="T6" fmla="*/ 28 w 47"/>
                  <a:gd name="T7" fmla="*/ 1 h 40"/>
                  <a:gd name="T8" fmla="*/ 23 w 47"/>
                  <a:gd name="T9" fmla="*/ 2 h 40"/>
                  <a:gd name="T10" fmla="*/ 20 w 47"/>
                  <a:gd name="T11" fmla="*/ 3 h 40"/>
                  <a:gd name="T12" fmla="*/ 16 w 47"/>
                  <a:gd name="T13" fmla="*/ 5 h 40"/>
                  <a:gd name="T14" fmla="*/ 14 w 47"/>
                  <a:gd name="T15" fmla="*/ 6 h 40"/>
                  <a:gd name="T16" fmla="*/ 11 w 47"/>
                  <a:gd name="T17" fmla="*/ 5 h 40"/>
                  <a:gd name="T18" fmla="*/ 7 w 47"/>
                  <a:gd name="T19" fmla="*/ 8 h 40"/>
                  <a:gd name="T20" fmla="*/ 5 w 47"/>
                  <a:gd name="T21" fmla="*/ 13 h 40"/>
                  <a:gd name="T22" fmla="*/ 2 w 47"/>
                  <a:gd name="T23" fmla="*/ 17 h 40"/>
                  <a:gd name="T24" fmla="*/ 3 w 47"/>
                  <a:gd name="T25" fmla="*/ 21 h 40"/>
                  <a:gd name="T26" fmla="*/ 1 w 47"/>
                  <a:gd name="T27" fmla="*/ 24 h 40"/>
                  <a:gd name="T28" fmla="*/ 3 w 47"/>
                  <a:gd name="T29" fmla="*/ 28 h 40"/>
                  <a:gd name="T30" fmla="*/ 4 w 47"/>
                  <a:gd name="T31" fmla="*/ 32 h 40"/>
                  <a:gd name="T32" fmla="*/ 6 w 47"/>
                  <a:gd name="T33" fmla="*/ 36 h 40"/>
                  <a:gd name="T34" fmla="*/ 8 w 47"/>
                  <a:gd name="T35" fmla="*/ 39 h 40"/>
                  <a:gd name="T36" fmla="*/ 14 w 47"/>
                  <a:gd name="T37" fmla="*/ 40 h 40"/>
                  <a:gd name="T38" fmla="*/ 22 w 47"/>
                  <a:gd name="T39" fmla="*/ 39 h 40"/>
                  <a:gd name="T40" fmla="*/ 27 w 47"/>
                  <a:gd name="T41" fmla="*/ 36 h 40"/>
                  <a:gd name="T42" fmla="*/ 33 w 47"/>
                  <a:gd name="T43" fmla="*/ 33 h 40"/>
                  <a:gd name="T44" fmla="*/ 38 w 47"/>
                  <a:gd name="T45" fmla="*/ 32 h 40"/>
                  <a:gd name="T46" fmla="*/ 44 w 47"/>
                  <a:gd name="T47" fmla="*/ 30 h 40"/>
                  <a:gd name="T48" fmla="*/ 47 w 47"/>
                  <a:gd name="T49" fmla="*/ 26 h 40"/>
                  <a:gd name="T50" fmla="*/ 47 w 47"/>
                  <a:gd name="T51" fmla="*/ 17 h 40"/>
                  <a:gd name="T52" fmla="*/ 46 w 47"/>
                  <a:gd name="T53" fmla="*/ 10 h 40"/>
                  <a:gd name="T54" fmla="*/ 41 w 47"/>
                  <a:gd name="T55" fmla="*/ 8 h 40"/>
                  <a:gd name="T56" fmla="*/ 36 w 47"/>
                  <a:gd name="T57"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7" h="40">
                    <a:moveTo>
                      <a:pt x="36" y="2"/>
                    </a:moveTo>
                    <a:cubicBezTo>
                      <a:pt x="36" y="2"/>
                      <a:pt x="36" y="0"/>
                      <a:pt x="34" y="0"/>
                    </a:cubicBezTo>
                    <a:cubicBezTo>
                      <a:pt x="33" y="0"/>
                      <a:pt x="32" y="0"/>
                      <a:pt x="30" y="1"/>
                    </a:cubicBezTo>
                    <a:cubicBezTo>
                      <a:pt x="29" y="2"/>
                      <a:pt x="29" y="1"/>
                      <a:pt x="28" y="1"/>
                    </a:cubicBezTo>
                    <a:cubicBezTo>
                      <a:pt x="27" y="0"/>
                      <a:pt x="24" y="1"/>
                      <a:pt x="23" y="2"/>
                    </a:cubicBezTo>
                    <a:cubicBezTo>
                      <a:pt x="22" y="3"/>
                      <a:pt x="21" y="3"/>
                      <a:pt x="20" y="3"/>
                    </a:cubicBezTo>
                    <a:cubicBezTo>
                      <a:pt x="19" y="2"/>
                      <a:pt x="17" y="3"/>
                      <a:pt x="16" y="5"/>
                    </a:cubicBezTo>
                    <a:cubicBezTo>
                      <a:pt x="15" y="6"/>
                      <a:pt x="14" y="8"/>
                      <a:pt x="14" y="6"/>
                    </a:cubicBezTo>
                    <a:cubicBezTo>
                      <a:pt x="13" y="5"/>
                      <a:pt x="12" y="4"/>
                      <a:pt x="11" y="5"/>
                    </a:cubicBezTo>
                    <a:cubicBezTo>
                      <a:pt x="10" y="6"/>
                      <a:pt x="8" y="8"/>
                      <a:pt x="7" y="8"/>
                    </a:cubicBezTo>
                    <a:cubicBezTo>
                      <a:pt x="6" y="8"/>
                      <a:pt x="6" y="11"/>
                      <a:pt x="5" y="13"/>
                    </a:cubicBezTo>
                    <a:cubicBezTo>
                      <a:pt x="4" y="15"/>
                      <a:pt x="2" y="16"/>
                      <a:pt x="2" y="17"/>
                    </a:cubicBezTo>
                    <a:cubicBezTo>
                      <a:pt x="1" y="19"/>
                      <a:pt x="3" y="20"/>
                      <a:pt x="3" y="21"/>
                    </a:cubicBezTo>
                    <a:cubicBezTo>
                      <a:pt x="2" y="22"/>
                      <a:pt x="0" y="23"/>
                      <a:pt x="1" y="24"/>
                    </a:cubicBezTo>
                    <a:cubicBezTo>
                      <a:pt x="2" y="25"/>
                      <a:pt x="4" y="26"/>
                      <a:pt x="3" y="28"/>
                    </a:cubicBezTo>
                    <a:cubicBezTo>
                      <a:pt x="2" y="29"/>
                      <a:pt x="3" y="31"/>
                      <a:pt x="4" y="32"/>
                    </a:cubicBezTo>
                    <a:cubicBezTo>
                      <a:pt x="5" y="33"/>
                      <a:pt x="6" y="35"/>
                      <a:pt x="6" y="36"/>
                    </a:cubicBezTo>
                    <a:cubicBezTo>
                      <a:pt x="6" y="38"/>
                      <a:pt x="6" y="40"/>
                      <a:pt x="8" y="39"/>
                    </a:cubicBezTo>
                    <a:cubicBezTo>
                      <a:pt x="9" y="39"/>
                      <a:pt x="13" y="40"/>
                      <a:pt x="14" y="40"/>
                    </a:cubicBezTo>
                    <a:cubicBezTo>
                      <a:pt x="15" y="40"/>
                      <a:pt x="20" y="39"/>
                      <a:pt x="22" y="39"/>
                    </a:cubicBezTo>
                    <a:cubicBezTo>
                      <a:pt x="24" y="39"/>
                      <a:pt x="26" y="38"/>
                      <a:pt x="27" y="36"/>
                    </a:cubicBezTo>
                    <a:cubicBezTo>
                      <a:pt x="29" y="34"/>
                      <a:pt x="31" y="33"/>
                      <a:pt x="33" y="33"/>
                    </a:cubicBezTo>
                    <a:cubicBezTo>
                      <a:pt x="34" y="33"/>
                      <a:pt x="36" y="33"/>
                      <a:pt x="38" y="32"/>
                    </a:cubicBezTo>
                    <a:cubicBezTo>
                      <a:pt x="40" y="32"/>
                      <a:pt x="44" y="32"/>
                      <a:pt x="44" y="30"/>
                    </a:cubicBezTo>
                    <a:cubicBezTo>
                      <a:pt x="45" y="28"/>
                      <a:pt x="47" y="26"/>
                      <a:pt x="47" y="26"/>
                    </a:cubicBezTo>
                    <a:cubicBezTo>
                      <a:pt x="47" y="26"/>
                      <a:pt x="47" y="19"/>
                      <a:pt x="47" y="17"/>
                    </a:cubicBezTo>
                    <a:cubicBezTo>
                      <a:pt x="47" y="14"/>
                      <a:pt x="46" y="12"/>
                      <a:pt x="46" y="10"/>
                    </a:cubicBezTo>
                    <a:cubicBezTo>
                      <a:pt x="45" y="7"/>
                      <a:pt x="43" y="9"/>
                      <a:pt x="41" y="8"/>
                    </a:cubicBezTo>
                    <a:cubicBezTo>
                      <a:pt x="39" y="6"/>
                      <a:pt x="36" y="2"/>
                      <a:pt x="36" y="2"/>
                    </a:cubicBez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58" name="Freeform 66"/>
              <p:cNvSpPr>
                <a:spLocks/>
              </p:cNvSpPr>
              <p:nvPr>
                <p:custDataLst>
                  <p:tags r:id="rId122"/>
                </p:custDataLst>
              </p:nvPr>
            </p:nvSpPr>
            <p:spPr bwMode="gray">
              <a:xfrm>
                <a:off x="5258104" y="4162702"/>
                <a:ext cx="163122" cy="357609"/>
              </a:xfrm>
              <a:custGeom>
                <a:avLst/>
                <a:gdLst>
                  <a:gd name="T0" fmla="*/ 1 w 34"/>
                  <a:gd name="T1" fmla="*/ 23 h 86"/>
                  <a:gd name="T2" fmla="*/ 2 w 34"/>
                  <a:gd name="T3" fmla="*/ 24 h 86"/>
                  <a:gd name="T4" fmla="*/ 5 w 34"/>
                  <a:gd name="T5" fmla="*/ 27 h 86"/>
                  <a:gd name="T6" fmla="*/ 4 w 34"/>
                  <a:gd name="T7" fmla="*/ 33 h 86"/>
                  <a:gd name="T8" fmla="*/ 3 w 34"/>
                  <a:gd name="T9" fmla="*/ 37 h 86"/>
                  <a:gd name="T10" fmla="*/ 4 w 34"/>
                  <a:gd name="T11" fmla="*/ 39 h 86"/>
                  <a:gd name="T12" fmla="*/ 3 w 34"/>
                  <a:gd name="T13" fmla="*/ 44 h 86"/>
                  <a:gd name="T14" fmla="*/ 5 w 34"/>
                  <a:gd name="T15" fmla="*/ 47 h 86"/>
                  <a:gd name="T16" fmla="*/ 3 w 34"/>
                  <a:gd name="T17" fmla="*/ 49 h 86"/>
                  <a:gd name="T18" fmla="*/ 1 w 34"/>
                  <a:gd name="T19" fmla="*/ 54 h 86"/>
                  <a:gd name="T20" fmla="*/ 1 w 34"/>
                  <a:gd name="T21" fmla="*/ 57 h 86"/>
                  <a:gd name="T22" fmla="*/ 4 w 34"/>
                  <a:gd name="T23" fmla="*/ 61 h 86"/>
                  <a:gd name="T24" fmla="*/ 4 w 34"/>
                  <a:gd name="T25" fmla="*/ 63 h 86"/>
                  <a:gd name="T26" fmla="*/ 2 w 34"/>
                  <a:gd name="T27" fmla="*/ 63 h 86"/>
                  <a:gd name="T28" fmla="*/ 3 w 34"/>
                  <a:gd name="T29" fmla="*/ 67 h 86"/>
                  <a:gd name="T30" fmla="*/ 7 w 34"/>
                  <a:gd name="T31" fmla="*/ 70 h 86"/>
                  <a:gd name="T32" fmla="*/ 11 w 34"/>
                  <a:gd name="T33" fmla="*/ 72 h 86"/>
                  <a:gd name="T34" fmla="*/ 15 w 34"/>
                  <a:gd name="T35" fmla="*/ 79 h 86"/>
                  <a:gd name="T36" fmla="*/ 16 w 34"/>
                  <a:gd name="T37" fmla="*/ 84 h 86"/>
                  <a:gd name="T38" fmla="*/ 20 w 34"/>
                  <a:gd name="T39" fmla="*/ 83 h 86"/>
                  <a:gd name="T40" fmla="*/ 21 w 34"/>
                  <a:gd name="T41" fmla="*/ 77 h 86"/>
                  <a:gd name="T42" fmla="*/ 23 w 34"/>
                  <a:gd name="T43" fmla="*/ 72 h 86"/>
                  <a:gd name="T44" fmla="*/ 27 w 34"/>
                  <a:gd name="T45" fmla="*/ 71 h 86"/>
                  <a:gd name="T46" fmla="*/ 29 w 34"/>
                  <a:gd name="T47" fmla="*/ 64 h 86"/>
                  <a:gd name="T48" fmla="*/ 33 w 34"/>
                  <a:gd name="T49" fmla="*/ 59 h 86"/>
                  <a:gd name="T50" fmla="*/ 33 w 34"/>
                  <a:gd name="T51" fmla="*/ 52 h 86"/>
                  <a:gd name="T52" fmla="*/ 32 w 34"/>
                  <a:gd name="T53" fmla="*/ 50 h 86"/>
                  <a:gd name="T54" fmla="*/ 32 w 34"/>
                  <a:gd name="T55" fmla="*/ 50 h 86"/>
                  <a:gd name="T56" fmla="*/ 32 w 34"/>
                  <a:gd name="T57" fmla="*/ 50 h 86"/>
                  <a:gd name="T58" fmla="*/ 29 w 34"/>
                  <a:gd name="T59" fmla="*/ 49 h 86"/>
                  <a:gd name="T60" fmla="*/ 27 w 34"/>
                  <a:gd name="T61" fmla="*/ 46 h 86"/>
                  <a:gd name="T62" fmla="*/ 25 w 34"/>
                  <a:gd name="T63" fmla="*/ 42 h 86"/>
                  <a:gd name="T64" fmla="*/ 24 w 34"/>
                  <a:gd name="T65" fmla="*/ 38 h 86"/>
                  <a:gd name="T66" fmla="*/ 22 w 34"/>
                  <a:gd name="T67" fmla="*/ 34 h 86"/>
                  <a:gd name="T68" fmla="*/ 24 w 34"/>
                  <a:gd name="T69" fmla="*/ 31 h 86"/>
                  <a:gd name="T70" fmla="*/ 23 w 34"/>
                  <a:gd name="T71" fmla="*/ 27 h 86"/>
                  <a:gd name="T72" fmla="*/ 24 w 34"/>
                  <a:gd name="T73" fmla="*/ 25 h 86"/>
                  <a:gd name="T74" fmla="*/ 23 w 34"/>
                  <a:gd name="T75" fmla="*/ 16 h 86"/>
                  <a:gd name="T76" fmla="*/ 19 w 34"/>
                  <a:gd name="T77" fmla="*/ 12 h 86"/>
                  <a:gd name="T78" fmla="*/ 17 w 34"/>
                  <a:gd name="T79" fmla="*/ 9 h 86"/>
                  <a:gd name="T80" fmla="*/ 15 w 34"/>
                  <a:gd name="T81" fmla="*/ 5 h 86"/>
                  <a:gd name="T82" fmla="*/ 14 w 34"/>
                  <a:gd name="T83" fmla="*/ 2 h 86"/>
                  <a:gd name="T84" fmla="*/ 12 w 34"/>
                  <a:gd name="T85" fmla="*/ 6 h 86"/>
                  <a:gd name="T86" fmla="*/ 8 w 34"/>
                  <a:gd name="T87" fmla="*/ 4 h 86"/>
                  <a:gd name="T88" fmla="*/ 5 w 34"/>
                  <a:gd name="T89" fmla="*/ 3 h 86"/>
                  <a:gd name="T90" fmla="*/ 2 w 34"/>
                  <a:gd name="T91" fmla="*/ 10 h 86"/>
                  <a:gd name="T92" fmla="*/ 1 w 34"/>
                  <a:gd name="T93" fmla="*/ 19 h 86"/>
                  <a:gd name="T94" fmla="*/ 1 w 34"/>
                  <a:gd name="T95" fmla="*/ 23 h 86"/>
                  <a:gd name="connsiteX0" fmla="*/ 131 w 9673"/>
                  <a:gd name="connsiteY0" fmla="*/ 2506 h 9486"/>
                  <a:gd name="connsiteX1" fmla="*/ 425 w 9673"/>
                  <a:gd name="connsiteY1" fmla="*/ 2623 h 9486"/>
                  <a:gd name="connsiteX2" fmla="*/ 1308 w 9673"/>
                  <a:gd name="connsiteY2" fmla="*/ 2972 h 9486"/>
                  <a:gd name="connsiteX3" fmla="*/ 1013 w 9673"/>
                  <a:gd name="connsiteY3" fmla="*/ 3669 h 9486"/>
                  <a:gd name="connsiteX4" fmla="*/ 719 w 9673"/>
                  <a:gd name="connsiteY4" fmla="*/ 4134 h 9486"/>
                  <a:gd name="connsiteX5" fmla="*/ 1013 w 9673"/>
                  <a:gd name="connsiteY5" fmla="*/ 4367 h 9486"/>
                  <a:gd name="connsiteX6" fmla="*/ 719 w 9673"/>
                  <a:gd name="connsiteY6" fmla="*/ 4948 h 9486"/>
                  <a:gd name="connsiteX7" fmla="*/ 1308 w 9673"/>
                  <a:gd name="connsiteY7" fmla="*/ 5297 h 9486"/>
                  <a:gd name="connsiteX8" fmla="*/ 719 w 9673"/>
                  <a:gd name="connsiteY8" fmla="*/ 5530 h 9486"/>
                  <a:gd name="connsiteX9" fmla="*/ 131 w 9673"/>
                  <a:gd name="connsiteY9" fmla="*/ 6111 h 9486"/>
                  <a:gd name="connsiteX10" fmla="*/ 131 w 9673"/>
                  <a:gd name="connsiteY10" fmla="*/ 6460 h 9486"/>
                  <a:gd name="connsiteX11" fmla="*/ 1013 w 9673"/>
                  <a:gd name="connsiteY11" fmla="*/ 6925 h 9486"/>
                  <a:gd name="connsiteX12" fmla="*/ 1013 w 9673"/>
                  <a:gd name="connsiteY12" fmla="*/ 7158 h 9486"/>
                  <a:gd name="connsiteX13" fmla="*/ 425 w 9673"/>
                  <a:gd name="connsiteY13" fmla="*/ 7158 h 9486"/>
                  <a:gd name="connsiteX14" fmla="*/ 719 w 9673"/>
                  <a:gd name="connsiteY14" fmla="*/ 7623 h 9486"/>
                  <a:gd name="connsiteX15" fmla="*/ 1896 w 9673"/>
                  <a:gd name="connsiteY15" fmla="*/ 7972 h 9486"/>
                  <a:gd name="connsiteX16" fmla="*/ 3072 w 9673"/>
                  <a:gd name="connsiteY16" fmla="*/ 8204 h 9486"/>
                  <a:gd name="connsiteX17" fmla="*/ 4249 w 9673"/>
                  <a:gd name="connsiteY17" fmla="*/ 9018 h 9486"/>
                  <a:gd name="connsiteX18" fmla="*/ 5719 w 9673"/>
                  <a:gd name="connsiteY18" fmla="*/ 9483 h 9486"/>
                  <a:gd name="connsiteX19" fmla="*/ 6013 w 9673"/>
                  <a:gd name="connsiteY19" fmla="*/ 8785 h 9486"/>
                  <a:gd name="connsiteX20" fmla="*/ 6602 w 9673"/>
                  <a:gd name="connsiteY20" fmla="*/ 8204 h 9486"/>
                  <a:gd name="connsiteX21" fmla="*/ 7778 w 9673"/>
                  <a:gd name="connsiteY21" fmla="*/ 8088 h 9486"/>
                  <a:gd name="connsiteX22" fmla="*/ 8366 w 9673"/>
                  <a:gd name="connsiteY22" fmla="*/ 7274 h 9486"/>
                  <a:gd name="connsiteX23" fmla="*/ 9543 w 9673"/>
                  <a:gd name="connsiteY23" fmla="*/ 6692 h 9486"/>
                  <a:gd name="connsiteX24" fmla="*/ 9543 w 9673"/>
                  <a:gd name="connsiteY24" fmla="*/ 5879 h 9486"/>
                  <a:gd name="connsiteX25" fmla="*/ 9249 w 9673"/>
                  <a:gd name="connsiteY25" fmla="*/ 5646 h 9486"/>
                  <a:gd name="connsiteX26" fmla="*/ 9249 w 9673"/>
                  <a:gd name="connsiteY26" fmla="*/ 5646 h 9486"/>
                  <a:gd name="connsiteX27" fmla="*/ 9249 w 9673"/>
                  <a:gd name="connsiteY27" fmla="*/ 5646 h 9486"/>
                  <a:gd name="connsiteX28" fmla="*/ 8366 w 9673"/>
                  <a:gd name="connsiteY28" fmla="*/ 5530 h 9486"/>
                  <a:gd name="connsiteX29" fmla="*/ 7778 w 9673"/>
                  <a:gd name="connsiteY29" fmla="*/ 5181 h 9486"/>
                  <a:gd name="connsiteX30" fmla="*/ 7190 w 9673"/>
                  <a:gd name="connsiteY30" fmla="*/ 4716 h 9486"/>
                  <a:gd name="connsiteX31" fmla="*/ 6896 w 9673"/>
                  <a:gd name="connsiteY31" fmla="*/ 4251 h 9486"/>
                  <a:gd name="connsiteX32" fmla="*/ 6308 w 9673"/>
                  <a:gd name="connsiteY32" fmla="*/ 3785 h 9486"/>
                  <a:gd name="connsiteX33" fmla="*/ 6896 w 9673"/>
                  <a:gd name="connsiteY33" fmla="*/ 3437 h 9486"/>
                  <a:gd name="connsiteX34" fmla="*/ 6602 w 9673"/>
                  <a:gd name="connsiteY34" fmla="*/ 2972 h 9486"/>
                  <a:gd name="connsiteX35" fmla="*/ 6896 w 9673"/>
                  <a:gd name="connsiteY35" fmla="*/ 2739 h 9486"/>
                  <a:gd name="connsiteX36" fmla="*/ 6602 w 9673"/>
                  <a:gd name="connsiteY36" fmla="*/ 1692 h 9486"/>
                  <a:gd name="connsiteX37" fmla="*/ 5425 w 9673"/>
                  <a:gd name="connsiteY37" fmla="*/ 1227 h 9486"/>
                  <a:gd name="connsiteX38" fmla="*/ 4837 w 9673"/>
                  <a:gd name="connsiteY38" fmla="*/ 879 h 9486"/>
                  <a:gd name="connsiteX39" fmla="*/ 4249 w 9673"/>
                  <a:gd name="connsiteY39" fmla="*/ 413 h 9486"/>
                  <a:gd name="connsiteX40" fmla="*/ 3955 w 9673"/>
                  <a:gd name="connsiteY40" fmla="*/ 65 h 9486"/>
                  <a:gd name="connsiteX41" fmla="*/ 3366 w 9673"/>
                  <a:gd name="connsiteY41" fmla="*/ 530 h 9486"/>
                  <a:gd name="connsiteX42" fmla="*/ 2190 w 9673"/>
                  <a:gd name="connsiteY42" fmla="*/ 297 h 9486"/>
                  <a:gd name="connsiteX43" fmla="*/ 1308 w 9673"/>
                  <a:gd name="connsiteY43" fmla="*/ 181 h 9486"/>
                  <a:gd name="connsiteX44" fmla="*/ 425 w 9673"/>
                  <a:gd name="connsiteY44" fmla="*/ 995 h 9486"/>
                  <a:gd name="connsiteX45" fmla="*/ 131 w 9673"/>
                  <a:gd name="connsiteY45" fmla="*/ 2041 h 9486"/>
                  <a:gd name="connsiteX46" fmla="*/ 131 w 9673"/>
                  <a:gd name="connsiteY46" fmla="*/ 2506 h 9486"/>
                  <a:gd name="connsiteX0" fmla="*/ 135 w 10001"/>
                  <a:gd name="connsiteY0" fmla="*/ 2642 h 9534"/>
                  <a:gd name="connsiteX1" fmla="*/ 439 w 10001"/>
                  <a:gd name="connsiteY1" fmla="*/ 2765 h 9534"/>
                  <a:gd name="connsiteX2" fmla="*/ 1352 w 10001"/>
                  <a:gd name="connsiteY2" fmla="*/ 3133 h 9534"/>
                  <a:gd name="connsiteX3" fmla="*/ 1047 w 10001"/>
                  <a:gd name="connsiteY3" fmla="*/ 3868 h 9534"/>
                  <a:gd name="connsiteX4" fmla="*/ 743 w 10001"/>
                  <a:gd name="connsiteY4" fmla="*/ 4358 h 9534"/>
                  <a:gd name="connsiteX5" fmla="*/ 1047 w 10001"/>
                  <a:gd name="connsiteY5" fmla="*/ 4604 h 9534"/>
                  <a:gd name="connsiteX6" fmla="*/ 743 w 10001"/>
                  <a:gd name="connsiteY6" fmla="*/ 5216 h 9534"/>
                  <a:gd name="connsiteX7" fmla="*/ 1352 w 10001"/>
                  <a:gd name="connsiteY7" fmla="*/ 5584 h 9534"/>
                  <a:gd name="connsiteX8" fmla="*/ 743 w 10001"/>
                  <a:gd name="connsiteY8" fmla="*/ 5830 h 9534"/>
                  <a:gd name="connsiteX9" fmla="*/ 135 w 10001"/>
                  <a:gd name="connsiteY9" fmla="*/ 6442 h 9534"/>
                  <a:gd name="connsiteX10" fmla="*/ 135 w 10001"/>
                  <a:gd name="connsiteY10" fmla="*/ 6810 h 9534"/>
                  <a:gd name="connsiteX11" fmla="*/ 1047 w 10001"/>
                  <a:gd name="connsiteY11" fmla="*/ 7300 h 9534"/>
                  <a:gd name="connsiteX12" fmla="*/ 1047 w 10001"/>
                  <a:gd name="connsiteY12" fmla="*/ 7546 h 9534"/>
                  <a:gd name="connsiteX13" fmla="*/ 439 w 10001"/>
                  <a:gd name="connsiteY13" fmla="*/ 7546 h 9534"/>
                  <a:gd name="connsiteX14" fmla="*/ 743 w 10001"/>
                  <a:gd name="connsiteY14" fmla="*/ 8036 h 9534"/>
                  <a:gd name="connsiteX15" fmla="*/ 1960 w 10001"/>
                  <a:gd name="connsiteY15" fmla="*/ 8404 h 9534"/>
                  <a:gd name="connsiteX16" fmla="*/ 3176 w 10001"/>
                  <a:gd name="connsiteY16" fmla="*/ 8649 h 9534"/>
                  <a:gd name="connsiteX17" fmla="*/ 4393 w 10001"/>
                  <a:gd name="connsiteY17" fmla="*/ 9507 h 9534"/>
                  <a:gd name="connsiteX18" fmla="*/ 6216 w 10001"/>
                  <a:gd name="connsiteY18" fmla="*/ 9261 h 9534"/>
                  <a:gd name="connsiteX19" fmla="*/ 6825 w 10001"/>
                  <a:gd name="connsiteY19" fmla="*/ 8649 h 9534"/>
                  <a:gd name="connsiteX20" fmla="*/ 8041 w 10001"/>
                  <a:gd name="connsiteY20" fmla="*/ 8526 h 9534"/>
                  <a:gd name="connsiteX21" fmla="*/ 8649 w 10001"/>
                  <a:gd name="connsiteY21" fmla="*/ 7668 h 9534"/>
                  <a:gd name="connsiteX22" fmla="*/ 9866 w 10001"/>
                  <a:gd name="connsiteY22" fmla="*/ 7055 h 9534"/>
                  <a:gd name="connsiteX23" fmla="*/ 9866 w 10001"/>
                  <a:gd name="connsiteY23" fmla="*/ 6198 h 9534"/>
                  <a:gd name="connsiteX24" fmla="*/ 9562 w 10001"/>
                  <a:gd name="connsiteY24" fmla="*/ 5952 h 9534"/>
                  <a:gd name="connsiteX25" fmla="*/ 9562 w 10001"/>
                  <a:gd name="connsiteY25" fmla="*/ 5952 h 9534"/>
                  <a:gd name="connsiteX26" fmla="*/ 9562 w 10001"/>
                  <a:gd name="connsiteY26" fmla="*/ 5952 h 9534"/>
                  <a:gd name="connsiteX27" fmla="*/ 8649 w 10001"/>
                  <a:gd name="connsiteY27" fmla="*/ 5830 h 9534"/>
                  <a:gd name="connsiteX28" fmla="*/ 8041 w 10001"/>
                  <a:gd name="connsiteY28" fmla="*/ 5462 h 9534"/>
                  <a:gd name="connsiteX29" fmla="*/ 7433 w 10001"/>
                  <a:gd name="connsiteY29" fmla="*/ 4972 h 9534"/>
                  <a:gd name="connsiteX30" fmla="*/ 7129 w 10001"/>
                  <a:gd name="connsiteY30" fmla="*/ 4481 h 9534"/>
                  <a:gd name="connsiteX31" fmla="*/ 6521 w 10001"/>
                  <a:gd name="connsiteY31" fmla="*/ 3990 h 9534"/>
                  <a:gd name="connsiteX32" fmla="*/ 7129 w 10001"/>
                  <a:gd name="connsiteY32" fmla="*/ 3623 h 9534"/>
                  <a:gd name="connsiteX33" fmla="*/ 6825 w 10001"/>
                  <a:gd name="connsiteY33" fmla="*/ 3133 h 9534"/>
                  <a:gd name="connsiteX34" fmla="*/ 7129 w 10001"/>
                  <a:gd name="connsiteY34" fmla="*/ 2887 h 9534"/>
                  <a:gd name="connsiteX35" fmla="*/ 6825 w 10001"/>
                  <a:gd name="connsiteY35" fmla="*/ 1784 h 9534"/>
                  <a:gd name="connsiteX36" fmla="*/ 5608 w 10001"/>
                  <a:gd name="connsiteY36" fmla="*/ 1293 h 9534"/>
                  <a:gd name="connsiteX37" fmla="*/ 5001 w 10001"/>
                  <a:gd name="connsiteY37" fmla="*/ 927 h 9534"/>
                  <a:gd name="connsiteX38" fmla="*/ 4393 w 10001"/>
                  <a:gd name="connsiteY38" fmla="*/ 435 h 9534"/>
                  <a:gd name="connsiteX39" fmla="*/ 4089 w 10001"/>
                  <a:gd name="connsiteY39" fmla="*/ 69 h 9534"/>
                  <a:gd name="connsiteX40" fmla="*/ 3480 w 10001"/>
                  <a:gd name="connsiteY40" fmla="*/ 559 h 9534"/>
                  <a:gd name="connsiteX41" fmla="*/ 2264 w 10001"/>
                  <a:gd name="connsiteY41" fmla="*/ 313 h 9534"/>
                  <a:gd name="connsiteX42" fmla="*/ 1352 w 10001"/>
                  <a:gd name="connsiteY42" fmla="*/ 191 h 9534"/>
                  <a:gd name="connsiteX43" fmla="*/ 439 w 10001"/>
                  <a:gd name="connsiteY43" fmla="*/ 1049 h 9534"/>
                  <a:gd name="connsiteX44" fmla="*/ 135 w 10001"/>
                  <a:gd name="connsiteY44" fmla="*/ 2152 h 9534"/>
                  <a:gd name="connsiteX45" fmla="*/ 135 w 10001"/>
                  <a:gd name="connsiteY45" fmla="*/ 2642 h 9534"/>
                  <a:gd name="connsiteX0" fmla="*/ 135 w 10696"/>
                  <a:gd name="connsiteY0" fmla="*/ 2771 h 10000"/>
                  <a:gd name="connsiteX1" fmla="*/ 439 w 10696"/>
                  <a:gd name="connsiteY1" fmla="*/ 2900 h 10000"/>
                  <a:gd name="connsiteX2" fmla="*/ 1352 w 10696"/>
                  <a:gd name="connsiteY2" fmla="*/ 3286 h 10000"/>
                  <a:gd name="connsiteX3" fmla="*/ 1047 w 10696"/>
                  <a:gd name="connsiteY3" fmla="*/ 4057 h 10000"/>
                  <a:gd name="connsiteX4" fmla="*/ 743 w 10696"/>
                  <a:gd name="connsiteY4" fmla="*/ 4571 h 10000"/>
                  <a:gd name="connsiteX5" fmla="*/ 1047 w 10696"/>
                  <a:gd name="connsiteY5" fmla="*/ 4829 h 10000"/>
                  <a:gd name="connsiteX6" fmla="*/ 743 w 10696"/>
                  <a:gd name="connsiteY6" fmla="*/ 5471 h 10000"/>
                  <a:gd name="connsiteX7" fmla="*/ 1352 w 10696"/>
                  <a:gd name="connsiteY7" fmla="*/ 5857 h 10000"/>
                  <a:gd name="connsiteX8" fmla="*/ 743 w 10696"/>
                  <a:gd name="connsiteY8" fmla="*/ 6115 h 10000"/>
                  <a:gd name="connsiteX9" fmla="*/ 135 w 10696"/>
                  <a:gd name="connsiteY9" fmla="*/ 6757 h 10000"/>
                  <a:gd name="connsiteX10" fmla="*/ 135 w 10696"/>
                  <a:gd name="connsiteY10" fmla="*/ 7143 h 10000"/>
                  <a:gd name="connsiteX11" fmla="*/ 1047 w 10696"/>
                  <a:gd name="connsiteY11" fmla="*/ 7657 h 10000"/>
                  <a:gd name="connsiteX12" fmla="*/ 1047 w 10696"/>
                  <a:gd name="connsiteY12" fmla="*/ 7915 h 10000"/>
                  <a:gd name="connsiteX13" fmla="*/ 439 w 10696"/>
                  <a:gd name="connsiteY13" fmla="*/ 7915 h 10000"/>
                  <a:gd name="connsiteX14" fmla="*/ 743 w 10696"/>
                  <a:gd name="connsiteY14" fmla="*/ 8429 h 10000"/>
                  <a:gd name="connsiteX15" fmla="*/ 1960 w 10696"/>
                  <a:gd name="connsiteY15" fmla="*/ 8815 h 10000"/>
                  <a:gd name="connsiteX16" fmla="*/ 3176 w 10696"/>
                  <a:gd name="connsiteY16" fmla="*/ 9072 h 10000"/>
                  <a:gd name="connsiteX17" fmla="*/ 4393 w 10696"/>
                  <a:gd name="connsiteY17" fmla="*/ 9972 h 10000"/>
                  <a:gd name="connsiteX18" fmla="*/ 6215 w 10696"/>
                  <a:gd name="connsiteY18" fmla="*/ 9714 h 10000"/>
                  <a:gd name="connsiteX19" fmla="*/ 6824 w 10696"/>
                  <a:gd name="connsiteY19" fmla="*/ 9072 h 10000"/>
                  <a:gd name="connsiteX20" fmla="*/ 8040 w 10696"/>
                  <a:gd name="connsiteY20" fmla="*/ 8943 h 10000"/>
                  <a:gd name="connsiteX21" fmla="*/ 8648 w 10696"/>
                  <a:gd name="connsiteY21" fmla="*/ 8043 h 10000"/>
                  <a:gd name="connsiteX22" fmla="*/ 9865 w 10696"/>
                  <a:gd name="connsiteY22" fmla="*/ 7400 h 10000"/>
                  <a:gd name="connsiteX23" fmla="*/ 9865 w 10696"/>
                  <a:gd name="connsiteY23" fmla="*/ 6501 h 10000"/>
                  <a:gd name="connsiteX24" fmla="*/ 9561 w 10696"/>
                  <a:gd name="connsiteY24" fmla="*/ 6243 h 10000"/>
                  <a:gd name="connsiteX25" fmla="*/ 9561 w 10696"/>
                  <a:gd name="connsiteY25" fmla="*/ 6243 h 10000"/>
                  <a:gd name="connsiteX26" fmla="*/ 9561 w 10696"/>
                  <a:gd name="connsiteY26" fmla="*/ 6243 h 10000"/>
                  <a:gd name="connsiteX27" fmla="*/ 10647 w 10696"/>
                  <a:gd name="connsiteY27" fmla="*/ 5871 h 10000"/>
                  <a:gd name="connsiteX28" fmla="*/ 8040 w 10696"/>
                  <a:gd name="connsiteY28" fmla="*/ 5729 h 10000"/>
                  <a:gd name="connsiteX29" fmla="*/ 7432 w 10696"/>
                  <a:gd name="connsiteY29" fmla="*/ 5215 h 10000"/>
                  <a:gd name="connsiteX30" fmla="*/ 7128 w 10696"/>
                  <a:gd name="connsiteY30" fmla="*/ 4700 h 10000"/>
                  <a:gd name="connsiteX31" fmla="*/ 6520 w 10696"/>
                  <a:gd name="connsiteY31" fmla="*/ 4185 h 10000"/>
                  <a:gd name="connsiteX32" fmla="*/ 7128 w 10696"/>
                  <a:gd name="connsiteY32" fmla="*/ 3800 h 10000"/>
                  <a:gd name="connsiteX33" fmla="*/ 6824 w 10696"/>
                  <a:gd name="connsiteY33" fmla="*/ 3286 h 10000"/>
                  <a:gd name="connsiteX34" fmla="*/ 7128 w 10696"/>
                  <a:gd name="connsiteY34" fmla="*/ 3028 h 10000"/>
                  <a:gd name="connsiteX35" fmla="*/ 6824 w 10696"/>
                  <a:gd name="connsiteY35" fmla="*/ 1871 h 10000"/>
                  <a:gd name="connsiteX36" fmla="*/ 5607 w 10696"/>
                  <a:gd name="connsiteY36" fmla="*/ 1356 h 10000"/>
                  <a:gd name="connsiteX37" fmla="*/ 5000 w 10696"/>
                  <a:gd name="connsiteY37" fmla="*/ 972 h 10000"/>
                  <a:gd name="connsiteX38" fmla="*/ 4393 w 10696"/>
                  <a:gd name="connsiteY38" fmla="*/ 456 h 10000"/>
                  <a:gd name="connsiteX39" fmla="*/ 4089 w 10696"/>
                  <a:gd name="connsiteY39" fmla="*/ 72 h 10000"/>
                  <a:gd name="connsiteX40" fmla="*/ 3480 w 10696"/>
                  <a:gd name="connsiteY40" fmla="*/ 586 h 10000"/>
                  <a:gd name="connsiteX41" fmla="*/ 2264 w 10696"/>
                  <a:gd name="connsiteY41" fmla="*/ 328 h 10000"/>
                  <a:gd name="connsiteX42" fmla="*/ 1352 w 10696"/>
                  <a:gd name="connsiteY42" fmla="*/ 200 h 10000"/>
                  <a:gd name="connsiteX43" fmla="*/ 439 w 10696"/>
                  <a:gd name="connsiteY43" fmla="*/ 1100 h 10000"/>
                  <a:gd name="connsiteX44" fmla="*/ 135 w 10696"/>
                  <a:gd name="connsiteY44" fmla="*/ 2257 h 10000"/>
                  <a:gd name="connsiteX45" fmla="*/ 135 w 10696"/>
                  <a:gd name="connsiteY45" fmla="*/ 2771 h 10000"/>
                  <a:gd name="connsiteX0" fmla="*/ 135 w 10696"/>
                  <a:gd name="connsiteY0" fmla="*/ 2771 h 10000"/>
                  <a:gd name="connsiteX1" fmla="*/ 439 w 10696"/>
                  <a:gd name="connsiteY1" fmla="*/ 2900 h 10000"/>
                  <a:gd name="connsiteX2" fmla="*/ 1352 w 10696"/>
                  <a:gd name="connsiteY2" fmla="*/ 3286 h 10000"/>
                  <a:gd name="connsiteX3" fmla="*/ 1047 w 10696"/>
                  <a:gd name="connsiteY3" fmla="*/ 4057 h 10000"/>
                  <a:gd name="connsiteX4" fmla="*/ 743 w 10696"/>
                  <a:gd name="connsiteY4" fmla="*/ 4571 h 10000"/>
                  <a:gd name="connsiteX5" fmla="*/ 1047 w 10696"/>
                  <a:gd name="connsiteY5" fmla="*/ 4829 h 10000"/>
                  <a:gd name="connsiteX6" fmla="*/ 743 w 10696"/>
                  <a:gd name="connsiteY6" fmla="*/ 5471 h 10000"/>
                  <a:gd name="connsiteX7" fmla="*/ 1352 w 10696"/>
                  <a:gd name="connsiteY7" fmla="*/ 5857 h 10000"/>
                  <a:gd name="connsiteX8" fmla="*/ 743 w 10696"/>
                  <a:gd name="connsiteY8" fmla="*/ 6115 h 10000"/>
                  <a:gd name="connsiteX9" fmla="*/ 135 w 10696"/>
                  <a:gd name="connsiteY9" fmla="*/ 6757 h 10000"/>
                  <a:gd name="connsiteX10" fmla="*/ 135 w 10696"/>
                  <a:gd name="connsiteY10" fmla="*/ 7143 h 10000"/>
                  <a:gd name="connsiteX11" fmla="*/ 1047 w 10696"/>
                  <a:gd name="connsiteY11" fmla="*/ 7657 h 10000"/>
                  <a:gd name="connsiteX12" fmla="*/ 1047 w 10696"/>
                  <a:gd name="connsiteY12" fmla="*/ 7915 h 10000"/>
                  <a:gd name="connsiteX13" fmla="*/ 439 w 10696"/>
                  <a:gd name="connsiteY13" fmla="*/ 7915 h 10000"/>
                  <a:gd name="connsiteX14" fmla="*/ 743 w 10696"/>
                  <a:gd name="connsiteY14" fmla="*/ 8429 h 10000"/>
                  <a:gd name="connsiteX15" fmla="*/ 1960 w 10696"/>
                  <a:gd name="connsiteY15" fmla="*/ 8815 h 10000"/>
                  <a:gd name="connsiteX16" fmla="*/ 3176 w 10696"/>
                  <a:gd name="connsiteY16" fmla="*/ 9072 h 10000"/>
                  <a:gd name="connsiteX17" fmla="*/ 4393 w 10696"/>
                  <a:gd name="connsiteY17" fmla="*/ 9972 h 10000"/>
                  <a:gd name="connsiteX18" fmla="*/ 6215 w 10696"/>
                  <a:gd name="connsiteY18" fmla="*/ 9714 h 10000"/>
                  <a:gd name="connsiteX19" fmla="*/ 6824 w 10696"/>
                  <a:gd name="connsiteY19" fmla="*/ 9072 h 10000"/>
                  <a:gd name="connsiteX20" fmla="*/ 8040 w 10696"/>
                  <a:gd name="connsiteY20" fmla="*/ 8943 h 10000"/>
                  <a:gd name="connsiteX21" fmla="*/ 8648 w 10696"/>
                  <a:gd name="connsiteY21" fmla="*/ 8043 h 10000"/>
                  <a:gd name="connsiteX22" fmla="*/ 9865 w 10696"/>
                  <a:gd name="connsiteY22" fmla="*/ 7400 h 10000"/>
                  <a:gd name="connsiteX23" fmla="*/ 9865 w 10696"/>
                  <a:gd name="connsiteY23" fmla="*/ 6501 h 10000"/>
                  <a:gd name="connsiteX24" fmla="*/ 9561 w 10696"/>
                  <a:gd name="connsiteY24" fmla="*/ 6243 h 10000"/>
                  <a:gd name="connsiteX25" fmla="*/ 9561 w 10696"/>
                  <a:gd name="connsiteY25" fmla="*/ 6243 h 10000"/>
                  <a:gd name="connsiteX26" fmla="*/ 9561 w 10696"/>
                  <a:gd name="connsiteY26" fmla="*/ 6243 h 10000"/>
                  <a:gd name="connsiteX27" fmla="*/ 10647 w 10696"/>
                  <a:gd name="connsiteY27" fmla="*/ 5871 h 10000"/>
                  <a:gd name="connsiteX28" fmla="*/ 9183 w 10696"/>
                  <a:gd name="connsiteY28" fmla="*/ 5485 h 10000"/>
                  <a:gd name="connsiteX29" fmla="*/ 7432 w 10696"/>
                  <a:gd name="connsiteY29" fmla="*/ 5215 h 10000"/>
                  <a:gd name="connsiteX30" fmla="*/ 7128 w 10696"/>
                  <a:gd name="connsiteY30" fmla="*/ 4700 h 10000"/>
                  <a:gd name="connsiteX31" fmla="*/ 6520 w 10696"/>
                  <a:gd name="connsiteY31" fmla="*/ 4185 h 10000"/>
                  <a:gd name="connsiteX32" fmla="*/ 7128 w 10696"/>
                  <a:gd name="connsiteY32" fmla="*/ 3800 h 10000"/>
                  <a:gd name="connsiteX33" fmla="*/ 6824 w 10696"/>
                  <a:gd name="connsiteY33" fmla="*/ 3286 h 10000"/>
                  <a:gd name="connsiteX34" fmla="*/ 7128 w 10696"/>
                  <a:gd name="connsiteY34" fmla="*/ 3028 h 10000"/>
                  <a:gd name="connsiteX35" fmla="*/ 6824 w 10696"/>
                  <a:gd name="connsiteY35" fmla="*/ 1871 h 10000"/>
                  <a:gd name="connsiteX36" fmla="*/ 5607 w 10696"/>
                  <a:gd name="connsiteY36" fmla="*/ 1356 h 10000"/>
                  <a:gd name="connsiteX37" fmla="*/ 5000 w 10696"/>
                  <a:gd name="connsiteY37" fmla="*/ 972 h 10000"/>
                  <a:gd name="connsiteX38" fmla="*/ 4393 w 10696"/>
                  <a:gd name="connsiteY38" fmla="*/ 456 h 10000"/>
                  <a:gd name="connsiteX39" fmla="*/ 4089 w 10696"/>
                  <a:gd name="connsiteY39" fmla="*/ 72 h 10000"/>
                  <a:gd name="connsiteX40" fmla="*/ 3480 w 10696"/>
                  <a:gd name="connsiteY40" fmla="*/ 586 h 10000"/>
                  <a:gd name="connsiteX41" fmla="*/ 2264 w 10696"/>
                  <a:gd name="connsiteY41" fmla="*/ 328 h 10000"/>
                  <a:gd name="connsiteX42" fmla="*/ 1352 w 10696"/>
                  <a:gd name="connsiteY42" fmla="*/ 200 h 10000"/>
                  <a:gd name="connsiteX43" fmla="*/ 439 w 10696"/>
                  <a:gd name="connsiteY43" fmla="*/ 1100 h 10000"/>
                  <a:gd name="connsiteX44" fmla="*/ 135 w 10696"/>
                  <a:gd name="connsiteY44" fmla="*/ 2257 h 10000"/>
                  <a:gd name="connsiteX45" fmla="*/ 135 w 10696"/>
                  <a:gd name="connsiteY45" fmla="*/ 2771 h 10000"/>
                  <a:gd name="connsiteX0" fmla="*/ 135 w 10696"/>
                  <a:gd name="connsiteY0" fmla="*/ 2771 h 10000"/>
                  <a:gd name="connsiteX1" fmla="*/ 439 w 10696"/>
                  <a:gd name="connsiteY1" fmla="*/ 2900 h 10000"/>
                  <a:gd name="connsiteX2" fmla="*/ 1352 w 10696"/>
                  <a:gd name="connsiteY2" fmla="*/ 3286 h 10000"/>
                  <a:gd name="connsiteX3" fmla="*/ 1047 w 10696"/>
                  <a:gd name="connsiteY3" fmla="*/ 4057 h 10000"/>
                  <a:gd name="connsiteX4" fmla="*/ 743 w 10696"/>
                  <a:gd name="connsiteY4" fmla="*/ 4571 h 10000"/>
                  <a:gd name="connsiteX5" fmla="*/ 1047 w 10696"/>
                  <a:gd name="connsiteY5" fmla="*/ 4829 h 10000"/>
                  <a:gd name="connsiteX6" fmla="*/ 743 w 10696"/>
                  <a:gd name="connsiteY6" fmla="*/ 5471 h 10000"/>
                  <a:gd name="connsiteX7" fmla="*/ 1352 w 10696"/>
                  <a:gd name="connsiteY7" fmla="*/ 5857 h 10000"/>
                  <a:gd name="connsiteX8" fmla="*/ 743 w 10696"/>
                  <a:gd name="connsiteY8" fmla="*/ 6115 h 10000"/>
                  <a:gd name="connsiteX9" fmla="*/ 135 w 10696"/>
                  <a:gd name="connsiteY9" fmla="*/ 6757 h 10000"/>
                  <a:gd name="connsiteX10" fmla="*/ 135 w 10696"/>
                  <a:gd name="connsiteY10" fmla="*/ 7143 h 10000"/>
                  <a:gd name="connsiteX11" fmla="*/ 1047 w 10696"/>
                  <a:gd name="connsiteY11" fmla="*/ 7657 h 10000"/>
                  <a:gd name="connsiteX12" fmla="*/ 1047 w 10696"/>
                  <a:gd name="connsiteY12" fmla="*/ 7915 h 10000"/>
                  <a:gd name="connsiteX13" fmla="*/ 439 w 10696"/>
                  <a:gd name="connsiteY13" fmla="*/ 7915 h 10000"/>
                  <a:gd name="connsiteX14" fmla="*/ 743 w 10696"/>
                  <a:gd name="connsiteY14" fmla="*/ 8429 h 10000"/>
                  <a:gd name="connsiteX15" fmla="*/ 1960 w 10696"/>
                  <a:gd name="connsiteY15" fmla="*/ 8815 h 10000"/>
                  <a:gd name="connsiteX16" fmla="*/ 3176 w 10696"/>
                  <a:gd name="connsiteY16" fmla="*/ 9072 h 10000"/>
                  <a:gd name="connsiteX17" fmla="*/ 4393 w 10696"/>
                  <a:gd name="connsiteY17" fmla="*/ 9972 h 10000"/>
                  <a:gd name="connsiteX18" fmla="*/ 6215 w 10696"/>
                  <a:gd name="connsiteY18" fmla="*/ 9714 h 10000"/>
                  <a:gd name="connsiteX19" fmla="*/ 6824 w 10696"/>
                  <a:gd name="connsiteY19" fmla="*/ 9072 h 10000"/>
                  <a:gd name="connsiteX20" fmla="*/ 8040 w 10696"/>
                  <a:gd name="connsiteY20" fmla="*/ 8943 h 10000"/>
                  <a:gd name="connsiteX21" fmla="*/ 8648 w 10696"/>
                  <a:gd name="connsiteY21" fmla="*/ 8043 h 10000"/>
                  <a:gd name="connsiteX22" fmla="*/ 9865 w 10696"/>
                  <a:gd name="connsiteY22" fmla="*/ 7400 h 10000"/>
                  <a:gd name="connsiteX23" fmla="*/ 9865 w 10696"/>
                  <a:gd name="connsiteY23" fmla="*/ 6501 h 10000"/>
                  <a:gd name="connsiteX24" fmla="*/ 9561 w 10696"/>
                  <a:gd name="connsiteY24" fmla="*/ 6243 h 10000"/>
                  <a:gd name="connsiteX25" fmla="*/ 9561 w 10696"/>
                  <a:gd name="connsiteY25" fmla="*/ 6243 h 10000"/>
                  <a:gd name="connsiteX26" fmla="*/ 9561 w 10696"/>
                  <a:gd name="connsiteY26" fmla="*/ 6243 h 10000"/>
                  <a:gd name="connsiteX27" fmla="*/ 10647 w 10696"/>
                  <a:gd name="connsiteY27" fmla="*/ 5871 h 10000"/>
                  <a:gd name="connsiteX28" fmla="*/ 9183 w 10696"/>
                  <a:gd name="connsiteY28" fmla="*/ 5485 h 10000"/>
                  <a:gd name="connsiteX29" fmla="*/ 8717 w 10696"/>
                  <a:gd name="connsiteY29" fmla="*/ 5154 h 10000"/>
                  <a:gd name="connsiteX30" fmla="*/ 7128 w 10696"/>
                  <a:gd name="connsiteY30" fmla="*/ 4700 h 10000"/>
                  <a:gd name="connsiteX31" fmla="*/ 6520 w 10696"/>
                  <a:gd name="connsiteY31" fmla="*/ 4185 h 10000"/>
                  <a:gd name="connsiteX32" fmla="*/ 7128 w 10696"/>
                  <a:gd name="connsiteY32" fmla="*/ 3800 h 10000"/>
                  <a:gd name="connsiteX33" fmla="*/ 6824 w 10696"/>
                  <a:gd name="connsiteY33" fmla="*/ 3286 h 10000"/>
                  <a:gd name="connsiteX34" fmla="*/ 7128 w 10696"/>
                  <a:gd name="connsiteY34" fmla="*/ 3028 h 10000"/>
                  <a:gd name="connsiteX35" fmla="*/ 6824 w 10696"/>
                  <a:gd name="connsiteY35" fmla="*/ 1871 h 10000"/>
                  <a:gd name="connsiteX36" fmla="*/ 5607 w 10696"/>
                  <a:gd name="connsiteY36" fmla="*/ 1356 h 10000"/>
                  <a:gd name="connsiteX37" fmla="*/ 5000 w 10696"/>
                  <a:gd name="connsiteY37" fmla="*/ 972 h 10000"/>
                  <a:gd name="connsiteX38" fmla="*/ 4393 w 10696"/>
                  <a:gd name="connsiteY38" fmla="*/ 456 h 10000"/>
                  <a:gd name="connsiteX39" fmla="*/ 4089 w 10696"/>
                  <a:gd name="connsiteY39" fmla="*/ 72 h 10000"/>
                  <a:gd name="connsiteX40" fmla="*/ 3480 w 10696"/>
                  <a:gd name="connsiteY40" fmla="*/ 586 h 10000"/>
                  <a:gd name="connsiteX41" fmla="*/ 2264 w 10696"/>
                  <a:gd name="connsiteY41" fmla="*/ 328 h 10000"/>
                  <a:gd name="connsiteX42" fmla="*/ 1352 w 10696"/>
                  <a:gd name="connsiteY42" fmla="*/ 200 h 10000"/>
                  <a:gd name="connsiteX43" fmla="*/ 439 w 10696"/>
                  <a:gd name="connsiteY43" fmla="*/ 1100 h 10000"/>
                  <a:gd name="connsiteX44" fmla="*/ 135 w 10696"/>
                  <a:gd name="connsiteY44" fmla="*/ 2257 h 10000"/>
                  <a:gd name="connsiteX45" fmla="*/ 135 w 10696"/>
                  <a:gd name="connsiteY45" fmla="*/ 277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696" h="10000">
                    <a:moveTo>
                      <a:pt x="135" y="2771"/>
                    </a:moveTo>
                    <a:cubicBezTo>
                      <a:pt x="135" y="2771"/>
                      <a:pt x="135" y="3028"/>
                      <a:pt x="439" y="2900"/>
                    </a:cubicBezTo>
                    <a:cubicBezTo>
                      <a:pt x="1047" y="2900"/>
                      <a:pt x="1352" y="3028"/>
                      <a:pt x="1352" y="3286"/>
                    </a:cubicBezTo>
                    <a:cubicBezTo>
                      <a:pt x="1352" y="3543"/>
                      <a:pt x="1352" y="3800"/>
                      <a:pt x="1047" y="4057"/>
                    </a:cubicBezTo>
                    <a:cubicBezTo>
                      <a:pt x="1047" y="4185"/>
                      <a:pt x="439" y="4314"/>
                      <a:pt x="743" y="4571"/>
                    </a:cubicBezTo>
                    <a:cubicBezTo>
                      <a:pt x="743" y="4700"/>
                      <a:pt x="1047" y="4571"/>
                      <a:pt x="1047" y="4829"/>
                    </a:cubicBezTo>
                    <a:cubicBezTo>
                      <a:pt x="1047" y="5085"/>
                      <a:pt x="743" y="5215"/>
                      <a:pt x="743" y="5471"/>
                    </a:cubicBezTo>
                    <a:cubicBezTo>
                      <a:pt x="743" y="5729"/>
                      <a:pt x="1352" y="5857"/>
                      <a:pt x="1352" y="5857"/>
                    </a:cubicBezTo>
                    <a:cubicBezTo>
                      <a:pt x="1352" y="5985"/>
                      <a:pt x="1047" y="6115"/>
                      <a:pt x="743" y="6115"/>
                    </a:cubicBezTo>
                    <a:cubicBezTo>
                      <a:pt x="743" y="6115"/>
                      <a:pt x="135" y="6501"/>
                      <a:pt x="135" y="6757"/>
                    </a:cubicBezTo>
                    <a:cubicBezTo>
                      <a:pt x="135" y="7015"/>
                      <a:pt x="-169" y="6885"/>
                      <a:pt x="135" y="7143"/>
                    </a:cubicBezTo>
                    <a:cubicBezTo>
                      <a:pt x="743" y="7400"/>
                      <a:pt x="1047" y="7400"/>
                      <a:pt x="1047" y="7657"/>
                    </a:cubicBezTo>
                    <a:cubicBezTo>
                      <a:pt x="1047" y="7915"/>
                      <a:pt x="1352" y="7786"/>
                      <a:pt x="1047" y="7915"/>
                    </a:cubicBezTo>
                    <a:cubicBezTo>
                      <a:pt x="743" y="8043"/>
                      <a:pt x="743" y="7786"/>
                      <a:pt x="439" y="7915"/>
                    </a:cubicBezTo>
                    <a:cubicBezTo>
                      <a:pt x="135" y="8043"/>
                      <a:pt x="135" y="8043"/>
                      <a:pt x="743" y="8429"/>
                    </a:cubicBezTo>
                    <a:cubicBezTo>
                      <a:pt x="1047" y="8815"/>
                      <a:pt x="1352" y="8429"/>
                      <a:pt x="1960" y="8815"/>
                    </a:cubicBezTo>
                    <a:cubicBezTo>
                      <a:pt x="2872" y="9072"/>
                      <a:pt x="2872" y="8815"/>
                      <a:pt x="3176" y="9072"/>
                    </a:cubicBezTo>
                    <a:cubicBezTo>
                      <a:pt x="3785" y="9329"/>
                      <a:pt x="4089" y="9714"/>
                      <a:pt x="4393" y="9972"/>
                    </a:cubicBezTo>
                    <a:cubicBezTo>
                      <a:pt x="4900" y="10079"/>
                      <a:pt x="5810" y="9864"/>
                      <a:pt x="6215" y="9714"/>
                    </a:cubicBezTo>
                    <a:cubicBezTo>
                      <a:pt x="6620" y="9564"/>
                      <a:pt x="6215" y="9200"/>
                      <a:pt x="6824" y="9072"/>
                    </a:cubicBezTo>
                    <a:cubicBezTo>
                      <a:pt x="7432" y="8943"/>
                      <a:pt x="7736" y="9200"/>
                      <a:pt x="8040" y="8943"/>
                    </a:cubicBezTo>
                    <a:cubicBezTo>
                      <a:pt x="8344" y="8815"/>
                      <a:pt x="8040" y="8429"/>
                      <a:pt x="8648" y="8043"/>
                    </a:cubicBezTo>
                    <a:cubicBezTo>
                      <a:pt x="8953" y="7786"/>
                      <a:pt x="9561" y="7657"/>
                      <a:pt x="9865" y="7400"/>
                    </a:cubicBezTo>
                    <a:cubicBezTo>
                      <a:pt x="10169" y="7015"/>
                      <a:pt x="9865" y="6757"/>
                      <a:pt x="9865" y="6501"/>
                    </a:cubicBezTo>
                    <a:cubicBezTo>
                      <a:pt x="9865" y="6243"/>
                      <a:pt x="9561" y="6243"/>
                      <a:pt x="9561" y="6243"/>
                    </a:cubicBezTo>
                    <a:lnTo>
                      <a:pt x="9561" y="6243"/>
                    </a:lnTo>
                    <a:lnTo>
                      <a:pt x="9561" y="6243"/>
                    </a:lnTo>
                    <a:cubicBezTo>
                      <a:pt x="9742" y="6181"/>
                      <a:pt x="10952" y="5871"/>
                      <a:pt x="10647" y="5871"/>
                    </a:cubicBezTo>
                    <a:cubicBezTo>
                      <a:pt x="10039" y="5999"/>
                      <a:pt x="9505" y="5604"/>
                      <a:pt x="9183" y="5485"/>
                    </a:cubicBezTo>
                    <a:cubicBezTo>
                      <a:pt x="8861" y="5366"/>
                      <a:pt x="9060" y="5285"/>
                      <a:pt x="8717" y="5154"/>
                    </a:cubicBezTo>
                    <a:cubicBezTo>
                      <a:pt x="8374" y="5023"/>
                      <a:pt x="6824" y="4829"/>
                      <a:pt x="7128" y="4700"/>
                    </a:cubicBezTo>
                    <a:cubicBezTo>
                      <a:pt x="7432" y="4443"/>
                      <a:pt x="6824" y="4314"/>
                      <a:pt x="6520" y="4185"/>
                    </a:cubicBezTo>
                    <a:cubicBezTo>
                      <a:pt x="6215" y="4057"/>
                      <a:pt x="6824" y="3929"/>
                      <a:pt x="7128" y="3800"/>
                    </a:cubicBezTo>
                    <a:cubicBezTo>
                      <a:pt x="7128" y="3671"/>
                      <a:pt x="6520" y="3543"/>
                      <a:pt x="6824" y="3286"/>
                    </a:cubicBezTo>
                    <a:cubicBezTo>
                      <a:pt x="6824" y="3286"/>
                      <a:pt x="7128" y="3157"/>
                      <a:pt x="7128" y="3028"/>
                    </a:cubicBezTo>
                    <a:cubicBezTo>
                      <a:pt x="7128" y="3028"/>
                      <a:pt x="7128" y="2128"/>
                      <a:pt x="6824" y="1871"/>
                    </a:cubicBezTo>
                    <a:cubicBezTo>
                      <a:pt x="6824" y="1614"/>
                      <a:pt x="6215" y="1486"/>
                      <a:pt x="5607" y="1356"/>
                    </a:cubicBezTo>
                    <a:cubicBezTo>
                      <a:pt x="5303" y="1228"/>
                      <a:pt x="5000" y="1228"/>
                      <a:pt x="5000" y="972"/>
                    </a:cubicBezTo>
                    <a:cubicBezTo>
                      <a:pt x="5000" y="714"/>
                      <a:pt x="4697" y="714"/>
                      <a:pt x="4393" y="456"/>
                    </a:cubicBezTo>
                    <a:cubicBezTo>
                      <a:pt x="4089" y="328"/>
                      <a:pt x="4393" y="-186"/>
                      <a:pt x="4089" y="72"/>
                    </a:cubicBezTo>
                    <a:cubicBezTo>
                      <a:pt x="3785" y="328"/>
                      <a:pt x="4089" y="456"/>
                      <a:pt x="3480" y="586"/>
                    </a:cubicBezTo>
                    <a:cubicBezTo>
                      <a:pt x="2568" y="586"/>
                      <a:pt x="2264" y="714"/>
                      <a:pt x="2264" y="328"/>
                    </a:cubicBezTo>
                    <a:cubicBezTo>
                      <a:pt x="1960" y="72"/>
                      <a:pt x="1960" y="-58"/>
                      <a:pt x="1352" y="200"/>
                    </a:cubicBezTo>
                    <a:cubicBezTo>
                      <a:pt x="1047" y="586"/>
                      <a:pt x="1047" y="714"/>
                      <a:pt x="439" y="1100"/>
                    </a:cubicBezTo>
                    <a:cubicBezTo>
                      <a:pt x="135" y="1356"/>
                      <a:pt x="135" y="2000"/>
                      <a:pt x="135" y="2257"/>
                    </a:cubicBezTo>
                    <a:lnTo>
                      <a:pt x="135" y="2771"/>
                    </a:ln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59" name="Freeform 67"/>
              <p:cNvSpPr>
                <a:spLocks/>
              </p:cNvSpPr>
              <p:nvPr/>
            </p:nvSpPr>
            <p:spPr bwMode="gray">
              <a:xfrm>
                <a:off x="4938467" y="3839379"/>
                <a:ext cx="336551" cy="353422"/>
              </a:xfrm>
              <a:custGeom>
                <a:avLst/>
                <a:gdLst>
                  <a:gd name="T0" fmla="*/ 52 w 72"/>
                  <a:gd name="T1" fmla="*/ 76 h 77"/>
                  <a:gd name="T2" fmla="*/ 50 w 72"/>
                  <a:gd name="T3" fmla="*/ 75 h 77"/>
                  <a:gd name="T4" fmla="*/ 46 w 72"/>
                  <a:gd name="T5" fmla="*/ 71 h 77"/>
                  <a:gd name="T6" fmla="*/ 39 w 72"/>
                  <a:gd name="T7" fmla="*/ 66 h 77"/>
                  <a:gd name="T8" fmla="*/ 36 w 72"/>
                  <a:gd name="T9" fmla="*/ 59 h 77"/>
                  <a:gd name="T10" fmla="*/ 30 w 72"/>
                  <a:gd name="T11" fmla="*/ 55 h 77"/>
                  <a:gd name="T12" fmla="*/ 23 w 72"/>
                  <a:gd name="T13" fmla="*/ 45 h 77"/>
                  <a:gd name="T14" fmla="*/ 17 w 72"/>
                  <a:gd name="T15" fmla="*/ 38 h 77"/>
                  <a:gd name="T16" fmla="*/ 10 w 72"/>
                  <a:gd name="T17" fmla="*/ 31 h 77"/>
                  <a:gd name="T18" fmla="*/ 5 w 72"/>
                  <a:gd name="T19" fmla="*/ 19 h 77"/>
                  <a:gd name="T20" fmla="*/ 1 w 72"/>
                  <a:gd name="T21" fmla="*/ 13 h 77"/>
                  <a:gd name="T22" fmla="*/ 0 w 72"/>
                  <a:gd name="T23" fmla="*/ 5 h 77"/>
                  <a:gd name="T24" fmla="*/ 4 w 72"/>
                  <a:gd name="T25" fmla="*/ 3 h 77"/>
                  <a:gd name="T26" fmla="*/ 10 w 72"/>
                  <a:gd name="T27" fmla="*/ 9 h 77"/>
                  <a:gd name="T28" fmla="*/ 15 w 72"/>
                  <a:gd name="T29" fmla="*/ 3 h 77"/>
                  <a:gd name="T30" fmla="*/ 20 w 72"/>
                  <a:gd name="T31" fmla="*/ 3 h 77"/>
                  <a:gd name="T32" fmla="*/ 22 w 72"/>
                  <a:gd name="T33" fmla="*/ 2 h 77"/>
                  <a:gd name="T34" fmla="*/ 28 w 72"/>
                  <a:gd name="T35" fmla="*/ 4 h 77"/>
                  <a:gd name="T36" fmla="*/ 35 w 72"/>
                  <a:gd name="T37" fmla="*/ 6 h 77"/>
                  <a:gd name="T38" fmla="*/ 39 w 72"/>
                  <a:gd name="T39" fmla="*/ 7 h 77"/>
                  <a:gd name="T40" fmla="*/ 43 w 72"/>
                  <a:gd name="T41" fmla="*/ 6 h 77"/>
                  <a:gd name="T42" fmla="*/ 47 w 72"/>
                  <a:gd name="T43" fmla="*/ 7 h 77"/>
                  <a:gd name="T44" fmla="*/ 51 w 72"/>
                  <a:gd name="T45" fmla="*/ 7 h 77"/>
                  <a:gd name="T46" fmla="*/ 55 w 72"/>
                  <a:gd name="T47" fmla="*/ 9 h 77"/>
                  <a:gd name="T48" fmla="*/ 59 w 72"/>
                  <a:gd name="T49" fmla="*/ 12 h 77"/>
                  <a:gd name="T50" fmla="*/ 61 w 72"/>
                  <a:gd name="T51" fmla="*/ 11 h 77"/>
                  <a:gd name="T52" fmla="*/ 61 w 72"/>
                  <a:gd name="T53" fmla="*/ 11 h 77"/>
                  <a:gd name="T54" fmla="*/ 61 w 72"/>
                  <a:gd name="T55" fmla="*/ 11 h 77"/>
                  <a:gd name="T56" fmla="*/ 63 w 72"/>
                  <a:gd name="T57" fmla="*/ 11 h 77"/>
                  <a:gd name="T58" fmla="*/ 65 w 72"/>
                  <a:gd name="T59" fmla="*/ 14 h 77"/>
                  <a:gd name="T60" fmla="*/ 62 w 72"/>
                  <a:gd name="T61" fmla="*/ 24 h 77"/>
                  <a:gd name="T62" fmla="*/ 65 w 72"/>
                  <a:gd name="T63" fmla="*/ 28 h 77"/>
                  <a:gd name="T64" fmla="*/ 68 w 72"/>
                  <a:gd name="T65" fmla="*/ 31 h 77"/>
                  <a:gd name="T66" fmla="*/ 71 w 72"/>
                  <a:gd name="T67" fmla="*/ 35 h 77"/>
                  <a:gd name="T68" fmla="*/ 67 w 72"/>
                  <a:gd name="T69" fmla="*/ 35 h 77"/>
                  <a:gd name="T70" fmla="*/ 66 w 72"/>
                  <a:gd name="T71" fmla="*/ 38 h 77"/>
                  <a:gd name="T72" fmla="*/ 69 w 72"/>
                  <a:gd name="T73" fmla="*/ 43 h 77"/>
                  <a:gd name="T74" fmla="*/ 67 w 72"/>
                  <a:gd name="T75" fmla="*/ 46 h 77"/>
                  <a:gd name="T76" fmla="*/ 63 w 72"/>
                  <a:gd name="T77" fmla="*/ 48 h 77"/>
                  <a:gd name="T78" fmla="*/ 60 w 72"/>
                  <a:gd name="T79" fmla="*/ 49 h 77"/>
                  <a:gd name="T80" fmla="*/ 61 w 72"/>
                  <a:gd name="T81" fmla="*/ 54 h 77"/>
                  <a:gd name="T82" fmla="*/ 58 w 72"/>
                  <a:gd name="T83" fmla="*/ 53 h 77"/>
                  <a:gd name="T84" fmla="*/ 55 w 72"/>
                  <a:gd name="T85" fmla="*/ 58 h 77"/>
                  <a:gd name="T86" fmla="*/ 52 w 72"/>
                  <a:gd name="T87" fmla="*/ 61 h 77"/>
                  <a:gd name="T88" fmla="*/ 51 w 72"/>
                  <a:gd name="T89" fmla="*/ 66 h 77"/>
                  <a:gd name="T90" fmla="*/ 53 w 72"/>
                  <a:gd name="T91" fmla="*/ 71 h 77"/>
                  <a:gd name="T92" fmla="*/ 52 w 72"/>
                  <a:gd name="T93" fmla="*/ 74 h 77"/>
                  <a:gd name="T94" fmla="*/ 52 w 72"/>
                  <a:gd name="T95" fmla="*/ 7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2" h="77">
                    <a:moveTo>
                      <a:pt x="52" y="76"/>
                    </a:moveTo>
                    <a:cubicBezTo>
                      <a:pt x="52" y="76"/>
                      <a:pt x="51" y="77"/>
                      <a:pt x="50" y="75"/>
                    </a:cubicBezTo>
                    <a:cubicBezTo>
                      <a:pt x="48" y="74"/>
                      <a:pt x="47" y="72"/>
                      <a:pt x="46" y="71"/>
                    </a:cubicBezTo>
                    <a:cubicBezTo>
                      <a:pt x="44" y="70"/>
                      <a:pt x="41" y="68"/>
                      <a:pt x="39" y="66"/>
                    </a:cubicBezTo>
                    <a:cubicBezTo>
                      <a:pt x="38" y="65"/>
                      <a:pt x="38" y="61"/>
                      <a:pt x="36" y="59"/>
                    </a:cubicBezTo>
                    <a:cubicBezTo>
                      <a:pt x="34" y="57"/>
                      <a:pt x="32" y="57"/>
                      <a:pt x="30" y="55"/>
                    </a:cubicBezTo>
                    <a:cubicBezTo>
                      <a:pt x="29" y="52"/>
                      <a:pt x="25" y="47"/>
                      <a:pt x="23" y="45"/>
                    </a:cubicBezTo>
                    <a:cubicBezTo>
                      <a:pt x="21" y="43"/>
                      <a:pt x="19" y="40"/>
                      <a:pt x="17" y="38"/>
                    </a:cubicBezTo>
                    <a:cubicBezTo>
                      <a:pt x="15" y="36"/>
                      <a:pt x="12" y="34"/>
                      <a:pt x="10" y="31"/>
                    </a:cubicBezTo>
                    <a:cubicBezTo>
                      <a:pt x="9" y="28"/>
                      <a:pt x="8" y="21"/>
                      <a:pt x="5" y="19"/>
                    </a:cubicBezTo>
                    <a:cubicBezTo>
                      <a:pt x="3" y="17"/>
                      <a:pt x="2" y="17"/>
                      <a:pt x="1" y="13"/>
                    </a:cubicBezTo>
                    <a:cubicBezTo>
                      <a:pt x="0" y="9"/>
                      <a:pt x="1" y="8"/>
                      <a:pt x="0" y="5"/>
                    </a:cubicBezTo>
                    <a:cubicBezTo>
                      <a:pt x="0" y="3"/>
                      <a:pt x="2" y="0"/>
                      <a:pt x="4" y="3"/>
                    </a:cubicBezTo>
                    <a:cubicBezTo>
                      <a:pt x="6" y="5"/>
                      <a:pt x="9" y="11"/>
                      <a:pt x="10" y="9"/>
                    </a:cubicBezTo>
                    <a:cubicBezTo>
                      <a:pt x="12" y="7"/>
                      <a:pt x="13" y="2"/>
                      <a:pt x="15" y="3"/>
                    </a:cubicBezTo>
                    <a:cubicBezTo>
                      <a:pt x="16" y="4"/>
                      <a:pt x="19" y="5"/>
                      <a:pt x="20" y="3"/>
                    </a:cubicBezTo>
                    <a:cubicBezTo>
                      <a:pt x="20" y="1"/>
                      <a:pt x="21" y="1"/>
                      <a:pt x="22" y="2"/>
                    </a:cubicBezTo>
                    <a:cubicBezTo>
                      <a:pt x="24" y="4"/>
                      <a:pt x="26" y="4"/>
                      <a:pt x="28" y="4"/>
                    </a:cubicBezTo>
                    <a:cubicBezTo>
                      <a:pt x="30" y="5"/>
                      <a:pt x="33" y="5"/>
                      <a:pt x="35" y="6"/>
                    </a:cubicBezTo>
                    <a:cubicBezTo>
                      <a:pt x="36" y="7"/>
                      <a:pt x="37" y="8"/>
                      <a:pt x="39" y="7"/>
                    </a:cubicBezTo>
                    <a:cubicBezTo>
                      <a:pt x="41" y="6"/>
                      <a:pt x="41" y="5"/>
                      <a:pt x="43" y="6"/>
                    </a:cubicBezTo>
                    <a:cubicBezTo>
                      <a:pt x="44" y="7"/>
                      <a:pt x="46" y="7"/>
                      <a:pt x="47" y="7"/>
                    </a:cubicBezTo>
                    <a:cubicBezTo>
                      <a:pt x="49" y="6"/>
                      <a:pt x="50" y="6"/>
                      <a:pt x="51" y="7"/>
                    </a:cubicBezTo>
                    <a:cubicBezTo>
                      <a:pt x="53" y="8"/>
                      <a:pt x="54" y="7"/>
                      <a:pt x="55" y="9"/>
                    </a:cubicBezTo>
                    <a:cubicBezTo>
                      <a:pt x="56" y="12"/>
                      <a:pt x="57" y="14"/>
                      <a:pt x="59" y="12"/>
                    </a:cubicBezTo>
                    <a:cubicBezTo>
                      <a:pt x="60" y="11"/>
                      <a:pt x="61" y="11"/>
                      <a:pt x="61" y="11"/>
                    </a:cubicBezTo>
                    <a:cubicBezTo>
                      <a:pt x="61" y="11"/>
                      <a:pt x="61" y="11"/>
                      <a:pt x="61" y="11"/>
                    </a:cubicBezTo>
                    <a:cubicBezTo>
                      <a:pt x="61" y="11"/>
                      <a:pt x="61" y="11"/>
                      <a:pt x="61" y="11"/>
                    </a:cubicBezTo>
                    <a:cubicBezTo>
                      <a:pt x="61" y="11"/>
                      <a:pt x="62" y="10"/>
                      <a:pt x="63" y="11"/>
                    </a:cubicBezTo>
                    <a:cubicBezTo>
                      <a:pt x="64" y="11"/>
                      <a:pt x="65" y="10"/>
                      <a:pt x="65" y="14"/>
                    </a:cubicBezTo>
                    <a:cubicBezTo>
                      <a:pt x="65" y="17"/>
                      <a:pt x="63" y="21"/>
                      <a:pt x="62" y="24"/>
                    </a:cubicBezTo>
                    <a:cubicBezTo>
                      <a:pt x="61" y="26"/>
                      <a:pt x="62" y="27"/>
                      <a:pt x="65" y="28"/>
                    </a:cubicBezTo>
                    <a:cubicBezTo>
                      <a:pt x="67" y="30"/>
                      <a:pt x="67" y="29"/>
                      <a:pt x="68" y="31"/>
                    </a:cubicBezTo>
                    <a:cubicBezTo>
                      <a:pt x="70" y="34"/>
                      <a:pt x="71" y="33"/>
                      <a:pt x="71" y="35"/>
                    </a:cubicBezTo>
                    <a:cubicBezTo>
                      <a:pt x="72" y="37"/>
                      <a:pt x="69" y="36"/>
                      <a:pt x="67" y="35"/>
                    </a:cubicBezTo>
                    <a:cubicBezTo>
                      <a:pt x="65" y="35"/>
                      <a:pt x="66" y="36"/>
                      <a:pt x="66" y="38"/>
                    </a:cubicBezTo>
                    <a:cubicBezTo>
                      <a:pt x="66" y="39"/>
                      <a:pt x="69" y="41"/>
                      <a:pt x="69" y="43"/>
                    </a:cubicBezTo>
                    <a:cubicBezTo>
                      <a:pt x="70" y="44"/>
                      <a:pt x="69" y="46"/>
                      <a:pt x="67" y="46"/>
                    </a:cubicBezTo>
                    <a:cubicBezTo>
                      <a:pt x="65" y="47"/>
                      <a:pt x="65" y="48"/>
                      <a:pt x="63" y="48"/>
                    </a:cubicBezTo>
                    <a:cubicBezTo>
                      <a:pt x="62" y="48"/>
                      <a:pt x="60" y="47"/>
                      <a:pt x="60" y="49"/>
                    </a:cubicBezTo>
                    <a:cubicBezTo>
                      <a:pt x="60" y="50"/>
                      <a:pt x="61" y="52"/>
                      <a:pt x="61" y="54"/>
                    </a:cubicBezTo>
                    <a:cubicBezTo>
                      <a:pt x="61" y="56"/>
                      <a:pt x="59" y="53"/>
                      <a:pt x="58" y="53"/>
                    </a:cubicBezTo>
                    <a:cubicBezTo>
                      <a:pt x="57" y="54"/>
                      <a:pt x="55" y="55"/>
                      <a:pt x="55" y="58"/>
                    </a:cubicBezTo>
                    <a:cubicBezTo>
                      <a:pt x="54" y="61"/>
                      <a:pt x="54" y="62"/>
                      <a:pt x="52" y="61"/>
                    </a:cubicBezTo>
                    <a:cubicBezTo>
                      <a:pt x="51" y="61"/>
                      <a:pt x="51" y="64"/>
                      <a:pt x="51" y="66"/>
                    </a:cubicBezTo>
                    <a:cubicBezTo>
                      <a:pt x="52" y="68"/>
                      <a:pt x="54" y="70"/>
                      <a:pt x="53" y="71"/>
                    </a:cubicBezTo>
                    <a:cubicBezTo>
                      <a:pt x="53" y="72"/>
                      <a:pt x="52" y="73"/>
                      <a:pt x="52" y="74"/>
                    </a:cubicBezTo>
                    <a:cubicBezTo>
                      <a:pt x="52" y="75"/>
                      <a:pt x="52" y="75"/>
                      <a:pt x="52" y="76"/>
                    </a:cubicBez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0" name="Freeform 68"/>
              <p:cNvSpPr>
                <a:spLocks/>
              </p:cNvSpPr>
              <p:nvPr>
                <p:custDataLst>
                  <p:tags r:id="rId123"/>
                </p:custDataLst>
              </p:nvPr>
            </p:nvSpPr>
            <p:spPr bwMode="gray">
              <a:xfrm>
                <a:off x="4743622" y="3695911"/>
                <a:ext cx="503056" cy="451400"/>
              </a:xfrm>
              <a:custGeom>
                <a:avLst/>
                <a:gdLst>
                  <a:gd name="T0" fmla="*/ 77 w 108"/>
                  <a:gd name="T1" fmla="*/ 97 h 98"/>
                  <a:gd name="T2" fmla="*/ 65 w 108"/>
                  <a:gd name="T3" fmla="*/ 96 h 98"/>
                  <a:gd name="T4" fmla="*/ 65 w 108"/>
                  <a:gd name="T5" fmla="*/ 94 h 98"/>
                  <a:gd name="T6" fmla="*/ 75 w 108"/>
                  <a:gd name="T7" fmla="*/ 94 h 98"/>
                  <a:gd name="T8" fmla="*/ 67 w 108"/>
                  <a:gd name="T9" fmla="*/ 85 h 98"/>
                  <a:gd name="T10" fmla="*/ 55 w 108"/>
                  <a:gd name="T11" fmla="*/ 78 h 98"/>
                  <a:gd name="T12" fmla="*/ 46 w 108"/>
                  <a:gd name="T13" fmla="*/ 78 h 98"/>
                  <a:gd name="T14" fmla="*/ 39 w 108"/>
                  <a:gd name="T15" fmla="*/ 69 h 98"/>
                  <a:gd name="T16" fmla="*/ 33 w 108"/>
                  <a:gd name="T17" fmla="*/ 64 h 98"/>
                  <a:gd name="T18" fmla="*/ 31 w 108"/>
                  <a:gd name="T19" fmla="*/ 60 h 98"/>
                  <a:gd name="T20" fmla="*/ 37 w 108"/>
                  <a:gd name="T21" fmla="*/ 58 h 98"/>
                  <a:gd name="T22" fmla="*/ 27 w 108"/>
                  <a:gd name="T23" fmla="*/ 46 h 98"/>
                  <a:gd name="T24" fmla="*/ 21 w 108"/>
                  <a:gd name="T25" fmla="*/ 33 h 98"/>
                  <a:gd name="T26" fmla="*/ 14 w 108"/>
                  <a:gd name="T27" fmla="*/ 37 h 98"/>
                  <a:gd name="T28" fmla="*/ 10 w 108"/>
                  <a:gd name="T29" fmla="*/ 44 h 98"/>
                  <a:gd name="T30" fmla="*/ 3 w 108"/>
                  <a:gd name="T31" fmla="*/ 37 h 98"/>
                  <a:gd name="T32" fmla="*/ 2 w 108"/>
                  <a:gd name="T33" fmla="*/ 28 h 98"/>
                  <a:gd name="T34" fmla="*/ 15 w 108"/>
                  <a:gd name="T35" fmla="*/ 27 h 98"/>
                  <a:gd name="T36" fmla="*/ 22 w 108"/>
                  <a:gd name="T37" fmla="*/ 25 h 98"/>
                  <a:gd name="T38" fmla="*/ 33 w 108"/>
                  <a:gd name="T39" fmla="*/ 29 h 98"/>
                  <a:gd name="T40" fmla="*/ 38 w 108"/>
                  <a:gd name="T41" fmla="*/ 19 h 98"/>
                  <a:gd name="T42" fmla="*/ 39 w 108"/>
                  <a:gd name="T43" fmla="*/ 8 h 98"/>
                  <a:gd name="T44" fmla="*/ 50 w 108"/>
                  <a:gd name="T45" fmla="*/ 4 h 98"/>
                  <a:gd name="T46" fmla="*/ 58 w 108"/>
                  <a:gd name="T47" fmla="*/ 2 h 98"/>
                  <a:gd name="T48" fmla="*/ 67 w 108"/>
                  <a:gd name="T49" fmla="*/ 11 h 98"/>
                  <a:gd name="T50" fmla="*/ 76 w 108"/>
                  <a:gd name="T51" fmla="*/ 17 h 98"/>
                  <a:gd name="T52" fmla="*/ 89 w 108"/>
                  <a:gd name="T53" fmla="*/ 20 h 98"/>
                  <a:gd name="T54" fmla="*/ 97 w 108"/>
                  <a:gd name="T55" fmla="*/ 16 h 98"/>
                  <a:gd name="T56" fmla="*/ 99 w 108"/>
                  <a:gd name="T57" fmla="*/ 25 h 98"/>
                  <a:gd name="T58" fmla="*/ 104 w 108"/>
                  <a:gd name="T59" fmla="*/ 33 h 98"/>
                  <a:gd name="T60" fmla="*/ 103 w 108"/>
                  <a:gd name="T61" fmla="*/ 37 h 98"/>
                  <a:gd name="T62" fmla="*/ 101 w 108"/>
                  <a:gd name="T63" fmla="*/ 43 h 98"/>
                  <a:gd name="T64" fmla="*/ 93 w 108"/>
                  <a:gd name="T65" fmla="*/ 38 h 98"/>
                  <a:gd name="T66" fmla="*/ 85 w 108"/>
                  <a:gd name="T67" fmla="*/ 37 h 98"/>
                  <a:gd name="T68" fmla="*/ 77 w 108"/>
                  <a:gd name="T69" fmla="*/ 37 h 98"/>
                  <a:gd name="T70" fmla="*/ 64 w 108"/>
                  <a:gd name="T71" fmla="*/ 33 h 98"/>
                  <a:gd name="T72" fmla="*/ 57 w 108"/>
                  <a:gd name="T73" fmla="*/ 34 h 98"/>
                  <a:gd name="T74" fmla="*/ 46 w 108"/>
                  <a:gd name="T75" fmla="*/ 34 h 98"/>
                  <a:gd name="T76" fmla="*/ 43 w 108"/>
                  <a:gd name="T77" fmla="*/ 44 h 98"/>
                  <a:gd name="T78" fmla="*/ 52 w 108"/>
                  <a:gd name="T79" fmla="*/ 62 h 98"/>
                  <a:gd name="T80" fmla="*/ 65 w 108"/>
                  <a:gd name="T81" fmla="*/ 76 h 98"/>
                  <a:gd name="T82" fmla="*/ 78 w 108"/>
                  <a:gd name="T83"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8" h="98">
                    <a:moveTo>
                      <a:pt x="81" y="97"/>
                    </a:moveTo>
                    <a:cubicBezTo>
                      <a:pt x="81" y="97"/>
                      <a:pt x="79" y="98"/>
                      <a:pt x="77" y="97"/>
                    </a:cubicBezTo>
                    <a:cubicBezTo>
                      <a:pt x="75" y="96"/>
                      <a:pt x="73" y="93"/>
                      <a:pt x="71" y="94"/>
                    </a:cubicBezTo>
                    <a:cubicBezTo>
                      <a:pt x="69" y="95"/>
                      <a:pt x="66" y="95"/>
                      <a:pt x="65" y="96"/>
                    </a:cubicBezTo>
                    <a:cubicBezTo>
                      <a:pt x="63" y="96"/>
                      <a:pt x="60" y="96"/>
                      <a:pt x="61" y="95"/>
                    </a:cubicBezTo>
                    <a:cubicBezTo>
                      <a:pt x="61" y="93"/>
                      <a:pt x="64" y="94"/>
                      <a:pt x="65" y="94"/>
                    </a:cubicBezTo>
                    <a:cubicBezTo>
                      <a:pt x="67" y="93"/>
                      <a:pt x="70" y="92"/>
                      <a:pt x="71" y="92"/>
                    </a:cubicBezTo>
                    <a:cubicBezTo>
                      <a:pt x="72" y="92"/>
                      <a:pt x="75" y="94"/>
                      <a:pt x="75" y="94"/>
                    </a:cubicBezTo>
                    <a:cubicBezTo>
                      <a:pt x="76" y="93"/>
                      <a:pt x="73" y="91"/>
                      <a:pt x="72" y="89"/>
                    </a:cubicBezTo>
                    <a:cubicBezTo>
                      <a:pt x="71" y="87"/>
                      <a:pt x="68" y="88"/>
                      <a:pt x="67" y="85"/>
                    </a:cubicBezTo>
                    <a:cubicBezTo>
                      <a:pt x="65" y="83"/>
                      <a:pt x="63" y="80"/>
                      <a:pt x="61" y="80"/>
                    </a:cubicBezTo>
                    <a:cubicBezTo>
                      <a:pt x="58" y="80"/>
                      <a:pt x="56" y="78"/>
                      <a:pt x="55" y="78"/>
                    </a:cubicBezTo>
                    <a:cubicBezTo>
                      <a:pt x="54" y="77"/>
                      <a:pt x="52" y="79"/>
                      <a:pt x="51" y="79"/>
                    </a:cubicBezTo>
                    <a:cubicBezTo>
                      <a:pt x="50" y="79"/>
                      <a:pt x="46" y="79"/>
                      <a:pt x="46" y="78"/>
                    </a:cubicBezTo>
                    <a:cubicBezTo>
                      <a:pt x="46" y="76"/>
                      <a:pt x="46" y="74"/>
                      <a:pt x="45" y="73"/>
                    </a:cubicBezTo>
                    <a:cubicBezTo>
                      <a:pt x="43" y="73"/>
                      <a:pt x="40" y="70"/>
                      <a:pt x="39" y="69"/>
                    </a:cubicBezTo>
                    <a:cubicBezTo>
                      <a:pt x="37" y="68"/>
                      <a:pt x="36" y="67"/>
                      <a:pt x="34" y="66"/>
                    </a:cubicBezTo>
                    <a:cubicBezTo>
                      <a:pt x="31" y="65"/>
                      <a:pt x="32" y="64"/>
                      <a:pt x="33" y="64"/>
                    </a:cubicBezTo>
                    <a:cubicBezTo>
                      <a:pt x="34" y="65"/>
                      <a:pt x="36" y="67"/>
                      <a:pt x="36" y="66"/>
                    </a:cubicBezTo>
                    <a:cubicBezTo>
                      <a:pt x="35" y="64"/>
                      <a:pt x="31" y="62"/>
                      <a:pt x="31" y="60"/>
                    </a:cubicBezTo>
                    <a:cubicBezTo>
                      <a:pt x="30" y="58"/>
                      <a:pt x="33" y="58"/>
                      <a:pt x="35" y="59"/>
                    </a:cubicBezTo>
                    <a:cubicBezTo>
                      <a:pt x="36" y="59"/>
                      <a:pt x="39" y="59"/>
                      <a:pt x="37" y="58"/>
                    </a:cubicBezTo>
                    <a:cubicBezTo>
                      <a:pt x="36" y="57"/>
                      <a:pt x="31" y="54"/>
                      <a:pt x="30" y="53"/>
                    </a:cubicBezTo>
                    <a:cubicBezTo>
                      <a:pt x="29" y="52"/>
                      <a:pt x="27" y="48"/>
                      <a:pt x="27" y="46"/>
                    </a:cubicBezTo>
                    <a:cubicBezTo>
                      <a:pt x="27" y="45"/>
                      <a:pt x="26" y="41"/>
                      <a:pt x="25" y="39"/>
                    </a:cubicBezTo>
                    <a:cubicBezTo>
                      <a:pt x="25" y="38"/>
                      <a:pt x="23" y="35"/>
                      <a:pt x="21" y="33"/>
                    </a:cubicBezTo>
                    <a:cubicBezTo>
                      <a:pt x="19" y="32"/>
                      <a:pt x="17" y="30"/>
                      <a:pt x="16" y="32"/>
                    </a:cubicBezTo>
                    <a:cubicBezTo>
                      <a:pt x="16" y="33"/>
                      <a:pt x="14" y="35"/>
                      <a:pt x="14" y="37"/>
                    </a:cubicBezTo>
                    <a:cubicBezTo>
                      <a:pt x="13" y="39"/>
                      <a:pt x="12" y="40"/>
                      <a:pt x="11" y="40"/>
                    </a:cubicBezTo>
                    <a:cubicBezTo>
                      <a:pt x="10" y="40"/>
                      <a:pt x="10" y="42"/>
                      <a:pt x="10" y="44"/>
                    </a:cubicBezTo>
                    <a:cubicBezTo>
                      <a:pt x="10" y="46"/>
                      <a:pt x="8" y="46"/>
                      <a:pt x="7" y="44"/>
                    </a:cubicBezTo>
                    <a:cubicBezTo>
                      <a:pt x="6" y="43"/>
                      <a:pt x="3" y="39"/>
                      <a:pt x="3" y="37"/>
                    </a:cubicBezTo>
                    <a:cubicBezTo>
                      <a:pt x="3" y="36"/>
                      <a:pt x="2" y="36"/>
                      <a:pt x="2" y="33"/>
                    </a:cubicBezTo>
                    <a:cubicBezTo>
                      <a:pt x="2" y="31"/>
                      <a:pt x="0" y="28"/>
                      <a:pt x="2" y="28"/>
                    </a:cubicBezTo>
                    <a:cubicBezTo>
                      <a:pt x="4" y="28"/>
                      <a:pt x="8" y="29"/>
                      <a:pt x="9" y="28"/>
                    </a:cubicBezTo>
                    <a:cubicBezTo>
                      <a:pt x="11" y="27"/>
                      <a:pt x="13" y="27"/>
                      <a:pt x="15" y="27"/>
                    </a:cubicBezTo>
                    <a:cubicBezTo>
                      <a:pt x="16" y="27"/>
                      <a:pt x="20" y="25"/>
                      <a:pt x="20" y="24"/>
                    </a:cubicBezTo>
                    <a:cubicBezTo>
                      <a:pt x="20" y="22"/>
                      <a:pt x="21" y="23"/>
                      <a:pt x="22" y="25"/>
                    </a:cubicBezTo>
                    <a:cubicBezTo>
                      <a:pt x="23" y="27"/>
                      <a:pt x="26" y="27"/>
                      <a:pt x="27" y="27"/>
                    </a:cubicBezTo>
                    <a:cubicBezTo>
                      <a:pt x="29" y="27"/>
                      <a:pt x="32" y="31"/>
                      <a:pt x="33" y="29"/>
                    </a:cubicBezTo>
                    <a:cubicBezTo>
                      <a:pt x="33" y="27"/>
                      <a:pt x="35" y="24"/>
                      <a:pt x="34" y="22"/>
                    </a:cubicBezTo>
                    <a:cubicBezTo>
                      <a:pt x="33" y="20"/>
                      <a:pt x="36" y="20"/>
                      <a:pt x="38" y="19"/>
                    </a:cubicBezTo>
                    <a:cubicBezTo>
                      <a:pt x="39" y="18"/>
                      <a:pt x="40" y="17"/>
                      <a:pt x="40" y="15"/>
                    </a:cubicBezTo>
                    <a:cubicBezTo>
                      <a:pt x="39" y="13"/>
                      <a:pt x="38" y="9"/>
                      <a:pt x="39" y="8"/>
                    </a:cubicBezTo>
                    <a:cubicBezTo>
                      <a:pt x="40" y="8"/>
                      <a:pt x="43" y="8"/>
                      <a:pt x="44" y="7"/>
                    </a:cubicBezTo>
                    <a:cubicBezTo>
                      <a:pt x="46" y="5"/>
                      <a:pt x="49" y="5"/>
                      <a:pt x="50" y="4"/>
                    </a:cubicBezTo>
                    <a:cubicBezTo>
                      <a:pt x="50" y="4"/>
                      <a:pt x="50" y="0"/>
                      <a:pt x="52" y="0"/>
                    </a:cubicBezTo>
                    <a:cubicBezTo>
                      <a:pt x="54" y="0"/>
                      <a:pt x="56" y="1"/>
                      <a:pt x="58" y="2"/>
                    </a:cubicBezTo>
                    <a:cubicBezTo>
                      <a:pt x="60" y="4"/>
                      <a:pt x="61" y="5"/>
                      <a:pt x="62" y="7"/>
                    </a:cubicBezTo>
                    <a:cubicBezTo>
                      <a:pt x="63" y="9"/>
                      <a:pt x="65" y="9"/>
                      <a:pt x="67" y="11"/>
                    </a:cubicBezTo>
                    <a:cubicBezTo>
                      <a:pt x="69" y="12"/>
                      <a:pt x="69" y="15"/>
                      <a:pt x="71" y="15"/>
                    </a:cubicBezTo>
                    <a:cubicBezTo>
                      <a:pt x="72" y="15"/>
                      <a:pt x="74" y="15"/>
                      <a:pt x="76" y="17"/>
                    </a:cubicBezTo>
                    <a:cubicBezTo>
                      <a:pt x="77" y="19"/>
                      <a:pt x="77" y="19"/>
                      <a:pt x="81" y="19"/>
                    </a:cubicBezTo>
                    <a:cubicBezTo>
                      <a:pt x="85" y="18"/>
                      <a:pt x="87" y="19"/>
                      <a:pt x="89" y="20"/>
                    </a:cubicBezTo>
                    <a:cubicBezTo>
                      <a:pt x="91" y="21"/>
                      <a:pt x="93" y="19"/>
                      <a:pt x="94" y="18"/>
                    </a:cubicBezTo>
                    <a:cubicBezTo>
                      <a:pt x="95" y="16"/>
                      <a:pt x="95" y="16"/>
                      <a:pt x="97" y="16"/>
                    </a:cubicBezTo>
                    <a:cubicBezTo>
                      <a:pt x="97" y="16"/>
                      <a:pt x="98" y="18"/>
                      <a:pt x="99" y="21"/>
                    </a:cubicBezTo>
                    <a:cubicBezTo>
                      <a:pt x="100" y="24"/>
                      <a:pt x="99" y="24"/>
                      <a:pt x="99" y="25"/>
                    </a:cubicBezTo>
                    <a:cubicBezTo>
                      <a:pt x="100" y="26"/>
                      <a:pt x="102" y="26"/>
                      <a:pt x="101" y="27"/>
                    </a:cubicBezTo>
                    <a:cubicBezTo>
                      <a:pt x="100" y="29"/>
                      <a:pt x="102" y="31"/>
                      <a:pt x="104" y="33"/>
                    </a:cubicBezTo>
                    <a:cubicBezTo>
                      <a:pt x="105" y="34"/>
                      <a:pt x="108" y="35"/>
                      <a:pt x="107" y="35"/>
                    </a:cubicBezTo>
                    <a:cubicBezTo>
                      <a:pt x="106" y="36"/>
                      <a:pt x="102" y="35"/>
                      <a:pt x="103" y="37"/>
                    </a:cubicBezTo>
                    <a:cubicBezTo>
                      <a:pt x="104" y="39"/>
                      <a:pt x="103" y="42"/>
                      <a:pt x="103" y="42"/>
                    </a:cubicBezTo>
                    <a:cubicBezTo>
                      <a:pt x="103" y="42"/>
                      <a:pt x="102" y="42"/>
                      <a:pt x="101" y="43"/>
                    </a:cubicBezTo>
                    <a:cubicBezTo>
                      <a:pt x="99" y="45"/>
                      <a:pt x="98" y="43"/>
                      <a:pt x="97" y="40"/>
                    </a:cubicBezTo>
                    <a:cubicBezTo>
                      <a:pt x="96" y="38"/>
                      <a:pt x="95" y="39"/>
                      <a:pt x="93" y="38"/>
                    </a:cubicBezTo>
                    <a:cubicBezTo>
                      <a:pt x="92" y="37"/>
                      <a:pt x="91" y="37"/>
                      <a:pt x="89" y="38"/>
                    </a:cubicBezTo>
                    <a:cubicBezTo>
                      <a:pt x="88" y="38"/>
                      <a:pt x="86" y="38"/>
                      <a:pt x="85" y="37"/>
                    </a:cubicBezTo>
                    <a:cubicBezTo>
                      <a:pt x="83" y="36"/>
                      <a:pt x="83" y="37"/>
                      <a:pt x="81" y="38"/>
                    </a:cubicBezTo>
                    <a:cubicBezTo>
                      <a:pt x="79" y="39"/>
                      <a:pt x="78" y="38"/>
                      <a:pt x="77" y="37"/>
                    </a:cubicBezTo>
                    <a:cubicBezTo>
                      <a:pt x="75" y="36"/>
                      <a:pt x="72" y="36"/>
                      <a:pt x="70" y="35"/>
                    </a:cubicBezTo>
                    <a:cubicBezTo>
                      <a:pt x="68" y="35"/>
                      <a:pt x="66" y="35"/>
                      <a:pt x="64" y="33"/>
                    </a:cubicBezTo>
                    <a:cubicBezTo>
                      <a:pt x="63" y="32"/>
                      <a:pt x="62" y="32"/>
                      <a:pt x="62" y="34"/>
                    </a:cubicBezTo>
                    <a:cubicBezTo>
                      <a:pt x="61" y="36"/>
                      <a:pt x="58" y="35"/>
                      <a:pt x="57" y="34"/>
                    </a:cubicBezTo>
                    <a:cubicBezTo>
                      <a:pt x="55" y="33"/>
                      <a:pt x="54" y="38"/>
                      <a:pt x="52" y="40"/>
                    </a:cubicBezTo>
                    <a:cubicBezTo>
                      <a:pt x="51" y="42"/>
                      <a:pt x="48" y="36"/>
                      <a:pt x="46" y="34"/>
                    </a:cubicBezTo>
                    <a:cubicBezTo>
                      <a:pt x="44" y="31"/>
                      <a:pt x="42" y="34"/>
                      <a:pt x="42" y="36"/>
                    </a:cubicBezTo>
                    <a:cubicBezTo>
                      <a:pt x="43" y="39"/>
                      <a:pt x="42" y="40"/>
                      <a:pt x="43" y="44"/>
                    </a:cubicBezTo>
                    <a:cubicBezTo>
                      <a:pt x="44" y="48"/>
                      <a:pt x="45" y="48"/>
                      <a:pt x="47" y="50"/>
                    </a:cubicBezTo>
                    <a:cubicBezTo>
                      <a:pt x="50" y="52"/>
                      <a:pt x="51" y="59"/>
                      <a:pt x="52" y="62"/>
                    </a:cubicBezTo>
                    <a:cubicBezTo>
                      <a:pt x="54" y="65"/>
                      <a:pt x="57" y="67"/>
                      <a:pt x="59" y="69"/>
                    </a:cubicBezTo>
                    <a:cubicBezTo>
                      <a:pt x="61" y="71"/>
                      <a:pt x="63" y="74"/>
                      <a:pt x="65" y="76"/>
                    </a:cubicBezTo>
                    <a:cubicBezTo>
                      <a:pt x="67" y="78"/>
                      <a:pt x="71" y="83"/>
                      <a:pt x="72" y="86"/>
                    </a:cubicBezTo>
                    <a:cubicBezTo>
                      <a:pt x="74" y="88"/>
                      <a:pt x="76" y="88"/>
                      <a:pt x="78" y="90"/>
                    </a:cubicBezTo>
                    <a:cubicBezTo>
                      <a:pt x="80" y="92"/>
                      <a:pt x="80" y="96"/>
                      <a:pt x="81" y="97"/>
                    </a:cubicBezTo>
                    <a:close/>
                  </a:path>
                </a:pathLst>
              </a:custGeom>
              <a:solidFill>
                <a:srgbClr val="CBA6AB"/>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1" name="Freeform 208"/>
              <p:cNvSpPr>
                <a:spLocks/>
              </p:cNvSpPr>
              <p:nvPr>
                <p:custDataLst>
                  <p:tags r:id="rId124"/>
                </p:custDataLst>
              </p:nvPr>
            </p:nvSpPr>
            <p:spPr bwMode="gray">
              <a:xfrm>
                <a:off x="4721936" y="3655670"/>
                <a:ext cx="273214" cy="177077"/>
              </a:xfrm>
              <a:custGeom>
                <a:avLst/>
                <a:gdLst>
                  <a:gd name="T0" fmla="*/ 57 w 57"/>
                  <a:gd name="T1" fmla="*/ 10 h 40"/>
                  <a:gd name="T2" fmla="*/ 55 w 57"/>
                  <a:gd name="T3" fmla="*/ 4 h 40"/>
                  <a:gd name="T4" fmla="*/ 52 w 57"/>
                  <a:gd name="T5" fmla="*/ 0 h 40"/>
                  <a:gd name="T6" fmla="*/ 49 w 57"/>
                  <a:gd name="T7" fmla="*/ 1 h 40"/>
                  <a:gd name="T8" fmla="*/ 50 w 57"/>
                  <a:gd name="T9" fmla="*/ 7 h 40"/>
                  <a:gd name="T10" fmla="*/ 45 w 57"/>
                  <a:gd name="T11" fmla="*/ 4 h 40"/>
                  <a:gd name="T12" fmla="*/ 41 w 57"/>
                  <a:gd name="T13" fmla="*/ 6 h 40"/>
                  <a:gd name="T14" fmla="*/ 37 w 57"/>
                  <a:gd name="T15" fmla="*/ 7 h 40"/>
                  <a:gd name="T16" fmla="*/ 31 w 57"/>
                  <a:gd name="T17" fmla="*/ 7 h 40"/>
                  <a:gd name="T18" fmla="*/ 26 w 57"/>
                  <a:gd name="T19" fmla="*/ 10 h 40"/>
                  <a:gd name="T20" fmla="*/ 22 w 57"/>
                  <a:gd name="T21" fmla="*/ 13 h 40"/>
                  <a:gd name="T22" fmla="*/ 14 w 57"/>
                  <a:gd name="T23" fmla="*/ 11 h 40"/>
                  <a:gd name="T24" fmla="*/ 8 w 57"/>
                  <a:gd name="T25" fmla="*/ 10 h 40"/>
                  <a:gd name="T26" fmla="*/ 2 w 57"/>
                  <a:gd name="T27" fmla="*/ 14 h 40"/>
                  <a:gd name="T28" fmla="*/ 4 w 57"/>
                  <a:gd name="T29" fmla="*/ 17 h 40"/>
                  <a:gd name="T30" fmla="*/ 7 w 57"/>
                  <a:gd name="T31" fmla="*/ 19 h 40"/>
                  <a:gd name="T32" fmla="*/ 4 w 57"/>
                  <a:gd name="T33" fmla="*/ 22 h 40"/>
                  <a:gd name="T34" fmla="*/ 5 w 57"/>
                  <a:gd name="T35" fmla="*/ 27 h 40"/>
                  <a:gd name="T36" fmla="*/ 7 w 57"/>
                  <a:gd name="T37" fmla="*/ 30 h 40"/>
                  <a:gd name="T38" fmla="*/ 8 w 57"/>
                  <a:gd name="T39" fmla="*/ 34 h 40"/>
                  <a:gd name="T40" fmla="*/ 4 w 57"/>
                  <a:gd name="T41" fmla="*/ 37 h 40"/>
                  <a:gd name="T42" fmla="*/ 5 w 57"/>
                  <a:gd name="T43" fmla="*/ 37 h 40"/>
                  <a:gd name="T44" fmla="*/ 12 w 57"/>
                  <a:gd name="T45" fmla="*/ 37 h 40"/>
                  <a:gd name="T46" fmla="*/ 18 w 57"/>
                  <a:gd name="T47" fmla="*/ 36 h 40"/>
                  <a:gd name="T48" fmla="*/ 23 w 57"/>
                  <a:gd name="T49" fmla="*/ 33 h 40"/>
                  <a:gd name="T50" fmla="*/ 25 w 57"/>
                  <a:gd name="T51" fmla="*/ 34 h 40"/>
                  <a:gd name="T52" fmla="*/ 30 w 57"/>
                  <a:gd name="T53" fmla="*/ 36 h 40"/>
                  <a:gd name="T54" fmla="*/ 36 w 57"/>
                  <a:gd name="T55" fmla="*/ 38 h 40"/>
                  <a:gd name="T56" fmla="*/ 37 w 57"/>
                  <a:gd name="T57" fmla="*/ 31 h 40"/>
                  <a:gd name="T58" fmla="*/ 41 w 57"/>
                  <a:gd name="T59" fmla="*/ 28 h 40"/>
                  <a:gd name="T60" fmla="*/ 43 w 57"/>
                  <a:gd name="T61" fmla="*/ 24 h 40"/>
                  <a:gd name="T62" fmla="*/ 42 w 57"/>
                  <a:gd name="T63" fmla="*/ 17 h 40"/>
                  <a:gd name="T64" fmla="*/ 47 w 57"/>
                  <a:gd name="T65" fmla="*/ 16 h 40"/>
                  <a:gd name="T66" fmla="*/ 53 w 57"/>
                  <a:gd name="T67" fmla="*/ 13 h 40"/>
                  <a:gd name="T68" fmla="*/ 55 w 57"/>
                  <a:gd name="T69" fmla="*/ 9 h 40"/>
                  <a:gd name="T70" fmla="*/ 57 w 57"/>
                  <a:gd name="T71" fmla="*/ 10 h 40"/>
                  <a:gd name="T72" fmla="*/ 57 w 57"/>
                  <a:gd name="T73" fmla="*/ 10 h 40"/>
                  <a:gd name="connsiteX0" fmla="*/ 10036 w 10036"/>
                  <a:gd name="connsiteY0" fmla="*/ 2500 h 9640"/>
                  <a:gd name="connsiteX1" fmla="*/ 9685 w 10036"/>
                  <a:gd name="connsiteY1" fmla="*/ 1000 h 9640"/>
                  <a:gd name="connsiteX2" fmla="*/ 9159 w 10036"/>
                  <a:gd name="connsiteY2" fmla="*/ 0 h 9640"/>
                  <a:gd name="connsiteX3" fmla="*/ 8632 w 10036"/>
                  <a:gd name="connsiteY3" fmla="*/ 250 h 9640"/>
                  <a:gd name="connsiteX4" fmla="*/ 8808 w 10036"/>
                  <a:gd name="connsiteY4" fmla="*/ 1750 h 9640"/>
                  <a:gd name="connsiteX5" fmla="*/ 7931 w 10036"/>
                  <a:gd name="connsiteY5" fmla="*/ 1000 h 9640"/>
                  <a:gd name="connsiteX6" fmla="*/ 7229 w 10036"/>
                  <a:gd name="connsiteY6" fmla="*/ 1500 h 9640"/>
                  <a:gd name="connsiteX7" fmla="*/ 6527 w 10036"/>
                  <a:gd name="connsiteY7" fmla="*/ 1750 h 9640"/>
                  <a:gd name="connsiteX8" fmla="*/ 5475 w 10036"/>
                  <a:gd name="connsiteY8" fmla="*/ 1750 h 9640"/>
                  <a:gd name="connsiteX9" fmla="*/ 4597 w 10036"/>
                  <a:gd name="connsiteY9" fmla="*/ 2500 h 9640"/>
                  <a:gd name="connsiteX10" fmla="*/ 3896 w 10036"/>
                  <a:gd name="connsiteY10" fmla="*/ 3250 h 9640"/>
                  <a:gd name="connsiteX11" fmla="*/ 2492 w 10036"/>
                  <a:gd name="connsiteY11" fmla="*/ 2750 h 9640"/>
                  <a:gd name="connsiteX12" fmla="*/ 1440 w 10036"/>
                  <a:gd name="connsiteY12" fmla="*/ 2500 h 9640"/>
                  <a:gd name="connsiteX13" fmla="*/ 387 w 10036"/>
                  <a:gd name="connsiteY13" fmla="*/ 3500 h 9640"/>
                  <a:gd name="connsiteX14" fmla="*/ 738 w 10036"/>
                  <a:gd name="connsiteY14" fmla="*/ 4250 h 9640"/>
                  <a:gd name="connsiteX15" fmla="*/ 1264 w 10036"/>
                  <a:gd name="connsiteY15" fmla="*/ 4750 h 9640"/>
                  <a:gd name="connsiteX16" fmla="*/ 0 w 10036"/>
                  <a:gd name="connsiteY16" fmla="*/ 5500 h 9640"/>
                  <a:gd name="connsiteX17" fmla="*/ 913 w 10036"/>
                  <a:gd name="connsiteY17" fmla="*/ 6750 h 9640"/>
                  <a:gd name="connsiteX18" fmla="*/ 1264 w 10036"/>
                  <a:gd name="connsiteY18" fmla="*/ 7500 h 9640"/>
                  <a:gd name="connsiteX19" fmla="*/ 1440 w 10036"/>
                  <a:gd name="connsiteY19" fmla="*/ 8500 h 9640"/>
                  <a:gd name="connsiteX20" fmla="*/ 738 w 10036"/>
                  <a:gd name="connsiteY20" fmla="*/ 9250 h 9640"/>
                  <a:gd name="connsiteX21" fmla="*/ 913 w 10036"/>
                  <a:gd name="connsiteY21" fmla="*/ 9250 h 9640"/>
                  <a:gd name="connsiteX22" fmla="*/ 2141 w 10036"/>
                  <a:gd name="connsiteY22" fmla="*/ 9250 h 9640"/>
                  <a:gd name="connsiteX23" fmla="*/ 3194 w 10036"/>
                  <a:gd name="connsiteY23" fmla="*/ 9000 h 9640"/>
                  <a:gd name="connsiteX24" fmla="*/ 4071 w 10036"/>
                  <a:gd name="connsiteY24" fmla="*/ 8250 h 9640"/>
                  <a:gd name="connsiteX25" fmla="*/ 4422 w 10036"/>
                  <a:gd name="connsiteY25" fmla="*/ 8500 h 9640"/>
                  <a:gd name="connsiteX26" fmla="*/ 5299 w 10036"/>
                  <a:gd name="connsiteY26" fmla="*/ 9000 h 9640"/>
                  <a:gd name="connsiteX27" fmla="*/ 6352 w 10036"/>
                  <a:gd name="connsiteY27" fmla="*/ 9500 h 9640"/>
                  <a:gd name="connsiteX28" fmla="*/ 6527 w 10036"/>
                  <a:gd name="connsiteY28" fmla="*/ 7750 h 9640"/>
                  <a:gd name="connsiteX29" fmla="*/ 7229 w 10036"/>
                  <a:gd name="connsiteY29" fmla="*/ 7000 h 9640"/>
                  <a:gd name="connsiteX30" fmla="*/ 7580 w 10036"/>
                  <a:gd name="connsiteY30" fmla="*/ 6000 h 9640"/>
                  <a:gd name="connsiteX31" fmla="*/ 7404 w 10036"/>
                  <a:gd name="connsiteY31" fmla="*/ 4250 h 9640"/>
                  <a:gd name="connsiteX32" fmla="*/ 8282 w 10036"/>
                  <a:gd name="connsiteY32" fmla="*/ 4000 h 9640"/>
                  <a:gd name="connsiteX33" fmla="*/ 9334 w 10036"/>
                  <a:gd name="connsiteY33" fmla="*/ 3250 h 9640"/>
                  <a:gd name="connsiteX34" fmla="*/ 9685 w 10036"/>
                  <a:gd name="connsiteY34" fmla="*/ 2250 h 9640"/>
                  <a:gd name="connsiteX35" fmla="*/ 10036 w 10036"/>
                  <a:gd name="connsiteY35" fmla="*/ 2500 h 9640"/>
                  <a:gd name="connsiteX36" fmla="*/ 10036 w 10036"/>
                  <a:gd name="connsiteY36" fmla="*/ 2500 h 9640"/>
                  <a:gd name="connsiteX0" fmla="*/ 10246 w 10246"/>
                  <a:gd name="connsiteY0" fmla="*/ 2593 h 9999"/>
                  <a:gd name="connsiteX1" fmla="*/ 9896 w 10246"/>
                  <a:gd name="connsiteY1" fmla="*/ 1037 h 9999"/>
                  <a:gd name="connsiteX2" fmla="*/ 9372 w 10246"/>
                  <a:gd name="connsiteY2" fmla="*/ 0 h 9999"/>
                  <a:gd name="connsiteX3" fmla="*/ 8847 w 10246"/>
                  <a:gd name="connsiteY3" fmla="*/ 259 h 9999"/>
                  <a:gd name="connsiteX4" fmla="*/ 9022 w 10246"/>
                  <a:gd name="connsiteY4" fmla="*/ 1815 h 9999"/>
                  <a:gd name="connsiteX5" fmla="*/ 8149 w 10246"/>
                  <a:gd name="connsiteY5" fmla="*/ 1037 h 9999"/>
                  <a:gd name="connsiteX6" fmla="*/ 7449 w 10246"/>
                  <a:gd name="connsiteY6" fmla="*/ 1556 h 9999"/>
                  <a:gd name="connsiteX7" fmla="*/ 6750 w 10246"/>
                  <a:gd name="connsiteY7" fmla="*/ 1815 h 9999"/>
                  <a:gd name="connsiteX8" fmla="*/ 5701 w 10246"/>
                  <a:gd name="connsiteY8" fmla="*/ 1815 h 9999"/>
                  <a:gd name="connsiteX9" fmla="*/ 4827 w 10246"/>
                  <a:gd name="connsiteY9" fmla="*/ 2593 h 9999"/>
                  <a:gd name="connsiteX10" fmla="*/ 4128 w 10246"/>
                  <a:gd name="connsiteY10" fmla="*/ 3371 h 9999"/>
                  <a:gd name="connsiteX11" fmla="*/ 2729 w 10246"/>
                  <a:gd name="connsiteY11" fmla="*/ 2853 h 9999"/>
                  <a:gd name="connsiteX12" fmla="*/ 1681 w 10246"/>
                  <a:gd name="connsiteY12" fmla="*/ 2593 h 9999"/>
                  <a:gd name="connsiteX13" fmla="*/ 632 w 10246"/>
                  <a:gd name="connsiteY13" fmla="*/ 3631 h 9999"/>
                  <a:gd name="connsiteX14" fmla="*/ 981 w 10246"/>
                  <a:gd name="connsiteY14" fmla="*/ 4409 h 9999"/>
                  <a:gd name="connsiteX15" fmla="*/ 1505 w 10246"/>
                  <a:gd name="connsiteY15" fmla="*/ 4927 h 9999"/>
                  <a:gd name="connsiteX16" fmla="*/ 63 w 10246"/>
                  <a:gd name="connsiteY16" fmla="*/ 5063 h 9999"/>
                  <a:gd name="connsiteX17" fmla="*/ 246 w 10246"/>
                  <a:gd name="connsiteY17" fmla="*/ 5705 h 9999"/>
                  <a:gd name="connsiteX18" fmla="*/ 1156 w 10246"/>
                  <a:gd name="connsiteY18" fmla="*/ 7002 h 9999"/>
                  <a:gd name="connsiteX19" fmla="*/ 1505 w 10246"/>
                  <a:gd name="connsiteY19" fmla="*/ 7780 h 9999"/>
                  <a:gd name="connsiteX20" fmla="*/ 1681 w 10246"/>
                  <a:gd name="connsiteY20" fmla="*/ 8817 h 9999"/>
                  <a:gd name="connsiteX21" fmla="*/ 981 w 10246"/>
                  <a:gd name="connsiteY21" fmla="*/ 9595 h 9999"/>
                  <a:gd name="connsiteX22" fmla="*/ 1156 w 10246"/>
                  <a:gd name="connsiteY22" fmla="*/ 9595 h 9999"/>
                  <a:gd name="connsiteX23" fmla="*/ 2379 w 10246"/>
                  <a:gd name="connsiteY23" fmla="*/ 9595 h 9999"/>
                  <a:gd name="connsiteX24" fmla="*/ 3429 w 10246"/>
                  <a:gd name="connsiteY24" fmla="*/ 9336 h 9999"/>
                  <a:gd name="connsiteX25" fmla="*/ 4302 w 10246"/>
                  <a:gd name="connsiteY25" fmla="*/ 8558 h 9999"/>
                  <a:gd name="connsiteX26" fmla="*/ 4652 w 10246"/>
                  <a:gd name="connsiteY26" fmla="*/ 8817 h 9999"/>
                  <a:gd name="connsiteX27" fmla="*/ 5526 w 10246"/>
                  <a:gd name="connsiteY27" fmla="*/ 9336 h 9999"/>
                  <a:gd name="connsiteX28" fmla="*/ 6575 w 10246"/>
                  <a:gd name="connsiteY28" fmla="*/ 9855 h 9999"/>
                  <a:gd name="connsiteX29" fmla="*/ 6750 w 10246"/>
                  <a:gd name="connsiteY29" fmla="*/ 8039 h 9999"/>
                  <a:gd name="connsiteX30" fmla="*/ 7449 w 10246"/>
                  <a:gd name="connsiteY30" fmla="*/ 7261 h 9999"/>
                  <a:gd name="connsiteX31" fmla="*/ 7799 w 10246"/>
                  <a:gd name="connsiteY31" fmla="*/ 6224 h 9999"/>
                  <a:gd name="connsiteX32" fmla="*/ 7623 w 10246"/>
                  <a:gd name="connsiteY32" fmla="*/ 4409 h 9999"/>
                  <a:gd name="connsiteX33" fmla="*/ 8498 w 10246"/>
                  <a:gd name="connsiteY33" fmla="*/ 4149 h 9999"/>
                  <a:gd name="connsiteX34" fmla="*/ 9547 w 10246"/>
                  <a:gd name="connsiteY34" fmla="*/ 3371 h 9999"/>
                  <a:gd name="connsiteX35" fmla="*/ 9896 w 10246"/>
                  <a:gd name="connsiteY35" fmla="*/ 2334 h 9999"/>
                  <a:gd name="connsiteX36" fmla="*/ 10246 w 10246"/>
                  <a:gd name="connsiteY36" fmla="*/ 2593 h 9999"/>
                  <a:gd name="connsiteX37" fmla="*/ 10246 w 10246"/>
                  <a:gd name="connsiteY37" fmla="*/ 2593 h 9999"/>
                  <a:gd name="connsiteX0" fmla="*/ 10000 w 10000"/>
                  <a:gd name="connsiteY0" fmla="*/ 2593 h 10000"/>
                  <a:gd name="connsiteX1" fmla="*/ 9658 w 10000"/>
                  <a:gd name="connsiteY1" fmla="*/ 1037 h 10000"/>
                  <a:gd name="connsiteX2" fmla="*/ 9147 w 10000"/>
                  <a:gd name="connsiteY2" fmla="*/ 0 h 10000"/>
                  <a:gd name="connsiteX3" fmla="*/ 8635 w 10000"/>
                  <a:gd name="connsiteY3" fmla="*/ 259 h 10000"/>
                  <a:gd name="connsiteX4" fmla="*/ 8805 w 10000"/>
                  <a:gd name="connsiteY4" fmla="*/ 1815 h 10000"/>
                  <a:gd name="connsiteX5" fmla="*/ 7953 w 10000"/>
                  <a:gd name="connsiteY5" fmla="*/ 1037 h 10000"/>
                  <a:gd name="connsiteX6" fmla="*/ 7270 w 10000"/>
                  <a:gd name="connsiteY6" fmla="*/ 1556 h 10000"/>
                  <a:gd name="connsiteX7" fmla="*/ 6588 w 10000"/>
                  <a:gd name="connsiteY7" fmla="*/ 1815 h 10000"/>
                  <a:gd name="connsiteX8" fmla="*/ 5564 w 10000"/>
                  <a:gd name="connsiteY8" fmla="*/ 1815 h 10000"/>
                  <a:gd name="connsiteX9" fmla="*/ 4711 w 10000"/>
                  <a:gd name="connsiteY9" fmla="*/ 2593 h 10000"/>
                  <a:gd name="connsiteX10" fmla="*/ 4029 w 10000"/>
                  <a:gd name="connsiteY10" fmla="*/ 3371 h 10000"/>
                  <a:gd name="connsiteX11" fmla="*/ 2663 w 10000"/>
                  <a:gd name="connsiteY11" fmla="*/ 2853 h 10000"/>
                  <a:gd name="connsiteX12" fmla="*/ 1641 w 10000"/>
                  <a:gd name="connsiteY12" fmla="*/ 2593 h 10000"/>
                  <a:gd name="connsiteX13" fmla="*/ 617 w 10000"/>
                  <a:gd name="connsiteY13" fmla="*/ 3631 h 10000"/>
                  <a:gd name="connsiteX14" fmla="*/ 479 w 10000"/>
                  <a:gd name="connsiteY14" fmla="*/ 4409 h 10000"/>
                  <a:gd name="connsiteX15" fmla="*/ 1469 w 10000"/>
                  <a:gd name="connsiteY15" fmla="*/ 4927 h 10000"/>
                  <a:gd name="connsiteX16" fmla="*/ 61 w 10000"/>
                  <a:gd name="connsiteY16" fmla="*/ 5064 h 10000"/>
                  <a:gd name="connsiteX17" fmla="*/ 240 w 10000"/>
                  <a:gd name="connsiteY17" fmla="*/ 5706 h 10000"/>
                  <a:gd name="connsiteX18" fmla="*/ 1128 w 10000"/>
                  <a:gd name="connsiteY18" fmla="*/ 7003 h 10000"/>
                  <a:gd name="connsiteX19" fmla="*/ 1469 w 10000"/>
                  <a:gd name="connsiteY19" fmla="*/ 7781 h 10000"/>
                  <a:gd name="connsiteX20" fmla="*/ 1641 w 10000"/>
                  <a:gd name="connsiteY20" fmla="*/ 8818 h 10000"/>
                  <a:gd name="connsiteX21" fmla="*/ 957 w 10000"/>
                  <a:gd name="connsiteY21" fmla="*/ 9596 h 10000"/>
                  <a:gd name="connsiteX22" fmla="*/ 1128 w 10000"/>
                  <a:gd name="connsiteY22" fmla="*/ 9596 h 10000"/>
                  <a:gd name="connsiteX23" fmla="*/ 2322 w 10000"/>
                  <a:gd name="connsiteY23" fmla="*/ 9596 h 10000"/>
                  <a:gd name="connsiteX24" fmla="*/ 3347 w 10000"/>
                  <a:gd name="connsiteY24" fmla="*/ 9337 h 10000"/>
                  <a:gd name="connsiteX25" fmla="*/ 4199 w 10000"/>
                  <a:gd name="connsiteY25" fmla="*/ 8559 h 10000"/>
                  <a:gd name="connsiteX26" fmla="*/ 4540 w 10000"/>
                  <a:gd name="connsiteY26" fmla="*/ 8818 h 10000"/>
                  <a:gd name="connsiteX27" fmla="*/ 5393 w 10000"/>
                  <a:gd name="connsiteY27" fmla="*/ 9337 h 10000"/>
                  <a:gd name="connsiteX28" fmla="*/ 6417 w 10000"/>
                  <a:gd name="connsiteY28" fmla="*/ 9856 h 10000"/>
                  <a:gd name="connsiteX29" fmla="*/ 6588 w 10000"/>
                  <a:gd name="connsiteY29" fmla="*/ 8040 h 10000"/>
                  <a:gd name="connsiteX30" fmla="*/ 7270 w 10000"/>
                  <a:gd name="connsiteY30" fmla="*/ 7262 h 10000"/>
                  <a:gd name="connsiteX31" fmla="*/ 7612 w 10000"/>
                  <a:gd name="connsiteY31" fmla="*/ 6225 h 10000"/>
                  <a:gd name="connsiteX32" fmla="*/ 7440 w 10000"/>
                  <a:gd name="connsiteY32" fmla="*/ 4409 h 10000"/>
                  <a:gd name="connsiteX33" fmla="*/ 8294 w 10000"/>
                  <a:gd name="connsiteY33" fmla="*/ 4149 h 10000"/>
                  <a:gd name="connsiteX34" fmla="*/ 9318 w 10000"/>
                  <a:gd name="connsiteY34" fmla="*/ 3371 h 10000"/>
                  <a:gd name="connsiteX35" fmla="*/ 9658 w 10000"/>
                  <a:gd name="connsiteY35" fmla="*/ 2334 h 10000"/>
                  <a:gd name="connsiteX36" fmla="*/ 10000 w 10000"/>
                  <a:gd name="connsiteY36" fmla="*/ 2593 h 10000"/>
                  <a:gd name="connsiteX37" fmla="*/ 10000 w 10000"/>
                  <a:gd name="connsiteY37" fmla="*/ 2593 h 10000"/>
                  <a:gd name="connsiteX0" fmla="*/ 10000 w 10000"/>
                  <a:gd name="connsiteY0" fmla="*/ 2593 h 10000"/>
                  <a:gd name="connsiteX1" fmla="*/ 9658 w 10000"/>
                  <a:gd name="connsiteY1" fmla="*/ 1037 h 10000"/>
                  <a:gd name="connsiteX2" fmla="*/ 9147 w 10000"/>
                  <a:gd name="connsiteY2" fmla="*/ 0 h 10000"/>
                  <a:gd name="connsiteX3" fmla="*/ 8635 w 10000"/>
                  <a:gd name="connsiteY3" fmla="*/ 259 h 10000"/>
                  <a:gd name="connsiteX4" fmla="*/ 8805 w 10000"/>
                  <a:gd name="connsiteY4" fmla="*/ 1815 h 10000"/>
                  <a:gd name="connsiteX5" fmla="*/ 7953 w 10000"/>
                  <a:gd name="connsiteY5" fmla="*/ 1037 h 10000"/>
                  <a:gd name="connsiteX6" fmla="*/ 7270 w 10000"/>
                  <a:gd name="connsiteY6" fmla="*/ 1556 h 10000"/>
                  <a:gd name="connsiteX7" fmla="*/ 6588 w 10000"/>
                  <a:gd name="connsiteY7" fmla="*/ 1815 h 10000"/>
                  <a:gd name="connsiteX8" fmla="*/ 5564 w 10000"/>
                  <a:gd name="connsiteY8" fmla="*/ 1815 h 10000"/>
                  <a:gd name="connsiteX9" fmla="*/ 4711 w 10000"/>
                  <a:gd name="connsiteY9" fmla="*/ 2593 h 10000"/>
                  <a:gd name="connsiteX10" fmla="*/ 4029 w 10000"/>
                  <a:gd name="connsiteY10" fmla="*/ 3371 h 10000"/>
                  <a:gd name="connsiteX11" fmla="*/ 2663 w 10000"/>
                  <a:gd name="connsiteY11" fmla="*/ 2853 h 10000"/>
                  <a:gd name="connsiteX12" fmla="*/ 1641 w 10000"/>
                  <a:gd name="connsiteY12" fmla="*/ 2593 h 10000"/>
                  <a:gd name="connsiteX13" fmla="*/ 617 w 10000"/>
                  <a:gd name="connsiteY13" fmla="*/ 3631 h 10000"/>
                  <a:gd name="connsiteX14" fmla="*/ 479 w 10000"/>
                  <a:gd name="connsiteY14" fmla="*/ 4409 h 10000"/>
                  <a:gd name="connsiteX15" fmla="*/ 61 w 10000"/>
                  <a:gd name="connsiteY15" fmla="*/ 5064 h 10000"/>
                  <a:gd name="connsiteX16" fmla="*/ 240 w 10000"/>
                  <a:gd name="connsiteY16" fmla="*/ 5706 h 10000"/>
                  <a:gd name="connsiteX17" fmla="*/ 1128 w 10000"/>
                  <a:gd name="connsiteY17" fmla="*/ 7003 h 10000"/>
                  <a:gd name="connsiteX18" fmla="*/ 1469 w 10000"/>
                  <a:gd name="connsiteY18" fmla="*/ 7781 h 10000"/>
                  <a:gd name="connsiteX19" fmla="*/ 1641 w 10000"/>
                  <a:gd name="connsiteY19" fmla="*/ 8818 h 10000"/>
                  <a:gd name="connsiteX20" fmla="*/ 957 w 10000"/>
                  <a:gd name="connsiteY20" fmla="*/ 9596 h 10000"/>
                  <a:gd name="connsiteX21" fmla="*/ 1128 w 10000"/>
                  <a:gd name="connsiteY21" fmla="*/ 9596 h 10000"/>
                  <a:gd name="connsiteX22" fmla="*/ 2322 w 10000"/>
                  <a:gd name="connsiteY22" fmla="*/ 9596 h 10000"/>
                  <a:gd name="connsiteX23" fmla="*/ 3347 w 10000"/>
                  <a:gd name="connsiteY23" fmla="*/ 9337 h 10000"/>
                  <a:gd name="connsiteX24" fmla="*/ 4199 w 10000"/>
                  <a:gd name="connsiteY24" fmla="*/ 8559 h 10000"/>
                  <a:gd name="connsiteX25" fmla="*/ 4540 w 10000"/>
                  <a:gd name="connsiteY25" fmla="*/ 8818 h 10000"/>
                  <a:gd name="connsiteX26" fmla="*/ 5393 w 10000"/>
                  <a:gd name="connsiteY26" fmla="*/ 9337 h 10000"/>
                  <a:gd name="connsiteX27" fmla="*/ 6417 w 10000"/>
                  <a:gd name="connsiteY27" fmla="*/ 9856 h 10000"/>
                  <a:gd name="connsiteX28" fmla="*/ 6588 w 10000"/>
                  <a:gd name="connsiteY28" fmla="*/ 8040 h 10000"/>
                  <a:gd name="connsiteX29" fmla="*/ 7270 w 10000"/>
                  <a:gd name="connsiteY29" fmla="*/ 7262 h 10000"/>
                  <a:gd name="connsiteX30" fmla="*/ 7612 w 10000"/>
                  <a:gd name="connsiteY30" fmla="*/ 6225 h 10000"/>
                  <a:gd name="connsiteX31" fmla="*/ 7440 w 10000"/>
                  <a:gd name="connsiteY31" fmla="*/ 4409 h 10000"/>
                  <a:gd name="connsiteX32" fmla="*/ 8294 w 10000"/>
                  <a:gd name="connsiteY32" fmla="*/ 4149 h 10000"/>
                  <a:gd name="connsiteX33" fmla="*/ 9318 w 10000"/>
                  <a:gd name="connsiteY33" fmla="*/ 3371 h 10000"/>
                  <a:gd name="connsiteX34" fmla="*/ 9658 w 10000"/>
                  <a:gd name="connsiteY34" fmla="*/ 2334 h 10000"/>
                  <a:gd name="connsiteX35" fmla="*/ 10000 w 10000"/>
                  <a:gd name="connsiteY35" fmla="*/ 2593 h 10000"/>
                  <a:gd name="connsiteX36" fmla="*/ 10000 w 10000"/>
                  <a:gd name="connsiteY36" fmla="*/ 259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000" h="10000">
                    <a:moveTo>
                      <a:pt x="10000" y="2593"/>
                    </a:moveTo>
                    <a:cubicBezTo>
                      <a:pt x="9830" y="2334"/>
                      <a:pt x="9830" y="1556"/>
                      <a:pt x="9658" y="1037"/>
                    </a:cubicBezTo>
                    <a:cubicBezTo>
                      <a:pt x="9489" y="519"/>
                      <a:pt x="9318" y="259"/>
                      <a:pt x="9147" y="0"/>
                    </a:cubicBezTo>
                    <a:cubicBezTo>
                      <a:pt x="9147" y="0"/>
                      <a:pt x="8635" y="0"/>
                      <a:pt x="8635" y="259"/>
                    </a:cubicBezTo>
                    <a:cubicBezTo>
                      <a:pt x="8465" y="778"/>
                      <a:pt x="8976" y="1815"/>
                      <a:pt x="8805" y="1815"/>
                    </a:cubicBezTo>
                    <a:cubicBezTo>
                      <a:pt x="8465" y="1556"/>
                      <a:pt x="8123" y="1037"/>
                      <a:pt x="7953" y="1037"/>
                    </a:cubicBezTo>
                    <a:cubicBezTo>
                      <a:pt x="7612" y="1037"/>
                      <a:pt x="7440" y="1297"/>
                      <a:pt x="7270" y="1556"/>
                    </a:cubicBezTo>
                    <a:cubicBezTo>
                      <a:pt x="7100" y="1815"/>
                      <a:pt x="6759" y="1815"/>
                      <a:pt x="6588" y="1815"/>
                    </a:cubicBezTo>
                    <a:cubicBezTo>
                      <a:pt x="6417" y="1556"/>
                      <a:pt x="5735" y="1556"/>
                      <a:pt x="5564" y="1815"/>
                    </a:cubicBezTo>
                    <a:cubicBezTo>
                      <a:pt x="5224" y="2075"/>
                      <a:pt x="4882" y="2334"/>
                      <a:pt x="4711" y="2593"/>
                    </a:cubicBezTo>
                    <a:cubicBezTo>
                      <a:pt x="4540" y="2853"/>
                      <a:pt x="4370" y="3371"/>
                      <a:pt x="4029" y="3371"/>
                    </a:cubicBezTo>
                    <a:cubicBezTo>
                      <a:pt x="3687" y="3371"/>
                      <a:pt x="3005" y="3112"/>
                      <a:pt x="2663" y="2853"/>
                    </a:cubicBezTo>
                    <a:cubicBezTo>
                      <a:pt x="2322" y="2593"/>
                      <a:pt x="1981" y="2593"/>
                      <a:pt x="1641" y="2593"/>
                    </a:cubicBezTo>
                    <a:cubicBezTo>
                      <a:pt x="1299" y="2853"/>
                      <a:pt x="811" y="3328"/>
                      <a:pt x="617" y="3631"/>
                    </a:cubicBezTo>
                    <a:cubicBezTo>
                      <a:pt x="423" y="3934"/>
                      <a:pt x="139" y="4409"/>
                      <a:pt x="479" y="4409"/>
                    </a:cubicBezTo>
                    <a:cubicBezTo>
                      <a:pt x="386" y="4648"/>
                      <a:pt x="101" y="4848"/>
                      <a:pt x="61" y="5064"/>
                    </a:cubicBezTo>
                    <a:cubicBezTo>
                      <a:pt x="-143" y="5194"/>
                      <a:pt x="222" y="5403"/>
                      <a:pt x="240" y="5706"/>
                    </a:cubicBezTo>
                    <a:cubicBezTo>
                      <a:pt x="410" y="6225"/>
                      <a:pt x="1128" y="6744"/>
                      <a:pt x="1128" y="7003"/>
                    </a:cubicBezTo>
                    <a:cubicBezTo>
                      <a:pt x="1299" y="7262"/>
                      <a:pt x="1299" y="7781"/>
                      <a:pt x="1469" y="7781"/>
                    </a:cubicBezTo>
                    <a:cubicBezTo>
                      <a:pt x="1810" y="8040"/>
                      <a:pt x="1810" y="8559"/>
                      <a:pt x="1641" y="8818"/>
                    </a:cubicBezTo>
                    <a:cubicBezTo>
                      <a:pt x="1299" y="8818"/>
                      <a:pt x="957" y="9596"/>
                      <a:pt x="957" y="9596"/>
                    </a:cubicBezTo>
                    <a:lnTo>
                      <a:pt x="1128" y="9596"/>
                    </a:lnTo>
                    <a:cubicBezTo>
                      <a:pt x="1299" y="9596"/>
                      <a:pt x="2152" y="9856"/>
                      <a:pt x="2322" y="9596"/>
                    </a:cubicBezTo>
                    <a:cubicBezTo>
                      <a:pt x="2663" y="9337"/>
                      <a:pt x="3005" y="9337"/>
                      <a:pt x="3347" y="9337"/>
                    </a:cubicBezTo>
                    <a:cubicBezTo>
                      <a:pt x="3516" y="9337"/>
                      <a:pt x="4199" y="8818"/>
                      <a:pt x="4199" y="8559"/>
                    </a:cubicBezTo>
                    <a:cubicBezTo>
                      <a:pt x="4199" y="8040"/>
                      <a:pt x="4370" y="8300"/>
                      <a:pt x="4540" y="8818"/>
                    </a:cubicBezTo>
                    <a:cubicBezTo>
                      <a:pt x="4711" y="9337"/>
                      <a:pt x="5224" y="9337"/>
                      <a:pt x="5393" y="9337"/>
                    </a:cubicBezTo>
                    <a:cubicBezTo>
                      <a:pt x="5735" y="9337"/>
                      <a:pt x="6246" y="10374"/>
                      <a:pt x="6417" y="9856"/>
                    </a:cubicBezTo>
                    <a:cubicBezTo>
                      <a:pt x="6417" y="9337"/>
                      <a:pt x="6759" y="8559"/>
                      <a:pt x="6588" y="8040"/>
                    </a:cubicBezTo>
                    <a:cubicBezTo>
                      <a:pt x="6417" y="7522"/>
                      <a:pt x="6929" y="7522"/>
                      <a:pt x="7270" y="7262"/>
                    </a:cubicBezTo>
                    <a:cubicBezTo>
                      <a:pt x="7440" y="7003"/>
                      <a:pt x="7612" y="6744"/>
                      <a:pt x="7612" y="6225"/>
                    </a:cubicBezTo>
                    <a:cubicBezTo>
                      <a:pt x="7440" y="5706"/>
                      <a:pt x="7270" y="4668"/>
                      <a:pt x="7440" y="4409"/>
                    </a:cubicBezTo>
                    <a:cubicBezTo>
                      <a:pt x="7612" y="4409"/>
                      <a:pt x="8123" y="4409"/>
                      <a:pt x="8294" y="4149"/>
                    </a:cubicBezTo>
                    <a:cubicBezTo>
                      <a:pt x="8635" y="3631"/>
                      <a:pt x="9147" y="3631"/>
                      <a:pt x="9318" y="3371"/>
                    </a:cubicBezTo>
                    <a:cubicBezTo>
                      <a:pt x="9318" y="3371"/>
                      <a:pt x="9318" y="2334"/>
                      <a:pt x="9658" y="2334"/>
                    </a:cubicBezTo>
                    <a:cubicBezTo>
                      <a:pt x="9830" y="2334"/>
                      <a:pt x="10000" y="2593"/>
                      <a:pt x="10000" y="2593"/>
                    </a:cubicBezTo>
                    <a:lnTo>
                      <a:pt x="10000" y="2593"/>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2" name="Freeform 211"/>
              <p:cNvSpPr>
                <a:spLocks/>
              </p:cNvSpPr>
              <p:nvPr>
                <p:custDataLst>
                  <p:tags r:id="rId125"/>
                </p:custDataLst>
              </p:nvPr>
            </p:nvSpPr>
            <p:spPr bwMode="gray">
              <a:xfrm>
                <a:off x="5175825" y="4054582"/>
                <a:ext cx="145249" cy="208203"/>
              </a:xfrm>
              <a:custGeom>
                <a:avLst/>
                <a:gdLst>
                  <a:gd name="T0" fmla="*/ 28 w 31"/>
                  <a:gd name="T1" fmla="*/ 19 h 45"/>
                  <a:gd name="T2" fmla="*/ 31 w 31"/>
                  <a:gd name="T3" fmla="*/ 16 h 45"/>
                  <a:gd name="T4" fmla="*/ 31 w 31"/>
                  <a:gd name="T5" fmla="*/ 13 h 45"/>
                  <a:gd name="T6" fmla="*/ 18 w 31"/>
                  <a:gd name="T7" fmla="*/ 5 h 45"/>
                  <a:gd name="T8" fmla="*/ 12 w 31"/>
                  <a:gd name="T9" fmla="*/ 1 h 45"/>
                  <a:gd name="T10" fmla="*/ 9 w 31"/>
                  <a:gd name="T11" fmla="*/ 2 h 45"/>
                  <a:gd name="T12" fmla="*/ 10 w 31"/>
                  <a:gd name="T13" fmla="*/ 7 h 45"/>
                  <a:gd name="T14" fmla="*/ 7 w 31"/>
                  <a:gd name="T15" fmla="*/ 6 h 45"/>
                  <a:gd name="T16" fmla="*/ 4 w 31"/>
                  <a:gd name="T17" fmla="*/ 11 h 45"/>
                  <a:gd name="T18" fmla="*/ 1 w 31"/>
                  <a:gd name="T19" fmla="*/ 14 h 45"/>
                  <a:gd name="T20" fmla="*/ 0 w 31"/>
                  <a:gd name="T21" fmla="*/ 19 h 45"/>
                  <a:gd name="T22" fmla="*/ 2 w 31"/>
                  <a:gd name="T23" fmla="*/ 24 h 45"/>
                  <a:gd name="T24" fmla="*/ 1 w 31"/>
                  <a:gd name="T25" fmla="*/ 27 h 45"/>
                  <a:gd name="T26" fmla="*/ 2 w 31"/>
                  <a:gd name="T27" fmla="*/ 30 h 45"/>
                  <a:gd name="T28" fmla="*/ 6 w 31"/>
                  <a:gd name="T29" fmla="*/ 30 h 45"/>
                  <a:gd name="T30" fmla="*/ 5 w 31"/>
                  <a:gd name="T31" fmla="*/ 31 h 45"/>
                  <a:gd name="T32" fmla="*/ 6 w 31"/>
                  <a:gd name="T33" fmla="*/ 33 h 45"/>
                  <a:gd name="T34" fmla="*/ 9 w 31"/>
                  <a:gd name="T35" fmla="*/ 35 h 45"/>
                  <a:gd name="T36" fmla="*/ 13 w 31"/>
                  <a:gd name="T37" fmla="*/ 39 h 45"/>
                  <a:gd name="T38" fmla="*/ 15 w 31"/>
                  <a:gd name="T39" fmla="*/ 43 h 45"/>
                  <a:gd name="T40" fmla="*/ 18 w 31"/>
                  <a:gd name="T41" fmla="*/ 45 h 45"/>
                  <a:gd name="T42" fmla="*/ 18 w 31"/>
                  <a:gd name="T43" fmla="*/ 41 h 45"/>
                  <a:gd name="T44" fmla="*/ 19 w 31"/>
                  <a:gd name="T45" fmla="*/ 32 h 45"/>
                  <a:gd name="T46" fmla="*/ 22 w 31"/>
                  <a:gd name="T47" fmla="*/ 25 h 45"/>
                  <a:gd name="T48" fmla="*/ 25 w 31"/>
                  <a:gd name="T49" fmla="*/ 26 h 45"/>
                  <a:gd name="T50" fmla="*/ 29 w 31"/>
                  <a:gd name="T51" fmla="*/ 28 h 45"/>
                  <a:gd name="T52" fmla="*/ 31 w 31"/>
                  <a:gd name="T53" fmla="*/ 24 h 45"/>
                  <a:gd name="T54" fmla="*/ 31 w 31"/>
                  <a:gd name="T55" fmla="*/ 21 h 45"/>
                  <a:gd name="T56" fmla="*/ 28 w 31"/>
                  <a:gd name="T57" fmla="*/ 1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 h="45">
                    <a:moveTo>
                      <a:pt x="28" y="19"/>
                    </a:moveTo>
                    <a:cubicBezTo>
                      <a:pt x="31" y="16"/>
                      <a:pt x="31" y="16"/>
                      <a:pt x="31" y="16"/>
                    </a:cubicBezTo>
                    <a:cubicBezTo>
                      <a:pt x="31" y="13"/>
                      <a:pt x="31" y="13"/>
                      <a:pt x="31" y="13"/>
                    </a:cubicBezTo>
                    <a:cubicBezTo>
                      <a:pt x="18" y="5"/>
                      <a:pt x="18" y="5"/>
                      <a:pt x="18" y="5"/>
                    </a:cubicBezTo>
                    <a:cubicBezTo>
                      <a:pt x="12" y="1"/>
                      <a:pt x="12" y="1"/>
                      <a:pt x="12" y="1"/>
                    </a:cubicBezTo>
                    <a:cubicBezTo>
                      <a:pt x="11" y="1"/>
                      <a:pt x="9" y="0"/>
                      <a:pt x="9" y="2"/>
                    </a:cubicBezTo>
                    <a:cubicBezTo>
                      <a:pt x="9" y="3"/>
                      <a:pt x="10" y="5"/>
                      <a:pt x="10" y="7"/>
                    </a:cubicBezTo>
                    <a:cubicBezTo>
                      <a:pt x="10" y="9"/>
                      <a:pt x="8" y="6"/>
                      <a:pt x="7" y="6"/>
                    </a:cubicBezTo>
                    <a:cubicBezTo>
                      <a:pt x="6" y="7"/>
                      <a:pt x="4" y="8"/>
                      <a:pt x="4" y="11"/>
                    </a:cubicBezTo>
                    <a:cubicBezTo>
                      <a:pt x="3" y="14"/>
                      <a:pt x="3" y="15"/>
                      <a:pt x="1" y="14"/>
                    </a:cubicBezTo>
                    <a:cubicBezTo>
                      <a:pt x="0" y="14"/>
                      <a:pt x="0" y="17"/>
                      <a:pt x="0" y="19"/>
                    </a:cubicBezTo>
                    <a:cubicBezTo>
                      <a:pt x="1" y="21"/>
                      <a:pt x="3" y="23"/>
                      <a:pt x="2" y="24"/>
                    </a:cubicBezTo>
                    <a:cubicBezTo>
                      <a:pt x="2" y="25"/>
                      <a:pt x="1" y="26"/>
                      <a:pt x="1" y="27"/>
                    </a:cubicBezTo>
                    <a:cubicBezTo>
                      <a:pt x="1" y="28"/>
                      <a:pt x="1" y="29"/>
                      <a:pt x="2" y="30"/>
                    </a:cubicBezTo>
                    <a:cubicBezTo>
                      <a:pt x="3" y="30"/>
                      <a:pt x="5" y="29"/>
                      <a:pt x="6" y="30"/>
                    </a:cubicBezTo>
                    <a:cubicBezTo>
                      <a:pt x="8" y="30"/>
                      <a:pt x="6" y="30"/>
                      <a:pt x="5" y="31"/>
                    </a:cubicBezTo>
                    <a:cubicBezTo>
                      <a:pt x="3" y="32"/>
                      <a:pt x="6" y="33"/>
                      <a:pt x="6" y="33"/>
                    </a:cubicBezTo>
                    <a:cubicBezTo>
                      <a:pt x="7" y="34"/>
                      <a:pt x="8" y="34"/>
                      <a:pt x="9" y="35"/>
                    </a:cubicBezTo>
                    <a:cubicBezTo>
                      <a:pt x="11" y="36"/>
                      <a:pt x="12" y="37"/>
                      <a:pt x="13" y="39"/>
                    </a:cubicBezTo>
                    <a:cubicBezTo>
                      <a:pt x="14" y="40"/>
                      <a:pt x="14" y="42"/>
                      <a:pt x="15" y="43"/>
                    </a:cubicBezTo>
                    <a:cubicBezTo>
                      <a:pt x="16" y="44"/>
                      <a:pt x="18" y="45"/>
                      <a:pt x="18" y="45"/>
                    </a:cubicBezTo>
                    <a:cubicBezTo>
                      <a:pt x="18" y="45"/>
                      <a:pt x="18" y="44"/>
                      <a:pt x="18" y="41"/>
                    </a:cubicBezTo>
                    <a:cubicBezTo>
                      <a:pt x="18" y="39"/>
                      <a:pt x="18" y="34"/>
                      <a:pt x="19" y="32"/>
                    </a:cubicBezTo>
                    <a:cubicBezTo>
                      <a:pt x="21" y="29"/>
                      <a:pt x="21" y="28"/>
                      <a:pt x="22" y="25"/>
                    </a:cubicBezTo>
                    <a:cubicBezTo>
                      <a:pt x="24" y="23"/>
                      <a:pt x="24" y="24"/>
                      <a:pt x="25" y="26"/>
                    </a:cubicBezTo>
                    <a:cubicBezTo>
                      <a:pt x="25" y="29"/>
                      <a:pt x="26" y="28"/>
                      <a:pt x="29" y="28"/>
                    </a:cubicBezTo>
                    <a:cubicBezTo>
                      <a:pt x="31" y="27"/>
                      <a:pt x="30" y="26"/>
                      <a:pt x="31" y="24"/>
                    </a:cubicBezTo>
                    <a:cubicBezTo>
                      <a:pt x="31" y="21"/>
                      <a:pt x="31" y="21"/>
                      <a:pt x="31" y="21"/>
                    </a:cubicBezTo>
                    <a:lnTo>
                      <a:pt x="28" y="19"/>
                    </a:ln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3" name="Freeform 212"/>
              <p:cNvSpPr>
                <a:spLocks/>
              </p:cNvSpPr>
              <p:nvPr>
                <p:custDataLst>
                  <p:tags r:id="rId126"/>
                </p:custDataLst>
              </p:nvPr>
            </p:nvSpPr>
            <p:spPr bwMode="gray">
              <a:xfrm>
                <a:off x="5195308" y="3721704"/>
                <a:ext cx="371935" cy="493842"/>
              </a:xfrm>
              <a:custGeom>
                <a:avLst/>
                <a:gdLst>
                  <a:gd name="T0" fmla="*/ 74 w 81"/>
                  <a:gd name="T1" fmla="*/ 72 h 103"/>
                  <a:gd name="T2" fmla="*/ 68 w 81"/>
                  <a:gd name="T3" fmla="*/ 61 h 103"/>
                  <a:gd name="T4" fmla="*/ 72 w 81"/>
                  <a:gd name="T5" fmla="*/ 50 h 103"/>
                  <a:gd name="T6" fmla="*/ 73 w 81"/>
                  <a:gd name="T7" fmla="*/ 41 h 103"/>
                  <a:gd name="T8" fmla="*/ 63 w 81"/>
                  <a:gd name="T9" fmla="*/ 43 h 103"/>
                  <a:gd name="T10" fmla="*/ 55 w 81"/>
                  <a:gd name="T11" fmla="*/ 40 h 103"/>
                  <a:gd name="T12" fmla="*/ 49 w 81"/>
                  <a:gd name="T13" fmla="*/ 34 h 103"/>
                  <a:gd name="T14" fmla="*/ 48 w 81"/>
                  <a:gd name="T15" fmla="*/ 27 h 103"/>
                  <a:gd name="T16" fmla="*/ 38 w 81"/>
                  <a:gd name="T17" fmla="*/ 18 h 103"/>
                  <a:gd name="T18" fmla="*/ 35 w 81"/>
                  <a:gd name="T19" fmla="*/ 9 h 103"/>
                  <a:gd name="T20" fmla="*/ 27 w 81"/>
                  <a:gd name="T21" fmla="*/ 2 h 103"/>
                  <a:gd name="T22" fmla="*/ 15 w 81"/>
                  <a:gd name="T23" fmla="*/ 0 h 103"/>
                  <a:gd name="T24" fmla="*/ 5 w 81"/>
                  <a:gd name="T25" fmla="*/ 4 h 103"/>
                  <a:gd name="T26" fmla="*/ 2 w 81"/>
                  <a:gd name="T27" fmla="*/ 11 h 103"/>
                  <a:gd name="T28" fmla="*/ 4 w 81"/>
                  <a:gd name="T29" fmla="*/ 17 h 103"/>
                  <a:gd name="T30" fmla="*/ 10 w 81"/>
                  <a:gd name="T31" fmla="*/ 25 h 103"/>
                  <a:gd name="T32" fmla="*/ 6 w 81"/>
                  <a:gd name="T33" fmla="*/ 32 h 103"/>
                  <a:gd name="T34" fmla="*/ 10 w 81"/>
                  <a:gd name="T35" fmla="*/ 35 h 103"/>
                  <a:gd name="T36" fmla="*/ 10 w 81"/>
                  <a:gd name="T37" fmla="*/ 49 h 103"/>
                  <a:gd name="T38" fmla="*/ 16 w 81"/>
                  <a:gd name="T39" fmla="*/ 56 h 103"/>
                  <a:gd name="T40" fmla="*/ 11 w 81"/>
                  <a:gd name="T41" fmla="*/ 59 h 103"/>
                  <a:gd name="T42" fmla="*/ 12 w 81"/>
                  <a:gd name="T43" fmla="*/ 67 h 103"/>
                  <a:gd name="T44" fmla="*/ 14 w 81"/>
                  <a:gd name="T45" fmla="*/ 73 h 103"/>
                  <a:gd name="T46" fmla="*/ 27 w 81"/>
                  <a:gd name="T47" fmla="*/ 84 h 103"/>
                  <a:gd name="T48" fmla="*/ 30 w 81"/>
                  <a:gd name="T49" fmla="*/ 81 h 103"/>
                  <a:gd name="T50" fmla="*/ 31 w 81"/>
                  <a:gd name="T51" fmla="*/ 75 h 103"/>
                  <a:gd name="T52" fmla="*/ 34 w 81"/>
                  <a:gd name="T53" fmla="*/ 74 h 103"/>
                  <a:gd name="T54" fmla="*/ 34 w 81"/>
                  <a:gd name="T55" fmla="*/ 76 h 103"/>
                  <a:gd name="T56" fmla="*/ 38 w 81"/>
                  <a:gd name="T57" fmla="*/ 75 h 103"/>
                  <a:gd name="T58" fmla="*/ 43 w 81"/>
                  <a:gd name="T59" fmla="*/ 79 h 103"/>
                  <a:gd name="T60" fmla="*/ 45 w 81"/>
                  <a:gd name="T61" fmla="*/ 82 h 103"/>
                  <a:gd name="T62" fmla="*/ 48 w 81"/>
                  <a:gd name="T63" fmla="*/ 84 h 103"/>
                  <a:gd name="T64" fmla="*/ 51 w 81"/>
                  <a:gd name="T65" fmla="*/ 91 h 103"/>
                  <a:gd name="T66" fmla="*/ 54 w 81"/>
                  <a:gd name="T67" fmla="*/ 94 h 103"/>
                  <a:gd name="T68" fmla="*/ 52 w 81"/>
                  <a:gd name="T69" fmla="*/ 97 h 103"/>
                  <a:gd name="T70" fmla="*/ 53 w 81"/>
                  <a:gd name="T71" fmla="*/ 100 h 103"/>
                  <a:gd name="T72" fmla="*/ 57 w 81"/>
                  <a:gd name="T73" fmla="*/ 102 h 103"/>
                  <a:gd name="T74" fmla="*/ 64 w 81"/>
                  <a:gd name="T75" fmla="*/ 101 h 103"/>
                  <a:gd name="T76" fmla="*/ 70 w 81"/>
                  <a:gd name="T77" fmla="*/ 102 h 103"/>
                  <a:gd name="T78" fmla="*/ 71 w 81"/>
                  <a:gd name="T79" fmla="*/ 95 h 103"/>
                  <a:gd name="T80" fmla="*/ 75 w 81"/>
                  <a:gd name="T81" fmla="*/ 86 h 103"/>
                  <a:gd name="T82" fmla="*/ 78 w 81"/>
                  <a:gd name="T83" fmla="*/ 76 h 103"/>
                  <a:gd name="connsiteX0" fmla="*/ 9630 w 9858"/>
                  <a:gd name="connsiteY0" fmla="*/ 7379 h 10000"/>
                  <a:gd name="connsiteX1" fmla="*/ 9136 w 9858"/>
                  <a:gd name="connsiteY1" fmla="*/ 6990 h 10000"/>
                  <a:gd name="connsiteX2" fmla="*/ 8642 w 9858"/>
                  <a:gd name="connsiteY2" fmla="*/ 6699 h 10000"/>
                  <a:gd name="connsiteX3" fmla="*/ 8395 w 9858"/>
                  <a:gd name="connsiteY3" fmla="*/ 5922 h 10000"/>
                  <a:gd name="connsiteX4" fmla="*/ 8765 w 9858"/>
                  <a:gd name="connsiteY4" fmla="*/ 5340 h 10000"/>
                  <a:gd name="connsiteX5" fmla="*/ 8889 w 9858"/>
                  <a:gd name="connsiteY5" fmla="*/ 4854 h 10000"/>
                  <a:gd name="connsiteX6" fmla="*/ 8519 w 9858"/>
                  <a:gd name="connsiteY6" fmla="*/ 4272 h 10000"/>
                  <a:gd name="connsiteX7" fmla="*/ 9012 w 9858"/>
                  <a:gd name="connsiteY7" fmla="*/ 3981 h 10000"/>
                  <a:gd name="connsiteX8" fmla="*/ 8519 w 9858"/>
                  <a:gd name="connsiteY8" fmla="*/ 3689 h 10000"/>
                  <a:gd name="connsiteX9" fmla="*/ 7778 w 9858"/>
                  <a:gd name="connsiteY9" fmla="*/ 4175 h 10000"/>
                  <a:gd name="connsiteX10" fmla="*/ 7531 w 9858"/>
                  <a:gd name="connsiteY10" fmla="*/ 3883 h 10000"/>
                  <a:gd name="connsiteX11" fmla="*/ 6790 w 9858"/>
                  <a:gd name="connsiteY11" fmla="*/ 3883 h 10000"/>
                  <a:gd name="connsiteX12" fmla="*/ 6173 w 9858"/>
                  <a:gd name="connsiteY12" fmla="*/ 3495 h 10000"/>
                  <a:gd name="connsiteX13" fmla="*/ 6049 w 9858"/>
                  <a:gd name="connsiteY13" fmla="*/ 3301 h 10000"/>
                  <a:gd name="connsiteX14" fmla="*/ 6049 w 9858"/>
                  <a:gd name="connsiteY14" fmla="*/ 3010 h 10000"/>
                  <a:gd name="connsiteX15" fmla="*/ 5926 w 9858"/>
                  <a:gd name="connsiteY15" fmla="*/ 2621 h 10000"/>
                  <a:gd name="connsiteX16" fmla="*/ 5432 w 9858"/>
                  <a:gd name="connsiteY16" fmla="*/ 2427 h 10000"/>
                  <a:gd name="connsiteX17" fmla="*/ 4691 w 9858"/>
                  <a:gd name="connsiteY17" fmla="*/ 1748 h 10000"/>
                  <a:gd name="connsiteX18" fmla="*/ 4444 w 9858"/>
                  <a:gd name="connsiteY18" fmla="*/ 1165 h 10000"/>
                  <a:gd name="connsiteX19" fmla="*/ 4321 w 9858"/>
                  <a:gd name="connsiteY19" fmla="*/ 874 h 10000"/>
                  <a:gd name="connsiteX20" fmla="*/ 4397 w 9858"/>
                  <a:gd name="connsiteY20" fmla="*/ 260 h 10000"/>
                  <a:gd name="connsiteX21" fmla="*/ 3333 w 9858"/>
                  <a:gd name="connsiteY21" fmla="*/ 194 h 10000"/>
                  <a:gd name="connsiteX22" fmla="*/ 2593 w 9858"/>
                  <a:gd name="connsiteY22" fmla="*/ 0 h 10000"/>
                  <a:gd name="connsiteX23" fmla="*/ 1852 w 9858"/>
                  <a:gd name="connsiteY23" fmla="*/ 0 h 10000"/>
                  <a:gd name="connsiteX24" fmla="*/ 1235 w 9858"/>
                  <a:gd name="connsiteY24" fmla="*/ 291 h 10000"/>
                  <a:gd name="connsiteX25" fmla="*/ 617 w 9858"/>
                  <a:gd name="connsiteY25" fmla="*/ 388 h 10000"/>
                  <a:gd name="connsiteX26" fmla="*/ 0 w 9858"/>
                  <a:gd name="connsiteY26" fmla="*/ 583 h 10000"/>
                  <a:gd name="connsiteX27" fmla="*/ 247 w 9858"/>
                  <a:gd name="connsiteY27" fmla="*/ 1068 h 10000"/>
                  <a:gd name="connsiteX28" fmla="*/ 247 w 9858"/>
                  <a:gd name="connsiteY28" fmla="*/ 1456 h 10000"/>
                  <a:gd name="connsiteX29" fmla="*/ 494 w 9858"/>
                  <a:gd name="connsiteY29" fmla="*/ 1650 h 10000"/>
                  <a:gd name="connsiteX30" fmla="*/ 864 w 9858"/>
                  <a:gd name="connsiteY30" fmla="*/ 2233 h 10000"/>
                  <a:gd name="connsiteX31" fmla="*/ 1235 w 9858"/>
                  <a:gd name="connsiteY31" fmla="*/ 2427 h 10000"/>
                  <a:gd name="connsiteX32" fmla="*/ 741 w 9858"/>
                  <a:gd name="connsiteY32" fmla="*/ 2621 h 10000"/>
                  <a:gd name="connsiteX33" fmla="*/ 741 w 9858"/>
                  <a:gd name="connsiteY33" fmla="*/ 3107 h 10000"/>
                  <a:gd name="connsiteX34" fmla="*/ 988 w 9858"/>
                  <a:gd name="connsiteY34" fmla="*/ 3107 h 10000"/>
                  <a:gd name="connsiteX35" fmla="*/ 1235 w 9858"/>
                  <a:gd name="connsiteY35" fmla="*/ 3398 h 10000"/>
                  <a:gd name="connsiteX36" fmla="*/ 864 w 9858"/>
                  <a:gd name="connsiteY36" fmla="*/ 4369 h 10000"/>
                  <a:gd name="connsiteX37" fmla="*/ 1235 w 9858"/>
                  <a:gd name="connsiteY37" fmla="*/ 4757 h 10000"/>
                  <a:gd name="connsiteX38" fmla="*/ 1605 w 9858"/>
                  <a:gd name="connsiteY38" fmla="*/ 5049 h 10000"/>
                  <a:gd name="connsiteX39" fmla="*/ 1975 w 9858"/>
                  <a:gd name="connsiteY39" fmla="*/ 5437 h 10000"/>
                  <a:gd name="connsiteX40" fmla="*/ 1481 w 9858"/>
                  <a:gd name="connsiteY40" fmla="*/ 5437 h 10000"/>
                  <a:gd name="connsiteX41" fmla="*/ 1358 w 9858"/>
                  <a:gd name="connsiteY41" fmla="*/ 5728 h 10000"/>
                  <a:gd name="connsiteX42" fmla="*/ 1728 w 9858"/>
                  <a:gd name="connsiteY42" fmla="*/ 6214 h 10000"/>
                  <a:gd name="connsiteX43" fmla="*/ 1481 w 9858"/>
                  <a:gd name="connsiteY43" fmla="*/ 6505 h 10000"/>
                  <a:gd name="connsiteX44" fmla="*/ 988 w 9858"/>
                  <a:gd name="connsiteY44" fmla="*/ 6699 h 10000"/>
                  <a:gd name="connsiteX45" fmla="*/ 1728 w 9858"/>
                  <a:gd name="connsiteY45" fmla="*/ 7087 h 10000"/>
                  <a:gd name="connsiteX46" fmla="*/ 3333 w 9858"/>
                  <a:gd name="connsiteY46" fmla="*/ 7864 h 10000"/>
                  <a:gd name="connsiteX47" fmla="*/ 3333 w 9858"/>
                  <a:gd name="connsiteY47" fmla="*/ 8155 h 10000"/>
                  <a:gd name="connsiteX48" fmla="*/ 3827 w 9858"/>
                  <a:gd name="connsiteY48" fmla="*/ 8058 h 10000"/>
                  <a:gd name="connsiteX49" fmla="*/ 3704 w 9858"/>
                  <a:gd name="connsiteY49" fmla="*/ 7864 h 10000"/>
                  <a:gd name="connsiteX50" fmla="*/ 4074 w 9858"/>
                  <a:gd name="connsiteY50" fmla="*/ 7670 h 10000"/>
                  <a:gd name="connsiteX51" fmla="*/ 3827 w 9858"/>
                  <a:gd name="connsiteY51" fmla="*/ 7282 h 10000"/>
                  <a:gd name="connsiteX52" fmla="*/ 4074 w 9858"/>
                  <a:gd name="connsiteY52" fmla="*/ 7087 h 10000"/>
                  <a:gd name="connsiteX53" fmla="*/ 4198 w 9858"/>
                  <a:gd name="connsiteY53" fmla="*/ 7184 h 10000"/>
                  <a:gd name="connsiteX54" fmla="*/ 4321 w 9858"/>
                  <a:gd name="connsiteY54" fmla="*/ 7184 h 10000"/>
                  <a:gd name="connsiteX55" fmla="*/ 4198 w 9858"/>
                  <a:gd name="connsiteY55" fmla="*/ 7379 h 10000"/>
                  <a:gd name="connsiteX56" fmla="*/ 4444 w 9858"/>
                  <a:gd name="connsiteY56" fmla="*/ 7476 h 10000"/>
                  <a:gd name="connsiteX57" fmla="*/ 4691 w 9858"/>
                  <a:gd name="connsiteY57" fmla="*/ 7282 h 10000"/>
                  <a:gd name="connsiteX58" fmla="*/ 5062 w 9858"/>
                  <a:gd name="connsiteY58" fmla="*/ 7379 h 10000"/>
                  <a:gd name="connsiteX59" fmla="*/ 5309 w 9858"/>
                  <a:gd name="connsiteY59" fmla="*/ 7670 h 10000"/>
                  <a:gd name="connsiteX60" fmla="*/ 5556 w 9858"/>
                  <a:gd name="connsiteY60" fmla="*/ 7670 h 10000"/>
                  <a:gd name="connsiteX61" fmla="*/ 5556 w 9858"/>
                  <a:gd name="connsiteY61" fmla="*/ 7961 h 10000"/>
                  <a:gd name="connsiteX62" fmla="*/ 5802 w 9858"/>
                  <a:gd name="connsiteY62" fmla="*/ 8155 h 10000"/>
                  <a:gd name="connsiteX63" fmla="*/ 5926 w 9858"/>
                  <a:gd name="connsiteY63" fmla="*/ 8155 h 10000"/>
                  <a:gd name="connsiteX64" fmla="*/ 5926 w 9858"/>
                  <a:gd name="connsiteY64" fmla="*/ 8544 h 10000"/>
                  <a:gd name="connsiteX65" fmla="*/ 6296 w 9858"/>
                  <a:gd name="connsiteY65" fmla="*/ 8835 h 10000"/>
                  <a:gd name="connsiteX66" fmla="*/ 6667 w 9858"/>
                  <a:gd name="connsiteY66" fmla="*/ 8932 h 10000"/>
                  <a:gd name="connsiteX67" fmla="*/ 6667 w 9858"/>
                  <a:gd name="connsiteY67" fmla="*/ 9126 h 10000"/>
                  <a:gd name="connsiteX68" fmla="*/ 6543 w 9858"/>
                  <a:gd name="connsiteY68" fmla="*/ 9223 h 10000"/>
                  <a:gd name="connsiteX69" fmla="*/ 6420 w 9858"/>
                  <a:gd name="connsiteY69" fmla="*/ 9417 h 10000"/>
                  <a:gd name="connsiteX70" fmla="*/ 6420 w 9858"/>
                  <a:gd name="connsiteY70" fmla="*/ 9612 h 10000"/>
                  <a:gd name="connsiteX71" fmla="*/ 6543 w 9858"/>
                  <a:gd name="connsiteY71" fmla="*/ 9709 h 10000"/>
                  <a:gd name="connsiteX72" fmla="*/ 6667 w 9858"/>
                  <a:gd name="connsiteY72" fmla="*/ 10000 h 10000"/>
                  <a:gd name="connsiteX73" fmla="*/ 7037 w 9858"/>
                  <a:gd name="connsiteY73" fmla="*/ 9903 h 10000"/>
                  <a:gd name="connsiteX74" fmla="*/ 7654 w 9858"/>
                  <a:gd name="connsiteY74" fmla="*/ 9806 h 10000"/>
                  <a:gd name="connsiteX75" fmla="*/ 7901 w 9858"/>
                  <a:gd name="connsiteY75" fmla="*/ 9806 h 10000"/>
                  <a:gd name="connsiteX76" fmla="*/ 8395 w 9858"/>
                  <a:gd name="connsiteY76" fmla="*/ 9709 h 10000"/>
                  <a:gd name="connsiteX77" fmla="*/ 8642 w 9858"/>
                  <a:gd name="connsiteY77" fmla="*/ 9903 h 10000"/>
                  <a:gd name="connsiteX78" fmla="*/ 8889 w 9858"/>
                  <a:gd name="connsiteY78" fmla="*/ 9515 h 10000"/>
                  <a:gd name="connsiteX79" fmla="*/ 8765 w 9858"/>
                  <a:gd name="connsiteY79" fmla="*/ 9223 h 10000"/>
                  <a:gd name="connsiteX80" fmla="*/ 8642 w 9858"/>
                  <a:gd name="connsiteY80" fmla="*/ 8447 h 10000"/>
                  <a:gd name="connsiteX81" fmla="*/ 9259 w 9858"/>
                  <a:gd name="connsiteY81" fmla="*/ 8350 h 10000"/>
                  <a:gd name="connsiteX82" fmla="*/ 9753 w 9858"/>
                  <a:gd name="connsiteY82" fmla="*/ 7864 h 10000"/>
                  <a:gd name="connsiteX83" fmla="*/ 9630 w 9858"/>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017 w 10000"/>
                  <a:gd name="connsiteY5" fmla="*/ 4854 h 10000"/>
                  <a:gd name="connsiteX6" fmla="*/ 8642 w 10000"/>
                  <a:gd name="connsiteY6" fmla="*/ 4272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6888 w 10000"/>
                  <a:gd name="connsiteY11" fmla="*/ 3883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4759 w 10000"/>
                  <a:gd name="connsiteY17" fmla="*/ 1748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017 w 10000"/>
                  <a:gd name="connsiteY5" fmla="*/ 4854 h 10000"/>
                  <a:gd name="connsiteX6" fmla="*/ 8642 w 10000"/>
                  <a:gd name="connsiteY6" fmla="*/ 4272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6888 w 10000"/>
                  <a:gd name="connsiteY11" fmla="*/ 3883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017 w 10000"/>
                  <a:gd name="connsiteY5" fmla="*/ 4854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6888 w 10000"/>
                  <a:gd name="connsiteY11" fmla="*/ 3883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544 w 10000"/>
                  <a:gd name="connsiteY5" fmla="*/ 4900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6888 w 10000"/>
                  <a:gd name="connsiteY11" fmla="*/ 3883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544 w 10000"/>
                  <a:gd name="connsiteY5" fmla="*/ 4900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7005 w 10000"/>
                  <a:gd name="connsiteY11" fmla="*/ 3560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544 w 10000"/>
                  <a:gd name="connsiteY5" fmla="*/ 4900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7005 w 10000"/>
                  <a:gd name="connsiteY11" fmla="*/ 3560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976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544 w 10000"/>
                  <a:gd name="connsiteY5" fmla="*/ 4900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7005 w 10000"/>
                  <a:gd name="connsiteY11" fmla="*/ 3560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976 w 10000"/>
                  <a:gd name="connsiteY18" fmla="*/ 1165 h 10000"/>
                  <a:gd name="connsiteX19" fmla="*/ 5086 w 10000"/>
                  <a:gd name="connsiteY19" fmla="*/ 551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428 h 10049"/>
                  <a:gd name="connsiteX1" fmla="*/ 9268 w 10000"/>
                  <a:gd name="connsiteY1" fmla="*/ 7039 h 10049"/>
                  <a:gd name="connsiteX2" fmla="*/ 8766 w 10000"/>
                  <a:gd name="connsiteY2" fmla="*/ 6748 h 10049"/>
                  <a:gd name="connsiteX3" fmla="*/ 8516 w 10000"/>
                  <a:gd name="connsiteY3" fmla="*/ 5971 h 10049"/>
                  <a:gd name="connsiteX4" fmla="*/ 8891 w 10000"/>
                  <a:gd name="connsiteY4" fmla="*/ 5389 h 10049"/>
                  <a:gd name="connsiteX5" fmla="*/ 9544 w 10000"/>
                  <a:gd name="connsiteY5" fmla="*/ 4949 h 10049"/>
                  <a:gd name="connsiteX6" fmla="*/ 9228 w 10000"/>
                  <a:gd name="connsiteY6" fmla="*/ 4505 h 10049"/>
                  <a:gd name="connsiteX7" fmla="*/ 9142 w 10000"/>
                  <a:gd name="connsiteY7" fmla="*/ 4030 h 10049"/>
                  <a:gd name="connsiteX8" fmla="*/ 8642 w 10000"/>
                  <a:gd name="connsiteY8" fmla="*/ 3738 h 10049"/>
                  <a:gd name="connsiteX9" fmla="*/ 7890 w 10000"/>
                  <a:gd name="connsiteY9" fmla="*/ 4224 h 10049"/>
                  <a:gd name="connsiteX10" fmla="*/ 7639 w 10000"/>
                  <a:gd name="connsiteY10" fmla="*/ 3932 h 10049"/>
                  <a:gd name="connsiteX11" fmla="*/ 7005 w 10000"/>
                  <a:gd name="connsiteY11" fmla="*/ 3609 h 10049"/>
                  <a:gd name="connsiteX12" fmla="*/ 6262 w 10000"/>
                  <a:gd name="connsiteY12" fmla="*/ 3544 h 10049"/>
                  <a:gd name="connsiteX13" fmla="*/ 6136 w 10000"/>
                  <a:gd name="connsiteY13" fmla="*/ 3350 h 10049"/>
                  <a:gd name="connsiteX14" fmla="*/ 6136 w 10000"/>
                  <a:gd name="connsiteY14" fmla="*/ 3059 h 10049"/>
                  <a:gd name="connsiteX15" fmla="*/ 6011 w 10000"/>
                  <a:gd name="connsiteY15" fmla="*/ 2670 h 10049"/>
                  <a:gd name="connsiteX16" fmla="*/ 5686 w 10000"/>
                  <a:gd name="connsiteY16" fmla="*/ 2245 h 10049"/>
                  <a:gd name="connsiteX17" fmla="*/ 5227 w 10000"/>
                  <a:gd name="connsiteY17" fmla="*/ 1751 h 10049"/>
                  <a:gd name="connsiteX18" fmla="*/ 4976 w 10000"/>
                  <a:gd name="connsiteY18" fmla="*/ 1214 h 10049"/>
                  <a:gd name="connsiteX19" fmla="*/ 5086 w 10000"/>
                  <a:gd name="connsiteY19" fmla="*/ 600 h 10049"/>
                  <a:gd name="connsiteX20" fmla="*/ 4460 w 10000"/>
                  <a:gd name="connsiteY20" fmla="*/ 309 h 10049"/>
                  <a:gd name="connsiteX21" fmla="*/ 3498 w 10000"/>
                  <a:gd name="connsiteY21" fmla="*/ 12 h 10049"/>
                  <a:gd name="connsiteX22" fmla="*/ 2630 w 10000"/>
                  <a:gd name="connsiteY22" fmla="*/ 49 h 10049"/>
                  <a:gd name="connsiteX23" fmla="*/ 1879 w 10000"/>
                  <a:gd name="connsiteY23" fmla="*/ 49 h 10049"/>
                  <a:gd name="connsiteX24" fmla="*/ 1253 w 10000"/>
                  <a:gd name="connsiteY24" fmla="*/ 340 h 10049"/>
                  <a:gd name="connsiteX25" fmla="*/ 626 w 10000"/>
                  <a:gd name="connsiteY25" fmla="*/ 437 h 10049"/>
                  <a:gd name="connsiteX26" fmla="*/ 0 w 10000"/>
                  <a:gd name="connsiteY26" fmla="*/ 632 h 10049"/>
                  <a:gd name="connsiteX27" fmla="*/ 251 w 10000"/>
                  <a:gd name="connsiteY27" fmla="*/ 1117 h 10049"/>
                  <a:gd name="connsiteX28" fmla="*/ 251 w 10000"/>
                  <a:gd name="connsiteY28" fmla="*/ 1505 h 10049"/>
                  <a:gd name="connsiteX29" fmla="*/ 501 w 10000"/>
                  <a:gd name="connsiteY29" fmla="*/ 1699 h 10049"/>
                  <a:gd name="connsiteX30" fmla="*/ 876 w 10000"/>
                  <a:gd name="connsiteY30" fmla="*/ 2282 h 10049"/>
                  <a:gd name="connsiteX31" fmla="*/ 1253 w 10000"/>
                  <a:gd name="connsiteY31" fmla="*/ 2476 h 10049"/>
                  <a:gd name="connsiteX32" fmla="*/ 752 w 10000"/>
                  <a:gd name="connsiteY32" fmla="*/ 2670 h 10049"/>
                  <a:gd name="connsiteX33" fmla="*/ 752 w 10000"/>
                  <a:gd name="connsiteY33" fmla="*/ 3156 h 10049"/>
                  <a:gd name="connsiteX34" fmla="*/ 1002 w 10000"/>
                  <a:gd name="connsiteY34" fmla="*/ 3156 h 10049"/>
                  <a:gd name="connsiteX35" fmla="*/ 1253 w 10000"/>
                  <a:gd name="connsiteY35" fmla="*/ 3447 h 10049"/>
                  <a:gd name="connsiteX36" fmla="*/ 876 w 10000"/>
                  <a:gd name="connsiteY36" fmla="*/ 4418 h 10049"/>
                  <a:gd name="connsiteX37" fmla="*/ 1253 w 10000"/>
                  <a:gd name="connsiteY37" fmla="*/ 4806 h 10049"/>
                  <a:gd name="connsiteX38" fmla="*/ 1628 w 10000"/>
                  <a:gd name="connsiteY38" fmla="*/ 5098 h 10049"/>
                  <a:gd name="connsiteX39" fmla="*/ 2003 w 10000"/>
                  <a:gd name="connsiteY39" fmla="*/ 5486 h 10049"/>
                  <a:gd name="connsiteX40" fmla="*/ 1502 w 10000"/>
                  <a:gd name="connsiteY40" fmla="*/ 5486 h 10049"/>
                  <a:gd name="connsiteX41" fmla="*/ 1378 w 10000"/>
                  <a:gd name="connsiteY41" fmla="*/ 5777 h 10049"/>
                  <a:gd name="connsiteX42" fmla="*/ 1753 w 10000"/>
                  <a:gd name="connsiteY42" fmla="*/ 6263 h 10049"/>
                  <a:gd name="connsiteX43" fmla="*/ 1502 w 10000"/>
                  <a:gd name="connsiteY43" fmla="*/ 6554 h 10049"/>
                  <a:gd name="connsiteX44" fmla="*/ 1002 w 10000"/>
                  <a:gd name="connsiteY44" fmla="*/ 6748 h 10049"/>
                  <a:gd name="connsiteX45" fmla="*/ 1753 w 10000"/>
                  <a:gd name="connsiteY45" fmla="*/ 7136 h 10049"/>
                  <a:gd name="connsiteX46" fmla="*/ 3381 w 10000"/>
                  <a:gd name="connsiteY46" fmla="*/ 7913 h 10049"/>
                  <a:gd name="connsiteX47" fmla="*/ 3381 w 10000"/>
                  <a:gd name="connsiteY47" fmla="*/ 8204 h 10049"/>
                  <a:gd name="connsiteX48" fmla="*/ 3882 w 10000"/>
                  <a:gd name="connsiteY48" fmla="*/ 8107 h 10049"/>
                  <a:gd name="connsiteX49" fmla="*/ 3757 w 10000"/>
                  <a:gd name="connsiteY49" fmla="*/ 7913 h 10049"/>
                  <a:gd name="connsiteX50" fmla="*/ 4133 w 10000"/>
                  <a:gd name="connsiteY50" fmla="*/ 7719 h 10049"/>
                  <a:gd name="connsiteX51" fmla="*/ 3882 w 10000"/>
                  <a:gd name="connsiteY51" fmla="*/ 7331 h 10049"/>
                  <a:gd name="connsiteX52" fmla="*/ 4133 w 10000"/>
                  <a:gd name="connsiteY52" fmla="*/ 7136 h 10049"/>
                  <a:gd name="connsiteX53" fmla="*/ 4258 w 10000"/>
                  <a:gd name="connsiteY53" fmla="*/ 7233 h 10049"/>
                  <a:gd name="connsiteX54" fmla="*/ 4383 w 10000"/>
                  <a:gd name="connsiteY54" fmla="*/ 7233 h 10049"/>
                  <a:gd name="connsiteX55" fmla="*/ 4258 w 10000"/>
                  <a:gd name="connsiteY55" fmla="*/ 7428 h 10049"/>
                  <a:gd name="connsiteX56" fmla="*/ 4508 w 10000"/>
                  <a:gd name="connsiteY56" fmla="*/ 7525 h 10049"/>
                  <a:gd name="connsiteX57" fmla="*/ 4759 w 10000"/>
                  <a:gd name="connsiteY57" fmla="*/ 7331 h 10049"/>
                  <a:gd name="connsiteX58" fmla="*/ 5135 w 10000"/>
                  <a:gd name="connsiteY58" fmla="*/ 7428 h 10049"/>
                  <a:gd name="connsiteX59" fmla="*/ 5385 w 10000"/>
                  <a:gd name="connsiteY59" fmla="*/ 7719 h 10049"/>
                  <a:gd name="connsiteX60" fmla="*/ 5636 w 10000"/>
                  <a:gd name="connsiteY60" fmla="*/ 7719 h 10049"/>
                  <a:gd name="connsiteX61" fmla="*/ 5636 w 10000"/>
                  <a:gd name="connsiteY61" fmla="*/ 8010 h 10049"/>
                  <a:gd name="connsiteX62" fmla="*/ 5886 w 10000"/>
                  <a:gd name="connsiteY62" fmla="*/ 8204 h 10049"/>
                  <a:gd name="connsiteX63" fmla="*/ 6011 w 10000"/>
                  <a:gd name="connsiteY63" fmla="*/ 8204 h 10049"/>
                  <a:gd name="connsiteX64" fmla="*/ 6011 w 10000"/>
                  <a:gd name="connsiteY64" fmla="*/ 8593 h 10049"/>
                  <a:gd name="connsiteX65" fmla="*/ 6387 w 10000"/>
                  <a:gd name="connsiteY65" fmla="*/ 8884 h 10049"/>
                  <a:gd name="connsiteX66" fmla="*/ 6763 w 10000"/>
                  <a:gd name="connsiteY66" fmla="*/ 8981 h 10049"/>
                  <a:gd name="connsiteX67" fmla="*/ 6763 w 10000"/>
                  <a:gd name="connsiteY67" fmla="*/ 9175 h 10049"/>
                  <a:gd name="connsiteX68" fmla="*/ 6637 w 10000"/>
                  <a:gd name="connsiteY68" fmla="*/ 9272 h 10049"/>
                  <a:gd name="connsiteX69" fmla="*/ 6512 w 10000"/>
                  <a:gd name="connsiteY69" fmla="*/ 9466 h 10049"/>
                  <a:gd name="connsiteX70" fmla="*/ 6512 w 10000"/>
                  <a:gd name="connsiteY70" fmla="*/ 9661 h 10049"/>
                  <a:gd name="connsiteX71" fmla="*/ 6637 w 10000"/>
                  <a:gd name="connsiteY71" fmla="*/ 9758 h 10049"/>
                  <a:gd name="connsiteX72" fmla="*/ 6763 w 10000"/>
                  <a:gd name="connsiteY72" fmla="*/ 10049 h 10049"/>
                  <a:gd name="connsiteX73" fmla="*/ 7138 w 10000"/>
                  <a:gd name="connsiteY73" fmla="*/ 9952 h 10049"/>
                  <a:gd name="connsiteX74" fmla="*/ 7764 w 10000"/>
                  <a:gd name="connsiteY74" fmla="*/ 9855 h 10049"/>
                  <a:gd name="connsiteX75" fmla="*/ 8015 w 10000"/>
                  <a:gd name="connsiteY75" fmla="*/ 9855 h 10049"/>
                  <a:gd name="connsiteX76" fmla="*/ 8516 w 10000"/>
                  <a:gd name="connsiteY76" fmla="*/ 9758 h 10049"/>
                  <a:gd name="connsiteX77" fmla="*/ 8766 w 10000"/>
                  <a:gd name="connsiteY77" fmla="*/ 9952 h 10049"/>
                  <a:gd name="connsiteX78" fmla="*/ 9017 w 10000"/>
                  <a:gd name="connsiteY78" fmla="*/ 9564 h 10049"/>
                  <a:gd name="connsiteX79" fmla="*/ 8891 w 10000"/>
                  <a:gd name="connsiteY79" fmla="*/ 9272 h 10049"/>
                  <a:gd name="connsiteX80" fmla="*/ 8766 w 10000"/>
                  <a:gd name="connsiteY80" fmla="*/ 8496 h 10049"/>
                  <a:gd name="connsiteX81" fmla="*/ 9392 w 10000"/>
                  <a:gd name="connsiteY81" fmla="*/ 8399 h 10049"/>
                  <a:gd name="connsiteX82" fmla="*/ 9893 w 10000"/>
                  <a:gd name="connsiteY82" fmla="*/ 7913 h 10049"/>
                  <a:gd name="connsiteX83" fmla="*/ 9769 w 10000"/>
                  <a:gd name="connsiteY83" fmla="*/ 7428 h 10049"/>
                  <a:gd name="connsiteX0" fmla="*/ 9769 w 10000"/>
                  <a:gd name="connsiteY0" fmla="*/ 7767 h 10388"/>
                  <a:gd name="connsiteX1" fmla="*/ 9268 w 10000"/>
                  <a:gd name="connsiteY1" fmla="*/ 7378 h 10388"/>
                  <a:gd name="connsiteX2" fmla="*/ 8766 w 10000"/>
                  <a:gd name="connsiteY2" fmla="*/ 7087 h 10388"/>
                  <a:gd name="connsiteX3" fmla="*/ 8516 w 10000"/>
                  <a:gd name="connsiteY3" fmla="*/ 6310 h 10388"/>
                  <a:gd name="connsiteX4" fmla="*/ 8891 w 10000"/>
                  <a:gd name="connsiteY4" fmla="*/ 5728 h 10388"/>
                  <a:gd name="connsiteX5" fmla="*/ 9544 w 10000"/>
                  <a:gd name="connsiteY5" fmla="*/ 5288 h 10388"/>
                  <a:gd name="connsiteX6" fmla="*/ 9228 w 10000"/>
                  <a:gd name="connsiteY6" fmla="*/ 4844 h 10388"/>
                  <a:gd name="connsiteX7" fmla="*/ 9142 w 10000"/>
                  <a:gd name="connsiteY7" fmla="*/ 4369 h 10388"/>
                  <a:gd name="connsiteX8" fmla="*/ 8642 w 10000"/>
                  <a:gd name="connsiteY8" fmla="*/ 4077 h 10388"/>
                  <a:gd name="connsiteX9" fmla="*/ 7890 w 10000"/>
                  <a:gd name="connsiteY9" fmla="*/ 4563 h 10388"/>
                  <a:gd name="connsiteX10" fmla="*/ 7639 w 10000"/>
                  <a:gd name="connsiteY10" fmla="*/ 4271 h 10388"/>
                  <a:gd name="connsiteX11" fmla="*/ 7005 w 10000"/>
                  <a:gd name="connsiteY11" fmla="*/ 3948 h 10388"/>
                  <a:gd name="connsiteX12" fmla="*/ 6262 w 10000"/>
                  <a:gd name="connsiteY12" fmla="*/ 3883 h 10388"/>
                  <a:gd name="connsiteX13" fmla="*/ 6136 w 10000"/>
                  <a:gd name="connsiteY13" fmla="*/ 3689 h 10388"/>
                  <a:gd name="connsiteX14" fmla="*/ 6136 w 10000"/>
                  <a:gd name="connsiteY14" fmla="*/ 3398 h 10388"/>
                  <a:gd name="connsiteX15" fmla="*/ 6011 w 10000"/>
                  <a:gd name="connsiteY15" fmla="*/ 3009 h 10388"/>
                  <a:gd name="connsiteX16" fmla="*/ 5686 w 10000"/>
                  <a:gd name="connsiteY16" fmla="*/ 2584 h 10388"/>
                  <a:gd name="connsiteX17" fmla="*/ 5227 w 10000"/>
                  <a:gd name="connsiteY17" fmla="*/ 2090 h 10388"/>
                  <a:gd name="connsiteX18" fmla="*/ 4976 w 10000"/>
                  <a:gd name="connsiteY18" fmla="*/ 1553 h 10388"/>
                  <a:gd name="connsiteX19" fmla="*/ 5086 w 10000"/>
                  <a:gd name="connsiteY19" fmla="*/ 939 h 10388"/>
                  <a:gd name="connsiteX20" fmla="*/ 4401 w 10000"/>
                  <a:gd name="connsiteY20" fmla="*/ 49 h 10388"/>
                  <a:gd name="connsiteX21" fmla="*/ 3498 w 10000"/>
                  <a:gd name="connsiteY21" fmla="*/ 351 h 10388"/>
                  <a:gd name="connsiteX22" fmla="*/ 2630 w 10000"/>
                  <a:gd name="connsiteY22" fmla="*/ 388 h 10388"/>
                  <a:gd name="connsiteX23" fmla="*/ 1879 w 10000"/>
                  <a:gd name="connsiteY23" fmla="*/ 388 h 10388"/>
                  <a:gd name="connsiteX24" fmla="*/ 1253 w 10000"/>
                  <a:gd name="connsiteY24" fmla="*/ 679 h 10388"/>
                  <a:gd name="connsiteX25" fmla="*/ 626 w 10000"/>
                  <a:gd name="connsiteY25" fmla="*/ 776 h 10388"/>
                  <a:gd name="connsiteX26" fmla="*/ 0 w 10000"/>
                  <a:gd name="connsiteY26" fmla="*/ 971 h 10388"/>
                  <a:gd name="connsiteX27" fmla="*/ 251 w 10000"/>
                  <a:gd name="connsiteY27" fmla="*/ 1456 h 10388"/>
                  <a:gd name="connsiteX28" fmla="*/ 251 w 10000"/>
                  <a:gd name="connsiteY28" fmla="*/ 1844 h 10388"/>
                  <a:gd name="connsiteX29" fmla="*/ 501 w 10000"/>
                  <a:gd name="connsiteY29" fmla="*/ 2038 h 10388"/>
                  <a:gd name="connsiteX30" fmla="*/ 876 w 10000"/>
                  <a:gd name="connsiteY30" fmla="*/ 2621 h 10388"/>
                  <a:gd name="connsiteX31" fmla="*/ 1253 w 10000"/>
                  <a:gd name="connsiteY31" fmla="*/ 2815 h 10388"/>
                  <a:gd name="connsiteX32" fmla="*/ 752 w 10000"/>
                  <a:gd name="connsiteY32" fmla="*/ 3009 h 10388"/>
                  <a:gd name="connsiteX33" fmla="*/ 752 w 10000"/>
                  <a:gd name="connsiteY33" fmla="*/ 3495 h 10388"/>
                  <a:gd name="connsiteX34" fmla="*/ 1002 w 10000"/>
                  <a:gd name="connsiteY34" fmla="*/ 3495 h 10388"/>
                  <a:gd name="connsiteX35" fmla="*/ 1253 w 10000"/>
                  <a:gd name="connsiteY35" fmla="*/ 3786 h 10388"/>
                  <a:gd name="connsiteX36" fmla="*/ 876 w 10000"/>
                  <a:gd name="connsiteY36" fmla="*/ 4757 h 10388"/>
                  <a:gd name="connsiteX37" fmla="*/ 1253 w 10000"/>
                  <a:gd name="connsiteY37" fmla="*/ 5145 h 10388"/>
                  <a:gd name="connsiteX38" fmla="*/ 1628 w 10000"/>
                  <a:gd name="connsiteY38" fmla="*/ 5437 h 10388"/>
                  <a:gd name="connsiteX39" fmla="*/ 2003 w 10000"/>
                  <a:gd name="connsiteY39" fmla="*/ 5825 h 10388"/>
                  <a:gd name="connsiteX40" fmla="*/ 1502 w 10000"/>
                  <a:gd name="connsiteY40" fmla="*/ 5825 h 10388"/>
                  <a:gd name="connsiteX41" fmla="*/ 1378 w 10000"/>
                  <a:gd name="connsiteY41" fmla="*/ 6116 h 10388"/>
                  <a:gd name="connsiteX42" fmla="*/ 1753 w 10000"/>
                  <a:gd name="connsiteY42" fmla="*/ 6602 h 10388"/>
                  <a:gd name="connsiteX43" fmla="*/ 1502 w 10000"/>
                  <a:gd name="connsiteY43" fmla="*/ 6893 h 10388"/>
                  <a:gd name="connsiteX44" fmla="*/ 1002 w 10000"/>
                  <a:gd name="connsiteY44" fmla="*/ 7087 h 10388"/>
                  <a:gd name="connsiteX45" fmla="*/ 1753 w 10000"/>
                  <a:gd name="connsiteY45" fmla="*/ 7475 h 10388"/>
                  <a:gd name="connsiteX46" fmla="*/ 3381 w 10000"/>
                  <a:gd name="connsiteY46" fmla="*/ 8252 h 10388"/>
                  <a:gd name="connsiteX47" fmla="*/ 3381 w 10000"/>
                  <a:gd name="connsiteY47" fmla="*/ 8543 h 10388"/>
                  <a:gd name="connsiteX48" fmla="*/ 3882 w 10000"/>
                  <a:gd name="connsiteY48" fmla="*/ 8446 h 10388"/>
                  <a:gd name="connsiteX49" fmla="*/ 3757 w 10000"/>
                  <a:gd name="connsiteY49" fmla="*/ 8252 h 10388"/>
                  <a:gd name="connsiteX50" fmla="*/ 4133 w 10000"/>
                  <a:gd name="connsiteY50" fmla="*/ 8058 h 10388"/>
                  <a:gd name="connsiteX51" fmla="*/ 3882 w 10000"/>
                  <a:gd name="connsiteY51" fmla="*/ 7670 h 10388"/>
                  <a:gd name="connsiteX52" fmla="*/ 4133 w 10000"/>
                  <a:gd name="connsiteY52" fmla="*/ 7475 h 10388"/>
                  <a:gd name="connsiteX53" fmla="*/ 4258 w 10000"/>
                  <a:gd name="connsiteY53" fmla="*/ 7572 h 10388"/>
                  <a:gd name="connsiteX54" fmla="*/ 4383 w 10000"/>
                  <a:gd name="connsiteY54" fmla="*/ 7572 h 10388"/>
                  <a:gd name="connsiteX55" fmla="*/ 4258 w 10000"/>
                  <a:gd name="connsiteY55" fmla="*/ 7767 h 10388"/>
                  <a:gd name="connsiteX56" fmla="*/ 4508 w 10000"/>
                  <a:gd name="connsiteY56" fmla="*/ 7864 h 10388"/>
                  <a:gd name="connsiteX57" fmla="*/ 4759 w 10000"/>
                  <a:gd name="connsiteY57" fmla="*/ 7670 h 10388"/>
                  <a:gd name="connsiteX58" fmla="*/ 5135 w 10000"/>
                  <a:gd name="connsiteY58" fmla="*/ 7767 h 10388"/>
                  <a:gd name="connsiteX59" fmla="*/ 5385 w 10000"/>
                  <a:gd name="connsiteY59" fmla="*/ 8058 h 10388"/>
                  <a:gd name="connsiteX60" fmla="*/ 5636 w 10000"/>
                  <a:gd name="connsiteY60" fmla="*/ 8058 h 10388"/>
                  <a:gd name="connsiteX61" fmla="*/ 5636 w 10000"/>
                  <a:gd name="connsiteY61" fmla="*/ 8349 h 10388"/>
                  <a:gd name="connsiteX62" fmla="*/ 5886 w 10000"/>
                  <a:gd name="connsiteY62" fmla="*/ 8543 h 10388"/>
                  <a:gd name="connsiteX63" fmla="*/ 6011 w 10000"/>
                  <a:gd name="connsiteY63" fmla="*/ 8543 h 10388"/>
                  <a:gd name="connsiteX64" fmla="*/ 6011 w 10000"/>
                  <a:gd name="connsiteY64" fmla="*/ 8932 h 10388"/>
                  <a:gd name="connsiteX65" fmla="*/ 6387 w 10000"/>
                  <a:gd name="connsiteY65" fmla="*/ 9223 h 10388"/>
                  <a:gd name="connsiteX66" fmla="*/ 6763 w 10000"/>
                  <a:gd name="connsiteY66" fmla="*/ 9320 h 10388"/>
                  <a:gd name="connsiteX67" fmla="*/ 6763 w 10000"/>
                  <a:gd name="connsiteY67" fmla="*/ 9514 h 10388"/>
                  <a:gd name="connsiteX68" fmla="*/ 6637 w 10000"/>
                  <a:gd name="connsiteY68" fmla="*/ 9611 h 10388"/>
                  <a:gd name="connsiteX69" fmla="*/ 6512 w 10000"/>
                  <a:gd name="connsiteY69" fmla="*/ 9805 h 10388"/>
                  <a:gd name="connsiteX70" fmla="*/ 6512 w 10000"/>
                  <a:gd name="connsiteY70" fmla="*/ 10000 h 10388"/>
                  <a:gd name="connsiteX71" fmla="*/ 6637 w 10000"/>
                  <a:gd name="connsiteY71" fmla="*/ 10097 h 10388"/>
                  <a:gd name="connsiteX72" fmla="*/ 6763 w 10000"/>
                  <a:gd name="connsiteY72" fmla="*/ 10388 h 10388"/>
                  <a:gd name="connsiteX73" fmla="*/ 7138 w 10000"/>
                  <a:gd name="connsiteY73" fmla="*/ 10291 h 10388"/>
                  <a:gd name="connsiteX74" fmla="*/ 7764 w 10000"/>
                  <a:gd name="connsiteY74" fmla="*/ 10194 h 10388"/>
                  <a:gd name="connsiteX75" fmla="*/ 8015 w 10000"/>
                  <a:gd name="connsiteY75" fmla="*/ 10194 h 10388"/>
                  <a:gd name="connsiteX76" fmla="*/ 8516 w 10000"/>
                  <a:gd name="connsiteY76" fmla="*/ 10097 h 10388"/>
                  <a:gd name="connsiteX77" fmla="*/ 8766 w 10000"/>
                  <a:gd name="connsiteY77" fmla="*/ 10291 h 10388"/>
                  <a:gd name="connsiteX78" fmla="*/ 9017 w 10000"/>
                  <a:gd name="connsiteY78" fmla="*/ 9903 h 10388"/>
                  <a:gd name="connsiteX79" fmla="*/ 8891 w 10000"/>
                  <a:gd name="connsiteY79" fmla="*/ 9611 h 10388"/>
                  <a:gd name="connsiteX80" fmla="*/ 8766 w 10000"/>
                  <a:gd name="connsiteY80" fmla="*/ 8835 h 10388"/>
                  <a:gd name="connsiteX81" fmla="*/ 9392 w 10000"/>
                  <a:gd name="connsiteY81" fmla="*/ 8738 h 10388"/>
                  <a:gd name="connsiteX82" fmla="*/ 9893 w 10000"/>
                  <a:gd name="connsiteY82" fmla="*/ 8252 h 10388"/>
                  <a:gd name="connsiteX83" fmla="*/ 9769 w 10000"/>
                  <a:gd name="connsiteY83" fmla="*/ 7767 h 10388"/>
                  <a:gd name="connsiteX0" fmla="*/ 9769 w 10000"/>
                  <a:gd name="connsiteY0" fmla="*/ 7846 h 10467"/>
                  <a:gd name="connsiteX1" fmla="*/ 9268 w 10000"/>
                  <a:gd name="connsiteY1" fmla="*/ 7457 h 10467"/>
                  <a:gd name="connsiteX2" fmla="*/ 8766 w 10000"/>
                  <a:gd name="connsiteY2" fmla="*/ 7166 h 10467"/>
                  <a:gd name="connsiteX3" fmla="*/ 8516 w 10000"/>
                  <a:gd name="connsiteY3" fmla="*/ 6389 h 10467"/>
                  <a:gd name="connsiteX4" fmla="*/ 8891 w 10000"/>
                  <a:gd name="connsiteY4" fmla="*/ 5807 h 10467"/>
                  <a:gd name="connsiteX5" fmla="*/ 9544 w 10000"/>
                  <a:gd name="connsiteY5" fmla="*/ 5367 h 10467"/>
                  <a:gd name="connsiteX6" fmla="*/ 9228 w 10000"/>
                  <a:gd name="connsiteY6" fmla="*/ 4923 h 10467"/>
                  <a:gd name="connsiteX7" fmla="*/ 9142 w 10000"/>
                  <a:gd name="connsiteY7" fmla="*/ 4448 h 10467"/>
                  <a:gd name="connsiteX8" fmla="*/ 8642 w 10000"/>
                  <a:gd name="connsiteY8" fmla="*/ 4156 h 10467"/>
                  <a:gd name="connsiteX9" fmla="*/ 7890 w 10000"/>
                  <a:gd name="connsiteY9" fmla="*/ 4642 h 10467"/>
                  <a:gd name="connsiteX10" fmla="*/ 7639 w 10000"/>
                  <a:gd name="connsiteY10" fmla="*/ 4350 h 10467"/>
                  <a:gd name="connsiteX11" fmla="*/ 7005 w 10000"/>
                  <a:gd name="connsiteY11" fmla="*/ 4027 h 10467"/>
                  <a:gd name="connsiteX12" fmla="*/ 6262 w 10000"/>
                  <a:gd name="connsiteY12" fmla="*/ 3962 h 10467"/>
                  <a:gd name="connsiteX13" fmla="*/ 6136 w 10000"/>
                  <a:gd name="connsiteY13" fmla="*/ 3768 h 10467"/>
                  <a:gd name="connsiteX14" fmla="*/ 6136 w 10000"/>
                  <a:gd name="connsiteY14" fmla="*/ 3477 h 10467"/>
                  <a:gd name="connsiteX15" fmla="*/ 6011 w 10000"/>
                  <a:gd name="connsiteY15" fmla="*/ 3088 h 10467"/>
                  <a:gd name="connsiteX16" fmla="*/ 5686 w 10000"/>
                  <a:gd name="connsiteY16" fmla="*/ 2663 h 10467"/>
                  <a:gd name="connsiteX17" fmla="*/ 5227 w 10000"/>
                  <a:gd name="connsiteY17" fmla="*/ 2169 h 10467"/>
                  <a:gd name="connsiteX18" fmla="*/ 4976 w 10000"/>
                  <a:gd name="connsiteY18" fmla="*/ 1632 h 10467"/>
                  <a:gd name="connsiteX19" fmla="*/ 5086 w 10000"/>
                  <a:gd name="connsiteY19" fmla="*/ 1018 h 10467"/>
                  <a:gd name="connsiteX20" fmla="*/ 4401 w 10000"/>
                  <a:gd name="connsiteY20" fmla="*/ 128 h 10467"/>
                  <a:gd name="connsiteX21" fmla="*/ 3498 w 10000"/>
                  <a:gd name="connsiteY21" fmla="*/ 61 h 10467"/>
                  <a:gd name="connsiteX22" fmla="*/ 2630 w 10000"/>
                  <a:gd name="connsiteY22" fmla="*/ 467 h 10467"/>
                  <a:gd name="connsiteX23" fmla="*/ 1879 w 10000"/>
                  <a:gd name="connsiteY23" fmla="*/ 467 h 10467"/>
                  <a:gd name="connsiteX24" fmla="*/ 1253 w 10000"/>
                  <a:gd name="connsiteY24" fmla="*/ 758 h 10467"/>
                  <a:gd name="connsiteX25" fmla="*/ 626 w 10000"/>
                  <a:gd name="connsiteY25" fmla="*/ 855 h 10467"/>
                  <a:gd name="connsiteX26" fmla="*/ 0 w 10000"/>
                  <a:gd name="connsiteY26" fmla="*/ 1050 h 10467"/>
                  <a:gd name="connsiteX27" fmla="*/ 251 w 10000"/>
                  <a:gd name="connsiteY27" fmla="*/ 1535 h 10467"/>
                  <a:gd name="connsiteX28" fmla="*/ 251 w 10000"/>
                  <a:gd name="connsiteY28" fmla="*/ 1923 h 10467"/>
                  <a:gd name="connsiteX29" fmla="*/ 501 w 10000"/>
                  <a:gd name="connsiteY29" fmla="*/ 2117 h 10467"/>
                  <a:gd name="connsiteX30" fmla="*/ 876 w 10000"/>
                  <a:gd name="connsiteY30" fmla="*/ 2700 h 10467"/>
                  <a:gd name="connsiteX31" fmla="*/ 1253 w 10000"/>
                  <a:gd name="connsiteY31" fmla="*/ 2894 h 10467"/>
                  <a:gd name="connsiteX32" fmla="*/ 752 w 10000"/>
                  <a:gd name="connsiteY32" fmla="*/ 3088 h 10467"/>
                  <a:gd name="connsiteX33" fmla="*/ 752 w 10000"/>
                  <a:gd name="connsiteY33" fmla="*/ 3574 h 10467"/>
                  <a:gd name="connsiteX34" fmla="*/ 1002 w 10000"/>
                  <a:gd name="connsiteY34" fmla="*/ 3574 h 10467"/>
                  <a:gd name="connsiteX35" fmla="*/ 1253 w 10000"/>
                  <a:gd name="connsiteY35" fmla="*/ 3865 h 10467"/>
                  <a:gd name="connsiteX36" fmla="*/ 876 w 10000"/>
                  <a:gd name="connsiteY36" fmla="*/ 4836 h 10467"/>
                  <a:gd name="connsiteX37" fmla="*/ 1253 w 10000"/>
                  <a:gd name="connsiteY37" fmla="*/ 5224 h 10467"/>
                  <a:gd name="connsiteX38" fmla="*/ 1628 w 10000"/>
                  <a:gd name="connsiteY38" fmla="*/ 5516 h 10467"/>
                  <a:gd name="connsiteX39" fmla="*/ 2003 w 10000"/>
                  <a:gd name="connsiteY39" fmla="*/ 5904 h 10467"/>
                  <a:gd name="connsiteX40" fmla="*/ 1502 w 10000"/>
                  <a:gd name="connsiteY40" fmla="*/ 5904 h 10467"/>
                  <a:gd name="connsiteX41" fmla="*/ 1378 w 10000"/>
                  <a:gd name="connsiteY41" fmla="*/ 6195 h 10467"/>
                  <a:gd name="connsiteX42" fmla="*/ 1753 w 10000"/>
                  <a:gd name="connsiteY42" fmla="*/ 6681 h 10467"/>
                  <a:gd name="connsiteX43" fmla="*/ 1502 w 10000"/>
                  <a:gd name="connsiteY43" fmla="*/ 6972 h 10467"/>
                  <a:gd name="connsiteX44" fmla="*/ 1002 w 10000"/>
                  <a:gd name="connsiteY44" fmla="*/ 7166 h 10467"/>
                  <a:gd name="connsiteX45" fmla="*/ 1753 w 10000"/>
                  <a:gd name="connsiteY45" fmla="*/ 7554 h 10467"/>
                  <a:gd name="connsiteX46" fmla="*/ 3381 w 10000"/>
                  <a:gd name="connsiteY46" fmla="*/ 8331 h 10467"/>
                  <a:gd name="connsiteX47" fmla="*/ 3381 w 10000"/>
                  <a:gd name="connsiteY47" fmla="*/ 8622 h 10467"/>
                  <a:gd name="connsiteX48" fmla="*/ 3882 w 10000"/>
                  <a:gd name="connsiteY48" fmla="*/ 8525 h 10467"/>
                  <a:gd name="connsiteX49" fmla="*/ 3757 w 10000"/>
                  <a:gd name="connsiteY49" fmla="*/ 8331 h 10467"/>
                  <a:gd name="connsiteX50" fmla="*/ 4133 w 10000"/>
                  <a:gd name="connsiteY50" fmla="*/ 8137 h 10467"/>
                  <a:gd name="connsiteX51" fmla="*/ 3882 w 10000"/>
                  <a:gd name="connsiteY51" fmla="*/ 7749 h 10467"/>
                  <a:gd name="connsiteX52" fmla="*/ 4133 w 10000"/>
                  <a:gd name="connsiteY52" fmla="*/ 7554 h 10467"/>
                  <a:gd name="connsiteX53" fmla="*/ 4258 w 10000"/>
                  <a:gd name="connsiteY53" fmla="*/ 7651 h 10467"/>
                  <a:gd name="connsiteX54" fmla="*/ 4383 w 10000"/>
                  <a:gd name="connsiteY54" fmla="*/ 7651 h 10467"/>
                  <a:gd name="connsiteX55" fmla="*/ 4258 w 10000"/>
                  <a:gd name="connsiteY55" fmla="*/ 7846 h 10467"/>
                  <a:gd name="connsiteX56" fmla="*/ 4508 w 10000"/>
                  <a:gd name="connsiteY56" fmla="*/ 7943 h 10467"/>
                  <a:gd name="connsiteX57" fmla="*/ 4759 w 10000"/>
                  <a:gd name="connsiteY57" fmla="*/ 7749 h 10467"/>
                  <a:gd name="connsiteX58" fmla="*/ 5135 w 10000"/>
                  <a:gd name="connsiteY58" fmla="*/ 7846 h 10467"/>
                  <a:gd name="connsiteX59" fmla="*/ 5385 w 10000"/>
                  <a:gd name="connsiteY59" fmla="*/ 8137 h 10467"/>
                  <a:gd name="connsiteX60" fmla="*/ 5636 w 10000"/>
                  <a:gd name="connsiteY60" fmla="*/ 8137 h 10467"/>
                  <a:gd name="connsiteX61" fmla="*/ 5636 w 10000"/>
                  <a:gd name="connsiteY61" fmla="*/ 8428 h 10467"/>
                  <a:gd name="connsiteX62" fmla="*/ 5886 w 10000"/>
                  <a:gd name="connsiteY62" fmla="*/ 8622 h 10467"/>
                  <a:gd name="connsiteX63" fmla="*/ 6011 w 10000"/>
                  <a:gd name="connsiteY63" fmla="*/ 8622 h 10467"/>
                  <a:gd name="connsiteX64" fmla="*/ 6011 w 10000"/>
                  <a:gd name="connsiteY64" fmla="*/ 9011 h 10467"/>
                  <a:gd name="connsiteX65" fmla="*/ 6387 w 10000"/>
                  <a:gd name="connsiteY65" fmla="*/ 9302 h 10467"/>
                  <a:gd name="connsiteX66" fmla="*/ 6763 w 10000"/>
                  <a:gd name="connsiteY66" fmla="*/ 9399 h 10467"/>
                  <a:gd name="connsiteX67" fmla="*/ 6763 w 10000"/>
                  <a:gd name="connsiteY67" fmla="*/ 9593 h 10467"/>
                  <a:gd name="connsiteX68" fmla="*/ 6637 w 10000"/>
                  <a:gd name="connsiteY68" fmla="*/ 9690 h 10467"/>
                  <a:gd name="connsiteX69" fmla="*/ 6512 w 10000"/>
                  <a:gd name="connsiteY69" fmla="*/ 9884 h 10467"/>
                  <a:gd name="connsiteX70" fmla="*/ 6512 w 10000"/>
                  <a:gd name="connsiteY70" fmla="*/ 10079 h 10467"/>
                  <a:gd name="connsiteX71" fmla="*/ 6637 w 10000"/>
                  <a:gd name="connsiteY71" fmla="*/ 10176 h 10467"/>
                  <a:gd name="connsiteX72" fmla="*/ 6763 w 10000"/>
                  <a:gd name="connsiteY72" fmla="*/ 10467 h 10467"/>
                  <a:gd name="connsiteX73" fmla="*/ 7138 w 10000"/>
                  <a:gd name="connsiteY73" fmla="*/ 10370 h 10467"/>
                  <a:gd name="connsiteX74" fmla="*/ 7764 w 10000"/>
                  <a:gd name="connsiteY74" fmla="*/ 10273 h 10467"/>
                  <a:gd name="connsiteX75" fmla="*/ 8015 w 10000"/>
                  <a:gd name="connsiteY75" fmla="*/ 10273 h 10467"/>
                  <a:gd name="connsiteX76" fmla="*/ 8516 w 10000"/>
                  <a:gd name="connsiteY76" fmla="*/ 10176 h 10467"/>
                  <a:gd name="connsiteX77" fmla="*/ 8766 w 10000"/>
                  <a:gd name="connsiteY77" fmla="*/ 10370 h 10467"/>
                  <a:gd name="connsiteX78" fmla="*/ 9017 w 10000"/>
                  <a:gd name="connsiteY78" fmla="*/ 9982 h 10467"/>
                  <a:gd name="connsiteX79" fmla="*/ 8891 w 10000"/>
                  <a:gd name="connsiteY79" fmla="*/ 9690 h 10467"/>
                  <a:gd name="connsiteX80" fmla="*/ 8766 w 10000"/>
                  <a:gd name="connsiteY80" fmla="*/ 8914 h 10467"/>
                  <a:gd name="connsiteX81" fmla="*/ 9392 w 10000"/>
                  <a:gd name="connsiteY81" fmla="*/ 8817 h 10467"/>
                  <a:gd name="connsiteX82" fmla="*/ 9893 w 10000"/>
                  <a:gd name="connsiteY82" fmla="*/ 8331 h 10467"/>
                  <a:gd name="connsiteX83" fmla="*/ 9769 w 10000"/>
                  <a:gd name="connsiteY83" fmla="*/ 7846 h 10467"/>
                  <a:gd name="connsiteX0" fmla="*/ 9769 w 10000"/>
                  <a:gd name="connsiteY0" fmla="*/ 7833 h 10454"/>
                  <a:gd name="connsiteX1" fmla="*/ 9268 w 10000"/>
                  <a:gd name="connsiteY1" fmla="*/ 7444 h 10454"/>
                  <a:gd name="connsiteX2" fmla="*/ 8766 w 10000"/>
                  <a:gd name="connsiteY2" fmla="*/ 7153 h 10454"/>
                  <a:gd name="connsiteX3" fmla="*/ 8516 w 10000"/>
                  <a:gd name="connsiteY3" fmla="*/ 6376 h 10454"/>
                  <a:gd name="connsiteX4" fmla="*/ 8891 w 10000"/>
                  <a:gd name="connsiteY4" fmla="*/ 5794 h 10454"/>
                  <a:gd name="connsiteX5" fmla="*/ 9544 w 10000"/>
                  <a:gd name="connsiteY5" fmla="*/ 5354 h 10454"/>
                  <a:gd name="connsiteX6" fmla="*/ 9228 w 10000"/>
                  <a:gd name="connsiteY6" fmla="*/ 4910 h 10454"/>
                  <a:gd name="connsiteX7" fmla="*/ 9142 w 10000"/>
                  <a:gd name="connsiteY7" fmla="*/ 4435 h 10454"/>
                  <a:gd name="connsiteX8" fmla="*/ 8642 w 10000"/>
                  <a:gd name="connsiteY8" fmla="*/ 4143 h 10454"/>
                  <a:gd name="connsiteX9" fmla="*/ 7890 w 10000"/>
                  <a:gd name="connsiteY9" fmla="*/ 4629 h 10454"/>
                  <a:gd name="connsiteX10" fmla="*/ 7639 w 10000"/>
                  <a:gd name="connsiteY10" fmla="*/ 4337 h 10454"/>
                  <a:gd name="connsiteX11" fmla="*/ 7005 w 10000"/>
                  <a:gd name="connsiteY11" fmla="*/ 4014 h 10454"/>
                  <a:gd name="connsiteX12" fmla="*/ 6262 w 10000"/>
                  <a:gd name="connsiteY12" fmla="*/ 3949 h 10454"/>
                  <a:gd name="connsiteX13" fmla="*/ 6136 w 10000"/>
                  <a:gd name="connsiteY13" fmla="*/ 3755 h 10454"/>
                  <a:gd name="connsiteX14" fmla="*/ 6136 w 10000"/>
                  <a:gd name="connsiteY14" fmla="*/ 3464 h 10454"/>
                  <a:gd name="connsiteX15" fmla="*/ 6011 w 10000"/>
                  <a:gd name="connsiteY15" fmla="*/ 3075 h 10454"/>
                  <a:gd name="connsiteX16" fmla="*/ 5686 w 10000"/>
                  <a:gd name="connsiteY16" fmla="*/ 2650 h 10454"/>
                  <a:gd name="connsiteX17" fmla="*/ 5227 w 10000"/>
                  <a:gd name="connsiteY17" fmla="*/ 2156 h 10454"/>
                  <a:gd name="connsiteX18" fmla="*/ 4976 w 10000"/>
                  <a:gd name="connsiteY18" fmla="*/ 1619 h 10454"/>
                  <a:gd name="connsiteX19" fmla="*/ 5086 w 10000"/>
                  <a:gd name="connsiteY19" fmla="*/ 1005 h 10454"/>
                  <a:gd name="connsiteX20" fmla="*/ 4401 w 10000"/>
                  <a:gd name="connsiteY20" fmla="*/ 115 h 10454"/>
                  <a:gd name="connsiteX21" fmla="*/ 3498 w 10000"/>
                  <a:gd name="connsiteY21" fmla="*/ 48 h 10454"/>
                  <a:gd name="connsiteX22" fmla="*/ 2630 w 10000"/>
                  <a:gd name="connsiteY22" fmla="*/ 223 h 10454"/>
                  <a:gd name="connsiteX23" fmla="*/ 1879 w 10000"/>
                  <a:gd name="connsiteY23" fmla="*/ 454 h 10454"/>
                  <a:gd name="connsiteX24" fmla="*/ 1253 w 10000"/>
                  <a:gd name="connsiteY24" fmla="*/ 745 h 10454"/>
                  <a:gd name="connsiteX25" fmla="*/ 626 w 10000"/>
                  <a:gd name="connsiteY25" fmla="*/ 842 h 10454"/>
                  <a:gd name="connsiteX26" fmla="*/ 0 w 10000"/>
                  <a:gd name="connsiteY26" fmla="*/ 1037 h 10454"/>
                  <a:gd name="connsiteX27" fmla="*/ 251 w 10000"/>
                  <a:gd name="connsiteY27" fmla="*/ 1522 h 10454"/>
                  <a:gd name="connsiteX28" fmla="*/ 251 w 10000"/>
                  <a:gd name="connsiteY28" fmla="*/ 1910 h 10454"/>
                  <a:gd name="connsiteX29" fmla="*/ 501 w 10000"/>
                  <a:gd name="connsiteY29" fmla="*/ 2104 h 10454"/>
                  <a:gd name="connsiteX30" fmla="*/ 876 w 10000"/>
                  <a:gd name="connsiteY30" fmla="*/ 2687 h 10454"/>
                  <a:gd name="connsiteX31" fmla="*/ 1253 w 10000"/>
                  <a:gd name="connsiteY31" fmla="*/ 2881 h 10454"/>
                  <a:gd name="connsiteX32" fmla="*/ 752 w 10000"/>
                  <a:gd name="connsiteY32" fmla="*/ 3075 h 10454"/>
                  <a:gd name="connsiteX33" fmla="*/ 752 w 10000"/>
                  <a:gd name="connsiteY33" fmla="*/ 3561 h 10454"/>
                  <a:gd name="connsiteX34" fmla="*/ 1002 w 10000"/>
                  <a:gd name="connsiteY34" fmla="*/ 3561 h 10454"/>
                  <a:gd name="connsiteX35" fmla="*/ 1253 w 10000"/>
                  <a:gd name="connsiteY35" fmla="*/ 3852 h 10454"/>
                  <a:gd name="connsiteX36" fmla="*/ 876 w 10000"/>
                  <a:gd name="connsiteY36" fmla="*/ 4823 h 10454"/>
                  <a:gd name="connsiteX37" fmla="*/ 1253 w 10000"/>
                  <a:gd name="connsiteY37" fmla="*/ 5211 h 10454"/>
                  <a:gd name="connsiteX38" fmla="*/ 1628 w 10000"/>
                  <a:gd name="connsiteY38" fmla="*/ 5503 h 10454"/>
                  <a:gd name="connsiteX39" fmla="*/ 2003 w 10000"/>
                  <a:gd name="connsiteY39" fmla="*/ 5891 h 10454"/>
                  <a:gd name="connsiteX40" fmla="*/ 1502 w 10000"/>
                  <a:gd name="connsiteY40" fmla="*/ 5891 h 10454"/>
                  <a:gd name="connsiteX41" fmla="*/ 1378 w 10000"/>
                  <a:gd name="connsiteY41" fmla="*/ 6182 h 10454"/>
                  <a:gd name="connsiteX42" fmla="*/ 1753 w 10000"/>
                  <a:gd name="connsiteY42" fmla="*/ 6668 h 10454"/>
                  <a:gd name="connsiteX43" fmla="*/ 1502 w 10000"/>
                  <a:gd name="connsiteY43" fmla="*/ 6959 h 10454"/>
                  <a:gd name="connsiteX44" fmla="*/ 1002 w 10000"/>
                  <a:gd name="connsiteY44" fmla="*/ 7153 h 10454"/>
                  <a:gd name="connsiteX45" fmla="*/ 1753 w 10000"/>
                  <a:gd name="connsiteY45" fmla="*/ 7541 h 10454"/>
                  <a:gd name="connsiteX46" fmla="*/ 3381 w 10000"/>
                  <a:gd name="connsiteY46" fmla="*/ 8318 h 10454"/>
                  <a:gd name="connsiteX47" fmla="*/ 3381 w 10000"/>
                  <a:gd name="connsiteY47" fmla="*/ 8609 h 10454"/>
                  <a:gd name="connsiteX48" fmla="*/ 3882 w 10000"/>
                  <a:gd name="connsiteY48" fmla="*/ 8512 h 10454"/>
                  <a:gd name="connsiteX49" fmla="*/ 3757 w 10000"/>
                  <a:gd name="connsiteY49" fmla="*/ 8318 h 10454"/>
                  <a:gd name="connsiteX50" fmla="*/ 4133 w 10000"/>
                  <a:gd name="connsiteY50" fmla="*/ 8124 h 10454"/>
                  <a:gd name="connsiteX51" fmla="*/ 3882 w 10000"/>
                  <a:gd name="connsiteY51" fmla="*/ 7736 h 10454"/>
                  <a:gd name="connsiteX52" fmla="*/ 4133 w 10000"/>
                  <a:gd name="connsiteY52" fmla="*/ 7541 h 10454"/>
                  <a:gd name="connsiteX53" fmla="*/ 4258 w 10000"/>
                  <a:gd name="connsiteY53" fmla="*/ 7638 h 10454"/>
                  <a:gd name="connsiteX54" fmla="*/ 4383 w 10000"/>
                  <a:gd name="connsiteY54" fmla="*/ 7638 h 10454"/>
                  <a:gd name="connsiteX55" fmla="*/ 4258 w 10000"/>
                  <a:gd name="connsiteY55" fmla="*/ 7833 h 10454"/>
                  <a:gd name="connsiteX56" fmla="*/ 4508 w 10000"/>
                  <a:gd name="connsiteY56" fmla="*/ 7930 h 10454"/>
                  <a:gd name="connsiteX57" fmla="*/ 4759 w 10000"/>
                  <a:gd name="connsiteY57" fmla="*/ 7736 h 10454"/>
                  <a:gd name="connsiteX58" fmla="*/ 5135 w 10000"/>
                  <a:gd name="connsiteY58" fmla="*/ 7833 h 10454"/>
                  <a:gd name="connsiteX59" fmla="*/ 5385 w 10000"/>
                  <a:gd name="connsiteY59" fmla="*/ 8124 h 10454"/>
                  <a:gd name="connsiteX60" fmla="*/ 5636 w 10000"/>
                  <a:gd name="connsiteY60" fmla="*/ 8124 h 10454"/>
                  <a:gd name="connsiteX61" fmla="*/ 5636 w 10000"/>
                  <a:gd name="connsiteY61" fmla="*/ 8415 h 10454"/>
                  <a:gd name="connsiteX62" fmla="*/ 5886 w 10000"/>
                  <a:gd name="connsiteY62" fmla="*/ 8609 h 10454"/>
                  <a:gd name="connsiteX63" fmla="*/ 6011 w 10000"/>
                  <a:gd name="connsiteY63" fmla="*/ 8609 h 10454"/>
                  <a:gd name="connsiteX64" fmla="*/ 6011 w 10000"/>
                  <a:gd name="connsiteY64" fmla="*/ 8998 h 10454"/>
                  <a:gd name="connsiteX65" fmla="*/ 6387 w 10000"/>
                  <a:gd name="connsiteY65" fmla="*/ 9289 h 10454"/>
                  <a:gd name="connsiteX66" fmla="*/ 6763 w 10000"/>
                  <a:gd name="connsiteY66" fmla="*/ 9386 h 10454"/>
                  <a:gd name="connsiteX67" fmla="*/ 6763 w 10000"/>
                  <a:gd name="connsiteY67" fmla="*/ 9580 h 10454"/>
                  <a:gd name="connsiteX68" fmla="*/ 6637 w 10000"/>
                  <a:gd name="connsiteY68" fmla="*/ 9677 h 10454"/>
                  <a:gd name="connsiteX69" fmla="*/ 6512 w 10000"/>
                  <a:gd name="connsiteY69" fmla="*/ 9871 h 10454"/>
                  <a:gd name="connsiteX70" fmla="*/ 6512 w 10000"/>
                  <a:gd name="connsiteY70" fmla="*/ 10066 h 10454"/>
                  <a:gd name="connsiteX71" fmla="*/ 6637 w 10000"/>
                  <a:gd name="connsiteY71" fmla="*/ 10163 h 10454"/>
                  <a:gd name="connsiteX72" fmla="*/ 6763 w 10000"/>
                  <a:gd name="connsiteY72" fmla="*/ 10454 h 10454"/>
                  <a:gd name="connsiteX73" fmla="*/ 7138 w 10000"/>
                  <a:gd name="connsiteY73" fmla="*/ 10357 h 10454"/>
                  <a:gd name="connsiteX74" fmla="*/ 7764 w 10000"/>
                  <a:gd name="connsiteY74" fmla="*/ 10260 h 10454"/>
                  <a:gd name="connsiteX75" fmla="*/ 8015 w 10000"/>
                  <a:gd name="connsiteY75" fmla="*/ 10260 h 10454"/>
                  <a:gd name="connsiteX76" fmla="*/ 8516 w 10000"/>
                  <a:gd name="connsiteY76" fmla="*/ 10163 h 10454"/>
                  <a:gd name="connsiteX77" fmla="*/ 8766 w 10000"/>
                  <a:gd name="connsiteY77" fmla="*/ 10357 h 10454"/>
                  <a:gd name="connsiteX78" fmla="*/ 9017 w 10000"/>
                  <a:gd name="connsiteY78" fmla="*/ 9969 h 10454"/>
                  <a:gd name="connsiteX79" fmla="*/ 8891 w 10000"/>
                  <a:gd name="connsiteY79" fmla="*/ 9677 h 10454"/>
                  <a:gd name="connsiteX80" fmla="*/ 8766 w 10000"/>
                  <a:gd name="connsiteY80" fmla="*/ 8901 h 10454"/>
                  <a:gd name="connsiteX81" fmla="*/ 9392 w 10000"/>
                  <a:gd name="connsiteY81" fmla="*/ 8804 h 10454"/>
                  <a:gd name="connsiteX82" fmla="*/ 9893 w 10000"/>
                  <a:gd name="connsiteY82" fmla="*/ 8318 h 10454"/>
                  <a:gd name="connsiteX83" fmla="*/ 9769 w 10000"/>
                  <a:gd name="connsiteY83" fmla="*/ 7833 h 10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0000" h="10454">
                    <a:moveTo>
                      <a:pt x="9769" y="7833"/>
                    </a:moveTo>
                    <a:cubicBezTo>
                      <a:pt x="9643" y="7638"/>
                      <a:pt x="9518" y="7444"/>
                      <a:pt x="9268" y="7444"/>
                    </a:cubicBezTo>
                    <a:cubicBezTo>
                      <a:pt x="9017" y="7347"/>
                      <a:pt x="9017" y="7347"/>
                      <a:pt x="8766" y="7153"/>
                    </a:cubicBezTo>
                    <a:cubicBezTo>
                      <a:pt x="8642" y="6862"/>
                      <a:pt x="8516" y="6862"/>
                      <a:pt x="8516" y="6376"/>
                    </a:cubicBezTo>
                    <a:cubicBezTo>
                      <a:pt x="8516" y="5988"/>
                      <a:pt x="8642" y="5988"/>
                      <a:pt x="8891" y="5794"/>
                    </a:cubicBezTo>
                    <a:cubicBezTo>
                      <a:pt x="9142" y="5503"/>
                      <a:pt x="9488" y="5501"/>
                      <a:pt x="9544" y="5354"/>
                    </a:cubicBezTo>
                    <a:cubicBezTo>
                      <a:pt x="9600" y="5207"/>
                      <a:pt x="9295" y="5063"/>
                      <a:pt x="9228" y="4910"/>
                    </a:cubicBezTo>
                    <a:cubicBezTo>
                      <a:pt x="9161" y="4757"/>
                      <a:pt x="9240" y="4563"/>
                      <a:pt x="9142" y="4435"/>
                    </a:cubicBezTo>
                    <a:cubicBezTo>
                      <a:pt x="9044" y="4307"/>
                      <a:pt x="8891" y="4240"/>
                      <a:pt x="8642" y="4143"/>
                    </a:cubicBezTo>
                    <a:cubicBezTo>
                      <a:pt x="8391" y="4143"/>
                      <a:pt x="8015" y="4435"/>
                      <a:pt x="7890" y="4629"/>
                    </a:cubicBezTo>
                    <a:cubicBezTo>
                      <a:pt x="7764" y="4823"/>
                      <a:pt x="7764" y="4629"/>
                      <a:pt x="7639" y="4337"/>
                    </a:cubicBezTo>
                    <a:cubicBezTo>
                      <a:pt x="7389" y="4046"/>
                      <a:pt x="7380" y="3917"/>
                      <a:pt x="7005" y="4014"/>
                    </a:cubicBezTo>
                    <a:cubicBezTo>
                      <a:pt x="6754" y="4112"/>
                      <a:pt x="6637" y="4046"/>
                      <a:pt x="6262" y="3949"/>
                    </a:cubicBezTo>
                    <a:cubicBezTo>
                      <a:pt x="6011" y="3755"/>
                      <a:pt x="6011" y="3852"/>
                      <a:pt x="6136" y="3755"/>
                    </a:cubicBezTo>
                    <a:cubicBezTo>
                      <a:pt x="6262" y="3658"/>
                      <a:pt x="6262" y="3561"/>
                      <a:pt x="6136" y="3464"/>
                    </a:cubicBezTo>
                    <a:cubicBezTo>
                      <a:pt x="5886" y="3270"/>
                      <a:pt x="6136" y="3367"/>
                      <a:pt x="6011" y="3075"/>
                    </a:cubicBezTo>
                    <a:cubicBezTo>
                      <a:pt x="6011" y="2784"/>
                      <a:pt x="6062" y="2747"/>
                      <a:pt x="5686" y="2650"/>
                    </a:cubicBezTo>
                    <a:cubicBezTo>
                      <a:pt x="5436" y="2456"/>
                      <a:pt x="5345" y="2328"/>
                      <a:pt x="5227" y="2156"/>
                    </a:cubicBezTo>
                    <a:cubicBezTo>
                      <a:pt x="5109" y="1984"/>
                      <a:pt x="5102" y="1716"/>
                      <a:pt x="4976" y="1619"/>
                    </a:cubicBezTo>
                    <a:cubicBezTo>
                      <a:pt x="4976" y="1425"/>
                      <a:pt x="5211" y="1102"/>
                      <a:pt x="5086" y="1005"/>
                    </a:cubicBezTo>
                    <a:cubicBezTo>
                      <a:pt x="4961" y="1005"/>
                      <a:pt x="4652" y="212"/>
                      <a:pt x="4401" y="115"/>
                    </a:cubicBezTo>
                    <a:cubicBezTo>
                      <a:pt x="4151" y="-80"/>
                      <a:pt x="3793" y="30"/>
                      <a:pt x="3498" y="48"/>
                    </a:cubicBezTo>
                    <a:cubicBezTo>
                      <a:pt x="3203" y="66"/>
                      <a:pt x="2755" y="223"/>
                      <a:pt x="2630" y="223"/>
                    </a:cubicBezTo>
                    <a:cubicBezTo>
                      <a:pt x="2380" y="320"/>
                      <a:pt x="2109" y="367"/>
                      <a:pt x="1879" y="454"/>
                    </a:cubicBezTo>
                    <a:cubicBezTo>
                      <a:pt x="1650" y="541"/>
                      <a:pt x="1502" y="551"/>
                      <a:pt x="1253" y="745"/>
                    </a:cubicBezTo>
                    <a:cubicBezTo>
                      <a:pt x="1002" y="939"/>
                      <a:pt x="752" y="842"/>
                      <a:pt x="626" y="842"/>
                    </a:cubicBezTo>
                    <a:cubicBezTo>
                      <a:pt x="375" y="939"/>
                      <a:pt x="0" y="1037"/>
                      <a:pt x="0" y="1037"/>
                    </a:cubicBezTo>
                    <a:cubicBezTo>
                      <a:pt x="0" y="1037"/>
                      <a:pt x="125" y="1231"/>
                      <a:pt x="251" y="1522"/>
                    </a:cubicBezTo>
                    <a:cubicBezTo>
                      <a:pt x="375" y="1813"/>
                      <a:pt x="251" y="1813"/>
                      <a:pt x="251" y="1910"/>
                    </a:cubicBezTo>
                    <a:cubicBezTo>
                      <a:pt x="375" y="2007"/>
                      <a:pt x="626" y="2007"/>
                      <a:pt x="501" y="2104"/>
                    </a:cubicBezTo>
                    <a:cubicBezTo>
                      <a:pt x="375" y="2299"/>
                      <a:pt x="626" y="2493"/>
                      <a:pt x="876" y="2687"/>
                    </a:cubicBezTo>
                    <a:cubicBezTo>
                      <a:pt x="1002" y="2784"/>
                      <a:pt x="1378" y="2881"/>
                      <a:pt x="1253" y="2881"/>
                    </a:cubicBezTo>
                    <a:cubicBezTo>
                      <a:pt x="1127" y="2978"/>
                      <a:pt x="626" y="2881"/>
                      <a:pt x="752" y="3075"/>
                    </a:cubicBezTo>
                    <a:cubicBezTo>
                      <a:pt x="876" y="3270"/>
                      <a:pt x="752" y="3561"/>
                      <a:pt x="752" y="3561"/>
                    </a:cubicBezTo>
                    <a:cubicBezTo>
                      <a:pt x="752" y="3561"/>
                      <a:pt x="752" y="3464"/>
                      <a:pt x="1002" y="3561"/>
                    </a:cubicBezTo>
                    <a:cubicBezTo>
                      <a:pt x="1127" y="3561"/>
                      <a:pt x="1253" y="3464"/>
                      <a:pt x="1253" y="3852"/>
                    </a:cubicBezTo>
                    <a:cubicBezTo>
                      <a:pt x="1253" y="4143"/>
                      <a:pt x="1002" y="4532"/>
                      <a:pt x="876" y="4823"/>
                    </a:cubicBezTo>
                    <a:cubicBezTo>
                      <a:pt x="752" y="5017"/>
                      <a:pt x="876" y="5114"/>
                      <a:pt x="1253" y="5211"/>
                    </a:cubicBezTo>
                    <a:cubicBezTo>
                      <a:pt x="1502" y="5405"/>
                      <a:pt x="1502" y="5308"/>
                      <a:pt x="1628" y="5503"/>
                    </a:cubicBezTo>
                    <a:cubicBezTo>
                      <a:pt x="1879" y="5794"/>
                      <a:pt x="2003" y="5697"/>
                      <a:pt x="2003" y="5891"/>
                    </a:cubicBezTo>
                    <a:cubicBezTo>
                      <a:pt x="2129" y="6085"/>
                      <a:pt x="1753" y="5988"/>
                      <a:pt x="1502" y="5891"/>
                    </a:cubicBezTo>
                    <a:cubicBezTo>
                      <a:pt x="1253" y="5891"/>
                      <a:pt x="1378" y="5988"/>
                      <a:pt x="1378" y="6182"/>
                    </a:cubicBezTo>
                    <a:cubicBezTo>
                      <a:pt x="1378" y="6279"/>
                      <a:pt x="1753" y="6473"/>
                      <a:pt x="1753" y="6668"/>
                    </a:cubicBezTo>
                    <a:cubicBezTo>
                      <a:pt x="1879" y="6765"/>
                      <a:pt x="1753" y="6959"/>
                      <a:pt x="1502" y="6959"/>
                    </a:cubicBezTo>
                    <a:cubicBezTo>
                      <a:pt x="1253" y="7056"/>
                      <a:pt x="1253" y="7153"/>
                      <a:pt x="1002" y="7153"/>
                    </a:cubicBezTo>
                    <a:lnTo>
                      <a:pt x="1753" y="7541"/>
                    </a:lnTo>
                    <a:lnTo>
                      <a:pt x="3381" y="8318"/>
                    </a:lnTo>
                    <a:lnTo>
                      <a:pt x="3381" y="8609"/>
                    </a:lnTo>
                    <a:lnTo>
                      <a:pt x="3882" y="8512"/>
                    </a:lnTo>
                    <a:lnTo>
                      <a:pt x="3757" y="8318"/>
                    </a:lnTo>
                    <a:lnTo>
                      <a:pt x="4133" y="8124"/>
                    </a:lnTo>
                    <a:cubicBezTo>
                      <a:pt x="4049" y="7995"/>
                      <a:pt x="3966" y="7865"/>
                      <a:pt x="3882" y="7736"/>
                    </a:cubicBezTo>
                    <a:lnTo>
                      <a:pt x="4133" y="7541"/>
                    </a:lnTo>
                    <a:cubicBezTo>
                      <a:pt x="4175" y="7573"/>
                      <a:pt x="4216" y="7606"/>
                      <a:pt x="4258" y="7638"/>
                    </a:cubicBezTo>
                    <a:lnTo>
                      <a:pt x="4383" y="7638"/>
                    </a:lnTo>
                    <a:cubicBezTo>
                      <a:pt x="4341" y="7703"/>
                      <a:pt x="4300" y="7768"/>
                      <a:pt x="4258" y="7833"/>
                    </a:cubicBezTo>
                    <a:lnTo>
                      <a:pt x="4508" y="7930"/>
                    </a:lnTo>
                    <a:lnTo>
                      <a:pt x="4759" y="7736"/>
                    </a:lnTo>
                    <a:lnTo>
                      <a:pt x="5135" y="7833"/>
                    </a:lnTo>
                    <a:lnTo>
                      <a:pt x="5385" y="8124"/>
                    </a:lnTo>
                    <a:lnTo>
                      <a:pt x="5636" y="8124"/>
                    </a:lnTo>
                    <a:lnTo>
                      <a:pt x="5636" y="8415"/>
                    </a:lnTo>
                    <a:lnTo>
                      <a:pt x="5886" y="8609"/>
                    </a:lnTo>
                    <a:lnTo>
                      <a:pt x="6011" y="8609"/>
                    </a:lnTo>
                    <a:lnTo>
                      <a:pt x="6011" y="8998"/>
                    </a:lnTo>
                    <a:lnTo>
                      <a:pt x="6387" y="9289"/>
                    </a:lnTo>
                    <a:lnTo>
                      <a:pt x="6763" y="9386"/>
                    </a:lnTo>
                    <a:lnTo>
                      <a:pt x="6763" y="9580"/>
                    </a:lnTo>
                    <a:lnTo>
                      <a:pt x="6637" y="9677"/>
                    </a:lnTo>
                    <a:lnTo>
                      <a:pt x="6512" y="9871"/>
                    </a:lnTo>
                    <a:lnTo>
                      <a:pt x="6512" y="10066"/>
                    </a:lnTo>
                    <a:cubicBezTo>
                      <a:pt x="6554" y="10098"/>
                      <a:pt x="6595" y="10131"/>
                      <a:pt x="6637" y="10163"/>
                    </a:cubicBezTo>
                    <a:lnTo>
                      <a:pt x="6763" y="10454"/>
                    </a:lnTo>
                    <a:cubicBezTo>
                      <a:pt x="6888" y="10454"/>
                      <a:pt x="7014" y="10454"/>
                      <a:pt x="7138" y="10357"/>
                    </a:cubicBezTo>
                    <a:cubicBezTo>
                      <a:pt x="7263" y="10260"/>
                      <a:pt x="7639" y="10163"/>
                      <a:pt x="7764" y="10260"/>
                    </a:cubicBezTo>
                    <a:cubicBezTo>
                      <a:pt x="7890" y="10260"/>
                      <a:pt x="7890" y="10357"/>
                      <a:pt x="8015" y="10260"/>
                    </a:cubicBezTo>
                    <a:cubicBezTo>
                      <a:pt x="8265" y="10163"/>
                      <a:pt x="8391" y="10163"/>
                      <a:pt x="8516" y="10163"/>
                    </a:cubicBezTo>
                    <a:cubicBezTo>
                      <a:pt x="8766" y="10163"/>
                      <a:pt x="8766" y="10357"/>
                      <a:pt x="8766" y="10357"/>
                    </a:cubicBezTo>
                    <a:cubicBezTo>
                      <a:pt x="8766" y="10357"/>
                      <a:pt x="9017" y="10163"/>
                      <a:pt x="9017" y="9969"/>
                    </a:cubicBezTo>
                    <a:cubicBezTo>
                      <a:pt x="9142" y="9871"/>
                      <a:pt x="9017" y="9871"/>
                      <a:pt x="8891" y="9677"/>
                    </a:cubicBezTo>
                    <a:cubicBezTo>
                      <a:pt x="8766" y="9580"/>
                      <a:pt x="8766" y="9289"/>
                      <a:pt x="8766" y="8901"/>
                    </a:cubicBezTo>
                    <a:cubicBezTo>
                      <a:pt x="8891" y="8512"/>
                      <a:pt x="9268" y="8901"/>
                      <a:pt x="9392" y="8804"/>
                    </a:cubicBezTo>
                    <a:cubicBezTo>
                      <a:pt x="9518" y="8706"/>
                      <a:pt x="9769" y="8512"/>
                      <a:pt x="9893" y="8318"/>
                    </a:cubicBezTo>
                    <a:cubicBezTo>
                      <a:pt x="10144" y="8124"/>
                      <a:pt x="9893" y="8027"/>
                      <a:pt x="9769" y="7833"/>
                    </a:cubicBezTo>
                    <a:close/>
                  </a:path>
                </a:pathLst>
              </a:custGeom>
              <a:solidFill>
                <a:srgbClr val="73C375"/>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4" name="Freeform 213"/>
              <p:cNvSpPr>
                <a:spLocks/>
              </p:cNvSpPr>
              <p:nvPr/>
            </p:nvSpPr>
            <p:spPr bwMode="gray">
              <a:xfrm>
                <a:off x="5306903" y="4079077"/>
                <a:ext cx="139935" cy="192457"/>
              </a:xfrm>
              <a:custGeom>
                <a:avLst/>
                <a:gdLst>
                  <a:gd name="T0" fmla="*/ 28 w 30"/>
                  <a:gd name="T1" fmla="*/ 26 h 42"/>
                  <a:gd name="T2" fmla="*/ 28 w 30"/>
                  <a:gd name="T3" fmla="*/ 24 h 42"/>
                  <a:gd name="T4" fmla="*/ 29 w 30"/>
                  <a:gd name="T5" fmla="*/ 22 h 42"/>
                  <a:gd name="T6" fmla="*/ 30 w 30"/>
                  <a:gd name="T7" fmla="*/ 21 h 42"/>
                  <a:gd name="T8" fmla="*/ 30 w 30"/>
                  <a:gd name="T9" fmla="*/ 19 h 42"/>
                  <a:gd name="T10" fmla="*/ 27 w 30"/>
                  <a:gd name="T11" fmla="*/ 18 h 42"/>
                  <a:gd name="T12" fmla="*/ 24 w 30"/>
                  <a:gd name="T13" fmla="*/ 15 h 42"/>
                  <a:gd name="T14" fmla="*/ 24 w 30"/>
                  <a:gd name="T15" fmla="*/ 11 h 42"/>
                  <a:gd name="T16" fmla="*/ 23 w 30"/>
                  <a:gd name="T17" fmla="*/ 11 h 42"/>
                  <a:gd name="T18" fmla="*/ 21 w 30"/>
                  <a:gd name="T19" fmla="*/ 9 h 42"/>
                  <a:gd name="T20" fmla="*/ 21 w 30"/>
                  <a:gd name="T21" fmla="*/ 6 h 42"/>
                  <a:gd name="T22" fmla="*/ 19 w 30"/>
                  <a:gd name="T23" fmla="*/ 6 h 42"/>
                  <a:gd name="T24" fmla="*/ 17 w 30"/>
                  <a:gd name="T25" fmla="*/ 3 h 42"/>
                  <a:gd name="T26" fmla="*/ 14 w 30"/>
                  <a:gd name="T27" fmla="*/ 2 h 42"/>
                  <a:gd name="T28" fmla="*/ 12 w 30"/>
                  <a:gd name="T29" fmla="*/ 4 h 42"/>
                  <a:gd name="T30" fmla="*/ 10 w 30"/>
                  <a:gd name="T31" fmla="*/ 3 h 42"/>
                  <a:gd name="T32" fmla="*/ 11 w 30"/>
                  <a:gd name="T33" fmla="*/ 1 h 42"/>
                  <a:gd name="T34" fmla="*/ 10 w 30"/>
                  <a:gd name="T35" fmla="*/ 1 h 42"/>
                  <a:gd name="T36" fmla="*/ 9 w 30"/>
                  <a:gd name="T37" fmla="*/ 0 h 42"/>
                  <a:gd name="T38" fmla="*/ 7 w 30"/>
                  <a:gd name="T39" fmla="*/ 2 h 42"/>
                  <a:gd name="T40" fmla="*/ 9 w 30"/>
                  <a:gd name="T41" fmla="*/ 6 h 42"/>
                  <a:gd name="T42" fmla="*/ 6 w 30"/>
                  <a:gd name="T43" fmla="*/ 8 h 42"/>
                  <a:gd name="T44" fmla="*/ 7 w 30"/>
                  <a:gd name="T45" fmla="*/ 10 h 42"/>
                  <a:gd name="T46" fmla="*/ 3 w 30"/>
                  <a:gd name="T47" fmla="*/ 11 h 42"/>
                  <a:gd name="T48" fmla="*/ 0 w 30"/>
                  <a:gd name="T49" fmla="*/ 14 h 42"/>
                  <a:gd name="T50" fmla="*/ 3 w 30"/>
                  <a:gd name="T51" fmla="*/ 16 h 42"/>
                  <a:gd name="T52" fmla="*/ 3 w 30"/>
                  <a:gd name="T53" fmla="*/ 19 h 42"/>
                  <a:gd name="T54" fmla="*/ 4 w 30"/>
                  <a:gd name="T55" fmla="*/ 22 h 42"/>
                  <a:gd name="T56" fmla="*/ 6 w 30"/>
                  <a:gd name="T57" fmla="*/ 26 h 42"/>
                  <a:gd name="T58" fmla="*/ 8 w 30"/>
                  <a:gd name="T59" fmla="*/ 29 h 42"/>
                  <a:gd name="T60" fmla="*/ 12 w 30"/>
                  <a:gd name="T61" fmla="*/ 33 h 42"/>
                  <a:gd name="T62" fmla="*/ 13 w 30"/>
                  <a:gd name="T63" fmla="*/ 42 h 42"/>
                  <a:gd name="T64" fmla="*/ 15 w 30"/>
                  <a:gd name="T65" fmla="*/ 40 h 42"/>
                  <a:gd name="T66" fmla="*/ 17 w 30"/>
                  <a:gd name="T67" fmla="*/ 35 h 42"/>
                  <a:gd name="T68" fmla="*/ 21 w 30"/>
                  <a:gd name="T69" fmla="*/ 32 h 42"/>
                  <a:gd name="T70" fmla="*/ 24 w 30"/>
                  <a:gd name="T71" fmla="*/ 33 h 42"/>
                  <a:gd name="T72" fmla="*/ 26 w 30"/>
                  <a:gd name="T73" fmla="*/ 32 h 42"/>
                  <a:gd name="T74" fmla="*/ 30 w 30"/>
                  <a:gd name="T75" fmla="*/ 30 h 42"/>
                  <a:gd name="T76" fmla="*/ 29 w 30"/>
                  <a:gd name="T77" fmla="*/ 27 h 42"/>
                  <a:gd name="T78" fmla="*/ 28 w 30"/>
                  <a:gd name="T79"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 h="42">
                    <a:moveTo>
                      <a:pt x="28" y="26"/>
                    </a:moveTo>
                    <a:cubicBezTo>
                      <a:pt x="28" y="24"/>
                      <a:pt x="28" y="24"/>
                      <a:pt x="28" y="24"/>
                    </a:cubicBezTo>
                    <a:cubicBezTo>
                      <a:pt x="29" y="22"/>
                      <a:pt x="29" y="22"/>
                      <a:pt x="29" y="22"/>
                    </a:cubicBezTo>
                    <a:cubicBezTo>
                      <a:pt x="30" y="21"/>
                      <a:pt x="30" y="21"/>
                      <a:pt x="30" y="21"/>
                    </a:cubicBezTo>
                    <a:cubicBezTo>
                      <a:pt x="30" y="19"/>
                      <a:pt x="30" y="19"/>
                      <a:pt x="30" y="19"/>
                    </a:cubicBezTo>
                    <a:cubicBezTo>
                      <a:pt x="27" y="18"/>
                      <a:pt x="27" y="18"/>
                      <a:pt x="27" y="18"/>
                    </a:cubicBezTo>
                    <a:cubicBezTo>
                      <a:pt x="24" y="15"/>
                      <a:pt x="24" y="15"/>
                      <a:pt x="24" y="15"/>
                    </a:cubicBezTo>
                    <a:cubicBezTo>
                      <a:pt x="24" y="11"/>
                      <a:pt x="24" y="11"/>
                      <a:pt x="24" y="11"/>
                    </a:cubicBezTo>
                    <a:cubicBezTo>
                      <a:pt x="23" y="11"/>
                      <a:pt x="23" y="11"/>
                      <a:pt x="23" y="11"/>
                    </a:cubicBezTo>
                    <a:cubicBezTo>
                      <a:pt x="21" y="9"/>
                      <a:pt x="21" y="9"/>
                      <a:pt x="21" y="9"/>
                    </a:cubicBezTo>
                    <a:cubicBezTo>
                      <a:pt x="21" y="6"/>
                      <a:pt x="21" y="6"/>
                      <a:pt x="21" y="6"/>
                    </a:cubicBezTo>
                    <a:cubicBezTo>
                      <a:pt x="19" y="6"/>
                      <a:pt x="19" y="6"/>
                      <a:pt x="19" y="6"/>
                    </a:cubicBezTo>
                    <a:cubicBezTo>
                      <a:pt x="17" y="3"/>
                      <a:pt x="17" y="3"/>
                      <a:pt x="17" y="3"/>
                    </a:cubicBezTo>
                    <a:cubicBezTo>
                      <a:pt x="14" y="2"/>
                      <a:pt x="14" y="2"/>
                      <a:pt x="14" y="2"/>
                    </a:cubicBezTo>
                    <a:cubicBezTo>
                      <a:pt x="12" y="4"/>
                      <a:pt x="12" y="4"/>
                      <a:pt x="12" y="4"/>
                    </a:cubicBezTo>
                    <a:cubicBezTo>
                      <a:pt x="10" y="3"/>
                      <a:pt x="10" y="3"/>
                      <a:pt x="10" y="3"/>
                    </a:cubicBezTo>
                    <a:cubicBezTo>
                      <a:pt x="11" y="1"/>
                      <a:pt x="11" y="1"/>
                      <a:pt x="11" y="1"/>
                    </a:cubicBezTo>
                    <a:cubicBezTo>
                      <a:pt x="10" y="1"/>
                      <a:pt x="10" y="1"/>
                      <a:pt x="10" y="1"/>
                    </a:cubicBezTo>
                    <a:cubicBezTo>
                      <a:pt x="9" y="0"/>
                      <a:pt x="9" y="0"/>
                      <a:pt x="9" y="0"/>
                    </a:cubicBezTo>
                    <a:cubicBezTo>
                      <a:pt x="7" y="2"/>
                      <a:pt x="7" y="2"/>
                      <a:pt x="7" y="2"/>
                    </a:cubicBezTo>
                    <a:cubicBezTo>
                      <a:pt x="9" y="6"/>
                      <a:pt x="9" y="6"/>
                      <a:pt x="9" y="6"/>
                    </a:cubicBezTo>
                    <a:cubicBezTo>
                      <a:pt x="6" y="8"/>
                      <a:pt x="6" y="8"/>
                      <a:pt x="6" y="8"/>
                    </a:cubicBezTo>
                    <a:cubicBezTo>
                      <a:pt x="7" y="10"/>
                      <a:pt x="7" y="10"/>
                      <a:pt x="7" y="10"/>
                    </a:cubicBezTo>
                    <a:cubicBezTo>
                      <a:pt x="3" y="11"/>
                      <a:pt x="3" y="11"/>
                      <a:pt x="3" y="11"/>
                    </a:cubicBezTo>
                    <a:cubicBezTo>
                      <a:pt x="0" y="14"/>
                      <a:pt x="0" y="14"/>
                      <a:pt x="0" y="14"/>
                    </a:cubicBezTo>
                    <a:cubicBezTo>
                      <a:pt x="3" y="16"/>
                      <a:pt x="3" y="16"/>
                      <a:pt x="3" y="16"/>
                    </a:cubicBezTo>
                    <a:cubicBezTo>
                      <a:pt x="3" y="19"/>
                      <a:pt x="3" y="19"/>
                      <a:pt x="3" y="19"/>
                    </a:cubicBezTo>
                    <a:cubicBezTo>
                      <a:pt x="4" y="17"/>
                      <a:pt x="3" y="21"/>
                      <a:pt x="4" y="22"/>
                    </a:cubicBezTo>
                    <a:cubicBezTo>
                      <a:pt x="5" y="24"/>
                      <a:pt x="6" y="24"/>
                      <a:pt x="6" y="26"/>
                    </a:cubicBezTo>
                    <a:cubicBezTo>
                      <a:pt x="6" y="28"/>
                      <a:pt x="7" y="28"/>
                      <a:pt x="8" y="29"/>
                    </a:cubicBezTo>
                    <a:cubicBezTo>
                      <a:pt x="10" y="30"/>
                      <a:pt x="12" y="31"/>
                      <a:pt x="12" y="33"/>
                    </a:cubicBezTo>
                    <a:cubicBezTo>
                      <a:pt x="13" y="35"/>
                      <a:pt x="13" y="42"/>
                      <a:pt x="13" y="42"/>
                    </a:cubicBezTo>
                    <a:cubicBezTo>
                      <a:pt x="14" y="41"/>
                      <a:pt x="14" y="40"/>
                      <a:pt x="15" y="40"/>
                    </a:cubicBezTo>
                    <a:cubicBezTo>
                      <a:pt x="16" y="38"/>
                      <a:pt x="16" y="35"/>
                      <a:pt x="17" y="35"/>
                    </a:cubicBezTo>
                    <a:cubicBezTo>
                      <a:pt x="18" y="35"/>
                      <a:pt x="20" y="33"/>
                      <a:pt x="21" y="32"/>
                    </a:cubicBezTo>
                    <a:cubicBezTo>
                      <a:pt x="22" y="31"/>
                      <a:pt x="23" y="32"/>
                      <a:pt x="24" y="33"/>
                    </a:cubicBezTo>
                    <a:cubicBezTo>
                      <a:pt x="24" y="35"/>
                      <a:pt x="25" y="33"/>
                      <a:pt x="26" y="32"/>
                    </a:cubicBezTo>
                    <a:cubicBezTo>
                      <a:pt x="27" y="30"/>
                      <a:pt x="29" y="29"/>
                      <a:pt x="30" y="30"/>
                    </a:cubicBezTo>
                    <a:cubicBezTo>
                      <a:pt x="29" y="27"/>
                      <a:pt x="29" y="27"/>
                      <a:pt x="29" y="27"/>
                    </a:cubicBezTo>
                    <a:lnTo>
                      <a:pt x="28" y="26"/>
                    </a:ln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5" name="Freeform 9"/>
              <p:cNvSpPr>
                <a:spLocks/>
              </p:cNvSpPr>
              <p:nvPr/>
            </p:nvSpPr>
            <p:spPr bwMode="gray">
              <a:xfrm>
                <a:off x="6372085" y="3641632"/>
                <a:ext cx="349328" cy="203245"/>
              </a:xfrm>
              <a:custGeom>
                <a:avLst/>
                <a:gdLst>
                  <a:gd name="T0" fmla="*/ 0 w 220"/>
                  <a:gd name="T1" fmla="*/ 60 h 128"/>
                  <a:gd name="T2" fmla="*/ 14 w 220"/>
                  <a:gd name="T3" fmla="*/ 46 h 128"/>
                  <a:gd name="T4" fmla="*/ 34 w 220"/>
                  <a:gd name="T5" fmla="*/ 40 h 128"/>
                  <a:gd name="T6" fmla="*/ 48 w 220"/>
                  <a:gd name="T7" fmla="*/ 26 h 128"/>
                  <a:gd name="T8" fmla="*/ 56 w 220"/>
                  <a:gd name="T9" fmla="*/ 14 h 128"/>
                  <a:gd name="T10" fmla="*/ 62 w 220"/>
                  <a:gd name="T11" fmla="*/ 0 h 128"/>
                  <a:gd name="T12" fmla="*/ 70 w 220"/>
                  <a:gd name="T13" fmla="*/ 6 h 128"/>
                  <a:gd name="T14" fmla="*/ 76 w 220"/>
                  <a:gd name="T15" fmla="*/ 20 h 128"/>
                  <a:gd name="T16" fmla="*/ 88 w 220"/>
                  <a:gd name="T17" fmla="*/ 0 h 128"/>
                  <a:gd name="T18" fmla="*/ 104 w 220"/>
                  <a:gd name="T19" fmla="*/ 14 h 128"/>
                  <a:gd name="T20" fmla="*/ 104 w 220"/>
                  <a:gd name="T21" fmla="*/ 26 h 128"/>
                  <a:gd name="T22" fmla="*/ 116 w 220"/>
                  <a:gd name="T23" fmla="*/ 26 h 128"/>
                  <a:gd name="T24" fmla="*/ 122 w 220"/>
                  <a:gd name="T25" fmla="*/ 40 h 128"/>
                  <a:gd name="T26" fmla="*/ 144 w 220"/>
                  <a:gd name="T27" fmla="*/ 40 h 128"/>
                  <a:gd name="T28" fmla="*/ 172 w 220"/>
                  <a:gd name="T29" fmla="*/ 46 h 128"/>
                  <a:gd name="T30" fmla="*/ 184 w 220"/>
                  <a:gd name="T31" fmla="*/ 34 h 128"/>
                  <a:gd name="T32" fmla="*/ 212 w 220"/>
                  <a:gd name="T33" fmla="*/ 26 h 128"/>
                  <a:gd name="T34" fmla="*/ 220 w 220"/>
                  <a:gd name="T35" fmla="*/ 34 h 128"/>
                  <a:gd name="T36" fmla="*/ 212 w 220"/>
                  <a:gd name="T37" fmla="*/ 40 h 128"/>
                  <a:gd name="T38" fmla="*/ 220 w 220"/>
                  <a:gd name="T39" fmla="*/ 54 h 128"/>
                  <a:gd name="T40" fmla="*/ 192 w 220"/>
                  <a:gd name="T41" fmla="*/ 60 h 128"/>
                  <a:gd name="T42" fmla="*/ 178 w 220"/>
                  <a:gd name="T43" fmla="*/ 54 h 128"/>
                  <a:gd name="T44" fmla="*/ 150 w 220"/>
                  <a:gd name="T45" fmla="*/ 68 h 128"/>
                  <a:gd name="T46" fmla="*/ 144 w 220"/>
                  <a:gd name="T47" fmla="*/ 94 h 128"/>
                  <a:gd name="T48" fmla="*/ 136 w 220"/>
                  <a:gd name="T49" fmla="*/ 80 h 128"/>
                  <a:gd name="T50" fmla="*/ 116 w 220"/>
                  <a:gd name="T51" fmla="*/ 94 h 128"/>
                  <a:gd name="T52" fmla="*/ 104 w 220"/>
                  <a:gd name="T53" fmla="*/ 122 h 128"/>
                  <a:gd name="T54" fmla="*/ 76 w 220"/>
                  <a:gd name="T55" fmla="*/ 122 h 128"/>
                  <a:gd name="T56" fmla="*/ 56 w 220"/>
                  <a:gd name="T57" fmla="*/ 116 h 128"/>
                  <a:gd name="T58" fmla="*/ 56 w 220"/>
                  <a:gd name="T59" fmla="*/ 94 h 128"/>
                  <a:gd name="T60" fmla="*/ 56 w 220"/>
                  <a:gd name="T61" fmla="*/ 74 h 128"/>
                  <a:gd name="T62" fmla="*/ 48 w 220"/>
                  <a:gd name="T63" fmla="*/ 74 h 128"/>
                  <a:gd name="T64" fmla="*/ 28 w 220"/>
                  <a:gd name="T65" fmla="*/ 60 h 128"/>
                  <a:gd name="T66" fmla="*/ 14 w 220"/>
                  <a:gd name="T67" fmla="*/ 60 h 128"/>
                  <a:gd name="T68" fmla="*/ 0 w 220"/>
                  <a:gd name="T69" fmla="*/ 6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0" h="128">
                    <a:moveTo>
                      <a:pt x="0" y="68"/>
                    </a:moveTo>
                    <a:lnTo>
                      <a:pt x="0" y="60"/>
                    </a:lnTo>
                    <a:lnTo>
                      <a:pt x="14" y="54"/>
                    </a:lnTo>
                    <a:lnTo>
                      <a:pt x="14" y="46"/>
                    </a:lnTo>
                    <a:lnTo>
                      <a:pt x="20" y="40"/>
                    </a:lnTo>
                    <a:lnTo>
                      <a:pt x="34" y="40"/>
                    </a:lnTo>
                    <a:lnTo>
                      <a:pt x="34" y="34"/>
                    </a:lnTo>
                    <a:lnTo>
                      <a:pt x="48" y="26"/>
                    </a:lnTo>
                    <a:lnTo>
                      <a:pt x="56" y="20"/>
                    </a:lnTo>
                    <a:lnTo>
                      <a:pt x="56" y="14"/>
                    </a:lnTo>
                    <a:lnTo>
                      <a:pt x="56" y="0"/>
                    </a:lnTo>
                    <a:lnTo>
                      <a:pt x="62" y="0"/>
                    </a:lnTo>
                    <a:lnTo>
                      <a:pt x="62" y="6"/>
                    </a:lnTo>
                    <a:lnTo>
                      <a:pt x="70" y="6"/>
                    </a:lnTo>
                    <a:lnTo>
                      <a:pt x="76" y="14"/>
                    </a:lnTo>
                    <a:lnTo>
                      <a:pt x="76" y="20"/>
                    </a:lnTo>
                    <a:lnTo>
                      <a:pt x="82" y="14"/>
                    </a:lnTo>
                    <a:lnTo>
                      <a:pt x="88" y="0"/>
                    </a:lnTo>
                    <a:lnTo>
                      <a:pt x="96" y="6"/>
                    </a:lnTo>
                    <a:lnTo>
                      <a:pt x="104" y="14"/>
                    </a:lnTo>
                    <a:lnTo>
                      <a:pt x="104" y="20"/>
                    </a:lnTo>
                    <a:lnTo>
                      <a:pt x="104" y="26"/>
                    </a:lnTo>
                    <a:lnTo>
                      <a:pt x="110" y="26"/>
                    </a:lnTo>
                    <a:lnTo>
                      <a:pt x="116" y="26"/>
                    </a:lnTo>
                    <a:lnTo>
                      <a:pt x="116" y="34"/>
                    </a:lnTo>
                    <a:lnTo>
                      <a:pt x="122" y="40"/>
                    </a:lnTo>
                    <a:lnTo>
                      <a:pt x="136" y="34"/>
                    </a:lnTo>
                    <a:lnTo>
                      <a:pt x="144" y="40"/>
                    </a:lnTo>
                    <a:lnTo>
                      <a:pt x="144" y="46"/>
                    </a:lnTo>
                    <a:lnTo>
                      <a:pt x="172" y="46"/>
                    </a:lnTo>
                    <a:lnTo>
                      <a:pt x="178" y="40"/>
                    </a:lnTo>
                    <a:lnTo>
                      <a:pt x="184" y="34"/>
                    </a:lnTo>
                    <a:lnTo>
                      <a:pt x="198" y="26"/>
                    </a:lnTo>
                    <a:lnTo>
                      <a:pt x="212" y="26"/>
                    </a:lnTo>
                    <a:lnTo>
                      <a:pt x="220" y="26"/>
                    </a:lnTo>
                    <a:lnTo>
                      <a:pt x="220" y="34"/>
                    </a:lnTo>
                    <a:lnTo>
                      <a:pt x="212" y="34"/>
                    </a:lnTo>
                    <a:lnTo>
                      <a:pt x="212" y="40"/>
                    </a:lnTo>
                    <a:lnTo>
                      <a:pt x="220" y="46"/>
                    </a:lnTo>
                    <a:lnTo>
                      <a:pt x="220" y="54"/>
                    </a:lnTo>
                    <a:lnTo>
                      <a:pt x="206" y="60"/>
                    </a:lnTo>
                    <a:lnTo>
                      <a:pt x="192" y="60"/>
                    </a:lnTo>
                    <a:lnTo>
                      <a:pt x="178" y="60"/>
                    </a:lnTo>
                    <a:lnTo>
                      <a:pt x="178" y="54"/>
                    </a:lnTo>
                    <a:lnTo>
                      <a:pt x="164" y="54"/>
                    </a:lnTo>
                    <a:lnTo>
                      <a:pt x="150" y="68"/>
                    </a:lnTo>
                    <a:lnTo>
                      <a:pt x="150" y="74"/>
                    </a:lnTo>
                    <a:lnTo>
                      <a:pt x="144" y="94"/>
                    </a:lnTo>
                    <a:lnTo>
                      <a:pt x="136" y="88"/>
                    </a:lnTo>
                    <a:lnTo>
                      <a:pt x="136" y="80"/>
                    </a:lnTo>
                    <a:lnTo>
                      <a:pt x="122" y="88"/>
                    </a:lnTo>
                    <a:lnTo>
                      <a:pt x="116" y="94"/>
                    </a:lnTo>
                    <a:lnTo>
                      <a:pt x="110" y="102"/>
                    </a:lnTo>
                    <a:lnTo>
                      <a:pt x="104" y="122"/>
                    </a:lnTo>
                    <a:lnTo>
                      <a:pt x="82" y="128"/>
                    </a:lnTo>
                    <a:lnTo>
                      <a:pt x="76" y="122"/>
                    </a:lnTo>
                    <a:lnTo>
                      <a:pt x="56" y="122"/>
                    </a:lnTo>
                    <a:lnTo>
                      <a:pt x="56" y="116"/>
                    </a:lnTo>
                    <a:lnTo>
                      <a:pt x="62" y="108"/>
                    </a:lnTo>
                    <a:lnTo>
                      <a:pt x="56" y="94"/>
                    </a:lnTo>
                    <a:lnTo>
                      <a:pt x="62" y="88"/>
                    </a:lnTo>
                    <a:lnTo>
                      <a:pt x="56" y="74"/>
                    </a:lnTo>
                    <a:lnTo>
                      <a:pt x="56" y="68"/>
                    </a:lnTo>
                    <a:lnTo>
                      <a:pt x="48" y="74"/>
                    </a:lnTo>
                    <a:lnTo>
                      <a:pt x="34" y="68"/>
                    </a:lnTo>
                    <a:lnTo>
                      <a:pt x="28" y="60"/>
                    </a:lnTo>
                    <a:lnTo>
                      <a:pt x="20" y="60"/>
                    </a:lnTo>
                    <a:lnTo>
                      <a:pt x="14" y="60"/>
                    </a:lnTo>
                    <a:lnTo>
                      <a:pt x="0" y="68"/>
                    </a:lnTo>
                    <a:lnTo>
                      <a:pt x="0" y="68"/>
                    </a:lnTo>
                    <a:lnTo>
                      <a:pt x="0" y="68"/>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6" name="Freeform 10"/>
              <p:cNvSpPr>
                <a:spLocks/>
              </p:cNvSpPr>
              <p:nvPr/>
            </p:nvSpPr>
            <p:spPr bwMode="gray">
              <a:xfrm>
                <a:off x="5424137" y="2276078"/>
                <a:ext cx="101622" cy="63514"/>
              </a:xfrm>
              <a:custGeom>
                <a:avLst/>
                <a:gdLst>
                  <a:gd name="T0" fmla="*/ 22 w 64"/>
                  <a:gd name="T1" fmla="*/ 40 h 40"/>
                  <a:gd name="T2" fmla="*/ 28 w 64"/>
                  <a:gd name="T3" fmla="*/ 34 h 40"/>
                  <a:gd name="T4" fmla="*/ 28 w 64"/>
                  <a:gd name="T5" fmla="*/ 26 h 40"/>
                  <a:gd name="T6" fmla="*/ 42 w 64"/>
                  <a:gd name="T7" fmla="*/ 26 h 40"/>
                  <a:gd name="T8" fmla="*/ 50 w 64"/>
                  <a:gd name="T9" fmla="*/ 26 h 40"/>
                  <a:gd name="T10" fmla="*/ 50 w 64"/>
                  <a:gd name="T11" fmla="*/ 20 h 40"/>
                  <a:gd name="T12" fmla="*/ 56 w 64"/>
                  <a:gd name="T13" fmla="*/ 14 h 40"/>
                  <a:gd name="T14" fmla="*/ 64 w 64"/>
                  <a:gd name="T15" fmla="*/ 6 h 40"/>
                  <a:gd name="T16" fmla="*/ 50 w 64"/>
                  <a:gd name="T17" fmla="*/ 0 h 40"/>
                  <a:gd name="T18" fmla="*/ 28 w 64"/>
                  <a:gd name="T19" fmla="*/ 14 h 40"/>
                  <a:gd name="T20" fmla="*/ 22 w 64"/>
                  <a:gd name="T21" fmla="*/ 0 h 40"/>
                  <a:gd name="T22" fmla="*/ 14 w 64"/>
                  <a:gd name="T23" fmla="*/ 6 h 40"/>
                  <a:gd name="T24" fmla="*/ 14 w 64"/>
                  <a:gd name="T25" fmla="*/ 14 h 40"/>
                  <a:gd name="T26" fmla="*/ 14 w 64"/>
                  <a:gd name="T27" fmla="*/ 20 h 40"/>
                  <a:gd name="T28" fmla="*/ 0 w 64"/>
                  <a:gd name="T29" fmla="*/ 26 h 40"/>
                  <a:gd name="T30" fmla="*/ 6 w 64"/>
                  <a:gd name="T31" fmla="*/ 26 h 40"/>
                  <a:gd name="T32" fmla="*/ 14 w 64"/>
                  <a:gd name="T33" fmla="*/ 26 h 40"/>
                  <a:gd name="T34" fmla="*/ 22 w 64"/>
                  <a:gd name="T35" fmla="*/ 34 h 40"/>
                  <a:gd name="T36" fmla="*/ 22 w 64"/>
                  <a:gd name="T37" fmla="*/ 40 h 40"/>
                  <a:gd name="T38" fmla="*/ 22 w 64"/>
                  <a:gd name="T39" fmla="*/ 40 h 40"/>
                  <a:gd name="T40" fmla="*/ 22 w 64"/>
                  <a:gd name="T4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40">
                    <a:moveTo>
                      <a:pt x="22" y="40"/>
                    </a:moveTo>
                    <a:lnTo>
                      <a:pt x="28" y="34"/>
                    </a:lnTo>
                    <a:lnTo>
                      <a:pt x="28" y="26"/>
                    </a:lnTo>
                    <a:lnTo>
                      <a:pt x="42" y="26"/>
                    </a:lnTo>
                    <a:lnTo>
                      <a:pt x="50" y="26"/>
                    </a:lnTo>
                    <a:lnTo>
                      <a:pt x="50" y="20"/>
                    </a:lnTo>
                    <a:lnTo>
                      <a:pt x="56" y="14"/>
                    </a:lnTo>
                    <a:lnTo>
                      <a:pt x="64" y="6"/>
                    </a:lnTo>
                    <a:lnTo>
                      <a:pt x="50" y="0"/>
                    </a:lnTo>
                    <a:lnTo>
                      <a:pt x="28" y="14"/>
                    </a:lnTo>
                    <a:lnTo>
                      <a:pt x="22" y="0"/>
                    </a:lnTo>
                    <a:lnTo>
                      <a:pt x="14" y="6"/>
                    </a:lnTo>
                    <a:lnTo>
                      <a:pt x="14" y="14"/>
                    </a:lnTo>
                    <a:lnTo>
                      <a:pt x="14" y="20"/>
                    </a:lnTo>
                    <a:lnTo>
                      <a:pt x="0" y="26"/>
                    </a:lnTo>
                    <a:lnTo>
                      <a:pt x="6" y="26"/>
                    </a:lnTo>
                    <a:lnTo>
                      <a:pt x="14" y="26"/>
                    </a:lnTo>
                    <a:lnTo>
                      <a:pt x="22" y="34"/>
                    </a:lnTo>
                    <a:lnTo>
                      <a:pt x="22" y="40"/>
                    </a:lnTo>
                    <a:lnTo>
                      <a:pt x="22" y="40"/>
                    </a:lnTo>
                    <a:lnTo>
                      <a:pt x="22" y="40"/>
                    </a:lnTo>
                    <a:close/>
                  </a:path>
                </a:pathLst>
              </a:custGeom>
              <a:solidFill>
                <a:schemeClr val="accent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7" name="Freeform 11"/>
              <p:cNvSpPr>
                <a:spLocks/>
              </p:cNvSpPr>
              <p:nvPr/>
            </p:nvSpPr>
            <p:spPr bwMode="gray">
              <a:xfrm>
                <a:off x="5459069" y="2222092"/>
                <a:ext cx="44460" cy="41284"/>
              </a:xfrm>
              <a:custGeom>
                <a:avLst/>
                <a:gdLst>
                  <a:gd name="T0" fmla="*/ 14 w 28"/>
                  <a:gd name="T1" fmla="*/ 26 h 26"/>
                  <a:gd name="T2" fmla="*/ 14 w 28"/>
                  <a:gd name="T3" fmla="*/ 14 h 26"/>
                  <a:gd name="T4" fmla="*/ 8 w 28"/>
                  <a:gd name="T5" fmla="*/ 14 h 26"/>
                  <a:gd name="T6" fmla="*/ 0 w 28"/>
                  <a:gd name="T7" fmla="*/ 14 h 26"/>
                  <a:gd name="T8" fmla="*/ 0 w 28"/>
                  <a:gd name="T9" fmla="*/ 8 h 26"/>
                  <a:gd name="T10" fmla="*/ 8 w 28"/>
                  <a:gd name="T11" fmla="*/ 8 h 26"/>
                  <a:gd name="T12" fmla="*/ 14 w 28"/>
                  <a:gd name="T13" fmla="*/ 0 h 26"/>
                  <a:gd name="T14" fmla="*/ 28 w 28"/>
                  <a:gd name="T15" fmla="*/ 8 h 26"/>
                  <a:gd name="T16" fmla="*/ 28 w 28"/>
                  <a:gd name="T17" fmla="*/ 14 h 26"/>
                  <a:gd name="T18" fmla="*/ 20 w 28"/>
                  <a:gd name="T19" fmla="*/ 20 h 26"/>
                  <a:gd name="T20" fmla="*/ 14 w 28"/>
                  <a:gd name="T21" fmla="*/ 26 h 26"/>
                  <a:gd name="T22" fmla="*/ 14 w 28"/>
                  <a:gd name="T23" fmla="*/ 26 h 26"/>
                  <a:gd name="T24" fmla="*/ 14 w 28"/>
                  <a:gd name="T2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6">
                    <a:moveTo>
                      <a:pt x="14" y="26"/>
                    </a:moveTo>
                    <a:lnTo>
                      <a:pt x="14" y="14"/>
                    </a:lnTo>
                    <a:lnTo>
                      <a:pt x="8" y="14"/>
                    </a:lnTo>
                    <a:lnTo>
                      <a:pt x="0" y="14"/>
                    </a:lnTo>
                    <a:lnTo>
                      <a:pt x="0" y="8"/>
                    </a:lnTo>
                    <a:lnTo>
                      <a:pt x="8" y="8"/>
                    </a:lnTo>
                    <a:lnTo>
                      <a:pt x="14" y="0"/>
                    </a:lnTo>
                    <a:lnTo>
                      <a:pt x="28" y="8"/>
                    </a:lnTo>
                    <a:lnTo>
                      <a:pt x="28" y="14"/>
                    </a:lnTo>
                    <a:lnTo>
                      <a:pt x="20" y="20"/>
                    </a:lnTo>
                    <a:lnTo>
                      <a:pt x="14" y="26"/>
                    </a:lnTo>
                    <a:lnTo>
                      <a:pt x="14" y="26"/>
                    </a:lnTo>
                    <a:lnTo>
                      <a:pt x="14" y="26"/>
                    </a:lnTo>
                    <a:close/>
                  </a:path>
                </a:pathLst>
              </a:custGeom>
              <a:solidFill>
                <a:schemeClr val="accent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8" name="Freeform 12"/>
              <p:cNvSpPr>
                <a:spLocks/>
              </p:cNvSpPr>
              <p:nvPr/>
            </p:nvSpPr>
            <p:spPr bwMode="gray">
              <a:xfrm>
                <a:off x="6556276" y="780321"/>
                <a:ext cx="79393" cy="95271"/>
              </a:xfrm>
              <a:custGeom>
                <a:avLst/>
                <a:gdLst>
                  <a:gd name="T0" fmla="*/ 42 w 50"/>
                  <a:gd name="T1" fmla="*/ 60 h 60"/>
                  <a:gd name="T2" fmla="*/ 28 w 50"/>
                  <a:gd name="T3" fmla="*/ 54 h 60"/>
                  <a:gd name="T4" fmla="*/ 14 w 50"/>
                  <a:gd name="T5" fmla="*/ 46 h 60"/>
                  <a:gd name="T6" fmla="*/ 14 w 50"/>
                  <a:gd name="T7" fmla="*/ 40 h 60"/>
                  <a:gd name="T8" fmla="*/ 0 w 50"/>
                  <a:gd name="T9" fmla="*/ 32 h 60"/>
                  <a:gd name="T10" fmla="*/ 0 w 50"/>
                  <a:gd name="T11" fmla="*/ 18 h 60"/>
                  <a:gd name="T12" fmla="*/ 6 w 50"/>
                  <a:gd name="T13" fmla="*/ 6 h 60"/>
                  <a:gd name="T14" fmla="*/ 6 w 50"/>
                  <a:gd name="T15" fmla="*/ 0 h 60"/>
                  <a:gd name="T16" fmla="*/ 14 w 50"/>
                  <a:gd name="T17" fmla="*/ 0 h 60"/>
                  <a:gd name="T18" fmla="*/ 28 w 50"/>
                  <a:gd name="T19" fmla="*/ 6 h 60"/>
                  <a:gd name="T20" fmla="*/ 42 w 50"/>
                  <a:gd name="T21" fmla="*/ 6 h 60"/>
                  <a:gd name="T22" fmla="*/ 50 w 50"/>
                  <a:gd name="T23" fmla="*/ 18 h 60"/>
                  <a:gd name="T24" fmla="*/ 50 w 50"/>
                  <a:gd name="T25" fmla="*/ 26 h 60"/>
                  <a:gd name="T26" fmla="*/ 50 w 50"/>
                  <a:gd name="T27" fmla="*/ 32 h 60"/>
                  <a:gd name="T28" fmla="*/ 42 w 50"/>
                  <a:gd name="T29" fmla="*/ 46 h 60"/>
                  <a:gd name="T30" fmla="*/ 50 w 50"/>
                  <a:gd name="T31" fmla="*/ 54 h 60"/>
                  <a:gd name="T32" fmla="*/ 42 w 50"/>
                  <a:gd name="T33" fmla="*/ 60 h 60"/>
                  <a:gd name="T34" fmla="*/ 42 w 50"/>
                  <a:gd name="T35" fmla="*/ 60 h 60"/>
                  <a:gd name="T36" fmla="*/ 42 w 50"/>
                  <a:gd name="T3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 h="60">
                    <a:moveTo>
                      <a:pt x="42" y="60"/>
                    </a:moveTo>
                    <a:lnTo>
                      <a:pt x="28" y="54"/>
                    </a:lnTo>
                    <a:lnTo>
                      <a:pt x="14" y="46"/>
                    </a:lnTo>
                    <a:lnTo>
                      <a:pt x="14" y="40"/>
                    </a:lnTo>
                    <a:lnTo>
                      <a:pt x="0" y="32"/>
                    </a:lnTo>
                    <a:lnTo>
                      <a:pt x="0" y="18"/>
                    </a:lnTo>
                    <a:lnTo>
                      <a:pt x="6" y="6"/>
                    </a:lnTo>
                    <a:lnTo>
                      <a:pt x="6" y="0"/>
                    </a:lnTo>
                    <a:lnTo>
                      <a:pt x="14" y="0"/>
                    </a:lnTo>
                    <a:lnTo>
                      <a:pt x="28" y="6"/>
                    </a:lnTo>
                    <a:lnTo>
                      <a:pt x="42" y="6"/>
                    </a:lnTo>
                    <a:lnTo>
                      <a:pt x="50" y="18"/>
                    </a:lnTo>
                    <a:lnTo>
                      <a:pt x="50" y="26"/>
                    </a:lnTo>
                    <a:lnTo>
                      <a:pt x="50" y="32"/>
                    </a:lnTo>
                    <a:lnTo>
                      <a:pt x="42" y="46"/>
                    </a:lnTo>
                    <a:lnTo>
                      <a:pt x="50" y="54"/>
                    </a:lnTo>
                    <a:lnTo>
                      <a:pt x="42" y="60"/>
                    </a:lnTo>
                    <a:lnTo>
                      <a:pt x="42" y="60"/>
                    </a:lnTo>
                    <a:lnTo>
                      <a:pt x="42" y="6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9" name="Freeform 13"/>
              <p:cNvSpPr>
                <a:spLocks/>
              </p:cNvSpPr>
              <p:nvPr>
                <p:custDataLst>
                  <p:tags r:id="rId127"/>
                </p:custDataLst>
              </p:nvPr>
            </p:nvSpPr>
            <p:spPr bwMode="gray">
              <a:xfrm>
                <a:off x="5655963" y="484981"/>
                <a:ext cx="2697762" cy="3404356"/>
              </a:xfrm>
              <a:custGeom>
                <a:avLst/>
                <a:gdLst>
                  <a:gd name="T0" fmla="*/ 134 w 1699"/>
                  <a:gd name="T1" fmla="*/ 1276 h 2144"/>
                  <a:gd name="T2" fmla="*/ 253 w 1699"/>
                  <a:gd name="T3" fmla="*/ 1318 h 2144"/>
                  <a:gd name="T4" fmla="*/ 327 w 1699"/>
                  <a:gd name="T5" fmla="*/ 1434 h 2144"/>
                  <a:gd name="T6" fmla="*/ 321 w 1699"/>
                  <a:gd name="T7" fmla="*/ 1510 h 2144"/>
                  <a:gd name="T8" fmla="*/ 437 w 1699"/>
                  <a:gd name="T9" fmla="*/ 1544 h 2144"/>
                  <a:gd name="T10" fmla="*/ 533 w 1699"/>
                  <a:gd name="T11" fmla="*/ 1626 h 2144"/>
                  <a:gd name="T12" fmla="*/ 657 w 1699"/>
                  <a:gd name="T13" fmla="*/ 1666 h 2144"/>
                  <a:gd name="T14" fmla="*/ 768 w 1699"/>
                  <a:gd name="T15" fmla="*/ 1674 h 2144"/>
                  <a:gd name="T16" fmla="*/ 794 w 1699"/>
                  <a:gd name="T17" fmla="*/ 1762 h 2144"/>
                  <a:gd name="T18" fmla="*/ 768 w 1699"/>
                  <a:gd name="T19" fmla="*/ 1852 h 2144"/>
                  <a:gd name="T20" fmla="*/ 717 w 1699"/>
                  <a:gd name="T21" fmla="*/ 1926 h 2144"/>
                  <a:gd name="T22" fmla="*/ 717 w 1699"/>
                  <a:gd name="T23" fmla="*/ 1988 h 2144"/>
                  <a:gd name="T24" fmla="*/ 802 w 1699"/>
                  <a:gd name="T25" fmla="*/ 2062 h 2144"/>
                  <a:gd name="T26" fmla="*/ 952 w 1699"/>
                  <a:gd name="T27" fmla="*/ 2096 h 2144"/>
                  <a:gd name="T28" fmla="*/ 1122 w 1699"/>
                  <a:gd name="T29" fmla="*/ 2118 h 2144"/>
                  <a:gd name="T30" fmla="*/ 1226 w 1699"/>
                  <a:gd name="T31" fmla="*/ 2118 h 2144"/>
                  <a:gd name="T32" fmla="*/ 1383 w 1699"/>
                  <a:gd name="T33" fmla="*/ 2118 h 2144"/>
                  <a:gd name="T34" fmla="*/ 1274 w 1699"/>
                  <a:gd name="T35" fmla="*/ 1966 h 2144"/>
                  <a:gd name="T36" fmla="*/ 1232 w 1699"/>
                  <a:gd name="T37" fmla="*/ 1838 h 2144"/>
                  <a:gd name="T38" fmla="*/ 1266 w 1699"/>
                  <a:gd name="T39" fmla="*/ 1734 h 2144"/>
                  <a:gd name="T40" fmla="*/ 1130 w 1699"/>
                  <a:gd name="T41" fmla="*/ 1660 h 2144"/>
                  <a:gd name="T42" fmla="*/ 1122 w 1699"/>
                  <a:gd name="T43" fmla="*/ 1496 h 2144"/>
                  <a:gd name="T44" fmla="*/ 1190 w 1699"/>
                  <a:gd name="T45" fmla="*/ 1420 h 2144"/>
                  <a:gd name="T46" fmla="*/ 1308 w 1699"/>
                  <a:gd name="T47" fmla="*/ 1346 h 2144"/>
                  <a:gd name="T48" fmla="*/ 1411 w 1699"/>
                  <a:gd name="T49" fmla="*/ 1326 h 2144"/>
                  <a:gd name="T50" fmla="*/ 1535 w 1699"/>
                  <a:gd name="T51" fmla="*/ 1284 h 2144"/>
                  <a:gd name="T52" fmla="*/ 1649 w 1699"/>
                  <a:gd name="T53" fmla="*/ 1222 h 2144"/>
                  <a:gd name="T54" fmla="*/ 1581 w 1699"/>
                  <a:gd name="T55" fmla="*/ 1134 h 2144"/>
                  <a:gd name="T56" fmla="*/ 1487 w 1699"/>
                  <a:gd name="T57" fmla="*/ 1018 h 2144"/>
                  <a:gd name="T58" fmla="*/ 1391 w 1699"/>
                  <a:gd name="T59" fmla="*/ 992 h 2144"/>
                  <a:gd name="T60" fmla="*/ 1362 w 1699"/>
                  <a:gd name="T61" fmla="*/ 936 h 2144"/>
                  <a:gd name="T62" fmla="*/ 1300 w 1699"/>
                  <a:gd name="T63" fmla="*/ 794 h 2144"/>
                  <a:gd name="T64" fmla="*/ 1218 w 1699"/>
                  <a:gd name="T65" fmla="*/ 630 h 2144"/>
                  <a:gd name="T66" fmla="*/ 1102 w 1699"/>
                  <a:gd name="T67" fmla="*/ 458 h 2144"/>
                  <a:gd name="T68" fmla="*/ 1062 w 1699"/>
                  <a:gd name="T69" fmla="*/ 322 h 2144"/>
                  <a:gd name="T70" fmla="*/ 1068 w 1699"/>
                  <a:gd name="T71" fmla="*/ 62 h 2144"/>
                  <a:gd name="T72" fmla="*/ 966 w 1699"/>
                  <a:gd name="T73" fmla="*/ 36 h 2144"/>
                  <a:gd name="T74" fmla="*/ 864 w 1699"/>
                  <a:gd name="T75" fmla="*/ 68 h 2144"/>
                  <a:gd name="T76" fmla="*/ 822 w 1699"/>
                  <a:gd name="T77" fmla="*/ 124 h 2144"/>
                  <a:gd name="T78" fmla="*/ 733 w 1699"/>
                  <a:gd name="T79" fmla="*/ 240 h 2144"/>
                  <a:gd name="T80" fmla="*/ 697 w 1699"/>
                  <a:gd name="T81" fmla="*/ 212 h 2144"/>
                  <a:gd name="T82" fmla="*/ 635 w 1699"/>
                  <a:gd name="T83" fmla="*/ 322 h 2144"/>
                  <a:gd name="T84" fmla="*/ 533 w 1699"/>
                  <a:gd name="T85" fmla="*/ 348 h 2144"/>
                  <a:gd name="T86" fmla="*/ 471 w 1699"/>
                  <a:gd name="T87" fmla="*/ 302 h 2144"/>
                  <a:gd name="T88" fmla="*/ 539 w 1699"/>
                  <a:gd name="T89" fmla="*/ 410 h 2144"/>
                  <a:gd name="T90" fmla="*/ 505 w 1699"/>
                  <a:gd name="T91" fmla="*/ 458 h 2144"/>
                  <a:gd name="T92" fmla="*/ 465 w 1699"/>
                  <a:gd name="T93" fmla="*/ 582 h 2144"/>
                  <a:gd name="T94" fmla="*/ 443 w 1699"/>
                  <a:gd name="T95" fmla="*/ 622 h 2144"/>
                  <a:gd name="T96" fmla="*/ 389 w 1699"/>
                  <a:gd name="T97" fmla="*/ 636 h 2144"/>
                  <a:gd name="T98" fmla="*/ 287 w 1699"/>
                  <a:gd name="T99" fmla="*/ 642 h 2144"/>
                  <a:gd name="T100" fmla="*/ 225 w 1699"/>
                  <a:gd name="T101" fmla="*/ 540 h 2144"/>
                  <a:gd name="T102" fmla="*/ 185 w 1699"/>
                  <a:gd name="T103" fmla="*/ 480 h 2144"/>
                  <a:gd name="T104" fmla="*/ 327 w 1699"/>
                  <a:gd name="T105" fmla="*/ 506 h 2144"/>
                  <a:gd name="T106" fmla="*/ 437 w 1699"/>
                  <a:gd name="T107" fmla="*/ 466 h 2144"/>
                  <a:gd name="T108" fmla="*/ 349 w 1699"/>
                  <a:gd name="T109" fmla="*/ 362 h 2144"/>
                  <a:gd name="T110" fmla="*/ 151 w 1699"/>
                  <a:gd name="T111" fmla="*/ 322 h 2144"/>
                  <a:gd name="T112" fmla="*/ 14 w 1699"/>
                  <a:gd name="T113" fmla="*/ 366 h 2144"/>
                  <a:gd name="T114" fmla="*/ 88 w 1699"/>
                  <a:gd name="T115" fmla="*/ 614 h 2144"/>
                  <a:gd name="T116" fmla="*/ 185 w 1699"/>
                  <a:gd name="T117" fmla="*/ 792 h 2144"/>
                  <a:gd name="T118" fmla="*/ 134 w 1699"/>
                  <a:gd name="T119" fmla="*/ 984 h 2144"/>
                  <a:gd name="T120" fmla="*/ 134 w 1699"/>
                  <a:gd name="T121" fmla="*/ 1012 h 2144"/>
                  <a:gd name="T122" fmla="*/ 108 w 1699"/>
                  <a:gd name="T123" fmla="*/ 1106 h 2144"/>
                  <a:gd name="T124" fmla="*/ 100 w 1699"/>
                  <a:gd name="T125" fmla="*/ 1196 h 2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99" h="2144">
                    <a:moveTo>
                      <a:pt x="100" y="1196"/>
                    </a:moveTo>
                    <a:lnTo>
                      <a:pt x="100" y="1202"/>
                    </a:lnTo>
                    <a:lnTo>
                      <a:pt x="108" y="1202"/>
                    </a:lnTo>
                    <a:lnTo>
                      <a:pt x="108" y="1208"/>
                    </a:lnTo>
                    <a:lnTo>
                      <a:pt x="114" y="1202"/>
                    </a:lnTo>
                    <a:lnTo>
                      <a:pt x="122" y="1202"/>
                    </a:lnTo>
                    <a:lnTo>
                      <a:pt x="122" y="1216"/>
                    </a:lnTo>
                    <a:lnTo>
                      <a:pt x="122" y="1230"/>
                    </a:lnTo>
                    <a:lnTo>
                      <a:pt x="108" y="1230"/>
                    </a:lnTo>
                    <a:lnTo>
                      <a:pt x="114" y="1244"/>
                    </a:lnTo>
                    <a:lnTo>
                      <a:pt x="122" y="1244"/>
                    </a:lnTo>
                    <a:lnTo>
                      <a:pt x="128" y="1244"/>
                    </a:lnTo>
                    <a:lnTo>
                      <a:pt x="128" y="1250"/>
                    </a:lnTo>
                    <a:lnTo>
                      <a:pt x="134" y="1262"/>
                    </a:lnTo>
                    <a:lnTo>
                      <a:pt x="134" y="1276"/>
                    </a:lnTo>
                    <a:lnTo>
                      <a:pt x="143" y="1290"/>
                    </a:lnTo>
                    <a:lnTo>
                      <a:pt x="151" y="1290"/>
                    </a:lnTo>
                    <a:lnTo>
                      <a:pt x="157" y="1290"/>
                    </a:lnTo>
                    <a:lnTo>
                      <a:pt x="157" y="1298"/>
                    </a:lnTo>
                    <a:lnTo>
                      <a:pt x="171" y="1298"/>
                    </a:lnTo>
                    <a:lnTo>
                      <a:pt x="185" y="1298"/>
                    </a:lnTo>
                    <a:lnTo>
                      <a:pt x="197" y="1298"/>
                    </a:lnTo>
                    <a:lnTo>
                      <a:pt x="205" y="1304"/>
                    </a:lnTo>
                    <a:lnTo>
                      <a:pt x="205" y="1312"/>
                    </a:lnTo>
                    <a:lnTo>
                      <a:pt x="211" y="1312"/>
                    </a:lnTo>
                    <a:lnTo>
                      <a:pt x="225" y="1304"/>
                    </a:lnTo>
                    <a:lnTo>
                      <a:pt x="225" y="1298"/>
                    </a:lnTo>
                    <a:lnTo>
                      <a:pt x="233" y="1298"/>
                    </a:lnTo>
                    <a:lnTo>
                      <a:pt x="245" y="1304"/>
                    </a:lnTo>
                    <a:lnTo>
                      <a:pt x="253" y="1318"/>
                    </a:lnTo>
                    <a:lnTo>
                      <a:pt x="265" y="1318"/>
                    </a:lnTo>
                    <a:lnTo>
                      <a:pt x="265" y="1326"/>
                    </a:lnTo>
                    <a:lnTo>
                      <a:pt x="259" y="1332"/>
                    </a:lnTo>
                    <a:lnTo>
                      <a:pt x="259" y="1338"/>
                    </a:lnTo>
                    <a:lnTo>
                      <a:pt x="273" y="1360"/>
                    </a:lnTo>
                    <a:lnTo>
                      <a:pt x="281" y="1380"/>
                    </a:lnTo>
                    <a:lnTo>
                      <a:pt x="265" y="1386"/>
                    </a:lnTo>
                    <a:lnTo>
                      <a:pt x="287" y="1386"/>
                    </a:lnTo>
                    <a:lnTo>
                      <a:pt x="287" y="1394"/>
                    </a:lnTo>
                    <a:lnTo>
                      <a:pt x="287" y="1400"/>
                    </a:lnTo>
                    <a:lnTo>
                      <a:pt x="307" y="1406"/>
                    </a:lnTo>
                    <a:lnTo>
                      <a:pt x="315" y="1406"/>
                    </a:lnTo>
                    <a:lnTo>
                      <a:pt x="327" y="1414"/>
                    </a:lnTo>
                    <a:lnTo>
                      <a:pt x="327" y="1428"/>
                    </a:lnTo>
                    <a:lnTo>
                      <a:pt x="327" y="1434"/>
                    </a:lnTo>
                    <a:lnTo>
                      <a:pt x="341" y="1434"/>
                    </a:lnTo>
                    <a:lnTo>
                      <a:pt x="349" y="1434"/>
                    </a:lnTo>
                    <a:lnTo>
                      <a:pt x="361" y="1434"/>
                    </a:lnTo>
                    <a:lnTo>
                      <a:pt x="361" y="1448"/>
                    </a:lnTo>
                    <a:lnTo>
                      <a:pt x="375" y="1448"/>
                    </a:lnTo>
                    <a:lnTo>
                      <a:pt x="383" y="1462"/>
                    </a:lnTo>
                    <a:lnTo>
                      <a:pt x="375" y="1468"/>
                    </a:lnTo>
                    <a:lnTo>
                      <a:pt x="369" y="1476"/>
                    </a:lnTo>
                    <a:lnTo>
                      <a:pt x="361" y="1482"/>
                    </a:lnTo>
                    <a:lnTo>
                      <a:pt x="349" y="1490"/>
                    </a:lnTo>
                    <a:lnTo>
                      <a:pt x="341" y="1496"/>
                    </a:lnTo>
                    <a:lnTo>
                      <a:pt x="327" y="1490"/>
                    </a:lnTo>
                    <a:lnTo>
                      <a:pt x="321" y="1490"/>
                    </a:lnTo>
                    <a:lnTo>
                      <a:pt x="321" y="1496"/>
                    </a:lnTo>
                    <a:lnTo>
                      <a:pt x="321" y="1510"/>
                    </a:lnTo>
                    <a:lnTo>
                      <a:pt x="321" y="1516"/>
                    </a:lnTo>
                    <a:lnTo>
                      <a:pt x="327" y="1530"/>
                    </a:lnTo>
                    <a:lnTo>
                      <a:pt x="335" y="1544"/>
                    </a:lnTo>
                    <a:lnTo>
                      <a:pt x="335" y="1552"/>
                    </a:lnTo>
                    <a:lnTo>
                      <a:pt x="341" y="1558"/>
                    </a:lnTo>
                    <a:lnTo>
                      <a:pt x="355" y="1564"/>
                    </a:lnTo>
                    <a:lnTo>
                      <a:pt x="355" y="1558"/>
                    </a:lnTo>
                    <a:lnTo>
                      <a:pt x="369" y="1552"/>
                    </a:lnTo>
                    <a:lnTo>
                      <a:pt x="375" y="1558"/>
                    </a:lnTo>
                    <a:lnTo>
                      <a:pt x="389" y="1552"/>
                    </a:lnTo>
                    <a:lnTo>
                      <a:pt x="397" y="1552"/>
                    </a:lnTo>
                    <a:lnTo>
                      <a:pt x="403" y="1544"/>
                    </a:lnTo>
                    <a:lnTo>
                      <a:pt x="409" y="1544"/>
                    </a:lnTo>
                    <a:lnTo>
                      <a:pt x="423" y="1552"/>
                    </a:lnTo>
                    <a:lnTo>
                      <a:pt x="437" y="1544"/>
                    </a:lnTo>
                    <a:lnTo>
                      <a:pt x="443" y="1544"/>
                    </a:lnTo>
                    <a:lnTo>
                      <a:pt x="451" y="1552"/>
                    </a:lnTo>
                    <a:lnTo>
                      <a:pt x="459" y="1564"/>
                    </a:lnTo>
                    <a:lnTo>
                      <a:pt x="465" y="1570"/>
                    </a:lnTo>
                    <a:lnTo>
                      <a:pt x="465" y="1584"/>
                    </a:lnTo>
                    <a:lnTo>
                      <a:pt x="465" y="1598"/>
                    </a:lnTo>
                    <a:lnTo>
                      <a:pt x="465" y="1606"/>
                    </a:lnTo>
                    <a:lnTo>
                      <a:pt x="479" y="1606"/>
                    </a:lnTo>
                    <a:lnTo>
                      <a:pt x="499" y="1606"/>
                    </a:lnTo>
                    <a:lnTo>
                      <a:pt x="505" y="1598"/>
                    </a:lnTo>
                    <a:lnTo>
                      <a:pt x="511" y="1598"/>
                    </a:lnTo>
                    <a:lnTo>
                      <a:pt x="511" y="1606"/>
                    </a:lnTo>
                    <a:lnTo>
                      <a:pt x="521" y="1620"/>
                    </a:lnTo>
                    <a:lnTo>
                      <a:pt x="533" y="1620"/>
                    </a:lnTo>
                    <a:lnTo>
                      <a:pt x="533" y="1626"/>
                    </a:lnTo>
                    <a:lnTo>
                      <a:pt x="539" y="1646"/>
                    </a:lnTo>
                    <a:lnTo>
                      <a:pt x="539" y="1652"/>
                    </a:lnTo>
                    <a:lnTo>
                      <a:pt x="547" y="1652"/>
                    </a:lnTo>
                    <a:lnTo>
                      <a:pt x="561" y="1652"/>
                    </a:lnTo>
                    <a:lnTo>
                      <a:pt x="567" y="1652"/>
                    </a:lnTo>
                    <a:lnTo>
                      <a:pt x="573" y="1660"/>
                    </a:lnTo>
                    <a:lnTo>
                      <a:pt x="581" y="1652"/>
                    </a:lnTo>
                    <a:lnTo>
                      <a:pt x="587" y="1660"/>
                    </a:lnTo>
                    <a:lnTo>
                      <a:pt x="595" y="1660"/>
                    </a:lnTo>
                    <a:lnTo>
                      <a:pt x="601" y="1652"/>
                    </a:lnTo>
                    <a:lnTo>
                      <a:pt x="615" y="1640"/>
                    </a:lnTo>
                    <a:lnTo>
                      <a:pt x="629" y="1640"/>
                    </a:lnTo>
                    <a:lnTo>
                      <a:pt x="629" y="1646"/>
                    </a:lnTo>
                    <a:lnTo>
                      <a:pt x="635" y="1652"/>
                    </a:lnTo>
                    <a:lnTo>
                      <a:pt x="657" y="1666"/>
                    </a:lnTo>
                    <a:lnTo>
                      <a:pt x="671" y="1660"/>
                    </a:lnTo>
                    <a:lnTo>
                      <a:pt x="671" y="1652"/>
                    </a:lnTo>
                    <a:lnTo>
                      <a:pt x="677" y="1660"/>
                    </a:lnTo>
                    <a:lnTo>
                      <a:pt x="683" y="1666"/>
                    </a:lnTo>
                    <a:lnTo>
                      <a:pt x="697" y="1660"/>
                    </a:lnTo>
                    <a:lnTo>
                      <a:pt x="697" y="1666"/>
                    </a:lnTo>
                    <a:lnTo>
                      <a:pt x="711" y="1666"/>
                    </a:lnTo>
                    <a:lnTo>
                      <a:pt x="711" y="1660"/>
                    </a:lnTo>
                    <a:lnTo>
                      <a:pt x="725" y="1660"/>
                    </a:lnTo>
                    <a:lnTo>
                      <a:pt x="733" y="1660"/>
                    </a:lnTo>
                    <a:lnTo>
                      <a:pt x="733" y="1666"/>
                    </a:lnTo>
                    <a:lnTo>
                      <a:pt x="739" y="1674"/>
                    </a:lnTo>
                    <a:lnTo>
                      <a:pt x="739" y="1666"/>
                    </a:lnTo>
                    <a:lnTo>
                      <a:pt x="751" y="1666"/>
                    </a:lnTo>
                    <a:lnTo>
                      <a:pt x="768" y="1674"/>
                    </a:lnTo>
                    <a:lnTo>
                      <a:pt x="780" y="1674"/>
                    </a:lnTo>
                    <a:lnTo>
                      <a:pt x="788" y="1666"/>
                    </a:lnTo>
                    <a:lnTo>
                      <a:pt x="794" y="1666"/>
                    </a:lnTo>
                    <a:lnTo>
                      <a:pt x="794" y="1688"/>
                    </a:lnTo>
                    <a:lnTo>
                      <a:pt x="788" y="1694"/>
                    </a:lnTo>
                    <a:lnTo>
                      <a:pt x="774" y="1700"/>
                    </a:lnTo>
                    <a:lnTo>
                      <a:pt x="768" y="1708"/>
                    </a:lnTo>
                    <a:lnTo>
                      <a:pt x="774" y="1714"/>
                    </a:lnTo>
                    <a:lnTo>
                      <a:pt x="788" y="1714"/>
                    </a:lnTo>
                    <a:lnTo>
                      <a:pt x="788" y="1720"/>
                    </a:lnTo>
                    <a:lnTo>
                      <a:pt x="780" y="1728"/>
                    </a:lnTo>
                    <a:lnTo>
                      <a:pt x="774" y="1734"/>
                    </a:lnTo>
                    <a:lnTo>
                      <a:pt x="774" y="1740"/>
                    </a:lnTo>
                    <a:lnTo>
                      <a:pt x="780" y="1740"/>
                    </a:lnTo>
                    <a:lnTo>
                      <a:pt x="794" y="1762"/>
                    </a:lnTo>
                    <a:lnTo>
                      <a:pt x="794" y="1782"/>
                    </a:lnTo>
                    <a:lnTo>
                      <a:pt x="788" y="1804"/>
                    </a:lnTo>
                    <a:lnTo>
                      <a:pt x="774" y="1804"/>
                    </a:lnTo>
                    <a:lnTo>
                      <a:pt x="751" y="1804"/>
                    </a:lnTo>
                    <a:lnTo>
                      <a:pt x="745" y="1810"/>
                    </a:lnTo>
                    <a:lnTo>
                      <a:pt x="739" y="1830"/>
                    </a:lnTo>
                    <a:lnTo>
                      <a:pt x="717" y="1838"/>
                    </a:lnTo>
                    <a:lnTo>
                      <a:pt x="717" y="1870"/>
                    </a:lnTo>
                    <a:lnTo>
                      <a:pt x="725" y="1864"/>
                    </a:lnTo>
                    <a:lnTo>
                      <a:pt x="733" y="1864"/>
                    </a:lnTo>
                    <a:lnTo>
                      <a:pt x="739" y="1858"/>
                    </a:lnTo>
                    <a:lnTo>
                      <a:pt x="739" y="1870"/>
                    </a:lnTo>
                    <a:lnTo>
                      <a:pt x="745" y="1870"/>
                    </a:lnTo>
                    <a:lnTo>
                      <a:pt x="760" y="1858"/>
                    </a:lnTo>
                    <a:lnTo>
                      <a:pt x="768" y="1852"/>
                    </a:lnTo>
                    <a:lnTo>
                      <a:pt x="780" y="1852"/>
                    </a:lnTo>
                    <a:lnTo>
                      <a:pt x="780" y="1864"/>
                    </a:lnTo>
                    <a:lnTo>
                      <a:pt x="780" y="1870"/>
                    </a:lnTo>
                    <a:lnTo>
                      <a:pt x="768" y="1878"/>
                    </a:lnTo>
                    <a:lnTo>
                      <a:pt x="751" y="1884"/>
                    </a:lnTo>
                    <a:lnTo>
                      <a:pt x="745" y="1892"/>
                    </a:lnTo>
                    <a:lnTo>
                      <a:pt x="751" y="1898"/>
                    </a:lnTo>
                    <a:lnTo>
                      <a:pt x="760" y="1906"/>
                    </a:lnTo>
                    <a:lnTo>
                      <a:pt x="745" y="1912"/>
                    </a:lnTo>
                    <a:lnTo>
                      <a:pt x="733" y="1906"/>
                    </a:lnTo>
                    <a:lnTo>
                      <a:pt x="725" y="1906"/>
                    </a:lnTo>
                    <a:lnTo>
                      <a:pt x="717" y="1912"/>
                    </a:lnTo>
                    <a:lnTo>
                      <a:pt x="711" y="1912"/>
                    </a:lnTo>
                    <a:lnTo>
                      <a:pt x="711" y="1918"/>
                    </a:lnTo>
                    <a:lnTo>
                      <a:pt x="717" y="1926"/>
                    </a:lnTo>
                    <a:lnTo>
                      <a:pt x="739" y="1926"/>
                    </a:lnTo>
                    <a:lnTo>
                      <a:pt x="745" y="1932"/>
                    </a:lnTo>
                    <a:lnTo>
                      <a:pt x="745" y="1940"/>
                    </a:lnTo>
                    <a:lnTo>
                      <a:pt x="768" y="1946"/>
                    </a:lnTo>
                    <a:lnTo>
                      <a:pt x="760" y="1946"/>
                    </a:lnTo>
                    <a:lnTo>
                      <a:pt x="751" y="1954"/>
                    </a:lnTo>
                    <a:lnTo>
                      <a:pt x="745" y="1946"/>
                    </a:lnTo>
                    <a:lnTo>
                      <a:pt x="745" y="1960"/>
                    </a:lnTo>
                    <a:lnTo>
                      <a:pt x="751" y="1966"/>
                    </a:lnTo>
                    <a:lnTo>
                      <a:pt x="745" y="1974"/>
                    </a:lnTo>
                    <a:lnTo>
                      <a:pt x="739" y="1966"/>
                    </a:lnTo>
                    <a:lnTo>
                      <a:pt x="733" y="1960"/>
                    </a:lnTo>
                    <a:lnTo>
                      <a:pt x="725" y="1966"/>
                    </a:lnTo>
                    <a:lnTo>
                      <a:pt x="725" y="1980"/>
                    </a:lnTo>
                    <a:lnTo>
                      <a:pt x="717" y="1988"/>
                    </a:lnTo>
                    <a:lnTo>
                      <a:pt x="725" y="1994"/>
                    </a:lnTo>
                    <a:lnTo>
                      <a:pt x="725" y="2008"/>
                    </a:lnTo>
                    <a:lnTo>
                      <a:pt x="711" y="2008"/>
                    </a:lnTo>
                    <a:lnTo>
                      <a:pt x="705" y="2028"/>
                    </a:lnTo>
                    <a:lnTo>
                      <a:pt x="705" y="2034"/>
                    </a:lnTo>
                    <a:lnTo>
                      <a:pt x="717" y="2042"/>
                    </a:lnTo>
                    <a:lnTo>
                      <a:pt x="733" y="2048"/>
                    </a:lnTo>
                    <a:lnTo>
                      <a:pt x="739" y="2048"/>
                    </a:lnTo>
                    <a:lnTo>
                      <a:pt x="751" y="2048"/>
                    </a:lnTo>
                    <a:lnTo>
                      <a:pt x="760" y="2056"/>
                    </a:lnTo>
                    <a:lnTo>
                      <a:pt x="760" y="2062"/>
                    </a:lnTo>
                    <a:lnTo>
                      <a:pt x="774" y="2062"/>
                    </a:lnTo>
                    <a:lnTo>
                      <a:pt x="780" y="2056"/>
                    </a:lnTo>
                    <a:lnTo>
                      <a:pt x="788" y="2062"/>
                    </a:lnTo>
                    <a:lnTo>
                      <a:pt x="802" y="2062"/>
                    </a:lnTo>
                    <a:lnTo>
                      <a:pt x="802" y="2070"/>
                    </a:lnTo>
                    <a:lnTo>
                      <a:pt x="816" y="2076"/>
                    </a:lnTo>
                    <a:lnTo>
                      <a:pt x="828" y="2076"/>
                    </a:lnTo>
                    <a:lnTo>
                      <a:pt x="836" y="2082"/>
                    </a:lnTo>
                    <a:lnTo>
                      <a:pt x="842" y="2090"/>
                    </a:lnTo>
                    <a:lnTo>
                      <a:pt x="856" y="2090"/>
                    </a:lnTo>
                    <a:lnTo>
                      <a:pt x="876" y="2118"/>
                    </a:lnTo>
                    <a:lnTo>
                      <a:pt x="884" y="2104"/>
                    </a:lnTo>
                    <a:lnTo>
                      <a:pt x="890" y="2104"/>
                    </a:lnTo>
                    <a:lnTo>
                      <a:pt x="904" y="2104"/>
                    </a:lnTo>
                    <a:lnTo>
                      <a:pt x="910" y="2096"/>
                    </a:lnTo>
                    <a:lnTo>
                      <a:pt x="918" y="2082"/>
                    </a:lnTo>
                    <a:lnTo>
                      <a:pt x="932" y="2090"/>
                    </a:lnTo>
                    <a:lnTo>
                      <a:pt x="944" y="2096"/>
                    </a:lnTo>
                    <a:lnTo>
                      <a:pt x="952" y="2096"/>
                    </a:lnTo>
                    <a:lnTo>
                      <a:pt x="980" y="2096"/>
                    </a:lnTo>
                    <a:lnTo>
                      <a:pt x="986" y="2104"/>
                    </a:lnTo>
                    <a:lnTo>
                      <a:pt x="994" y="2104"/>
                    </a:lnTo>
                    <a:lnTo>
                      <a:pt x="1006" y="2104"/>
                    </a:lnTo>
                    <a:lnTo>
                      <a:pt x="1020" y="2104"/>
                    </a:lnTo>
                    <a:lnTo>
                      <a:pt x="1040" y="2096"/>
                    </a:lnTo>
                    <a:lnTo>
                      <a:pt x="1046" y="2096"/>
                    </a:lnTo>
                    <a:lnTo>
                      <a:pt x="1054" y="2104"/>
                    </a:lnTo>
                    <a:lnTo>
                      <a:pt x="1074" y="2104"/>
                    </a:lnTo>
                    <a:lnTo>
                      <a:pt x="1088" y="2104"/>
                    </a:lnTo>
                    <a:lnTo>
                      <a:pt x="1096" y="2104"/>
                    </a:lnTo>
                    <a:lnTo>
                      <a:pt x="1102" y="2110"/>
                    </a:lnTo>
                    <a:lnTo>
                      <a:pt x="1096" y="2118"/>
                    </a:lnTo>
                    <a:lnTo>
                      <a:pt x="1110" y="2118"/>
                    </a:lnTo>
                    <a:lnTo>
                      <a:pt x="1122" y="2118"/>
                    </a:lnTo>
                    <a:lnTo>
                      <a:pt x="1130" y="2110"/>
                    </a:lnTo>
                    <a:lnTo>
                      <a:pt x="1142" y="2104"/>
                    </a:lnTo>
                    <a:lnTo>
                      <a:pt x="1158" y="2110"/>
                    </a:lnTo>
                    <a:lnTo>
                      <a:pt x="1164" y="2110"/>
                    </a:lnTo>
                    <a:lnTo>
                      <a:pt x="1170" y="2104"/>
                    </a:lnTo>
                    <a:lnTo>
                      <a:pt x="1170" y="2096"/>
                    </a:lnTo>
                    <a:lnTo>
                      <a:pt x="1178" y="2096"/>
                    </a:lnTo>
                    <a:lnTo>
                      <a:pt x="1184" y="2096"/>
                    </a:lnTo>
                    <a:lnTo>
                      <a:pt x="1184" y="2110"/>
                    </a:lnTo>
                    <a:lnTo>
                      <a:pt x="1198" y="2104"/>
                    </a:lnTo>
                    <a:lnTo>
                      <a:pt x="1198" y="2096"/>
                    </a:lnTo>
                    <a:lnTo>
                      <a:pt x="1212" y="2096"/>
                    </a:lnTo>
                    <a:lnTo>
                      <a:pt x="1226" y="2104"/>
                    </a:lnTo>
                    <a:lnTo>
                      <a:pt x="1226" y="2110"/>
                    </a:lnTo>
                    <a:lnTo>
                      <a:pt x="1226" y="2118"/>
                    </a:lnTo>
                    <a:lnTo>
                      <a:pt x="1232" y="2124"/>
                    </a:lnTo>
                    <a:lnTo>
                      <a:pt x="1246" y="2118"/>
                    </a:lnTo>
                    <a:lnTo>
                      <a:pt x="1252" y="2118"/>
                    </a:lnTo>
                    <a:lnTo>
                      <a:pt x="1274" y="2124"/>
                    </a:lnTo>
                    <a:lnTo>
                      <a:pt x="1294" y="2124"/>
                    </a:lnTo>
                    <a:lnTo>
                      <a:pt x="1300" y="2124"/>
                    </a:lnTo>
                    <a:lnTo>
                      <a:pt x="1314" y="2138"/>
                    </a:lnTo>
                    <a:lnTo>
                      <a:pt x="1328" y="2144"/>
                    </a:lnTo>
                    <a:lnTo>
                      <a:pt x="1342" y="2144"/>
                    </a:lnTo>
                    <a:lnTo>
                      <a:pt x="1348" y="2144"/>
                    </a:lnTo>
                    <a:lnTo>
                      <a:pt x="1362" y="2138"/>
                    </a:lnTo>
                    <a:lnTo>
                      <a:pt x="1370" y="2124"/>
                    </a:lnTo>
                    <a:lnTo>
                      <a:pt x="1362" y="2118"/>
                    </a:lnTo>
                    <a:lnTo>
                      <a:pt x="1377" y="2118"/>
                    </a:lnTo>
                    <a:lnTo>
                      <a:pt x="1383" y="2118"/>
                    </a:lnTo>
                    <a:lnTo>
                      <a:pt x="1383" y="2104"/>
                    </a:lnTo>
                    <a:lnTo>
                      <a:pt x="1391" y="2090"/>
                    </a:lnTo>
                    <a:lnTo>
                      <a:pt x="1383" y="2090"/>
                    </a:lnTo>
                    <a:lnTo>
                      <a:pt x="1370" y="2082"/>
                    </a:lnTo>
                    <a:lnTo>
                      <a:pt x="1356" y="2076"/>
                    </a:lnTo>
                    <a:lnTo>
                      <a:pt x="1348" y="2070"/>
                    </a:lnTo>
                    <a:lnTo>
                      <a:pt x="1328" y="2056"/>
                    </a:lnTo>
                    <a:lnTo>
                      <a:pt x="1314" y="2048"/>
                    </a:lnTo>
                    <a:lnTo>
                      <a:pt x="1300" y="2034"/>
                    </a:lnTo>
                    <a:lnTo>
                      <a:pt x="1300" y="2008"/>
                    </a:lnTo>
                    <a:lnTo>
                      <a:pt x="1294" y="2002"/>
                    </a:lnTo>
                    <a:lnTo>
                      <a:pt x="1286" y="1994"/>
                    </a:lnTo>
                    <a:lnTo>
                      <a:pt x="1286" y="1980"/>
                    </a:lnTo>
                    <a:lnTo>
                      <a:pt x="1280" y="1966"/>
                    </a:lnTo>
                    <a:lnTo>
                      <a:pt x="1274" y="1966"/>
                    </a:lnTo>
                    <a:lnTo>
                      <a:pt x="1274" y="1960"/>
                    </a:lnTo>
                    <a:lnTo>
                      <a:pt x="1260" y="1954"/>
                    </a:lnTo>
                    <a:lnTo>
                      <a:pt x="1240" y="1940"/>
                    </a:lnTo>
                    <a:lnTo>
                      <a:pt x="1240" y="1946"/>
                    </a:lnTo>
                    <a:lnTo>
                      <a:pt x="1232" y="1954"/>
                    </a:lnTo>
                    <a:lnTo>
                      <a:pt x="1226" y="1946"/>
                    </a:lnTo>
                    <a:lnTo>
                      <a:pt x="1212" y="1940"/>
                    </a:lnTo>
                    <a:lnTo>
                      <a:pt x="1218" y="1912"/>
                    </a:lnTo>
                    <a:lnTo>
                      <a:pt x="1218" y="1906"/>
                    </a:lnTo>
                    <a:lnTo>
                      <a:pt x="1226" y="1898"/>
                    </a:lnTo>
                    <a:lnTo>
                      <a:pt x="1226" y="1884"/>
                    </a:lnTo>
                    <a:lnTo>
                      <a:pt x="1232" y="1878"/>
                    </a:lnTo>
                    <a:lnTo>
                      <a:pt x="1226" y="1870"/>
                    </a:lnTo>
                    <a:lnTo>
                      <a:pt x="1226" y="1852"/>
                    </a:lnTo>
                    <a:lnTo>
                      <a:pt x="1232" y="1838"/>
                    </a:lnTo>
                    <a:lnTo>
                      <a:pt x="1232" y="1824"/>
                    </a:lnTo>
                    <a:lnTo>
                      <a:pt x="1240" y="1824"/>
                    </a:lnTo>
                    <a:lnTo>
                      <a:pt x="1246" y="1830"/>
                    </a:lnTo>
                    <a:lnTo>
                      <a:pt x="1260" y="1816"/>
                    </a:lnTo>
                    <a:lnTo>
                      <a:pt x="1266" y="1810"/>
                    </a:lnTo>
                    <a:lnTo>
                      <a:pt x="1274" y="1804"/>
                    </a:lnTo>
                    <a:lnTo>
                      <a:pt x="1280" y="1790"/>
                    </a:lnTo>
                    <a:lnTo>
                      <a:pt x="1286" y="1796"/>
                    </a:lnTo>
                    <a:lnTo>
                      <a:pt x="1294" y="1782"/>
                    </a:lnTo>
                    <a:lnTo>
                      <a:pt x="1286" y="1762"/>
                    </a:lnTo>
                    <a:lnTo>
                      <a:pt x="1274" y="1762"/>
                    </a:lnTo>
                    <a:lnTo>
                      <a:pt x="1266" y="1762"/>
                    </a:lnTo>
                    <a:lnTo>
                      <a:pt x="1252" y="1756"/>
                    </a:lnTo>
                    <a:lnTo>
                      <a:pt x="1260" y="1740"/>
                    </a:lnTo>
                    <a:lnTo>
                      <a:pt x="1266" y="1734"/>
                    </a:lnTo>
                    <a:lnTo>
                      <a:pt x="1274" y="1734"/>
                    </a:lnTo>
                    <a:lnTo>
                      <a:pt x="1266" y="1728"/>
                    </a:lnTo>
                    <a:lnTo>
                      <a:pt x="1246" y="1714"/>
                    </a:lnTo>
                    <a:lnTo>
                      <a:pt x="1218" y="1694"/>
                    </a:lnTo>
                    <a:lnTo>
                      <a:pt x="1206" y="1680"/>
                    </a:lnTo>
                    <a:lnTo>
                      <a:pt x="1198" y="1688"/>
                    </a:lnTo>
                    <a:lnTo>
                      <a:pt x="1184" y="1688"/>
                    </a:lnTo>
                    <a:lnTo>
                      <a:pt x="1184" y="1694"/>
                    </a:lnTo>
                    <a:lnTo>
                      <a:pt x="1178" y="1700"/>
                    </a:lnTo>
                    <a:lnTo>
                      <a:pt x="1164" y="1694"/>
                    </a:lnTo>
                    <a:lnTo>
                      <a:pt x="1158" y="1688"/>
                    </a:lnTo>
                    <a:lnTo>
                      <a:pt x="1158" y="1674"/>
                    </a:lnTo>
                    <a:lnTo>
                      <a:pt x="1158" y="1666"/>
                    </a:lnTo>
                    <a:lnTo>
                      <a:pt x="1142" y="1660"/>
                    </a:lnTo>
                    <a:lnTo>
                      <a:pt x="1130" y="1660"/>
                    </a:lnTo>
                    <a:lnTo>
                      <a:pt x="1122" y="1666"/>
                    </a:lnTo>
                    <a:lnTo>
                      <a:pt x="1122" y="1646"/>
                    </a:lnTo>
                    <a:lnTo>
                      <a:pt x="1122" y="1632"/>
                    </a:lnTo>
                    <a:lnTo>
                      <a:pt x="1136" y="1612"/>
                    </a:lnTo>
                    <a:lnTo>
                      <a:pt x="1116" y="1606"/>
                    </a:lnTo>
                    <a:lnTo>
                      <a:pt x="1110" y="1598"/>
                    </a:lnTo>
                    <a:lnTo>
                      <a:pt x="1116" y="1590"/>
                    </a:lnTo>
                    <a:lnTo>
                      <a:pt x="1116" y="1570"/>
                    </a:lnTo>
                    <a:lnTo>
                      <a:pt x="1110" y="1564"/>
                    </a:lnTo>
                    <a:lnTo>
                      <a:pt x="1102" y="1552"/>
                    </a:lnTo>
                    <a:lnTo>
                      <a:pt x="1110" y="1538"/>
                    </a:lnTo>
                    <a:lnTo>
                      <a:pt x="1116" y="1538"/>
                    </a:lnTo>
                    <a:lnTo>
                      <a:pt x="1116" y="1516"/>
                    </a:lnTo>
                    <a:lnTo>
                      <a:pt x="1110" y="1516"/>
                    </a:lnTo>
                    <a:lnTo>
                      <a:pt x="1122" y="1496"/>
                    </a:lnTo>
                    <a:lnTo>
                      <a:pt x="1136" y="1504"/>
                    </a:lnTo>
                    <a:lnTo>
                      <a:pt x="1142" y="1516"/>
                    </a:lnTo>
                    <a:lnTo>
                      <a:pt x="1158" y="1524"/>
                    </a:lnTo>
                    <a:lnTo>
                      <a:pt x="1164" y="1530"/>
                    </a:lnTo>
                    <a:lnTo>
                      <a:pt x="1178" y="1516"/>
                    </a:lnTo>
                    <a:lnTo>
                      <a:pt x="1178" y="1510"/>
                    </a:lnTo>
                    <a:lnTo>
                      <a:pt x="1170" y="1496"/>
                    </a:lnTo>
                    <a:lnTo>
                      <a:pt x="1164" y="1476"/>
                    </a:lnTo>
                    <a:lnTo>
                      <a:pt x="1150" y="1468"/>
                    </a:lnTo>
                    <a:lnTo>
                      <a:pt x="1164" y="1462"/>
                    </a:lnTo>
                    <a:lnTo>
                      <a:pt x="1178" y="1462"/>
                    </a:lnTo>
                    <a:lnTo>
                      <a:pt x="1178" y="1454"/>
                    </a:lnTo>
                    <a:lnTo>
                      <a:pt x="1178" y="1448"/>
                    </a:lnTo>
                    <a:lnTo>
                      <a:pt x="1178" y="1420"/>
                    </a:lnTo>
                    <a:lnTo>
                      <a:pt x="1190" y="1420"/>
                    </a:lnTo>
                    <a:lnTo>
                      <a:pt x="1198" y="1414"/>
                    </a:lnTo>
                    <a:lnTo>
                      <a:pt x="1206" y="1400"/>
                    </a:lnTo>
                    <a:lnTo>
                      <a:pt x="1218" y="1386"/>
                    </a:lnTo>
                    <a:lnTo>
                      <a:pt x="1226" y="1374"/>
                    </a:lnTo>
                    <a:lnTo>
                      <a:pt x="1226" y="1366"/>
                    </a:lnTo>
                    <a:lnTo>
                      <a:pt x="1226" y="1360"/>
                    </a:lnTo>
                    <a:lnTo>
                      <a:pt x="1232" y="1360"/>
                    </a:lnTo>
                    <a:lnTo>
                      <a:pt x="1240" y="1366"/>
                    </a:lnTo>
                    <a:lnTo>
                      <a:pt x="1246" y="1374"/>
                    </a:lnTo>
                    <a:lnTo>
                      <a:pt x="1260" y="1366"/>
                    </a:lnTo>
                    <a:lnTo>
                      <a:pt x="1266" y="1352"/>
                    </a:lnTo>
                    <a:lnTo>
                      <a:pt x="1274" y="1338"/>
                    </a:lnTo>
                    <a:lnTo>
                      <a:pt x="1286" y="1332"/>
                    </a:lnTo>
                    <a:lnTo>
                      <a:pt x="1294" y="1332"/>
                    </a:lnTo>
                    <a:lnTo>
                      <a:pt x="1308" y="1346"/>
                    </a:lnTo>
                    <a:lnTo>
                      <a:pt x="1308" y="1338"/>
                    </a:lnTo>
                    <a:lnTo>
                      <a:pt x="1314" y="1326"/>
                    </a:lnTo>
                    <a:lnTo>
                      <a:pt x="1322" y="1326"/>
                    </a:lnTo>
                    <a:lnTo>
                      <a:pt x="1334" y="1326"/>
                    </a:lnTo>
                    <a:lnTo>
                      <a:pt x="1342" y="1332"/>
                    </a:lnTo>
                    <a:lnTo>
                      <a:pt x="1356" y="1338"/>
                    </a:lnTo>
                    <a:lnTo>
                      <a:pt x="1377" y="1338"/>
                    </a:lnTo>
                    <a:lnTo>
                      <a:pt x="1383" y="1346"/>
                    </a:lnTo>
                    <a:lnTo>
                      <a:pt x="1397" y="1346"/>
                    </a:lnTo>
                    <a:lnTo>
                      <a:pt x="1405" y="1346"/>
                    </a:lnTo>
                    <a:lnTo>
                      <a:pt x="1411" y="1352"/>
                    </a:lnTo>
                    <a:lnTo>
                      <a:pt x="1411" y="1338"/>
                    </a:lnTo>
                    <a:lnTo>
                      <a:pt x="1405" y="1332"/>
                    </a:lnTo>
                    <a:lnTo>
                      <a:pt x="1405" y="1326"/>
                    </a:lnTo>
                    <a:lnTo>
                      <a:pt x="1411" y="1326"/>
                    </a:lnTo>
                    <a:lnTo>
                      <a:pt x="1445" y="1332"/>
                    </a:lnTo>
                    <a:lnTo>
                      <a:pt x="1467" y="1338"/>
                    </a:lnTo>
                    <a:lnTo>
                      <a:pt x="1473" y="1326"/>
                    </a:lnTo>
                    <a:lnTo>
                      <a:pt x="1473" y="1318"/>
                    </a:lnTo>
                    <a:lnTo>
                      <a:pt x="1473" y="1312"/>
                    </a:lnTo>
                    <a:lnTo>
                      <a:pt x="1479" y="1312"/>
                    </a:lnTo>
                    <a:lnTo>
                      <a:pt x="1479" y="1304"/>
                    </a:lnTo>
                    <a:lnTo>
                      <a:pt x="1473" y="1298"/>
                    </a:lnTo>
                    <a:lnTo>
                      <a:pt x="1487" y="1298"/>
                    </a:lnTo>
                    <a:lnTo>
                      <a:pt x="1501" y="1298"/>
                    </a:lnTo>
                    <a:lnTo>
                      <a:pt x="1493" y="1284"/>
                    </a:lnTo>
                    <a:lnTo>
                      <a:pt x="1501" y="1284"/>
                    </a:lnTo>
                    <a:lnTo>
                      <a:pt x="1507" y="1276"/>
                    </a:lnTo>
                    <a:lnTo>
                      <a:pt x="1521" y="1284"/>
                    </a:lnTo>
                    <a:lnTo>
                      <a:pt x="1535" y="1284"/>
                    </a:lnTo>
                    <a:lnTo>
                      <a:pt x="1535" y="1270"/>
                    </a:lnTo>
                    <a:lnTo>
                      <a:pt x="1547" y="1270"/>
                    </a:lnTo>
                    <a:lnTo>
                      <a:pt x="1541" y="1256"/>
                    </a:lnTo>
                    <a:lnTo>
                      <a:pt x="1547" y="1250"/>
                    </a:lnTo>
                    <a:lnTo>
                      <a:pt x="1555" y="1244"/>
                    </a:lnTo>
                    <a:lnTo>
                      <a:pt x="1569" y="1236"/>
                    </a:lnTo>
                    <a:lnTo>
                      <a:pt x="1575" y="1244"/>
                    </a:lnTo>
                    <a:lnTo>
                      <a:pt x="1581" y="1256"/>
                    </a:lnTo>
                    <a:lnTo>
                      <a:pt x="1595" y="1256"/>
                    </a:lnTo>
                    <a:lnTo>
                      <a:pt x="1623" y="1250"/>
                    </a:lnTo>
                    <a:lnTo>
                      <a:pt x="1629" y="1250"/>
                    </a:lnTo>
                    <a:lnTo>
                      <a:pt x="1637" y="1250"/>
                    </a:lnTo>
                    <a:lnTo>
                      <a:pt x="1637" y="1244"/>
                    </a:lnTo>
                    <a:lnTo>
                      <a:pt x="1637" y="1230"/>
                    </a:lnTo>
                    <a:lnTo>
                      <a:pt x="1649" y="1222"/>
                    </a:lnTo>
                    <a:lnTo>
                      <a:pt x="1671" y="1216"/>
                    </a:lnTo>
                    <a:lnTo>
                      <a:pt x="1691" y="1196"/>
                    </a:lnTo>
                    <a:lnTo>
                      <a:pt x="1699" y="1190"/>
                    </a:lnTo>
                    <a:lnTo>
                      <a:pt x="1699" y="1174"/>
                    </a:lnTo>
                    <a:lnTo>
                      <a:pt x="1691" y="1162"/>
                    </a:lnTo>
                    <a:lnTo>
                      <a:pt x="1677" y="1148"/>
                    </a:lnTo>
                    <a:lnTo>
                      <a:pt x="1671" y="1148"/>
                    </a:lnTo>
                    <a:lnTo>
                      <a:pt x="1665" y="1154"/>
                    </a:lnTo>
                    <a:lnTo>
                      <a:pt x="1649" y="1162"/>
                    </a:lnTo>
                    <a:lnTo>
                      <a:pt x="1629" y="1162"/>
                    </a:lnTo>
                    <a:lnTo>
                      <a:pt x="1617" y="1162"/>
                    </a:lnTo>
                    <a:lnTo>
                      <a:pt x="1609" y="1162"/>
                    </a:lnTo>
                    <a:lnTo>
                      <a:pt x="1589" y="1154"/>
                    </a:lnTo>
                    <a:lnTo>
                      <a:pt x="1589" y="1148"/>
                    </a:lnTo>
                    <a:lnTo>
                      <a:pt x="1581" y="1134"/>
                    </a:lnTo>
                    <a:lnTo>
                      <a:pt x="1575" y="1134"/>
                    </a:lnTo>
                    <a:lnTo>
                      <a:pt x="1569" y="1134"/>
                    </a:lnTo>
                    <a:lnTo>
                      <a:pt x="1555" y="1148"/>
                    </a:lnTo>
                    <a:lnTo>
                      <a:pt x="1547" y="1154"/>
                    </a:lnTo>
                    <a:lnTo>
                      <a:pt x="1535" y="1154"/>
                    </a:lnTo>
                    <a:lnTo>
                      <a:pt x="1521" y="1142"/>
                    </a:lnTo>
                    <a:lnTo>
                      <a:pt x="1507" y="1120"/>
                    </a:lnTo>
                    <a:lnTo>
                      <a:pt x="1507" y="1106"/>
                    </a:lnTo>
                    <a:lnTo>
                      <a:pt x="1507" y="1100"/>
                    </a:lnTo>
                    <a:lnTo>
                      <a:pt x="1501" y="1094"/>
                    </a:lnTo>
                    <a:lnTo>
                      <a:pt x="1493" y="1086"/>
                    </a:lnTo>
                    <a:lnTo>
                      <a:pt x="1493" y="1080"/>
                    </a:lnTo>
                    <a:lnTo>
                      <a:pt x="1479" y="1066"/>
                    </a:lnTo>
                    <a:lnTo>
                      <a:pt x="1479" y="1038"/>
                    </a:lnTo>
                    <a:lnTo>
                      <a:pt x="1487" y="1018"/>
                    </a:lnTo>
                    <a:lnTo>
                      <a:pt x="1479" y="1012"/>
                    </a:lnTo>
                    <a:lnTo>
                      <a:pt x="1467" y="1004"/>
                    </a:lnTo>
                    <a:lnTo>
                      <a:pt x="1467" y="984"/>
                    </a:lnTo>
                    <a:lnTo>
                      <a:pt x="1467" y="970"/>
                    </a:lnTo>
                    <a:lnTo>
                      <a:pt x="1459" y="976"/>
                    </a:lnTo>
                    <a:lnTo>
                      <a:pt x="1459" y="984"/>
                    </a:lnTo>
                    <a:lnTo>
                      <a:pt x="1445" y="1012"/>
                    </a:lnTo>
                    <a:lnTo>
                      <a:pt x="1431" y="1032"/>
                    </a:lnTo>
                    <a:lnTo>
                      <a:pt x="1411" y="1038"/>
                    </a:lnTo>
                    <a:lnTo>
                      <a:pt x="1391" y="1046"/>
                    </a:lnTo>
                    <a:lnTo>
                      <a:pt x="1377" y="1052"/>
                    </a:lnTo>
                    <a:lnTo>
                      <a:pt x="1356" y="1024"/>
                    </a:lnTo>
                    <a:lnTo>
                      <a:pt x="1356" y="1004"/>
                    </a:lnTo>
                    <a:lnTo>
                      <a:pt x="1370" y="998"/>
                    </a:lnTo>
                    <a:lnTo>
                      <a:pt x="1391" y="992"/>
                    </a:lnTo>
                    <a:lnTo>
                      <a:pt x="1397" y="998"/>
                    </a:lnTo>
                    <a:lnTo>
                      <a:pt x="1405" y="1004"/>
                    </a:lnTo>
                    <a:lnTo>
                      <a:pt x="1411" y="998"/>
                    </a:lnTo>
                    <a:lnTo>
                      <a:pt x="1411" y="984"/>
                    </a:lnTo>
                    <a:lnTo>
                      <a:pt x="1411" y="976"/>
                    </a:lnTo>
                    <a:lnTo>
                      <a:pt x="1419" y="962"/>
                    </a:lnTo>
                    <a:lnTo>
                      <a:pt x="1425" y="950"/>
                    </a:lnTo>
                    <a:lnTo>
                      <a:pt x="1419" y="936"/>
                    </a:lnTo>
                    <a:lnTo>
                      <a:pt x="1405" y="930"/>
                    </a:lnTo>
                    <a:lnTo>
                      <a:pt x="1405" y="922"/>
                    </a:lnTo>
                    <a:lnTo>
                      <a:pt x="1397" y="922"/>
                    </a:lnTo>
                    <a:lnTo>
                      <a:pt x="1391" y="930"/>
                    </a:lnTo>
                    <a:lnTo>
                      <a:pt x="1377" y="930"/>
                    </a:lnTo>
                    <a:lnTo>
                      <a:pt x="1370" y="930"/>
                    </a:lnTo>
                    <a:lnTo>
                      <a:pt x="1362" y="936"/>
                    </a:lnTo>
                    <a:lnTo>
                      <a:pt x="1334" y="950"/>
                    </a:lnTo>
                    <a:lnTo>
                      <a:pt x="1322" y="950"/>
                    </a:lnTo>
                    <a:lnTo>
                      <a:pt x="1314" y="930"/>
                    </a:lnTo>
                    <a:lnTo>
                      <a:pt x="1300" y="908"/>
                    </a:lnTo>
                    <a:lnTo>
                      <a:pt x="1294" y="902"/>
                    </a:lnTo>
                    <a:lnTo>
                      <a:pt x="1300" y="896"/>
                    </a:lnTo>
                    <a:lnTo>
                      <a:pt x="1308" y="896"/>
                    </a:lnTo>
                    <a:lnTo>
                      <a:pt x="1308" y="874"/>
                    </a:lnTo>
                    <a:lnTo>
                      <a:pt x="1300" y="854"/>
                    </a:lnTo>
                    <a:lnTo>
                      <a:pt x="1286" y="834"/>
                    </a:lnTo>
                    <a:lnTo>
                      <a:pt x="1294" y="820"/>
                    </a:lnTo>
                    <a:lnTo>
                      <a:pt x="1300" y="812"/>
                    </a:lnTo>
                    <a:lnTo>
                      <a:pt x="1308" y="812"/>
                    </a:lnTo>
                    <a:lnTo>
                      <a:pt x="1308" y="806"/>
                    </a:lnTo>
                    <a:lnTo>
                      <a:pt x="1300" y="794"/>
                    </a:lnTo>
                    <a:lnTo>
                      <a:pt x="1300" y="786"/>
                    </a:lnTo>
                    <a:lnTo>
                      <a:pt x="1300" y="766"/>
                    </a:lnTo>
                    <a:lnTo>
                      <a:pt x="1300" y="758"/>
                    </a:lnTo>
                    <a:lnTo>
                      <a:pt x="1286" y="758"/>
                    </a:lnTo>
                    <a:lnTo>
                      <a:pt x="1286" y="746"/>
                    </a:lnTo>
                    <a:lnTo>
                      <a:pt x="1280" y="732"/>
                    </a:lnTo>
                    <a:lnTo>
                      <a:pt x="1274" y="724"/>
                    </a:lnTo>
                    <a:lnTo>
                      <a:pt x="1266" y="710"/>
                    </a:lnTo>
                    <a:lnTo>
                      <a:pt x="1260" y="710"/>
                    </a:lnTo>
                    <a:lnTo>
                      <a:pt x="1260" y="704"/>
                    </a:lnTo>
                    <a:lnTo>
                      <a:pt x="1252" y="698"/>
                    </a:lnTo>
                    <a:lnTo>
                      <a:pt x="1246" y="704"/>
                    </a:lnTo>
                    <a:lnTo>
                      <a:pt x="1240" y="684"/>
                    </a:lnTo>
                    <a:lnTo>
                      <a:pt x="1226" y="656"/>
                    </a:lnTo>
                    <a:lnTo>
                      <a:pt x="1218" y="630"/>
                    </a:lnTo>
                    <a:lnTo>
                      <a:pt x="1212" y="616"/>
                    </a:lnTo>
                    <a:lnTo>
                      <a:pt x="1190" y="602"/>
                    </a:lnTo>
                    <a:lnTo>
                      <a:pt x="1190" y="582"/>
                    </a:lnTo>
                    <a:lnTo>
                      <a:pt x="1184" y="574"/>
                    </a:lnTo>
                    <a:lnTo>
                      <a:pt x="1170" y="560"/>
                    </a:lnTo>
                    <a:lnTo>
                      <a:pt x="1170" y="548"/>
                    </a:lnTo>
                    <a:lnTo>
                      <a:pt x="1164" y="532"/>
                    </a:lnTo>
                    <a:lnTo>
                      <a:pt x="1158" y="526"/>
                    </a:lnTo>
                    <a:lnTo>
                      <a:pt x="1150" y="520"/>
                    </a:lnTo>
                    <a:lnTo>
                      <a:pt x="1142" y="492"/>
                    </a:lnTo>
                    <a:lnTo>
                      <a:pt x="1136" y="486"/>
                    </a:lnTo>
                    <a:lnTo>
                      <a:pt x="1122" y="480"/>
                    </a:lnTo>
                    <a:lnTo>
                      <a:pt x="1122" y="472"/>
                    </a:lnTo>
                    <a:lnTo>
                      <a:pt x="1110" y="466"/>
                    </a:lnTo>
                    <a:lnTo>
                      <a:pt x="1102" y="458"/>
                    </a:lnTo>
                    <a:lnTo>
                      <a:pt x="1096" y="424"/>
                    </a:lnTo>
                    <a:lnTo>
                      <a:pt x="1088" y="424"/>
                    </a:lnTo>
                    <a:lnTo>
                      <a:pt x="1088" y="410"/>
                    </a:lnTo>
                    <a:lnTo>
                      <a:pt x="1082" y="396"/>
                    </a:lnTo>
                    <a:lnTo>
                      <a:pt x="1082" y="404"/>
                    </a:lnTo>
                    <a:lnTo>
                      <a:pt x="1074" y="390"/>
                    </a:lnTo>
                    <a:lnTo>
                      <a:pt x="1074" y="376"/>
                    </a:lnTo>
                    <a:lnTo>
                      <a:pt x="1068" y="370"/>
                    </a:lnTo>
                    <a:lnTo>
                      <a:pt x="1062" y="356"/>
                    </a:lnTo>
                    <a:lnTo>
                      <a:pt x="1054" y="344"/>
                    </a:lnTo>
                    <a:lnTo>
                      <a:pt x="1040" y="344"/>
                    </a:lnTo>
                    <a:lnTo>
                      <a:pt x="1040" y="336"/>
                    </a:lnTo>
                    <a:lnTo>
                      <a:pt x="1040" y="330"/>
                    </a:lnTo>
                    <a:lnTo>
                      <a:pt x="1054" y="330"/>
                    </a:lnTo>
                    <a:lnTo>
                      <a:pt x="1062" y="322"/>
                    </a:lnTo>
                    <a:lnTo>
                      <a:pt x="1062" y="294"/>
                    </a:lnTo>
                    <a:lnTo>
                      <a:pt x="1062" y="274"/>
                    </a:lnTo>
                    <a:lnTo>
                      <a:pt x="1062" y="260"/>
                    </a:lnTo>
                    <a:lnTo>
                      <a:pt x="1068" y="260"/>
                    </a:lnTo>
                    <a:lnTo>
                      <a:pt x="1074" y="240"/>
                    </a:lnTo>
                    <a:lnTo>
                      <a:pt x="1074" y="212"/>
                    </a:lnTo>
                    <a:lnTo>
                      <a:pt x="1062" y="178"/>
                    </a:lnTo>
                    <a:lnTo>
                      <a:pt x="1068" y="164"/>
                    </a:lnTo>
                    <a:lnTo>
                      <a:pt x="1082" y="152"/>
                    </a:lnTo>
                    <a:lnTo>
                      <a:pt x="1088" y="138"/>
                    </a:lnTo>
                    <a:lnTo>
                      <a:pt x="1082" y="118"/>
                    </a:lnTo>
                    <a:lnTo>
                      <a:pt x="1082" y="96"/>
                    </a:lnTo>
                    <a:lnTo>
                      <a:pt x="1074" y="82"/>
                    </a:lnTo>
                    <a:lnTo>
                      <a:pt x="1062" y="76"/>
                    </a:lnTo>
                    <a:lnTo>
                      <a:pt x="1068" y="62"/>
                    </a:lnTo>
                    <a:lnTo>
                      <a:pt x="1062" y="62"/>
                    </a:lnTo>
                    <a:lnTo>
                      <a:pt x="1054" y="56"/>
                    </a:lnTo>
                    <a:lnTo>
                      <a:pt x="1046" y="56"/>
                    </a:lnTo>
                    <a:lnTo>
                      <a:pt x="1040" y="68"/>
                    </a:lnTo>
                    <a:lnTo>
                      <a:pt x="1034" y="68"/>
                    </a:lnTo>
                    <a:lnTo>
                      <a:pt x="1028" y="56"/>
                    </a:lnTo>
                    <a:lnTo>
                      <a:pt x="1020" y="48"/>
                    </a:lnTo>
                    <a:lnTo>
                      <a:pt x="1014" y="48"/>
                    </a:lnTo>
                    <a:lnTo>
                      <a:pt x="1006" y="42"/>
                    </a:lnTo>
                    <a:lnTo>
                      <a:pt x="1006" y="30"/>
                    </a:lnTo>
                    <a:lnTo>
                      <a:pt x="1000" y="30"/>
                    </a:lnTo>
                    <a:lnTo>
                      <a:pt x="986" y="30"/>
                    </a:lnTo>
                    <a:lnTo>
                      <a:pt x="980" y="36"/>
                    </a:lnTo>
                    <a:lnTo>
                      <a:pt x="972" y="36"/>
                    </a:lnTo>
                    <a:lnTo>
                      <a:pt x="966" y="36"/>
                    </a:lnTo>
                    <a:lnTo>
                      <a:pt x="960" y="22"/>
                    </a:lnTo>
                    <a:lnTo>
                      <a:pt x="952" y="16"/>
                    </a:lnTo>
                    <a:lnTo>
                      <a:pt x="960" y="8"/>
                    </a:lnTo>
                    <a:lnTo>
                      <a:pt x="960" y="0"/>
                    </a:lnTo>
                    <a:lnTo>
                      <a:pt x="952" y="0"/>
                    </a:lnTo>
                    <a:lnTo>
                      <a:pt x="924" y="0"/>
                    </a:lnTo>
                    <a:lnTo>
                      <a:pt x="898" y="16"/>
                    </a:lnTo>
                    <a:lnTo>
                      <a:pt x="884" y="22"/>
                    </a:lnTo>
                    <a:lnTo>
                      <a:pt x="864" y="22"/>
                    </a:lnTo>
                    <a:lnTo>
                      <a:pt x="848" y="22"/>
                    </a:lnTo>
                    <a:lnTo>
                      <a:pt x="856" y="30"/>
                    </a:lnTo>
                    <a:lnTo>
                      <a:pt x="856" y="48"/>
                    </a:lnTo>
                    <a:lnTo>
                      <a:pt x="848" y="56"/>
                    </a:lnTo>
                    <a:lnTo>
                      <a:pt x="856" y="62"/>
                    </a:lnTo>
                    <a:lnTo>
                      <a:pt x="864" y="68"/>
                    </a:lnTo>
                    <a:lnTo>
                      <a:pt x="870" y="82"/>
                    </a:lnTo>
                    <a:lnTo>
                      <a:pt x="884" y="82"/>
                    </a:lnTo>
                    <a:lnTo>
                      <a:pt x="890" y="90"/>
                    </a:lnTo>
                    <a:lnTo>
                      <a:pt x="876" y="102"/>
                    </a:lnTo>
                    <a:lnTo>
                      <a:pt x="870" y="124"/>
                    </a:lnTo>
                    <a:lnTo>
                      <a:pt x="876" y="124"/>
                    </a:lnTo>
                    <a:lnTo>
                      <a:pt x="884" y="132"/>
                    </a:lnTo>
                    <a:lnTo>
                      <a:pt x="870" y="144"/>
                    </a:lnTo>
                    <a:lnTo>
                      <a:pt x="856" y="144"/>
                    </a:lnTo>
                    <a:lnTo>
                      <a:pt x="842" y="132"/>
                    </a:lnTo>
                    <a:lnTo>
                      <a:pt x="848" y="124"/>
                    </a:lnTo>
                    <a:lnTo>
                      <a:pt x="842" y="110"/>
                    </a:lnTo>
                    <a:lnTo>
                      <a:pt x="836" y="102"/>
                    </a:lnTo>
                    <a:lnTo>
                      <a:pt x="828" y="110"/>
                    </a:lnTo>
                    <a:lnTo>
                      <a:pt x="822" y="124"/>
                    </a:lnTo>
                    <a:lnTo>
                      <a:pt x="822" y="132"/>
                    </a:lnTo>
                    <a:lnTo>
                      <a:pt x="822" y="144"/>
                    </a:lnTo>
                    <a:lnTo>
                      <a:pt x="822" y="152"/>
                    </a:lnTo>
                    <a:lnTo>
                      <a:pt x="816" y="164"/>
                    </a:lnTo>
                    <a:lnTo>
                      <a:pt x="794" y="164"/>
                    </a:lnTo>
                    <a:lnTo>
                      <a:pt x="780" y="164"/>
                    </a:lnTo>
                    <a:lnTo>
                      <a:pt x="780" y="172"/>
                    </a:lnTo>
                    <a:lnTo>
                      <a:pt x="774" y="198"/>
                    </a:lnTo>
                    <a:lnTo>
                      <a:pt x="774" y="204"/>
                    </a:lnTo>
                    <a:lnTo>
                      <a:pt x="760" y="220"/>
                    </a:lnTo>
                    <a:lnTo>
                      <a:pt x="760" y="226"/>
                    </a:lnTo>
                    <a:lnTo>
                      <a:pt x="760" y="232"/>
                    </a:lnTo>
                    <a:lnTo>
                      <a:pt x="751" y="226"/>
                    </a:lnTo>
                    <a:lnTo>
                      <a:pt x="745" y="220"/>
                    </a:lnTo>
                    <a:lnTo>
                      <a:pt x="733" y="240"/>
                    </a:lnTo>
                    <a:lnTo>
                      <a:pt x="733" y="226"/>
                    </a:lnTo>
                    <a:lnTo>
                      <a:pt x="733" y="212"/>
                    </a:lnTo>
                    <a:lnTo>
                      <a:pt x="739" y="204"/>
                    </a:lnTo>
                    <a:lnTo>
                      <a:pt x="733" y="198"/>
                    </a:lnTo>
                    <a:lnTo>
                      <a:pt x="733" y="186"/>
                    </a:lnTo>
                    <a:lnTo>
                      <a:pt x="725" y="186"/>
                    </a:lnTo>
                    <a:lnTo>
                      <a:pt x="717" y="186"/>
                    </a:lnTo>
                    <a:lnTo>
                      <a:pt x="711" y="178"/>
                    </a:lnTo>
                    <a:lnTo>
                      <a:pt x="705" y="198"/>
                    </a:lnTo>
                    <a:lnTo>
                      <a:pt x="711" y="198"/>
                    </a:lnTo>
                    <a:lnTo>
                      <a:pt x="711" y="212"/>
                    </a:lnTo>
                    <a:lnTo>
                      <a:pt x="705" y="212"/>
                    </a:lnTo>
                    <a:lnTo>
                      <a:pt x="705" y="204"/>
                    </a:lnTo>
                    <a:lnTo>
                      <a:pt x="697" y="204"/>
                    </a:lnTo>
                    <a:lnTo>
                      <a:pt x="697" y="212"/>
                    </a:lnTo>
                    <a:lnTo>
                      <a:pt x="697" y="220"/>
                    </a:lnTo>
                    <a:lnTo>
                      <a:pt x="711" y="240"/>
                    </a:lnTo>
                    <a:lnTo>
                      <a:pt x="697" y="240"/>
                    </a:lnTo>
                    <a:lnTo>
                      <a:pt x="691" y="232"/>
                    </a:lnTo>
                    <a:lnTo>
                      <a:pt x="691" y="226"/>
                    </a:lnTo>
                    <a:lnTo>
                      <a:pt x="683" y="232"/>
                    </a:lnTo>
                    <a:lnTo>
                      <a:pt x="677" y="246"/>
                    </a:lnTo>
                    <a:lnTo>
                      <a:pt x="671" y="246"/>
                    </a:lnTo>
                    <a:lnTo>
                      <a:pt x="657" y="274"/>
                    </a:lnTo>
                    <a:lnTo>
                      <a:pt x="649" y="280"/>
                    </a:lnTo>
                    <a:lnTo>
                      <a:pt x="643" y="288"/>
                    </a:lnTo>
                    <a:lnTo>
                      <a:pt x="649" y="294"/>
                    </a:lnTo>
                    <a:lnTo>
                      <a:pt x="657" y="302"/>
                    </a:lnTo>
                    <a:lnTo>
                      <a:pt x="643" y="316"/>
                    </a:lnTo>
                    <a:lnTo>
                      <a:pt x="635" y="322"/>
                    </a:lnTo>
                    <a:lnTo>
                      <a:pt x="629" y="322"/>
                    </a:lnTo>
                    <a:lnTo>
                      <a:pt x="643" y="336"/>
                    </a:lnTo>
                    <a:lnTo>
                      <a:pt x="643" y="348"/>
                    </a:lnTo>
                    <a:lnTo>
                      <a:pt x="643" y="362"/>
                    </a:lnTo>
                    <a:lnTo>
                      <a:pt x="643" y="370"/>
                    </a:lnTo>
                    <a:lnTo>
                      <a:pt x="635" y="376"/>
                    </a:lnTo>
                    <a:lnTo>
                      <a:pt x="623" y="382"/>
                    </a:lnTo>
                    <a:lnTo>
                      <a:pt x="601" y="390"/>
                    </a:lnTo>
                    <a:lnTo>
                      <a:pt x="595" y="396"/>
                    </a:lnTo>
                    <a:lnTo>
                      <a:pt x="573" y="382"/>
                    </a:lnTo>
                    <a:lnTo>
                      <a:pt x="561" y="376"/>
                    </a:lnTo>
                    <a:lnTo>
                      <a:pt x="547" y="376"/>
                    </a:lnTo>
                    <a:lnTo>
                      <a:pt x="533" y="370"/>
                    </a:lnTo>
                    <a:lnTo>
                      <a:pt x="533" y="362"/>
                    </a:lnTo>
                    <a:lnTo>
                      <a:pt x="533" y="348"/>
                    </a:lnTo>
                    <a:lnTo>
                      <a:pt x="533" y="344"/>
                    </a:lnTo>
                    <a:lnTo>
                      <a:pt x="553" y="336"/>
                    </a:lnTo>
                    <a:lnTo>
                      <a:pt x="553" y="330"/>
                    </a:lnTo>
                    <a:lnTo>
                      <a:pt x="567" y="330"/>
                    </a:lnTo>
                    <a:lnTo>
                      <a:pt x="573" y="322"/>
                    </a:lnTo>
                    <a:lnTo>
                      <a:pt x="561" y="316"/>
                    </a:lnTo>
                    <a:lnTo>
                      <a:pt x="553" y="308"/>
                    </a:lnTo>
                    <a:lnTo>
                      <a:pt x="547" y="302"/>
                    </a:lnTo>
                    <a:lnTo>
                      <a:pt x="533" y="302"/>
                    </a:lnTo>
                    <a:lnTo>
                      <a:pt x="527" y="288"/>
                    </a:lnTo>
                    <a:lnTo>
                      <a:pt x="521" y="288"/>
                    </a:lnTo>
                    <a:lnTo>
                      <a:pt x="499" y="294"/>
                    </a:lnTo>
                    <a:lnTo>
                      <a:pt x="485" y="294"/>
                    </a:lnTo>
                    <a:lnTo>
                      <a:pt x="485" y="302"/>
                    </a:lnTo>
                    <a:lnTo>
                      <a:pt x="471" y="302"/>
                    </a:lnTo>
                    <a:lnTo>
                      <a:pt x="485" y="308"/>
                    </a:lnTo>
                    <a:lnTo>
                      <a:pt x="491" y="316"/>
                    </a:lnTo>
                    <a:lnTo>
                      <a:pt x="499" y="322"/>
                    </a:lnTo>
                    <a:lnTo>
                      <a:pt x="499" y="330"/>
                    </a:lnTo>
                    <a:lnTo>
                      <a:pt x="499" y="344"/>
                    </a:lnTo>
                    <a:lnTo>
                      <a:pt x="505" y="348"/>
                    </a:lnTo>
                    <a:lnTo>
                      <a:pt x="505" y="356"/>
                    </a:lnTo>
                    <a:lnTo>
                      <a:pt x="511" y="356"/>
                    </a:lnTo>
                    <a:lnTo>
                      <a:pt x="505" y="370"/>
                    </a:lnTo>
                    <a:lnTo>
                      <a:pt x="505" y="376"/>
                    </a:lnTo>
                    <a:lnTo>
                      <a:pt x="505" y="396"/>
                    </a:lnTo>
                    <a:lnTo>
                      <a:pt x="521" y="396"/>
                    </a:lnTo>
                    <a:lnTo>
                      <a:pt x="533" y="396"/>
                    </a:lnTo>
                    <a:lnTo>
                      <a:pt x="539" y="404"/>
                    </a:lnTo>
                    <a:lnTo>
                      <a:pt x="539" y="410"/>
                    </a:lnTo>
                    <a:lnTo>
                      <a:pt x="547" y="418"/>
                    </a:lnTo>
                    <a:lnTo>
                      <a:pt x="547" y="424"/>
                    </a:lnTo>
                    <a:lnTo>
                      <a:pt x="553" y="432"/>
                    </a:lnTo>
                    <a:lnTo>
                      <a:pt x="547" y="438"/>
                    </a:lnTo>
                    <a:lnTo>
                      <a:pt x="539" y="452"/>
                    </a:lnTo>
                    <a:lnTo>
                      <a:pt x="553" y="466"/>
                    </a:lnTo>
                    <a:lnTo>
                      <a:pt x="561" y="472"/>
                    </a:lnTo>
                    <a:lnTo>
                      <a:pt x="547" y="480"/>
                    </a:lnTo>
                    <a:lnTo>
                      <a:pt x="539" y="472"/>
                    </a:lnTo>
                    <a:lnTo>
                      <a:pt x="527" y="480"/>
                    </a:lnTo>
                    <a:lnTo>
                      <a:pt x="511" y="480"/>
                    </a:lnTo>
                    <a:lnTo>
                      <a:pt x="521" y="466"/>
                    </a:lnTo>
                    <a:lnTo>
                      <a:pt x="527" y="466"/>
                    </a:lnTo>
                    <a:lnTo>
                      <a:pt x="511" y="452"/>
                    </a:lnTo>
                    <a:lnTo>
                      <a:pt x="505" y="458"/>
                    </a:lnTo>
                    <a:lnTo>
                      <a:pt x="491" y="458"/>
                    </a:lnTo>
                    <a:lnTo>
                      <a:pt x="479" y="452"/>
                    </a:lnTo>
                    <a:lnTo>
                      <a:pt x="479" y="458"/>
                    </a:lnTo>
                    <a:lnTo>
                      <a:pt x="471" y="472"/>
                    </a:lnTo>
                    <a:lnTo>
                      <a:pt x="465" y="492"/>
                    </a:lnTo>
                    <a:lnTo>
                      <a:pt x="451" y="498"/>
                    </a:lnTo>
                    <a:lnTo>
                      <a:pt x="443" y="506"/>
                    </a:lnTo>
                    <a:lnTo>
                      <a:pt x="443" y="520"/>
                    </a:lnTo>
                    <a:lnTo>
                      <a:pt x="437" y="532"/>
                    </a:lnTo>
                    <a:lnTo>
                      <a:pt x="429" y="540"/>
                    </a:lnTo>
                    <a:lnTo>
                      <a:pt x="423" y="548"/>
                    </a:lnTo>
                    <a:lnTo>
                      <a:pt x="429" y="554"/>
                    </a:lnTo>
                    <a:lnTo>
                      <a:pt x="451" y="568"/>
                    </a:lnTo>
                    <a:lnTo>
                      <a:pt x="465" y="574"/>
                    </a:lnTo>
                    <a:lnTo>
                      <a:pt x="465" y="582"/>
                    </a:lnTo>
                    <a:lnTo>
                      <a:pt x="479" y="596"/>
                    </a:lnTo>
                    <a:lnTo>
                      <a:pt x="485" y="616"/>
                    </a:lnTo>
                    <a:lnTo>
                      <a:pt x="485" y="622"/>
                    </a:lnTo>
                    <a:lnTo>
                      <a:pt x="521" y="616"/>
                    </a:lnTo>
                    <a:lnTo>
                      <a:pt x="527" y="622"/>
                    </a:lnTo>
                    <a:lnTo>
                      <a:pt x="533" y="636"/>
                    </a:lnTo>
                    <a:lnTo>
                      <a:pt x="521" y="630"/>
                    </a:lnTo>
                    <a:lnTo>
                      <a:pt x="511" y="630"/>
                    </a:lnTo>
                    <a:lnTo>
                      <a:pt x="499" y="630"/>
                    </a:lnTo>
                    <a:lnTo>
                      <a:pt x="485" y="622"/>
                    </a:lnTo>
                    <a:lnTo>
                      <a:pt x="479" y="616"/>
                    </a:lnTo>
                    <a:lnTo>
                      <a:pt x="471" y="616"/>
                    </a:lnTo>
                    <a:lnTo>
                      <a:pt x="465" y="622"/>
                    </a:lnTo>
                    <a:lnTo>
                      <a:pt x="459" y="616"/>
                    </a:lnTo>
                    <a:lnTo>
                      <a:pt x="443" y="622"/>
                    </a:lnTo>
                    <a:lnTo>
                      <a:pt x="423" y="616"/>
                    </a:lnTo>
                    <a:lnTo>
                      <a:pt x="409" y="608"/>
                    </a:lnTo>
                    <a:lnTo>
                      <a:pt x="397" y="608"/>
                    </a:lnTo>
                    <a:lnTo>
                      <a:pt x="397" y="602"/>
                    </a:lnTo>
                    <a:lnTo>
                      <a:pt x="389" y="602"/>
                    </a:lnTo>
                    <a:lnTo>
                      <a:pt x="369" y="602"/>
                    </a:lnTo>
                    <a:lnTo>
                      <a:pt x="349" y="596"/>
                    </a:lnTo>
                    <a:lnTo>
                      <a:pt x="349" y="608"/>
                    </a:lnTo>
                    <a:lnTo>
                      <a:pt x="341" y="616"/>
                    </a:lnTo>
                    <a:lnTo>
                      <a:pt x="341" y="622"/>
                    </a:lnTo>
                    <a:lnTo>
                      <a:pt x="355" y="630"/>
                    </a:lnTo>
                    <a:lnTo>
                      <a:pt x="361" y="636"/>
                    </a:lnTo>
                    <a:lnTo>
                      <a:pt x="383" y="642"/>
                    </a:lnTo>
                    <a:lnTo>
                      <a:pt x="383" y="636"/>
                    </a:lnTo>
                    <a:lnTo>
                      <a:pt x="389" y="636"/>
                    </a:lnTo>
                    <a:lnTo>
                      <a:pt x="403" y="648"/>
                    </a:lnTo>
                    <a:lnTo>
                      <a:pt x="409" y="676"/>
                    </a:lnTo>
                    <a:lnTo>
                      <a:pt x="397" y="684"/>
                    </a:lnTo>
                    <a:lnTo>
                      <a:pt x="389" y="690"/>
                    </a:lnTo>
                    <a:lnTo>
                      <a:pt x="375" y="684"/>
                    </a:lnTo>
                    <a:lnTo>
                      <a:pt x="361" y="684"/>
                    </a:lnTo>
                    <a:lnTo>
                      <a:pt x="355" y="684"/>
                    </a:lnTo>
                    <a:lnTo>
                      <a:pt x="341" y="670"/>
                    </a:lnTo>
                    <a:lnTo>
                      <a:pt x="335" y="662"/>
                    </a:lnTo>
                    <a:lnTo>
                      <a:pt x="327" y="656"/>
                    </a:lnTo>
                    <a:lnTo>
                      <a:pt x="321" y="670"/>
                    </a:lnTo>
                    <a:lnTo>
                      <a:pt x="315" y="662"/>
                    </a:lnTo>
                    <a:lnTo>
                      <a:pt x="295" y="656"/>
                    </a:lnTo>
                    <a:lnTo>
                      <a:pt x="295" y="642"/>
                    </a:lnTo>
                    <a:lnTo>
                      <a:pt x="287" y="642"/>
                    </a:lnTo>
                    <a:lnTo>
                      <a:pt x="287" y="636"/>
                    </a:lnTo>
                    <a:lnTo>
                      <a:pt x="287" y="630"/>
                    </a:lnTo>
                    <a:lnTo>
                      <a:pt x="281" y="622"/>
                    </a:lnTo>
                    <a:lnTo>
                      <a:pt x="281" y="616"/>
                    </a:lnTo>
                    <a:lnTo>
                      <a:pt x="273" y="602"/>
                    </a:lnTo>
                    <a:lnTo>
                      <a:pt x="265" y="596"/>
                    </a:lnTo>
                    <a:lnTo>
                      <a:pt x="265" y="588"/>
                    </a:lnTo>
                    <a:lnTo>
                      <a:pt x="273" y="582"/>
                    </a:lnTo>
                    <a:lnTo>
                      <a:pt x="273" y="568"/>
                    </a:lnTo>
                    <a:lnTo>
                      <a:pt x="265" y="560"/>
                    </a:lnTo>
                    <a:lnTo>
                      <a:pt x="265" y="554"/>
                    </a:lnTo>
                    <a:lnTo>
                      <a:pt x="259" y="548"/>
                    </a:lnTo>
                    <a:lnTo>
                      <a:pt x="253" y="540"/>
                    </a:lnTo>
                    <a:lnTo>
                      <a:pt x="233" y="540"/>
                    </a:lnTo>
                    <a:lnTo>
                      <a:pt x="225" y="540"/>
                    </a:lnTo>
                    <a:lnTo>
                      <a:pt x="219" y="540"/>
                    </a:lnTo>
                    <a:lnTo>
                      <a:pt x="211" y="532"/>
                    </a:lnTo>
                    <a:lnTo>
                      <a:pt x="219" y="532"/>
                    </a:lnTo>
                    <a:lnTo>
                      <a:pt x="219" y="526"/>
                    </a:lnTo>
                    <a:lnTo>
                      <a:pt x="211" y="526"/>
                    </a:lnTo>
                    <a:lnTo>
                      <a:pt x="205" y="526"/>
                    </a:lnTo>
                    <a:lnTo>
                      <a:pt x="205" y="520"/>
                    </a:lnTo>
                    <a:lnTo>
                      <a:pt x="191" y="520"/>
                    </a:lnTo>
                    <a:lnTo>
                      <a:pt x="185" y="512"/>
                    </a:lnTo>
                    <a:lnTo>
                      <a:pt x="177" y="498"/>
                    </a:lnTo>
                    <a:lnTo>
                      <a:pt x="185" y="486"/>
                    </a:lnTo>
                    <a:lnTo>
                      <a:pt x="177" y="486"/>
                    </a:lnTo>
                    <a:lnTo>
                      <a:pt x="171" y="480"/>
                    </a:lnTo>
                    <a:lnTo>
                      <a:pt x="177" y="480"/>
                    </a:lnTo>
                    <a:lnTo>
                      <a:pt x="185" y="480"/>
                    </a:lnTo>
                    <a:lnTo>
                      <a:pt x="191" y="480"/>
                    </a:lnTo>
                    <a:lnTo>
                      <a:pt x="205" y="492"/>
                    </a:lnTo>
                    <a:lnTo>
                      <a:pt x="211" y="498"/>
                    </a:lnTo>
                    <a:lnTo>
                      <a:pt x="219" y="498"/>
                    </a:lnTo>
                    <a:lnTo>
                      <a:pt x="219" y="492"/>
                    </a:lnTo>
                    <a:lnTo>
                      <a:pt x="233" y="498"/>
                    </a:lnTo>
                    <a:lnTo>
                      <a:pt x="245" y="506"/>
                    </a:lnTo>
                    <a:lnTo>
                      <a:pt x="253" y="506"/>
                    </a:lnTo>
                    <a:lnTo>
                      <a:pt x="259" y="506"/>
                    </a:lnTo>
                    <a:lnTo>
                      <a:pt x="265" y="512"/>
                    </a:lnTo>
                    <a:lnTo>
                      <a:pt x="281" y="512"/>
                    </a:lnTo>
                    <a:lnTo>
                      <a:pt x="295" y="512"/>
                    </a:lnTo>
                    <a:lnTo>
                      <a:pt x="315" y="520"/>
                    </a:lnTo>
                    <a:lnTo>
                      <a:pt x="321" y="512"/>
                    </a:lnTo>
                    <a:lnTo>
                      <a:pt x="327" y="506"/>
                    </a:lnTo>
                    <a:lnTo>
                      <a:pt x="335" y="512"/>
                    </a:lnTo>
                    <a:lnTo>
                      <a:pt x="335" y="520"/>
                    </a:lnTo>
                    <a:lnTo>
                      <a:pt x="349" y="520"/>
                    </a:lnTo>
                    <a:lnTo>
                      <a:pt x="361" y="520"/>
                    </a:lnTo>
                    <a:lnTo>
                      <a:pt x="375" y="520"/>
                    </a:lnTo>
                    <a:lnTo>
                      <a:pt x="389" y="506"/>
                    </a:lnTo>
                    <a:lnTo>
                      <a:pt x="397" y="506"/>
                    </a:lnTo>
                    <a:lnTo>
                      <a:pt x="409" y="498"/>
                    </a:lnTo>
                    <a:lnTo>
                      <a:pt x="417" y="492"/>
                    </a:lnTo>
                    <a:lnTo>
                      <a:pt x="417" y="486"/>
                    </a:lnTo>
                    <a:lnTo>
                      <a:pt x="423" y="480"/>
                    </a:lnTo>
                    <a:lnTo>
                      <a:pt x="429" y="480"/>
                    </a:lnTo>
                    <a:lnTo>
                      <a:pt x="429" y="472"/>
                    </a:lnTo>
                    <a:lnTo>
                      <a:pt x="429" y="466"/>
                    </a:lnTo>
                    <a:lnTo>
                      <a:pt x="437" y="466"/>
                    </a:lnTo>
                    <a:lnTo>
                      <a:pt x="443" y="438"/>
                    </a:lnTo>
                    <a:lnTo>
                      <a:pt x="437" y="424"/>
                    </a:lnTo>
                    <a:lnTo>
                      <a:pt x="437" y="410"/>
                    </a:lnTo>
                    <a:lnTo>
                      <a:pt x="429" y="410"/>
                    </a:lnTo>
                    <a:lnTo>
                      <a:pt x="429" y="396"/>
                    </a:lnTo>
                    <a:lnTo>
                      <a:pt x="423" y="404"/>
                    </a:lnTo>
                    <a:lnTo>
                      <a:pt x="417" y="396"/>
                    </a:lnTo>
                    <a:lnTo>
                      <a:pt x="417" y="382"/>
                    </a:lnTo>
                    <a:lnTo>
                      <a:pt x="403" y="382"/>
                    </a:lnTo>
                    <a:lnTo>
                      <a:pt x="397" y="382"/>
                    </a:lnTo>
                    <a:lnTo>
                      <a:pt x="397" y="376"/>
                    </a:lnTo>
                    <a:lnTo>
                      <a:pt x="375" y="370"/>
                    </a:lnTo>
                    <a:lnTo>
                      <a:pt x="361" y="376"/>
                    </a:lnTo>
                    <a:lnTo>
                      <a:pt x="355" y="370"/>
                    </a:lnTo>
                    <a:lnTo>
                      <a:pt x="349" y="362"/>
                    </a:lnTo>
                    <a:lnTo>
                      <a:pt x="335" y="356"/>
                    </a:lnTo>
                    <a:lnTo>
                      <a:pt x="335" y="362"/>
                    </a:lnTo>
                    <a:lnTo>
                      <a:pt x="327" y="356"/>
                    </a:lnTo>
                    <a:lnTo>
                      <a:pt x="315" y="344"/>
                    </a:lnTo>
                    <a:lnTo>
                      <a:pt x="295" y="344"/>
                    </a:lnTo>
                    <a:lnTo>
                      <a:pt x="273" y="330"/>
                    </a:lnTo>
                    <a:lnTo>
                      <a:pt x="253" y="322"/>
                    </a:lnTo>
                    <a:lnTo>
                      <a:pt x="239" y="330"/>
                    </a:lnTo>
                    <a:lnTo>
                      <a:pt x="191" y="330"/>
                    </a:lnTo>
                    <a:lnTo>
                      <a:pt x="185" y="330"/>
                    </a:lnTo>
                    <a:lnTo>
                      <a:pt x="177" y="322"/>
                    </a:lnTo>
                    <a:lnTo>
                      <a:pt x="163" y="330"/>
                    </a:lnTo>
                    <a:lnTo>
                      <a:pt x="163" y="322"/>
                    </a:lnTo>
                    <a:lnTo>
                      <a:pt x="157" y="316"/>
                    </a:lnTo>
                    <a:lnTo>
                      <a:pt x="151" y="322"/>
                    </a:lnTo>
                    <a:lnTo>
                      <a:pt x="143" y="308"/>
                    </a:lnTo>
                    <a:lnTo>
                      <a:pt x="134" y="308"/>
                    </a:lnTo>
                    <a:lnTo>
                      <a:pt x="128" y="294"/>
                    </a:lnTo>
                    <a:lnTo>
                      <a:pt x="122" y="294"/>
                    </a:lnTo>
                    <a:lnTo>
                      <a:pt x="114" y="308"/>
                    </a:lnTo>
                    <a:lnTo>
                      <a:pt x="108" y="308"/>
                    </a:lnTo>
                    <a:lnTo>
                      <a:pt x="100" y="294"/>
                    </a:lnTo>
                    <a:lnTo>
                      <a:pt x="94" y="294"/>
                    </a:lnTo>
                    <a:lnTo>
                      <a:pt x="94" y="316"/>
                    </a:lnTo>
                    <a:lnTo>
                      <a:pt x="80" y="316"/>
                    </a:lnTo>
                    <a:lnTo>
                      <a:pt x="74" y="308"/>
                    </a:lnTo>
                    <a:lnTo>
                      <a:pt x="60" y="308"/>
                    </a:lnTo>
                    <a:lnTo>
                      <a:pt x="28" y="320"/>
                    </a:lnTo>
                    <a:lnTo>
                      <a:pt x="18" y="344"/>
                    </a:lnTo>
                    <a:lnTo>
                      <a:pt x="14" y="366"/>
                    </a:lnTo>
                    <a:lnTo>
                      <a:pt x="8" y="366"/>
                    </a:lnTo>
                    <a:lnTo>
                      <a:pt x="8" y="376"/>
                    </a:lnTo>
                    <a:lnTo>
                      <a:pt x="0" y="382"/>
                    </a:lnTo>
                    <a:lnTo>
                      <a:pt x="0" y="396"/>
                    </a:lnTo>
                    <a:lnTo>
                      <a:pt x="20" y="412"/>
                    </a:lnTo>
                    <a:lnTo>
                      <a:pt x="30" y="426"/>
                    </a:lnTo>
                    <a:lnTo>
                      <a:pt x="48" y="448"/>
                    </a:lnTo>
                    <a:lnTo>
                      <a:pt x="40" y="466"/>
                    </a:lnTo>
                    <a:lnTo>
                      <a:pt x="42" y="496"/>
                    </a:lnTo>
                    <a:lnTo>
                      <a:pt x="50" y="526"/>
                    </a:lnTo>
                    <a:lnTo>
                      <a:pt x="74" y="546"/>
                    </a:lnTo>
                    <a:lnTo>
                      <a:pt x="94" y="580"/>
                    </a:lnTo>
                    <a:lnTo>
                      <a:pt x="84" y="592"/>
                    </a:lnTo>
                    <a:lnTo>
                      <a:pt x="90" y="602"/>
                    </a:lnTo>
                    <a:lnTo>
                      <a:pt x="88" y="614"/>
                    </a:lnTo>
                    <a:lnTo>
                      <a:pt x="90" y="626"/>
                    </a:lnTo>
                    <a:lnTo>
                      <a:pt x="92" y="650"/>
                    </a:lnTo>
                    <a:lnTo>
                      <a:pt x="100" y="668"/>
                    </a:lnTo>
                    <a:lnTo>
                      <a:pt x="104" y="668"/>
                    </a:lnTo>
                    <a:lnTo>
                      <a:pt x="114" y="698"/>
                    </a:lnTo>
                    <a:lnTo>
                      <a:pt x="124" y="698"/>
                    </a:lnTo>
                    <a:lnTo>
                      <a:pt x="132" y="700"/>
                    </a:lnTo>
                    <a:lnTo>
                      <a:pt x="132" y="716"/>
                    </a:lnTo>
                    <a:lnTo>
                      <a:pt x="122" y="718"/>
                    </a:lnTo>
                    <a:lnTo>
                      <a:pt x="114" y="722"/>
                    </a:lnTo>
                    <a:lnTo>
                      <a:pt x="124" y="752"/>
                    </a:lnTo>
                    <a:lnTo>
                      <a:pt x="134" y="758"/>
                    </a:lnTo>
                    <a:lnTo>
                      <a:pt x="151" y="768"/>
                    </a:lnTo>
                    <a:lnTo>
                      <a:pt x="177" y="774"/>
                    </a:lnTo>
                    <a:lnTo>
                      <a:pt x="185" y="792"/>
                    </a:lnTo>
                    <a:lnTo>
                      <a:pt x="173" y="800"/>
                    </a:lnTo>
                    <a:lnTo>
                      <a:pt x="167" y="822"/>
                    </a:lnTo>
                    <a:lnTo>
                      <a:pt x="157" y="838"/>
                    </a:lnTo>
                    <a:lnTo>
                      <a:pt x="147" y="858"/>
                    </a:lnTo>
                    <a:lnTo>
                      <a:pt x="151" y="868"/>
                    </a:lnTo>
                    <a:lnTo>
                      <a:pt x="136" y="876"/>
                    </a:lnTo>
                    <a:lnTo>
                      <a:pt x="94" y="944"/>
                    </a:lnTo>
                    <a:lnTo>
                      <a:pt x="94" y="962"/>
                    </a:lnTo>
                    <a:lnTo>
                      <a:pt x="108" y="962"/>
                    </a:lnTo>
                    <a:lnTo>
                      <a:pt x="122" y="956"/>
                    </a:lnTo>
                    <a:lnTo>
                      <a:pt x="128" y="956"/>
                    </a:lnTo>
                    <a:lnTo>
                      <a:pt x="128" y="962"/>
                    </a:lnTo>
                    <a:lnTo>
                      <a:pt x="122" y="976"/>
                    </a:lnTo>
                    <a:lnTo>
                      <a:pt x="122" y="984"/>
                    </a:lnTo>
                    <a:lnTo>
                      <a:pt x="134" y="984"/>
                    </a:lnTo>
                    <a:lnTo>
                      <a:pt x="143" y="992"/>
                    </a:lnTo>
                    <a:lnTo>
                      <a:pt x="157" y="998"/>
                    </a:lnTo>
                    <a:lnTo>
                      <a:pt x="163" y="992"/>
                    </a:lnTo>
                    <a:lnTo>
                      <a:pt x="177" y="992"/>
                    </a:lnTo>
                    <a:lnTo>
                      <a:pt x="185" y="992"/>
                    </a:lnTo>
                    <a:lnTo>
                      <a:pt x="191" y="998"/>
                    </a:lnTo>
                    <a:lnTo>
                      <a:pt x="197" y="998"/>
                    </a:lnTo>
                    <a:lnTo>
                      <a:pt x="197" y="1012"/>
                    </a:lnTo>
                    <a:lnTo>
                      <a:pt x="191" y="1012"/>
                    </a:lnTo>
                    <a:lnTo>
                      <a:pt x="177" y="1012"/>
                    </a:lnTo>
                    <a:lnTo>
                      <a:pt x="163" y="1012"/>
                    </a:lnTo>
                    <a:lnTo>
                      <a:pt x="143" y="1012"/>
                    </a:lnTo>
                    <a:lnTo>
                      <a:pt x="143" y="1018"/>
                    </a:lnTo>
                    <a:lnTo>
                      <a:pt x="134" y="1018"/>
                    </a:lnTo>
                    <a:lnTo>
                      <a:pt x="134" y="1012"/>
                    </a:lnTo>
                    <a:lnTo>
                      <a:pt x="128" y="1018"/>
                    </a:lnTo>
                    <a:lnTo>
                      <a:pt x="128" y="1024"/>
                    </a:lnTo>
                    <a:lnTo>
                      <a:pt x="128" y="1032"/>
                    </a:lnTo>
                    <a:lnTo>
                      <a:pt x="128" y="1038"/>
                    </a:lnTo>
                    <a:lnTo>
                      <a:pt x="122" y="1038"/>
                    </a:lnTo>
                    <a:lnTo>
                      <a:pt x="114" y="1024"/>
                    </a:lnTo>
                    <a:lnTo>
                      <a:pt x="108" y="1032"/>
                    </a:lnTo>
                    <a:lnTo>
                      <a:pt x="108" y="1038"/>
                    </a:lnTo>
                    <a:lnTo>
                      <a:pt x="108" y="1046"/>
                    </a:lnTo>
                    <a:lnTo>
                      <a:pt x="108" y="1060"/>
                    </a:lnTo>
                    <a:lnTo>
                      <a:pt x="114" y="1066"/>
                    </a:lnTo>
                    <a:lnTo>
                      <a:pt x="114" y="1080"/>
                    </a:lnTo>
                    <a:lnTo>
                      <a:pt x="100" y="1094"/>
                    </a:lnTo>
                    <a:lnTo>
                      <a:pt x="100" y="1100"/>
                    </a:lnTo>
                    <a:lnTo>
                      <a:pt x="108" y="1106"/>
                    </a:lnTo>
                    <a:lnTo>
                      <a:pt x="100" y="1120"/>
                    </a:lnTo>
                    <a:lnTo>
                      <a:pt x="108" y="1134"/>
                    </a:lnTo>
                    <a:lnTo>
                      <a:pt x="108" y="1148"/>
                    </a:lnTo>
                    <a:lnTo>
                      <a:pt x="122" y="1154"/>
                    </a:lnTo>
                    <a:lnTo>
                      <a:pt x="128" y="1162"/>
                    </a:lnTo>
                    <a:lnTo>
                      <a:pt x="128" y="1168"/>
                    </a:lnTo>
                    <a:lnTo>
                      <a:pt x="122" y="1174"/>
                    </a:lnTo>
                    <a:lnTo>
                      <a:pt x="114" y="1168"/>
                    </a:lnTo>
                    <a:lnTo>
                      <a:pt x="108" y="1162"/>
                    </a:lnTo>
                    <a:lnTo>
                      <a:pt x="100" y="1168"/>
                    </a:lnTo>
                    <a:lnTo>
                      <a:pt x="100" y="1174"/>
                    </a:lnTo>
                    <a:lnTo>
                      <a:pt x="108" y="1182"/>
                    </a:lnTo>
                    <a:lnTo>
                      <a:pt x="114" y="1182"/>
                    </a:lnTo>
                    <a:lnTo>
                      <a:pt x="108" y="1196"/>
                    </a:lnTo>
                    <a:lnTo>
                      <a:pt x="100" y="1196"/>
                    </a:lnTo>
                    <a:lnTo>
                      <a:pt x="100" y="1196"/>
                    </a:lnTo>
                    <a:lnTo>
                      <a:pt x="100" y="1196"/>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0" name="Freeform 14"/>
              <p:cNvSpPr>
                <a:spLocks/>
              </p:cNvSpPr>
              <p:nvPr/>
            </p:nvSpPr>
            <p:spPr bwMode="gray">
              <a:xfrm>
                <a:off x="5547989" y="2155402"/>
                <a:ext cx="311219" cy="238178"/>
              </a:xfrm>
              <a:custGeom>
                <a:avLst/>
                <a:gdLst>
                  <a:gd name="T0" fmla="*/ 60 w 196"/>
                  <a:gd name="T1" fmla="*/ 122 h 150"/>
                  <a:gd name="T2" fmla="*/ 74 w 196"/>
                  <a:gd name="T3" fmla="*/ 122 h 150"/>
                  <a:gd name="T4" fmla="*/ 82 w 196"/>
                  <a:gd name="T5" fmla="*/ 116 h 150"/>
                  <a:gd name="T6" fmla="*/ 102 w 196"/>
                  <a:gd name="T7" fmla="*/ 122 h 150"/>
                  <a:gd name="T8" fmla="*/ 108 w 196"/>
                  <a:gd name="T9" fmla="*/ 136 h 150"/>
                  <a:gd name="T10" fmla="*/ 128 w 196"/>
                  <a:gd name="T11" fmla="*/ 136 h 150"/>
                  <a:gd name="T12" fmla="*/ 150 w 196"/>
                  <a:gd name="T13" fmla="*/ 144 h 150"/>
                  <a:gd name="T14" fmla="*/ 164 w 196"/>
                  <a:gd name="T15" fmla="*/ 144 h 150"/>
                  <a:gd name="T16" fmla="*/ 184 w 196"/>
                  <a:gd name="T17" fmla="*/ 130 h 150"/>
                  <a:gd name="T18" fmla="*/ 170 w 196"/>
                  <a:gd name="T19" fmla="*/ 122 h 150"/>
                  <a:gd name="T20" fmla="*/ 178 w 196"/>
                  <a:gd name="T21" fmla="*/ 110 h 150"/>
                  <a:gd name="T22" fmla="*/ 192 w 196"/>
                  <a:gd name="T23" fmla="*/ 122 h 150"/>
                  <a:gd name="T24" fmla="*/ 196 w 196"/>
                  <a:gd name="T25" fmla="*/ 110 h 150"/>
                  <a:gd name="T26" fmla="*/ 178 w 196"/>
                  <a:gd name="T27" fmla="*/ 96 h 150"/>
                  <a:gd name="T28" fmla="*/ 170 w 196"/>
                  <a:gd name="T29" fmla="*/ 68 h 150"/>
                  <a:gd name="T30" fmla="*/ 170 w 196"/>
                  <a:gd name="T31" fmla="*/ 48 h 150"/>
                  <a:gd name="T32" fmla="*/ 184 w 196"/>
                  <a:gd name="T33" fmla="*/ 28 h 150"/>
                  <a:gd name="T34" fmla="*/ 178 w 196"/>
                  <a:gd name="T35" fmla="*/ 6 h 150"/>
                  <a:gd name="T36" fmla="*/ 142 w 196"/>
                  <a:gd name="T37" fmla="*/ 6 h 150"/>
                  <a:gd name="T38" fmla="*/ 128 w 196"/>
                  <a:gd name="T39" fmla="*/ 0 h 150"/>
                  <a:gd name="T40" fmla="*/ 108 w 196"/>
                  <a:gd name="T41" fmla="*/ 6 h 150"/>
                  <a:gd name="T42" fmla="*/ 94 w 196"/>
                  <a:gd name="T43" fmla="*/ 0 h 150"/>
                  <a:gd name="T44" fmla="*/ 82 w 196"/>
                  <a:gd name="T45" fmla="*/ 0 h 150"/>
                  <a:gd name="T46" fmla="*/ 68 w 196"/>
                  <a:gd name="T47" fmla="*/ 6 h 150"/>
                  <a:gd name="T48" fmla="*/ 48 w 196"/>
                  <a:gd name="T49" fmla="*/ 6 h 150"/>
                  <a:gd name="T50" fmla="*/ 34 w 196"/>
                  <a:gd name="T51" fmla="*/ 6 h 150"/>
                  <a:gd name="T52" fmla="*/ 26 w 196"/>
                  <a:gd name="T53" fmla="*/ 14 h 150"/>
                  <a:gd name="T54" fmla="*/ 20 w 196"/>
                  <a:gd name="T55" fmla="*/ 20 h 150"/>
                  <a:gd name="T56" fmla="*/ 6 w 196"/>
                  <a:gd name="T57" fmla="*/ 20 h 150"/>
                  <a:gd name="T58" fmla="*/ 0 w 196"/>
                  <a:gd name="T59" fmla="*/ 34 h 150"/>
                  <a:gd name="T60" fmla="*/ 0 w 196"/>
                  <a:gd name="T61" fmla="*/ 48 h 150"/>
                  <a:gd name="T62" fmla="*/ 14 w 196"/>
                  <a:gd name="T63" fmla="*/ 54 h 150"/>
                  <a:gd name="T64" fmla="*/ 6 w 196"/>
                  <a:gd name="T65" fmla="*/ 62 h 150"/>
                  <a:gd name="T66" fmla="*/ 6 w 196"/>
                  <a:gd name="T67" fmla="*/ 88 h 150"/>
                  <a:gd name="T68" fmla="*/ 26 w 196"/>
                  <a:gd name="T69" fmla="*/ 102 h 150"/>
                  <a:gd name="T70" fmla="*/ 34 w 196"/>
                  <a:gd name="T71" fmla="*/ 88 h 150"/>
                  <a:gd name="T72" fmla="*/ 48 w 196"/>
                  <a:gd name="T73" fmla="*/ 96 h 150"/>
                  <a:gd name="T74" fmla="*/ 40 w 196"/>
                  <a:gd name="T75" fmla="*/ 122 h 150"/>
                  <a:gd name="T76" fmla="*/ 34 w 196"/>
                  <a:gd name="T77" fmla="*/ 130 h 150"/>
                  <a:gd name="T78" fmla="*/ 34 w 196"/>
                  <a:gd name="T79" fmla="*/ 13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6" h="150">
                    <a:moveTo>
                      <a:pt x="34" y="130"/>
                    </a:moveTo>
                    <a:lnTo>
                      <a:pt x="60" y="122"/>
                    </a:lnTo>
                    <a:lnTo>
                      <a:pt x="68" y="116"/>
                    </a:lnTo>
                    <a:lnTo>
                      <a:pt x="74" y="122"/>
                    </a:lnTo>
                    <a:lnTo>
                      <a:pt x="82" y="122"/>
                    </a:lnTo>
                    <a:lnTo>
                      <a:pt x="82" y="116"/>
                    </a:lnTo>
                    <a:lnTo>
                      <a:pt x="94" y="122"/>
                    </a:lnTo>
                    <a:lnTo>
                      <a:pt x="102" y="122"/>
                    </a:lnTo>
                    <a:lnTo>
                      <a:pt x="102" y="130"/>
                    </a:lnTo>
                    <a:lnTo>
                      <a:pt x="108" y="136"/>
                    </a:lnTo>
                    <a:lnTo>
                      <a:pt x="116" y="136"/>
                    </a:lnTo>
                    <a:lnTo>
                      <a:pt x="128" y="136"/>
                    </a:lnTo>
                    <a:lnTo>
                      <a:pt x="136" y="150"/>
                    </a:lnTo>
                    <a:lnTo>
                      <a:pt x="150" y="144"/>
                    </a:lnTo>
                    <a:lnTo>
                      <a:pt x="164" y="136"/>
                    </a:lnTo>
                    <a:lnTo>
                      <a:pt x="164" y="144"/>
                    </a:lnTo>
                    <a:lnTo>
                      <a:pt x="178" y="144"/>
                    </a:lnTo>
                    <a:lnTo>
                      <a:pt x="184" y="130"/>
                    </a:lnTo>
                    <a:lnTo>
                      <a:pt x="178" y="130"/>
                    </a:lnTo>
                    <a:lnTo>
                      <a:pt x="170" y="122"/>
                    </a:lnTo>
                    <a:lnTo>
                      <a:pt x="170" y="116"/>
                    </a:lnTo>
                    <a:lnTo>
                      <a:pt x="178" y="110"/>
                    </a:lnTo>
                    <a:lnTo>
                      <a:pt x="184" y="116"/>
                    </a:lnTo>
                    <a:lnTo>
                      <a:pt x="192" y="122"/>
                    </a:lnTo>
                    <a:lnTo>
                      <a:pt x="196" y="116"/>
                    </a:lnTo>
                    <a:lnTo>
                      <a:pt x="196" y="110"/>
                    </a:lnTo>
                    <a:lnTo>
                      <a:pt x="192" y="102"/>
                    </a:lnTo>
                    <a:lnTo>
                      <a:pt x="178" y="96"/>
                    </a:lnTo>
                    <a:lnTo>
                      <a:pt x="178" y="82"/>
                    </a:lnTo>
                    <a:lnTo>
                      <a:pt x="170" y="68"/>
                    </a:lnTo>
                    <a:lnTo>
                      <a:pt x="178" y="54"/>
                    </a:lnTo>
                    <a:lnTo>
                      <a:pt x="170" y="48"/>
                    </a:lnTo>
                    <a:lnTo>
                      <a:pt x="170" y="42"/>
                    </a:lnTo>
                    <a:lnTo>
                      <a:pt x="184" y="28"/>
                    </a:lnTo>
                    <a:lnTo>
                      <a:pt x="184" y="14"/>
                    </a:lnTo>
                    <a:lnTo>
                      <a:pt x="178" y="6"/>
                    </a:lnTo>
                    <a:lnTo>
                      <a:pt x="170" y="6"/>
                    </a:lnTo>
                    <a:lnTo>
                      <a:pt x="142" y="6"/>
                    </a:lnTo>
                    <a:lnTo>
                      <a:pt x="136" y="6"/>
                    </a:lnTo>
                    <a:lnTo>
                      <a:pt x="128" y="0"/>
                    </a:lnTo>
                    <a:lnTo>
                      <a:pt x="122" y="0"/>
                    </a:lnTo>
                    <a:lnTo>
                      <a:pt x="108" y="6"/>
                    </a:lnTo>
                    <a:lnTo>
                      <a:pt x="108" y="0"/>
                    </a:lnTo>
                    <a:lnTo>
                      <a:pt x="94" y="0"/>
                    </a:lnTo>
                    <a:lnTo>
                      <a:pt x="88" y="0"/>
                    </a:lnTo>
                    <a:lnTo>
                      <a:pt x="82" y="0"/>
                    </a:lnTo>
                    <a:lnTo>
                      <a:pt x="74" y="0"/>
                    </a:lnTo>
                    <a:lnTo>
                      <a:pt x="68" y="6"/>
                    </a:lnTo>
                    <a:lnTo>
                      <a:pt x="60" y="6"/>
                    </a:lnTo>
                    <a:lnTo>
                      <a:pt x="48" y="6"/>
                    </a:lnTo>
                    <a:lnTo>
                      <a:pt x="40" y="6"/>
                    </a:lnTo>
                    <a:lnTo>
                      <a:pt x="34" y="6"/>
                    </a:lnTo>
                    <a:lnTo>
                      <a:pt x="26" y="6"/>
                    </a:lnTo>
                    <a:lnTo>
                      <a:pt x="26" y="14"/>
                    </a:lnTo>
                    <a:lnTo>
                      <a:pt x="26" y="20"/>
                    </a:lnTo>
                    <a:lnTo>
                      <a:pt x="20" y="20"/>
                    </a:lnTo>
                    <a:lnTo>
                      <a:pt x="14" y="20"/>
                    </a:lnTo>
                    <a:lnTo>
                      <a:pt x="6" y="20"/>
                    </a:lnTo>
                    <a:lnTo>
                      <a:pt x="0" y="28"/>
                    </a:lnTo>
                    <a:lnTo>
                      <a:pt x="0" y="34"/>
                    </a:lnTo>
                    <a:lnTo>
                      <a:pt x="0" y="42"/>
                    </a:lnTo>
                    <a:lnTo>
                      <a:pt x="0" y="48"/>
                    </a:lnTo>
                    <a:lnTo>
                      <a:pt x="14" y="48"/>
                    </a:lnTo>
                    <a:lnTo>
                      <a:pt x="14" y="54"/>
                    </a:lnTo>
                    <a:lnTo>
                      <a:pt x="14" y="62"/>
                    </a:lnTo>
                    <a:lnTo>
                      <a:pt x="6" y="62"/>
                    </a:lnTo>
                    <a:lnTo>
                      <a:pt x="6" y="68"/>
                    </a:lnTo>
                    <a:lnTo>
                      <a:pt x="6" y="88"/>
                    </a:lnTo>
                    <a:lnTo>
                      <a:pt x="20" y="102"/>
                    </a:lnTo>
                    <a:lnTo>
                      <a:pt x="26" y="102"/>
                    </a:lnTo>
                    <a:lnTo>
                      <a:pt x="26" y="96"/>
                    </a:lnTo>
                    <a:lnTo>
                      <a:pt x="34" y="88"/>
                    </a:lnTo>
                    <a:lnTo>
                      <a:pt x="40" y="88"/>
                    </a:lnTo>
                    <a:lnTo>
                      <a:pt x="48" y="96"/>
                    </a:lnTo>
                    <a:lnTo>
                      <a:pt x="40" y="110"/>
                    </a:lnTo>
                    <a:lnTo>
                      <a:pt x="40" y="122"/>
                    </a:lnTo>
                    <a:lnTo>
                      <a:pt x="40" y="130"/>
                    </a:lnTo>
                    <a:lnTo>
                      <a:pt x="34" y="130"/>
                    </a:lnTo>
                    <a:lnTo>
                      <a:pt x="34" y="130"/>
                    </a:lnTo>
                    <a:lnTo>
                      <a:pt x="34" y="130"/>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1" name="Freeform 15"/>
              <p:cNvSpPr>
                <a:spLocks/>
              </p:cNvSpPr>
              <p:nvPr/>
            </p:nvSpPr>
            <p:spPr bwMode="gray">
              <a:xfrm>
                <a:off x="5382852" y="2339593"/>
                <a:ext cx="503350" cy="260408"/>
              </a:xfrm>
              <a:custGeom>
                <a:avLst/>
                <a:gdLst>
                  <a:gd name="T0" fmla="*/ 138 w 317"/>
                  <a:gd name="T1" fmla="*/ 28 h 164"/>
                  <a:gd name="T2" fmla="*/ 138 w 317"/>
                  <a:gd name="T3" fmla="*/ 48 h 164"/>
                  <a:gd name="T4" fmla="*/ 138 w 317"/>
                  <a:gd name="T5" fmla="*/ 70 h 164"/>
                  <a:gd name="T6" fmla="*/ 124 w 317"/>
                  <a:gd name="T7" fmla="*/ 82 h 164"/>
                  <a:gd name="T8" fmla="*/ 102 w 317"/>
                  <a:gd name="T9" fmla="*/ 70 h 164"/>
                  <a:gd name="T10" fmla="*/ 96 w 317"/>
                  <a:gd name="T11" fmla="*/ 48 h 164"/>
                  <a:gd name="T12" fmla="*/ 76 w 317"/>
                  <a:gd name="T13" fmla="*/ 34 h 164"/>
                  <a:gd name="T14" fmla="*/ 70 w 317"/>
                  <a:gd name="T15" fmla="*/ 22 h 164"/>
                  <a:gd name="T16" fmla="*/ 42 w 317"/>
                  <a:gd name="T17" fmla="*/ 28 h 164"/>
                  <a:gd name="T18" fmla="*/ 28 w 317"/>
                  <a:gd name="T19" fmla="*/ 34 h 164"/>
                  <a:gd name="T20" fmla="*/ 22 w 317"/>
                  <a:gd name="T21" fmla="*/ 62 h 164"/>
                  <a:gd name="T22" fmla="*/ 8 w 317"/>
                  <a:gd name="T23" fmla="*/ 90 h 164"/>
                  <a:gd name="T24" fmla="*/ 22 w 317"/>
                  <a:gd name="T25" fmla="*/ 124 h 164"/>
                  <a:gd name="T26" fmla="*/ 42 w 317"/>
                  <a:gd name="T27" fmla="*/ 116 h 164"/>
                  <a:gd name="T28" fmla="*/ 56 w 317"/>
                  <a:gd name="T29" fmla="*/ 116 h 164"/>
                  <a:gd name="T30" fmla="*/ 82 w 317"/>
                  <a:gd name="T31" fmla="*/ 116 h 164"/>
                  <a:gd name="T32" fmla="*/ 116 w 317"/>
                  <a:gd name="T33" fmla="*/ 110 h 164"/>
                  <a:gd name="T34" fmla="*/ 152 w 317"/>
                  <a:gd name="T35" fmla="*/ 110 h 164"/>
                  <a:gd name="T36" fmla="*/ 172 w 317"/>
                  <a:gd name="T37" fmla="*/ 124 h 164"/>
                  <a:gd name="T38" fmla="*/ 198 w 317"/>
                  <a:gd name="T39" fmla="*/ 130 h 164"/>
                  <a:gd name="T40" fmla="*/ 226 w 317"/>
                  <a:gd name="T41" fmla="*/ 158 h 164"/>
                  <a:gd name="T42" fmla="*/ 254 w 317"/>
                  <a:gd name="T43" fmla="*/ 164 h 164"/>
                  <a:gd name="T44" fmla="*/ 268 w 317"/>
                  <a:gd name="T45" fmla="*/ 164 h 164"/>
                  <a:gd name="T46" fmla="*/ 282 w 317"/>
                  <a:gd name="T47" fmla="*/ 164 h 164"/>
                  <a:gd name="T48" fmla="*/ 300 w 317"/>
                  <a:gd name="T49" fmla="*/ 152 h 164"/>
                  <a:gd name="T50" fmla="*/ 288 w 317"/>
                  <a:gd name="T51" fmla="*/ 138 h 164"/>
                  <a:gd name="T52" fmla="*/ 315 w 317"/>
                  <a:gd name="T53" fmla="*/ 124 h 164"/>
                  <a:gd name="T54" fmla="*/ 311 w 317"/>
                  <a:gd name="T55" fmla="*/ 110 h 164"/>
                  <a:gd name="T56" fmla="*/ 302 w 317"/>
                  <a:gd name="T57" fmla="*/ 82 h 164"/>
                  <a:gd name="T58" fmla="*/ 296 w 317"/>
                  <a:gd name="T59" fmla="*/ 76 h 164"/>
                  <a:gd name="T60" fmla="*/ 282 w 317"/>
                  <a:gd name="T61" fmla="*/ 62 h 164"/>
                  <a:gd name="T62" fmla="*/ 296 w 317"/>
                  <a:gd name="T63" fmla="*/ 48 h 164"/>
                  <a:gd name="T64" fmla="*/ 290 w 317"/>
                  <a:gd name="T65" fmla="*/ 34 h 164"/>
                  <a:gd name="T66" fmla="*/ 282 w 317"/>
                  <a:gd name="T67" fmla="*/ 34 h 164"/>
                  <a:gd name="T68" fmla="*/ 274 w 317"/>
                  <a:gd name="T69" fmla="*/ 28 h 164"/>
                  <a:gd name="T70" fmla="*/ 268 w 317"/>
                  <a:gd name="T71" fmla="*/ 28 h 164"/>
                  <a:gd name="T72" fmla="*/ 254 w 317"/>
                  <a:gd name="T73" fmla="*/ 28 h 164"/>
                  <a:gd name="T74" fmla="*/ 232 w 317"/>
                  <a:gd name="T75" fmla="*/ 22 h 164"/>
                  <a:gd name="T76" fmla="*/ 212 w 317"/>
                  <a:gd name="T77" fmla="*/ 22 h 164"/>
                  <a:gd name="T78" fmla="*/ 206 w 317"/>
                  <a:gd name="T79" fmla="*/ 6 h 164"/>
                  <a:gd name="T80" fmla="*/ 186 w 317"/>
                  <a:gd name="T81" fmla="*/ 0 h 164"/>
                  <a:gd name="T82" fmla="*/ 178 w 317"/>
                  <a:gd name="T83" fmla="*/ 6 h 164"/>
                  <a:gd name="T84" fmla="*/ 164 w 317"/>
                  <a:gd name="T85" fmla="*/ 6 h 164"/>
                  <a:gd name="T86" fmla="*/ 138 w 317"/>
                  <a:gd name="T87" fmla="*/ 22 h 164"/>
                  <a:gd name="T88" fmla="*/ 138 w 317"/>
                  <a:gd name="T89" fmla="*/ 2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7" h="164">
                    <a:moveTo>
                      <a:pt x="138" y="22"/>
                    </a:moveTo>
                    <a:lnTo>
                      <a:pt x="138" y="28"/>
                    </a:lnTo>
                    <a:lnTo>
                      <a:pt x="138" y="34"/>
                    </a:lnTo>
                    <a:lnTo>
                      <a:pt x="138" y="48"/>
                    </a:lnTo>
                    <a:lnTo>
                      <a:pt x="138" y="56"/>
                    </a:lnTo>
                    <a:lnTo>
                      <a:pt x="138" y="70"/>
                    </a:lnTo>
                    <a:lnTo>
                      <a:pt x="130" y="76"/>
                    </a:lnTo>
                    <a:lnTo>
                      <a:pt x="124" y="82"/>
                    </a:lnTo>
                    <a:lnTo>
                      <a:pt x="116" y="82"/>
                    </a:lnTo>
                    <a:lnTo>
                      <a:pt x="102" y="70"/>
                    </a:lnTo>
                    <a:lnTo>
                      <a:pt x="96" y="62"/>
                    </a:lnTo>
                    <a:lnTo>
                      <a:pt x="96" y="48"/>
                    </a:lnTo>
                    <a:lnTo>
                      <a:pt x="82" y="34"/>
                    </a:lnTo>
                    <a:lnTo>
                      <a:pt x="76" y="34"/>
                    </a:lnTo>
                    <a:lnTo>
                      <a:pt x="70" y="28"/>
                    </a:lnTo>
                    <a:lnTo>
                      <a:pt x="70" y="22"/>
                    </a:lnTo>
                    <a:lnTo>
                      <a:pt x="56" y="22"/>
                    </a:lnTo>
                    <a:lnTo>
                      <a:pt x="42" y="28"/>
                    </a:lnTo>
                    <a:lnTo>
                      <a:pt x="34" y="34"/>
                    </a:lnTo>
                    <a:lnTo>
                      <a:pt x="28" y="34"/>
                    </a:lnTo>
                    <a:lnTo>
                      <a:pt x="22" y="48"/>
                    </a:lnTo>
                    <a:lnTo>
                      <a:pt x="22" y="62"/>
                    </a:lnTo>
                    <a:lnTo>
                      <a:pt x="14" y="76"/>
                    </a:lnTo>
                    <a:lnTo>
                      <a:pt x="8" y="90"/>
                    </a:lnTo>
                    <a:lnTo>
                      <a:pt x="0" y="130"/>
                    </a:lnTo>
                    <a:lnTo>
                      <a:pt x="22" y="124"/>
                    </a:lnTo>
                    <a:lnTo>
                      <a:pt x="34" y="124"/>
                    </a:lnTo>
                    <a:lnTo>
                      <a:pt x="42" y="116"/>
                    </a:lnTo>
                    <a:lnTo>
                      <a:pt x="48" y="116"/>
                    </a:lnTo>
                    <a:lnTo>
                      <a:pt x="56" y="116"/>
                    </a:lnTo>
                    <a:lnTo>
                      <a:pt x="76" y="116"/>
                    </a:lnTo>
                    <a:lnTo>
                      <a:pt x="82" y="116"/>
                    </a:lnTo>
                    <a:lnTo>
                      <a:pt x="96" y="110"/>
                    </a:lnTo>
                    <a:lnTo>
                      <a:pt x="116" y="110"/>
                    </a:lnTo>
                    <a:lnTo>
                      <a:pt x="138" y="116"/>
                    </a:lnTo>
                    <a:lnTo>
                      <a:pt x="152" y="110"/>
                    </a:lnTo>
                    <a:lnTo>
                      <a:pt x="158" y="116"/>
                    </a:lnTo>
                    <a:lnTo>
                      <a:pt x="172" y="124"/>
                    </a:lnTo>
                    <a:lnTo>
                      <a:pt x="192" y="130"/>
                    </a:lnTo>
                    <a:lnTo>
                      <a:pt x="198" y="130"/>
                    </a:lnTo>
                    <a:lnTo>
                      <a:pt x="206" y="144"/>
                    </a:lnTo>
                    <a:lnTo>
                      <a:pt x="226" y="158"/>
                    </a:lnTo>
                    <a:lnTo>
                      <a:pt x="232" y="164"/>
                    </a:lnTo>
                    <a:lnTo>
                      <a:pt x="254" y="164"/>
                    </a:lnTo>
                    <a:lnTo>
                      <a:pt x="260" y="164"/>
                    </a:lnTo>
                    <a:lnTo>
                      <a:pt x="268" y="164"/>
                    </a:lnTo>
                    <a:lnTo>
                      <a:pt x="274" y="158"/>
                    </a:lnTo>
                    <a:lnTo>
                      <a:pt x="282" y="164"/>
                    </a:lnTo>
                    <a:lnTo>
                      <a:pt x="294" y="158"/>
                    </a:lnTo>
                    <a:lnTo>
                      <a:pt x="300" y="152"/>
                    </a:lnTo>
                    <a:lnTo>
                      <a:pt x="294" y="144"/>
                    </a:lnTo>
                    <a:lnTo>
                      <a:pt x="288" y="138"/>
                    </a:lnTo>
                    <a:lnTo>
                      <a:pt x="300" y="130"/>
                    </a:lnTo>
                    <a:lnTo>
                      <a:pt x="315" y="124"/>
                    </a:lnTo>
                    <a:lnTo>
                      <a:pt x="317" y="124"/>
                    </a:lnTo>
                    <a:lnTo>
                      <a:pt x="311" y="110"/>
                    </a:lnTo>
                    <a:lnTo>
                      <a:pt x="311" y="96"/>
                    </a:lnTo>
                    <a:lnTo>
                      <a:pt x="302" y="82"/>
                    </a:lnTo>
                    <a:lnTo>
                      <a:pt x="302" y="76"/>
                    </a:lnTo>
                    <a:lnTo>
                      <a:pt x="296" y="76"/>
                    </a:lnTo>
                    <a:lnTo>
                      <a:pt x="290" y="76"/>
                    </a:lnTo>
                    <a:lnTo>
                      <a:pt x="282" y="62"/>
                    </a:lnTo>
                    <a:lnTo>
                      <a:pt x="296" y="62"/>
                    </a:lnTo>
                    <a:lnTo>
                      <a:pt x="296" y="48"/>
                    </a:lnTo>
                    <a:lnTo>
                      <a:pt x="296" y="34"/>
                    </a:lnTo>
                    <a:lnTo>
                      <a:pt x="290" y="34"/>
                    </a:lnTo>
                    <a:lnTo>
                      <a:pt x="282" y="40"/>
                    </a:lnTo>
                    <a:lnTo>
                      <a:pt x="282" y="34"/>
                    </a:lnTo>
                    <a:lnTo>
                      <a:pt x="274" y="34"/>
                    </a:lnTo>
                    <a:lnTo>
                      <a:pt x="274" y="28"/>
                    </a:lnTo>
                    <a:lnTo>
                      <a:pt x="282" y="28"/>
                    </a:lnTo>
                    <a:lnTo>
                      <a:pt x="268" y="28"/>
                    </a:lnTo>
                    <a:lnTo>
                      <a:pt x="268" y="22"/>
                    </a:lnTo>
                    <a:lnTo>
                      <a:pt x="254" y="28"/>
                    </a:lnTo>
                    <a:lnTo>
                      <a:pt x="240" y="34"/>
                    </a:lnTo>
                    <a:lnTo>
                      <a:pt x="232" y="22"/>
                    </a:lnTo>
                    <a:lnTo>
                      <a:pt x="220" y="22"/>
                    </a:lnTo>
                    <a:lnTo>
                      <a:pt x="212" y="22"/>
                    </a:lnTo>
                    <a:lnTo>
                      <a:pt x="206" y="14"/>
                    </a:lnTo>
                    <a:lnTo>
                      <a:pt x="206" y="6"/>
                    </a:lnTo>
                    <a:lnTo>
                      <a:pt x="198" y="6"/>
                    </a:lnTo>
                    <a:lnTo>
                      <a:pt x="186" y="0"/>
                    </a:lnTo>
                    <a:lnTo>
                      <a:pt x="186" y="6"/>
                    </a:lnTo>
                    <a:lnTo>
                      <a:pt x="178" y="6"/>
                    </a:lnTo>
                    <a:lnTo>
                      <a:pt x="172" y="0"/>
                    </a:lnTo>
                    <a:lnTo>
                      <a:pt x="164" y="6"/>
                    </a:lnTo>
                    <a:lnTo>
                      <a:pt x="138" y="14"/>
                    </a:lnTo>
                    <a:lnTo>
                      <a:pt x="138" y="22"/>
                    </a:lnTo>
                    <a:lnTo>
                      <a:pt x="138" y="22"/>
                    </a:lnTo>
                    <a:lnTo>
                      <a:pt x="138" y="22"/>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2" name="Freeform 16"/>
              <p:cNvSpPr>
                <a:spLocks/>
              </p:cNvSpPr>
              <p:nvPr/>
            </p:nvSpPr>
            <p:spPr bwMode="gray">
              <a:xfrm>
                <a:off x="5382852" y="2514257"/>
                <a:ext cx="422369" cy="301692"/>
              </a:xfrm>
              <a:custGeom>
                <a:avLst/>
                <a:gdLst>
                  <a:gd name="T0" fmla="*/ 238 w 266"/>
                  <a:gd name="T1" fmla="*/ 82 h 190"/>
                  <a:gd name="T2" fmla="*/ 252 w 266"/>
                  <a:gd name="T3" fmla="*/ 102 h 190"/>
                  <a:gd name="T4" fmla="*/ 232 w 266"/>
                  <a:gd name="T5" fmla="*/ 110 h 190"/>
                  <a:gd name="T6" fmla="*/ 204 w 266"/>
                  <a:gd name="T7" fmla="*/ 124 h 190"/>
                  <a:gd name="T8" fmla="*/ 204 w 266"/>
                  <a:gd name="T9" fmla="*/ 150 h 190"/>
                  <a:gd name="T10" fmla="*/ 192 w 266"/>
                  <a:gd name="T11" fmla="*/ 164 h 190"/>
                  <a:gd name="T12" fmla="*/ 184 w 266"/>
                  <a:gd name="T13" fmla="*/ 164 h 190"/>
                  <a:gd name="T14" fmla="*/ 164 w 266"/>
                  <a:gd name="T15" fmla="*/ 170 h 190"/>
                  <a:gd name="T16" fmla="*/ 158 w 266"/>
                  <a:gd name="T17" fmla="*/ 170 h 190"/>
                  <a:gd name="T18" fmla="*/ 144 w 266"/>
                  <a:gd name="T19" fmla="*/ 190 h 190"/>
                  <a:gd name="T20" fmla="*/ 130 w 266"/>
                  <a:gd name="T21" fmla="*/ 184 h 190"/>
                  <a:gd name="T22" fmla="*/ 102 w 266"/>
                  <a:gd name="T23" fmla="*/ 170 h 190"/>
                  <a:gd name="T24" fmla="*/ 82 w 266"/>
                  <a:gd name="T25" fmla="*/ 156 h 190"/>
                  <a:gd name="T26" fmla="*/ 76 w 266"/>
                  <a:gd name="T27" fmla="*/ 150 h 190"/>
                  <a:gd name="T28" fmla="*/ 82 w 266"/>
                  <a:gd name="T29" fmla="*/ 136 h 190"/>
                  <a:gd name="T30" fmla="*/ 76 w 266"/>
                  <a:gd name="T31" fmla="*/ 124 h 190"/>
                  <a:gd name="T32" fmla="*/ 68 w 266"/>
                  <a:gd name="T33" fmla="*/ 110 h 190"/>
                  <a:gd name="T34" fmla="*/ 62 w 266"/>
                  <a:gd name="T35" fmla="*/ 116 h 190"/>
                  <a:gd name="T36" fmla="*/ 42 w 266"/>
                  <a:gd name="T37" fmla="*/ 116 h 190"/>
                  <a:gd name="T38" fmla="*/ 28 w 266"/>
                  <a:gd name="T39" fmla="*/ 110 h 190"/>
                  <a:gd name="T40" fmla="*/ 22 w 266"/>
                  <a:gd name="T41" fmla="*/ 96 h 190"/>
                  <a:gd name="T42" fmla="*/ 8 w 266"/>
                  <a:gd name="T43" fmla="*/ 76 h 190"/>
                  <a:gd name="T44" fmla="*/ 0 w 266"/>
                  <a:gd name="T45" fmla="*/ 48 h 190"/>
                  <a:gd name="T46" fmla="*/ 0 w 266"/>
                  <a:gd name="T47" fmla="*/ 20 h 190"/>
                  <a:gd name="T48" fmla="*/ 22 w 266"/>
                  <a:gd name="T49" fmla="*/ 14 h 190"/>
                  <a:gd name="T50" fmla="*/ 42 w 266"/>
                  <a:gd name="T51" fmla="*/ 6 h 190"/>
                  <a:gd name="T52" fmla="*/ 56 w 266"/>
                  <a:gd name="T53" fmla="*/ 6 h 190"/>
                  <a:gd name="T54" fmla="*/ 82 w 266"/>
                  <a:gd name="T55" fmla="*/ 6 h 190"/>
                  <a:gd name="T56" fmla="*/ 118 w 266"/>
                  <a:gd name="T57" fmla="*/ 0 h 190"/>
                  <a:gd name="T58" fmla="*/ 152 w 266"/>
                  <a:gd name="T59" fmla="*/ 0 h 190"/>
                  <a:gd name="T60" fmla="*/ 172 w 266"/>
                  <a:gd name="T61" fmla="*/ 14 h 190"/>
                  <a:gd name="T62" fmla="*/ 198 w 266"/>
                  <a:gd name="T63" fmla="*/ 20 h 190"/>
                  <a:gd name="T64" fmla="*/ 226 w 266"/>
                  <a:gd name="T65" fmla="*/ 48 h 190"/>
                  <a:gd name="T66" fmla="*/ 254 w 266"/>
                  <a:gd name="T67" fmla="*/ 54 h 190"/>
                  <a:gd name="T68" fmla="*/ 252 w 266"/>
                  <a:gd name="T69" fmla="*/ 54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6" h="190">
                    <a:moveTo>
                      <a:pt x="252" y="54"/>
                    </a:moveTo>
                    <a:lnTo>
                      <a:pt x="238" y="82"/>
                    </a:lnTo>
                    <a:lnTo>
                      <a:pt x="266" y="88"/>
                    </a:lnTo>
                    <a:lnTo>
                      <a:pt x="252" y="102"/>
                    </a:lnTo>
                    <a:lnTo>
                      <a:pt x="232" y="102"/>
                    </a:lnTo>
                    <a:lnTo>
                      <a:pt x="232" y="110"/>
                    </a:lnTo>
                    <a:lnTo>
                      <a:pt x="204" y="116"/>
                    </a:lnTo>
                    <a:lnTo>
                      <a:pt x="204" y="124"/>
                    </a:lnTo>
                    <a:lnTo>
                      <a:pt x="204" y="142"/>
                    </a:lnTo>
                    <a:lnTo>
                      <a:pt x="204" y="150"/>
                    </a:lnTo>
                    <a:lnTo>
                      <a:pt x="198" y="164"/>
                    </a:lnTo>
                    <a:lnTo>
                      <a:pt x="192" y="164"/>
                    </a:lnTo>
                    <a:lnTo>
                      <a:pt x="192" y="170"/>
                    </a:lnTo>
                    <a:lnTo>
                      <a:pt x="184" y="164"/>
                    </a:lnTo>
                    <a:lnTo>
                      <a:pt x="170" y="170"/>
                    </a:lnTo>
                    <a:lnTo>
                      <a:pt x="164" y="170"/>
                    </a:lnTo>
                    <a:lnTo>
                      <a:pt x="150" y="170"/>
                    </a:lnTo>
                    <a:lnTo>
                      <a:pt x="158" y="170"/>
                    </a:lnTo>
                    <a:lnTo>
                      <a:pt x="150" y="184"/>
                    </a:lnTo>
                    <a:lnTo>
                      <a:pt x="144" y="190"/>
                    </a:lnTo>
                    <a:lnTo>
                      <a:pt x="130" y="190"/>
                    </a:lnTo>
                    <a:lnTo>
                      <a:pt x="130" y="184"/>
                    </a:lnTo>
                    <a:lnTo>
                      <a:pt x="116" y="184"/>
                    </a:lnTo>
                    <a:lnTo>
                      <a:pt x="102" y="170"/>
                    </a:lnTo>
                    <a:lnTo>
                      <a:pt x="82" y="164"/>
                    </a:lnTo>
                    <a:lnTo>
                      <a:pt x="82" y="156"/>
                    </a:lnTo>
                    <a:lnTo>
                      <a:pt x="76" y="156"/>
                    </a:lnTo>
                    <a:lnTo>
                      <a:pt x="76" y="150"/>
                    </a:lnTo>
                    <a:lnTo>
                      <a:pt x="82" y="142"/>
                    </a:lnTo>
                    <a:lnTo>
                      <a:pt x="82" y="136"/>
                    </a:lnTo>
                    <a:lnTo>
                      <a:pt x="82" y="128"/>
                    </a:lnTo>
                    <a:lnTo>
                      <a:pt x="76" y="124"/>
                    </a:lnTo>
                    <a:lnTo>
                      <a:pt x="76" y="116"/>
                    </a:lnTo>
                    <a:lnTo>
                      <a:pt x="68" y="110"/>
                    </a:lnTo>
                    <a:lnTo>
                      <a:pt x="62" y="110"/>
                    </a:lnTo>
                    <a:lnTo>
                      <a:pt x="62" y="116"/>
                    </a:lnTo>
                    <a:lnTo>
                      <a:pt x="56" y="116"/>
                    </a:lnTo>
                    <a:lnTo>
                      <a:pt x="42" y="116"/>
                    </a:lnTo>
                    <a:lnTo>
                      <a:pt x="34" y="110"/>
                    </a:lnTo>
                    <a:lnTo>
                      <a:pt x="28" y="110"/>
                    </a:lnTo>
                    <a:lnTo>
                      <a:pt x="22" y="102"/>
                    </a:lnTo>
                    <a:lnTo>
                      <a:pt x="22" y="96"/>
                    </a:lnTo>
                    <a:lnTo>
                      <a:pt x="8" y="96"/>
                    </a:lnTo>
                    <a:lnTo>
                      <a:pt x="8" y="76"/>
                    </a:lnTo>
                    <a:lnTo>
                      <a:pt x="0" y="54"/>
                    </a:lnTo>
                    <a:lnTo>
                      <a:pt x="0" y="48"/>
                    </a:lnTo>
                    <a:lnTo>
                      <a:pt x="0" y="42"/>
                    </a:lnTo>
                    <a:lnTo>
                      <a:pt x="0" y="20"/>
                    </a:lnTo>
                    <a:lnTo>
                      <a:pt x="2" y="20"/>
                    </a:lnTo>
                    <a:lnTo>
                      <a:pt x="22" y="14"/>
                    </a:lnTo>
                    <a:lnTo>
                      <a:pt x="34" y="14"/>
                    </a:lnTo>
                    <a:lnTo>
                      <a:pt x="42" y="6"/>
                    </a:lnTo>
                    <a:lnTo>
                      <a:pt x="48" y="6"/>
                    </a:lnTo>
                    <a:lnTo>
                      <a:pt x="56" y="6"/>
                    </a:lnTo>
                    <a:lnTo>
                      <a:pt x="76" y="6"/>
                    </a:lnTo>
                    <a:lnTo>
                      <a:pt x="82" y="6"/>
                    </a:lnTo>
                    <a:lnTo>
                      <a:pt x="96" y="0"/>
                    </a:lnTo>
                    <a:lnTo>
                      <a:pt x="118" y="0"/>
                    </a:lnTo>
                    <a:lnTo>
                      <a:pt x="138" y="6"/>
                    </a:lnTo>
                    <a:lnTo>
                      <a:pt x="152" y="0"/>
                    </a:lnTo>
                    <a:lnTo>
                      <a:pt x="158" y="6"/>
                    </a:lnTo>
                    <a:lnTo>
                      <a:pt x="172" y="14"/>
                    </a:lnTo>
                    <a:lnTo>
                      <a:pt x="192" y="20"/>
                    </a:lnTo>
                    <a:lnTo>
                      <a:pt x="198" y="20"/>
                    </a:lnTo>
                    <a:lnTo>
                      <a:pt x="206" y="34"/>
                    </a:lnTo>
                    <a:lnTo>
                      <a:pt x="226" y="48"/>
                    </a:lnTo>
                    <a:lnTo>
                      <a:pt x="232" y="54"/>
                    </a:lnTo>
                    <a:lnTo>
                      <a:pt x="254" y="54"/>
                    </a:lnTo>
                    <a:lnTo>
                      <a:pt x="252" y="54"/>
                    </a:lnTo>
                    <a:lnTo>
                      <a:pt x="252" y="54"/>
                    </a:lnTo>
                    <a:lnTo>
                      <a:pt x="252" y="54"/>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3" name="Freeform 17"/>
              <p:cNvSpPr>
                <a:spLocks/>
              </p:cNvSpPr>
              <p:nvPr/>
            </p:nvSpPr>
            <p:spPr bwMode="gray">
              <a:xfrm>
                <a:off x="5541638" y="2533311"/>
                <a:ext cx="725649" cy="565275"/>
              </a:xfrm>
              <a:custGeom>
                <a:avLst/>
                <a:gdLst>
                  <a:gd name="T0" fmla="*/ 24 w 457"/>
                  <a:gd name="T1" fmla="*/ 330 h 356"/>
                  <a:gd name="T2" fmla="*/ 4 w 457"/>
                  <a:gd name="T3" fmla="*/ 316 h 356"/>
                  <a:gd name="T4" fmla="*/ 20 w 457"/>
                  <a:gd name="T5" fmla="*/ 280 h 356"/>
                  <a:gd name="T6" fmla="*/ 34 w 457"/>
                  <a:gd name="T7" fmla="*/ 268 h 356"/>
                  <a:gd name="T8" fmla="*/ 28 w 457"/>
                  <a:gd name="T9" fmla="*/ 240 h 356"/>
                  <a:gd name="T10" fmla="*/ 24 w 457"/>
                  <a:gd name="T11" fmla="*/ 220 h 356"/>
                  <a:gd name="T12" fmla="*/ 4 w 457"/>
                  <a:gd name="T13" fmla="*/ 170 h 356"/>
                  <a:gd name="T14" fmla="*/ 30 w 457"/>
                  <a:gd name="T15" fmla="*/ 178 h 356"/>
                  <a:gd name="T16" fmla="*/ 60 w 457"/>
                  <a:gd name="T17" fmla="*/ 158 h 356"/>
                  <a:gd name="T18" fmla="*/ 72 w 457"/>
                  <a:gd name="T19" fmla="*/ 158 h 356"/>
                  <a:gd name="T20" fmla="*/ 94 w 457"/>
                  <a:gd name="T21" fmla="*/ 152 h 356"/>
                  <a:gd name="T22" fmla="*/ 106 w 457"/>
                  <a:gd name="T23" fmla="*/ 130 h 356"/>
                  <a:gd name="T24" fmla="*/ 134 w 457"/>
                  <a:gd name="T25" fmla="*/ 96 h 356"/>
                  <a:gd name="T26" fmla="*/ 168 w 457"/>
                  <a:gd name="T27" fmla="*/ 76 h 356"/>
                  <a:gd name="T28" fmla="*/ 162 w 457"/>
                  <a:gd name="T29" fmla="*/ 42 h 356"/>
                  <a:gd name="T30" fmla="*/ 182 w 457"/>
                  <a:gd name="T31" fmla="*/ 42 h 356"/>
                  <a:gd name="T32" fmla="*/ 196 w 457"/>
                  <a:gd name="T33" fmla="*/ 22 h 356"/>
                  <a:gd name="T34" fmla="*/ 217 w 457"/>
                  <a:gd name="T35" fmla="*/ 0 h 356"/>
                  <a:gd name="T36" fmla="*/ 231 w 457"/>
                  <a:gd name="T37" fmla="*/ 8 h 356"/>
                  <a:gd name="T38" fmla="*/ 273 w 457"/>
                  <a:gd name="T39" fmla="*/ 8 h 356"/>
                  <a:gd name="T40" fmla="*/ 285 w 457"/>
                  <a:gd name="T41" fmla="*/ 22 h 356"/>
                  <a:gd name="T42" fmla="*/ 307 w 457"/>
                  <a:gd name="T43" fmla="*/ 8 h 356"/>
                  <a:gd name="T44" fmla="*/ 341 w 457"/>
                  <a:gd name="T45" fmla="*/ 28 h 356"/>
                  <a:gd name="T46" fmla="*/ 333 w 457"/>
                  <a:gd name="T47" fmla="*/ 48 h 356"/>
                  <a:gd name="T48" fmla="*/ 341 w 457"/>
                  <a:gd name="T49" fmla="*/ 96 h 356"/>
                  <a:gd name="T50" fmla="*/ 361 w 457"/>
                  <a:gd name="T51" fmla="*/ 110 h 356"/>
                  <a:gd name="T52" fmla="*/ 403 w 457"/>
                  <a:gd name="T53" fmla="*/ 124 h 356"/>
                  <a:gd name="T54" fmla="*/ 415 w 457"/>
                  <a:gd name="T55" fmla="*/ 144 h 356"/>
                  <a:gd name="T56" fmla="*/ 435 w 457"/>
                  <a:gd name="T57" fmla="*/ 158 h 356"/>
                  <a:gd name="T58" fmla="*/ 449 w 457"/>
                  <a:gd name="T59" fmla="*/ 178 h 356"/>
                  <a:gd name="T60" fmla="*/ 423 w 457"/>
                  <a:gd name="T61" fmla="*/ 200 h 356"/>
                  <a:gd name="T62" fmla="*/ 395 w 457"/>
                  <a:gd name="T63" fmla="*/ 200 h 356"/>
                  <a:gd name="T64" fmla="*/ 395 w 457"/>
                  <a:gd name="T65" fmla="*/ 226 h 356"/>
                  <a:gd name="T66" fmla="*/ 409 w 457"/>
                  <a:gd name="T67" fmla="*/ 262 h 356"/>
                  <a:gd name="T68" fmla="*/ 429 w 457"/>
                  <a:gd name="T69" fmla="*/ 268 h 356"/>
                  <a:gd name="T70" fmla="*/ 407 w 457"/>
                  <a:gd name="T71" fmla="*/ 280 h 356"/>
                  <a:gd name="T72" fmla="*/ 381 w 457"/>
                  <a:gd name="T73" fmla="*/ 280 h 356"/>
                  <a:gd name="T74" fmla="*/ 367 w 457"/>
                  <a:gd name="T75" fmla="*/ 302 h 356"/>
                  <a:gd name="T76" fmla="*/ 367 w 457"/>
                  <a:gd name="T77" fmla="*/ 336 h 356"/>
                  <a:gd name="T78" fmla="*/ 345 w 457"/>
                  <a:gd name="T79" fmla="*/ 336 h 356"/>
                  <a:gd name="T80" fmla="*/ 311 w 457"/>
                  <a:gd name="T81" fmla="*/ 336 h 356"/>
                  <a:gd name="T82" fmla="*/ 299 w 457"/>
                  <a:gd name="T83" fmla="*/ 350 h 356"/>
                  <a:gd name="T84" fmla="*/ 279 w 457"/>
                  <a:gd name="T85" fmla="*/ 336 h 356"/>
                  <a:gd name="T86" fmla="*/ 259 w 457"/>
                  <a:gd name="T87" fmla="*/ 336 h 356"/>
                  <a:gd name="T88" fmla="*/ 215 w 457"/>
                  <a:gd name="T89" fmla="*/ 342 h 356"/>
                  <a:gd name="T90" fmla="*/ 174 w 457"/>
                  <a:gd name="T91" fmla="*/ 330 h 356"/>
                  <a:gd name="T92" fmla="*/ 120 w 457"/>
                  <a:gd name="T93" fmla="*/ 316 h 356"/>
                  <a:gd name="T94" fmla="*/ 72 w 457"/>
                  <a:gd name="T95" fmla="*/ 322 h 356"/>
                  <a:gd name="T96" fmla="*/ 52 w 457"/>
                  <a:gd name="T97" fmla="*/ 342 h 356"/>
                  <a:gd name="T98" fmla="*/ 30 w 457"/>
                  <a:gd name="T99" fmla="*/ 342 h 356"/>
                  <a:gd name="T100" fmla="*/ 24 w 457"/>
                  <a:gd name="T101" fmla="*/ 35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7" h="356">
                    <a:moveTo>
                      <a:pt x="24" y="350"/>
                    </a:moveTo>
                    <a:lnTo>
                      <a:pt x="24" y="336"/>
                    </a:lnTo>
                    <a:lnTo>
                      <a:pt x="24" y="330"/>
                    </a:lnTo>
                    <a:lnTo>
                      <a:pt x="24" y="322"/>
                    </a:lnTo>
                    <a:lnTo>
                      <a:pt x="10" y="322"/>
                    </a:lnTo>
                    <a:lnTo>
                      <a:pt x="4" y="316"/>
                    </a:lnTo>
                    <a:lnTo>
                      <a:pt x="0" y="304"/>
                    </a:lnTo>
                    <a:lnTo>
                      <a:pt x="10" y="294"/>
                    </a:lnTo>
                    <a:lnTo>
                      <a:pt x="20" y="280"/>
                    </a:lnTo>
                    <a:lnTo>
                      <a:pt x="30" y="280"/>
                    </a:lnTo>
                    <a:lnTo>
                      <a:pt x="32" y="276"/>
                    </a:lnTo>
                    <a:lnTo>
                      <a:pt x="34" y="268"/>
                    </a:lnTo>
                    <a:lnTo>
                      <a:pt x="34" y="254"/>
                    </a:lnTo>
                    <a:lnTo>
                      <a:pt x="28" y="250"/>
                    </a:lnTo>
                    <a:lnTo>
                      <a:pt x="28" y="240"/>
                    </a:lnTo>
                    <a:lnTo>
                      <a:pt x="24" y="232"/>
                    </a:lnTo>
                    <a:lnTo>
                      <a:pt x="24" y="226"/>
                    </a:lnTo>
                    <a:lnTo>
                      <a:pt x="24" y="220"/>
                    </a:lnTo>
                    <a:lnTo>
                      <a:pt x="24" y="206"/>
                    </a:lnTo>
                    <a:lnTo>
                      <a:pt x="16" y="192"/>
                    </a:lnTo>
                    <a:lnTo>
                      <a:pt x="4" y="170"/>
                    </a:lnTo>
                    <a:lnTo>
                      <a:pt x="18" y="172"/>
                    </a:lnTo>
                    <a:lnTo>
                      <a:pt x="30" y="172"/>
                    </a:lnTo>
                    <a:lnTo>
                      <a:pt x="30" y="178"/>
                    </a:lnTo>
                    <a:lnTo>
                      <a:pt x="44" y="178"/>
                    </a:lnTo>
                    <a:lnTo>
                      <a:pt x="52" y="172"/>
                    </a:lnTo>
                    <a:lnTo>
                      <a:pt x="60" y="158"/>
                    </a:lnTo>
                    <a:lnTo>
                      <a:pt x="52" y="158"/>
                    </a:lnTo>
                    <a:lnTo>
                      <a:pt x="66" y="158"/>
                    </a:lnTo>
                    <a:lnTo>
                      <a:pt x="72" y="158"/>
                    </a:lnTo>
                    <a:lnTo>
                      <a:pt x="86" y="152"/>
                    </a:lnTo>
                    <a:lnTo>
                      <a:pt x="94" y="158"/>
                    </a:lnTo>
                    <a:lnTo>
                      <a:pt x="94" y="152"/>
                    </a:lnTo>
                    <a:lnTo>
                      <a:pt x="100" y="152"/>
                    </a:lnTo>
                    <a:lnTo>
                      <a:pt x="106" y="138"/>
                    </a:lnTo>
                    <a:lnTo>
                      <a:pt x="106" y="130"/>
                    </a:lnTo>
                    <a:lnTo>
                      <a:pt x="106" y="110"/>
                    </a:lnTo>
                    <a:lnTo>
                      <a:pt x="106" y="104"/>
                    </a:lnTo>
                    <a:lnTo>
                      <a:pt x="134" y="96"/>
                    </a:lnTo>
                    <a:lnTo>
                      <a:pt x="134" y="90"/>
                    </a:lnTo>
                    <a:lnTo>
                      <a:pt x="154" y="90"/>
                    </a:lnTo>
                    <a:lnTo>
                      <a:pt x="168" y="76"/>
                    </a:lnTo>
                    <a:lnTo>
                      <a:pt x="140" y="68"/>
                    </a:lnTo>
                    <a:lnTo>
                      <a:pt x="154" y="42"/>
                    </a:lnTo>
                    <a:lnTo>
                      <a:pt x="162" y="42"/>
                    </a:lnTo>
                    <a:lnTo>
                      <a:pt x="168" y="42"/>
                    </a:lnTo>
                    <a:lnTo>
                      <a:pt x="176" y="34"/>
                    </a:lnTo>
                    <a:lnTo>
                      <a:pt x="182" y="42"/>
                    </a:lnTo>
                    <a:lnTo>
                      <a:pt x="196" y="34"/>
                    </a:lnTo>
                    <a:lnTo>
                      <a:pt x="202" y="28"/>
                    </a:lnTo>
                    <a:lnTo>
                      <a:pt x="196" y="22"/>
                    </a:lnTo>
                    <a:lnTo>
                      <a:pt x="190" y="14"/>
                    </a:lnTo>
                    <a:lnTo>
                      <a:pt x="202" y="8"/>
                    </a:lnTo>
                    <a:lnTo>
                      <a:pt x="217" y="0"/>
                    </a:lnTo>
                    <a:lnTo>
                      <a:pt x="225" y="0"/>
                    </a:lnTo>
                    <a:lnTo>
                      <a:pt x="231" y="0"/>
                    </a:lnTo>
                    <a:lnTo>
                      <a:pt x="231" y="8"/>
                    </a:lnTo>
                    <a:lnTo>
                      <a:pt x="245" y="8"/>
                    </a:lnTo>
                    <a:lnTo>
                      <a:pt x="259" y="8"/>
                    </a:lnTo>
                    <a:lnTo>
                      <a:pt x="273" y="8"/>
                    </a:lnTo>
                    <a:lnTo>
                      <a:pt x="279" y="14"/>
                    </a:lnTo>
                    <a:lnTo>
                      <a:pt x="279" y="22"/>
                    </a:lnTo>
                    <a:lnTo>
                      <a:pt x="285" y="22"/>
                    </a:lnTo>
                    <a:lnTo>
                      <a:pt x="299" y="14"/>
                    </a:lnTo>
                    <a:lnTo>
                      <a:pt x="299" y="8"/>
                    </a:lnTo>
                    <a:lnTo>
                      <a:pt x="307" y="8"/>
                    </a:lnTo>
                    <a:lnTo>
                      <a:pt x="319" y="14"/>
                    </a:lnTo>
                    <a:lnTo>
                      <a:pt x="327" y="28"/>
                    </a:lnTo>
                    <a:lnTo>
                      <a:pt x="341" y="28"/>
                    </a:lnTo>
                    <a:lnTo>
                      <a:pt x="341" y="34"/>
                    </a:lnTo>
                    <a:lnTo>
                      <a:pt x="333" y="42"/>
                    </a:lnTo>
                    <a:lnTo>
                      <a:pt x="333" y="48"/>
                    </a:lnTo>
                    <a:lnTo>
                      <a:pt x="347" y="68"/>
                    </a:lnTo>
                    <a:lnTo>
                      <a:pt x="355" y="90"/>
                    </a:lnTo>
                    <a:lnTo>
                      <a:pt x="341" y="96"/>
                    </a:lnTo>
                    <a:lnTo>
                      <a:pt x="361" y="96"/>
                    </a:lnTo>
                    <a:lnTo>
                      <a:pt x="361" y="104"/>
                    </a:lnTo>
                    <a:lnTo>
                      <a:pt x="361" y="110"/>
                    </a:lnTo>
                    <a:lnTo>
                      <a:pt x="381" y="116"/>
                    </a:lnTo>
                    <a:lnTo>
                      <a:pt x="389" y="116"/>
                    </a:lnTo>
                    <a:lnTo>
                      <a:pt x="403" y="124"/>
                    </a:lnTo>
                    <a:lnTo>
                      <a:pt x="403" y="138"/>
                    </a:lnTo>
                    <a:lnTo>
                      <a:pt x="403" y="144"/>
                    </a:lnTo>
                    <a:lnTo>
                      <a:pt x="415" y="144"/>
                    </a:lnTo>
                    <a:lnTo>
                      <a:pt x="423" y="144"/>
                    </a:lnTo>
                    <a:lnTo>
                      <a:pt x="435" y="144"/>
                    </a:lnTo>
                    <a:lnTo>
                      <a:pt x="435" y="158"/>
                    </a:lnTo>
                    <a:lnTo>
                      <a:pt x="449" y="158"/>
                    </a:lnTo>
                    <a:lnTo>
                      <a:pt x="457" y="172"/>
                    </a:lnTo>
                    <a:lnTo>
                      <a:pt x="449" y="178"/>
                    </a:lnTo>
                    <a:lnTo>
                      <a:pt x="443" y="186"/>
                    </a:lnTo>
                    <a:lnTo>
                      <a:pt x="435" y="192"/>
                    </a:lnTo>
                    <a:lnTo>
                      <a:pt x="423" y="200"/>
                    </a:lnTo>
                    <a:lnTo>
                      <a:pt x="415" y="206"/>
                    </a:lnTo>
                    <a:lnTo>
                      <a:pt x="403" y="200"/>
                    </a:lnTo>
                    <a:lnTo>
                      <a:pt x="395" y="200"/>
                    </a:lnTo>
                    <a:lnTo>
                      <a:pt x="395" y="206"/>
                    </a:lnTo>
                    <a:lnTo>
                      <a:pt x="395" y="220"/>
                    </a:lnTo>
                    <a:lnTo>
                      <a:pt x="395" y="226"/>
                    </a:lnTo>
                    <a:lnTo>
                      <a:pt x="403" y="240"/>
                    </a:lnTo>
                    <a:lnTo>
                      <a:pt x="409" y="254"/>
                    </a:lnTo>
                    <a:lnTo>
                      <a:pt x="409" y="262"/>
                    </a:lnTo>
                    <a:lnTo>
                      <a:pt x="415" y="268"/>
                    </a:lnTo>
                    <a:lnTo>
                      <a:pt x="429" y="274"/>
                    </a:lnTo>
                    <a:lnTo>
                      <a:pt x="429" y="268"/>
                    </a:lnTo>
                    <a:lnTo>
                      <a:pt x="429" y="280"/>
                    </a:lnTo>
                    <a:lnTo>
                      <a:pt x="415" y="280"/>
                    </a:lnTo>
                    <a:lnTo>
                      <a:pt x="407" y="280"/>
                    </a:lnTo>
                    <a:lnTo>
                      <a:pt x="401" y="280"/>
                    </a:lnTo>
                    <a:lnTo>
                      <a:pt x="395" y="280"/>
                    </a:lnTo>
                    <a:lnTo>
                      <a:pt x="381" y="280"/>
                    </a:lnTo>
                    <a:lnTo>
                      <a:pt x="375" y="280"/>
                    </a:lnTo>
                    <a:lnTo>
                      <a:pt x="367" y="288"/>
                    </a:lnTo>
                    <a:lnTo>
                      <a:pt x="367" y="302"/>
                    </a:lnTo>
                    <a:lnTo>
                      <a:pt x="361" y="316"/>
                    </a:lnTo>
                    <a:lnTo>
                      <a:pt x="367" y="330"/>
                    </a:lnTo>
                    <a:lnTo>
                      <a:pt x="367" y="336"/>
                    </a:lnTo>
                    <a:lnTo>
                      <a:pt x="367" y="350"/>
                    </a:lnTo>
                    <a:lnTo>
                      <a:pt x="361" y="350"/>
                    </a:lnTo>
                    <a:lnTo>
                      <a:pt x="345" y="336"/>
                    </a:lnTo>
                    <a:lnTo>
                      <a:pt x="339" y="336"/>
                    </a:lnTo>
                    <a:lnTo>
                      <a:pt x="333" y="342"/>
                    </a:lnTo>
                    <a:lnTo>
                      <a:pt x="311" y="336"/>
                    </a:lnTo>
                    <a:lnTo>
                      <a:pt x="305" y="336"/>
                    </a:lnTo>
                    <a:lnTo>
                      <a:pt x="299" y="342"/>
                    </a:lnTo>
                    <a:lnTo>
                      <a:pt x="299" y="350"/>
                    </a:lnTo>
                    <a:lnTo>
                      <a:pt x="293" y="356"/>
                    </a:lnTo>
                    <a:lnTo>
                      <a:pt x="285" y="342"/>
                    </a:lnTo>
                    <a:lnTo>
                      <a:pt x="279" y="336"/>
                    </a:lnTo>
                    <a:lnTo>
                      <a:pt x="271" y="350"/>
                    </a:lnTo>
                    <a:lnTo>
                      <a:pt x="265" y="342"/>
                    </a:lnTo>
                    <a:lnTo>
                      <a:pt x="259" y="336"/>
                    </a:lnTo>
                    <a:lnTo>
                      <a:pt x="243" y="336"/>
                    </a:lnTo>
                    <a:lnTo>
                      <a:pt x="237" y="342"/>
                    </a:lnTo>
                    <a:lnTo>
                      <a:pt x="215" y="342"/>
                    </a:lnTo>
                    <a:lnTo>
                      <a:pt x="208" y="336"/>
                    </a:lnTo>
                    <a:lnTo>
                      <a:pt x="200" y="336"/>
                    </a:lnTo>
                    <a:lnTo>
                      <a:pt x="174" y="330"/>
                    </a:lnTo>
                    <a:lnTo>
                      <a:pt x="160" y="322"/>
                    </a:lnTo>
                    <a:lnTo>
                      <a:pt x="140" y="316"/>
                    </a:lnTo>
                    <a:lnTo>
                      <a:pt x="120" y="316"/>
                    </a:lnTo>
                    <a:lnTo>
                      <a:pt x="98" y="322"/>
                    </a:lnTo>
                    <a:lnTo>
                      <a:pt x="86" y="322"/>
                    </a:lnTo>
                    <a:lnTo>
                      <a:pt x="72" y="322"/>
                    </a:lnTo>
                    <a:lnTo>
                      <a:pt x="58" y="330"/>
                    </a:lnTo>
                    <a:lnTo>
                      <a:pt x="58" y="336"/>
                    </a:lnTo>
                    <a:lnTo>
                      <a:pt x="52" y="342"/>
                    </a:lnTo>
                    <a:lnTo>
                      <a:pt x="44" y="350"/>
                    </a:lnTo>
                    <a:lnTo>
                      <a:pt x="38" y="342"/>
                    </a:lnTo>
                    <a:lnTo>
                      <a:pt x="30" y="342"/>
                    </a:lnTo>
                    <a:lnTo>
                      <a:pt x="24" y="356"/>
                    </a:lnTo>
                    <a:lnTo>
                      <a:pt x="24" y="350"/>
                    </a:lnTo>
                    <a:lnTo>
                      <a:pt x="24" y="350"/>
                    </a:lnTo>
                    <a:lnTo>
                      <a:pt x="24" y="35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4" name="Freeform 18"/>
              <p:cNvSpPr>
                <a:spLocks/>
              </p:cNvSpPr>
              <p:nvPr/>
            </p:nvSpPr>
            <p:spPr bwMode="gray">
              <a:xfrm>
                <a:off x="5459069" y="2936625"/>
                <a:ext cx="1460824" cy="736763"/>
              </a:xfrm>
              <a:custGeom>
                <a:avLst/>
                <a:gdLst>
                  <a:gd name="T0" fmla="*/ 465 w 920"/>
                  <a:gd name="T1" fmla="*/ 464 h 464"/>
                  <a:gd name="T2" fmla="*/ 499 w 920"/>
                  <a:gd name="T3" fmla="*/ 430 h 464"/>
                  <a:gd name="T4" fmla="*/ 527 w 920"/>
                  <a:gd name="T5" fmla="*/ 410 h 464"/>
                  <a:gd name="T6" fmla="*/ 541 w 920"/>
                  <a:gd name="T7" fmla="*/ 416 h 464"/>
                  <a:gd name="T8" fmla="*/ 535 w 920"/>
                  <a:gd name="T9" fmla="*/ 450 h 464"/>
                  <a:gd name="T10" fmla="*/ 603 w 920"/>
                  <a:gd name="T11" fmla="*/ 444 h 464"/>
                  <a:gd name="T12" fmla="*/ 631 w 920"/>
                  <a:gd name="T13" fmla="*/ 430 h 464"/>
                  <a:gd name="T14" fmla="*/ 679 w 920"/>
                  <a:gd name="T15" fmla="*/ 430 h 464"/>
                  <a:gd name="T16" fmla="*/ 697 w 920"/>
                  <a:gd name="T17" fmla="*/ 410 h 464"/>
                  <a:gd name="T18" fmla="*/ 753 w 920"/>
                  <a:gd name="T19" fmla="*/ 388 h 464"/>
                  <a:gd name="T20" fmla="*/ 795 w 920"/>
                  <a:gd name="T21" fmla="*/ 374 h 464"/>
                  <a:gd name="T22" fmla="*/ 821 w 920"/>
                  <a:gd name="T23" fmla="*/ 340 h 464"/>
                  <a:gd name="T24" fmla="*/ 843 w 920"/>
                  <a:gd name="T25" fmla="*/ 326 h 464"/>
                  <a:gd name="T26" fmla="*/ 898 w 920"/>
                  <a:gd name="T27" fmla="*/ 260 h 464"/>
                  <a:gd name="T28" fmla="*/ 898 w 920"/>
                  <a:gd name="T29" fmla="*/ 196 h 464"/>
                  <a:gd name="T30" fmla="*/ 898 w 920"/>
                  <a:gd name="T31" fmla="*/ 170 h 464"/>
                  <a:gd name="T32" fmla="*/ 920 w 920"/>
                  <a:gd name="T33" fmla="*/ 122 h 464"/>
                  <a:gd name="T34" fmla="*/ 863 w 920"/>
                  <a:gd name="T35" fmla="*/ 122 h 464"/>
                  <a:gd name="T36" fmla="*/ 837 w 920"/>
                  <a:gd name="T37" fmla="*/ 116 h 464"/>
                  <a:gd name="T38" fmla="*/ 801 w 920"/>
                  <a:gd name="T39" fmla="*/ 116 h 464"/>
                  <a:gd name="T40" fmla="*/ 755 w 920"/>
                  <a:gd name="T41" fmla="*/ 102 h 464"/>
                  <a:gd name="T42" fmla="*/ 713 w 920"/>
                  <a:gd name="T43" fmla="*/ 116 h 464"/>
                  <a:gd name="T44" fmla="*/ 673 w 920"/>
                  <a:gd name="T45" fmla="*/ 108 h 464"/>
                  <a:gd name="T46" fmla="*/ 645 w 920"/>
                  <a:gd name="T47" fmla="*/ 76 h 464"/>
                  <a:gd name="T48" fmla="*/ 603 w 920"/>
                  <a:gd name="T49" fmla="*/ 62 h 464"/>
                  <a:gd name="T50" fmla="*/ 583 w 920"/>
                  <a:gd name="T51" fmla="*/ 20 h 464"/>
                  <a:gd name="T52" fmla="*/ 535 w 920"/>
                  <a:gd name="T53" fmla="*/ 0 h 464"/>
                  <a:gd name="T54" fmla="*/ 493 w 920"/>
                  <a:gd name="T55" fmla="*/ 8 h 464"/>
                  <a:gd name="T56" fmla="*/ 467 w 920"/>
                  <a:gd name="T57" fmla="*/ 26 h 464"/>
                  <a:gd name="T58" fmla="*/ 425 w 920"/>
                  <a:gd name="T59" fmla="*/ 22 h 464"/>
                  <a:gd name="T60" fmla="*/ 415 w 920"/>
                  <a:gd name="T61" fmla="*/ 82 h 464"/>
                  <a:gd name="T62" fmla="*/ 385 w 920"/>
                  <a:gd name="T63" fmla="*/ 88 h 464"/>
                  <a:gd name="T64" fmla="*/ 343 w 920"/>
                  <a:gd name="T65" fmla="*/ 102 h 464"/>
                  <a:gd name="T66" fmla="*/ 309 w 920"/>
                  <a:gd name="T67" fmla="*/ 82 h 464"/>
                  <a:gd name="T68" fmla="*/ 252 w 920"/>
                  <a:gd name="T69" fmla="*/ 82 h 464"/>
                  <a:gd name="T70" fmla="*/ 150 w 920"/>
                  <a:gd name="T71" fmla="*/ 68 h 464"/>
                  <a:gd name="T72" fmla="*/ 102 w 920"/>
                  <a:gd name="T73" fmla="*/ 88 h 464"/>
                  <a:gd name="T74" fmla="*/ 78 w 920"/>
                  <a:gd name="T75" fmla="*/ 104 h 464"/>
                  <a:gd name="T76" fmla="*/ 96 w 920"/>
                  <a:gd name="T77" fmla="*/ 144 h 464"/>
                  <a:gd name="T78" fmla="*/ 96 w 920"/>
                  <a:gd name="T79" fmla="*/ 184 h 464"/>
                  <a:gd name="T80" fmla="*/ 42 w 920"/>
                  <a:gd name="T81" fmla="*/ 224 h 464"/>
                  <a:gd name="T82" fmla="*/ 28 w 920"/>
                  <a:gd name="T83" fmla="*/ 280 h 464"/>
                  <a:gd name="T84" fmla="*/ 14 w 920"/>
                  <a:gd name="T85" fmla="*/ 348 h 464"/>
                  <a:gd name="T86" fmla="*/ 96 w 920"/>
                  <a:gd name="T87" fmla="*/ 368 h 464"/>
                  <a:gd name="T88" fmla="*/ 156 w 920"/>
                  <a:gd name="T89" fmla="*/ 362 h 464"/>
                  <a:gd name="T90" fmla="*/ 212 w 920"/>
                  <a:gd name="T91" fmla="*/ 334 h 464"/>
                  <a:gd name="T92" fmla="*/ 246 w 920"/>
                  <a:gd name="T93" fmla="*/ 334 h 464"/>
                  <a:gd name="T94" fmla="*/ 301 w 920"/>
                  <a:gd name="T95" fmla="*/ 320 h 464"/>
                  <a:gd name="T96" fmla="*/ 343 w 920"/>
                  <a:gd name="T97" fmla="*/ 326 h 464"/>
                  <a:gd name="T98" fmla="*/ 377 w 920"/>
                  <a:gd name="T99" fmla="*/ 348 h 464"/>
                  <a:gd name="T100" fmla="*/ 383 w 920"/>
                  <a:gd name="T101" fmla="*/ 388 h 464"/>
                  <a:gd name="T102" fmla="*/ 411 w 920"/>
                  <a:gd name="T103" fmla="*/ 416 h 464"/>
                  <a:gd name="T104" fmla="*/ 431 w 920"/>
                  <a:gd name="T105" fmla="*/ 44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0" h="464">
                    <a:moveTo>
                      <a:pt x="439" y="458"/>
                    </a:moveTo>
                    <a:lnTo>
                      <a:pt x="445" y="450"/>
                    </a:lnTo>
                    <a:lnTo>
                      <a:pt x="453" y="458"/>
                    </a:lnTo>
                    <a:lnTo>
                      <a:pt x="459" y="464"/>
                    </a:lnTo>
                    <a:lnTo>
                      <a:pt x="465" y="464"/>
                    </a:lnTo>
                    <a:lnTo>
                      <a:pt x="465" y="444"/>
                    </a:lnTo>
                    <a:lnTo>
                      <a:pt x="473" y="430"/>
                    </a:lnTo>
                    <a:lnTo>
                      <a:pt x="479" y="430"/>
                    </a:lnTo>
                    <a:lnTo>
                      <a:pt x="485" y="436"/>
                    </a:lnTo>
                    <a:lnTo>
                      <a:pt x="499" y="430"/>
                    </a:lnTo>
                    <a:lnTo>
                      <a:pt x="513" y="416"/>
                    </a:lnTo>
                    <a:lnTo>
                      <a:pt x="521" y="416"/>
                    </a:lnTo>
                    <a:lnTo>
                      <a:pt x="521" y="422"/>
                    </a:lnTo>
                    <a:lnTo>
                      <a:pt x="527" y="422"/>
                    </a:lnTo>
                    <a:lnTo>
                      <a:pt x="527" y="410"/>
                    </a:lnTo>
                    <a:lnTo>
                      <a:pt x="527" y="402"/>
                    </a:lnTo>
                    <a:lnTo>
                      <a:pt x="527" y="388"/>
                    </a:lnTo>
                    <a:lnTo>
                      <a:pt x="535" y="402"/>
                    </a:lnTo>
                    <a:lnTo>
                      <a:pt x="541" y="410"/>
                    </a:lnTo>
                    <a:lnTo>
                      <a:pt x="541" y="416"/>
                    </a:lnTo>
                    <a:lnTo>
                      <a:pt x="549" y="430"/>
                    </a:lnTo>
                    <a:lnTo>
                      <a:pt x="535" y="430"/>
                    </a:lnTo>
                    <a:lnTo>
                      <a:pt x="535" y="436"/>
                    </a:lnTo>
                    <a:lnTo>
                      <a:pt x="535" y="444"/>
                    </a:lnTo>
                    <a:lnTo>
                      <a:pt x="535" y="450"/>
                    </a:lnTo>
                    <a:lnTo>
                      <a:pt x="549" y="458"/>
                    </a:lnTo>
                    <a:lnTo>
                      <a:pt x="561" y="464"/>
                    </a:lnTo>
                    <a:lnTo>
                      <a:pt x="583" y="450"/>
                    </a:lnTo>
                    <a:lnTo>
                      <a:pt x="595" y="444"/>
                    </a:lnTo>
                    <a:lnTo>
                      <a:pt x="603" y="444"/>
                    </a:lnTo>
                    <a:lnTo>
                      <a:pt x="609" y="436"/>
                    </a:lnTo>
                    <a:lnTo>
                      <a:pt x="617" y="458"/>
                    </a:lnTo>
                    <a:lnTo>
                      <a:pt x="623" y="450"/>
                    </a:lnTo>
                    <a:lnTo>
                      <a:pt x="631" y="436"/>
                    </a:lnTo>
                    <a:lnTo>
                      <a:pt x="631" y="430"/>
                    </a:lnTo>
                    <a:lnTo>
                      <a:pt x="637" y="430"/>
                    </a:lnTo>
                    <a:lnTo>
                      <a:pt x="645" y="436"/>
                    </a:lnTo>
                    <a:lnTo>
                      <a:pt x="651" y="430"/>
                    </a:lnTo>
                    <a:lnTo>
                      <a:pt x="657" y="430"/>
                    </a:lnTo>
                    <a:lnTo>
                      <a:pt x="679" y="430"/>
                    </a:lnTo>
                    <a:lnTo>
                      <a:pt x="679" y="436"/>
                    </a:lnTo>
                    <a:lnTo>
                      <a:pt x="685" y="436"/>
                    </a:lnTo>
                    <a:lnTo>
                      <a:pt x="685" y="430"/>
                    </a:lnTo>
                    <a:lnTo>
                      <a:pt x="691" y="430"/>
                    </a:lnTo>
                    <a:lnTo>
                      <a:pt x="697" y="410"/>
                    </a:lnTo>
                    <a:lnTo>
                      <a:pt x="711" y="402"/>
                    </a:lnTo>
                    <a:lnTo>
                      <a:pt x="711" y="416"/>
                    </a:lnTo>
                    <a:lnTo>
                      <a:pt x="719" y="416"/>
                    </a:lnTo>
                    <a:lnTo>
                      <a:pt x="739" y="394"/>
                    </a:lnTo>
                    <a:lnTo>
                      <a:pt x="753" y="388"/>
                    </a:lnTo>
                    <a:lnTo>
                      <a:pt x="759" y="382"/>
                    </a:lnTo>
                    <a:lnTo>
                      <a:pt x="767" y="374"/>
                    </a:lnTo>
                    <a:lnTo>
                      <a:pt x="773" y="374"/>
                    </a:lnTo>
                    <a:lnTo>
                      <a:pt x="787" y="382"/>
                    </a:lnTo>
                    <a:lnTo>
                      <a:pt x="795" y="374"/>
                    </a:lnTo>
                    <a:lnTo>
                      <a:pt x="787" y="368"/>
                    </a:lnTo>
                    <a:lnTo>
                      <a:pt x="801" y="362"/>
                    </a:lnTo>
                    <a:lnTo>
                      <a:pt x="807" y="348"/>
                    </a:lnTo>
                    <a:lnTo>
                      <a:pt x="815" y="340"/>
                    </a:lnTo>
                    <a:lnTo>
                      <a:pt x="821" y="340"/>
                    </a:lnTo>
                    <a:lnTo>
                      <a:pt x="829" y="334"/>
                    </a:lnTo>
                    <a:lnTo>
                      <a:pt x="829" y="326"/>
                    </a:lnTo>
                    <a:lnTo>
                      <a:pt x="835" y="334"/>
                    </a:lnTo>
                    <a:lnTo>
                      <a:pt x="841" y="334"/>
                    </a:lnTo>
                    <a:lnTo>
                      <a:pt x="843" y="326"/>
                    </a:lnTo>
                    <a:lnTo>
                      <a:pt x="843" y="294"/>
                    </a:lnTo>
                    <a:lnTo>
                      <a:pt x="863" y="286"/>
                    </a:lnTo>
                    <a:lnTo>
                      <a:pt x="871" y="266"/>
                    </a:lnTo>
                    <a:lnTo>
                      <a:pt x="877" y="260"/>
                    </a:lnTo>
                    <a:lnTo>
                      <a:pt x="898" y="260"/>
                    </a:lnTo>
                    <a:lnTo>
                      <a:pt x="912" y="260"/>
                    </a:lnTo>
                    <a:lnTo>
                      <a:pt x="920" y="238"/>
                    </a:lnTo>
                    <a:lnTo>
                      <a:pt x="920" y="218"/>
                    </a:lnTo>
                    <a:lnTo>
                      <a:pt x="906" y="196"/>
                    </a:lnTo>
                    <a:lnTo>
                      <a:pt x="898" y="196"/>
                    </a:lnTo>
                    <a:lnTo>
                      <a:pt x="898" y="190"/>
                    </a:lnTo>
                    <a:lnTo>
                      <a:pt x="906" y="184"/>
                    </a:lnTo>
                    <a:lnTo>
                      <a:pt x="912" y="176"/>
                    </a:lnTo>
                    <a:lnTo>
                      <a:pt x="912" y="170"/>
                    </a:lnTo>
                    <a:lnTo>
                      <a:pt x="898" y="170"/>
                    </a:lnTo>
                    <a:lnTo>
                      <a:pt x="892" y="164"/>
                    </a:lnTo>
                    <a:lnTo>
                      <a:pt x="898" y="156"/>
                    </a:lnTo>
                    <a:lnTo>
                      <a:pt x="912" y="150"/>
                    </a:lnTo>
                    <a:lnTo>
                      <a:pt x="920" y="144"/>
                    </a:lnTo>
                    <a:lnTo>
                      <a:pt x="920" y="122"/>
                    </a:lnTo>
                    <a:lnTo>
                      <a:pt x="912" y="122"/>
                    </a:lnTo>
                    <a:lnTo>
                      <a:pt x="906" y="130"/>
                    </a:lnTo>
                    <a:lnTo>
                      <a:pt x="892" y="130"/>
                    </a:lnTo>
                    <a:lnTo>
                      <a:pt x="877" y="122"/>
                    </a:lnTo>
                    <a:lnTo>
                      <a:pt x="863" y="122"/>
                    </a:lnTo>
                    <a:lnTo>
                      <a:pt x="863" y="130"/>
                    </a:lnTo>
                    <a:lnTo>
                      <a:pt x="857" y="122"/>
                    </a:lnTo>
                    <a:lnTo>
                      <a:pt x="857" y="116"/>
                    </a:lnTo>
                    <a:lnTo>
                      <a:pt x="851" y="116"/>
                    </a:lnTo>
                    <a:lnTo>
                      <a:pt x="837" y="116"/>
                    </a:lnTo>
                    <a:lnTo>
                      <a:pt x="837" y="122"/>
                    </a:lnTo>
                    <a:lnTo>
                      <a:pt x="823" y="122"/>
                    </a:lnTo>
                    <a:lnTo>
                      <a:pt x="823" y="116"/>
                    </a:lnTo>
                    <a:lnTo>
                      <a:pt x="809" y="122"/>
                    </a:lnTo>
                    <a:lnTo>
                      <a:pt x="801" y="116"/>
                    </a:lnTo>
                    <a:lnTo>
                      <a:pt x="795" y="108"/>
                    </a:lnTo>
                    <a:lnTo>
                      <a:pt x="795" y="116"/>
                    </a:lnTo>
                    <a:lnTo>
                      <a:pt x="781" y="122"/>
                    </a:lnTo>
                    <a:lnTo>
                      <a:pt x="761" y="108"/>
                    </a:lnTo>
                    <a:lnTo>
                      <a:pt x="755" y="102"/>
                    </a:lnTo>
                    <a:lnTo>
                      <a:pt x="755" y="96"/>
                    </a:lnTo>
                    <a:lnTo>
                      <a:pt x="741" y="96"/>
                    </a:lnTo>
                    <a:lnTo>
                      <a:pt x="727" y="108"/>
                    </a:lnTo>
                    <a:lnTo>
                      <a:pt x="721" y="116"/>
                    </a:lnTo>
                    <a:lnTo>
                      <a:pt x="713" y="116"/>
                    </a:lnTo>
                    <a:lnTo>
                      <a:pt x="707" y="108"/>
                    </a:lnTo>
                    <a:lnTo>
                      <a:pt x="699" y="116"/>
                    </a:lnTo>
                    <a:lnTo>
                      <a:pt x="693" y="108"/>
                    </a:lnTo>
                    <a:lnTo>
                      <a:pt x="685" y="108"/>
                    </a:lnTo>
                    <a:lnTo>
                      <a:pt x="673" y="108"/>
                    </a:lnTo>
                    <a:lnTo>
                      <a:pt x="665" y="108"/>
                    </a:lnTo>
                    <a:lnTo>
                      <a:pt x="665" y="102"/>
                    </a:lnTo>
                    <a:lnTo>
                      <a:pt x="657" y="82"/>
                    </a:lnTo>
                    <a:lnTo>
                      <a:pt x="657" y="76"/>
                    </a:lnTo>
                    <a:lnTo>
                      <a:pt x="645" y="76"/>
                    </a:lnTo>
                    <a:lnTo>
                      <a:pt x="637" y="62"/>
                    </a:lnTo>
                    <a:lnTo>
                      <a:pt x="637" y="54"/>
                    </a:lnTo>
                    <a:lnTo>
                      <a:pt x="631" y="54"/>
                    </a:lnTo>
                    <a:lnTo>
                      <a:pt x="623" y="62"/>
                    </a:lnTo>
                    <a:lnTo>
                      <a:pt x="603" y="62"/>
                    </a:lnTo>
                    <a:lnTo>
                      <a:pt x="589" y="62"/>
                    </a:lnTo>
                    <a:lnTo>
                      <a:pt x="589" y="54"/>
                    </a:lnTo>
                    <a:lnTo>
                      <a:pt x="589" y="40"/>
                    </a:lnTo>
                    <a:lnTo>
                      <a:pt x="589" y="26"/>
                    </a:lnTo>
                    <a:lnTo>
                      <a:pt x="583" y="20"/>
                    </a:lnTo>
                    <a:lnTo>
                      <a:pt x="575" y="8"/>
                    </a:lnTo>
                    <a:lnTo>
                      <a:pt x="569" y="0"/>
                    </a:lnTo>
                    <a:lnTo>
                      <a:pt x="561" y="0"/>
                    </a:lnTo>
                    <a:lnTo>
                      <a:pt x="549" y="8"/>
                    </a:lnTo>
                    <a:lnTo>
                      <a:pt x="535" y="0"/>
                    </a:lnTo>
                    <a:lnTo>
                      <a:pt x="529" y="0"/>
                    </a:lnTo>
                    <a:lnTo>
                      <a:pt x="521" y="8"/>
                    </a:lnTo>
                    <a:lnTo>
                      <a:pt x="515" y="8"/>
                    </a:lnTo>
                    <a:lnTo>
                      <a:pt x="501" y="14"/>
                    </a:lnTo>
                    <a:lnTo>
                      <a:pt x="493" y="8"/>
                    </a:lnTo>
                    <a:lnTo>
                      <a:pt x="481" y="14"/>
                    </a:lnTo>
                    <a:lnTo>
                      <a:pt x="481" y="20"/>
                    </a:lnTo>
                    <a:lnTo>
                      <a:pt x="481" y="14"/>
                    </a:lnTo>
                    <a:lnTo>
                      <a:pt x="481" y="26"/>
                    </a:lnTo>
                    <a:lnTo>
                      <a:pt x="467" y="26"/>
                    </a:lnTo>
                    <a:lnTo>
                      <a:pt x="459" y="26"/>
                    </a:lnTo>
                    <a:lnTo>
                      <a:pt x="453" y="26"/>
                    </a:lnTo>
                    <a:lnTo>
                      <a:pt x="445" y="22"/>
                    </a:lnTo>
                    <a:lnTo>
                      <a:pt x="433" y="22"/>
                    </a:lnTo>
                    <a:lnTo>
                      <a:pt x="425" y="22"/>
                    </a:lnTo>
                    <a:lnTo>
                      <a:pt x="415" y="34"/>
                    </a:lnTo>
                    <a:lnTo>
                      <a:pt x="415" y="46"/>
                    </a:lnTo>
                    <a:lnTo>
                      <a:pt x="409" y="62"/>
                    </a:lnTo>
                    <a:lnTo>
                      <a:pt x="417" y="76"/>
                    </a:lnTo>
                    <a:lnTo>
                      <a:pt x="415" y="82"/>
                    </a:lnTo>
                    <a:lnTo>
                      <a:pt x="415" y="96"/>
                    </a:lnTo>
                    <a:lnTo>
                      <a:pt x="411" y="96"/>
                    </a:lnTo>
                    <a:lnTo>
                      <a:pt x="397" y="82"/>
                    </a:lnTo>
                    <a:lnTo>
                      <a:pt x="391" y="82"/>
                    </a:lnTo>
                    <a:lnTo>
                      <a:pt x="385" y="88"/>
                    </a:lnTo>
                    <a:lnTo>
                      <a:pt x="363" y="82"/>
                    </a:lnTo>
                    <a:lnTo>
                      <a:pt x="357" y="82"/>
                    </a:lnTo>
                    <a:lnTo>
                      <a:pt x="349" y="88"/>
                    </a:lnTo>
                    <a:lnTo>
                      <a:pt x="347" y="96"/>
                    </a:lnTo>
                    <a:lnTo>
                      <a:pt x="343" y="102"/>
                    </a:lnTo>
                    <a:lnTo>
                      <a:pt x="335" y="84"/>
                    </a:lnTo>
                    <a:lnTo>
                      <a:pt x="329" y="82"/>
                    </a:lnTo>
                    <a:lnTo>
                      <a:pt x="321" y="96"/>
                    </a:lnTo>
                    <a:lnTo>
                      <a:pt x="317" y="88"/>
                    </a:lnTo>
                    <a:lnTo>
                      <a:pt x="309" y="82"/>
                    </a:lnTo>
                    <a:lnTo>
                      <a:pt x="295" y="82"/>
                    </a:lnTo>
                    <a:lnTo>
                      <a:pt x="289" y="88"/>
                    </a:lnTo>
                    <a:lnTo>
                      <a:pt x="267" y="88"/>
                    </a:lnTo>
                    <a:lnTo>
                      <a:pt x="260" y="82"/>
                    </a:lnTo>
                    <a:lnTo>
                      <a:pt x="252" y="82"/>
                    </a:lnTo>
                    <a:lnTo>
                      <a:pt x="226" y="76"/>
                    </a:lnTo>
                    <a:lnTo>
                      <a:pt x="212" y="68"/>
                    </a:lnTo>
                    <a:lnTo>
                      <a:pt x="192" y="62"/>
                    </a:lnTo>
                    <a:lnTo>
                      <a:pt x="172" y="62"/>
                    </a:lnTo>
                    <a:lnTo>
                      <a:pt x="150" y="68"/>
                    </a:lnTo>
                    <a:lnTo>
                      <a:pt x="138" y="68"/>
                    </a:lnTo>
                    <a:lnTo>
                      <a:pt x="124" y="66"/>
                    </a:lnTo>
                    <a:lnTo>
                      <a:pt x="112" y="74"/>
                    </a:lnTo>
                    <a:lnTo>
                      <a:pt x="108" y="82"/>
                    </a:lnTo>
                    <a:lnTo>
                      <a:pt x="102" y="88"/>
                    </a:lnTo>
                    <a:lnTo>
                      <a:pt x="96" y="96"/>
                    </a:lnTo>
                    <a:lnTo>
                      <a:pt x="90" y="88"/>
                    </a:lnTo>
                    <a:lnTo>
                      <a:pt x="80" y="88"/>
                    </a:lnTo>
                    <a:lnTo>
                      <a:pt x="76" y="102"/>
                    </a:lnTo>
                    <a:lnTo>
                      <a:pt x="78" y="104"/>
                    </a:lnTo>
                    <a:lnTo>
                      <a:pt x="74" y="108"/>
                    </a:lnTo>
                    <a:lnTo>
                      <a:pt x="68" y="116"/>
                    </a:lnTo>
                    <a:lnTo>
                      <a:pt x="74" y="122"/>
                    </a:lnTo>
                    <a:lnTo>
                      <a:pt x="88" y="136"/>
                    </a:lnTo>
                    <a:lnTo>
                      <a:pt x="96" y="144"/>
                    </a:lnTo>
                    <a:lnTo>
                      <a:pt x="88" y="150"/>
                    </a:lnTo>
                    <a:lnTo>
                      <a:pt x="88" y="156"/>
                    </a:lnTo>
                    <a:lnTo>
                      <a:pt x="96" y="164"/>
                    </a:lnTo>
                    <a:lnTo>
                      <a:pt x="96" y="176"/>
                    </a:lnTo>
                    <a:lnTo>
                      <a:pt x="96" y="184"/>
                    </a:lnTo>
                    <a:lnTo>
                      <a:pt x="88" y="184"/>
                    </a:lnTo>
                    <a:lnTo>
                      <a:pt x="82" y="184"/>
                    </a:lnTo>
                    <a:lnTo>
                      <a:pt x="74" y="196"/>
                    </a:lnTo>
                    <a:lnTo>
                      <a:pt x="62" y="204"/>
                    </a:lnTo>
                    <a:lnTo>
                      <a:pt x="42" y="224"/>
                    </a:lnTo>
                    <a:lnTo>
                      <a:pt x="34" y="232"/>
                    </a:lnTo>
                    <a:lnTo>
                      <a:pt x="28" y="246"/>
                    </a:lnTo>
                    <a:lnTo>
                      <a:pt x="34" y="266"/>
                    </a:lnTo>
                    <a:lnTo>
                      <a:pt x="34" y="280"/>
                    </a:lnTo>
                    <a:lnTo>
                      <a:pt x="28" y="280"/>
                    </a:lnTo>
                    <a:lnTo>
                      <a:pt x="20" y="280"/>
                    </a:lnTo>
                    <a:lnTo>
                      <a:pt x="8" y="300"/>
                    </a:lnTo>
                    <a:lnTo>
                      <a:pt x="0" y="320"/>
                    </a:lnTo>
                    <a:lnTo>
                      <a:pt x="0" y="334"/>
                    </a:lnTo>
                    <a:lnTo>
                      <a:pt x="14" y="348"/>
                    </a:lnTo>
                    <a:lnTo>
                      <a:pt x="28" y="354"/>
                    </a:lnTo>
                    <a:lnTo>
                      <a:pt x="42" y="354"/>
                    </a:lnTo>
                    <a:lnTo>
                      <a:pt x="68" y="354"/>
                    </a:lnTo>
                    <a:lnTo>
                      <a:pt x="82" y="362"/>
                    </a:lnTo>
                    <a:lnTo>
                      <a:pt x="96" y="368"/>
                    </a:lnTo>
                    <a:lnTo>
                      <a:pt x="116" y="362"/>
                    </a:lnTo>
                    <a:lnTo>
                      <a:pt x="122" y="354"/>
                    </a:lnTo>
                    <a:lnTo>
                      <a:pt x="136" y="362"/>
                    </a:lnTo>
                    <a:lnTo>
                      <a:pt x="144" y="368"/>
                    </a:lnTo>
                    <a:lnTo>
                      <a:pt x="156" y="362"/>
                    </a:lnTo>
                    <a:lnTo>
                      <a:pt x="172" y="348"/>
                    </a:lnTo>
                    <a:lnTo>
                      <a:pt x="184" y="348"/>
                    </a:lnTo>
                    <a:lnTo>
                      <a:pt x="198" y="348"/>
                    </a:lnTo>
                    <a:lnTo>
                      <a:pt x="204" y="348"/>
                    </a:lnTo>
                    <a:lnTo>
                      <a:pt x="212" y="334"/>
                    </a:lnTo>
                    <a:lnTo>
                      <a:pt x="220" y="334"/>
                    </a:lnTo>
                    <a:lnTo>
                      <a:pt x="232" y="334"/>
                    </a:lnTo>
                    <a:lnTo>
                      <a:pt x="232" y="326"/>
                    </a:lnTo>
                    <a:lnTo>
                      <a:pt x="240" y="334"/>
                    </a:lnTo>
                    <a:lnTo>
                      <a:pt x="246" y="334"/>
                    </a:lnTo>
                    <a:lnTo>
                      <a:pt x="267" y="326"/>
                    </a:lnTo>
                    <a:lnTo>
                      <a:pt x="275" y="320"/>
                    </a:lnTo>
                    <a:lnTo>
                      <a:pt x="281" y="314"/>
                    </a:lnTo>
                    <a:lnTo>
                      <a:pt x="301" y="314"/>
                    </a:lnTo>
                    <a:lnTo>
                      <a:pt x="301" y="320"/>
                    </a:lnTo>
                    <a:lnTo>
                      <a:pt x="315" y="320"/>
                    </a:lnTo>
                    <a:lnTo>
                      <a:pt x="323" y="326"/>
                    </a:lnTo>
                    <a:lnTo>
                      <a:pt x="329" y="334"/>
                    </a:lnTo>
                    <a:lnTo>
                      <a:pt x="335" y="326"/>
                    </a:lnTo>
                    <a:lnTo>
                      <a:pt x="343" y="326"/>
                    </a:lnTo>
                    <a:lnTo>
                      <a:pt x="349" y="334"/>
                    </a:lnTo>
                    <a:lnTo>
                      <a:pt x="363" y="340"/>
                    </a:lnTo>
                    <a:lnTo>
                      <a:pt x="363" y="334"/>
                    </a:lnTo>
                    <a:lnTo>
                      <a:pt x="377" y="340"/>
                    </a:lnTo>
                    <a:lnTo>
                      <a:pt x="377" y="348"/>
                    </a:lnTo>
                    <a:lnTo>
                      <a:pt x="377" y="354"/>
                    </a:lnTo>
                    <a:lnTo>
                      <a:pt x="383" y="354"/>
                    </a:lnTo>
                    <a:lnTo>
                      <a:pt x="383" y="368"/>
                    </a:lnTo>
                    <a:lnTo>
                      <a:pt x="383" y="382"/>
                    </a:lnTo>
                    <a:lnTo>
                      <a:pt x="383" y="388"/>
                    </a:lnTo>
                    <a:lnTo>
                      <a:pt x="391" y="388"/>
                    </a:lnTo>
                    <a:lnTo>
                      <a:pt x="397" y="388"/>
                    </a:lnTo>
                    <a:lnTo>
                      <a:pt x="405" y="402"/>
                    </a:lnTo>
                    <a:lnTo>
                      <a:pt x="405" y="416"/>
                    </a:lnTo>
                    <a:lnTo>
                      <a:pt x="411" y="416"/>
                    </a:lnTo>
                    <a:lnTo>
                      <a:pt x="419" y="416"/>
                    </a:lnTo>
                    <a:lnTo>
                      <a:pt x="419" y="422"/>
                    </a:lnTo>
                    <a:lnTo>
                      <a:pt x="419" y="430"/>
                    </a:lnTo>
                    <a:lnTo>
                      <a:pt x="425" y="436"/>
                    </a:lnTo>
                    <a:lnTo>
                      <a:pt x="431" y="444"/>
                    </a:lnTo>
                    <a:lnTo>
                      <a:pt x="439" y="450"/>
                    </a:lnTo>
                    <a:lnTo>
                      <a:pt x="439" y="458"/>
                    </a:lnTo>
                    <a:lnTo>
                      <a:pt x="439" y="458"/>
                    </a:lnTo>
                    <a:lnTo>
                      <a:pt x="439" y="458"/>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5" name="Freeform 19"/>
              <p:cNvSpPr>
                <a:spLocks/>
              </p:cNvSpPr>
              <p:nvPr/>
            </p:nvSpPr>
            <p:spPr bwMode="gray">
              <a:xfrm>
                <a:off x="5840154" y="3435211"/>
                <a:ext cx="347740" cy="368382"/>
              </a:xfrm>
              <a:custGeom>
                <a:avLst/>
                <a:gdLst>
                  <a:gd name="T0" fmla="*/ 6 w 219"/>
                  <a:gd name="T1" fmla="*/ 34 h 232"/>
                  <a:gd name="T2" fmla="*/ 12 w 219"/>
                  <a:gd name="T3" fmla="*/ 54 h 232"/>
                  <a:gd name="T4" fmla="*/ 27 w 219"/>
                  <a:gd name="T5" fmla="*/ 68 h 232"/>
                  <a:gd name="T6" fmla="*/ 47 w 219"/>
                  <a:gd name="T7" fmla="*/ 76 h 232"/>
                  <a:gd name="T8" fmla="*/ 55 w 219"/>
                  <a:gd name="T9" fmla="*/ 90 h 232"/>
                  <a:gd name="T10" fmla="*/ 75 w 219"/>
                  <a:gd name="T11" fmla="*/ 96 h 232"/>
                  <a:gd name="T12" fmla="*/ 83 w 219"/>
                  <a:gd name="T13" fmla="*/ 116 h 232"/>
                  <a:gd name="T14" fmla="*/ 89 w 219"/>
                  <a:gd name="T15" fmla="*/ 144 h 232"/>
                  <a:gd name="T16" fmla="*/ 83 w 219"/>
                  <a:gd name="T17" fmla="*/ 164 h 232"/>
                  <a:gd name="T18" fmla="*/ 89 w 219"/>
                  <a:gd name="T19" fmla="*/ 178 h 232"/>
                  <a:gd name="T20" fmla="*/ 83 w 219"/>
                  <a:gd name="T21" fmla="*/ 192 h 232"/>
                  <a:gd name="T22" fmla="*/ 83 w 219"/>
                  <a:gd name="T23" fmla="*/ 218 h 232"/>
                  <a:gd name="T24" fmla="*/ 95 w 219"/>
                  <a:gd name="T25" fmla="*/ 226 h 232"/>
                  <a:gd name="T26" fmla="*/ 109 w 219"/>
                  <a:gd name="T27" fmla="*/ 232 h 232"/>
                  <a:gd name="T28" fmla="*/ 131 w 219"/>
                  <a:gd name="T29" fmla="*/ 232 h 232"/>
                  <a:gd name="T30" fmla="*/ 145 w 219"/>
                  <a:gd name="T31" fmla="*/ 218 h 232"/>
                  <a:gd name="T32" fmla="*/ 157 w 219"/>
                  <a:gd name="T33" fmla="*/ 218 h 232"/>
                  <a:gd name="T34" fmla="*/ 165 w 219"/>
                  <a:gd name="T35" fmla="*/ 226 h 232"/>
                  <a:gd name="T36" fmla="*/ 173 w 219"/>
                  <a:gd name="T37" fmla="*/ 212 h 232"/>
                  <a:gd name="T38" fmla="*/ 165 w 219"/>
                  <a:gd name="T39" fmla="*/ 198 h 232"/>
                  <a:gd name="T40" fmla="*/ 173 w 219"/>
                  <a:gd name="T41" fmla="*/ 184 h 232"/>
                  <a:gd name="T42" fmla="*/ 179 w 219"/>
                  <a:gd name="T43" fmla="*/ 192 h 232"/>
                  <a:gd name="T44" fmla="*/ 199 w 219"/>
                  <a:gd name="T45" fmla="*/ 184 h 232"/>
                  <a:gd name="T46" fmla="*/ 213 w 219"/>
                  <a:gd name="T47" fmla="*/ 178 h 232"/>
                  <a:gd name="T48" fmla="*/ 219 w 219"/>
                  <a:gd name="T49" fmla="*/ 164 h 232"/>
                  <a:gd name="T50" fmla="*/ 205 w 219"/>
                  <a:gd name="T51" fmla="*/ 156 h 232"/>
                  <a:gd name="T52" fmla="*/ 193 w 219"/>
                  <a:gd name="T53" fmla="*/ 144 h 232"/>
                  <a:gd name="T54" fmla="*/ 199 w 219"/>
                  <a:gd name="T55" fmla="*/ 138 h 232"/>
                  <a:gd name="T56" fmla="*/ 187 w 219"/>
                  <a:gd name="T57" fmla="*/ 124 h 232"/>
                  <a:gd name="T58" fmla="*/ 179 w 219"/>
                  <a:gd name="T59" fmla="*/ 110 h 232"/>
                  <a:gd name="T60" fmla="*/ 173 w 219"/>
                  <a:gd name="T61" fmla="*/ 104 h 232"/>
                  <a:gd name="T62" fmla="*/ 165 w 219"/>
                  <a:gd name="T63" fmla="*/ 90 h 232"/>
                  <a:gd name="T64" fmla="*/ 151 w 219"/>
                  <a:gd name="T65" fmla="*/ 76 h 232"/>
                  <a:gd name="T66" fmla="*/ 145 w 219"/>
                  <a:gd name="T67" fmla="*/ 68 h 232"/>
                  <a:gd name="T68" fmla="*/ 145 w 219"/>
                  <a:gd name="T69" fmla="*/ 42 h 232"/>
                  <a:gd name="T70" fmla="*/ 139 w 219"/>
                  <a:gd name="T71" fmla="*/ 34 h 232"/>
                  <a:gd name="T72" fmla="*/ 123 w 219"/>
                  <a:gd name="T73" fmla="*/ 20 h 232"/>
                  <a:gd name="T74" fmla="*/ 111 w 219"/>
                  <a:gd name="T75" fmla="*/ 20 h 232"/>
                  <a:gd name="T76" fmla="*/ 97 w 219"/>
                  <a:gd name="T77" fmla="*/ 14 h 232"/>
                  <a:gd name="T78" fmla="*/ 83 w 219"/>
                  <a:gd name="T79" fmla="*/ 14 h 232"/>
                  <a:gd name="T80" fmla="*/ 63 w 219"/>
                  <a:gd name="T81" fmla="*/ 6 h 232"/>
                  <a:gd name="T82" fmla="*/ 43 w 219"/>
                  <a:gd name="T83" fmla="*/ 0 h 232"/>
                  <a:gd name="T84" fmla="*/ 29 w 219"/>
                  <a:gd name="T85" fmla="*/ 14 h 232"/>
                  <a:gd name="T86" fmla="*/ 0 w 219"/>
                  <a:gd name="T87" fmla="*/ 20 h 232"/>
                  <a:gd name="T88" fmla="*/ 0 w 219"/>
                  <a:gd name="T89" fmla="*/ 2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9" h="232">
                    <a:moveTo>
                      <a:pt x="0" y="20"/>
                    </a:moveTo>
                    <a:lnTo>
                      <a:pt x="6" y="34"/>
                    </a:lnTo>
                    <a:lnTo>
                      <a:pt x="12" y="34"/>
                    </a:lnTo>
                    <a:lnTo>
                      <a:pt x="12" y="54"/>
                    </a:lnTo>
                    <a:lnTo>
                      <a:pt x="20" y="62"/>
                    </a:lnTo>
                    <a:lnTo>
                      <a:pt x="27" y="68"/>
                    </a:lnTo>
                    <a:lnTo>
                      <a:pt x="41" y="76"/>
                    </a:lnTo>
                    <a:lnTo>
                      <a:pt x="47" y="76"/>
                    </a:lnTo>
                    <a:lnTo>
                      <a:pt x="47" y="82"/>
                    </a:lnTo>
                    <a:lnTo>
                      <a:pt x="55" y="90"/>
                    </a:lnTo>
                    <a:lnTo>
                      <a:pt x="61" y="90"/>
                    </a:lnTo>
                    <a:lnTo>
                      <a:pt x="75" y="96"/>
                    </a:lnTo>
                    <a:lnTo>
                      <a:pt x="75" y="104"/>
                    </a:lnTo>
                    <a:lnTo>
                      <a:pt x="83" y="116"/>
                    </a:lnTo>
                    <a:lnTo>
                      <a:pt x="83" y="130"/>
                    </a:lnTo>
                    <a:lnTo>
                      <a:pt x="89" y="144"/>
                    </a:lnTo>
                    <a:lnTo>
                      <a:pt x="89" y="156"/>
                    </a:lnTo>
                    <a:lnTo>
                      <a:pt x="83" y="164"/>
                    </a:lnTo>
                    <a:lnTo>
                      <a:pt x="83" y="170"/>
                    </a:lnTo>
                    <a:lnTo>
                      <a:pt x="89" y="178"/>
                    </a:lnTo>
                    <a:lnTo>
                      <a:pt x="83" y="184"/>
                    </a:lnTo>
                    <a:lnTo>
                      <a:pt x="83" y="192"/>
                    </a:lnTo>
                    <a:lnTo>
                      <a:pt x="83" y="206"/>
                    </a:lnTo>
                    <a:lnTo>
                      <a:pt x="83" y="218"/>
                    </a:lnTo>
                    <a:lnTo>
                      <a:pt x="83" y="226"/>
                    </a:lnTo>
                    <a:lnTo>
                      <a:pt x="95" y="226"/>
                    </a:lnTo>
                    <a:lnTo>
                      <a:pt x="103" y="232"/>
                    </a:lnTo>
                    <a:lnTo>
                      <a:pt x="109" y="232"/>
                    </a:lnTo>
                    <a:lnTo>
                      <a:pt x="117" y="232"/>
                    </a:lnTo>
                    <a:lnTo>
                      <a:pt x="131" y="232"/>
                    </a:lnTo>
                    <a:lnTo>
                      <a:pt x="139" y="226"/>
                    </a:lnTo>
                    <a:lnTo>
                      <a:pt x="145" y="218"/>
                    </a:lnTo>
                    <a:lnTo>
                      <a:pt x="151" y="212"/>
                    </a:lnTo>
                    <a:lnTo>
                      <a:pt x="157" y="218"/>
                    </a:lnTo>
                    <a:lnTo>
                      <a:pt x="165" y="218"/>
                    </a:lnTo>
                    <a:lnTo>
                      <a:pt x="165" y="226"/>
                    </a:lnTo>
                    <a:lnTo>
                      <a:pt x="173" y="226"/>
                    </a:lnTo>
                    <a:lnTo>
                      <a:pt x="173" y="212"/>
                    </a:lnTo>
                    <a:lnTo>
                      <a:pt x="173" y="206"/>
                    </a:lnTo>
                    <a:lnTo>
                      <a:pt x="165" y="198"/>
                    </a:lnTo>
                    <a:lnTo>
                      <a:pt x="165" y="192"/>
                    </a:lnTo>
                    <a:lnTo>
                      <a:pt x="173" y="184"/>
                    </a:lnTo>
                    <a:lnTo>
                      <a:pt x="179" y="184"/>
                    </a:lnTo>
                    <a:lnTo>
                      <a:pt x="179" y="192"/>
                    </a:lnTo>
                    <a:lnTo>
                      <a:pt x="185" y="184"/>
                    </a:lnTo>
                    <a:lnTo>
                      <a:pt x="199" y="184"/>
                    </a:lnTo>
                    <a:lnTo>
                      <a:pt x="205" y="178"/>
                    </a:lnTo>
                    <a:lnTo>
                      <a:pt x="213" y="178"/>
                    </a:lnTo>
                    <a:lnTo>
                      <a:pt x="219" y="178"/>
                    </a:lnTo>
                    <a:lnTo>
                      <a:pt x="219" y="164"/>
                    </a:lnTo>
                    <a:lnTo>
                      <a:pt x="213" y="156"/>
                    </a:lnTo>
                    <a:lnTo>
                      <a:pt x="205" y="156"/>
                    </a:lnTo>
                    <a:lnTo>
                      <a:pt x="193" y="150"/>
                    </a:lnTo>
                    <a:lnTo>
                      <a:pt x="193" y="144"/>
                    </a:lnTo>
                    <a:lnTo>
                      <a:pt x="199" y="144"/>
                    </a:lnTo>
                    <a:lnTo>
                      <a:pt x="199" y="138"/>
                    </a:lnTo>
                    <a:lnTo>
                      <a:pt x="193" y="130"/>
                    </a:lnTo>
                    <a:lnTo>
                      <a:pt x="187" y="124"/>
                    </a:lnTo>
                    <a:lnTo>
                      <a:pt x="179" y="116"/>
                    </a:lnTo>
                    <a:lnTo>
                      <a:pt x="179" y="110"/>
                    </a:lnTo>
                    <a:lnTo>
                      <a:pt x="179" y="104"/>
                    </a:lnTo>
                    <a:lnTo>
                      <a:pt x="173" y="104"/>
                    </a:lnTo>
                    <a:lnTo>
                      <a:pt x="165" y="104"/>
                    </a:lnTo>
                    <a:lnTo>
                      <a:pt x="165" y="90"/>
                    </a:lnTo>
                    <a:lnTo>
                      <a:pt x="159" y="76"/>
                    </a:lnTo>
                    <a:lnTo>
                      <a:pt x="151" y="76"/>
                    </a:lnTo>
                    <a:lnTo>
                      <a:pt x="145" y="76"/>
                    </a:lnTo>
                    <a:lnTo>
                      <a:pt x="145" y="68"/>
                    </a:lnTo>
                    <a:lnTo>
                      <a:pt x="145" y="54"/>
                    </a:lnTo>
                    <a:lnTo>
                      <a:pt x="145" y="42"/>
                    </a:lnTo>
                    <a:lnTo>
                      <a:pt x="139" y="42"/>
                    </a:lnTo>
                    <a:lnTo>
                      <a:pt x="139" y="34"/>
                    </a:lnTo>
                    <a:lnTo>
                      <a:pt x="139" y="28"/>
                    </a:lnTo>
                    <a:lnTo>
                      <a:pt x="123" y="20"/>
                    </a:lnTo>
                    <a:lnTo>
                      <a:pt x="123" y="28"/>
                    </a:lnTo>
                    <a:lnTo>
                      <a:pt x="111" y="20"/>
                    </a:lnTo>
                    <a:lnTo>
                      <a:pt x="105" y="14"/>
                    </a:lnTo>
                    <a:lnTo>
                      <a:pt x="97" y="14"/>
                    </a:lnTo>
                    <a:lnTo>
                      <a:pt x="91" y="20"/>
                    </a:lnTo>
                    <a:lnTo>
                      <a:pt x="83" y="14"/>
                    </a:lnTo>
                    <a:lnTo>
                      <a:pt x="77" y="6"/>
                    </a:lnTo>
                    <a:lnTo>
                      <a:pt x="63" y="6"/>
                    </a:lnTo>
                    <a:lnTo>
                      <a:pt x="63" y="0"/>
                    </a:lnTo>
                    <a:lnTo>
                      <a:pt x="43" y="0"/>
                    </a:lnTo>
                    <a:lnTo>
                      <a:pt x="35" y="6"/>
                    </a:lnTo>
                    <a:lnTo>
                      <a:pt x="29" y="14"/>
                    </a:lnTo>
                    <a:lnTo>
                      <a:pt x="8" y="20"/>
                    </a:lnTo>
                    <a:lnTo>
                      <a:pt x="0" y="20"/>
                    </a:lnTo>
                    <a:lnTo>
                      <a:pt x="0" y="20"/>
                    </a:lnTo>
                    <a:lnTo>
                      <a:pt x="0" y="2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6" name="Freeform 20"/>
              <p:cNvSpPr>
                <a:spLocks/>
              </p:cNvSpPr>
              <p:nvPr/>
            </p:nvSpPr>
            <p:spPr bwMode="gray">
              <a:xfrm>
                <a:off x="7046922" y="3790890"/>
                <a:ext cx="666898" cy="238178"/>
              </a:xfrm>
              <a:custGeom>
                <a:avLst/>
                <a:gdLst>
                  <a:gd name="T0" fmla="*/ 226 w 420"/>
                  <a:gd name="T1" fmla="*/ 150 h 150"/>
                  <a:gd name="T2" fmla="*/ 220 w 420"/>
                  <a:gd name="T3" fmla="*/ 144 h 150"/>
                  <a:gd name="T4" fmla="*/ 212 w 420"/>
                  <a:gd name="T5" fmla="*/ 138 h 150"/>
                  <a:gd name="T6" fmla="*/ 192 w 420"/>
                  <a:gd name="T7" fmla="*/ 138 h 150"/>
                  <a:gd name="T8" fmla="*/ 178 w 420"/>
                  <a:gd name="T9" fmla="*/ 144 h 150"/>
                  <a:gd name="T10" fmla="*/ 144 w 420"/>
                  <a:gd name="T11" fmla="*/ 144 h 150"/>
                  <a:gd name="T12" fmla="*/ 138 w 420"/>
                  <a:gd name="T13" fmla="*/ 150 h 150"/>
                  <a:gd name="T14" fmla="*/ 130 w 420"/>
                  <a:gd name="T15" fmla="*/ 144 h 150"/>
                  <a:gd name="T16" fmla="*/ 138 w 420"/>
                  <a:gd name="T17" fmla="*/ 124 h 150"/>
                  <a:gd name="T18" fmla="*/ 144 w 420"/>
                  <a:gd name="T19" fmla="*/ 116 h 150"/>
                  <a:gd name="T20" fmla="*/ 124 w 420"/>
                  <a:gd name="T21" fmla="*/ 96 h 150"/>
                  <a:gd name="T22" fmla="*/ 110 w 420"/>
                  <a:gd name="T23" fmla="*/ 76 h 150"/>
                  <a:gd name="T24" fmla="*/ 104 w 420"/>
                  <a:gd name="T25" fmla="*/ 62 h 150"/>
                  <a:gd name="T26" fmla="*/ 84 w 420"/>
                  <a:gd name="T27" fmla="*/ 62 h 150"/>
                  <a:gd name="T28" fmla="*/ 68 w 420"/>
                  <a:gd name="T29" fmla="*/ 48 h 150"/>
                  <a:gd name="T30" fmla="*/ 54 w 420"/>
                  <a:gd name="T31" fmla="*/ 42 h 150"/>
                  <a:gd name="T32" fmla="*/ 42 w 420"/>
                  <a:gd name="T33" fmla="*/ 48 h 150"/>
                  <a:gd name="T34" fmla="*/ 28 w 420"/>
                  <a:gd name="T35" fmla="*/ 42 h 150"/>
                  <a:gd name="T36" fmla="*/ 0 w 420"/>
                  <a:gd name="T37" fmla="*/ 36 h 150"/>
                  <a:gd name="T38" fmla="*/ 8 w 420"/>
                  <a:gd name="T39" fmla="*/ 22 h 150"/>
                  <a:gd name="T40" fmla="*/ 28 w 420"/>
                  <a:gd name="T41" fmla="*/ 22 h 150"/>
                  <a:gd name="T42" fmla="*/ 42 w 420"/>
                  <a:gd name="T43" fmla="*/ 0 h 150"/>
                  <a:gd name="T44" fmla="*/ 70 w 420"/>
                  <a:gd name="T45" fmla="*/ 14 h 150"/>
                  <a:gd name="T46" fmla="*/ 104 w 420"/>
                  <a:gd name="T47" fmla="*/ 14 h 150"/>
                  <a:gd name="T48" fmla="*/ 118 w 420"/>
                  <a:gd name="T49" fmla="*/ 22 h 150"/>
                  <a:gd name="T50" fmla="*/ 144 w 420"/>
                  <a:gd name="T51" fmla="*/ 22 h 150"/>
                  <a:gd name="T52" fmla="*/ 172 w 420"/>
                  <a:gd name="T53" fmla="*/ 14 h 150"/>
                  <a:gd name="T54" fmla="*/ 200 w 420"/>
                  <a:gd name="T55" fmla="*/ 22 h 150"/>
                  <a:gd name="T56" fmla="*/ 220 w 420"/>
                  <a:gd name="T57" fmla="*/ 22 h 150"/>
                  <a:gd name="T58" fmla="*/ 220 w 420"/>
                  <a:gd name="T59" fmla="*/ 36 h 150"/>
                  <a:gd name="T60" fmla="*/ 248 w 420"/>
                  <a:gd name="T61" fmla="*/ 36 h 150"/>
                  <a:gd name="T62" fmla="*/ 268 w 420"/>
                  <a:gd name="T63" fmla="*/ 22 h 150"/>
                  <a:gd name="T64" fmla="*/ 288 w 420"/>
                  <a:gd name="T65" fmla="*/ 28 h 150"/>
                  <a:gd name="T66" fmla="*/ 296 w 420"/>
                  <a:gd name="T67" fmla="*/ 14 h 150"/>
                  <a:gd name="T68" fmla="*/ 308 w 420"/>
                  <a:gd name="T69" fmla="*/ 14 h 150"/>
                  <a:gd name="T70" fmla="*/ 324 w 420"/>
                  <a:gd name="T71" fmla="*/ 22 h 150"/>
                  <a:gd name="T72" fmla="*/ 336 w 420"/>
                  <a:gd name="T73" fmla="*/ 14 h 150"/>
                  <a:gd name="T74" fmla="*/ 350 w 420"/>
                  <a:gd name="T75" fmla="*/ 28 h 150"/>
                  <a:gd name="T76" fmla="*/ 358 w 420"/>
                  <a:gd name="T77" fmla="*/ 42 h 150"/>
                  <a:gd name="T78" fmla="*/ 378 w 420"/>
                  <a:gd name="T79" fmla="*/ 36 h 150"/>
                  <a:gd name="T80" fmla="*/ 392 w 420"/>
                  <a:gd name="T81" fmla="*/ 42 h 150"/>
                  <a:gd name="T82" fmla="*/ 392 w 420"/>
                  <a:gd name="T83" fmla="*/ 62 h 150"/>
                  <a:gd name="T84" fmla="*/ 420 w 420"/>
                  <a:gd name="T85" fmla="*/ 76 h 150"/>
                  <a:gd name="T86" fmla="*/ 420 w 420"/>
                  <a:gd name="T87" fmla="*/ 96 h 150"/>
                  <a:gd name="T88" fmla="*/ 392 w 420"/>
                  <a:gd name="T89" fmla="*/ 96 h 150"/>
                  <a:gd name="T90" fmla="*/ 378 w 420"/>
                  <a:gd name="T91" fmla="*/ 96 h 150"/>
                  <a:gd name="T92" fmla="*/ 350 w 420"/>
                  <a:gd name="T93" fmla="*/ 82 h 150"/>
                  <a:gd name="T94" fmla="*/ 336 w 420"/>
                  <a:gd name="T95" fmla="*/ 102 h 150"/>
                  <a:gd name="T96" fmla="*/ 330 w 420"/>
                  <a:gd name="T97" fmla="*/ 110 h 150"/>
                  <a:gd name="T98" fmla="*/ 324 w 420"/>
                  <a:gd name="T99" fmla="*/ 116 h 150"/>
                  <a:gd name="T100" fmla="*/ 308 w 420"/>
                  <a:gd name="T101" fmla="*/ 124 h 150"/>
                  <a:gd name="T102" fmla="*/ 288 w 420"/>
                  <a:gd name="T103" fmla="*/ 124 h 150"/>
                  <a:gd name="T104" fmla="*/ 262 w 420"/>
                  <a:gd name="T105" fmla="*/ 138 h 150"/>
                  <a:gd name="T106" fmla="*/ 240 w 420"/>
                  <a:gd name="T107" fmla="*/ 150 h 150"/>
                  <a:gd name="T108" fmla="*/ 240 w 420"/>
                  <a:gd name="T10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20" h="150">
                    <a:moveTo>
                      <a:pt x="240" y="150"/>
                    </a:moveTo>
                    <a:lnTo>
                      <a:pt x="226" y="150"/>
                    </a:lnTo>
                    <a:lnTo>
                      <a:pt x="220" y="150"/>
                    </a:lnTo>
                    <a:lnTo>
                      <a:pt x="220" y="144"/>
                    </a:lnTo>
                    <a:lnTo>
                      <a:pt x="220" y="138"/>
                    </a:lnTo>
                    <a:lnTo>
                      <a:pt x="212" y="138"/>
                    </a:lnTo>
                    <a:lnTo>
                      <a:pt x="198" y="130"/>
                    </a:lnTo>
                    <a:lnTo>
                      <a:pt x="192" y="138"/>
                    </a:lnTo>
                    <a:lnTo>
                      <a:pt x="186" y="138"/>
                    </a:lnTo>
                    <a:lnTo>
                      <a:pt x="178" y="144"/>
                    </a:lnTo>
                    <a:lnTo>
                      <a:pt x="152" y="144"/>
                    </a:lnTo>
                    <a:lnTo>
                      <a:pt x="144" y="144"/>
                    </a:lnTo>
                    <a:lnTo>
                      <a:pt x="138" y="144"/>
                    </a:lnTo>
                    <a:lnTo>
                      <a:pt x="138" y="150"/>
                    </a:lnTo>
                    <a:lnTo>
                      <a:pt x="130" y="150"/>
                    </a:lnTo>
                    <a:lnTo>
                      <a:pt x="130" y="144"/>
                    </a:lnTo>
                    <a:lnTo>
                      <a:pt x="130" y="138"/>
                    </a:lnTo>
                    <a:lnTo>
                      <a:pt x="138" y="124"/>
                    </a:lnTo>
                    <a:lnTo>
                      <a:pt x="144" y="124"/>
                    </a:lnTo>
                    <a:lnTo>
                      <a:pt x="144" y="116"/>
                    </a:lnTo>
                    <a:lnTo>
                      <a:pt x="138" y="110"/>
                    </a:lnTo>
                    <a:lnTo>
                      <a:pt x="124" y="96"/>
                    </a:lnTo>
                    <a:lnTo>
                      <a:pt x="118" y="88"/>
                    </a:lnTo>
                    <a:lnTo>
                      <a:pt x="110" y="76"/>
                    </a:lnTo>
                    <a:lnTo>
                      <a:pt x="110" y="70"/>
                    </a:lnTo>
                    <a:lnTo>
                      <a:pt x="104" y="62"/>
                    </a:lnTo>
                    <a:lnTo>
                      <a:pt x="90" y="62"/>
                    </a:lnTo>
                    <a:lnTo>
                      <a:pt x="84" y="62"/>
                    </a:lnTo>
                    <a:lnTo>
                      <a:pt x="84" y="48"/>
                    </a:lnTo>
                    <a:lnTo>
                      <a:pt x="68" y="48"/>
                    </a:lnTo>
                    <a:lnTo>
                      <a:pt x="62" y="42"/>
                    </a:lnTo>
                    <a:lnTo>
                      <a:pt x="54" y="42"/>
                    </a:lnTo>
                    <a:lnTo>
                      <a:pt x="48" y="48"/>
                    </a:lnTo>
                    <a:lnTo>
                      <a:pt x="42" y="48"/>
                    </a:lnTo>
                    <a:lnTo>
                      <a:pt x="34" y="42"/>
                    </a:lnTo>
                    <a:lnTo>
                      <a:pt x="28" y="42"/>
                    </a:lnTo>
                    <a:lnTo>
                      <a:pt x="20" y="42"/>
                    </a:lnTo>
                    <a:lnTo>
                      <a:pt x="0" y="36"/>
                    </a:lnTo>
                    <a:lnTo>
                      <a:pt x="0" y="36"/>
                    </a:lnTo>
                    <a:lnTo>
                      <a:pt x="8" y="22"/>
                    </a:lnTo>
                    <a:lnTo>
                      <a:pt x="14" y="22"/>
                    </a:lnTo>
                    <a:lnTo>
                      <a:pt x="28" y="22"/>
                    </a:lnTo>
                    <a:lnTo>
                      <a:pt x="36" y="14"/>
                    </a:lnTo>
                    <a:lnTo>
                      <a:pt x="42" y="0"/>
                    </a:lnTo>
                    <a:lnTo>
                      <a:pt x="56" y="8"/>
                    </a:lnTo>
                    <a:lnTo>
                      <a:pt x="70" y="14"/>
                    </a:lnTo>
                    <a:lnTo>
                      <a:pt x="76" y="14"/>
                    </a:lnTo>
                    <a:lnTo>
                      <a:pt x="104" y="14"/>
                    </a:lnTo>
                    <a:lnTo>
                      <a:pt x="110" y="22"/>
                    </a:lnTo>
                    <a:lnTo>
                      <a:pt x="118" y="22"/>
                    </a:lnTo>
                    <a:lnTo>
                      <a:pt x="132" y="22"/>
                    </a:lnTo>
                    <a:lnTo>
                      <a:pt x="144" y="22"/>
                    </a:lnTo>
                    <a:lnTo>
                      <a:pt x="166" y="14"/>
                    </a:lnTo>
                    <a:lnTo>
                      <a:pt x="172" y="14"/>
                    </a:lnTo>
                    <a:lnTo>
                      <a:pt x="180" y="22"/>
                    </a:lnTo>
                    <a:lnTo>
                      <a:pt x="200" y="22"/>
                    </a:lnTo>
                    <a:lnTo>
                      <a:pt x="214" y="22"/>
                    </a:lnTo>
                    <a:lnTo>
                      <a:pt x="220" y="22"/>
                    </a:lnTo>
                    <a:lnTo>
                      <a:pt x="228" y="28"/>
                    </a:lnTo>
                    <a:lnTo>
                      <a:pt x="220" y="36"/>
                    </a:lnTo>
                    <a:lnTo>
                      <a:pt x="234" y="36"/>
                    </a:lnTo>
                    <a:lnTo>
                      <a:pt x="248" y="36"/>
                    </a:lnTo>
                    <a:lnTo>
                      <a:pt x="254" y="28"/>
                    </a:lnTo>
                    <a:lnTo>
                      <a:pt x="268" y="22"/>
                    </a:lnTo>
                    <a:lnTo>
                      <a:pt x="282" y="28"/>
                    </a:lnTo>
                    <a:lnTo>
                      <a:pt x="288" y="28"/>
                    </a:lnTo>
                    <a:lnTo>
                      <a:pt x="296" y="22"/>
                    </a:lnTo>
                    <a:lnTo>
                      <a:pt x="296" y="14"/>
                    </a:lnTo>
                    <a:lnTo>
                      <a:pt x="302" y="14"/>
                    </a:lnTo>
                    <a:lnTo>
                      <a:pt x="308" y="14"/>
                    </a:lnTo>
                    <a:lnTo>
                      <a:pt x="308" y="28"/>
                    </a:lnTo>
                    <a:lnTo>
                      <a:pt x="324" y="22"/>
                    </a:lnTo>
                    <a:lnTo>
                      <a:pt x="324" y="14"/>
                    </a:lnTo>
                    <a:lnTo>
                      <a:pt x="336" y="14"/>
                    </a:lnTo>
                    <a:lnTo>
                      <a:pt x="350" y="22"/>
                    </a:lnTo>
                    <a:lnTo>
                      <a:pt x="350" y="28"/>
                    </a:lnTo>
                    <a:lnTo>
                      <a:pt x="350" y="36"/>
                    </a:lnTo>
                    <a:lnTo>
                      <a:pt x="358" y="42"/>
                    </a:lnTo>
                    <a:lnTo>
                      <a:pt x="370" y="36"/>
                    </a:lnTo>
                    <a:lnTo>
                      <a:pt x="378" y="36"/>
                    </a:lnTo>
                    <a:lnTo>
                      <a:pt x="398" y="42"/>
                    </a:lnTo>
                    <a:lnTo>
                      <a:pt x="392" y="42"/>
                    </a:lnTo>
                    <a:lnTo>
                      <a:pt x="392" y="56"/>
                    </a:lnTo>
                    <a:lnTo>
                      <a:pt x="392" y="62"/>
                    </a:lnTo>
                    <a:lnTo>
                      <a:pt x="412" y="70"/>
                    </a:lnTo>
                    <a:lnTo>
                      <a:pt x="420" y="76"/>
                    </a:lnTo>
                    <a:lnTo>
                      <a:pt x="420" y="82"/>
                    </a:lnTo>
                    <a:lnTo>
                      <a:pt x="420" y="96"/>
                    </a:lnTo>
                    <a:lnTo>
                      <a:pt x="412" y="96"/>
                    </a:lnTo>
                    <a:lnTo>
                      <a:pt x="392" y="96"/>
                    </a:lnTo>
                    <a:lnTo>
                      <a:pt x="392" y="102"/>
                    </a:lnTo>
                    <a:lnTo>
                      <a:pt x="378" y="96"/>
                    </a:lnTo>
                    <a:lnTo>
                      <a:pt x="364" y="96"/>
                    </a:lnTo>
                    <a:lnTo>
                      <a:pt x="350" y="82"/>
                    </a:lnTo>
                    <a:lnTo>
                      <a:pt x="344" y="88"/>
                    </a:lnTo>
                    <a:lnTo>
                      <a:pt x="336" y="102"/>
                    </a:lnTo>
                    <a:lnTo>
                      <a:pt x="330" y="102"/>
                    </a:lnTo>
                    <a:lnTo>
                      <a:pt x="330" y="110"/>
                    </a:lnTo>
                    <a:lnTo>
                      <a:pt x="330" y="116"/>
                    </a:lnTo>
                    <a:lnTo>
                      <a:pt x="324" y="116"/>
                    </a:lnTo>
                    <a:lnTo>
                      <a:pt x="308" y="116"/>
                    </a:lnTo>
                    <a:lnTo>
                      <a:pt x="308" y="124"/>
                    </a:lnTo>
                    <a:lnTo>
                      <a:pt x="302" y="124"/>
                    </a:lnTo>
                    <a:lnTo>
                      <a:pt x="288" y="124"/>
                    </a:lnTo>
                    <a:lnTo>
                      <a:pt x="274" y="130"/>
                    </a:lnTo>
                    <a:lnTo>
                      <a:pt x="262" y="138"/>
                    </a:lnTo>
                    <a:lnTo>
                      <a:pt x="240" y="150"/>
                    </a:lnTo>
                    <a:lnTo>
                      <a:pt x="240" y="150"/>
                    </a:lnTo>
                    <a:lnTo>
                      <a:pt x="240" y="150"/>
                    </a:lnTo>
                    <a:lnTo>
                      <a:pt x="240" y="15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7" name="Freeform 21"/>
              <p:cNvSpPr>
                <a:spLocks/>
              </p:cNvSpPr>
              <p:nvPr>
                <p:custDataLst>
                  <p:tags r:id="rId128"/>
                </p:custDataLst>
              </p:nvPr>
            </p:nvSpPr>
            <p:spPr bwMode="gray">
              <a:xfrm>
                <a:off x="2631104" y="3600348"/>
                <a:ext cx="1132139" cy="952711"/>
              </a:xfrm>
              <a:custGeom>
                <a:avLst/>
                <a:gdLst>
                  <a:gd name="T0" fmla="*/ 415 w 713"/>
                  <a:gd name="T1" fmla="*/ 124 h 600"/>
                  <a:gd name="T2" fmla="*/ 373 w 713"/>
                  <a:gd name="T3" fmla="*/ 110 h 600"/>
                  <a:gd name="T4" fmla="*/ 325 w 713"/>
                  <a:gd name="T5" fmla="*/ 90 h 600"/>
                  <a:gd name="T6" fmla="*/ 291 w 713"/>
                  <a:gd name="T7" fmla="*/ 76 h 600"/>
                  <a:gd name="T8" fmla="*/ 241 w 713"/>
                  <a:gd name="T9" fmla="*/ 54 h 600"/>
                  <a:gd name="T10" fmla="*/ 201 w 713"/>
                  <a:gd name="T11" fmla="*/ 40 h 600"/>
                  <a:gd name="T12" fmla="*/ 158 w 713"/>
                  <a:gd name="T13" fmla="*/ 14 h 600"/>
                  <a:gd name="T14" fmla="*/ 130 w 713"/>
                  <a:gd name="T15" fmla="*/ 0 h 600"/>
                  <a:gd name="T16" fmla="*/ 116 w 713"/>
                  <a:gd name="T17" fmla="*/ 14 h 600"/>
                  <a:gd name="T18" fmla="*/ 88 w 713"/>
                  <a:gd name="T19" fmla="*/ 14 h 600"/>
                  <a:gd name="T20" fmla="*/ 54 w 713"/>
                  <a:gd name="T21" fmla="*/ 20 h 600"/>
                  <a:gd name="T22" fmla="*/ 62 w 713"/>
                  <a:gd name="T23" fmla="*/ 40 h 600"/>
                  <a:gd name="T24" fmla="*/ 54 w 713"/>
                  <a:gd name="T25" fmla="*/ 48 h 600"/>
                  <a:gd name="T26" fmla="*/ 54 w 713"/>
                  <a:gd name="T27" fmla="*/ 76 h 600"/>
                  <a:gd name="T28" fmla="*/ 40 w 713"/>
                  <a:gd name="T29" fmla="*/ 90 h 600"/>
                  <a:gd name="T30" fmla="*/ 76 w 713"/>
                  <a:gd name="T31" fmla="*/ 102 h 600"/>
                  <a:gd name="T32" fmla="*/ 88 w 713"/>
                  <a:gd name="T33" fmla="*/ 124 h 600"/>
                  <a:gd name="T34" fmla="*/ 124 w 713"/>
                  <a:gd name="T35" fmla="*/ 138 h 600"/>
                  <a:gd name="T36" fmla="*/ 144 w 713"/>
                  <a:gd name="T37" fmla="*/ 144 h 600"/>
                  <a:gd name="T38" fmla="*/ 158 w 713"/>
                  <a:gd name="T39" fmla="*/ 164 h 600"/>
                  <a:gd name="T40" fmla="*/ 164 w 713"/>
                  <a:gd name="T41" fmla="*/ 186 h 600"/>
                  <a:gd name="T42" fmla="*/ 144 w 713"/>
                  <a:gd name="T43" fmla="*/ 198 h 600"/>
                  <a:gd name="T44" fmla="*/ 124 w 713"/>
                  <a:gd name="T45" fmla="*/ 220 h 600"/>
                  <a:gd name="T46" fmla="*/ 110 w 713"/>
                  <a:gd name="T47" fmla="*/ 254 h 600"/>
                  <a:gd name="T48" fmla="*/ 96 w 713"/>
                  <a:gd name="T49" fmla="*/ 274 h 600"/>
                  <a:gd name="T50" fmla="*/ 68 w 713"/>
                  <a:gd name="T51" fmla="*/ 310 h 600"/>
                  <a:gd name="T52" fmla="*/ 62 w 713"/>
                  <a:gd name="T53" fmla="*/ 336 h 600"/>
                  <a:gd name="T54" fmla="*/ 48 w 713"/>
                  <a:gd name="T55" fmla="*/ 372 h 600"/>
                  <a:gd name="T56" fmla="*/ 34 w 713"/>
                  <a:gd name="T57" fmla="*/ 400 h 600"/>
                  <a:gd name="T58" fmla="*/ 26 w 713"/>
                  <a:gd name="T59" fmla="*/ 420 h 600"/>
                  <a:gd name="T60" fmla="*/ 6 w 713"/>
                  <a:gd name="T61" fmla="*/ 434 h 600"/>
                  <a:gd name="T62" fmla="*/ 12 w 713"/>
                  <a:gd name="T63" fmla="*/ 468 h 600"/>
                  <a:gd name="T64" fmla="*/ 48 w 713"/>
                  <a:gd name="T65" fmla="*/ 502 h 600"/>
                  <a:gd name="T66" fmla="*/ 62 w 713"/>
                  <a:gd name="T67" fmla="*/ 522 h 600"/>
                  <a:gd name="T68" fmla="*/ 48 w 713"/>
                  <a:gd name="T69" fmla="*/ 564 h 600"/>
                  <a:gd name="T70" fmla="*/ 82 w 713"/>
                  <a:gd name="T71" fmla="*/ 584 h 600"/>
                  <a:gd name="T72" fmla="*/ 124 w 713"/>
                  <a:gd name="T73" fmla="*/ 564 h 600"/>
                  <a:gd name="T74" fmla="*/ 178 w 713"/>
                  <a:gd name="T75" fmla="*/ 564 h 600"/>
                  <a:gd name="T76" fmla="*/ 241 w 713"/>
                  <a:gd name="T77" fmla="*/ 584 h 600"/>
                  <a:gd name="T78" fmla="*/ 291 w 713"/>
                  <a:gd name="T79" fmla="*/ 592 h 600"/>
                  <a:gd name="T80" fmla="*/ 311 w 713"/>
                  <a:gd name="T81" fmla="*/ 584 h 600"/>
                  <a:gd name="T82" fmla="*/ 345 w 713"/>
                  <a:gd name="T83" fmla="*/ 558 h 600"/>
                  <a:gd name="T84" fmla="*/ 401 w 713"/>
                  <a:gd name="T85" fmla="*/ 550 h 600"/>
                  <a:gd name="T86" fmla="*/ 421 w 713"/>
                  <a:gd name="T87" fmla="*/ 516 h 600"/>
                  <a:gd name="T88" fmla="*/ 463 w 713"/>
                  <a:gd name="T89" fmla="*/ 488 h 600"/>
                  <a:gd name="T90" fmla="*/ 455 w 713"/>
                  <a:gd name="T91" fmla="*/ 448 h 600"/>
                  <a:gd name="T92" fmla="*/ 497 w 713"/>
                  <a:gd name="T93" fmla="*/ 400 h 600"/>
                  <a:gd name="T94" fmla="*/ 547 w 713"/>
                  <a:gd name="T95" fmla="*/ 364 h 600"/>
                  <a:gd name="T96" fmla="*/ 553 w 713"/>
                  <a:gd name="T97" fmla="*/ 352 h 600"/>
                  <a:gd name="T98" fmla="*/ 609 w 713"/>
                  <a:gd name="T99" fmla="*/ 344 h 600"/>
                  <a:gd name="T100" fmla="*/ 651 w 713"/>
                  <a:gd name="T101" fmla="*/ 336 h 600"/>
                  <a:gd name="T102" fmla="*/ 691 w 713"/>
                  <a:gd name="T103" fmla="*/ 324 h 600"/>
                  <a:gd name="T104" fmla="*/ 713 w 713"/>
                  <a:gd name="T105" fmla="*/ 288 h 600"/>
                  <a:gd name="T106" fmla="*/ 691 w 713"/>
                  <a:gd name="T107" fmla="*/ 268 h 600"/>
                  <a:gd name="T108" fmla="*/ 651 w 713"/>
                  <a:gd name="T109" fmla="*/ 262 h 600"/>
                  <a:gd name="T110" fmla="*/ 615 w 713"/>
                  <a:gd name="T111" fmla="*/ 248 h 600"/>
                  <a:gd name="T112" fmla="*/ 587 w 713"/>
                  <a:gd name="T113" fmla="*/ 228 h 600"/>
                  <a:gd name="T114" fmla="*/ 547 w 713"/>
                  <a:gd name="T115" fmla="*/ 214 h 600"/>
                  <a:gd name="T116" fmla="*/ 497 w 713"/>
                  <a:gd name="T117" fmla="*/ 178 h 600"/>
                  <a:gd name="T118" fmla="*/ 471 w 713"/>
                  <a:gd name="T119" fmla="*/ 158 h 600"/>
                  <a:gd name="T120" fmla="*/ 455 w 713"/>
                  <a:gd name="T121" fmla="*/ 13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3" h="600">
                    <a:moveTo>
                      <a:pt x="455" y="138"/>
                    </a:moveTo>
                    <a:lnTo>
                      <a:pt x="449" y="138"/>
                    </a:lnTo>
                    <a:lnTo>
                      <a:pt x="443" y="130"/>
                    </a:lnTo>
                    <a:lnTo>
                      <a:pt x="429" y="130"/>
                    </a:lnTo>
                    <a:lnTo>
                      <a:pt x="415" y="124"/>
                    </a:lnTo>
                    <a:lnTo>
                      <a:pt x="407" y="116"/>
                    </a:lnTo>
                    <a:lnTo>
                      <a:pt x="401" y="116"/>
                    </a:lnTo>
                    <a:lnTo>
                      <a:pt x="393" y="116"/>
                    </a:lnTo>
                    <a:lnTo>
                      <a:pt x="381" y="116"/>
                    </a:lnTo>
                    <a:lnTo>
                      <a:pt x="373" y="110"/>
                    </a:lnTo>
                    <a:lnTo>
                      <a:pt x="367" y="96"/>
                    </a:lnTo>
                    <a:lnTo>
                      <a:pt x="353" y="96"/>
                    </a:lnTo>
                    <a:lnTo>
                      <a:pt x="345" y="90"/>
                    </a:lnTo>
                    <a:lnTo>
                      <a:pt x="339" y="90"/>
                    </a:lnTo>
                    <a:lnTo>
                      <a:pt x="325" y="90"/>
                    </a:lnTo>
                    <a:lnTo>
                      <a:pt x="317" y="90"/>
                    </a:lnTo>
                    <a:lnTo>
                      <a:pt x="311" y="82"/>
                    </a:lnTo>
                    <a:lnTo>
                      <a:pt x="303" y="82"/>
                    </a:lnTo>
                    <a:lnTo>
                      <a:pt x="297" y="82"/>
                    </a:lnTo>
                    <a:lnTo>
                      <a:pt x="291" y="76"/>
                    </a:lnTo>
                    <a:lnTo>
                      <a:pt x="283" y="68"/>
                    </a:lnTo>
                    <a:lnTo>
                      <a:pt x="277" y="68"/>
                    </a:lnTo>
                    <a:lnTo>
                      <a:pt x="263" y="62"/>
                    </a:lnTo>
                    <a:lnTo>
                      <a:pt x="255" y="62"/>
                    </a:lnTo>
                    <a:lnTo>
                      <a:pt x="241" y="54"/>
                    </a:lnTo>
                    <a:lnTo>
                      <a:pt x="241" y="48"/>
                    </a:lnTo>
                    <a:lnTo>
                      <a:pt x="229" y="48"/>
                    </a:lnTo>
                    <a:lnTo>
                      <a:pt x="221" y="40"/>
                    </a:lnTo>
                    <a:lnTo>
                      <a:pt x="215" y="40"/>
                    </a:lnTo>
                    <a:lnTo>
                      <a:pt x="201" y="40"/>
                    </a:lnTo>
                    <a:lnTo>
                      <a:pt x="193" y="34"/>
                    </a:lnTo>
                    <a:lnTo>
                      <a:pt x="186" y="28"/>
                    </a:lnTo>
                    <a:lnTo>
                      <a:pt x="172" y="34"/>
                    </a:lnTo>
                    <a:lnTo>
                      <a:pt x="164" y="20"/>
                    </a:lnTo>
                    <a:lnTo>
                      <a:pt x="158" y="14"/>
                    </a:lnTo>
                    <a:lnTo>
                      <a:pt x="158" y="6"/>
                    </a:lnTo>
                    <a:lnTo>
                      <a:pt x="158" y="0"/>
                    </a:lnTo>
                    <a:lnTo>
                      <a:pt x="144" y="6"/>
                    </a:lnTo>
                    <a:lnTo>
                      <a:pt x="138" y="6"/>
                    </a:lnTo>
                    <a:lnTo>
                      <a:pt x="130" y="0"/>
                    </a:lnTo>
                    <a:lnTo>
                      <a:pt x="130" y="6"/>
                    </a:lnTo>
                    <a:lnTo>
                      <a:pt x="124" y="6"/>
                    </a:lnTo>
                    <a:lnTo>
                      <a:pt x="116" y="6"/>
                    </a:lnTo>
                    <a:lnTo>
                      <a:pt x="110" y="6"/>
                    </a:lnTo>
                    <a:lnTo>
                      <a:pt x="116" y="14"/>
                    </a:lnTo>
                    <a:lnTo>
                      <a:pt x="110" y="20"/>
                    </a:lnTo>
                    <a:lnTo>
                      <a:pt x="102" y="28"/>
                    </a:lnTo>
                    <a:lnTo>
                      <a:pt x="102" y="20"/>
                    </a:lnTo>
                    <a:lnTo>
                      <a:pt x="96" y="14"/>
                    </a:lnTo>
                    <a:lnTo>
                      <a:pt x="88" y="14"/>
                    </a:lnTo>
                    <a:lnTo>
                      <a:pt x="82" y="14"/>
                    </a:lnTo>
                    <a:lnTo>
                      <a:pt x="76" y="6"/>
                    </a:lnTo>
                    <a:lnTo>
                      <a:pt x="68" y="20"/>
                    </a:lnTo>
                    <a:lnTo>
                      <a:pt x="62" y="14"/>
                    </a:lnTo>
                    <a:lnTo>
                      <a:pt x="54" y="20"/>
                    </a:lnTo>
                    <a:lnTo>
                      <a:pt x="48" y="28"/>
                    </a:lnTo>
                    <a:lnTo>
                      <a:pt x="54" y="34"/>
                    </a:lnTo>
                    <a:lnTo>
                      <a:pt x="54" y="40"/>
                    </a:lnTo>
                    <a:lnTo>
                      <a:pt x="62" y="34"/>
                    </a:lnTo>
                    <a:lnTo>
                      <a:pt x="62" y="40"/>
                    </a:lnTo>
                    <a:lnTo>
                      <a:pt x="54" y="48"/>
                    </a:lnTo>
                    <a:lnTo>
                      <a:pt x="48" y="48"/>
                    </a:lnTo>
                    <a:lnTo>
                      <a:pt x="48" y="54"/>
                    </a:lnTo>
                    <a:lnTo>
                      <a:pt x="54" y="54"/>
                    </a:lnTo>
                    <a:lnTo>
                      <a:pt x="54" y="48"/>
                    </a:lnTo>
                    <a:lnTo>
                      <a:pt x="68" y="48"/>
                    </a:lnTo>
                    <a:lnTo>
                      <a:pt x="68" y="54"/>
                    </a:lnTo>
                    <a:lnTo>
                      <a:pt x="62" y="62"/>
                    </a:lnTo>
                    <a:lnTo>
                      <a:pt x="62" y="68"/>
                    </a:lnTo>
                    <a:lnTo>
                      <a:pt x="54" y="76"/>
                    </a:lnTo>
                    <a:lnTo>
                      <a:pt x="62" y="76"/>
                    </a:lnTo>
                    <a:lnTo>
                      <a:pt x="62" y="82"/>
                    </a:lnTo>
                    <a:lnTo>
                      <a:pt x="54" y="90"/>
                    </a:lnTo>
                    <a:lnTo>
                      <a:pt x="48" y="82"/>
                    </a:lnTo>
                    <a:lnTo>
                      <a:pt x="40" y="90"/>
                    </a:lnTo>
                    <a:lnTo>
                      <a:pt x="40" y="102"/>
                    </a:lnTo>
                    <a:lnTo>
                      <a:pt x="54" y="102"/>
                    </a:lnTo>
                    <a:lnTo>
                      <a:pt x="62" y="102"/>
                    </a:lnTo>
                    <a:lnTo>
                      <a:pt x="62" y="96"/>
                    </a:lnTo>
                    <a:lnTo>
                      <a:pt x="76" y="102"/>
                    </a:lnTo>
                    <a:lnTo>
                      <a:pt x="82" y="102"/>
                    </a:lnTo>
                    <a:lnTo>
                      <a:pt x="82" y="110"/>
                    </a:lnTo>
                    <a:lnTo>
                      <a:pt x="82" y="116"/>
                    </a:lnTo>
                    <a:lnTo>
                      <a:pt x="82" y="124"/>
                    </a:lnTo>
                    <a:lnTo>
                      <a:pt x="88" y="124"/>
                    </a:lnTo>
                    <a:lnTo>
                      <a:pt x="96" y="124"/>
                    </a:lnTo>
                    <a:lnTo>
                      <a:pt x="102" y="124"/>
                    </a:lnTo>
                    <a:lnTo>
                      <a:pt x="110" y="130"/>
                    </a:lnTo>
                    <a:lnTo>
                      <a:pt x="116" y="130"/>
                    </a:lnTo>
                    <a:lnTo>
                      <a:pt x="124" y="138"/>
                    </a:lnTo>
                    <a:lnTo>
                      <a:pt x="130" y="144"/>
                    </a:lnTo>
                    <a:lnTo>
                      <a:pt x="130" y="138"/>
                    </a:lnTo>
                    <a:lnTo>
                      <a:pt x="138" y="138"/>
                    </a:lnTo>
                    <a:lnTo>
                      <a:pt x="144" y="138"/>
                    </a:lnTo>
                    <a:lnTo>
                      <a:pt x="144" y="144"/>
                    </a:lnTo>
                    <a:lnTo>
                      <a:pt x="152" y="144"/>
                    </a:lnTo>
                    <a:lnTo>
                      <a:pt x="158" y="144"/>
                    </a:lnTo>
                    <a:lnTo>
                      <a:pt x="164" y="152"/>
                    </a:lnTo>
                    <a:lnTo>
                      <a:pt x="158" y="158"/>
                    </a:lnTo>
                    <a:lnTo>
                      <a:pt x="158" y="164"/>
                    </a:lnTo>
                    <a:lnTo>
                      <a:pt x="158" y="172"/>
                    </a:lnTo>
                    <a:lnTo>
                      <a:pt x="164" y="172"/>
                    </a:lnTo>
                    <a:lnTo>
                      <a:pt x="172" y="178"/>
                    </a:lnTo>
                    <a:lnTo>
                      <a:pt x="172" y="186"/>
                    </a:lnTo>
                    <a:lnTo>
                      <a:pt x="164" y="186"/>
                    </a:lnTo>
                    <a:lnTo>
                      <a:pt x="164" y="192"/>
                    </a:lnTo>
                    <a:lnTo>
                      <a:pt x="158" y="192"/>
                    </a:lnTo>
                    <a:lnTo>
                      <a:pt x="152" y="192"/>
                    </a:lnTo>
                    <a:lnTo>
                      <a:pt x="152" y="198"/>
                    </a:lnTo>
                    <a:lnTo>
                      <a:pt x="144" y="198"/>
                    </a:lnTo>
                    <a:lnTo>
                      <a:pt x="138" y="198"/>
                    </a:lnTo>
                    <a:lnTo>
                      <a:pt x="138" y="206"/>
                    </a:lnTo>
                    <a:lnTo>
                      <a:pt x="130" y="206"/>
                    </a:lnTo>
                    <a:lnTo>
                      <a:pt x="124" y="214"/>
                    </a:lnTo>
                    <a:lnTo>
                      <a:pt x="124" y="220"/>
                    </a:lnTo>
                    <a:lnTo>
                      <a:pt x="116" y="228"/>
                    </a:lnTo>
                    <a:lnTo>
                      <a:pt x="116" y="234"/>
                    </a:lnTo>
                    <a:lnTo>
                      <a:pt x="110" y="240"/>
                    </a:lnTo>
                    <a:lnTo>
                      <a:pt x="110" y="248"/>
                    </a:lnTo>
                    <a:lnTo>
                      <a:pt x="110" y="254"/>
                    </a:lnTo>
                    <a:lnTo>
                      <a:pt x="110" y="262"/>
                    </a:lnTo>
                    <a:lnTo>
                      <a:pt x="110" y="268"/>
                    </a:lnTo>
                    <a:lnTo>
                      <a:pt x="102" y="268"/>
                    </a:lnTo>
                    <a:lnTo>
                      <a:pt x="96" y="268"/>
                    </a:lnTo>
                    <a:lnTo>
                      <a:pt x="96" y="274"/>
                    </a:lnTo>
                    <a:lnTo>
                      <a:pt x="82" y="288"/>
                    </a:lnTo>
                    <a:lnTo>
                      <a:pt x="82" y="296"/>
                    </a:lnTo>
                    <a:lnTo>
                      <a:pt x="76" y="302"/>
                    </a:lnTo>
                    <a:lnTo>
                      <a:pt x="76" y="310"/>
                    </a:lnTo>
                    <a:lnTo>
                      <a:pt x="68" y="310"/>
                    </a:lnTo>
                    <a:lnTo>
                      <a:pt x="54" y="302"/>
                    </a:lnTo>
                    <a:lnTo>
                      <a:pt x="54" y="316"/>
                    </a:lnTo>
                    <a:lnTo>
                      <a:pt x="54" y="324"/>
                    </a:lnTo>
                    <a:lnTo>
                      <a:pt x="54" y="330"/>
                    </a:lnTo>
                    <a:lnTo>
                      <a:pt x="62" y="336"/>
                    </a:lnTo>
                    <a:lnTo>
                      <a:pt x="62" y="344"/>
                    </a:lnTo>
                    <a:lnTo>
                      <a:pt x="62" y="352"/>
                    </a:lnTo>
                    <a:lnTo>
                      <a:pt x="54" y="358"/>
                    </a:lnTo>
                    <a:lnTo>
                      <a:pt x="48" y="364"/>
                    </a:lnTo>
                    <a:lnTo>
                      <a:pt x="48" y="372"/>
                    </a:lnTo>
                    <a:lnTo>
                      <a:pt x="40" y="372"/>
                    </a:lnTo>
                    <a:lnTo>
                      <a:pt x="34" y="378"/>
                    </a:lnTo>
                    <a:lnTo>
                      <a:pt x="34" y="386"/>
                    </a:lnTo>
                    <a:lnTo>
                      <a:pt x="26" y="392"/>
                    </a:lnTo>
                    <a:lnTo>
                      <a:pt x="34" y="400"/>
                    </a:lnTo>
                    <a:lnTo>
                      <a:pt x="40" y="400"/>
                    </a:lnTo>
                    <a:lnTo>
                      <a:pt x="40" y="406"/>
                    </a:lnTo>
                    <a:lnTo>
                      <a:pt x="40" y="412"/>
                    </a:lnTo>
                    <a:lnTo>
                      <a:pt x="34" y="412"/>
                    </a:lnTo>
                    <a:lnTo>
                      <a:pt x="26" y="420"/>
                    </a:lnTo>
                    <a:lnTo>
                      <a:pt x="20" y="420"/>
                    </a:lnTo>
                    <a:lnTo>
                      <a:pt x="12" y="420"/>
                    </a:lnTo>
                    <a:lnTo>
                      <a:pt x="12" y="426"/>
                    </a:lnTo>
                    <a:lnTo>
                      <a:pt x="6" y="426"/>
                    </a:lnTo>
                    <a:lnTo>
                      <a:pt x="6" y="434"/>
                    </a:lnTo>
                    <a:lnTo>
                      <a:pt x="0" y="440"/>
                    </a:lnTo>
                    <a:lnTo>
                      <a:pt x="0" y="454"/>
                    </a:lnTo>
                    <a:lnTo>
                      <a:pt x="0" y="468"/>
                    </a:lnTo>
                    <a:lnTo>
                      <a:pt x="6" y="468"/>
                    </a:lnTo>
                    <a:lnTo>
                      <a:pt x="12" y="468"/>
                    </a:lnTo>
                    <a:lnTo>
                      <a:pt x="20" y="476"/>
                    </a:lnTo>
                    <a:lnTo>
                      <a:pt x="26" y="482"/>
                    </a:lnTo>
                    <a:lnTo>
                      <a:pt x="34" y="488"/>
                    </a:lnTo>
                    <a:lnTo>
                      <a:pt x="34" y="496"/>
                    </a:lnTo>
                    <a:lnTo>
                      <a:pt x="48" y="502"/>
                    </a:lnTo>
                    <a:lnTo>
                      <a:pt x="54" y="510"/>
                    </a:lnTo>
                    <a:lnTo>
                      <a:pt x="54" y="516"/>
                    </a:lnTo>
                    <a:lnTo>
                      <a:pt x="48" y="522"/>
                    </a:lnTo>
                    <a:lnTo>
                      <a:pt x="54" y="522"/>
                    </a:lnTo>
                    <a:lnTo>
                      <a:pt x="62" y="522"/>
                    </a:lnTo>
                    <a:lnTo>
                      <a:pt x="54" y="536"/>
                    </a:lnTo>
                    <a:lnTo>
                      <a:pt x="54" y="544"/>
                    </a:lnTo>
                    <a:lnTo>
                      <a:pt x="40" y="544"/>
                    </a:lnTo>
                    <a:lnTo>
                      <a:pt x="48" y="550"/>
                    </a:lnTo>
                    <a:lnTo>
                      <a:pt x="48" y="564"/>
                    </a:lnTo>
                    <a:lnTo>
                      <a:pt x="54" y="572"/>
                    </a:lnTo>
                    <a:lnTo>
                      <a:pt x="62" y="572"/>
                    </a:lnTo>
                    <a:lnTo>
                      <a:pt x="68" y="578"/>
                    </a:lnTo>
                    <a:lnTo>
                      <a:pt x="76" y="592"/>
                    </a:lnTo>
                    <a:lnTo>
                      <a:pt x="82" y="584"/>
                    </a:lnTo>
                    <a:lnTo>
                      <a:pt x="82" y="578"/>
                    </a:lnTo>
                    <a:lnTo>
                      <a:pt x="96" y="572"/>
                    </a:lnTo>
                    <a:lnTo>
                      <a:pt x="110" y="572"/>
                    </a:lnTo>
                    <a:lnTo>
                      <a:pt x="116" y="564"/>
                    </a:lnTo>
                    <a:lnTo>
                      <a:pt x="124" y="564"/>
                    </a:lnTo>
                    <a:lnTo>
                      <a:pt x="138" y="572"/>
                    </a:lnTo>
                    <a:lnTo>
                      <a:pt x="144" y="572"/>
                    </a:lnTo>
                    <a:lnTo>
                      <a:pt x="152" y="558"/>
                    </a:lnTo>
                    <a:lnTo>
                      <a:pt x="164" y="558"/>
                    </a:lnTo>
                    <a:lnTo>
                      <a:pt x="178" y="564"/>
                    </a:lnTo>
                    <a:lnTo>
                      <a:pt x="186" y="572"/>
                    </a:lnTo>
                    <a:lnTo>
                      <a:pt x="201" y="572"/>
                    </a:lnTo>
                    <a:lnTo>
                      <a:pt x="207" y="584"/>
                    </a:lnTo>
                    <a:lnTo>
                      <a:pt x="221" y="584"/>
                    </a:lnTo>
                    <a:lnTo>
                      <a:pt x="241" y="584"/>
                    </a:lnTo>
                    <a:lnTo>
                      <a:pt x="249" y="584"/>
                    </a:lnTo>
                    <a:lnTo>
                      <a:pt x="263" y="592"/>
                    </a:lnTo>
                    <a:lnTo>
                      <a:pt x="269" y="584"/>
                    </a:lnTo>
                    <a:lnTo>
                      <a:pt x="283" y="584"/>
                    </a:lnTo>
                    <a:lnTo>
                      <a:pt x="291" y="592"/>
                    </a:lnTo>
                    <a:lnTo>
                      <a:pt x="297" y="592"/>
                    </a:lnTo>
                    <a:lnTo>
                      <a:pt x="297" y="600"/>
                    </a:lnTo>
                    <a:lnTo>
                      <a:pt x="303" y="600"/>
                    </a:lnTo>
                    <a:lnTo>
                      <a:pt x="311" y="592"/>
                    </a:lnTo>
                    <a:lnTo>
                      <a:pt x="311" y="584"/>
                    </a:lnTo>
                    <a:lnTo>
                      <a:pt x="311" y="578"/>
                    </a:lnTo>
                    <a:lnTo>
                      <a:pt x="325" y="572"/>
                    </a:lnTo>
                    <a:lnTo>
                      <a:pt x="325" y="564"/>
                    </a:lnTo>
                    <a:lnTo>
                      <a:pt x="339" y="564"/>
                    </a:lnTo>
                    <a:lnTo>
                      <a:pt x="345" y="558"/>
                    </a:lnTo>
                    <a:lnTo>
                      <a:pt x="359" y="558"/>
                    </a:lnTo>
                    <a:lnTo>
                      <a:pt x="367" y="558"/>
                    </a:lnTo>
                    <a:lnTo>
                      <a:pt x="381" y="564"/>
                    </a:lnTo>
                    <a:lnTo>
                      <a:pt x="387" y="558"/>
                    </a:lnTo>
                    <a:lnTo>
                      <a:pt x="401" y="550"/>
                    </a:lnTo>
                    <a:lnTo>
                      <a:pt x="401" y="536"/>
                    </a:lnTo>
                    <a:lnTo>
                      <a:pt x="407" y="530"/>
                    </a:lnTo>
                    <a:lnTo>
                      <a:pt x="415" y="530"/>
                    </a:lnTo>
                    <a:lnTo>
                      <a:pt x="421" y="522"/>
                    </a:lnTo>
                    <a:lnTo>
                      <a:pt x="421" y="516"/>
                    </a:lnTo>
                    <a:lnTo>
                      <a:pt x="435" y="510"/>
                    </a:lnTo>
                    <a:lnTo>
                      <a:pt x="443" y="510"/>
                    </a:lnTo>
                    <a:lnTo>
                      <a:pt x="455" y="510"/>
                    </a:lnTo>
                    <a:lnTo>
                      <a:pt x="471" y="496"/>
                    </a:lnTo>
                    <a:lnTo>
                      <a:pt x="463" y="488"/>
                    </a:lnTo>
                    <a:lnTo>
                      <a:pt x="463" y="482"/>
                    </a:lnTo>
                    <a:lnTo>
                      <a:pt x="455" y="476"/>
                    </a:lnTo>
                    <a:lnTo>
                      <a:pt x="455" y="468"/>
                    </a:lnTo>
                    <a:lnTo>
                      <a:pt x="455" y="462"/>
                    </a:lnTo>
                    <a:lnTo>
                      <a:pt x="455" y="448"/>
                    </a:lnTo>
                    <a:lnTo>
                      <a:pt x="455" y="434"/>
                    </a:lnTo>
                    <a:lnTo>
                      <a:pt x="463" y="426"/>
                    </a:lnTo>
                    <a:lnTo>
                      <a:pt x="471" y="420"/>
                    </a:lnTo>
                    <a:lnTo>
                      <a:pt x="483" y="412"/>
                    </a:lnTo>
                    <a:lnTo>
                      <a:pt x="497" y="400"/>
                    </a:lnTo>
                    <a:lnTo>
                      <a:pt x="505" y="400"/>
                    </a:lnTo>
                    <a:lnTo>
                      <a:pt x="513" y="392"/>
                    </a:lnTo>
                    <a:lnTo>
                      <a:pt x="525" y="378"/>
                    </a:lnTo>
                    <a:lnTo>
                      <a:pt x="533" y="372"/>
                    </a:lnTo>
                    <a:lnTo>
                      <a:pt x="547" y="364"/>
                    </a:lnTo>
                    <a:lnTo>
                      <a:pt x="553" y="364"/>
                    </a:lnTo>
                    <a:lnTo>
                      <a:pt x="547" y="364"/>
                    </a:lnTo>
                    <a:lnTo>
                      <a:pt x="547" y="358"/>
                    </a:lnTo>
                    <a:lnTo>
                      <a:pt x="553" y="358"/>
                    </a:lnTo>
                    <a:lnTo>
                      <a:pt x="553" y="352"/>
                    </a:lnTo>
                    <a:lnTo>
                      <a:pt x="561" y="344"/>
                    </a:lnTo>
                    <a:lnTo>
                      <a:pt x="567" y="344"/>
                    </a:lnTo>
                    <a:lnTo>
                      <a:pt x="581" y="344"/>
                    </a:lnTo>
                    <a:lnTo>
                      <a:pt x="595" y="344"/>
                    </a:lnTo>
                    <a:lnTo>
                      <a:pt x="609" y="344"/>
                    </a:lnTo>
                    <a:lnTo>
                      <a:pt x="615" y="344"/>
                    </a:lnTo>
                    <a:lnTo>
                      <a:pt x="623" y="344"/>
                    </a:lnTo>
                    <a:lnTo>
                      <a:pt x="629" y="344"/>
                    </a:lnTo>
                    <a:lnTo>
                      <a:pt x="643" y="336"/>
                    </a:lnTo>
                    <a:lnTo>
                      <a:pt x="651" y="336"/>
                    </a:lnTo>
                    <a:lnTo>
                      <a:pt x="657" y="330"/>
                    </a:lnTo>
                    <a:lnTo>
                      <a:pt x="671" y="330"/>
                    </a:lnTo>
                    <a:lnTo>
                      <a:pt x="677" y="330"/>
                    </a:lnTo>
                    <a:lnTo>
                      <a:pt x="685" y="324"/>
                    </a:lnTo>
                    <a:lnTo>
                      <a:pt x="691" y="324"/>
                    </a:lnTo>
                    <a:lnTo>
                      <a:pt x="699" y="316"/>
                    </a:lnTo>
                    <a:lnTo>
                      <a:pt x="705" y="310"/>
                    </a:lnTo>
                    <a:lnTo>
                      <a:pt x="705" y="302"/>
                    </a:lnTo>
                    <a:lnTo>
                      <a:pt x="713" y="296"/>
                    </a:lnTo>
                    <a:lnTo>
                      <a:pt x="713" y="288"/>
                    </a:lnTo>
                    <a:lnTo>
                      <a:pt x="713" y="274"/>
                    </a:lnTo>
                    <a:lnTo>
                      <a:pt x="709" y="270"/>
                    </a:lnTo>
                    <a:lnTo>
                      <a:pt x="705" y="274"/>
                    </a:lnTo>
                    <a:lnTo>
                      <a:pt x="699" y="274"/>
                    </a:lnTo>
                    <a:lnTo>
                      <a:pt x="691" y="268"/>
                    </a:lnTo>
                    <a:lnTo>
                      <a:pt x="685" y="274"/>
                    </a:lnTo>
                    <a:lnTo>
                      <a:pt x="677" y="268"/>
                    </a:lnTo>
                    <a:lnTo>
                      <a:pt x="663" y="268"/>
                    </a:lnTo>
                    <a:lnTo>
                      <a:pt x="657" y="268"/>
                    </a:lnTo>
                    <a:lnTo>
                      <a:pt x="651" y="262"/>
                    </a:lnTo>
                    <a:lnTo>
                      <a:pt x="643" y="254"/>
                    </a:lnTo>
                    <a:lnTo>
                      <a:pt x="637" y="254"/>
                    </a:lnTo>
                    <a:lnTo>
                      <a:pt x="629" y="254"/>
                    </a:lnTo>
                    <a:lnTo>
                      <a:pt x="623" y="254"/>
                    </a:lnTo>
                    <a:lnTo>
                      <a:pt x="615" y="248"/>
                    </a:lnTo>
                    <a:lnTo>
                      <a:pt x="617" y="238"/>
                    </a:lnTo>
                    <a:lnTo>
                      <a:pt x="611" y="232"/>
                    </a:lnTo>
                    <a:lnTo>
                      <a:pt x="605" y="226"/>
                    </a:lnTo>
                    <a:lnTo>
                      <a:pt x="597" y="220"/>
                    </a:lnTo>
                    <a:lnTo>
                      <a:pt x="587" y="228"/>
                    </a:lnTo>
                    <a:lnTo>
                      <a:pt x="573" y="228"/>
                    </a:lnTo>
                    <a:lnTo>
                      <a:pt x="573" y="220"/>
                    </a:lnTo>
                    <a:lnTo>
                      <a:pt x="567" y="220"/>
                    </a:lnTo>
                    <a:lnTo>
                      <a:pt x="553" y="214"/>
                    </a:lnTo>
                    <a:lnTo>
                      <a:pt x="547" y="214"/>
                    </a:lnTo>
                    <a:lnTo>
                      <a:pt x="533" y="206"/>
                    </a:lnTo>
                    <a:lnTo>
                      <a:pt x="533" y="198"/>
                    </a:lnTo>
                    <a:lnTo>
                      <a:pt x="519" y="192"/>
                    </a:lnTo>
                    <a:lnTo>
                      <a:pt x="513" y="192"/>
                    </a:lnTo>
                    <a:lnTo>
                      <a:pt x="497" y="178"/>
                    </a:lnTo>
                    <a:lnTo>
                      <a:pt x="491" y="178"/>
                    </a:lnTo>
                    <a:lnTo>
                      <a:pt x="483" y="172"/>
                    </a:lnTo>
                    <a:lnTo>
                      <a:pt x="477" y="164"/>
                    </a:lnTo>
                    <a:lnTo>
                      <a:pt x="471" y="164"/>
                    </a:lnTo>
                    <a:lnTo>
                      <a:pt x="471" y="158"/>
                    </a:lnTo>
                    <a:lnTo>
                      <a:pt x="471" y="152"/>
                    </a:lnTo>
                    <a:lnTo>
                      <a:pt x="463" y="144"/>
                    </a:lnTo>
                    <a:lnTo>
                      <a:pt x="455" y="138"/>
                    </a:lnTo>
                    <a:lnTo>
                      <a:pt x="455" y="138"/>
                    </a:lnTo>
                    <a:lnTo>
                      <a:pt x="455" y="138"/>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8" name="Freeform 22"/>
              <p:cNvSpPr>
                <a:spLocks/>
              </p:cNvSpPr>
              <p:nvPr>
                <p:custDataLst>
                  <p:tags r:id="rId129"/>
                </p:custDataLst>
              </p:nvPr>
            </p:nvSpPr>
            <p:spPr bwMode="gray">
              <a:xfrm>
                <a:off x="2475495" y="3752781"/>
                <a:ext cx="431896" cy="600208"/>
              </a:xfrm>
              <a:custGeom>
                <a:avLst/>
                <a:gdLst>
                  <a:gd name="T0" fmla="*/ 78 w 272"/>
                  <a:gd name="T1" fmla="*/ 378 h 378"/>
                  <a:gd name="T2" fmla="*/ 64 w 272"/>
                  <a:gd name="T3" fmla="*/ 372 h 378"/>
                  <a:gd name="T4" fmla="*/ 36 w 272"/>
                  <a:gd name="T5" fmla="*/ 358 h 378"/>
                  <a:gd name="T6" fmla="*/ 22 w 272"/>
                  <a:gd name="T7" fmla="*/ 344 h 378"/>
                  <a:gd name="T8" fmla="*/ 0 w 272"/>
                  <a:gd name="T9" fmla="*/ 352 h 378"/>
                  <a:gd name="T10" fmla="*/ 14 w 272"/>
                  <a:gd name="T11" fmla="*/ 324 h 378"/>
                  <a:gd name="T12" fmla="*/ 30 w 272"/>
                  <a:gd name="T13" fmla="*/ 310 h 378"/>
                  <a:gd name="T14" fmla="*/ 30 w 272"/>
                  <a:gd name="T15" fmla="*/ 282 h 378"/>
                  <a:gd name="T16" fmla="*/ 42 w 272"/>
                  <a:gd name="T17" fmla="*/ 262 h 378"/>
                  <a:gd name="T18" fmla="*/ 50 w 272"/>
                  <a:gd name="T19" fmla="*/ 234 h 378"/>
                  <a:gd name="T20" fmla="*/ 22 w 272"/>
                  <a:gd name="T21" fmla="*/ 228 h 378"/>
                  <a:gd name="T22" fmla="*/ 30 w 272"/>
                  <a:gd name="T23" fmla="*/ 206 h 378"/>
                  <a:gd name="T24" fmla="*/ 36 w 272"/>
                  <a:gd name="T25" fmla="*/ 186 h 378"/>
                  <a:gd name="T26" fmla="*/ 56 w 272"/>
                  <a:gd name="T27" fmla="*/ 172 h 378"/>
                  <a:gd name="T28" fmla="*/ 78 w 272"/>
                  <a:gd name="T29" fmla="*/ 152 h 378"/>
                  <a:gd name="T30" fmla="*/ 92 w 272"/>
                  <a:gd name="T31" fmla="*/ 132 h 378"/>
                  <a:gd name="T32" fmla="*/ 106 w 272"/>
                  <a:gd name="T33" fmla="*/ 96 h 378"/>
                  <a:gd name="T34" fmla="*/ 120 w 272"/>
                  <a:gd name="T35" fmla="*/ 68 h 378"/>
                  <a:gd name="T36" fmla="*/ 134 w 272"/>
                  <a:gd name="T37" fmla="*/ 42 h 378"/>
                  <a:gd name="T38" fmla="*/ 140 w 272"/>
                  <a:gd name="T39" fmla="*/ 20 h 378"/>
                  <a:gd name="T40" fmla="*/ 154 w 272"/>
                  <a:gd name="T41" fmla="*/ 8 h 378"/>
                  <a:gd name="T42" fmla="*/ 174 w 272"/>
                  <a:gd name="T43" fmla="*/ 8 h 378"/>
                  <a:gd name="T44" fmla="*/ 182 w 272"/>
                  <a:gd name="T45" fmla="*/ 20 h 378"/>
                  <a:gd name="T46" fmla="*/ 196 w 272"/>
                  <a:gd name="T47" fmla="*/ 28 h 378"/>
                  <a:gd name="T48" fmla="*/ 216 w 272"/>
                  <a:gd name="T49" fmla="*/ 34 h 378"/>
                  <a:gd name="T50" fmla="*/ 230 w 272"/>
                  <a:gd name="T51" fmla="*/ 42 h 378"/>
                  <a:gd name="T52" fmla="*/ 244 w 272"/>
                  <a:gd name="T53" fmla="*/ 48 h 378"/>
                  <a:gd name="T54" fmla="*/ 264 w 272"/>
                  <a:gd name="T55" fmla="*/ 56 h 378"/>
                  <a:gd name="T56" fmla="*/ 258 w 272"/>
                  <a:gd name="T57" fmla="*/ 76 h 378"/>
                  <a:gd name="T58" fmla="*/ 272 w 272"/>
                  <a:gd name="T59" fmla="*/ 90 h 378"/>
                  <a:gd name="T60" fmla="*/ 258 w 272"/>
                  <a:gd name="T61" fmla="*/ 96 h 378"/>
                  <a:gd name="T62" fmla="*/ 244 w 272"/>
                  <a:gd name="T63" fmla="*/ 104 h 378"/>
                  <a:gd name="T64" fmla="*/ 230 w 272"/>
                  <a:gd name="T65" fmla="*/ 110 h 378"/>
                  <a:gd name="T66" fmla="*/ 216 w 272"/>
                  <a:gd name="T67" fmla="*/ 132 h 378"/>
                  <a:gd name="T68" fmla="*/ 210 w 272"/>
                  <a:gd name="T69" fmla="*/ 152 h 378"/>
                  <a:gd name="T70" fmla="*/ 210 w 272"/>
                  <a:gd name="T71" fmla="*/ 172 h 378"/>
                  <a:gd name="T72" fmla="*/ 196 w 272"/>
                  <a:gd name="T73" fmla="*/ 178 h 378"/>
                  <a:gd name="T74" fmla="*/ 174 w 272"/>
                  <a:gd name="T75" fmla="*/ 206 h 378"/>
                  <a:gd name="T76" fmla="*/ 154 w 272"/>
                  <a:gd name="T77" fmla="*/ 206 h 378"/>
                  <a:gd name="T78" fmla="*/ 154 w 272"/>
                  <a:gd name="T79" fmla="*/ 234 h 378"/>
                  <a:gd name="T80" fmla="*/ 160 w 272"/>
                  <a:gd name="T81" fmla="*/ 256 h 378"/>
                  <a:gd name="T82" fmla="*/ 148 w 272"/>
                  <a:gd name="T83" fmla="*/ 276 h 378"/>
                  <a:gd name="T84" fmla="*/ 134 w 272"/>
                  <a:gd name="T85" fmla="*/ 290 h 378"/>
                  <a:gd name="T86" fmla="*/ 140 w 272"/>
                  <a:gd name="T87" fmla="*/ 304 h 378"/>
                  <a:gd name="T88" fmla="*/ 134 w 272"/>
                  <a:gd name="T89" fmla="*/ 316 h 378"/>
                  <a:gd name="T90" fmla="*/ 112 w 272"/>
                  <a:gd name="T91" fmla="*/ 324 h 378"/>
                  <a:gd name="T92" fmla="*/ 106 w 272"/>
                  <a:gd name="T93" fmla="*/ 338 h 378"/>
                  <a:gd name="T94" fmla="*/ 98 w 272"/>
                  <a:gd name="T95" fmla="*/ 372 h 378"/>
                  <a:gd name="T96" fmla="*/ 106 w 272"/>
                  <a:gd name="T97" fmla="*/ 372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2" h="378">
                    <a:moveTo>
                      <a:pt x="106" y="372"/>
                    </a:moveTo>
                    <a:lnTo>
                      <a:pt x="84" y="378"/>
                    </a:lnTo>
                    <a:lnTo>
                      <a:pt x="78" y="378"/>
                    </a:lnTo>
                    <a:lnTo>
                      <a:pt x="78" y="372"/>
                    </a:lnTo>
                    <a:lnTo>
                      <a:pt x="70" y="378"/>
                    </a:lnTo>
                    <a:lnTo>
                      <a:pt x="64" y="372"/>
                    </a:lnTo>
                    <a:lnTo>
                      <a:pt x="50" y="366"/>
                    </a:lnTo>
                    <a:lnTo>
                      <a:pt x="42" y="358"/>
                    </a:lnTo>
                    <a:lnTo>
                      <a:pt x="36" y="358"/>
                    </a:lnTo>
                    <a:lnTo>
                      <a:pt x="30" y="358"/>
                    </a:lnTo>
                    <a:lnTo>
                      <a:pt x="30" y="352"/>
                    </a:lnTo>
                    <a:lnTo>
                      <a:pt x="22" y="344"/>
                    </a:lnTo>
                    <a:lnTo>
                      <a:pt x="14" y="352"/>
                    </a:lnTo>
                    <a:lnTo>
                      <a:pt x="8" y="352"/>
                    </a:lnTo>
                    <a:lnTo>
                      <a:pt x="0" y="352"/>
                    </a:lnTo>
                    <a:lnTo>
                      <a:pt x="0" y="344"/>
                    </a:lnTo>
                    <a:lnTo>
                      <a:pt x="8" y="338"/>
                    </a:lnTo>
                    <a:lnTo>
                      <a:pt x="14" y="324"/>
                    </a:lnTo>
                    <a:lnTo>
                      <a:pt x="14" y="316"/>
                    </a:lnTo>
                    <a:lnTo>
                      <a:pt x="22" y="310"/>
                    </a:lnTo>
                    <a:lnTo>
                      <a:pt x="30" y="310"/>
                    </a:lnTo>
                    <a:lnTo>
                      <a:pt x="30" y="304"/>
                    </a:lnTo>
                    <a:lnTo>
                      <a:pt x="36" y="290"/>
                    </a:lnTo>
                    <a:lnTo>
                      <a:pt x="30" y="282"/>
                    </a:lnTo>
                    <a:lnTo>
                      <a:pt x="36" y="276"/>
                    </a:lnTo>
                    <a:lnTo>
                      <a:pt x="36" y="268"/>
                    </a:lnTo>
                    <a:lnTo>
                      <a:pt x="42" y="262"/>
                    </a:lnTo>
                    <a:lnTo>
                      <a:pt x="50" y="256"/>
                    </a:lnTo>
                    <a:lnTo>
                      <a:pt x="50" y="248"/>
                    </a:lnTo>
                    <a:lnTo>
                      <a:pt x="50" y="234"/>
                    </a:lnTo>
                    <a:lnTo>
                      <a:pt x="42" y="234"/>
                    </a:lnTo>
                    <a:lnTo>
                      <a:pt x="36" y="228"/>
                    </a:lnTo>
                    <a:lnTo>
                      <a:pt x="22" y="228"/>
                    </a:lnTo>
                    <a:lnTo>
                      <a:pt x="22" y="220"/>
                    </a:lnTo>
                    <a:lnTo>
                      <a:pt x="22" y="214"/>
                    </a:lnTo>
                    <a:lnTo>
                      <a:pt x="30" y="206"/>
                    </a:lnTo>
                    <a:lnTo>
                      <a:pt x="36" y="200"/>
                    </a:lnTo>
                    <a:lnTo>
                      <a:pt x="36" y="192"/>
                    </a:lnTo>
                    <a:lnTo>
                      <a:pt x="36" y="186"/>
                    </a:lnTo>
                    <a:lnTo>
                      <a:pt x="36" y="178"/>
                    </a:lnTo>
                    <a:lnTo>
                      <a:pt x="42" y="172"/>
                    </a:lnTo>
                    <a:lnTo>
                      <a:pt x="56" y="172"/>
                    </a:lnTo>
                    <a:lnTo>
                      <a:pt x="64" y="172"/>
                    </a:lnTo>
                    <a:lnTo>
                      <a:pt x="70" y="158"/>
                    </a:lnTo>
                    <a:lnTo>
                      <a:pt x="78" y="152"/>
                    </a:lnTo>
                    <a:lnTo>
                      <a:pt x="78" y="144"/>
                    </a:lnTo>
                    <a:lnTo>
                      <a:pt x="84" y="138"/>
                    </a:lnTo>
                    <a:lnTo>
                      <a:pt x="92" y="132"/>
                    </a:lnTo>
                    <a:lnTo>
                      <a:pt x="98" y="118"/>
                    </a:lnTo>
                    <a:lnTo>
                      <a:pt x="106" y="110"/>
                    </a:lnTo>
                    <a:lnTo>
                      <a:pt x="106" y="96"/>
                    </a:lnTo>
                    <a:lnTo>
                      <a:pt x="112" y="90"/>
                    </a:lnTo>
                    <a:lnTo>
                      <a:pt x="120" y="82"/>
                    </a:lnTo>
                    <a:lnTo>
                      <a:pt x="120" y="68"/>
                    </a:lnTo>
                    <a:lnTo>
                      <a:pt x="126" y="62"/>
                    </a:lnTo>
                    <a:lnTo>
                      <a:pt x="134" y="56"/>
                    </a:lnTo>
                    <a:lnTo>
                      <a:pt x="134" y="42"/>
                    </a:lnTo>
                    <a:lnTo>
                      <a:pt x="134" y="34"/>
                    </a:lnTo>
                    <a:lnTo>
                      <a:pt x="140" y="28"/>
                    </a:lnTo>
                    <a:lnTo>
                      <a:pt x="140" y="20"/>
                    </a:lnTo>
                    <a:lnTo>
                      <a:pt x="140" y="14"/>
                    </a:lnTo>
                    <a:lnTo>
                      <a:pt x="140" y="8"/>
                    </a:lnTo>
                    <a:lnTo>
                      <a:pt x="154" y="8"/>
                    </a:lnTo>
                    <a:lnTo>
                      <a:pt x="160" y="8"/>
                    </a:lnTo>
                    <a:lnTo>
                      <a:pt x="160" y="0"/>
                    </a:lnTo>
                    <a:lnTo>
                      <a:pt x="174" y="8"/>
                    </a:lnTo>
                    <a:lnTo>
                      <a:pt x="182" y="8"/>
                    </a:lnTo>
                    <a:lnTo>
                      <a:pt x="182" y="14"/>
                    </a:lnTo>
                    <a:lnTo>
                      <a:pt x="182" y="20"/>
                    </a:lnTo>
                    <a:lnTo>
                      <a:pt x="182" y="28"/>
                    </a:lnTo>
                    <a:lnTo>
                      <a:pt x="188" y="28"/>
                    </a:lnTo>
                    <a:lnTo>
                      <a:pt x="196" y="28"/>
                    </a:lnTo>
                    <a:lnTo>
                      <a:pt x="202" y="28"/>
                    </a:lnTo>
                    <a:lnTo>
                      <a:pt x="210" y="34"/>
                    </a:lnTo>
                    <a:lnTo>
                      <a:pt x="216" y="34"/>
                    </a:lnTo>
                    <a:lnTo>
                      <a:pt x="224" y="42"/>
                    </a:lnTo>
                    <a:lnTo>
                      <a:pt x="230" y="48"/>
                    </a:lnTo>
                    <a:lnTo>
                      <a:pt x="230" y="42"/>
                    </a:lnTo>
                    <a:lnTo>
                      <a:pt x="238" y="42"/>
                    </a:lnTo>
                    <a:lnTo>
                      <a:pt x="244" y="42"/>
                    </a:lnTo>
                    <a:lnTo>
                      <a:pt x="244" y="48"/>
                    </a:lnTo>
                    <a:lnTo>
                      <a:pt x="250" y="48"/>
                    </a:lnTo>
                    <a:lnTo>
                      <a:pt x="258" y="48"/>
                    </a:lnTo>
                    <a:lnTo>
                      <a:pt x="264" y="56"/>
                    </a:lnTo>
                    <a:lnTo>
                      <a:pt x="258" y="62"/>
                    </a:lnTo>
                    <a:lnTo>
                      <a:pt x="258" y="68"/>
                    </a:lnTo>
                    <a:lnTo>
                      <a:pt x="258" y="76"/>
                    </a:lnTo>
                    <a:lnTo>
                      <a:pt x="264" y="76"/>
                    </a:lnTo>
                    <a:lnTo>
                      <a:pt x="272" y="82"/>
                    </a:lnTo>
                    <a:lnTo>
                      <a:pt x="272" y="90"/>
                    </a:lnTo>
                    <a:lnTo>
                      <a:pt x="264" y="90"/>
                    </a:lnTo>
                    <a:lnTo>
                      <a:pt x="264" y="96"/>
                    </a:lnTo>
                    <a:lnTo>
                      <a:pt x="258" y="96"/>
                    </a:lnTo>
                    <a:lnTo>
                      <a:pt x="250" y="96"/>
                    </a:lnTo>
                    <a:lnTo>
                      <a:pt x="250" y="104"/>
                    </a:lnTo>
                    <a:lnTo>
                      <a:pt x="244" y="104"/>
                    </a:lnTo>
                    <a:lnTo>
                      <a:pt x="238" y="104"/>
                    </a:lnTo>
                    <a:lnTo>
                      <a:pt x="238" y="110"/>
                    </a:lnTo>
                    <a:lnTo>
                      <a:pt x="230" y="110"/>
                    </a:lnTo>
                    <a:lnTo>
                      <a:pt x="224" y="118"/>
                    </a:lnTo>
                    <a:lnTo>
                      <a:pt x="224" y="124"/>
                    </a:lnTo>
                    <a:lnTo>
                      <a:pt x="216" y="132"/>
                    </a:lnTo>
                    <a:lnTo>
                      <a:pt x="216" y="138"/>
                    </a:lnTo>
                    <a:lnTo>
                      <a:pt x="210" y="144"/>
                    </a:lnTo>
                    <a:lnTo>
                      <a:pt x="210" y="152"/>
                    </a:lnTo>
                    <a:lnTo>
                      <a:pt x="210" y="158"/>
                    </a:lnTo>
                    <a:lnTo>
                      <a:pt x="210" y="166"/>
                    </a:lnTo>
                    <a:lnTo>
                      <a:pt x="210" y="172"/>
                    </a:lnTo>
                    <a:lnTo>
                      <a:pt x="202" y="172"/>
                    </a:lnTo>
                    <a:lnTo>
                      <a:pt x="196" y="172"/>
                    </a:lnTo>
                    <a:lnTo>
                      <a:pt x="196" y="178"/>
                    </a:lnTo>
                    <a:lnTo>
                      <a:pt x="182" y="192"/>
                    </a:lnTo>
                    <a:lnTo>
                      <a:pt x="182" y="200"/>
                    </a:lnTo>
                    <a:lnTo>
                      <a:pt x="174" y="206"/>
                    </a:lnTo>
                    <a:lnTo>
                      <a:pt x="174" y="214"/>
                    </a:lnTo>
                    <a:lnTo>
                      <a:pt x="168" y="214"/>
                    </a:lnTo>
                    <a:lnTo>
                      <a:pt x="154" y="206"/>
                    </a:lnTo>
                    <a:lnTo>
                      <a:pt x="154" y="220"/>
                    </a:lnTo>
                    <a:lnTo>
                      <a:pt x="154" y="228"/>
                    </a:lnTo>
                    <a:lnTo>
                      <a:pt x="154" y="234"/>
                    </a:lnTo>
                    <a:lnTo>
                      <a:pt x="160" y="242"/>
                    </a:lnTo>
                    <a:lnTo>
                      <a:pt x="160" y="248"/>
                    </a:lnTo>
                    <a:lnTo>
                      <a:pt x="160" y="256"/>
                    </a:lnTo>
                    <a:lnTo>
                      <a:pt x="154" y="262"/>
                    </a:lnTo>
                    <a:lnTo>
                      <a:pt x="148" y="268"/>
                    </a:lnTo>
                    <a:lnTo>
                      <a:pt x="148" y="276"/>
                    </a:lnTo>
                    <a:lnTo>
                      <a:pt x="140" y="276"/>
                    </a:lnTo>
                    <a:lnTo>
                      <a:pt x="134" y="282"/>
                    </a:lnTo>
                    <a:lnTo>
                      <a:pt x="134" y="290"/>
                    </a:lnTo>
                    <a:lnTo>
                      <a:pt x="126" y="296"/>
                    </a:lnTo>
                    <a:lnTo>
                      <a:pt x="134" y="304"/>
                    </a:lnTo>
                    <a:lnTo>
                      <a:pt x="140" y="304"/>
                    </a:lnTo>
                    <a:lnTo>
                      <a:pt x="140" y="310"/>
                    </a:lnTo>
                    <a:lnTo>
                      <a:pt x="140" y="316"/>
                    </a:lnTo>
                    <a:lnTo>
                      <a:pt x="134" y="316"/>
                    </a:lnTo>
                    <a:lnTo>
                      <a:pt x="126" y="324"/>
                    </a:lnTo>
                    <a:lnTo>
                      <a:pt x="120" y="324"/>
                    </a:lnTo>
                    <a:lnTo>
                      <a:pt x="112" y="324"/>
                    </a:lnTo>
                    <a:lnTo>
                      <a:pt x="112" y="330"/>
                    </a:lnTo>
                    <a:lnTo>
                      <a:pt x="106" y="330"/>
                    </a:lnTo>
                    <a:lnTo>
                      <a:pt x="106" y="338"/>
                    </a:lnTo>
                    <a:lnTo>
                      <a:pt x="98" y="344"/>
                    </a:lnTo>
                    <a:lnTo>
                      <a:pt x="98" y="358"/>
                    </a:lnTo>
                    <a:lnTo>
                      <a:pt x="98" y="372"/>
                    </a:lnTo>
                    <a:lnTo>
                      <a:pt x="106" y="372"/>
                    </a:lnTo>
                    <a:lnTo>
                      <a:pt x="106" y="372"/>
                    </a:lnTo>
                    <a:lnTo>
                      <a:pt x="106" y="372"/>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2" name="Freeform 26"/>
              <p:cNvSpPr>
                <a:spLocks/>
              </p:cNvSpPr>
              <p:nvPr>
                <p:custDataLst>
                  <p:tags r:id="rId130"/>
                </p:custDataLst>
              </p:nvPr>
            </p:nvSpPr>
            <p:spPr bwMode="gray">
              <a:xfrm>
                <a:off x="3283711" y="3031896"/>
                <a:ext cx="1043220" cy="1009874"/>
              </a:xfrm>
              <a:custGeom>
                <a:avLst/>
                <a:gdLst>
                  <a:gd name="T0" fmla="*/ 553 w 657"/>
                  <a:gd name="T1" fmla="*/ 558 h 636"/>
                  <a:gd name="T2" fmla="*/ 545 w 657"/>
                  <a:gd name="T3" fmla="*/ 510 h 636"/>
                  <a:gd name="T4" fmla="*/ 525 w 657"/>
                  <a:gd name="T5" fmla="*/ 476 h 636"/>
                  <a:gd name="T6" fmla="*/ 567 w 657"/>
                  <a:gd name="T7" fmla="*/ 454 h 636"/>
                  <a:gd name="T8" fmla="*/ 559 w 657"/>
                  <a:gd name="T9" fmla="*/ 420 h 636"/>
                  <a:gd name="T10" fmla="*/ 553 w 657"/>
                  <a:gd name="T11" fmla="*/ 386 h 636"/>
                  <a:gd name="T12" fmla="*/ 553 w 657"/>
                  <a:gd name="T13" fmla="*/ 372 h 636"/>
                  <a:gd name="T14" fmla="*/ 539 w 657"/>
                  <a:gd name="T15" fmla="*/ 352 h 636"/>
                  <a:gd name="T16" fmla="*/ 581 w 657"/>
                  <a:gd name="T17" fmla="*/ 310 h 636"/>
                  <a:gd name="T18" fmla="*/ 615 w 657"/>
                  <a:gd name="T19" fmla="*/ 290 h 636"/>
                  <a:gd name="T20" fmla="*/ 629 w 657"/>
                  <a:gd name="T21" fmla="*/ 242 h 636"/>
                  <a:gd name="T22" fmla="*/ 635 w 657"/>
                  <a:gd name="T23" fmla="*/ 200 h 636"/>
                  <a:gd name="T24" fmla="*/ 581 w 657"/>
                  <a:gd name="T25" fmla="*/ 152 h 636"/>
                  <a:gd name="T26" fmla="*/ 539 w 657"/>
                  <a:gd name="T27" fmla="*/ 146 h 636"/>
                  <a:gd name="T28" fmla="*/ 511 w 657"/>
                  <a:gd name="T29" fmla="*/ 110 h 636"/>
                  <a:gd name="T30" fmla="*/ 483 w 657"/>
                  <a:gd name="T31" fmla="*/ 104 h 636"/>
                  <a:gd name="T32" fmla="*/ 469 w 657"/>
                  <a:gd name="T33" fmla="*/ 68 h 636"/>
                  <a:gd name="T34" fmla="*/ 443 w 657"/>
                  <a:gd name="T35" fmla="*/ 42 h 636"/>
                  <a:gd name="T36" fmla="*/ 421 w 657"/>
                  <a:gd name="T37" fmla="*/ 14 h 636"/>
                  <a:gd name="T38" fmla="*/ 386 w 657"/>
                  <a:gd name="T39" fmla="*/ 0 h 636"/>
                  <a:gd name="T40" fmla="*/ 366 w 657"/>
                  <a:gd name="T41" fmla="*/ 34 h 636"/>
                  <a:gd name="T42" fmla="*/ 338 w 657"/>
                  <a:gd name="T43" fmla="*/ 62 h 636"/>
                  <a:gd name="T44" fmla="*/ 290 w 657"/>
                  <a:gd name="T45" fmla="*/ 84 h 636"/>
                  <a:gd name="T46" fmla="*/ 276 w 657"/>
                  <a:gd name="T47" fmla="*/ 96 h 636"/>
                  <a:gd name="T48" fmla="*/ 220 w 657"/>
                  <a:gd name="T49" fmla="*/ 84 h 636"/>
                  <a:gd name="T50" fmla="*/ 206 w 657"/>
                  <a:gd name="T51" fmla="*/ 48 h 636"/>
                  <a:gd name="T52" fmla="*/ 178 w 657"/>
                  <a:gd name="T53" fmla="*/ 68 h 636"/>
                  <a:gd name="T54" fmla="*/ 186 w 657"/>
                  <a:gd name="T55" fmla="*/ 118 h 636"/>
                  <a:gd name="T56" fmla="*/ 158 w 657"/>
                  <a:gd name="T57" fmla="*/ 110 h 636"/>
                  <a:gd name="T58" fmla="*/ 110 w 657"/>
                  <a:gd name="T59" fmla="*/ 104 h 636"/>
                  <a:gd name="T60" fmla="*/ 96 w 657"/>
                  <a:gd name="T61" fmla="*/ 84 h 636"/>
                  <a:gd name="T62" fmla="*/ 48 w 657"/>
                  <a:gd name="T63" fmla="*/ 84 h 636"/>
                  <a:gd name="T64" fmla="*/ 6 w 657"/>
                  <a:gd name="T65" fmla="*/ 84 h 636"/>
                  <a:gd name="T66" fmla="*/ 26 w 657"/>
                  <a:gd name="T67" fmla="*/ 104 h 636"/>
                  <a:gd name="T68" fmla="*/ 6 w 657"/>
                  <a:gd name="T69" fmla="*/ 118 h 636"/>
                  <a:gd name="T70" fmla="*/ 40 w 657"/>
                  <a:gd name="T71" fmla="*/ 130 h 636"/>
                  <a:gd name="T72" fmla="*/ 68 w 657"/>
                  <a:gd name="T73" fmla="*/ 166 h 636"/>
                  <a:gd name="T74" fmla="*/ 102 w 657"/>
                  <a:gd name="T75" fmla="*/ 186 h 636"/>
                  <a:gd name="T76" fmla="*/ 110 w 657"/>
                  <a:gd name="T77" fmla="*/ 214 h 636"/>
                  <a:gd name="T78" fmla="*/ 116 w 657"/>
                  <a:gd name="T79" fmla="*/ 254 h 636"/>
                  <a:gd name="T80" fmla="*/ 144 w 657"/>
                  <a:gd name="T81" fmla="*/ 290 h 636"/>
                  <a:gd name="T82" fmla="*/ 138 w 657"/>
                  <a:gd name="T83" fmla="*/ 332 h 636"/>
                  <a:gd name="T84" fmla="*/ 144 w 657"/>
                  <a:gd name="T85" fmla="*/ 366 h 636"/>
                  <a:gd name="T86" fmla="*/ 138 w 657"/>
                  <a:gd name="T87" fmla="*/ 372 h 636"/>
                  <a:gd name="T88" fmla="*/ 116 w 657"/>
                  <a:gd name="T89" fmla="*/ 372 h 636"/>
                  <a:gd name="T90" fmla="*/ 110 w 657"/>
                  <a:gd name="T91" fmla="*/ 414 h 636"/>
                  <a:gd name="T92" fmla="*/ 82 w 657"/>
                  <a:gd name="T93" fmla="*/ 442 h 636"/>
                  <a:gd name="T94" fmla="*/ 40 w 657"/>
                  <a:gd name="T95" fmla="*/ 496 h 636"/>
                  <a:gd name="T96" fmla="*/ 68 w 657"/>
                  <a:gd name="T97" fmla="*/ 524 h 636"/>
                  <a:gd name="T98" fmla="*/ 116 w 657"/>
                  <a:gd name="T99" fmla="*/ 558 h 636"/>
                  <a:gd name="T100" fmla="*/ 174 w 657"/>
                  <a:gd name="T101" fmla="*/ 588 h 636"/>
                  <a:gd name="T102" fmla="*/ 214 w 657"/>
                  <a:gd name="T103" fmla="*/ 614 h 636"/>
                  <a:gd name="T104" fmla="*/ 262 w 657"/>
                  <a:gd name="T105" fmla="*/ 628 h 636"/>
                  <a:gd name="T106" fmla="*/ 302 w 657"/>
                  <a:gd name="T107" fmla="*/ 630 h 636"/>
                  <a:gd name="T108" fmla="*/ 302 w 657"/>
                  <a:gd name="T109" fmla="*/ 592 h 636"/>
                  <a:gd name="T110" fmla="*/ 338 w 657"/>
                  <a:gd name="T111" fmla="*/ 572 h 636"/>
                  <a:gd name="T112" fmla="*/ 380 w 657"/>
                  <a:gd name="T113" fmla="*/ 572 h 636"/>
                  <a:gd name="T114" fmla="*/ 421 w 657"/>
                  <a:gd name="T115" fmla="*/ 572 h 636"/>
                  <a:gd name="T116" fmla="*/ 443 w 657"/>
                  <a:gd name="T117" fmla="*/ 592 h 636"/>
                  <a:gd name="T118" fmla="*/ 469 w 657"/>
                  <a:gd name="T119" fmla="*/ 620 h 636"/>
                  <a:gd name="T120" fmla="*/ 511 w 657"/>
                  <a:gd name="T121" fmla="*/ 614 h 636"/>
                  <a:gd name="T122" fmla="*/ 531 w 657"/>
                  <a:gd name="T123" fmla="*/ 592 h 636"/>
                  <a:gd name="T124" fmla="*/ 559 w 657"/>
                  <a:gd name="T125" fmla="*/ 586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7" h="636">
                    <a:moveTo>
                      <a:pt x="559" y="586"/>
                    </a:moveTo>
                    <a:lnTo>
                      <a:pt x="567" y="580"/>
                    </a:lnTo>
                    <a:lnTo>
                      <a:pt x="567" y="572"/>
                    </a:lnTo>
                    <a:lnTo>
                      <a:pt x="573" y="566"/>
                    </a:lnTo>
                    <a:lnTo>
                      <a:pt x="567" y="558"/>
                    </a:lnTo>
                    <a:lnTo>
                      <a:pt x="553" y="558"/>
                    </a:lnTo>
                    <a:lnTo>
                      <a:pt x="545" y="558"/>
                    </a:lnTo>
                    <a:lnTo>
                      <a:pt x="539" y="544"/>
                    </a:lnTo>
                    <a:lnTo>
                      <a:pt x="539" y="538"/>
                    </a:lnTo>
                    <a:lnTo>
                      <a:pt x="539" y="524"/>
                    </a:lnTo>
                    <a:lnTo>
                      <a:pt x="539" y="516"/>
                    </a:lnTo>
                    <a:lnTo>
                      <a:pt x="545" y="510"/>
                    </a:lnTo>
                    <a:lnTo>
                      <a:pt x="545" y="504"/>
                    </a:lnTo>
                    <a:lnTo>
                      <a:pt x="545" y="496"/>
                    </a:lnTo>
                    <a:lnTo>
                      <a:pt x="539" y="490"/>
                    </a:lnTo>
                    <a:lnTo>
                      <a:pt x="531" y="490"/>
                    </a:lnTo>
                    <a:lnTo>
                      <a:pt x="525" y="482"/>
                    </a:lnTo>
                    <a:lnTo>
                      <a:pt x="525" y="476"/>
                    </a:lnTo>
                    <a:lnTo>
                      <a:pt x="531" y="476"/>
                    </a:lnTo>
                    <a:lnTo>
                      <a:pt x="539" y="476"/>
                    </a:lnTo>
                    <a:lnTo>
                      <a:pt x="545" y="476"/>
                    </a:lnTo>
                    <a:lnTo>
                      <a:pt x="553" y="468"/>
                    </a:lnTo>
                    <a:lnTo>
                      <a:pt x="559" y="462"/>
                    </a:lnTo>
                    <a:lnTo>
                      <a:pt x="567" y="454"/>
                    </a:lnTo>
                    <a:lnTo>
                      <a:pt x="559" y="448"/>
                    </a:lnTo>
                    <a:lnTo>
                      <a:pt x="559" y="442"/>
                    </a:lnTo>
                    <a:lnTo>
                      <a:pt x="553" y="434"/>
                    </a:lnTo>
                    <a:lnTo>
                      <a:pt x="553" y="428"/>
                    </a:lnTo>
                    <a:lnTo>
                      <a:pt x="559" y="428"/>
                    </a:lnTo>
                    <a:lnTo>
                      <a:pt x="559" y="420"/>
                    </a:lnTo>
                    <a:lnTo>
                      <a:pt x="559" y="414"/>
                    </a:lnTo>
                    <a:lnTo>
                      <a:pt x="553" y="406"/>
                    </a:lnTo>
                    <a:lnTo>
                      <a:pt x="553" y="400"/>
                    </a:lnTo>
                    <a:lnTo>
                      <a:pt x="559" y="400"/>
                    </a:lnTo>
                    <a:lnTo>
                      <a:pt x="553" y="392"/>
                    </a:lnTo>
                    <a:lnTo>
                      <a:pt x="553" y="386"/>
                    </a:lnTo>
                    <a:lnTo>
                      <a:pt x="559" y="386"/>
                    </a:lnTo>
                    <a:lnTo>
                      <a:pt x="567" y="386"/>
                    </a:lnTo>
                    <a:lnTo>
                      <a:pt x="567" y="378"/>
                    </a:lnTo>
                    <a:lnTo>
                      <a:pt x="559" y="366"/>
                    </a:lnTo>
                    <a:lnTo>
                      <a:pt x="553" y="366"/>
                    </a:lnTo>
                    <a:lnTo>
                      <a:pt x="553" y="372"/>
                    </a:lnTo>
                    <a:lnTo>
                      <a:pt x="545" y="372"/>
                    </a:lnTo>
                    <a:lnTo>
                      <a:pt x="539" y="386"/>
                    </a:lnTo>
                    <a:lnTo>
                      <a:pt x="525" y="392"/>
                    </a:lnTo>
                    <a:lnTo>
                      <a:pt x="519" y="378"/>
                    </a:lnTo>
                    <a:lnTo>
                      <a:pt x="525" y="366"/>
                    </a:lnTo>
                    <a:lnTo>
                      <a:pt x="539" y="352"/>
                    </a:lnTo>
                    <a:lnTo>
                      <a:pt x="539" y="344"/>
                    </a:lnTo>
                    <a:lnTo>
                      <a:pt x="545" y="338"/>
                    </a:lnTo>
                    <a:lnTo>
                      <a:pt x="559" y="338"/>
                    </a:lnTo>
                    <a:lnTo>
                      <a:pt x="573" y="332"/>
                    </a:lnTo>
                    <a:lnTo>
                      <a:pt x="581" y="318"/>
                    </a:lnTo>
                    <a:lnTo>
                      <a:pt x="581" y="310"/>
                    </a:lnTo>
                    <a:lnTo>
                      <a:pt x="587" y="304"/>
                    </a:lnTo>
                    <a:lnTo>
                      <a:pt x="595" y="310"/>
                    </a:lnTo>
                    <a:lnTo>
                      <a:pt x="601" y="318"/>
                    </a:lnTo>
                    <a:lnTo>
                      <a:pt x="609" y="304"/>
                    </a:lnTo>
                    <a:lnTo>
                      <a:pt x="615" y="310"/>
                    </a:lnTo>
                    <a:lnTo>
                      <a:pt x="615" y="290"/>
                    </a:lnTo>
                    <a:lnTo>
                      <a:pt x="621" y="282"/>
                    </a:lnTo>
                    <a:lnTo>
                      <a:pt x="621" y="276"/>
                    </a:lnTo>
                    <a:lnTo>
                      <a:pt x="621" y="262"/>
                    </a:lnTo>
                    <a:lnTo>
                      <a:pt x="621" y="254"/>
                    </a:lnTo>
                    <a:lnTo>
                      <a:pt x="629" y="248"/>
                    </a:lnTo>
                    <a:lnTo>
                      <a:pt x="629" y="242"/>
                    </a:lnTo>
                    <a:lnTo>
                      <a:pt x="635" y="228"/>
                    </a:lnTo>
                    <a:lnTo>
                      <a:pt x="643" y="220"/>
                    </a:lnTo>
                    <a:lnTo>
                      <a:pt x="657" y="208"/>
                    </a:lnTo>
                    <a:lnTo>
                      <a:pt x="649" y="200"/>
                    </a:lnTo>
                    <a:lnTo>
                      <a:pt x="643" y="200"/>
                    </a:lnTo>
                    <a:lnTo>
                      <a:pt x="635" y="200"/>
                    </a:lnTo>
                    <a:lnTo>
                      <a:pt x="629" y="192"/>
                    </a:lnTo>
                    <a:lnTo>
                      <a:pt x="615" y="192"/>
                    </a:lnTo>
                    <a:lnTo>
                      <a:pt x="601" y="186"/>
                    </a:lnTo>
                    <a:lnTo>
                      <a:pt x="595" y="180"/>
                    </a:lnTo>
                    <a:lnTo>
                      <a:pt x="587" y="166"/>
                    </a:lnTo>
                    <a:lnTo>
                      <a:pt x="581" y="152"/>
                    </a:lnTo>
                    <a:lnTo>
                      <a:pt x="567" y="152"/>
                    </a:lnTo>
                    <a:lnTo>
                      <a:pt x="559" y="146"/>
                    </a:lnTo>
                    <a:lnTo>
                      <a:pt x="553" y="146"/>
                    </a:lnTo>
                    <a:lnTo>
                      <a:pt x="545" y="146"/>
                    </a:lnTo>
                    <a:lnTo>
                      <a:pt x="539" y="152"/>
                    </a:lnTo>
                    <a:lnTo>
                      <a:pt x="539" y="146"/>
                    </a:lnTo>
                    <a:lnTo>
                      <a:pt x="531" y="138"/>
                    </a:lnTo>
                    <a:lnTo>
                      <a:pt x="525" y="130"/>
                    </a:lnTo>
                    <a:lnTo>
                      <a:pt x="519" y="130"/>
                    </a:lnTo>
                    <a:lnTo>
                      <a:pt x="519" y="124"/>
                    </a:lnTo>
                    <a:lnTo>
                      <a:pt x="511" y="118"/>
                    </a:lnTo>
                    <a:lnTo>
                      <a:pt x="511" y="110"/>
                    </a:lnTo>
                    <a:lnTo>
                      <a:pt x="505" y="104"/>
                    </a:lnTo>
                    <a:lnTo>
                      <a:pt x="505" y="96"/>
                    </a:lnTo>
                    <a:lnTo>
                      <a:pt x="497" y="96"/>
                    </a:lnTo>
                    <a:lnTo>
                      <a:pt x="497" y="104"/>
                    </a:lnTo>
                    <a:lnTo>
                      <a:pt x="491" y="104"/>
                    </a:lnTo>
                    <a:lnTo>
                      <a:pt x="483" y="104"/>
                    </a:lnTo>
                    <a:lnTo>
                      <a:pt x="477" y="96"/>
                    </a:lnTo>
                    <a:lnTo>
                      <a:pt x="483" y="90"/>
                    </a:lnTo>
                    <a:lnTo>
                      <a:pt x="483" y="84"/>
                    </a:lnTo>
                    <a:lnTo>
                      <a:pt x="483" y="68"/>
                    </a:lnTo>
                    <a:lnTo>
                      <a:pt x="477" y="68"/>
                    </a:lnTo>
                    <a:lnTo>
                      <a:pt x="469" y="68"/>
                    </a:lnTo>
                    <a:lnTo>
                      <a:pt x="463" y="68"/>
                    </a:lnTo>
                    <a:lnTo>
                      <a:pt x="455" y="56"/>
                    </a:lnTo>
                    <a:lnTo>
                      <a:pt x="455" y="48"/>
                    </a:lnTo>
                    <a:lnTo>
                      <a:pt x="449" y="48"/>
                    </a:lnTo>
                    <a:lnTo>
                      <a:pt x="443" y="48"/>
                    </a:lnTo>
                    <a:lnTo>
                      <a:pt x="443" y="42"/>
                    </a:lnTo>
                    <a:lnTo>
                      <a:pt x="443" y="34"/>
                    </a:lnTo>
                    <a:lnTo>
                      <a:pt x="435" y="34"/>
                    </a:lnTo>
                    <a:lnTo>
                      <a:pt x="429" y="34"/>
                    </a:lnTo>
                    <a:lnTo>
                      <a:pt x="429" y="28"/>
                    </a:lnTo>
                    <a:lnTo>
                      <a:pt x="421" y="20"/>
                    </a:lnTo>
                    <a:lnTo>
                      <a:pt x="421" y="14"/>
                    </a:lnTo>
                    <a:lnTo>
                      <a:pt x="421" y="8"/>
                    </a:lnTo>
                    <a:lnTo>
                      <a:pt x="421" y="0"/>
                    </a:lnTo>
                    <a:lnTo>
                      <a:pt x="407" y="0"/>
                    </a:lnTo>
                    <a:lnTo>
                      <a:pt x="401" y="0"/>
                    </a:lnTo>
                    <a:lnTo>
                      <a:pt x="392" y="0"/>
                    </a:lnTo>
                    <a:lnTo>
                      <a:pt x="386" y="0"/>
                    </a:lnTo>
                    <a:lnTo>
                      <a:pt x="380" y="0"/>
                    </a:lnTo>
                    <a:lnTo>
                      <a:pt x="372" y="8"/>
                    </a:lnTo>
                    <a:lnTo>
                      <a:pt x="372" y="14"/>
                    </a:lnTo>
                    <a:lnTo>
                      <a:pt x="372" y="20"/>
                    </a:lnTo>
                    <a:lnTo>
                      <a:pt x="366" y="28"/>
                    </a:lnTo>
                    <a:lnTo>
                      <a:pt x="366" y="34"/>
                    </a:lnTo>
                    <a:lnTo>
                      <a:pt x="366" y="48"/>
                    </a:lnTo>
                    <a:lnTo>
                      <a:pt x="366" y="56"/>
                    </a:lnTo>
                    <a:lnTo>
                      <a:pt x="358" y="56"/>
                    </a:lnTo>
                    <a:lnTo>
                      <a:pt x="352" y="56"/>
                    </a:lnTo>
                    <a:lnTo>
                      <a:pt x="344" y="62"/>
                    </a:lnTo>
                    <a:lnTo>
                      <a:pt x="338" y="62"/>
                    </a:lnTo>
                    <a:lnTo>
                      <a:pt x="324" y="68"/>
                    </a:lnTo>
                    <a:lnTo>
                      <a:pt x="310" y="76"/>
                    </a:lnTo>
                    <a:lnTo>
                      <a:pt x="296" y="76"/>
                    </a:lnTo>
                    <a:lnTo>
                      <a:pt x="282" y="76"/>
                    </a:lnTo>
                    <a:lnTo>
                      <a:pt x="282" y="84"/>
                    </a:lnTo>
                    <a:lnTo>
                      <a:pt x="290" y="84"/>
                    </a:lnTo>
                    <a:lnTo>
                      <a:pt x="302" y="90"/>
                    </a:lnTo>
                    <a:lnTo>
                      <a:pt x="310" y="96"/>
                    </a:lnTo>
                    <a:lnTo>
                      <a:pt x="302" y="96"/>
                    </a:lnTo>
                    <a:lnTo>
                      <a:pt x="302" y="104"/>
                    </a:lnTo>
                    <a:lnTo>
                      <a:pt x="290" y="96"/>
                    </a:lnTo>
                    <a:lnTo>
                      <a:pt x="276" y="96"/>
                    </a:lnTo>
                    <a:lnTo>
                      <a:pt x="262" y="96"/>
                    </a:lnTo>
                    <a:lnTo>
                      <a:pt x="262" y="90"/>
                    </a:lnTo>
                    <a:lnTo>
                      <a:pt x="248" y="90"/>
                    </a:lnTo>
                    <a:lnTo>
                      <a:pt x="234" y="84"/>
                    </a:lnTo>
                    <a:lnTo>
                      <a:pt x="220" y="76"/>
                    </a:lnTo>
                    <a:lnTo>
                      <a:pt x="220" y="84"/>
                    </a:lnTo>
                    <a:lnTo>
                      <a:pt x="206" y="76"/>
                    </a:lnTo>
                    <a:lnTo>
                      <a:pt x="214" y="68"/>
                    </a:lnTo>
                    <a:lnTo>
                      <a:pt x="206" y="62"/>
                    </a:lnTo>
                    <a:lnTo>
                      <a:pt x="206" y="56"/>
                    </a:lnTo>
                    <a:lnTo>
                      <a:pt x="214" y="48"/>
                    </a:lnTo>
                    <a:lnTo>
                      <a:pt x="206" y="48"/>
                    </a:lnTo>
                    <a:lnTo>
                      <a:pt x="200" y="48"/>
                    </a:lnTo>
                    <a:lnTo>
                      <a:pt x="192" y="42"/>
                    </a:lnTo>
                    <a:lnTo>
                      <a:pt x="186" y="42"/>
                    </a:lnTo>
                    <a:lnTo>
                      <a:pt x="186" y="48"/>
                    </a:lnTo>
                    <a:lnTo>
                      <a:pt x="178" y="56"/>
                    </a:lnTo>
                    <a:lnTo>
                      <a:pt x="178" y="68"/>
                    </a:lnTo>
                    <a:lnTo>
                      <a:pt x="178" y="76"/>
                    </a:lnTo>
                    <a:lnTo>
                      <a:pt x="186" y="90"/>
                    </a:lnTo>
                    <a:lnTo>
                      <a:pt x="178" y="96"/>
                    </a:lnTo>
                    <a:lnTo>
                      <a:pt x="178" y="104"/>
                    </a:lnTo>
                    <a:lnTo>
                      <a:pt x="178" y="110"/>
                    </a:lnTo>
                    <a:lnTo>
                      <a:pt x="186" y="118"/>
                    </a:lnTo>
                    <a:lnTo>
                      <a:pt x="186" y="124"/>
                    </a:lnTo>
                    <a:lnTo>
                      <a:pt x="172" y="124"/>
                    </a:lnTo>
                    <a:lnTo>
                      <a:pt x="164" y="118"/>
                    </a:lnTo>
                    <a:lnTo>
                      <a:pt x="158" y="118"/>
                    </a:lnTo>
                    <a:lnTo>
                      <a:pt x="152" y="118"/>
                    </a:lnTo>
                    <a:lnTo>
                      <a:pt x="158" y="110"/>
                    </a:lnTo>
                    <a:lnTo>
                      <a:pt x="144" y="110"/>
                    </a:lnTo>
                    <a:lnTo>
                      <a:pt x="130" y="110"/>
                    </a:lnTo>
                    <a:lnTo>
                      <a:pt x="124" y="104"/>
                    </a:lnTo>
                    <a:lnTo>
                      <a:pt x="124" y="110"/>
                    </a:lnTo>
                    <a:lnTo>
                      <a:pt x="110" y="110"/>
                    </a:lnTo>
                    <a:lnTo>
                      <a:pt x="110" y="104"/>
                    </a:lnTo>
                    <a:lnTo>
                      <a:pt x="110" y="90"/>
                    </a:lnTo>
                    <a:lnTo>
                      <a:pt x="102" y="90"/>
                    </a:lnTo>
                    <a:lnTo>
                      <a:pt x="96" y="90"/>
                    </a:lnTo>
                    <a:lnTo>
                      <a:pt x="96" y="84"/>
                    </a:lnTo>
                    <a:lnTo>
                      <a:pt x="102" y="76"/>
                    </a:lnTo>
                    <a:lnTo>
                      <a:pt x="96" y="84"/>
                    </a:lnTo>
                    <a:lnTo>
                      <a:pt x="82" y="76"/>
                    </a:lnTo>
                    <a:lnTo>
                      <a:pt x="76" y="84"/>
                    </a:lnTo>
                    <a:lnTo>
                      <a:pt x="76" y="90"/>
                    </a:lnTo>
                    <a:lnTo>
                      <a:pt x="62" y="90"/>
                    </a:lnTo>
                    <a:lnTo>
                      <a:pt x="62" y="84"/>
                    </a:lnTo>
                    <a:lnTo>
                      <a:pt x="48" y="84"/>
                    </a:lnTo>
                    <a:lnTo>
                      <a:pt x="40" y="84"/>
                    </a:lnTo>
                    <a:lnTo>
                      <a:pt x="34" y="76"/>
                    </a:lnTo>
                    <a:lnTo>
                      <a:pt x="26" y="84"/>
                    </a:lnTo>
                    <a:lnTo>
                      <a:pt x="20" y="84"/>
                    </a:lnTo>
                    <a:lnTo>
                      <a:pt x="12" y="84"/>
                    </a:lnTo>
                    <a:lnTo>
                      <a:pt x="6" y="84"/>
                    </a:lnTo>
                    <a:lnTo>
                      <a:pt x="6" y="90"/>
                    </a:lnTo>
                    <a:lnTo>
                      <a:pt x="12" y="90"/>
                    </a:lnTo>
                    <a:lnTo>
                      <a:pt x="20" y="90"/>
                    </a:lnTo>
                    <a:lnTo>
                      <a:pt x="26" y="90"/>
                    </a:lnTo>
                    <a:lnTo>
                      <a:pt x="26" y="96"/>
                    </a:lnTo>
                    <a:lnTo>
                      <a:pt x="26" y="104"/>
                    </a:lnTo>
                    <a:lnTo>
                      <a:pt x="20" y="104"/>
                    </a:lnTo>
                    <a:lnTo>
                      <a:pt x="20" y="110"/>
                    </a:lnTo>
                    <a:lnTo>
                      <a:pt x="12" y="110"/>
                    </a:lnTo>
                    <a:lnTo>
                      <a:pt x="6" y="110"/>
                    </a:lnTo>
                    <a:lnTo>
                      <a:pt x="0" y="118"/>
                    </a:lnTo>
                    <a:lnTo>
                      <a:pt x="6" y="118"/>
                    </a:lnTo>
                    <a:lnTo>
                      <a:pt x="12" y="124"/>
                    </a:lnTo>
                    <a:lnTo>
                      <a:pt x="20" y="138"/>
                    </a:lnTo>
                    <a:lnTo>
                      <a:pt x="20" y="130"/>
                    </a:lnTo>
                    <a:lnTo>
                      <a:pt x="34" y="138"/>
                    </a:lnTo>
                    <a:lnTo>
                      <a:pt x="34" y="130"/>
                    </a:lnTo>
                    <a:lnTo>
                      <a:pt x="40" y="130"/>
                    </a:lnTo>
                    <a:lnTo>
                      <a:pt x="40" y="138"/>
                    </a:lnTo>
                    <a:lnTo>
                      <a:pt x="54" y="152"/>
                    </a:lnTo>
                    <a:lnTo>
                      <a:pt x="62" y="152"/>
                    </a:lnTo>
                    <a:lnTo>
                      <a:pt x="62" y="158"/>
                    </a:lnTo>
                    <a:lnTo>
                      <a:pt x="68" y="158"/>
                    </a:lnTo>
                    <a:lnTo>
                      <a:pt x="68" y="166"/>
                    </a:lnTo>
                    <a:lnTo>
                      <a:pt x="68" y="172"/>
                    </a:lnTo>
                    <a:lnTo>
                      <a:pt x="82" y="172"/>
                    </a:lnTo>
                    <a:lnTo>
                      <a:pt x="96" y="172"/>
                    </a:lnTo>
                    <a:lnTo>
                      <a:pt x="88" y="180"/>
                    </a:lnTo>
                    <a:lnTo>
                      <a:pt x="96" y="180"/>
                    </a:lnTo>
                    <a:lnTo>
                      <a:pt x="102" y="186"/>
                    </a:lnTo>
                    <a:lnTo>
                      <a:pt x="96" y="200"/>
                    </a:lnTo>
                    <a:lnTo>
                      <a:pt x="102" y="200"/>
                    </a:lnTo>
                    <a:lnTo>
                      <a:pt x="110" y="208"/>
                    </a:lnTo>
                    <a:lnTo>
                      <a:pt x="124" y="208"/>
                    </a:lnTo>
                    <a:lnTo>
                      <a:pt x="110" y="208"/>
                    </a:lnTo>
                    <a:lnTo>
                      <a:pt x="110" y="214"/>
                    </a:lnTo>
                    <a:lnTo>
                      <a:pt x="116" y="214"/>
                    </a:lnTo>
                    <a:lnTo>
                      <a:pt x="116" y="220"/>
                    </a:lnTo>
                    <a:lnTo>
                      <a:pt x="102" y="234"/>
                    </a:lnTo>
                    <a:lnTo>
                      <a:pt x="102" y="242"/>
                    </a:lnTo>
                    <a:lnTo>
                      <a:pt x="110" y="254"/>
                    </a:lnTo>
                    <a:lnTo>
                      <a:pt x="116" y="254"/>
                    </a:lnTo>
                    <a:lnTo>
                      <a:pt x="116" y="270"/>
                    </a:lnTo>
                    <a:lnTo>
                      <a:pt x="124" y="276"/>
                    </a:lnTo>
                    <a:lnTo>
                      <a:pt x="124" y="282"/>
                    </a:lnTo>
                    <a:lnTo>
                      <a:pt x="138" y="290"/>
                    </a:lnTo>
                    <a:lnTo>
                      <a:pt x="144" y="282"/>
                    </a:lnTo>
                    <a:lnTo>
                      <a:pt x="144" y="290"/>
                    </a:lnTo>
                    <a:lnTo>
                      <a:pt x="144" y="296"/>
                    </a:lnTo>
                    <a:lnTo>
                      <a:pt x="138" y="304"/>
                    </a:lnTo>
                    <a:lnTo>
                      <a:pt x="144" y="304"/>
                    </a:lnTo>
                    <a:lnTo>
                      <a:pt x="138" y="310"/>
                    </a:lnTo>
                    <a:lnTo>
                      <a:pt x="138" y="324"/>
                    </a:lnTo>
                    <a:lnTo>
                      <a:pt x="138" y="332"/>
                    </a:lnTo>
                    <a:lnTo>
                      <a:pt x="130" y="338"/>
                    </a:lnTo>
                    <a:lnTo>
                      <a:pt x="130" y="344"/>
                    </a:lnTo>
                    <a:lnTo>
                      <a:pt x="138" y="344"/>
                    </a:lnTo>
                    <a:lnTo>
                      <a:pt x="138" y="352"/>
                    </a:lnTo>
                    <a:lnTo>
                      <a:pt x="138" y="358"/>
                    </a:lnTo>
                    <a:lnTo>
                      <a:pt x="144" y="366"/>
                    </a:lnTo>
                    <a:lnTo>
                      <a:pt x="144" y="372"/>
                    </a:lnTo>
                    <a:lnTo>
                      <a:pt x="144" y="386"/>
                    </a:lnTo>
                    <a:lnTo>
                      <a:pt x="144" y="392"/>
                    </a:lnTo>
                    <a:lnTo>
                      <a:pt x="138" y="386"/>
                    </a:lnTo>
                    <a:lnTo>
                      <a:pt x="138" y="378"/>
                    </a:lnTo>
                    <a:lnTo>
                      <a:pt x="138" y="372"/>
                    </a:lnTo>
                    <a:lnTo>
                      <a:pt x="130" y="366"/>
                    </a:lnTo>
                    <a:lnTo>
                      <a:pt x="130" y="358"/>
                    </a:lnTo>
                    <a:lnTo>
                      <a:pt x="124" y="352"/>
                    </a:lnTo>
                    <a:lnTo>
                      <a:pt x="124" y="344"/>
                    </a:lnTo>
                    <a:lnTo>
                      <a:pt x="116" y="352"/>
                    </a:lnTo>
                    <a:lnTo>
                      <a:pt x="116" y="372"/>
                    </a:lnTo>
                    <a:lnTo>
                      <a:pt x="116" y="378"/>
                    </a:lnTo>
                    <a:lnTo>
                      <a:pt x="110" y="386"/>
                    </a:lnTo>
                    <a:lnTo>
                      <a:pt x="110" y="400"/>
                    </a:lnTo>
                    <a:lnTo>
                      <a:pt x="102" y="400"/>
                    </a:lnTo>
                    <a:lnTo>
                      <a:pt x="116" y="406"/>
                    </a:lnTo>
                    <a:lnTo>
                      <a:pt x="110" y="414"/>
                    </a:lnTo>
                    <a:lnTo>
                      <a:pt x="96" y="414"/>
                    </a:lnTo>
                    <a:lnTo>
                      <a:pt x="96" y="420"/>
                    </a:lnTo>
                    <a:lnTo>
                      <a:pt x="96" y="428"/>
                    </a:lnTo>
                    <a:lnTo>
                      <a:pt x="88" y="434"/>
                    </a:lnTo>
                    <a:lnTo>
                      <a:pt x="88" y="442"/>
                    </a:lnTo>
                    <a:lnTo>
                      <a:pt x="82" y="442"/>
                    </a:lnTo>
                    <a:lnTo>
                      <a:pt x="82" y="454"/>
                    </a:lnTo>
                    <a:lnTo>
                      <a:pt x="76" y="454"/>
                    </a:lnTo>
                    <a:lnTo>
                      <a:pt x="68" y="462"/>
                    </a:lnTo>
                    <a:lnTo>
                      <a:pt x="68" y="468"/>
                    </a:lnTo>
                    <a:lnTo>
                      <a:pt x="54" y="482"/>
                    </a:lnTo>
                    <a:lnTo>
                      <a:pt x="40" y="496"/>
                    </a:lnTo>
                    <a:lnTo>
                      <a:pt x="48" y="504"/>
                    </a:lnTo>
                    <a:lnTo>
                      <a:pt x="54" y="510"/>
                    </a:lnTo>
                    <a:lnTo>
                      <a:pt x="54" y="516"/>
                    </a:lnTo>
                    <a:lnTo>
                      <a:pt x="54" y="524"/>
                    </a:lnTo>
                    <a:lnTo>
                      <a:pt x="62" y="524"/>
                    </a:lnTo>
                    <a:lnTo>
                      <a:pt x="68" y="524"/>
                    </a:lnTo>
                    <a:lnTo>
                      <a:pt x="82" y="538"/>
                    </a:lnTo>
                    <a:lnTo>
                      <a:pt x="88" y="538"/>
                    </a:lnTo>
                    <a:lnTo>
                      <a:pt x="96" y="552"/>
                    </a:lnTo>
                    <a:lnTo>
                      <a:pt x="102" y="552"/>
                    </a:lnTo>
                    <a:lnTo>
                      <a:pt x="110" y="552"/>
                    </a:lnTo>
                    <a:lnTo>
                      <a:pt x="116" y="558"/>
                    </a:lnTo>
                    <a:lnTo>
                      <a:pt x="130" y="572"/>
                    </a:lnTo>
                    <a:lnTo>
                      <a:pt x="138" y="572"/>
                    </a:lnTo>
                    <a:lnTo>
                      <a:pt x="152" y="580"/>
                    </a:lnTo>
                    <a:lnTo>
                      <a:pt x="158" y="580"/>
                    </a:lnTo>
                    <a:lnTo>
                      <a:pt x="158" y="586"/>
                    </a:lnTo>
                    <a:lnTo>
                      <a:pt x="174" y="588"/>
                    </a:lnTo>
                    <a:lnTo>
                      <a:pt x="190" y="582"/>
                    </a:lnTo>
                    <a:lnTo>
                      <a:pt x="198" y="588"/>
                    </a:lnTo>
                    <a:lnTo>
                      <a:pt x="202" y="596"/>
                    </a:lnTo>
                    <a:lnTo>
                      <a:pt x="200" y="606"/>
                    </a:lnTo>
                    <a:lnTo>
                      <a:pt x="206" y="614"/>
                    </a:lnTo>
                    <a:lnTo>
                      <a:pt x="214" y="614"/>
                    </a:lnTo>
                    <a:lnTo>
                      <a:pt x="220" y="614"/>
                    </a:lnTo>
                    <a:lnTo>
                      <a:pt x="226" y="614"/>
                    </a:lnTo>
                    <a:lnTo>
                      <a:pt x="234" y="620"/>
                    </a:lnTo>
                    <a:lnTo>
                      <a:pt x="240" y="628"/>
                    </a:lnTo>
                    <a:lnTo>
                      <a:pt x="248" y="628"/>
                    </a:lnTo>
                    <a:lnTo>
                      <a:pt x="262" y="628"/>
                    </a:lnTo>
                    <a:lnTo>
                      <a:pt x="268" y="634"/>
                    </a:lnTo>
                    <a:lnTo>
                      <a:pt x="276" y="636"/>
                    </a:lnTo>
                    <a:lnTo>
                      <a:pt x="282" y="634"/>
                    </a:lnTo>
                    <a:lnTo>
                      <a:pt x="290" y="634"/>
                    </a:lnTo>
                    <a:lnTo>
                      <a:pt x="294" y="636"/>
                    </a:lnTo>
                    <a:lnTo>
                      <a:pt x="302" y="630"/>
                    </a:lnTo>
                    <a:lnTo>
                      <a:pt x="300" y="628"/>
                    </a:lnTo>
                    <a:lnTo>
                      <a:pt x="298" y="624"/>
                    </a:lnTo>
                    <a:lnTo>
                      <a:pt x="296" y="620"/>
                    </a:lnTo>
                    <a:lnTo>
                      <a:pt x="302" y="614"/>
                    </a:lnTo>
                    <a:lnTo>
                      <a:pt x="296" y="606"/>
                    </a:lnTo>
                    <a:lnTo>
                      <a:pt x="302" y="592"/>
                    </a:lnTo>
                    <a:lnTo>
                      <a:pt x="302" y="586"/>
                    </a:lnTo>
                    <a:lnTo>
                      <a:pt x="310" y="580"/>
                    </a:lnTo>
                    <a:lnTo>
                      <a:pt x="316" y="580"/>
                    </a:lnTo>
                    <a:lnTo>
                      <a:pt x="324" y="572"/>
                    </a:lnTo>
                    <a:lnTo>
                      <a:pt x="330" y="572"/>
                    </a:lnTo>
                    <a:lnTo>
                      <a:pt x="338" y="572"/>
                    </a:lnTo>
                    <a:lnTo>
                      <a:pt x="344" y="572"/>
                    </a:lnTo>
                    <a:lnTo>
                      <a:pt x="352" y="566"/>
                    </a:lnTo>
                    <a:lnTo>
                      <a:pt x="358" y="558"/>
                    </a:lnTo>
                    <a:lnTo>
                      <a:pt x="366" y="558"/>
                    </a:lnTo>
                    <a:lnTo>
                      <a:pt x="372" y="566"/>
                    </a:lnTo>
                    <a:lnTo>
                      <a:pt x="380" y="572"/>
                    </a:lnTo>
                    <a:lnTo>
                      <a:pt x="386" y="572"/>
                    </a:lnTo>
                    <a:lnTo>
                      <a:pt x="401" y="572"/>
                    </a:lnTo>
                    <a:lnTo>
                      <a:pt x="401" y="586"/>
                    </a:lnTo>
                    <a:lnTo>
                      <a:pt x="407" y="580"/>
                    </a:lnTo>
                    <a:lnTo>
                      <a:pt x="415" y="580"/>
                    </a:lnTo>
                    <a:lnTo>
                      <a:pt x="421" y="572"/>
                    </a:lnTo>
                    <a:lnTo>
                      <a:pt x="429" y="572"/>
                    </a:lnTo>
                    <a:lnTo>
                      <a:pt x="429" y="580"/>
                    </a:lnTo>
                    <a:lnTo>
                      <a:pt x="429" y="586"/>
                    </a:lnTo>
                    <a:lnTo>
                      <a:pt x="435" y="586"/>
                    </a:lnTo>
                    <a:lnTo>
                      <a:pt x="443" y="586"/>
                    </a:lnTo>
                    <a:lnTo>
                      <a:pt x="443" y="592"/>
                    </a:lnTo>
                    <a:lnTo>
                      <a:pt x="443" y="600"/>
                    </a:lnTo>
                    <a:lnTo>
                      <a:pt x="449" y="592"/>
                    </a:lnTo>
                    <a:lnTo>
                      <a:pt x="455" y="600"/>
                    </a:lnTo>
                    <a:lnTo>
                      <a:pt x="463" y="606"/>
                    </a:lnTo>
                    <a:lnTo>
                      <a:pt x="463" y="614"/>
                    </a:lnTo>
                    <a:lnTo>
                      <a:pt x="469" y="620"/>
                    </a:lnTo>
                    <a:lnTo>
                      <a:pt x="477" y="620"/>
                    </a:lnTo>
                    <a:lnTo>
                      <a:pt x="483" y="620"/>
                    </a:lnTo>
                    <a:lnTo>
                      <a:pt x="491" y="620"/>
                    </a:lnTo>
                    <a:lnTo>
                      <a:pt x="497" y="620"/>
                    </a:lnTo>
                    <a:lnTo>
                      <a:pt x="505" y="620"/>
                    </a:lnTo>
                    <a:lnTo>
                      <a:pt x="511" y="614"/>
                    </a:lnTo>
                    <a:lnTo>
                      <a:pt x="511" y="606"/>
                    </a:lnTo>
                    <a:lnTo>
                      <a:pt x="511" y="600"/>
                    </a:lnTo>
                    <a:lnTo>
                      <a:pt x="519" y="600"/>
                    </a:lnTo>
                    <a:lnTo>
                      <a:pt x="525" y="600"/>
                    </a:lnTo>
                    <a:lnTo>
                      <a:pt x="531" y="600"/>
                    </a:lnTo>
                    <a:lnTo>
                      <a:pt x="531" y="592"/>
                    </a:lnTo>
                    <a:lnTo>
                      <a:pt x="539" y="592"/>
                    </a:lnTo>
                    <a:lnTo>
                      <a:pt x="545" y="592"/>
                    </a:lnTo>
                    <a:lnTo>
                      <a:pt x="545" y="600"/>
                    </a:lnTo>
                    <a:lnTo>
                      <a:pt x="559" y="586"/>
                    </a:lnTo>
                    <a:lnTo>
                      <a:pt x="553" y="592"/>
                    </a:lnTo>
                    <a:lnTo>
                      <a:pt x="559" y="586"/>
                    </a:lnTo>
                    <a:lnTo>
                      <a:pt x="559" y="586"/>
                    </a:lnTo>
                    <a:lnTo>
                      <a:pt x="559" y="586"/>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solidFill>
                    <a:schemeClr val="accent2"/>
                  </a:solidFill>
                </a:endParaRPr>
              </a:p>
            </p:txBody>
          </p:sp>
          <p:sp>
            <p:nvSpPr>
              <p:cNvPr id="783" name="Freeform 27"/>
              <p:cNvSpPr>
                <a:spLocks/>
              </p:cNvSpPr>
              <p:nvPr/>
            </p:nvSpPr>
            <p:spPr bwMode="gray">
              <a:xfrm>
                <a:off x="3115399" y="777146"/>
                <a:ext cx="504937" cy="425544"/>
              </a:xfrm>
              <a:custGeom>
                <a:avLst/>
                <a:gdLst>
                  <a:gd name="T0" fmla="*/ 22 w 318"/>
                  <a:gd name="T1" fmla="*/ 178 h 268"/>
                  <a:gd name="T2" fmla="*/ 50 w 318"/>
                  <a:gd name="T3" fmla="*/ 192 h 268"/>
                  <a:gd name="T4" fmla="*/ 50 w 318"/>
                  <a:gd name="T5" fmla="*/ 218 h 268"/>
                  <a:gd name="T6" fmla="*/ 84 w 318"/>
                  <a:gd name="T7" fmla="*/ 240 h 268"/>
                  <a:gd name="T8" fmla="*/ 104 w 318"/>
                  <a:gd name="T9" fmla="*/ 268 h 268"/>
                  <a:gd name="T10" fmla="*/ 118 w 318"/>
                  <a:gd name="T11" fmla="*/ 260 h 268"/>
                  <a:gd name="T12" fmla="*/ 160 w 318"/>
                  <a:gd name="T13" fmla="*/ 254 h 268"/>
                  <a:gd name="T14" fmla="*/ 194 w 318"/>
                  <a:gd name="T15" fmla="*/ 260 h 268"/>
                  <a:gd name="T16" fmla="*/ 228 w 318"/>
                  <a:gd name="T17" fmla="*/ 254 h 268"/>
                  <a:gd name="T18" fmla="*/ 250 w 318"/>
                  <a:gd name="T19" fmla="*/ 260 h 268"/>
                  <a:gd name="T20" fmla="*/ 284 w 318"/>
                  <a:gd name="T21" fmla="*/ 248 h 268"/>
                  <a:gd name="T22" fmla="*/ 312 w 318"/>
                  <a:gd name="T23" fmla="*/ 226 h 268"/>
                  <a:gd name="T24" fmla="*/ 318 w 318"/>
                  <a:gd name="T25" fmla="*/ 198 h 268"/>
                  <a:gd name="T26" fmla="*/ 298 w 318"/>
                  <a:gd name="T27" fmla="*/ 178 h 268"/>
                  <a:gd name="T28" fmla="*/ 312 w 318"/>
                  <a:gd name="T29" fmla="*/ 164 h 268"/>
                  <a:gd name="T30" fmla="*/ 318 w 318"/>
                  <a:gd name="T31" fmla="*/ 136 h 268"/>
                  <a:gd name="T32" fmla="*/ 298 w 318"/>
                  <a:gd name="T33" fmla="*/ 130 h 268"/>
                  <a:gd name="T34" fmla="*/ 306 w 318"/>
                  <a:gd name="T35" fmla="*/ 102 h 268"/>
                  <a:gd name="T36" fmla="*/ 284 w 318"/>
                  <a:gd name="T37" fmla="*/ 116 h 268"/>
                  <a:gd name="T38" fmla="*/ 264 w 318"/>
                  <a:gd name="T39" fmla="*/ 110 h 268"/>
                  <a:gd name="T40" fmla="*/ 236 w 318"/>
                  <a:gd name="T41" fmla="*/ 102 h 268"/>
                  <a:gd name="T42" fmla="*/ 222 w 318"/>
                  <a:gd name="T43" fmla="*/ 122 h 268"/>
                  <a:gd name="T44" fmla="*/ 216 w 318"/>
                  <a:gd name="T45" fmla="*/ 102 h 268"/>
                  <a:gd name="T46" fmla="*/ 194 w 318"/>
                  <a:gd name="T47" fmla="*/ 82 h 268"/>
                  <a:gd name="T48" fmla="*/ 174 w 318"/>
                  <a:gd name="T49" fmla="*/ 102 h 268"/>
                  <a:gd name="T50" fmla="*/ 166 w 318"/>
                  <a:gd name="T51" fmla="*/ 68 h 268"/>
                  <a:gd name="T52" fmla="*/ 146 w 318"/>
                  <a:gd name="T53" fmla="*/ 88 h 268"/>
                  <a:gd name="T54" fmla="*/ 118 w 318"/>
                  <a:gd name="T55" fmla="*/ 102 h 268"/>
                  <a:gd name="T56" fmla="*/ 118 w 318"/>
                  <a:gd name="T57" fmla="*/ 82 h 268"/>
                  <a:gd name="T58" fmla="*/ 132 w 318"/>
                  <a:gd name="T59" fmla="*/ 60 h 268"/>
                  <a:gd name="T60" fmla="*/ 138 w 318"/>
                  <a:gd name="T61" fmla="*/ 34 h 268"/>
                  <a:gd name="T62" fmla="*/ 112 w 318"/>
                  <a:gd name="T63" fmla="*/ 0 h 268"/>
                  <a:gd name="T64" fmla="*/ 118 w 318"/>
                  <a:gd name="T65" fmla="*/ 26 h 268"/>
                  <a:gd name="T66" fmla="*/ 104 w 318"/>
                  <a:gd name="T67" fmla="*/ 40 h 268"/>
                  <a:gd name="T68" fmla="*/ 96 w 318"/>
                  <a:gd name="T69" fmla="*/ 6 h 268"/>
                  <a:gd name="T70" fmla="*/ 84 w 318"/>
                  <a:gd name="T71" fmla="*/ 26 h 268"/>
                  <a:gd name="T72" fmla="*/ 70 w 318"/>
                  <a:gd name="T73" fmla="*/ 40 h 268"/>
                  <a:gd name="T74" fmla="*/ 56 w 318"/>
                  <a:gd name="T75" fmla="*/ 20 h 268"/>
                  <a:gd name="T76" fmla="*/ 50 w 318"/>
                  <a:gd name="T77" fmla="*/ 26 h 268"/>
                  <a:gd name="T78" fmla="*/ 56 w 318"/>
                  <a:gd name="T79" fmla="*/ 40 h 268"/>
                  <a:gd name="T80" fmla="*/ 90 w 318"/>
                  <a:gd name="T81" fmla="*/ 60 h 268"/>
                  <a:gd name="T82" fmla="*/ 104 w 318"/>
                  <a:gd name="T83" fmla="*/ 82 h 268"/>
                  <a:gd name="T84" fmla="*/ 76 w 318"/>
                  <a:gd name="T85" fmla="*/ 82 h 268"/>
                  <a:gd name="T86" fmla="*/ 76 w 318"/>
                  <a:gd name="T87" fmla="*/ 102 h 268"/>
                  <a:gd name="T88" fmla="*/ 42 w 318"/>
                  <a:gd name="T89" fmla="*/ 82 h 268"/>
                  <a:gd name="T90" fmla="*/ 28 w 318"/>
                  <a:gd name="T91" fmla="*/ 88 h 268"/>
                  <a:gd name="T92" fmla="*/ 56 w 318"/>
                  <a:gd name="T93" fmla="*/ 102 h 268"/>
                  <a:gd name="T94" fmla="*/ 50 w 318"/>
                  <a:gd name="T95" fmla="*/ 136 h 268"/>
                  <a:gd name="T96" fmla="*/ 42 w 318"/>
                  <a:gd name="T97" fmla="*/ 150 h 268"/>
                  <a:gd name="T98" fmla="*/ 14 w 318"/>
                  <a:gd name="T99" fmla="*/ 158 h 268"/>
                  <a:gd name="T100" fmla="*/ 0 w 318"/>
                  <a:gd name="T101" fmla="*/ 164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8" h="268">
                    <a:moveTo>
                      <a:pt x="0" y="164"/>
                    </a:moveTo>
                    <a:lnTo>
                      <a:pt x="8" y="170"/>
                    </a:lnTo>
                    <a:lnTo>
                      <a:pt x="14" y="170"/>
                    </a:lnTo>
                    <a:lnTo>
                      <a:pt x="22" y="178"/>
                    </a:lnTo>
                    <a:lnTo>
                      <a:pt x="28" y="184"/>
                    </a:lnTo>
                    <a:lnTo>
                      <a:pt x="34" y="192"/>
                    </a:lnTo>
                    <a:lnTo>
                      <a:pt x="42" y="192"/>
                    </a:lnTo>
                    <a:lnTo>
                      <a:pt x="50" y="192"/>
                    </a:lnTo>
                    <a:lnTo>
                      <a:pt x="50" y="198"/>
                    </a:lnTo>
                    <a:lnTo>
                      <a:pt x="50" y="206"/>
                    </a:lnTo>
                    <a:lnTo>
                      <a:pt x="50" y="212"/>
                    </a:lnTo>
                    <a:lnTo>
                      <a:pt x="50" y="218"/>
                    </a:lnTo>
                    <a:lnTo>
                      <a:pt x="56" y="226"/>
                    </a:lnTo>
                    <a:lnTo>
                      <a:pt x="70" y="240"/>
                    </a:lnTo>
                    <a:lnTo>
                      <a:pt x="76" y="240"/>
                    </a:lnTo>
                    <a:lnTo>
                      <a:pt x="84" y="240"/>
                    </a:lnTo>
                    <a:lnTo>
                      <a:pt x="84" y="248"/>
                    </a:lnTo>
                    <a:lnTo>
                      <a:pt x="84" y="254"/>
                    </a:lnTo>
                    <a:lnTo>
                      <a:pt x="96" y="260"/>
                    </a:lnTo>
                    <a:lnTo>
                      <a:pt x="104" y="268"/>
                    </a:lnTo>
                    <a:lnTo>
                      <a:pt x="104" y="260"/>
                    </a:lnTo>
                    <a:lnTo>
                      <a:pt x="112" y="254"/>
                    </a:lnTo>
                    <a:lnTo>
                      <a:pt x="112" y="260"/>
                    </a:lnTo>
                    <a:lnTo>
                      <a:pt x="118" y="260"/>
                    </a:lnTo>
                    <a:lnTo>
                      <a:pt x="132" y="254"/>
                    </a:lnTo>
                    <a:lnTo>
                      <a:pt x="138" y="254"/>
                    </a:lnTo>
                    <a:lnTo>
                      <a:pt x="154" y="260"/>
                    </a:lnTo>
                    <a:lnTo>
                      <a:pt x="160" y="254"/>
                    </a:lnTo>
                    <a:lnTo>
                      <a:pt x="166" y="260"/>
                    </a:lnTo>
                    <a:lnTo>
                      <a:pt x="180" y="260"/>
                    </a:lnTo>
                    <a:lnTo>
                      <a:pt x="180" y="268"/>
                    </a:lnTo>
                    <a:lnTo>
                      <a:pt x="194" y="260"/>
                    </a:lnTo>
                    <a:lnTo>
                      <a:pt x="202" y="254"/>
                    </a:lnTo>
                    <a:lnTo>
                      <a:pt x="216" y="260"/>
                    </a:lnTo>
                    <a:lnTo>
                      <a:pt x="222" y="260"/>
                    </a:lnTo>
                    <a:lnTo>
                      <a:pt x="228" y="254"/>
                    </a:lnTo>
                    <a:lnTo>
                      <a:pt x="236" y="260"/>
                    </a:lnTo>
                    <a:lnTo>
                      <a:pt x="236" y="268"/>
                    </a:lnTo>
                    <a:lnTo>
                      <a:pt x="242" y="260"/>
                    </a:lnTo>
                    <a:lnTo>
                      <a:pt x="250" y="260"/>
                    </a:lnTo>
                    <a:lnTo>
                      <a:pt x="264" y="254"/>
                    </a:lnTo>
                    <a:lnTo>
                      <a:pt x="270" y="240"/>
                    </a:lnTo>
                    <a:lnTo>
                      <a:pt x="278" y="248"/>
                    </a:lnTo>
                    <a:lnTo>
                      <a:pt x="284" y="248"/>
                    </a:lnTo>
                    <a:lnTo>
                      <a:pt x="298" y="248"/>
                    </a:lnTo>
                    <a:lnTo>
                      <a:pt x="298" y="234"/>
                    </a:lnTo>
                    <a:lnTo>
                      <a:pt x="306" y="226"/>
                    </a:lnTo>
                    <a:lnTo>
                      <a:pt x="312" y="226"/>
                    </a:lnTo>
                    <a:lnTo>
                      <a:pt x="312" y="218"/>
                    </a:lnTo>
                    <a:lnTo>
                      <a:pt x="312" y="212"/>
                    </a:lnTo>
                    <a:lnTo>
                      <a:pt x="318" y="206"/>
                    </a:lnTo>
                    <a:lnTo>
                      <a:pt x="318" y="198"/>
                    </a:lnTo>
                    <a:lnTo>
                      <a:pt x="312" y="192"/>
                    </a:lnTo>
                    <a:lnTo>
                      <a:pt x="312" y="184"/>
                    </a:lnTo>
                    <a:lnTo>
                      <a:pt x="312" y="178"/>
                    </a:lnTo>
                    <a:lnTo>
                      <a:pt x="298" y="178"/>
                    </a:lnTo>
                    <a:lnTo>
                      <a:pt x="298" y="170"/>
                    </a:lnTo>
                    <a:lnTo>
                      <a:pt x="306" y="164"/>
                    </a:lnTo>
                    <a:lnTo>
                      <a:pt x="312" y="170"/>
                    </a:lnTo>
                    <a:lnTo>
                      <a:pt x="312" y="164"/>
                    </a:lnTo>
                    <a:lnTo>
                      <a:pt x="306" y="158"/>
                    </a:lnTo>
                    <a:lnTo>
                      <a:pt x="306" y="150"/>
                    </a:lnTo>
                    <a:lnTo>
                      <a:pt x="306" y="144"/>
                    </a:lnTo>
                    <a:lnTo>
                      <a:pt x="318" y="136"/>
                    </a:lnTo>
                    <a:lnTo>
                      <a:pt x="318" y="130"/>
                    </a:lnTo>
                    <a:lnTo>
                      <a:pt x="312" y="136"/>
                    </a:lnTo>
                    <a:lnTo>
                      <a:pt x="298" y="136"/>
                    </a:lnTo>
                    <a:lnTo>
                      <a:pt x="298" y="130"/>
                    </a:lnTo>
                    <a:lnTo>
                      <a:pt x="298" y="122"/>
                    </a:lnTo>
                    <a:lnTo>
                      <a:pt x="306" y="116"/>
                    </a:lnTo>
                    <a:lnTo>
                      <a:pt x="306" y="110"/>
                    </a:lnTo>
                    <a:lnTo>
                      <a:pt x="306" y="102"/>
                    </a:lnTo>
                    <a:lnTo>
                      <a:pt x="306" y="110"/>
                    </a:lnTo>
                    <a:lnTo>
                      <a:pt x="292" y="102"/>
                    </a:lnTo>
                    <a:lnTo>
                      <a:pt x="292" y="110"/>
                    </a:lnTo>
                    <a:lnTo>
                      <a:pt x="284" y="116"/>
                    </a:lnTo>
                    <a:lnTo>
                      <a:pt x="278" y="122"/>
                    </a:lnTo>
                    <a:lnTo>
                      <a:pt x="270" y="122"/>
                    </a:lnTo>
                    <a:lnTo>
                      <a:pt x="264" y="116"/>
                    </a:lnTo>
                    <a:lnTo>
                      <a:pt x="264" y="110"/>
                    </a:lnTo>
                    <a:lnTo>
                      <a:pt x="250" y="116"/>
                    </a:lnTo>
                    <a:lnTo>
                      <a:pt x="236" y="122"/>
                    </a:lnTo>
                    <a:lnTo>
                      <a:pt x="228" y="122"/>
                    </a:lnTo>
                    <a:lnTo>
                      <a:pt x="236" y="102"/>
                    </a:lnTo>
                    <a:lnTo>
                      <a:pt x="228" y="96"/>
                    </a:lnTo>
                    <a:lnTo>
                      <a:pt x="228" y="102"/>
                    </a:lnTo>
                    <a:lnTo>
                      <a:pt x="222" y="116"/>
                    </a:lnTo>
                    <a:lnTo>
                      <a:pt x="222" y="122"/>
                    </a:lnTo>
                    <a:lnTo>
                      <a:pt x="216" y="130"/>
                    </a:lnTo>
                    <a:lnTo>
                      <a:pt x="208" y="122"/>
                    </a:lnTo>
                    <a:lnTo>
                      <a:pt x="208" y="110"/>
                    </a:lnTo>
                    <a:lnTo>
                      <a:pt x="216" y="102"/>
                    </a:lnTo>
                    <a:lnTo>
                      <a:pt x="216" y="88"/>
                    </a:lnTo>
                    <a:lnTo>
                      <a:pt x="208" y="82"/>
                    </a:lnTo>
                    <a:lnTo>
                      <a:pt x="202" y="88"/>
                    </a:lnTo>
                    <a:lnTo>
                      <a:pt x="194" y="82"/>
                    </a:lnTo>
                    <a:lnTo>
                      <a:pt x="194" y="88"/>
                    </a:lnTo>
                    <a:lnTo>
                      <a:pt x="188" y="96"/>
                    </a:lnTo>
                    <a:lnTo>
                      <a:pt x="180" y="102"/>
                    </a:lnTo>
                    <a:lnTo>
                      <a:pt x="174" y="102"/>
                    </a:lnTo>
                    <a:lnTo>
                      <a:pt x="174" y="96"/>
                    </a:lnTo>
                    <a:lnTo>
                      <a:pt x="174" y="88"/>
                    </a:lnTo>
                    <a:lnTo>
                      <a:pt x="174" y="74"/>
                    </a:lnTo>
                    <a:lnTo>
                      <a:pt x="166" y="68"/>
                    </a:lnTo>
                    <a:lnTo>
                      <a:pt x="160" y="82"/>
                    </a:lnTo>
                    <a:lnTo>
                      <a:pt x="154" y="96"/>
                    </a:lnTo>
                    <a:lnTo>
                      <a:pt x="146" y="96"/>
                    </a:lnTo>
                    <a:lnTo>
                      <a:pt x="146" y="88"/>
                    </a:lnTo>
                    <a:lnTo>
                      <a:pt x="138" y="88"/>
                    </a:lnTo>
                    <a:lnTo>
                      <a:pt x="132" y="88"/>
                    </a:lnTo>
                    <a:lnTo>
                      <a:pt x="118" y="110"/>
                    </a:lnTo>
                    <a:lnTo>
                      <a:pt x="118" y="102"/>
                    </a:lnTo>
                    <a:lnTo>
                      <a:pt x="112" y="102"/>
                    </a:lnTo>
                    <a:lnTo>
                      <a:pt x="112" y="96"/>
                    </a:lnTo>
                    <a:lnTo>
                      <a:pt x="118" y="88"/>
                    </a:lnTo>
                    <a:lnTo>
                      <a:pt x="118" y="82"/>
                    </a:lnTo>
                    <a:lnTo>
                      <a:pt x="118" y="74"/>
                    </a:lnTo>
                    <a:lnTo>
                      <a:pt x="118" y="60"/>
                    </a:lnTo>
                    <a:lnTo>
                      <a:pt x="126" y="60"/>
                    </a:lnTo>
                    <a:lnTo>
                      <a:pt x="132" y="60"/>
                    </a:lnTo>
                    <a:lnTo>
                      <a:pt x="138" y="46"/>
                    </a:lnTo>
                    <a:lnTo>
                      <a:pt x="132" y="46"/>
                    </a:lnTo>
                    <a:lnTo>
                      <a:pt x="132" y="40"/>
                    </a:lnTo>
                    <a:lnTo>
                      <a:pt x="138" y="34"/>
                    </a:lnTo>
                    <a:lnTo>
                      <a:pt x="138" y="26"/>
                    </a:lnTo>
                    <a:lnTo>
                      <a:pt x="138" y="12"/>
                    </a:lnTo>
                    <a:lnTo>
                      <a:pt x="126" y="0"/>
                    </a:lnTo>
                    <a:lnTo>
                      <a:pt x="112" y="0"/>
                    </a:lnTo>
                    <a:lnTo>
                      <a:pt x="118" y="6"/>
                    </a:lnTo>
                    <a:lnTo>
                      <a:pt x="126" y="20"/>
                    </a:lnTo>
                    <a:lnTo>
                      <a:pt x="118" y="20"/>
                    </a:lnTo>
                    <a:lnTo>
                      <a:pt x="118" y="26"/>
                    </a:lnTo>
                    <a:lnTo>
                      <a:pt x="118" y="34"/>
                    </a:lnTo>
                    <a:lnTo>
                      <a:pt x="118" y="40"/>
                    </a:lnTo>
                    <a:lnTo>
                      <a:pt x="112" y="46"/>
                    </a:lnTo>
                    <a:lnTo>
                      <a:pt x="104" y="40"/>
                    </a:lnTo>
                    <a:lnTo>
                      <a:pt x="104" y="26"/>
                    </a:lnTo>
                    <a:lnTo>
                      <a:pt x="96" y="34"/>
                    </a:lnTo>
                    <a:lnTo>
                      <a:pt x="96" y="20"/>
                    </a:lnTo>
                    <a:lnTo>
                      <a:pt x="96" y="6"/>
                    </a:lnTo>
                    <a:lnTo>
                      <a:pt x="96" y="12"/>
                    </a:lnTo>
                    <a:lnTo>
                      <a:pt x="90" y="12"/>
                    </a:lnTo>
                    <a:lnTo>
                      <a:pt x="84" y="6"/>
                    </a:lnTo>
                    <a:lnTo>
                      <a:pt x="84" y="26"/>
                    </a:lnTo>
                    <a:lnTo>
                      <a:pt x="70" y="20"/>
                    </a:lnTo>
                    <a:lnTo>
                      <a:pt x="76" y="26"/>
                    </a:lnTo>
                    <a:lnTo>
                      <a:pt x="84" y="34"/>
                    </a:lnTo>
                    <a:lnTo>
                      <a:pt x="70" y="40"/>
                    </a:lnTo>
                    <a:lnTo>
                      <a:pt x="64" y="40"/>
                    </a:lnTo>
                    <a:lnTo>
                      <a:pt x="64" y="34"/>
                    </a:lnTo>
                    <a:lnTo>
                      <a:pt x="64" y="26"/>
                    </a:lnTo>
                    <a:lnTo>
                      <a:pt x="56" y="20"/>
                    </a:lnTo>
                    <a:lnTo>
                      <a:pt x="56" y="26"/>
                    </a:lnTo>
                    <a:lnTo>
                      <a:pt x="56" y="34"/>
                    </a:lnTo>
                    <a:lnTo>
                      <a:pt x="50" y="34"/>
                    </a:lnTo>
                    <a:lnTo>
                      <a:pt x="50" y="26"/>
                    </a:lnTo>
                    <a:lnTo>
                      <a:pt x="42" y="34"/>
                    </a:lnTo>
                    <a:lnTo>
                      <a:pt x="42" y="40"/>
                    </a:lnTo>
                    <a:lnTo>
                      <a:pt x="50" y="40"/>
                    </a:lnTo>
                    <a:lnTo>
                      <a:pt x="56" y="40"/>
                    </a:lnTo>
                    <a:lnTo>
                      <a:pt x="64" y="46"/>
                    </a:lnTo>
                    <a:lnTo>
                      <a:pt x="76" y="46"/>
                    </a:lnTo>
                    <a:lnTo>
                      <a:pt x="84" y="54"/>
                    </a:lnTo>
                    <a:lnTo>
                      <a:pt x="90" y="60"/>
                    </a:lnTo>
                    <a:lnTo>
                      <a:pt x="90" y="68"/>
                    </a:lnTo>
                    <a:lnTo>
                      <a:pt x="96" y="68"/>
                    </a:lnTo>
                    <a:lnTo>
                      <a:pt x="104" y="68"/>
                    </a:lnTo>
                    <a:lnTo>
                      <a:pt x="104" y="82"/>
                    </a:lnTo>
                    <a:lnTo>
                      <a:pt x="96" y="82"/>
                    </a:lnTo>
                    <a:lnTo>
                      <a:pt x="84" y="74"/>
                    </a:lnTo>
                    <a:lnTo>
                      <a:pt x="70" y="74"/>
                    </a:lnTo>
                    <a:lnTo>
                      <a:pt x="76" y="82"/>
                    </a:lnTo>
                    <a:lnTo>
                      <a:pt x="84" y="88"/>
                    </a:lnTo>
                    <a:lnTo>
                      <a:pt x="90" y="96"/>
                    </a:lnTo>
                    <a:lnTo>
                      <a:pt x="84" y="102"/>
                    </a:lnTo>
                    <a:lnTo>
                      <a:pt x="76" y="102"/>
                    </a:lnTo>
                    <a:lnTo>
                      <a:pt x="70" y="96"/>
                    </a:lnTo>
                    <a:lnTo>
                      <a:pt x="64" y="88"/>
                    </a:lnTo>
                    <a:lnTo>
                      <a:pt x="56" y="88"/>
                    </a:lnTo>
                    <a:lnTo>
                      <a:pt x="42" y="82"/>
                    </a:lnTo>
                    <a:lnTo>
                      <a:pt x="28" y="74"/>
                    </a:lnTo>
                    <a:lnTo>
                      <a:pt x="14" y="82"/>
                    </a:lnTo>
                    <a:lnTo>
                      <a:pt x="14" y="88"/>
                    </a:lnTo>
                    <a:lnTo>
                      <a:pt x="28" y="88"/>
                    </a:lnTo>
                    <a:lnTo>
                      <a:pt x="42" y="88"/>
                    </a:lnTo>
                    <a:lnTo>
                      <a:pt x="50" y="96"/>
                    </a:lnTo>
                    <a:lnTo>
                      <a:pt x="50" y="102"/>
                    </a:lnTo>
                    <a:lnTo>
                      <a:pt x="56" y="102"/>
                    </a:lnTo>
                    <a:lnTo>
                      <a:pt x="56" y="110"/>
                    </a:lnTo>
                    <a:lnTo>
                      <a:pt x="56" y="116"/>
                    </a:lnTo>
                    <a:lnTo>
                      <a:pt x="50" y="122"/>
                    </a:lnTo>
                    <a:lnTo>
                      <a:pt x="50" y="136"/>
                    </a:lnTo>
                    <a:lnTo>
                      <a:pt x="56" y="130"/>
                    </a:lnTo>
                    <a:lnTo>
                      <a:pt x="56" y="136"/>
                    </a:lnTo>
                    <a:lnTo>
                      <a:pt x="50" y="144"/>
                    </a:lnTo>
                    <a:lnTo>
                      <a:pt x="42" y="150"/>
                    </a:lnTo>
                    <a:lnTo>
                      <a:pt x="34" y="150"/>
                    </a:lnTo>
                    <a:lnTo>
                      <a:pt x="28" y="150"/>
                    </a:lnTo>
                    <a:lnTo>
                      <a:pt x="22" y="150"/>
                    </a:lnTo>
                    <a:lnTo>
                      <a:pt x="14" y="158"/>
                    </a:lnTo>
                    <a:lnTo>
                      <a:pt x="8" y="150"/>
                    </a:lnTo>
                    <a:lnTo>
                      <a:pt x="0" y="164"/>
                    </a:lnTo>
                    <a:lnTo>
                      <a:pt x="0" y="164"/>
                    </a:lnTo>
                    <a:lnTo>
                      <a:pt x="0" y="164"/>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4" name="Freeform 28"/>
              <p:cNvSpPr>
                <a:spLocks/>
              </p:cNvSpPr>
              <p:nvPr>
                <p:custDataLst>
                  <p:tags r:id="rId131"/>
                </p:custDataLst>
              </p:nvPr>
            </p:nvSpPr>
            <p:spPr bwMode="gray">
              <a:xfrm>
                <a:off x="3039182" y="2336417"/>
                <a:ext cx="406490" cy="381084"/>
              </a:xfrm>
              <a:custGeom>
                <a:avLst/>
                <a:gdLst>
                  <a:gd name="T0" fmla="*/ 250 w 256"/>
                  <a:gd name="T1" fmla="*/ 118 h 240"/>
                  <a:gd name="T2" fmla="*/ 242 w 256"/>
                  <a:gd name="T3" fmla="*/ 132 h 240"/>
                  <a:gd name="T4" fmla="*/ 236 w 256"/>
                  <a:gd name="T5" fmla="*/ 158 h 240"/>
                  <a:gd name="T6" fmla="*/ 228 w 256"/>
                  <a:gd name="T7" fmla="*/ 180 h 240"/>
                  <a:gd name="T8" fmla="*/ 228 w 256"/>
                  <a:gd name="T9" fmla="*/ 200 h 240"/>
                  <a:gd name="T10" fmla="*/ 214 w 256"/>
                  <a:gd name="T11" fmla="*/ 214 h 240"/>
                  <a:gd name="T12" fmla="*/ 202 w 256"/>
                  <a:gd name="T13" fmla="*/ 228 h 240"/>
                  <a:gd name="T14" fmla="*/ 166 w 256"/>
                  <a:gd name="T15" fmla="*/ 228 h 240"/>
                  <a:gd name="T16" fmla="*/ 132 w 256"/>
                  <a:gd name="T17" fmla="*/ 228 h 240"/>
                  <a:gd name="T18" fmla="*/ 118 w 256"/>
                  <a:gd name="T19" fmla="*/ 228 h 240"/>
                  <a:gd name="T20" fmla="*/ 104 w 256"/>
                  <a:gd name="T21" fmla="*/ 240 h 240"/>
                  <a:gd name="T22" fmla="*/ 76 w 256"/>
                  <a:gd name="T23" fmla="*/ 240 h 240"/>
                  <a:gd name="T24" fmla="*/ 48 w 256"/>
                  <a:gd name="T25" fmla="*/ 234 h 240"/>
                  <a:gd name="T26" fmla="*/ 34 w 256"/>
                  <a:gd name="T27" fmla="*/ 228 h 240"/>
                  <a:gd name="T28" fmla="*/ 34 w 256"/>
                  <a:gd name="T29" fmla="*/ 228 h 240"/>
                  <a:gd name="T30" fmla="*/ 20 w 256"/>
                  <a:gd name="T31" fmla="*/ 220 h 240"/>
                  <a:gd name="T32" fmla="*/ 20 w 256"/>
                  <a:gd name="T33" fmla="*/ 206 h 240"/>
                  <a:gd name="T34" fmla="*/ 28 w 256"/>
                  <a:gd name="T35" fmla="*/ 206 h 240"/>
                  <a:gd name="T36" fmla="*/ 6 w 256"/>
                  <a:gd name="T37" fmla="*/ 206 h 240"/>
                  <a:gd name="T38" fmla="*/ 14 w 256"/>
                  <a:gd name="T39" fmla="*/ 186 h 240"/>
                  <a:gd name="T40" fmla="*/ 34 w 256"/>
                  <a:gd name="T41" fmla="*/ 186 h 240"/>
                  <a:gd name="T42" fmla="*/ 6 w 256"/>
                  <a:gd name="T43" fmla="*/ 180 h 240"/>
                  <a:gd name="T44" fmla="*/ 20 w 256"/>
                  <a:gd name="T45" fmla="*/ 166 h 240"/>
                  <a:gd name="T46" fmla="*/ 54 w 256"/>
                  <a:gd name="T47" fmla="*/ 158 h 240"/>
                  <a:gd name="T48" fmla="*/ 82 w 256"/>
                  <a:gd name="T49" fmla="*/ 166 h 240"/>
                  <a:gd name="T50" fmla="*/ 76 w 256"/>
                  <a:gd name="T51" fmla="*/ 158 h 240"/>
                  <a:gd name="T52" fmla="*/ 48 w 256"/>
                  <a:gd name="T53" fmla="*/ 158 h 240"/>
                  <a:gd name="T54" fmla="*/ 68 w 256"/>
                  <a:gd name="T55" fmla="*/ 138 h 240"/>
                  <a:gd name="T56" fmla="*/ 104 w 256"/>
                  <a:gd name="T57" fmla="*/ 124 h 240"/>
                  <a:gd name="T58" fmla="*/ 82 w 256"/>
                  <a:gd name="T59" fmla="*/ 118 h 240"/>
                  <a:gd name="T60" fmla="*/ 68 w 256"/>
                  <a:gd name="T61" fmla="*/ 110 h 240"/>
                  <a:gd name="T62" fmla="*/ 68 w 256"/>
                  <a:gd name="T63" fmla="*/ 82 h 240"/>
                  <a:gd name="T64" fmla="*/ 90 w 256"/>
                  <a:gd name="T65" fmla="*/ 68 h 240"/>
                  <a:gd name="T66" fmla="*/ 90 w 256"/>
                  <a:gd name="T67" fmla="*/ 62 h 240"/>
                  <a:gd name="T68" fmla="*/ 90 w 256"/>
                  <a:gd name="T69" fmla="*/ 48 h 240"/>
                  <a:gd name="T70" fmla="*/ 118 w 256"/>
                  <a:gd name="T71" fmla="*/ 42 h 240"/>
                  <a:gd name="T72" fmla="*/ 138 w 256"/>
                  <a:gd name="T73" fmla="*/ 62 h 240"/>
                  <a:gd name="T74" fmla="*/ 160 w 256"/>
                  <a:gd name="T75" fmla="*/ 56 h 240"/>
                  <a:gd name="T76" fmla="*/ 180 w 256"/>
                  <a:gd name="T77" fmla="*/ 42 h 240"/>
                  <a:gd name="T78" fmla="*/ 152 w 256"/>
                  <a:gd name="T79" fmla="*/ 28 h 240"/>
                  <a:gd name="T80" fmla="*/ 186 w 256"/>
                  <a:gd name="T81" fmla="*/ 14 h 240"/>
                  <a:gd name="T82" fmla="*/ 202 w 256"/>
                  <a:gd name="T83" fmla="*/ 8 h 240"/>
                  <a:gd name="T84" fmla="*/ 228 w 256"/>
                  <a:gd name="T85" fmla="*/ 8 h 240"/>
                  <a:gd name="T86" fmla="*/ 242 w 256"/>
                  <a:gd name="T87" fmla="*/ 0 h 240"/>
                  <a:gd name="T88" fmla="*/ 250 w 256"/>
                  <a:gd name="T89" fmla="*/ 22 h 240"/>
                  <a:gd name="T90" fmla="*/ 242 w 256"/>
                  <a:gd name="T91" fmla="*/ 28 h 240"/>
                  <a:gd name="T92" fmla="*/ 214 w 256"/>
                  <a:gd name="T93" fmla="*/ 34 h 240"/>
                  <a:gd name="T94" fmla="*/ 202 w 256"/>
                  <a:gd name="T95" fmla="*/ 56 h 240"/>
                  <a:gd name="T96" fmla="*/ 186 w 256"/>
                  <a:gd name="T97" fmla="*/ 56 h 240"/>
                  <a:gd name="T98" fmla="*/ 194 w 256"/>
                  <a:gd name="T99" fmla="*/ 76 h 240"/>
                  <a:gd name="T100" fmla="*/ 214 w 256"/>
                  <a:gd name="T101" fmla="*/ 82 h 240"/>
                  <a:gd name="T102" fmla="*/ 242 w 256"/>
                  <a:gd name="T103" fmla="*/ 90 h 240"/>
                  <a:gd name="T104" fmla="*/ 256 w 256"/>
                  <a:gd name="T105" fmla="*/ 11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6" h="240">
                    <a:moveTo>
                      <a:pt x="256" y="118"/>
                    </a:moveTo>
                    <a:lnTo>
                      <a:pt x="250" y="124"/>
                    </a:lnTo>
                    <a:lnTo>
                      <a:pt x="250" y="118"/>
                    </a:lnTo>
                    <a:lnTo>
                      <a:pt x="242" y="118"/>
                    </a:lnTo>
                    <a:lnTo>
                      <a:pt x="250" y="124"/>
                    </a:lnTo>
                    <a:lnTo>
                      <a:pt x="242" y="132"/>
                    </a:lnTo>
                    <a:lnTo>
                      <a:pt x="242" y="138"/>
                    </a:lnTo>
                    <a:lnTo>
                      <a:pt x="242" y="152"/>
                    </a:lnTo>
                    <a:lnTo>
                      <a:pt x="236" y="158"/>
                    </a:lnTo>
                    <a:lnTo>
                      <a:pt x="236" y="166"/>
                    </a:lnTo>
                    <a:lnTo>
                      <a:pt x="236" y="172"/>
                    </a:lnTo>
                    <a:lnTo>
                      <a:pt x="228" y="180"/>
                    </a:lnTo>
                    <a:lnTo>
                      <a:pt x="228" y="186"/>
                    </a:lnTo>
                    <a:lnTo>
                      <a:pt x="228" y="192"/>
                    </a:lnTo>
                    <a:lnTo>
                      <a:pt x="228" y="200"/>
                    </a:lnTo>
                    <a:lnTo>
                      <a:pt x="222" y="200"/>
                    </a:lnTo>
                    <a:lnTo>
                      <a:pt x="222" y="206"/>
                    </a:lnTo>
                    <a:lnTo>
                      <a:pt x="214" y="214"/>
                    </a:lnTo>
                    <a:lnTo>
                      <a:pt x="208" y="214"/>
                    </a:lnTo>
                    <a:lnTo>
                      <a:pt x="208" y="220"/>
                    </a:lnTo>
                    <a:lnTo>
                      <a:pt x="202" y="228"/>
                    </a:lnTo>
                    <a:lnTo>
                      <a:pt x="186" y="234"/>
                    </a:lnTo>
                    <a:lnTo>
                      <a:pt x="180" y="228"/>
                    </a:lnTo>
                    <a:lnTo>
                      <a:pt x="166" y="228"/>
                    </a:lnTo>
                    <a:lnTo>
                      <a:pt x="152" y="228"/>
                    </a:lnTo>
                    <a:lnTo>
                      <a:pt x="138" y="228"/>
                    </a:lnTo>
                    <a:lnTo>
                      <a:pt x="132" y="228"/>
                    </a:lnTo>
                    <a:lnTo>
                      <a:pt x="124" y="234"/>
                    </a:lnTo>
                    <a:lnTo>
                      <a:pt x="118" y="234"/>
                    </a:lnTo>
                    <a:lnTo>
                      <a:pt x="118" y="228"/>
                    </a:lnTo>
                    <a:lnTo>
                      <a:pt x="110" y="234"/>
                    </a:lnTo>
                    <a:lnTo>
                      <a:pt x="104" y="234"/>
                    </a:lnTo>
                    <a:lnTo>
                      <a:pt x="104" y="240"/>
                    </a:lnTo>
                    <a:lnTo>
                      <a:pt x="90" y="240"/>
                    </a:lnTo>
                    <a:lnTo>
                      <a:pt x="82" y="234"/>
                    </a:lnTo>
                    <a:lnTo>
                      <a:pt x="76" y="240"/>
                    </a:lnTo>
                    <a:lnTo>
                      <a:pt x="62" y="240"/>
                    </a:lnTo>
                    <a:lnTo>
                      <a:pt x="54" y="234"/>
                    </a:lnTo>
                    <a:lnTo>
                      <a:pt x="48" y="234"/>
                    </a:lnTo>
                    <a:lnTo>
                      <a:pt x="34" y="240"/>
                    </a:lnTo>
                    <a:lnTo>
                      <a:pt x="34" y="234"/>
                    </a:lnTo>
                    <a:lnTo>
                      <a:pt x="34" y="228"/>
                    </a:lnTo>
                    <a:lnTo>
                      <a:pt x="14" y="234"/>
                    </a:lnTo>
                    <a:lnTo>
                      <a:pt x="20" y="234"/>
                    </a:lnTo>
                    <a:lnTo>
                      <a:pt x="34" y="228"/>
                    </a:lnTo>
                    <a:lnTo>
                      <a:pt x="14" y="228"/>
                    </a:lnTo>
                    <a:lnTo>
                      <a:pt x="28" y="220"/>
                    </a:lnTo>
                    <a:lnTo>
                      <a:pt x="20" y="220"/>
                    </a:lnTo>
                    <a:lnTo>
                      <a:pt x="14" y="220"/>
                    </a:lnTo>
                    <a:lnTo>
                      <a:pt x="14" y="214"/>
                    </a:lnTo>
                    <a:lnTo>
                      <a:pt x="20" y="206"/>
                    </a:lnTo>
                    <a:lnTo>
                      <a:pt x="28" y="206"/>
                    </a:lnTo>
                    <a:lnTo>
                      <a:pt x="34" y="206"/>
                    </a:lnTo>
                    <a:lnTo>
                      <a:pt x="28" y="206"/>
                    </a:lnTo>
                    <a:lnTo>
                      <a:pt x="20" y="206"/>
                    </a:lnTo>
                    <a:lnTo>
                      <a:pt x="14" y="200"/>
                    </a:lnTo>
                    <a:lnTo>
                      <a:pt x="6" y="206"/>
                    </a:lnTo>
                    <a:lnTo>
                      <a:pt x="0" y="200"/>
                    </a:lnTo>
                    <a:lnTo>
                      <a:pt x="6" y="192"/>
                    </a:lnTo>
                    <a:lnTo>
                      <a:pt x="14" y="186"/>
                    </a:lnTo>
                    <a:lnTo>
                      <a:pt x="20" y="186"/>
                    </a:lnTo>
                    <a:lnTo>
                      <a:pt x="28" y="186"/>
                    </a:lnTo>
                    <a:lnTo>
                      <a:pt x="34" y="186"/>
                    </a:lnTo>
                    <a:lnTo>
                      <a:pt x="28" y="180"/>
                    </a:lnTo>
                    <a:lnTo>
                      <a:pt x="14" y="180"/>
                    </a:lnTo>
                    <a:lnTo>
                      <a:pt x="6" y="180"/>
                    </a:lnTo>
                    <a:lnTo>
                      <a:pt x="6" y="172"/>
                    </a:lnTo>
                    <a:lnTo>
                      <a:pt x="14" y="166"/>
                    </a:lnTo>
                    <a:lnTo>
                      <a:pt x="20" y="166"/>
                    </a:lnTo>
                    <a:lnTo>
                      <a:pt x="40" y="166"/>
                    </a:lnTo>
                    <a:lnTo>
                      <a:pt x="40" y="158"/>
                    </a:lnTo>
                    <a:lnTo>
                      <a:pt x="54" y="158"/>
                    </a:lnTo>
                    <a:lnTo>
                      <a:pt x="62" y="158"/>
                    </a:lnTo>
                    <a:lnTo>
                      <a:pt x="68" y="166"/>
                    </a:lnTo>
                    <a:lnTo>
                      <a:pt x="82" y="166"/>
                    </a:lnTo>
                    <a:lnTo>
                      <a:pt x="90" y="166"/>
                    </a:lnTo>
                    <a:lnTo>
                      <a:pt x="82" y="158"/>
                    </a:lnTo>
                    <a:lnTo>
                      <a:pt x="76" y="158"/>
                    </a:lnTo>
                    <a:lnTo>
                      <a:pt x="68" y="158"/>
                    </a:lnTo>
                    <a:lnTo>
                      <a:pt x="62" y="152"/>
                    </a:lnTo>
                    <a:lnTo>
                      <a:pt x="48" y="158"/>
                    </a:lnTo>
                    <a:lnTo>
                      <a:pt x="40" y="152"/>
                    </a:lnTo>
                    <a:lnTo>
                      <a:pt x="54" y="152"/>
                    </a:lnTo>
                    <a:lnTo>
                      <a:pt x="68" y="138"/>
                    </a:lnTo>
                    <a:lnTo>
                      <a:pt x="90" y="132"/>
                    </a:lnTo>
                    <a:lnTo>
                      <a:pt x="96" y="132"/>
                    </a:lnTo>
                    <a:lnTo>
                      <a:pt x="104" y="124"/>
                    </a:lnTo>
                    <a:lnTo>
                      <a:pt x="104" y="118"/>
                    </a:lnTo>
                    <a:lnTo>
                      <a:pt x="96" y="118"/>
                    </a:lnTo>
                    <a:lnTo>
                      <a:pt x="82" y="118"/>
                    </a:lnTo>
                    <a:lnTo>
                      <a:pt x="76" y="124"/>
                    </a:lnTo>
                    <a:lnTo>
                      <a:pt x="76" y="110"/>
                    </a:lnTo>
                    <a:lnTo>
                      <a:pt x="68" y="110"/>
                    </a:lnTo>
                    <a:lnTo>
                      <a:pt x="68" y="104"/>
                    </a:lnTo>
                    <a:lnTo>
                      <a:pt x="62" y="90"/>
                    </a:lnTo>
                    <a:lnTo>
                      <a:pt x="68" y="82"/>
                    </a:lnTo>
                    <a:lnTo>
                      <a:pt x="76" y="82"/>
                    </a:lnTo>
                    <a:lnTo>
                      <a:pt x="82" y="76"/>
                    </a:lnTo>
                    <a:lnTo>
                      <a:pt x="90" y="68"/>
                    </a:lnTo>
                    <a:lnTo>
                      <a:pt x="96" y="68"/>
                    </a:lnTo>
                    <a:lnTo>
                      <a:pt x="90" y="68"/>
                    </a:lnTo>
                    <a:lnTo>
                      <a:pt x="90" y="62"/>
                    </a:lnTo>
                    <a:lnTo>
                      <a:pt x="90" y="56"/>
                    </a:lnTo>
                    <a:lnTo>
                      <a:pt x="82" y="48"/>
                    </a:lnTo>
                    <a:lnTo>
                      <a:pt x="90" y="48"/>
                    </a:lnTo>
                    <a:lnTo>
                      <a:pt x="96" y="34"/>
                    </a:lnTo>
                    <a:lnTo>
                      <a:pt x="110" y="34"/>
                    </a:lnTo>
                    <a:lnTo>
                      <a:pt x="118" y="42"/>
                    </a:lnTo>
                    <a:lnTo>
                      <a:pt x="124" y="48"/>
                    </a:lnTo>
                    <a:lnTo>
                      <a:pt x="124" y="56"/>
                    </a:lnTo>
                    <a:lnTo>
                      <a:pt x="138" y="62"/>
                    </a:lnTo>
                    <a:lnTo>
                      <a:pt x="144" y="68"/>
                    </a:lnTo>
                    <a:lnTo>
                      <a:pt x="160" y="62"/>
                    </a:lnTo>
                    <a:lnTo>
                      <a:pt x="160" y="56"/>
                    </a:lnTo>
                    <a:lnTo>
                      <a:pt x="160" y="48"/>
                    </a:lnTo>
                    <a:lnTo>
                      <a:pt x="174" y="48"/>
                    </a:lnTo>
                    <a:lnTo>
                      <a:pt x="180" y="42"/>
                    </a:lnTo>
                    <a:lnTo>
                      <a:pt x="174" y="42"/>
                    </a:lnTo>
                    <a:lnTo>
                      <a:pt x="160" y="34"/>
                    </a:lnTo>
                    <a:lnTo>
                      <a:pt x="152" y="28"/>
                    </a:lnTo>
                    <a:lnTo>
                      <a:pt x="174" y="22"/>
                    </a:lnTo>
                    <a:lnTo>
                      <a:pt x="180" y="14"/>
                    </a:lnTo>
                    <a:lnTo>
                      <a:pt x="186" y="14"/>
                    </a:lnTo>
                    <a:lnTo>
                      <a:pt x="180" y="14"/>
                    </a:lnTo>
                    <a:lnTo>
                      <a:pt x="186" y="8"/>
                    </a:lnTo>
                    <a:lnTo>
                      <a:pt x="202" y="8"/>
                    </a:lnTo>
                    <a:lnTo>
                      <a:pt x="208" y="0"/>
                    </a:lnTo>
                    <a:lnTo>
                      <a:pt x="222" y="8"/>
                    </a:lnTo>
                    <a:lnTo>
                      <a:pt x="228" y="8"/>
                    </a:lnTo>
                    <a:lnTo>
                      <a:pt x="236" y="8"/>
                    </a:lnTo>
                    <a:lnTo>
                      <a:pt x="242" y="8"/>
                    </a:lnTo>
                    <a:lnTo>
                      <a:pt x="242" y="0"/>
                    </a:lnTo>
                    <a:lnTo>
                      <a:pt x="250" y="8"/>
                    </a:lnTo>
                    <a:lnTo>
                      <a:pt x="256" y="14"/>
                    </a:lnTo>
                    <a:lnTo>
                      <a:pt x="250" y="22"/>
                    </a:lnTo>
                    <a:lnTo>
                      <a:pt x="242" y="22"/>
                    </a:lnTo>
                    <a:lnTo>
                      <a:pt x="236" y="22"/>
                    </a:lnTo>
                    <a:lnTo>
                      <a:pt x="242" y="28"/>
                    </a:lnTo>
                    <a:lnTo>
                      <a:pt x="236" y="28"/>
                    </a:lnTo>
                    <a:lnTo>
                      <a:pt x="222" y="28"/>
                    </a:lnTo>
                    <a:lnTo>
                      <a:pt x="214" y="34"/>
                    </a:lnTo>
                    <a:lnTo>
                      <a:pt x="208" y="42"/>
                    </a:lnTo>
                    <a:lnTo>
                      <a:pt x="208" y="48"/>
                    </a:lnTo>
                    <a:lnTo>
                      <a:pt x="202" y="56"/>
                    </a:lnTo>
                    <a:lnTo>
                      <a:pt x="194" y="48"/>
                    </a:lnTo>
                    <a:lnTo>
                      <a:pt x="186" y="48"/>
                    </a:lnTo>
                    <a:lnTo>
                      <a:pt x="186" y="56"/>
                    </a:lnTo>
                    <a:lnTo>
                      <a:pt x="180" y="62"/>
                    </a:lnTo>
                    <a:lnTo>
                      <a:pt x="186" y="68"/>
                    </a:lnTo>
                    <a:lnTo>
                      <a:pt x="194" y="76"/>
                    </a:lnTo>
                    <a:lnTo>
                      <a:pt x="202" y="82"/>
                    </a:lnTo>
                    <a:lnTo>
                      <a:pt x="208" y="90"/>
                    </a:lnTo>
                    <a:lnTo>
                      <a:pt x="214" y="82"/>
                    </a:lnTo>
                    <a:lnTo>
                      <a:pt x="222" y="82"/>
                    </a:lnTo>
                    <a:lnTo>
                      <a:pt x="228" y="82"/>
                    </a:lnTo>
                    <a:lnTo>
                      <a:pt x="242" y="90"/>
                    </a:lnTo>
                    <a:lnTo>
                      <a:pt x="242" y="96"/>
                    </a:lnTo>
                    <a:lnTo>
                      <a:pt x="250" y="104"/>
                    </a:lnTo>
                    <a:lnTo>
                      <a:pt x="256" y="118"/>
                    </a:lnTo>
                    <a:lnTo>
                      <a:pt x="256" y="118"/>
                    </a:lnTo>
                    <a:lnTo>
                      <a:pt x="256" y="118"/>
                    </a:lnTo>
                    <a:close/>
                  </a:path>
                </a:pathLst>
              </a:custGeom>
              <a:solidFill>
                <a:srgbClr val="D6D9DC"/>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5" name="Freeform 29"/>
              <p:cNvSpPr>
                <a:spLocks/>
              </p:cNvSpPr>
              <p:nvPr/>
            </p:nvSpPr>
            <p:spPr bwMode="gray">
              <a:xfrm>
                <a:off x="3321820" y="2371350"/>
                <a:ext cx="187367" cy="152434"/>
              </a:xfrm>
              <a:custGeom>
                <a:avLst/>
                <a:gdLst>
                  <a:gd name="T0" fmla="*/ 62 w 118"/>
                  <a:gd name="T1" fmla="*/ 6 h 96"/>
                  <a:gd name="T2" fmla="*/ 54 w 118"/>
                  <a:gd name="T3" fmla="*/ 6 h 96"/>
                  <a:gd name="T4" fmla="*/ 40 w 118"/>
                  <a:gd name="T5" fmla="*/ 6 h 96"/>
                  <a:gd name="T6" fmla="*/ 36 w 118"/>
                  <a:gd name="T7" fmla="*/ 14 h 96"/>
                  <a:gd name="T8" fmla="*/ 28 w 118"/>
                  <a:gd name="T9" fmla="*/ 20 h 96"/>
                  <a:gd name="T10" fmla="*/ 28 w 118"/>
                  <a:gd name="T11" fmla="*/ 28 h 96"/>
                  <a:gd name="T12" fmla="*/ 20 w 118"/>
                  <a:gd name="T13" fmla="*/ 34 h 96"/>
                  <a:gd name="T14" fmla="*/ 14 w 118"/>
                  <a:gd name="T15" fmla="*/ 28 h 96"/>
                  <a:gd name="T16" fmla="*/ 6 w 118"/>
                  <a:gd name="T17" fmla="*/ 28 h 96"/>
                  <a:gd name="T18" fmla="*/ 6 w 118"/>
                  <a:gd name="T19" fmla="*/ 34 h 96"/>
                  <a:gd name="T20" fmla="*/ 0 w 118"/>
                  <a:gd name="T21" fmla="*/ 40 h 96"/>
                  <a:gd name="T22" fmla="*/ 6 w 118"/>
                  <a:gd name="T23" fmla="*/ 48 h 96"/>
                  <a:gd name="T24" fmla="*/ 14 w 118"/>
                  <a:gd name="T25" fmla="*/ 54 h 96"/>
                  <a:gd name="T26" fmla="*/ 20 w 118"/>
                  <a:gd name="T27" fmla="*/ 62 h 96"/>
                  <a:gd name="T28" fmla="*/ 28 w 118"/>
                  <a:gd name="T29" fmla="*/ 68 h 96"/>
                  <a:gd name="T30" fmla="*/ 36 w 118"/>
                  <a:gd name="T31" fmla="*/ 62 h 96"/>
                  <a:gd name="T32" fmla="*/ 40 w 118"/>
                  <a:gd name="T33" fmla="*/ 62 h 96"/>
                  <a:gd name="T34" fmla="*/ 48 w 118"/>
                  <a:gd name="T35" fmla="*/ 62 h 96"/>
                  <a:gd name="T36" fmla="*/ 62 w 118"/>
                  <a:gd name="T37" fmla="*/ 68 h 96"/>
                  <a:gd name="T38" fmla="*/ 62 w 118"/>
                  <a:gd name="T39" fmla="*/ 76 h 96"/>
                  <a:gd name="T40" fmla="*/ 68 w 118"/>
                  <a:gd name="T41" fmla="*/ 82 h 96"/>
                  <a:gd name="T42" fmla="*/ 76 w 118"/>
                  <a:gd name="T43" fmla="*/ 96 h 96"/>
                  <a:gd name="T44" fmla="*/ 84 w 118"/>
                  <a:gd name="T45" fmla="*/ 88 h 96"/>
                  <a:gd name="T46" fmla="*/ 90 w 118"/>
                  <a:gd name="T47" fmla="*/ 82 h 96"/>
                  <a:gd name="T48" fmla="*/ 96 w 118"/>
                  <a:gd name="T49" fmla="*/ 82 h 96"/>
                  <a:gd name="T50" fmla="*/ 104 w 118"/>
                  <a:gd name="T51" fmla="*/ 82 h 96"/>
                  <a:gd name="T52" fmla="*/ 104 w 118"/>
                  <a:gd name="T53" fmla="*/ 68 h 96"/>
                  <a:gd name="T54" fmla="*/ 110 w 118"/>
                  <a:gd name="T55" fmla="*/ 62 h 96"/>
                  <a:gd name="T56" fmla="*/ 110 w 118"/>
                  <a:gd name="T57" fmla="*/ 68 h 96"/>
                  <a:gd name="T58" fmla="*/ 110 w 118"/>
                  <a:gd name="T59" fmla="*/ 76 h 96"/>
                  <a:gd name="T60" fmla="*/ 118 w 118"/>
                  <a:gd name="T61" fmla="*/ 76 h 96"/>
                  <a:gd name="T62" fmla="*/ 118 w 118"/>
                  <a:gd name="T63" fmla="*/ 68 h 96"/>
                  <a:gd name="T64" fmla="*/ 118 w 118"/>
                  <a:gd name="T65" fmla="*/ 62 h 96"/>
                  <a:gd name="T66" fmla="*/ 110 w 118"/>
                  <a:gd name="T67" fmla="*/ 54 h 96"/>
                  <a:gd name="T68" fmla="*/ 104 w 118"/>
                  <a:gd name="T69" fmla="*/ 62 h 96"/>
                  <a:gd name="T70" fmla="*/ 96 w 118"/>
                  <a:gd name="T71" fmla="*/ 54 h 96"/>
                  <a:gd name="T72" fmla="*/ 104 w 118"/>
                  <a:gd name="T73" fmla="*/ 48 h 96"/>
                  <a:gd name="T74" fmla="*/ 110 w 118"/>
                  <a:gd name="T75" fmla="*/ 48 h 96"/>
                  <a:gd name="T76" fmla="*/ 110 w 118"/>
                  <a:gd name="T77" fmla="*/ 40 h 96"/>
                  <a:gd name="T78" fmla="*/ 110 w 118"/>
                  <a:gd name="T79" fmla="*/ 34 h 96"/>
                  <a:gd name="T80" fmla="*/ 104 w 118"/>
                  <a:gd name="T81" fmla="*/ 20 h 96"/>
                  <a:gd name="T82" fmla="*/ 104 w 118"/>
                  <a:gd name="T83" fmla="*/ 14 h 96"/>
                  <a:gd name="T84" fmla="*/ 104 w 118"/>
                  <a:gd name="T85" fmla="*/ 6 h 96"/>
                  <a:gd name="T86" fmla="*/ 96 w 118"/>
                  <a:gd name="T87" fmla="*/ 6 h 96"/>
                  <a:gd name="T88" fmla="*/ 90 w 118"/>
                  <a:gd name="T89" fmla="*/ 6 h 96"/>
                  <a:gd name="T90" fmla="*/ 84 w 118"/>
                  <a:gd name="T91" fmla="*/ 6 h 96"/>
                  <a:gd name="T92" fmla="*/ 84 w 118"/>
                  <a:gd name="T93" fmla="*/ 0 h 96"/>
                  <a:gd name="T94" fmla="*/ 76 w 118"/>
                  <a:gd name="T95" fmla="*/ 0 h 96"/>
                  <a:gd name="T96" fmla="*/ 68 w 118"/>
                  <a:gd name="T97" fmla="*/ 6 h 96"/>
                  <a:gd name="T98" fmla="*/ 62 w 118"/>
                  <a:gd name="T99" fmla="*/ 6 h 96"/>
                  <a:gd name="T100" fmla="*/ 62 w 118"/>
                  <a:gd name="T101" fmla="*/ 6 h 96"/>
                  <a:gd name="T102" fmla="*/ 62 w 118"/>
                  <a:gd name="T103" fmla="*/ 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8" h="96">
                    <a:moveTo>
                      <a:pt x="62" y="6"/>
                    </a:moveTo>
                    <a:lnTo>
                      <a:pt x="54" y="6"/>
                    </a:lnTo>
                    <a:lnTo>
                      <a:pt x="40" y="6"/>
                    </a:lnTo>
                    <a:lnTo>
                      <a:pt x="36" y="14"/>
                    </a:lnTo>
                    <a:lnTo>
                      <a:pt x="28" y="20"/>
                    </a:lnTo>
                    <a:lnTo>
                      <a:pt x="28" y="28"/>
                    </a:lnTo>
                    <a:lnTo>
                      <a:pt x="20" y="34"/>
                    </a:lnTo>
                    <a:lnTo>
                      <a:pt x="14" y="28"/>
                    </a:lnTo>
                    <a:lnTo>
                      <a:pt x="6" y="28"/>
                    </a:lnTo>
                    <a:lnTo>
                      <a:pt x="6" y="34"/>
                    </a:lnTo>
                    <a:lnTo>
                      <a:pt x="0" y="40"/>
                    </a:lnTo>
                    <a:lnTo>
                      <a:pt x="6" y="48"/>
                    </a:lnTo>
                    <a:lnTo>
                      <a:pt x="14" y="54"/>
                    </a:lnTo>
                    <a:lnTo>
                      <a:pt x="20" y="62"/>
                    </a:lnTo>
                    <a:lnTo>
                      <a:pt x="28" y="68"/>
                    </a:lnTo>
                    <a:lnTo>
                      <a:pt x="36" y="62"/>
                    </a:lnTo>
                    <a:lnTo>
                      <a:pt x="40" y="62"/>
                    </a:lnTo>
                    <a:lnTo>
                      <a:pt x="48" y="62"/>
                    </a:lnTo>
                    <a:lnTo>
                      <a:pt x="62" y="68"/>
                    </a:lnTo>
                    <a:lnTo>
                      <a:pt x="62" y="76"/>
                    </a:lnTo>
                    <a:lnTo>
                      <a:pt x="68" y="82"/>
                    </a:lnTo>
                    <a:lnTo>
                      <a:pt x="76" y="96"/>
                    </a:lnTo>
                    <a:lnTo>
                      <a:pt x="84" y="88"/>
                    </a:lnTo>
                    <a:lnTo>
                      <a:pt x="90" y="82"/>
                    </a:lnTo>
                    <a:lnTo>
                      <a:pt x="96" y="82"/>
                    </a:lnTo>
                    <a:lnTo>
                      <a:pt x="104" y="82"/>
                    </a:lnTo>
                    <a:lnTo>
                      <a:pt x="104" y="68"/>
                    </a:lnTo>
                    <a:lnTo>
                      <a:pt x="110" y="62"/>
                    </a:lnTo>
                    <a:lnTo>
                      <a:pt x="110" y="68"/>
                    </a:lnTo>
                    <a:lnTo>
                      <a:pt x="110" y="76"/>
                    </a:lnTo>
                    <a:lnTo>
                      <a:pt x="118" y="76"/>
                    </a:lnTo>
                    <a:lnTo>
                      <a:pt x="118" y="68"/>
                    </a:lnTo>
                    <a:lnTo>
                      <a:pt x="118" y="62"/>
                    </a:lnTo>
                    <a:lnTo>
                      <a:pt x="110" y="54"/>
                    </a:lnTo>
                    <a:lnTo>
                      <a:pt x="104" y="62"/>
                    </a:lnTo>
                    <a:lnTo>
                      <a:pt x="96" y="54"/>
                    </a:lnTo>
                    <a:lnTo>
                      <a:pt x="104" y="48"/>
                    </a:lnTo>
                    <a:lnTo>
                      <a:pt x="110" y="48"/>
                    </a:lnTo>
                    <a:lnTo>
                      <a:pt x="110" y="40"/>
                    </a:lnTo>
                    <a:lnTo>
                      <a:pt x="110" y="34"/>
                    </a:lnTo>
                    <a:lnTo>
                      <a:pt x="104" y="20"/>
                    </a:lnTo>
                    <a:lnTo>
                      <a:pt x="104" y="14"/>
                    </a:lnTo>
                    <a:lnTo>
                      <a:pt x="104" y="6"/>
                    </a:lnTo>
                    <a:lnTo>
                      <a:pt x="96" y="6"/>
                    </a:lnTo>
                    <a:lnTo>
                      <a:pt x="90" y="6"/>
                    </a:lnTo>
                    <a:lnTo>
                      <a:pt x="84" y="6"/>
                    </a:lnTo>
                    <a:lnTo>
                      <a:pt x="84" y="0"/>
                    </a:lnTo>
                    <a:lnTo>
                      <a:pt x="76" y="0"/>
                    </a:lnTo>
                    <a:lnTo>
                      <a:pt x="68" y="6"/>
                    </a:lnTo>
                    <a:lnTo>
                      <a:pt x="62" y="6"/>
                    </a:lnTo>
                    <a:lnTo>
                      <a:pt x="62" y="6"/>
                    </a:lnTo>
                    <a:lnTo>
                      <a:pt x="62" y="6"/>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6" name="Freeform 30"/>
              <p:cNvSpPr>
                <a:spLocks/>
              </p:cNvSpPr>
              <p:nvPr>
                <p:custDataLst>
                  <p:tags r:id="rId132"/>
                </p:custDataLst>
              </p:nvPr>
            </p:nvSpPr>
            <p:spPr bwMode="gray">
              <a:xfrm>
                <a:off x="4253890" y="4095758"/>
                <a:ext cx="85744" cy="158785"/>
              </a:xfrm>
              <a:custGeom>
                <a:avLst/>
                <a:gdLst>
                  <a:gd name="T0" fmla="*/ 18 w 54"/>
                  <a:gd name="T1" fmla="*/ 92 h 100"/>
                  <a:gd name="T2" fmla="*/ 14 w 54"/>
                  <a:gd name="T3" fmla="*/ 92 h 100"/>
                  <a:gd name="T4" fmla="*/ 10 w 54"/>
                  <a:gd name="T5" fmla="*/ 84 h 100"/>
                  <a:gd name="T6" fmla="*/ 10 w 54"/>
                  <a:gd name="T7" fmla="*/ 78 h 100"/>
                  <a:gd name="T8" fmla="*/ 4 w 54"/>
                  <a:gd name="T9" fmla="*/ 72 h 100"/>
                  <a:gd name="T10" fmla="*/ 0 w 54"/>
                  <a:gd name="T11" fmla="*/ 64 h 100"/>
                  <a:gd name="T12" fmla="*/ 4 w 54"/>
                  <a:gd name="T13" fmla="*/ 60 h 100"/>
                  <a:gd name="T14" fmla="*/ 4 w 54"/>
                  <a:gd name="T15" fmla="*/ 58 h 100"/>
                  <a:gd name="T16" fmla="*/ 4 w 54"/>
                  <a:gd name="T17" fmla="*/ 50 h 100"/>
                  <a:gd name="T18" fmla="*/ 2 w 54"/>
                  <a:gd name="T19" fmla="*/ 44 h 100"/>
                  <a:gd name="T20" fmla="*/ 0 w 54"/>
                  <a:gd name="T21" fmla="*/ 38 h 100"/>
                  <a:gd name="T22" fmla="*/ 2 w 54"/>
                  <a:gd name="T23" fmla="*/ 30 h 100"/>
                  <a:gd name="T24" fmla="*/ 0 w 54"/>
                  <a:gd name="T25" fmla="*/ 24 h 100"/>
                  <a:gd name="T26" fmla="*/ 4 w 54"/>
                  <a:gd name="T27" fmla="*/ 20 h 100"/>
                  <a:gd name="T28" fmla="*/ 10 w 54"/>
                  <a:gd name="T29" fmla="*/ 12 h 100"/>
                  <a:gd name="T30" fmla="*/ 18 w 54"/>
                  <a:gd name="T31" fmla="*/ 10 h 100"/>
                  <a:gd name="T32" fmla="*/ 22 w 54"/>
                  <a:gd name="T33" fmla="*/ 4 h 100"/>
                  <a:gd name="T34" fmla="*/ 26 w 54"/>
                  <a:gd name="T35" fmla="*/ 2 h 100"/>
                  <a:gd name="T36" fmla="*/ 32 w 54"/>
                  <a:gd name="T37" fmla="*/ 2 h 100"/>
                  <a:gd name="T38" fmla="*/ 40 w 54"/>
                  <a:gd name="T39" fmla="*/ 0 h 100"/>
                  <a:gd name="T40" fmla="*/ 46 w 54"/>
                  <a:gd name="T41" fmla="*/ 2 h 100"/>
                  <a:gd name="T42" fmla="*/ 48 w 54"/>
                  <a:gd name="T43" fmla="*/ 0 h 100"/>
                  <a:gd name="T44" fmla="*/ 50 w 54"/>
                  <a:gd name="T45" fmla="*/ 2 h 100"/>
                  <a:gd name="T46" fmla="*/ 54 w 54"/>
                  <a:gd name="T47" fmla="*/ 10 h 100"/>
                  <a:gd name="T48" fmla="*/ 54 w 54"/>
                  <a:gd name="T49" fmla="*/ 16 h 100"/>
                  <a:gd name="T50" fmla="*/ 54 w 54"/>
                  <a:gd name="T51" fmla="*/ 24 h 100"/>
                  <a:gd name="T52" fmla="*/ 54 w 54"/>
                  <a:gd name="T53" fmla="*/ 38 h 100"/>
                  <a:gd name="T54" fmla="*/ 46 w 54"/>
                  <a:gd name="T55" fmla="*/ 44 h 100"/>
                  <a:gd name="T56" fmla="*/ 40 w 54"/>
                  <a:gd name="T57" fmla="*/ 50 h 100"/>
                  <a:gd name="T58" fmla="*/ 40 w 54"/>
                  <a:gd name="T59" fmla="*/ 58 h 100"/>
                  <a:gd name="T60" fmla="*/ 40 w 54"/>
                  <a:gd name="T61" fmla="*/ 64 h 100"/>
                  <a:gd name="T62" fmla="*/ 32 w 54"/>
                  <a:gd name="T63" fmla="*/ 78 h 100"/>
                  <a:gd name="T64" fmla="*/ 32 w 54"/>
                  <a:gd name="T65" fmla="*/ 86 h 100"/>
                  <a:gd name="T66" fmla="*/ 26 w 54"/>
                  <a:gd name="T67" fmla="*/ 92 h 100"/>
                  <a:gd name="T68" fmla="*/ 26 w 54"/>
                  <a:gd name="T69" fmla="*/ 100 h 100"/>
                  <a:gd name="T70" fmla="*/ 18 w 54"/>
                  <a:gd name="T71" fmla="*/ 92 h 100"/>
                  <a:gd name="T72" fmla="*/ 18 w 54"/>
                  <a:gd name="T73" fmla="*/ 92 h 100"/>
                  <a:gd name="T74" fmla="*/ 18 w 54"/>
                  <a:gd name="T75" fmla="*/ 9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100">
                    <a:moveTo>
                      <a:pt x="18" y="92"/>
                    </a:moveTo>
                    <a:lnTo>
                      <a:pt x="14" y="92"/>
                    </a:lnTo>
                    <a:lnTo>
                      <a:pt x="10" y="84"/>
                    </a:lnTo>
                    <a:lnTo>
                      <a:pt x="10" y="78"/>
                    </a:lnTo>
                    <a:lnTo>
                      <a:pt x="4" y="72"/>
                    </a:lnTo>
                    <a:lnTo>
                      <a:pt x="0" y="64"/>
                    </a:lnTo>
                    <a:lnTo>
                      <a:pt x="4" y="60"/>
                    </a:lnTo>
                    <a:lnTo>
                      <a:pt x="4" y="58"/>
                    </a:lnTo>
                    <a:lnTo>
                      <a:pt x="4" y="50"/>
                    </a:lnTo>
                    <a:lnTo>
                      <a:pt x="2" y="44"/>
                    </a:lnTo>
                    <a:lnTo>
                      <a:pt x="0" y="38"/>
                    </a:lnTo>
                    <a:lnTo>
                      <a:pt x="2" y="30"/>
                    </a:lnTo>
                    <a:lnTo>
                      <a:pt x="0" y="24"/>
                    </a:lnTo>
                    <a:lnTo>
                      <a:pt x="4" y="20"/>
                    </a:lnTo>
                    <a:lnTo>
                      <a:pt x="10" y="12"/>
                    </a:lnTo>
                    <a:lnTo>
                      <a:pt x="18" y="10"/>
                    </a:lnTo>
                    <a:lnTo>
                      <a:pt x="22" y="4"/>
                    </a:lnTo>
                    <a:lnTo>
                      <a:pt x="26" y="2"/>
                    </a:lnTo>
                    <a:lnTo>
                      <a:pt x="32" y="2"/>
                    </a:lnTo>
                    <a:lnTo>
                      <a:pt x="40" y="0"/>
                    </a:lnTo>
                    <a:lnTo>
                      <a:pt x="46" y="2"/>
                    </a:lnTo>
                    <a:lnTo>
                      <a:pt x="48" y="0"/>
                    </a:lnTo>
                    <a:lnTo>
                      <a:pt x="50" y="2"/>
                    </a:lnTo>
                    <a:lnTo>
                      <a:pt x="54" y="10"/>
                    </a:lnTo>
                    <a:lnTo>
                      <a:pt x="54" y="16"/>
                    </a:lnTo>
                    <a:lnTo>
                      <a:pt x="54" y="24"/>
                    </a:lnTo>
                    <a:lnTo>
                      <a:pt x="54" y="38"/>
                    </a:lnTo>
                    <a:lnTo>
                      <a:pt x="46" y="44"/>
                    </a:lnTo>
                    <a:lnTo>
                      <a:pt x="40" y="50"/>
                    </a:lnTo>
                    <a:lnTo>
                      <a:pt x="40" y="58"/>
                    </a:lnTo>
                    <a:lnTo>
                      <a:pt x="40" y="64"/>
                    </a:lnTo>
                    <a:lnTo>
                      <a:pt x="32" y="78"/>
                    </a:lnTo>
                    <a:lnTo>
                      <a:pt x="32" y="86"/>
                    </a:lnTo>
                    <a:lnTo>
                      <a:pt x="26" y="92"/>
                    </a:lnTo>
                    <a:lnTo>
                      <a:pt x="26" y="100"/>
                    </a:lnTo>
                    <a:lnTo>
                      <a:pt x="18" y="92"/>
                    </a:lnTo>
                    <a:lnTo>
                      <a:pt x="18" y="92"/>
                    </a:lnTo>
                    <a:lnTo>
                      <a:pt x="18" y="92"/>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7" name="Freeform 31"/>
              <p:cNvSpPr>
                <a:spLocks/>
              </p:cNvSpPr>
              <p:nvPr>
                <p:custDataLst>
                  <p:tags r:id="rId133"/>
                </p:custDataLst>
              </p:nvPr>
            </p:nvSpPr>
            <p:spPr bwMode="gray">
              <a:xfrm>
                <a:off x="4174497" y="4264070"/>
                <a:ext cx="152434" cy="260408"/>
              </a:xfrm>
              <a:custGeom>
                <a:avLst/>
                <a:gdLst>
                  <a:gd name="T0" fmla="*/ 12 w 96"/>
                  <a:gd name="T1" fmla="*/ 28 h 164"/>
                  <a:gd name="T2" fmla="*/ 34 w 96"/>
                  <a:gd name="T3" fmla="*/ 20 h 164"/>
                  <a:gd name="T4" fmla="*/ 48 w 96"/>
                  <a:gd name="T5" fmla="*/ 14 h 164"/>
                  <a:gd name="T6" fmla="*/ 60 w 96"/>
                  <a:gd name="T7" fmla="*/ 14 h 164"/>
                  <a:gd name="T8" fmla="*/ 68 w 96"/>
                  <a:gd name="T9" fmla="*/ 8 h 164"/>
                  <a:gd name="T10" fmla="*/ 74 w 96"/>
                  <a:gd name="T11" fmla="*/ 8 h 164"/>
                  <a:gd name="T12" fmla="*/ 88 w 96"/>
                  <a:gd name="T13" fmla="*/ 20 h 164"/>
                  <a:gd name="T14" fmla="*/ 88 w 96"/>
                  <a:gd name="T15" fmla="*/ 28 h 164"/>
                  <a:gd name="T16" fmla="*/ 96 w 96"/>
                  <a:gd name="T17" fmla="*/ 34 h 164"/>
                  <a:gd name="T18" fmla="*/ 88 w 96"/>
                  <a:gd name="T19" fmla="*/ 56 h 164"/>
                  <a:gd name="T20" fmla="*/ 96 w 96"/>
                  <a:gd name="T21" fmla="*/ 62 h 164"/>
                  <a:gd name="T22" fmla="*/ 82 w 96"/>
                  <a:gd name="T23" fmla="*/ 68 h 164"/>
                  <a:gd name="T24" fmla="*/ 82 w 96"/>
                  <a:gd name="T25" fmla="*/ 82 h 164"/>
                  <a:gd name="T26" fmla="*/ 82 w 96"/>
                  <a:gd name="T27" fmla="*/ 96 h 164"/>
                  <a:gd name="T28" fmla="*/ 74 w 96"/>
                  <a:gd name="T29" fmla="*/ 116 h 164"/>
                  <a:gd name="T30" fmla="*/ 74 w 96"/>
                  <a:gd name="T31" fmla="*/ 144 h 164"/>
                  <a:gd name="T32" fmla="*/ 68 w 96"/>
                  <a:gd name="T33" fmla="*/ 158 h 164"/>
                  <a:gd name="T34" fmla="*/ 54 w 96"/>
                  <a:gd name="T35" fmla="*/ 152 h 164"/>
                  <a:gd name="T36" fmla="*/ 34 w 96"/>
                  <a:gd name="T37" fmla="*/ 152 h 164"/>
                  <a:gd name="T38" fmla="*/ 34 w 96"/>
                  <a:gd name="T39" fmla="*/ 164 h 164"/>
                  <a:gd name="T40" fmla="*/ 20 w 96"/>
                  <a:gd name="T41" fmla="*/ 164 h 164"/>
                  <a:gd name="T42" fmla="*/ 6 w 96"/>
                  <a:gd name="T43" fmla="*/ 152 h 164"/>
                  <a:gd name="T44" fmla="*/ 0 w 96"/>
                  <a:gd name="T45" fmla="*/ 138 h 164"/>
                  <a:gd name="T46" fmla="*/ 0 w 96"/>
                  <a:gd name="T47" fmla="*/ 116 h 164"/>
                  <a:gd name="T48" fmla="*/ 12 w 96"/>
                  <a:gd name="T49" fmla="*/ 110 h 164"/>
                  <a:gd name="T50" fmla="*/ 12 w 96"/>
                  <a:gd name="T51" fmla="*/ 96 h 164"/>
                  <a:gd name="T52" fmla="*/ 26 w 96"/>
                  <a:gd name="T53" fmla="*/ 82 h 164"/>
                  <a:gd name="T54" fmla="*/ 6 w 96"/>
                  <a:gd name="T55" fmla="*/ 82 h 164"/>
                  <a:gd name="T56" fmla="*/ 6 w 96"/>
                  <a:gd name="T57" fmla="*/ 62 h 164"/>
                  <a:gd name="T58" fmla="*/ 0 w 96"/>
                  <a:gd name="T59" fmla="*/ 42 h 164"/>
                  <a:gd name="T60" fmla="*/ 6 w 96"/>
                  <a:gd name="T61" fmla="*/ 28 h 164"/>
                  <a:gd name="T62" fmla="*/ 6 w 96"/>
                  <a:gd name="T63" fmla="*/ 2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64">
                    <a:moveTo>
                      <a:pt x="6" y="20"/>
                    </a:moveTo>
                    <a:lnTo>
                      <a:pt x="12" y="28"/>
                    </a:lnTo>
                    <a:lnTo>
                      <a:pt x="20" y="20"/>
                    </a:lnTo>
                    <a:lnTo>
                      <a:pt x="34" y="20"/>
                    </a:lnTo>
                    <a:lnTo>
                      <a:pt x="40" y="20"/>
                    </a:lnTo>
                    <a:lnTo>
                      <a:pt x="48" y="14"/>
                    </a:lnTo>
                    <a:lnTo>
                      <a:pt x="54" y="14"/>
                    </a:lnTo>
                    <a:lnTo>
                      <a:pt x="60" y="14"/>
                    </a:lnTo>
                    <a:lnTo>
                      <a:pt x="60" y="8"/>
                    </a:lnTo>
                    <a:lnTo>
                      <a:pt x="68" y="8"/>
                    </a:lnTo>
                    <a:lnTo>
                      <a:pt x="74" y="0"/>
                    </a:lnTo>
                    <a:lnTo>
                      <a:pt x="74" y="8"/>
                    </a:lnTo>
                    <a:lnTo>
                      <a:pt x="82" y="14"/>
                    </a:lnTo>
                    <a:lnTo>
                      <a:pt x="88" y="20"/>
                    </a:lnTo>
                    <a:lnTo>
                      <a:pt x="82" y="20"/>
                    </a:lnTo>
                    <a:lnTo>
                      <a:pt x="88" y="28"/>
                    </a:lnTo>
                    <a:lnTo>
                      <a:pt x="88" y="34"/>
                    </a:lnTo>
                    <a:lnTo>
                      <a:pt x="96" y="34"/>
                    </a:lnTo>
                    <a:lnTo>
                      <a:pt x="96" y="42"/>
                    </a:lnTo>
                    <a:lnTo>
                      <a:pt x="88" y="56"/>
                    </a:lnTo>
                    <a:lnTo>
                      <a:pt x="96" y="56"/>
                    </a:lnTo>
                    <a:lnTo>
                      <a:pt x="96" y="62"/>
                    </a:lnTo>
                    <a:lnTo>
                      <a:pt x="88" y="68"/>
                    </a:lnTo>
                    <a:lnTo>
                      <a:pt x="82" y="68"/>
                    </a:lnTo>
                    <a:lnTo>
                      <a:pt x="82" y="76"/>
                    </a:lnTo>
                    <a:lnTo>
                      <a:pt x="82" y="82"/>
                    </a:lnTo>
                    <a:lnTo>
                      <a:pt x="82" y="88"/>
                    </a:lnTo>
                    <a:lnTo>
                      <a:pt x="82" y="96"/>
                    </a:lnTo>
                    <a:lnTo>
                      <a:pt x="82" y="104"/>
                    </a:lnTo>
                    <a:lnTo>
                      <a:pt x="74" y="116"/>
                    </a:lnTo>
                    <a:lnTo>
                      <a:pt x="74" y="130"/>
                    </a:lnTo>
                    <a:lnTo>
                      <a:pt x="74" y="144"/>
                    </a:lnTo>
                    <a:lnTo>
                      <a:pt x="74" y="152"/>
                    </a:lnTo>
                    <a:lnTo>
                      <a:pt x="68" y="158"/>
                    </a:lnTo>
                    <a:lnTo>
                      <a:pt x="60" y="152"/>
                    </a:lnTo>
                    <a:lnTo>
                      <a:pt x="54" y="152"/>
                    </a:lnTo>
                    <a:lnTo>
                      <a:pt x="40" y="144"/>
                    </a:lnTo>
                    <a:lnTo>
                      <a:pt x="34" y="152"/>
                    </a:lnTo>
                    <a:lnTo>
                      <a:pt x="34" y="158"/>
                    </a:lnTo>
                    <a:lnTo>
                      <a:pt x="34" y="164"/>
                    </a:lnTo>
                    <a:lnTo>
                      <a:pt x="26" y="164"/>
                    </a:lnTo>
                    <a:lnTo>
                      <a:pt x="20" y="164"/>
                    </a:lnTo>
                    <a:lnTo>
                      <a:pt x="6" y="158"/>
                    </a:lnTo>
                    <a:lnTo>
                      <a:pt x="6" y="152"/>
                    </a:lnTo>
                    <a:lnTo>
                      <a:pt x="6" y="144"/>
                    </a:lnTo>
                    <a:lnTo>
                      <a:pt x="0" y="138"/>
                    </a:lnTo>
                    <a:lnTo>
                      <a:pt x="6" y="124"/>
                    </a:lnTo>
                    <a:lnTo>
                      <a:pt x="0" y="116"/>
                    </a:lnTo>
                    <a:lnTo>
                      <a:pt x="6" y="116"/>
                    </a:lnTo>
                    <a:lnTo>
                      <a:pt x="12" y="110"/>
                    </a:lnTo>
                    <a:lnTo>
                      <a:pt x="12" y="104"/>
                    </a:lnTo>
                    <a:lnTo>
                      <a:pt x="12" y="96"/>
                    </a:lnTo>
                    <a:lnTo>
                      <a:pt x="20" y="88"/>
                    </a:lnTo>
                    <a:lnTo>
                      <a:pt x="26" y="82"/>
                    </a:lnTo>
                    <a:lnTo>
                      <a:pt x="12" y="82"/>
                    </a:lnTo>
                    <a:lnTo>
                      <a:pt x="6" y="82"/>
                    </a:lnTo>
                    <a:lnTo>
                      <a:pt x="6" y="68"/>
                    </a:lnTo>
                    <a:lnTo>
                      <a:pt x="6" y="62"/>
                    </a:lnTo>
                    <a:lnTo>
                      <a:pt x="0" y="48"/>
                    </a:lnTo>
                    <a:lnTo>
                      <a:pt x="0" y="42"/>
                    </a:lnTo>
                    <a:lnTo>
                      <a:pt x="0" y="34"/>
                    </a:lnTo>
                    <a:lnTo>
                      <a:pt x="6" y="28"/>
                    </a:lnTo>
                    <a:lnTo>
                      <a:pt x="6" y="20"/>
                    </a:lnTo>
                    <a:lnTo>
                      <a:pt x="6" y="20"/>
                    </a:lnTo>
                    <a:lnTo>
                      <a:pt x="6" y="20"/>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8" name="Freeform 32"/>
              <p:cNvSpPr>
                <a:spLocks/>
              </p:cNvSpPr>
              <p:nvPr>
                <p:custDataLst>
                  <p:tags r:id="rId134"/>
                </p:custDataLst>
              </p:nvPr>
            </p:nvSpPr>
            <p:spPr bwMode="gray">
              <a:xfrm>
                <a:off x="4546055" y="4648330"/>
                <a:ext cx="308043" cy="196894"/>
              </a:xfrm>
              <a:custGeom>
                <a:avLst/>
                <a:gdLst>
                  <a:gd name="T0" fmla="*/ 194 w 194"/>
                  <a:gd name="T1" fmla="*/ 6 h 124"/>
                  <a:gd name="T2" fmla="*/ 194 w 194"/>
                  <a:gd name="T3" fmla="*/ 14 h 124"/>
                  <a:gd name="T4" fmla="*/ 194 w 194"/>
                  <a:gd name="T5" fmla="*/ 20 h 124"/>
                  <a:gd name="T6" fmla="*/ 188 w 194"/>
                  <a:gd name="T7" fmla="*/ 34 h 124"/>
                  <a:gd name="T8" fmla="*/ 182 w 194"/>
                  <a:gd name="T9" fmla="*/ 34 h 124"/>
                  <a:gd name="T10" fmla="*/ 174 w 194"/>
                  <a:gd name="T11" fmla="*/ 40 h 124"/>
                  <a:gd name="T12" fmla="*/ 174 w 194"/>
                  <a:gd name="T13" fmla="*/ 48 h 124"/>
                  <a:gd name="T14" fmla="*/ 174 w 194"/>
                  <a:gd name="T15" fmla="*/ 54 h 124"/>
                  <a:gd name="T16" fmla="*/ 174 w 194"/>
                  <a:gd name="T17" fmla="*/ 62 h 124"/>
                  <a:gd name="T18" fmla="*/ 168 w 194"/>
                  <a:gd name="T19" fmla="*/ 68 h 124"/>
                  <a:gd name="T20" fmla="*/ 168 w 194"/>
                  <a:gd name="T21" fmla="*/ 74 h 124"/>
                  <a:gd name="T22" fmla="*/ 168 w 194"/>
                  <a:gd name="T23" fmla="*/ 82 h 124"/>
                  <a:gd name="T24" fmla="*/ 174 w 194"/>
                  <a:gd name="T25" fmla="*/ 82 h 124"/>
                  <a:gd name="T26" fmla="*/ 168 w 194"/>
                  <a:gd name="T27" fmla="*/ 90 h 124"/>
                  <a:gd name="T28" fmla="*/ 174 w 194"/>
                  <a:gd name="T29" fmla="*/ 90 h 124"/>
                  <a:gd name="T30" fmla="*/ 174 w 194"/>
                  <a:gd name="T31" fmla="*/ 104 h 124"/>
                  <a:gd name="T32" fmla="*/ 160 w 194"/>
                  <a:gd name="T33" fmla="*/ 110 h 124"/>
                  <a:gd name="T34" fmla="*/ 160 w 194"/>
                  <a:gd name="T35" fmla="*/ 124 h 124"/>
                  <a:gd name="T36" fmla="*/ 146 w 194"/>
                  <a:gd name="T37" fmla="*/ 116 h 124"/>
                  <a:gd name="T38" fmla="*/ 138 w 194"/>
                  <a:gd name="T39" fmla="*/ 124 h 124"/>
                  <a:gd name="T40" fmla="*/ 126 w 194"/>
                  <a:gd name="T41" fmla="*/ 116 h 124"/>
                  <a:gd name="T42" fmla="*/ 118 w 194"/>
                  <a:gd name="T43" fmla="*/ 104 h 124"/>
                  <a:gd name="T44" fmla="*/ 118 w 194"/>
                  <a:gd name="T45" fmla="*/ 96 h 124"/>
                  <a:gd name="T46" fmla="*/ 104 w 194"/>
                  <a:gd name="T47" fmla="*/ 90 h 124"/>
                  <a:gd name="T48" fmla="*/ 90 w 194"/>
                  <a:gd name="T49" fmla="*/ 90 h 124"/>
                  <a:gd name="T50" fmla="*/ 84 w 194"/>
                  <a:gd name="T51" fmla="*/ 82 h 124"/>
                  <a:gd name="T52" fmla="*/ 70 w 194"/>
                  <a:gd name="T53" fmla="*/ 82 h 124"/>
                  <a:gd name="T54" fmla="*/ 64 w 194"/>
                  <a:gd name="T55" fmla="*/ 68 h 124"/>
                  <a:gd name="T56" fmla="*/ 56 w 194"/>
                  <a:gd name="T57" fmla="*/ 62 h 124"/>
                  <a:gd name="T58" fmla="*/ 36 w 194"/>
                  <a:gd name="T59" fmla="*/ 54 h 124"/>
                  <a:gd name="T60" fmla="*/ 28 w 194"/>
                  <a:gd name="T61" fmla="*/ 48 h 124"/>
                  <a:gd name="T62" fmla="*/ 22 w 194"/>
                  <a:gd name="T63" fmla="*/ 48 h 124"/>
                  <a:gd name="T64" fmla="*/ 8 w 194"/>
                  <a:gd name="T65" fmla="*/ 40 h 124"/>
                  <a:gd name="T66" fmla="*/ 0 w 194"/>
                  <a:gd name="T67" fmla="*/ 34 h 124"/>
                  <a:gd name="T68" fmla="*/ 0 w 194"/>
                  <a:gd name="T69" fmla="*/ 28 h 124"/>
                  <a:gd name="T70" fmla="*/ 8 w 194"/>
                  <a:gd name="T71" fmla="*/ 20 h 124"/>
                  <a:gd name="T72" fmla="*/ 8 w 194"/>
                  <a:gd name="T73" fmla="*/ 6 h 124"/>
                  <a:gd name="T74" fmla="*/ 14 w 194"/>
                  <a:gd name="T75" fmla="*/ 6 h 124"/>
                  <a:gd name="T76" fmla="*/ 22 w 194"/>
                  <a:gd name="T77" fmla="*/ 0 h 124"/>
                  <a:gd name="T78" fmla="*/ 28 w 194"/>
                  <a:gd name="T79" fmla="*/ 6 h 124"/>
                  <a:gd name="T80" fmla="*/ 28 w 194"/>
                  <a:gd name="T81" fmla="*/ 14 h 124"/>
                  <a:gd name="T82" fmla="*/ 42 w 194"/>
                  <a:gd name="T83" fmla="*/ 6 h 124"/>
                  <a:gd name="T84" fmla="*/ 56 w 194"/>
                  <a:gd name="T85" fmla="*/ 6 h 124"/>
                  <a:gd name="T86" fmla="*/ 64 w 194"/>
                  <a:gd name="T87" fmla="*/ 14 h 124"/>
                  <a:gd name="T88" fmla="*/ 76 w 194"/>
                  <a:gd name="T89" fmla="*/ 20 h 124"/>
                  <a:gd name="T90" fmla="*/ 90 w 194"/>
                  <a:gd name="T91" fmla="*/ 28 h 124"/>
                  <a:gd name="T92" fmla="*/ 104 w 194"/>
                  <a:gd name="T93" fmla="*/ 28 h 124"/>
                  <a:gd name="T94" fmla="*/ 118 w 194"/>
                  <a:gd name="T95" fmla="*/ 20 h 124"/>
                  <a:gd name="T96" fmla="*/ 126 w 194"/>
                  <a:gd name="T97" fmla="*/ 20 h 124"/>
                  <a:gd name="T98" fmla="*/ 132 w 194"/>
                  <a:gd name="T99" fmla="*/ 20 h 124"/>
                  <a:gd name="T100" fmla="*/ 138 w 194"/>
                  <a:gd name="T101" fmla="*/ 20 h 124"/>
                  <a:gd name="T102" fmla="*/ 146 w 194"/>
                  <a:gd name="T103" fmla="*/ 14 h 124"/>
                  <a:gd name="T104" fmla="*/ 152 w 194"/>
                  <a:gd name="T105" fmla="*/ 14 h 124"/>
                  <a:gd name="T106" fmla="*/ 160 w 194"/>
                  <a:gd name="T107" fmla="*/ 20 h 124"/>
                  <a:gd name="T108" fmla="*/ 168 w 194"/>
                  <a:gd name="T109" fmla="*/ 14 h 124"/>
                  <a:gd name="T110" fmla="*/ 182 w 194"/>
                  <a:gd name="T111" fmla="*/ 14 h 124"/>
                  <a:gd name="T112" fmla="*/ 194 w 194"/>
                  <a:gd name="T113" fmla="*/ 6 h 124"/>
                  <a:gd name="T114" fmla="*/ 194 w 194"/>
                  <a:gd name="T115" fmla="*/ 6 h 124"/>
                  <a:gd name="T116" fmla="*/ 194 w 194"/>
                  <a:gd name="T117" fmla="*/ 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4" h="124">
                    <a:moveTo>
                      <a:pt x="194" y="6"/>
                    </a:moveTo>
                    <a:lnTo>
                      <a:pt x="194" y="14"/>
                    </a:lnTo>
                    <a:lnTo>
                      <a:pt x="194" y="20"/>
                    </a:lnTo>
                    <a:lnTo>
                      <a:pt x="188" y="34"/>
                    </a:lnTo>
                    <a:lnTo>
                      <a:pt x="182" y="34"/>
                    </a:lnTo>
                    <a:lnTo>
                      <a:pt x="174" y="40"/>
                    </a:lnTo>
                    <a:lnTo>
                      <a:pt x="174" y="48"/>
                    </a:lnTo>
                    <a:lnTo>
                      <a:pt x="174" y="54"/>
                    </a:lnTo>
                    <a:lnTo>
                      <a:pt x="174" y="62"/>
                    </a:lnTo>
                    <a:lnTo>
                      <a:pt x="168" y="68"/>
                    </a:lnTo>
                    <a:lnTo>
                      <a:pt x="168" y="74"/>
                    </a:lnTo>
                    <a:lnTo>
                      <a:pt x="168" y="82"/>
                    </a:lnTo>
                    <a:lnTo>
                      <a:pt x="174" y="82"/>
                    </a:lnTo>
                    <a:lnTo>
                      <a:pt x="168" y="90"/>
                    </a:lnTo>
                    <a:lnTo>
                      <a:pt x="174" y="90"/>
                    </a:lnTo>
                    <a:lnTo>
                      <a:pt x="174" y="104"/>
                    </a:lnTo>
                    <a:lnTo>
                      <a:pt x="160" y="110"/>
                    </a:lnTo>
                    <a:lnTo>
                      <a:pt x="160" y="124"/>
                    </a:lnTo>
                    <a:lnTo>
                      <a:pt x="146" y="116"/>
                    </a:lnTo>
                    <a:lnTo>
                      <a:pt x="138" y="124"/>
                    </a:lnTo>
                    <a:lnTo>
                      <a:pt x="126" y="116"/>
                    </a:lnTo>
                    <a:lnTo>
                      <a:pt x="118" y="104"/>
                    </a:lnTo>
                    <a:lnTo>
                      <a:pt x="118" y="96"/>
                    </a:lnTo>
                    <a:lnTo>
                      <a:pt x="104" y="90"/>
                    </a:lnTo>
                    <a:lnTo>
                      <a:pt x="90" y="90"/>
                    </a:lnTo>
                    <a:lnTo>
                      <a:pt x="84" y="82"/>
                    </a:lnTo>
                    <a:lnTo>
                      <a:pt x="70" y="82"/>
                    </a:lnTo>
                    <a:lnTo>
                      <a:pt x="64" y="68"/>
                    </a:lnTo>
                    <a:lnTo>
                      <a:pt x="56" y="62"/>
                    </a:lnTo>
                    <a:lnTo>
                      <a:pt x="36" y="54"/>
                    </a:lnTo>
                    <a:lnTo>
                      <a:pt x="28" y="48"/>
                    </a:lnTo>
                    <a:lnTo>
                      <a:pt x="22" y="48"/>
                    </a:lnTo>
                    <a:lnTo>
                      <a:pt x="8" y="40"/>
                    </a:lnTo>
                    <a:lnTo>
                      <a:pt x="0" y="34"/>
                    </a:lnTo>
                    <a:lnTo>
                      <a:pt x="0" y="28"/>
                    </a:lnTo>
                    <a:lnTo>
                      <a:pt x="8" y="20"/>
                    </a:lnTo>
                    <a:lnTo>
                      <a:pt x="8" y="6"/>
                    </a:lnTo>
                    <a:lnTo>
                      <a:pt x="14" y="6"/>
                    </a:lnTo>
                    <a:lnTo>
                      <a:pt x="22" y="0"/>
                    </a:lnTo>
                    <a:lnTo>
                      <a:pt x="28" y="6"/>
                    </a:lnTo>
                    <a:lnTo>
                      <a:pt x="28" y="14"/>
                    </a:lnTo>
                    <a:lnTo>
                      <a:pt x="42" y="6"/>
                    </a:lnTo>
                    <a:lnTo>
                      <a:pt x="56" y="6"/>
                    </a:lnTo>
                    <a:lnTo>
                      <a:pt x="64" y="14"/>
                    </a:lnTo>
                    <a:lnTo>
                      <a:pt x="76" y="20"/>
                    </a:lnTo>
                    <a:lnTo>
                      <a:pt x="90" y="28"/>
                    </a:lnTo>
                    <a:lnTo>
                      <a:pt x="104" y="28"/>
                    </a:lnTo>
                    <a:lnTo>
                      <a:pt x="118" y="20"/>
                    </a:lnTo>
                    <a:lnTo>
                      <a:pt x="126" y="20"/>
                    </a:lnTo>
                    <a:lnTo>
                      <a:pt x="132" y="20"/>
                    </a:lnTo>
                    <a:lnTo>
                      <a:pt x="138" y="20"/>
                    </a:lnTo>
                    <a:lnTo>
                      <a:pt x="146" y="14"/>
                    </a:lnTo>
                    <a:lnTo>
                      <a:pt x="152" y="14"/>
                    </a:lnTo>
                    <a:lnTo>
                      <a:pt x="160" y="20"/>
                    </a:lnTo>
                    <a:lnTo>
                      <a:pt x="168" y="14"/>
                    </a:lnTo>
                    <a:lnTo>
                      <a:pt x="182" y="14"/>
                    </a:lnTo>
                    <a:lnTo>
                      <a:pt x="194" y="6"/>
                    </a:lnTo>
                    <a:lnTo>
                      <a:pt x="194" y="6"/>
                    </a:lnTo>
                    <a:lnTo>
                      <a:pt x="194" y="6"/>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9" name="Freeform 33"/>
              <p:cNvSpPr>
                <a:spLocks/>
              </p:cNvSpPr>
              <p:nvPr/>
            </p:nvSpPr>
            <p:spPr bwMode="gray">
              <a:xfrm>
                <a:off x="3521889" y="2625406"/>
                <a:ext cx="31757" cy="19054"/>
              </a:xfrm>
              <a:custGeom>
                <a:avLst/>
                <a:gdLst>
                  <a:gd name="T0" fmla="*/ 14 w 20"/>
                  <a:gd name="T1" fmla="*/ 12 h 12"/>
                  <a:gd name="T2" fmla="*/ 8 w 20"/>
                  <a:gd name="T3" fmla="*/ 12 h 12"/>
                  <a:gd name="T4" fmla="*/ 0 w 20"/>
                  <a:gd name="T5" fmla="*/ 12 h 12"/>
                  <a:gd name="T6" fmla="*/ 0 w 20"/>
                  <a:gd name="T7" fmla="*/ 0 h 12"/>
                  <a:gd name="T8" fmla="*/ 8 w 20"/>
                  <a:gd name="T9" fmla="*/ 0 h 12"/>
                  <a:gd name="T10" fmla="*/ 14 w 20"/>
                  <a:gd name="T11" fmla="*/ 0 h 12"/>
                  <a:gd name="T12" fmla="*/ 20 w 20"/>
                  <a:gd name="T13" fmla="*/ 6 h 12"/>
                  <a:gd name="T14" fmla="*/ 14 w 20"/>
                  <a:gd name="T15" fmla="*/ 12 h 12"/>
                  <a:gd name="T16" fmla="*/ 14 w 20"/>
                  <a:gd name="T17" fmla="*/ 12 h 12"/>
                  <a:gd name="T18" fmla="*/ 14 w 20"/>
                  <a:gd name="T1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2">
                    <a:moveTo>
                      <a:pt x="14" y="12"/>
                    </a:moveTo>
                    <a:lnTo>
                      <a:pt x="8" y="12"/>
                    </a:lnTo>
                    <a:lnTo>
                      <a:pt x="0" y="12"/>
                    </a:lnTo>
                    <a:lnTo>
                      <a:pt x="0" y="0"/>
                    </a:lnTo>
                    <a:lnTo>
                      <a:pt x="8" y="0"/>
                    </a:lnTo>
                    <a:lnTo>
                      <a:pt x="14" y="0"/>
                    </a:lnTo>
                    <a:lnTo>
                      <a:pt x="20" y="6"/>
                    </a:lnTo>
                    <a:lnTo>
                      <a:pt x="14" y="12"/>
                    </a:lnTo>
                    <a:lnTo>
                      <a:pt x="14" y="12"/>
                    </a:lnTo>
                    <a:lnTo>
                      <a:pt x="14" y="12"/>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0" name="Freeform 34"/>
              <p:cNvSpPr>
                <a:spLocks/>
              </p:cNvSpPr>
              <p:nvPr/>
            </p:nvSpPr>
            <p:spPr bwMode="gray">
              <a:xfrm>
                <a:off x="3636215" y="2996963"/>
                <a:ext cx="34933" cy="9527"/>
              </a:xfrm>
              <a:custGeom>
                <a:avLst/>
                <a:gdLst>
                  <a:gd name="T0" fmla="*/ 14 w 22"/>
                  <a:gd name="T1" fmla="*/ 0 h 6"/>
                  <a:gd name="T2" fmla="*/ 0 w 22"/>
                  <a:gd name="T3" fmla="*/ 0 h 6"/>
                  <a:gd name="T4" fmla="*/ 8 w 22"/>
                  <a:gd name="T5" fmla="*/ 6 h 6"/>
                  <a:gd name="T6" fmla="*/ 14 w 22"/>
                  <a:gd name="T7" fmla="*/ 6 h 6"/>
                  <a:gd name="T8" fmla="*/ 22 w 22"/>
                  <a:gd name="T9" fmla="*/ 6 h 6"/>
                  <a:gd name="T10" fmla="*/ 22 w 22"/>
                  <a:gd name="T11" fmla="*/ 0 h 6"/>
                  <a:gd name="T12" fmla="*/ 14 w 22"/>
                  <a:gd name="T13" fmla="*/ 0 h 6"/>
                  <a:gd name="T14" fmla="*/ 14 w 22"/>
                  <a:gd name="T15" fmla="*/ 0 h 6"/>
                  <a:gd name="T16" fmla="*/ 14 w 22"/>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
                    <a:moveTo>
                      <a:pt x="14" y="0"/>
                    </a:moveTo>
                    <a:lnTo>
                      <a:pt x="0" y="0"/>
                    </a:lnTo>
                    <a:lnTo>
                      <a:pt x="8" y="6"/>
                    </a:lnTo>
                    <a:lnTo>
                      <a:pt x="14" y="6"/>
                    </a:lnTo>
                    <a:lnTo>
                      <a:pt x="22" y="6"/>
                    </a:lnTo>
                    <a:lnTo>
                      <a:pt x="22" y="0"/>
                    </a:lnTo>
                    <a:lnTo>
                      <a:pt x="14" y="0"/>
                    </a:lnTo>
                    <a:lnTo>
                      <a:pt x="14" y="0"/>
                    </a:lnTo>
                    <a:lnTo>
                      <a:pt x="14" y="0"/>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1" name="Freeform 35"/>
              <p:cNvSpPr>
                <a:spLocks/>
              </p:cNvSpPr>
              <p:nvPr/>
            </p:nvSpPr>
            <p:spPr bwMode="gray">
              <a:xfrm>
                <a:off x="3842635" y="1999792"/>
                <a:ext cx="19054" cy="34933"/>
              </a:xfrm>
              <a:custGeom>
                <a:avLst/>
                <a:gdLst>
                  <a:gd name="T0" fmla="*/ 12 w 12"/>
                  <a:gd name="T1" fmla="*/ 22 h 22"/>
                  <a:gd name="T2" fmla="*/ 6 w 12"/>
                  <a:gd name="T3" fmla="*/ 14 h 22"/>
                  <a:gd name="T4" fmla="*/ 0 w 12"/>
                  <a:gd name="T5" fmla="*/ 8 h 22"/>
                  <a:gd name="T6" fmla="*/ 6 w 12"/>
                  <a:gd name="T7" fmla="*/ 8 h 22"/>
                  <a:gd name="T8" fmla="*/ 12 w 12"/>
                  <a:gd name="T9" fmla="*/ 0 h 22"/>
                  <a:gd name="T10" fmla="*/ 12 w 12"/>
                  <a:gd name="T11" fmla="*/ 8 h 22"/>
                  <a:gd name="T12" fmla="*/ 12 w 12"/>
                  <a:gd name="T13" fmla="*/ 14 h 22"/>
                  <a:gd name="T14" fmla="*/ 12 w 12"/>
                  <a:gd name="T15" fmla="*/ 22 h 22"/>
                  <a:gd name="T16" fmla="*/ 12 w 12"/>
                  <a:gd name="T17" fmla="*/ 22 h 22"/>
                  <a:gd name="T18" fmla="*/ 12 w 12"/>
                  <a:gd name="T1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22">
                    <a:moveTo>
                      <a:pt x="12" y="22"/>
                    </a:moveTo>
                    <a:lnTo>
                      <a:pt x="6" y="14"/>
                    </a:lnTo>
                    <a:lnTo>
                      <a:pt x="0" y="8"/>
                    </a:lnTo>
                    <a:lnTo>
                      <a:pt x="6" y="8"/>
                    </a:lnTo>
                    <a:lnTo>
                      <a:pt x="12" y="0"/>
                    </a:lnTo>
                    <a:lnTo>
                      <a:pt x="12" y="8"/>
                    </a:lnTo>
                    <a:lnTo>
                      <a:pt x="12" y="14"/>
                    </a:lnTo>
                    <a:lnTo>
                      <a:pt x="12" y="22"/>
                    </a:lnTo>
                    <a:lnTo>
                      <a:pt x="12" y="22"/>
                    </a:lnTo>
                    <a:lnTo>
                      <a:pt x="12" y="22"/>
                    </a:lnTo>
                    <a:close/>
                  </a:path>
                </a:pathLst>
              </a:custGeom>
              <a:solidFill>
                <a:schemeClr val="accent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2" name="Freeform 36"/>
              <p:cNvSpPr>
                <a:spLocks/>
              </p:cNvSpPr>
              <p:nvPr/>
            </p:nvSpPr>
            <p:spPr bwMode="gray">
              <a:xfrm>
                <a:off x="3996657" y="1869589"/>
                <a:ext cx="34933" cy="85744"/>
              </a:xfrm>
              <a:custGeom>
                <a:avLst/>
                <a:gdLst>
                  <a:gd name="T0" fmla="*/ 0 w 22"/>
                  <a:gd name="T1" fmla="*/ 54 h 54"/>
                  <a:gd name="T2" fmla="*/ 8 w 22"/>
                  <a:gd name="T3" fmla="*/ 48 h 54"/>
                  <a:gd name="T4" fmla="*/ 8 w 22"/>
                  <a:gd name="T5" fmla="*/ 42 h 54"/>
                  <a:gd name="T6" fmla="*/ 0 w 22"/>
                  <a:gd name="T7" fmla="*/ 34 h 54"/>
                  <a:gd name="T8" fmla="*/ 0 w 22"/>
                  <a:gd name="T9" fmla="*/ 28 h 54"/>
                  <a:gd name="T10" fmla="*/ 14 w 22"/>
                  <a:gd name="T11" fmla="*/ 28 h 54"/>
                  <a:gd name="T12" fmla="*/ 14 w 22"/>
                  <a:gd name="T13" fmla="*/ 20 h 54"/>
                  <a:gd name="T14" fmla="*/ 22 w 22"/>
                  <a:gd name="T15" fmla="*/ 0 h 54"/>
                  <a:gd name="T16" fmla="*/ 22 w 22"/>
                  <a:gd name="T17" fmla="*/ 14 h 54"/>
                  <a:gd name="T18" fmla="*/ 22 w 22"/>
                  <a:gd name="T19" fmla="*/ 20 h 54"/>
                  <a:gd name="T20" fmla="*/ 22 w 22"/>
                  <a:gd name="T21" fmla="*/ 28 h 54"/>
                  <a:gd name="T22" fmla="*/ 22 w 22"/>
                  <a:gd name="T23" fmla="*/ 34 h 54"/>
                  <a:gd name="T24" fmla="*/ 14 w 22"/>
                  <a:gd name="T25" fmla="*/ 42 h 54"/>
                  <a:gd name="T26" fmla="*/ 14 w 22"/>
                  <a:gd name="T27" fmla="*/ 48 h 54"/>
                  <a:gd name="T28" fmla="*/ 0 w 22"/>
                  <a:gd name="T29" fmla="*/ 54 h 54"/>
                  <a:gd name="T30" fmla="*/ 0 w 22"/>
                  <a:gd name="T31" fmla="*/ 54 h 54"/>
                  <a:gd name="T32" fmla="*/ 0 w 22"/>
                  <a:gd name="T3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54">
                    <a:moveTo>
                      <a:pt x="0" y="54"/>
                    </a:moveTo>
                    <a:lnTo>
                      <a:pt x="8" y="48"/>
                    </a:lnTo>
                    <a:lnTo>
                      <a:pt x="8" y="42"/>
                    </a:lnTo>
                    <a:lnTo>
                      <a:pt x="0" y="34"/>
                    </a:lnTo>
                    <a:lnTo>
                      <a:pt x="0" y="28"/>
                    </a:lnTo>
                    <a:lnTo>
                      <a:pt x="14" y="28"/>
                    </a:lnTo>
                    <a:lnTo>
                      <a:pt x="14" y="20"/>
                    </a:lnTo>
                    <a:lnTo>
                      <a:pt x="22" y="0"/>
                    </a:lnTo>
                    <a:lnTo>
                      <a:pt x="22" y="14"/>
                    </a:lnTo>
                    <a:lnTo>
                      <a:pt x="22" y="20"/>
                    </a:lnTo>
                    <a:lnTo>
                      <a:pt x="22" y="28"/>
                    </a:lnTo>
                    <a:lnTo>
                      <a:pt x="22" y="34"/>
                    </a:lnTo>
                    <a:lnTo>
                      <a:pt x="14" y="42"/>
                    </a:lnTo>
                    <a:lnTo>
                      <a:pt x="14" y="48"/>
                    </a:lnTo>
                    <a:lnTo>
                      <a:pt x="0" y="54"/>
                    </a:lnTo>
                    <a:lnTo>
                      <a:pt x="0" y="54"/>
                    </a:lnTo>
                    <a:lnTo>
                      <a:pt x="0" y="54"/>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3" name="Freeform 37"/>
              <p:cNvSpPr>
                <a:spLocks/>
              </p:cNvSpPr>
              <p:nvPr/>
            </p:nvSpPr>
            <p:spPr bwMode="gray">
              <a:xfrm>
                <a:off x="3566349" y="2012495"/>
                <a:ext cx="76217" cy="76217"/>
              </a:xfrm>
              <a:custGeom>
                <a:avLst/>
                <a:gdLst>
                  <a:gd name="T0" fmla="*/ 0 w 48"/>
                  <a:gd name="T1" fmla="*/ 48 h 48"/>
                  <a:gd name="T2" fmla="*/ 6 w 48"/>
                  <a:gd name="T3" fmla="*/ 34 h 48"/>
                  <a:gd name="T4" fmla="*/ 14 w 48"/>
                  <a:gd name="T5" fmla="*/ 28 h 48"/>
                  <a:gd name="T6" fmla="*/ 20 w 48"/>
                  <a:gd name="T7" fmla="*/ 34 h 48"/>
                  <a:gd name="T8" fmla="*/ 20 w 48"/>
                  <a:gd name="T9" fmla="*/ 42 h 48"/>
                  <a:gd name="T10" fmla="*/ 28 w 48"/>
                  <a:gd name="T11" fmla="*/ 34 h 48"/>
                  <a:gd name="T12" fmla="*/ 28 w 48"/>
                  <a:gd name="T13" fmla="*/ 28 h 48"/>
                  <a:gd name="T14" fmla="*/ 34 w 48"/>
                  <a:gd name="T15" fmla="*/ 20 h 48"/>
                  <a:gd name="T16" fmla="*/ 42 w 48"/>
                  <a:gd name="T17" fmla="*/ 20 h 48"/>
                  <a:gd name="T18" fmla="*/ 42 w 48"/>
                  <a:gd name="T19" fmla="*/ 14 h 48"/>
                  <a:gd name="T20" fmla="*/ 48 w 48"/>
                  <a:gd name="T21" fmla="*/ 6 h 48"/>
                  <a:gd name="T22" fmla="*/ 48 w 48"/>
                  <a:gd name="T23" fmla="*/ 0 h 48"/>
                  <a:gd name="T24" fmla="*/ 42 w 48"/>
                  <a:gd name="T25" fmla="*/ 6 h 48"/>
                  <a:gd name="T26" fmla="*/ 34 w 48"/>
                  <a:gd name="T27" fmla="*/ 6 h 48"/>
                  <a:gd name="T28" fmla="*/ 20 w 48"/>
                  <a:gd name="T29" fmla="*/ 6 h 48"/>
                  <a:gd name="T30" fmla="*/ 20 w 48"/>
                  <a:gd name="T31" fmla="*/ 20 h 48"/>
                  <a:gd name="T32" fmla="*/ 14 w 48"/>
                  <a:gd name="T33" fmla="*/ 14 h 48"/>
                  <a:gd name="T34" fmla="*/ 14 w 48"/>
                  <a:gd name="T35" fmla="*/ 6 h 48"/>
                  <a:gd name="T36" fmla="*/ 6 w 48"/>
                  <a:gd name="T37" fmla="*/ 14 h 48"/>
                  <a:gd name="T38" fmla="*/ 6 w 48"/>
                  <a:gd name="T39" fmla="*/ 20 h 48"/>
                  <a:gd name="T40" fmla="*/ 0 w 48"/>
                  <a:gd name="T41" fmla="*/ 34 h 48"/>
                  <a:gd name="T42" fmla="*/ 0 w 48"/>
                  <a:gd name="T43" fmla="*/ 42 h 48"/>
                  <a:gd name="T44" fmla="*/ 0 w 48"/>
                  <a:gd name="T45" fmla="*/ 48 h 48"/>
                  <a:gd name="T46" fmla="*/ 0 w 48"/>
                  <a:gd name="T47" fmla="*/ 48 h 48"/>
                  <a:gd name="T48" fmla="*/ 0 w 48"/>
                  <a:gd name="T4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 h="48">
                    <a:moveTo>
                      <a:pt x="0" y="48"/>
                    </a:moveTo>
                    <a:lnTo>
                      <a:pt x="6" y="34"/>
                    </a:lnTo>
                    <a:lnTo>
                      <a:pt x="14" y="28"/>
                    </a:lnTo>
                    <a:lnTo>
                      <a:pt x="20" y="34"/>
                    </a:lnTo>
                    <a:lnTo>
                      <a:pt x="20" y="42"/>
                    </a:lnTo>
                    <a:lnTo>
                      <a:pt x="28" y="34"/>
                    </a:lnTo>
                    <a:lnTo>
                      <a:pt x="28" y="28"/>
                    </a:lnTo>
                    <a:lnTo>
                      <a:pt x="34" y="20"/>
                    </a:lnTo>
                    <a:lnTo>
                      <a:pt x="42" y="20"/>
                    </a:lnTo>
                    <a:lnTo>
                      <a:pt x="42" y="14"/>
                    </a:lnTo>
                    <a:lnTo>
                      <a:pt x="48" y="6"/>
                    </a:lnTo>
                    <a:lnTo>
                      <a:pt x="48" y="0"/>
                    </a:lnTo>
                    <a:lnTo>
                      <a:pt x="42" y="6"/>
                    </a:lnTo>
                    <a:lnTo>
                      <a:pt x="34" y="6"/>
                    </a:lnTo>
                    <a:lnTo>
                      <a:pt x="20" y="6"/>
                    </a:lnTo>
                    <a:lnTo>
                      <a:pt x="20" y="20"/>
                    </a:lnTo>
                    <a:lnTo>
                      <a:pt x="14" y="14"/>
                    </a:lnTo>
                    <a:lnTo>
                      <a:pt x="14" y="6"/>
                    </a:lnTo>
                    <a:lnTo>
                      <a:pt x="6" y="14"/>
                    </a:lnTo>
                    <a:lnTo>
                      <a:pt x="6" y="20"/>
                    </a:lnTo>
                    <a:lnTo>
                      <a:pt x="0" y="34"/>
                    </a:lnTo>
                    <a:lnTo>
                      <a:pt x="0" y="42"/>
                    </a:lnTo>
                    <a:lnTo>
                      <a:pt x="0" y="48"/>
                    </a:lnTo>
                    <a:lnTo>
                      <a:pt x="0" y="48"/>
                    </a:lnTo>
                    <a:lnTo>
                      <a:pt x="0" y="48"/>
                    </a:lnTo>
                    <a:close/>
                  </a:path>
                </a:pathLst>
              </a:custGeom>
              <a:solidFill>
                <a:schemeClr val="bg1">
                  <a:lumMod val="85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4" name="Freeform 38"/>
              <p:cNvSpPr>
                <a:spLocks/>
              </p:cNvSpPr>
              <p:nvPr/>
            </p:nvSpPr>
            <p:spPr bwMode="gray">
              <a:xfrm>
                <a:off x="3553646" y="2514257"/>
                <a:ext cx="34933" cy="31757"/>
              </a:xfrm>
              <a:custGeom>
                <a:avLst/>
                <a:gdLst>
                  <a:gd name="T0" fmla="*/ 0 w 22"/>
                  <a:gd name="T1" fmla="*/ 14 h 20"/>
                  <a:gd name="T2" fmla="*/ 6 w 22"/>
                  <a:gd name="T3" fmla="*/ 6 h 20"/>
                  <a:gd name="T4" fmla="*/ 14 w 22"/>
                  <a:gd name="T5" fmla="*/ 0 h 20"/>
                  <a:gd name="T6" fmla="*/ 22 w 22"/>
                  <a:gd name="T7" fmla="*/ 6 h 20"/>
                  <a:gd name="T8" fmla="*/ 22 w 22"/>
                  <a:gd name="T9" fmla="*/ 14 h 20"/>
                  <a:gd name="T10" fmla="*/ 6 w 22"/>
                  <a:gd name="T11" fmla="*/ 20 h 20"/>
                  <a:gd name="T12" fmla="*/ 0 w 22"/>
                  <a:gd name="T13" fmla="*/ 14 h 20"/>
                  <a:gd name="T14" fmla="*/ 0 w 22"/>
                  <a:gd name="T15" fmla="*/ 14 h 20"/>
                  <a:gd name="T16" fmla="*/ 0 w 22"/>
                  <a:gd name="T17"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0">
                    <a:moveTo>
                      <a:pt x="0" y="14"/>
                    </a:moveTo>
                    <a:lnTo>
                      <a:pt x="6" y="6"/>
                    </a:lnTo>
                    <a:lnTo>
                      <a:pt x="14" y="0"/>
                    </a:lnTo>
                    <a:lnTo>
                      <a:pt x="22" y="6"/>
                    </a:lnTo>
                    <a:lnTo>
                      <a:pt x="22" y="14"/>
                    </a:lnTo>
                    <a:lnTo>
                      <a:pt x="6" y="20"/>
                    </a:lnTo>
                    <a:lnTo>
                      <a:pt x="0" y="14"/>
                    </a:lnTo>
                    <a:lnTo>
                      <a:pt x="0" y="14"/>
                    </a:lnTo>
                    <a:lnTo>
                      <a:pt x="0" y="14"/>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5" name="Freeform 39"/>
              <p:cNvSpPr>
                <a:spLocks/>
              </p:cNvSpPr>
              <p:nvPr/>
            </p:nvSpPr>
            <p:spPr bwMode="gray">
              <a:xfrm>
                <a:off x="3579052" y="2110942"/>
                <a:ext cx="41284" cy="66690"/>
              </a:xfrm>
              <a:custGeom>
                <a:avLst/>
                <a:gdLst>
                  <a:gd name="T0" fmla="*/ 20 w 26"/>
                  <a:gd name="T1" fmla="*/ 28 h 42"/>
                  <a:gd name="T2" fmla="*/ 20 w 26"/>
                  <a:gd name="T3" fmla="*/ 22 h 42"/>
                  <a:gd name="T4" fmla="*/ 20 w 26"/>
                  <a:gd name="T5" fmla="*/ 14 h 42"/>
                  <a:gd name="T6" fmla="*/ 26 w 26"/>
                  <a:gd name="T7" fmla="*/ 8 h 42"/>
                  <a:gd name="T8" fmla="*/ 26 w 26"/>
                  <a:gd name="T9" fmla="*/ 0 h 42"/>
                  <a:gd name="T10" fmla="*/ 20 w 26"/>
                  <a:gd name="T11" fmla="*/ 8 h 42"/>
                  <a:gd name="T12" fmla="*/ 12 w 26"/>
                  <a:gd name="T13" fmla="*/ 14 h 42"/>
                  <a:gd name="T14" fmla="*/ 12 w 26"/>
                  <a:gd name="T15" fmla="*/ 8 h 42"/>
                  <a:gd name="T16" fmla="*/ 12 w 26"/>
                  <a:gd name="T17" fmla="*/ 0 h 42"/>
                  <a:gd name="T18" fmla="*/ 0 w 26"/>
                  <a:gd name="T19" fmla="*/ 8 h 42"/>
                  <a:gd name="T20" fmla="*/ 0 w 26"/>
                  <a:gd name="T21" fmla="*/ 14 h 42"/>
                  <a:gd name="T22" fmla="*/ 0 w 26"/>
                  <a:gd name="T23" fmla="*/ 22 h 42"/>
                  <a:gd name="T24" fmla="*/ 12 w 26"/>
                  <a:gd name="T25" fmla="*/ 14 h 42"/>
                  <a:gd name="T26" fmla="*/ 6 w 26"/>
                  <a:gd name="T27" fmla="*/ 28 h 42"/>
                  <a:gd name="T28" fmla="*/ 12 w 26"/>
                  <a:gd name="T29" fmla="*/ 34 h 42"/>
                  <a:gd name="T30" fmla="*/ 12 w 26"/>
                  <a:gd name="T31" fmla="*/ 42 h 42"/>
                  <a:gd name="T32" fmla="*/ 20 w 26"/>
                  <a:gd name="T33" fmla="*/ 28 h 42"/>
                  <a:gd name="T34" fmla="*/ 20 w 26"/>
                  <a:gd name="T35" fmla="*/ 28 h 42"/>
                  <a:gd name="T36" fmla="*/ 20 w 26"/>
                  <a:gd name="T37" fmla="*/ 2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2">
                    <a:moveTo>
                      <a:pt x="20" y="28"/>
                    </a:moveTo>
                    <a:lnTo>
                      <a:pt x="20" y="22"/>
                    </a:lnTo>
                    <a:lnTo>
                      <a:pt x="20" y="14"/>
                    </a:lnTo>
                    <a:lnTo>
                      <a:pt x="26" y="8"/>
                    </a:lnTo>
                    <a:lnTo>
                      <a:pt x="26" y="0"/>
                    </a:lnTo>
                    <a:lnTo>
                      <a:pt x="20" y="8"/>
                    </a:lnTo>
                    <a:lnTo>
                      <a:pt x="12" y="14"/>
                    </a:lnTo>
                    <a:lnTo>
                      <a:pt x="12" y="8"/>
                    </a:lnTo>
                    <a:lnTo>
                      <a:pt x="12" y="0"/>
                    </a:lnTo>
                    <a:lnTo>
                      <a:pt x="0" y="8"/>
                    </a:lnTo>
                    <a:lnTo>
                      <a:pt x="0" y="14"/>
                    </a:lnTo>
                    <a:lnTo>
                      <a:pt x="0" y="22"/>
                    </a:lnTo>
                    <a:lnTo>
                      <a:pt x="12" y="14"/>
                    </a:lnTo>
                    <a:lnTo>
                      <a:pt x="6" y="28"/>
                    </a:lnTo>
                    <a:lnTo>
                      <a:pt x="12" y="34"/>
                    </a:lnTo>
                    <a:lnTo>
                      <a:pt x="12" y="42"/>
                    </a:lnTo>
                    <a:lnTo>
                      <a:pt x="20" y="28"/>
                    </a:lnTo>
                    <a:lnTo>
                      <a:pt x="20" y="28"/>
                    </a:lnTo>
                    <a:lnTo>
                      <a:pt x="20" y="28"/>
                    </a:lnTo>
                    <a:close/>
                  </a:path>
                </a:pathLst>
              </a:custGeom>
              <a:solidFill>
                <a:schemeClr val="accent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6" name="Freeform 40"/>
              <p:cNvSpPr>
                <a:spLocks/>
              </p:cNvSpPr>
              <p:nvPr/>
            </p:nvSpPr>
            <p:spPr bwMode="gray">
              <a:xfrm>
                <a:off x="3566349" y="2231619"/>
                <a:ext cx="22230" cy="31757"/>
              </a:xfrm>
              <a:custGeom>
                <a:avLst/>
                <a:gdLst>
                  <a:gd name="T0" fmla="*/ 6 w 14"/>
                  <a:gd name="T1" fmla="*/ 20 h 20"/>
                  <a:gd name="T2" fmla="*/ 6 w 14"/>
                  <a:gd name="T3" fmla="*/ 14 h 20"/>
                  <a:gd name="T4" fmla="*/ 0 w 14"/>
                  <a:gd name="T5" fmla="*/ 14 h 20"/>
                  <a:gd name="T6" fmla="*/ 6 w 14"/>
                  <a:gd name="T7" fmla="*/ 6 h 20"/>
                  <a:gd name="T8" fmla="*/ 6 w 14"/>
                  <a:gd name="T9" fmla="*/ 0 h 20"/>
                  <a:gd name="T10" fmla="*/ 0 w 14"/>
                  <a:gd name="T11" fmla="*/ 0 h 20"/>
                  <a:gd name="T12" fmla="*/ 14 w 14"/>
                  <a:gd name="T13" fmla="*/ 6 h 20"/>
                  <a:gd name="T14" fmla="*/ 14 w 14"/>
                  <a:gd name="T15" fmla="*/ 14 h 20"/>
                  <a:gd name="T16" fmla="*/ 6 w 14"/>
                  <a:gd name="T17" fmla="*/ 14 h 20"/>
                  <a:gd name="T18" fmla="*/ 6 w 14"/>
                  <a:gd name="T19" fmla="*/ 20 h 20"/>
                  <a:gd name="T20" fmla="*/ 6 w 14"/>
                  <a:gd name="T21" fmla="*/ 20 h 20"/>
                  <a:gd name="T22" fmla="*/ 6 w 14"/>
                  <a:gd name="T2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6" y="20"/>
                    </a:moveTo>
                    <a:lnTo>
                      <a:pt x="6" y="14"/>
                    </a:lnTo>
                    <a:lnTo>
                      <a:pt x="0" y="14"/>
                    </a:lnTo>
                    <a:lnTo>
                      <a:pt x="6" y="6"/>
                    </a:lnTo>
                    <a:lnTo>
                      <a:pt x="6" y="0"/>
                    </a:lnTo>
                    <a:lnTo>
                      <a:pt x="0" y="0"/>
                    </a:lnTo>
                    <a:lnTo>
                      <a:pt x="14" y="6"/>
                    </a:lnTo>
                    <a:lnTo>
                      <a:pt x="14" y="14"/>
                    </a:lnTo>
                    <a:lnTo>
                      <a:pt x="6" y="14"/>
                    </a:lnTo>
                    <a:lnTo>
                      <a:pt x="6" y="20"/>
                    </a:lnTo>
                    <a:lnTo>
                      <a:pt x="6" y="20"/>
                    </a:lnTo>
                    <a:lnTo>
                      <a:pt x="6" y="20"/>
                    </a:lnTo>
                    <a:close/>
                  </a:path>
                </a:pathLst>
              </a:custGeom>
              <a:solidFill>
                <a:schemeClr val="accent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7" name="Freeform 41"/>
              <p:cNvSpPr>
                <a:spLocks/>
              </p:cNvSpPr>
              <p:nvPr/>
            </p:nvSpPr>
            <p:spPr bwMode="gray">
              <a:xfrm>
                <a:off x="3309117" y="2409458"/>
                <a:ext cx="639905" cy="612911"/>
              </a:xfrm>
              <a:custGeom>
                <a:avLst/>
                <a:gdLst>
                  <a:gd name="T0" fmla="*/ 36 w 403"/>
                  <a:gd name="T1" fmla="*/ 330 h 386"/>
                  <a:gd name="T2" fmla="*/ 76 w 403"/>
                  <a:gd name="T3" fmla="*/ 302 h 386"/>
                  <a:gd name="T4" fmla="*/ 92 w 403"/>
                  <a:gd name="T5" fmla="*/ 296 h 386"/>
                  <a:gd name="T6" fmla="*/ 112 w 403"/>
                  <a:gd name="T7" fmla="*/ 302 h 386"/>
                  <a:gd name="T8" fmla="*/ 140 w 403"/>
                  <a:gd name="T9" fmla="*/ 310 h 386"/>
                  <a:gd name="T10" fmla="*/ 166 w 403"/>
                  <a:gd name="T11" fmla="*/ 296 h 386"/>
                  <a:gd name="T12" fmla="*/ 194 w 403"/>
                  <a:gd name="T13" fmla="*/ 282 h 386"/>
                  <a:gd name="T14" fmla="*/ 180 w 403"/>
                  <a:gd name="T15" fmla="*/ 276 h 386"/>
                  <a:gd name="T16" fmla="*/ 174 w 403"/>
                  <a:gd name="T17" fmla="*/ 248 h 386"/>
                  <a:gd name="T18" fmla="*/ 188 w 403"/>
                  <a:gd name="T19" fmla="*/ 228 h 386"/>
                  <a:gd name="T20" fmla="*/ 202 w 403"/>
                  <a:gd name="T21" fmla="*/ 200 h 386"/>
                  <a:gd name="T22" fmla="*/ 202 w 403"/>
                  <a:gd name="T23" fmla="*/ 172 h 386"/>
                  <a:gd name="T24" fmla="*/ 222 w 403"/>
                  <a:gd name="T25" fmla="*/ 164 h 386"/>
                  <a:gd name="T26" fmla="*/ 208 w 403"/>
                  <a:gd name="T27" fmla="*/ 152 h 386"/>
                  <a:gd name="T28" fmla="*/ 222 w 403"/>
                  <a:gd name="T29" fmla="*/ 130 h 386"/>
                  <a:gd name="T30" fmla="*/ 242 w 403"/>
                  <a:gd name="T31" fmla="*/ 116 h 386"/>
                  <a:gd name="T32" fmla="*/ 216 w 403"/>
                  <a:gd name="T33" fmla="*/ 110 h 386"/>
                  <a:gd name="T34" fmla="*/ 216 w 403"/>
                  <a:gd name="T35" fmla="*/ 82 h 386"/>
                  <a:gd name="T36" fmla="*/ 230 w 403"/>
                  <a:gd name="T37" fmla="*/ 48 h 386"/>
                  <a:gd name="T38" fmla="*/ 250 w 403"/>
                  <a:gd name="T39" fmla="*/ 40 h 386"/>
                  <a:gd name="T40" fmla="*/ 270 w 403"/>
                  <a:gd name="T41" fmla="*/ 34 h 386"/>
                  <a:gd name="T42" fmla="*/ 284 w 403"/>
                  <a:gd name="T43" fmla="*/ 20 h 386"/>
                  <a:gd name="T44" fmla="*/ 298 w 403"/>
                  <a:gd name="T45" fmla="*/ 14 h 386"/>
                  <a:gd name="T46" fmla="*/ 326 w 403"/>
                  <a:gd name="T47" fmla="*/ 20 h 386"/>
                  <a:gd name="T48" fmla="*/ 326 w 403"/>
                  <a:gd name="T49" fmla="*/ 54 h 386"/>
                  <a:gd name="T50" fmla="*/ 320 w 403"/>
                  <a:gd name="T51" fmla="*/ 90 h 386"/>
                  <a:gd name="T52" fmla="*/ 340 w 403"/>
                  <a:gd name="T53" fmla="*/ 102 h 386"/>
                  <a:gd name="T54" fmla="*/ 346 w 403"/>
                  <a:gd name="T55" fmla="*/ 130 h 386"/>
                  <a:gd name="T56" fmla="*/ 332 w 403"/>
                  <a:gd name="T57" fmla="*/ 164 h 386"/>
                  <a:gd name="T58" fmla="*/ 346 w 403"/>
                  <a:gd name="T59" fmla="*/ 178 h 386"/>
                  <a:gd name="T60" fmla="*/ 354 w 403"/>
                  <a:gd name="T61" fmla="*/ 206 h 386"/>
                  <a:gd name="T62" fmla="*/ 332 w 403"/>
                  <a:gd name="T63" fmla="*/ 228 h 386"/>
                  <a:gd name="T64" fmla="*/ 346 w 403"/>
                  <a:gd name="T65" fmla="*/ 240 h 386"/>
                  <a:gd name="T66" fmla="*/ 383 w 403"/>
                  <a:gd name="T67" fmla="*/ 240 h 386"/>
                  <a:gd name="T68" fmla="*/ 403 w 403"/>
                  <a:gd name="T69" fmla="*/ 276 h 386"/>
                  <a:gd name="T70" fmla="*/ 383 w 403"/>
                  <a:gd name="T71" fmla="*/ 310 h 386"/>
                  <a:gd name="T72" fmla="*/ 360 w 403"/>
                  <a:gd name="T73" fmla="*/ 316 h 386"/>
                  <a:gd name="T74" fmla="*/ 346 w 403"/>
                  <a:gd name="T75" fmla="*/ 324 h 386"/>
                  <a:gd name="T76" fmla="*/ 326 w 403"/>
                  <a:gd name="T77" fmla="*/ 330 h 386"/>
                  <a:gd name="T78" fmla="*/ 332 w 403"/>
                  <a:gd name="T79" fmla="*/ 352 h 386"/>
                  <a:gd name="T80" fmla="*/ 360 w 403"/>
                  <a:gd name="T81" fmla="*/ 352 h 386"/>
                  <a:gd name="T82" fmla="*/ 346 w 403"/>
                  <a:gd name="T83" fmla="*/ 372 h 386"/>
                  <a:gd name="T84" fmla="*/ 320 w 403"/>
                  <a:gd name="T85" fmla="*/ 378 h 386"/>
                  <a:gd name="T86" fmla="*/ 284 w 403"/>
                  <a:gd name="T87" fmla="*/ 372 h 386"/>
                  <a:gd name="T88" fmla="*/ 250 w 403"/>
                  <a:gd name="T89" fmla="*/ 372 h 386"/>
                  <a:gd name="T90" fmla="*/ 230 w 403"/>
                  <a:gd name="T91" fmla="*/ 358 h 386"/>
                  <a:gd name="T92" fmla="*/ 202 w 403"/>
                  <a:gd name="T93" fmla="*/ 364 h 386"/>
                  <a:gd name="T94" fmla="*/ 166 w 403"/>
                  <a:gd name="T95" fmla="*/ 364 h 386"/>
                  <a:gd name="T96" fmla="*/ 146 w 403"/>
                  <a:gd name="T97" fmla="*/ 344 h 386"/>
                  <a:gd name="T98" fmla="*/ 118 w 403"/>
                  <a:gd name="T99" fmla="*/ 338 h 386"/>
                  <a:gd name="T100" fmla="*/ 104 w 403"/>
                  <a:gd name="T101" fmla="*/ 364 h 386"/>
                  <a:gd name="T102" fmla="*/ 70 w 403"/>
                  <a:gd name="T103" fmla="*/ 352 h 386"/>
                  <a:gd name="T104" fmla="*/ 36 w 403"/>
                  <a:gd name="T105" fmla="*/ 352 h 386"/>
                  <a:gd name="T106" fmla="*/ 14 w 403"/>
                  <a:gd name="T107" fmla="*/ 358 h 386"/>
                  <a:gd name="T108" fmla="*/ 14 w 403"/>
                  <a:gd name="T109" fmla="*/ 344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3" h="386">
                    <a:moveTo>
                      <a:pt x="14" y="344"/>
                    </a:moveTo>
                    <a:lnTo>
                      <a:pt x="28" y="338"/>
                    </a:lnTo>
                    <a:lnTo>
                      <a:pt x="36" y="338"/>
                    </a:lnTo>
                    <a:lnTo>
                      <a:pt x="36" y="330"/>
                    </a:lnTo>
                    <a:lnTo>
                      <a:pt x="56" y="324"/>
                    </a:lnTo>
                    <a:lnTo>
                      <a:pt x="70" y="324"/>
                    </a:lnTo>
                    <a:lnTo>
                      <a:pt x="76" y="310"/>
                    </a:lnTo>
                    <a:lnTo>
                      <a:pt x="76" y="302"/>
                    </a:lnTo>
                    <a:lnTo>
                      <a:pt x="84" y="302"/>
                    </a:lnTo>
                    <a:lnTo>
                      <a:pt x="92" y="310"/>
                    </a:lnTo>
                    <a:lnTo>
                      <a:pt x="98" y="302"/>
                    </a:lnTo>
                    <a:lnTo>
                      <a:pt x="92" y="296"/>
                    </a:lnTo>
                    <a:lnTo>
                      <a:pt x="98" y="296"/>
                    </a:lnTo>
                    <a:lnTo>
                      <a:pt x="104" y="296"/>
                    </a:lnTo>
                    <a:lnTo>
                      <a:pt x="112" y="296"/>
                    </a:lnTo>
                    <a:lnTo>
                      <a:pt x="112" y="302"/>
                    </a:lnTo>
                    <a:lnTo>
                      <a:pt x="118" y="302"/>
                    </a:lnTo>
                    <a:lnTo>
                      <a:pt x="126" y="310"/>
                    </a:lnTo>
                    <a:lnTo>
                      <a:pt x="132" y="310"/>
                    </a:lnTo>
                    <a:lnTo>
                      <a:pt x="140" y="310"/>
                    </a:lnTo>
                    <a:lnTo>
                      <a:pt x="154" y="310"/>
                    </a:lnTo>
                    <a:lnTo>
                      <a:pt x="160" y="310"/>
                    </a:lnTo>
                    <a:lnTo>
                      <a:pt x="160" y="302"/>
                    </a:lnTo>
                    <a:lnTo>
                      <a:pt x="166" y="296"/>
                    </a:lnTo>
                    <a:lnTo>
                      <a:pt x="174" y="296"/>
                    </a:lnTo>
                    <a:lnTo>
                      <a:pt x="180" y="296"/>
                    </a:lnTo>
                    <a:lnTo>
                      <a:pt x="188" y="290"/>
                    </a:lnTo>
                    <a:lnTo>
                      <a:pt x="194" y="282"/>
                    </a:lnTo>
                    <a:lnTo>
                      <a:pt x="188" y="282"/>
                    </a:lnTo>
                    <a:lnTo>
                      <a:pt x="174" y="282"/>
                    </a:lnTo>
                    <a:lnTo>
                      <a:pt x="174" y="276"/>
                    </a:lnTo>
                    <a:lnTo>
                      <a:pt x="180" y="276"/>
                    </a:lnTo>
                    <a:lnTo>
                      <a:pt x="180" y="262"/>
                    </a:lnTo>
                    <a:lnTo>
                      <a:pt x="174" y="262"/>
                    </a:lnTo>
                    <a:lnTo>
                      <a:pt x="174" y="254"/>
                    </a:lnTo>
                    <a:lnTo>
                      <a:pt x="174" y="248"/>
                    </a:lnTo>
                    <a:lnTo>
                      <a:pt x="180" y="240"/>
                    </a:lnTo>
                    <a:lnTo>
                      <a:pt x="188" y="228"/>
                    </a:lnTo>
                    <a:lnTo>
                      <a:pt x="180" y="228"/>
                    </a:lnTo>
                    <a:lnTo>
                      <a:pt x="188" y="228"/>
                    </a:lnTo>
                    <a:lnTo>
                      <a:pt x="194" y="220"/>
                    </a:lnTo>
                    <a:lnTo>
                      <a:pt x="194" y="214"/>
                    </a:lnTo>
                    <a:lnTo>
                      <a:pt x="194" y="206"/>
                    </a:lnTo>
                    <a:lnTo>
                      <a:pt x="202" y="200"/>
                    </a:lnTo>
                    <a:lnTo>
                      <a:pt x="208" y="192"/>
                    </a:lnTo>
                    <a:lnTo>
                      <a:pt x="208" y="186"/>
                    </a:lnTo>
                    <a:lnTo>
                      <a:pt x="202" y="178"/>
                    </a:lnTo>
                    <a:lnTo>
                      <a:pt x="202" y="172"/>
                    </a:lnTo>
                    <a:lnTo>
                      <a:pt x="208" y="164"/>
                    </a:lnTo>
                    <a:lnTo>
                      <a:pt x="208" y="172"/>
                    </a:lnTo>
                    <a:lnTo>
                      <a:pt x="216" y="172"/>
                    </a:lnTo>
                    <a:lnTo>
                      <a:pt x="222" y="164"/>
                    </a:lnTo>
                    <a:lnTo>
                      <a:pt x="216" y="164"/>
                    </a:lnTo>
                    <a:lnTo>
                      <a:pt x="216" y="158"/>
                    </a:lnTo>
                    <a:lnTo>
                      <a:pt x="216" y="152"/>
                    </a:lnTo>
                    <a:lnTo>
                      <a:pt x="208" y="152"/>
                    </a:lnTo>
                    <a:lnTo>
                      <a:pt x="208" y="144"/>
                    </a:lnTo>
                    <a:lnTo>
                      <a:pt x="216" y="138"/>
                    </a:lnTo>
                    <a:lnTo>
                      <a:pt x="222" y="138"/>
                    </a:lnTo>
                    <a:lnTo>
                      <a:pt x="222" y="130"/>
                    </a:lnTo>
                    <a:lnTo>
                      <a:pt x="222" y="124"/>
                    </a:lnTo>
                    <a:lnTo>
                      <a:pt x="230" y="124"/>
                    </a:lnTo>
                    <a:lnTo>
                      <a:pt x="230" y="116"/>
                    </a:lnTo>
                    <a:lnTo>
                      <a:pt x="242" y="116"/>
                    </a:lnTo>
                    <a:lnTo>
                      <a:pt x="242" y="110"/>
                    </a:lnTo>
                    <a:lnTo>
                      <a:pt x="230" y="102"/>
                    </a:lnTo>
                    <a:lnTo>
                      <a:pt x="222" y="102"/>
                    </a:lnTo>
                    <a:lnTo>
                      <a:pt x="216" y="110"/>
                    </a:lnTo>
                    <a:lnTo>
                      <a:pt x="230" y="96"/>
                    </a:lnTo>
                    <a:lnTo>
                      <a:pt x="222" y="96"/>
                    </a:lnTo>
                    <a:lnTo>
                      <a:pt x="216" y="90"/>
                    </a:lnTo>
                    <a:lnTo>
                      <a:pt x="216" y="82"/>
                    </a:lnTo>
                    <a:lnTo>
                      <a:pt x="216" y="68"/>
                    </a:lnTo>
                    <a:lnTo>
                      <a:pt x="216" y="62"/>
                    </a:lnTo>
                    <a:lnTo>
                      <a:pt x="222" y="54"/>
                    </a:lnTo>
                    <a:lnTo>
                      <a:pt x="230" y="48"/>
                    </a:lnTo>
                    <a:lnTo>
                      <a:pt x="236" y="54"/>
                    </a:lnTo>
                    <a:lnTo>
                      <a:pt x="236" y="48"/>
                    </a:lnTo>
                    <a:lnTo>
                      <a:pt x="242" y="48"/>
                    </a:lnTo>
                    <a:lnTo>
                      <a:pt x="250" y="40"/>
                    </a:lnTo>
                    <a:lnTo>
                      <a:pt x="250" y="48"/>
                    </a:lnTo>
                    <a:lnTo>
                      <a:pt x="256" y="48"/>
                    </a:lnTo>
                    <a:lnTo>
                      <a:pt x="264" y="40"/>
                    </a:lnTo>
                    <a:lnTo>
                      <a:pt x="270" y="34"/>
                    </a:lnTo>
                    <a:lnTo>
                      <a:pt x="278" y="34"/>
                    </a:lnTo>
                    <a:lnTo>
                      <a:pt x="278" y="28"/>
                    </a:lnTo>
                    <a:lnTo>
                      <a:pt x="284" y="28"/>
                    </a:lnTo>
                    <a:lnTo>
                      <a:pt x="284" y="20"/>
                    </a:lnTo>
                    <a:lnTo>
                      <a:pt x="292" y="20"/>
                    </a:lnTo>
                    <a:lnTo>
                      <a:pt x="298" y="28"/>
                    </a:lnTo>
                    <a:lnTo>
                      <a:pt x="306" y="20"/>
                    </a:lnTo>
                    <a:lnTo>
                      <a:pt x="298" y="14"/>
                    </a:lnTo>
                    <a:lnTo>
                      <a:pt x="306" y="14"/>
                    </a:lnTo>
                    <a:lnTo>
                      <a:pt x="312" y="0"/>
                    </a:lnTo>
                    <a:lnTo>
                      <a:pt x="320" y="14"/>
                    </a:lnTo>
                    <a:lnTo>
                      <a:pt x="326" y="20"/>
                    </a:lnTo>
                    <a:lnTo>
                      <a:pt x="320" y="34"/>
                    </a:lnTo>
                    <a:lnTo>
                      <a:pt x="320" y="40"/>
                    </a:lnTo>
                    <a:lnTo>
                      <a:pt x="320" y="48"/>
                    </a:lnTo>
                    <a:lnTo>
                      <a:pt x="326" y="54"/>
                    </a:lnTo>
                    <a:lnTo>
                      <a:pt x="326" y="62"/>
                    </a:lnTo>
                    <a:lnTo>
                      <a:pt x="320" y="68"/>
                    </a:lnTo>
                    <a:lnTo>
                      <a:pt x="320" y="76"/>
                    </a:lnTo>
                    <a:lnTo>
                      <a:pt x="320" y="90"/>
                    </a:lnTo>
                    <a:lnTo>
                      <a:pt x="320" y="96"/>
                    </a:lnTo>
                    <a:lnTo>
                      <a:pt x="326" y="96"/>
                    </a:lnTo>
                    <a:lnTo>
                      <a:pt x="332" y="102"/>
                    </a:lnTo>
                    <a:lnTo>
                      <a:pt x="340" y="102"/>
                    </a:lnTo>
                    <a:lnTo>
                      <a:pt x="340" y="110"/>
                    </a:lnTo>
                    <a:lnTo>
                      <a:pt x="346" y="116"/>
                    </a:lnTo>
                    <a:lnTo>
                      <a:pt x="346" y="124"/>
                    </a:lnTo>
                    <a:lnTo>
                      <a:pt x="346" y="130"/>
                    </a:lnTo>
                    <a:lnTo>
                      <a:pt x="346" y="138"/>
                    </a:lnTo>
                    <a:lnTo>
                      <a:pt x="346" y="172"/>
                    </a:lnTo>
                    <a:lnTo>
                      <a:pt x="340" y="164"/>
                    </a:lnTo>
                    <a:lnTo>
                      <a:pt x="332" y="164"/>
                    </a:lnTo>
                    <a:lnTo>
                      <a:pt x="326" y="164"/>
                    </a:lnTo>
                    <a:lnTo>
                      <a:pt x="326" y="172"/>
                    </a:lnTo>
                    <a:lnTo>
                      <a:pt x="332" y="172"/>
                    </a:lnTo>
                    <a:lnTo>
                      <a:pt x="346" y="178"/>
                    </a:lnTo>
                    <a:lnTo>
                      <a:pt x="346" y="186"/>
                    </a:lnTo>
                    <a:lnTo>
                      <a:pt x="354" y="192"/>
                    </a:lnTo>
                    <a:lnTo>
                      <a:pt x="354" y="200"/>
                    </a:lnTo>
                    <a:lnTo>
                      <a:pt x="354" y="206"/>
                    </a:lnTo>
                    <a:lnTo>
                      <a:pt x="354" y="214"/>
                    </a:lnTo>
                    <a:lnTo>
                      <a:pt x="346" y="220"/>
                    </a:lnTo>
                    <a:lnTo>
                      <a:pt x="340" y="228"/>
                    </a:lnTo>
                    <a:lnTo>
                      <a:pt x="332" y="228"/>
                    </a:lnTo>
                    <a:lnTo>
                      <a:pt x="332" y="234"/>
                    </a:lnTo>
                    <a:lnTo>
                      <a:pt x="332" y="240"/>
                    </a:lnTo>
                    <a:lnTo>
                      <a:pt x="340" y="248"/>
                    </a:lnTo>
                    <a:lnTo>
                      <a:pt x="346" y="240"/>
                    </a:lnTo>
                    <a:lnTo>
                      <a:pt x="354" y="240"/>
                    </a:lnTo>
                    <a:lnTo>
                      <a:pt x="360" y="234"/>
                    </a:lnTo>
                    <a:lnTo>
                      <a:pt x="368" y="240"/>
                    </a:lnTo>
                    <a:lnTo>
                      <a:pt x="383" y="240"/>
                    </a:lnTo>
                    <a:lnTo>
                      <a:pt x="397" y="248"/>
                    </a:lnTo>
                    <a:lnTo>
                      <a:pt x="403" y="254"/>
                    </a:lnTo>
                    <a:lnTo>
                      <a:pt x="403" y="268"/>
                    </a:lnTo>
                    <a:lnTo>
                      <a:pt x="403" y="276"/>
                    </a:lnTo>
                    <a:lnTo>
                      <a:pt x="397" y="290"/>
                    </a:lnTo>
                    <a:lnTo>
                      <a:pt x="397" y="296"/>
                    </a:lnTo>
                    <a:lnTo>
                      <a:pt x="389" y="302"/>
                    </a:lnTo>
                    <a:lnTo>
                      <a:pt x="383" y="310"/>
                    </a:lnTo>
                    <a:lnTo>
                      <a:pt x="374" y="310"/>
                    </a:lnTo>
                    <a:lnTo>
                      <a:pt x="368" y="310"/>
                    </a:lnTo>
                    <a:lnTo>
                      <a:pt x="368" y="316"/>
                    </a:lnTo>
                    <a:lnTo>
                      <a:pt x="360" y="316"/>
                    </a:lnTo>
                    <a:lnTo>
                      <a:pt x="354" y="316"/>
                    </a:lnTo>
                    <a:lnTo>
                      <a:pt x="346" y="316"/>
                    </a:lnTo>
                    <a:lnTo>
                      <a:pt x="340" y="324"/>
                    </a:lnTo>
                    <a:lnTo>
                      <a:pt x="346" y="324"/>
                    </a:lnTo>
                    <a:lnTo>
                      <a:pt x="346" y="330"/>
                    </a:lnTo>
                    <a:lnTo>
                      <a:pt x="340" y="338"/>
                    </a:lnTo>
                    <a:lnTo>
                      <a:pt x="332" y="330"/>
                    </a:lnTo>
                    <a:lnTo>
                      <a:pt x="326" y="330"/>
                    </a:lnTo>
                    <a:lnTo>
                      <a:pt x="320" y="330"/>
                    </a:lnTo>
                    <a:lnTo>
                      <a:pt x="320" y="338"/>
                    </a:lnTo>
                    <a:lnTo>
                      <a:pt x="326" y="344"/>
                    </a:lnTo>
                    <a:lnTo>
                      <a:pt x="332" y="352"/>
                    </a:lnTo>
                    <a:lnTo>
                      <a:pt x="340" y="352"/>
                    </a:lnTo>
                    <a:lnTo>
                      <a:pt x="346" y="358"/>
                    </a:lnTo>
                    <a:lnTo>
                      <a:pt x="354" y="352"/>
                    </a:lnTo>
                    <a:lnTo>
                      <a:pt x="360" y="352"/>
                    </a:lnTo>
                    <a:lnTo>
                      <a:pt x="368" y="358"/>
                    </a:lnTo>
                    <a:lnTo>
                      <a:pt x="360" y="364"/>
                    </a:lnTo>
                    <a:lnTo>
                      <a:pt x="354" y="372"/>
                    </a:lnTo>
                    <a:lnTo>
                      <a:pt x="346" y="372"/>
                    </a:lnTo>
                    <a:lnTo>
                      <a:pt x="340" y="378"/>
                    </a:lnTo>
                    <a:lnTo>
                      <a:pt x="332" y="386"/>
                    </a:lnTo>
                    <a:lnTo>
                      <a:pt x="326" y="378"/>
                    </a:lnTo>
                    <a:lnTo>
                      <a:pt x="320" y="378"/>
                    </a:lnTo>
                    <a:lnTo>
                      <a:pt x="306" y="386"/>
                    </a:lnTo>
                    <a:lnTo>
                      <a:pt x="298" y="378"/>
                    </a:lnTo>
                    <a:lnTo>
                      <a:pt x="292" y="378"/>
                    </a:lnTo>
                    <a:lnTo>
                      <a:pt x="284" y="372"/>
                    </a:lnTo>
                    <a:lnTo>
                      <a:pt x="278" y="372"/>
                    </a:lnTo>
                    <a:lnTo>
                      <a:pt x="270" y="372"/>
                    </a:lnTo>
                    <a:lnTo>
                      <a:pt x="264" y="372"/>
                    </a:lnTo>
                    <a:lnTo>
                      <a:pt x="250" y="372"/>
                    </a:lnTo>
                    <a:lnTo>
                      <a:pt x="250" y="364"/>
                    </a:lnTo>
                    <a:lnTo>
                      <a:pt x="242" y="364"/>
                    </a:lnTo>
                    <a:lnTo>
                      <a:pt x="236" y="364"/>
                    </a:lnTo>
                    <a:lnTo>
                      <a:pt x="230" y="358"/>
                    </a:lnTo>
                    <a:lnTo>
                      <a:pt x="222" y="352"/>
                    </a:lnTo>
                    <a:lnTo>
                      <a:pt x="216" y="358"/>
                    </a:lnTo>
                    <a:lnTo>
                      <a:pt x="216" y="364"/>
                    </a:lnTo>
                    <a:lnTo>
                      <a:pt x="202" y="364"/>
                    </a:lnTo>
                    <a:lnTo>
                      <a:pt x="194" y="358"/>
                    </a:lnTo>
                    <a:lnTo>
                      <a:pt x="180" y="358"/>
                    </a:lnTo>
                    <a:lnTo>
                      <a:pt x="174" y="364"/>
                    </a:lnTo>
                    <a:lnTo>
                      <a:pt x="166" y="364"/>
                    </a:lnTo>
                    <a:lnTo>
                      <a:pt x="166" y="358"/>
                    </a:lnTo>
                    <a:lnTo>
                      <a:pt x="160" y="352"/>
                    </a:lnTo>
                    <a:lnTo>
                      <a:pt x="154" y="344"/>
                    </a:lnTo>
                    <a:lnTo>
                      <a:pt x="146" y="344"/>
                    </a:lnTo>
                    <a:lnTo>
                      <a:pt x="140" y="344"/>
                    </a:lnTo>
                    <a:lnTo>
                      <a:pt x="132" y="344"/>
                    </a:lnTo>
                    <a:lnTo>
                      <a:pt x="126" y="344"/>
                    </a:lnTo>
                    <a:lnTo>
                      <a:pt x="118" y="338"/>
                    </a:lnTo>
                    <a:lnTo>
                      <a:pt x="112" y="344"/>
                    </a:lnTo>
                    <a:lnTo>
                      <a:pt x="112" y="352"/>
                    </a:lnTo>
                    <a:lnTo>
                      <a:pt x="112" y="358"/>
                    </a:lnTo>
                    <a:lnTo>
                      <a:pt x="104" y="364"/>
                    </a:lnTo>
                    <a:lnTo>
                      <a:pt x="92" y="364"/>
                    </a:lnTo>
                    <a:lnTo>
                      <a:pt x="84" y="358"/>
                    </a:lnTo>
                    <a:lnTo>
                      <a:pt x="84" y="352"/>
                    </a:lnTo>
                    <a:lnTo>
                      <a:pt x="70" y="352"/>
                    </a:lnTo>
                    <a:lnTo>
                      <a:pt x="56" y="344"/>
                    </a:lnTo>
                    <a:lnTo>
                      <a:pt x="42" y="352"/>
                    </a:lnTo>
                    <a:lnTo>
                      <a:pt x="36" y="358"/>
                    </a:lnTo>
                    <a:lnTo>
                      <a:pt x="36" y="352"/>
                    </a:lnTo>
                    <a:lnTo>
                      <a:pt x="28" y="352"/>
                    </a:lnTo>
                    <a:lnTo>
                      <a:pt x="28" y="358"/>
                    </a:lnTo>
                    <a:lnTo>
                      <a:pt x="22" y="358"/>
                    </a:lnTo>
                    <a:lnTo>
                      <a:pt x="14" y="358"/>
                    </a:lnTo>
                    <a:lnTo>
                      <a:pt x="14" y="344"/>
                    </a:lnTo>
                    <a:lnTo>
                      <a:pt x="8" y="344"/>
                    </a:lnTo>
                    <a:lnTo>
                      <a:pt x="0" y="344"/>
                    </a:lnTo>
                    <a:lnTo>
                      <a:pt x="14" y="344"/>
                    </a:lnTo>
                    <a:lnTo>
                      <a:pt x="14" y="344"/>
                    </a:lnTo>
                    <a:lnTo>
                      <a:pt x="14" y="344"/>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8" name="Freeform 42"/>
              <p:cNvSpPr>
                <a:spLocks/>
              </p:cNvSpPr>
              <p:nvPr>
                <p:custDataLst>
                  <p:tags r:id="rId135"/>
                </p:custDataLst>
              </p:nvPr>
            </p:nvSpPr>
            <p:spPr bwMode="gray">
              <a:xfrm>
                <a:off x="3413915" y="2653988"/>
                <a:ext cx="231826" cy="215948"/>
              </a:xfrm>
              <a:custGeom>
                <a:avLst/>
                <a:gdLst>
                  <a:gd name="T0" fmla="*/ 132 w 146"/>
                  <a:gd name="T1" fmla="*/ 12 h 136"/>
                  <a:gd name="T2" fmla="*/ 126 w 146"/>
                  <a:gd name="T3" fmla="*/ 6 h 136"/>
                  <a:gd name="T4" fmla="*/ 118 w 146"/>
                  <a:gd name="T5" fmla="*/ 0 h 136"/>
                  <a:gd name="T6" fmla="*/ 90 w 146"/>
                  <a:gd name="T7" fmla="*/ 6 h 136"/>
                  <a:gd name="T8" fmla="*/ 70 w 146"/>
                  <a:gd name="T9" fmla="*/ 12 h 136"/>
                  <a:gd name="T10" fmla="*/ 56 w 146"/>
                  <a:gd name="T11" fmla="*/ 20 h 136"/>
                  <a:gd name="T12" fmla="*/ 62 w 146"/>
                  <a:gd name="T13" fmla="*/ 26 h 136"/>
                  <a:gd name="T14" fmla="*/ 78 w 146"/>
                  <a:gd name="T15" fmla="*/ 26 h 136"/>
                  <a:gd name="T16" fmla="*/ 90 w 146"/>
                  <a:gd name="T17" fmla="*/ 20 h 136"/>
                  <a:gd name="T18" fmla="*/ 84 w 146"/>
                  <a:gd name="T19" fmla="*/ 34 h 136"/>
                  <a:gd name="T20" fmla="*/ 84 w 146"/>
                  <a:gd name="T21" fmla="*/ 48 h 136"/>
                  <a:gd name="T22" fmla="*/ 84 w 146"/>
                  <a:gd name="T23" fmla="*/ 54 h 136"/>
                  <a:gd name="T24" fmla="*/ 70 w 146"/>
                  <a:gd name="T25" fmla="*/ 62 h 136"/>
                  <a:gd name="T26" fmla="*/ 56 w 146"/>
                  <a:gd name="T27" fmla="*/ 76 h 136"/>
                  <a:gd name="T28" fmla="*/ 42 w 146"/>
                  <a:gd name="T29" fmla="*/ 76 h 136"/>
                  <a:gd name="T30" fmla="*/ 28 w 146"/>
                  <a:gd name="T31" fmla="*/ 76 h 136"/>
                  <a:gd name="T32" fmla="*/ 14 w 146"/>
                  <a:gd name="T33" fmla="*/ 68 h 136"/>
                  <a:gd name="T34" fmla="*/ 8 w 146"/>
                  <a:gd name="T35" fmla="*/ 82 h 136"/>
                  <a:gd name="T36" fmla="*/ 14 w 146"/>
                  <a:gd name="T37" fmla="*/ 88 h 136"/>
                  <a:gd name="T38" fmla="*/ 22 w 146"/>
                  <a:gd name="T39" fmla="*/ 96 h 136"/>
                  <a:gd name="T40" fmla="*/ 14 w 146"/>
                  <a:gd name="T41" fmla="*/ 102 h 136"/>
                  <a:gd name="T42" fmla="*/ 36 w 146"/>
                  <a:gd name="T43" fmla="*/ 96 h 136"/>
                  <a:gd name="T44" fmla="*/ 48 w 146"/>
                  <a:gd name="T45" fmla="*/ 96 h 136"/>
                  <a:gd name="T46" fmla="*/ 48 w 146"/>
                  <a:gd name="T47" fmla="*/ 110 h 136"/>
                  <a:gd name="T48" fmla="*/ 48 w 146"/>
                  <a:gd name="T49" fmla="*/ 110 h 136"/>
                  <a:gd name="T50" fmla="*/ 62 w 146"/>
                  <a:gd name="T51" fmla="*/ 116 h 136"/>
                  <a:gd name="T52" fmla="*/ 62 w 146"/>
                  <a:gd name="T53" fmla="*/ 124 h 136"/>
                  <a:gd name="T54" fmla="*/ 78 w 146"/>
                  <a:gd name="T55" fmla="*/ 136 h 136"/>
                  <a:gd name="T56" fmla="*/ 98 w 146"/>
                  <a:gd name="T57" fmla="*/ 136 h 136"/>
                  <a:gd name="T58" fmla="*/ 112 w 146"/>
                  <a:gd name="T59" fmla="*/ 130 h 136"/>
                  <a:gd name="T60" fmla="*/ 118 w 146"/>
                  <a:gd name="T61" fmla="*/ 124 h 136"/>
                  <a:gd name="T62" fmla="*/ 112 w 146"/>
                  <a:gd name="T63" fmla="*/ 110 h 136"/>
                  <a:gd name="T64" fmla="*/ 112 w 146"/>
                  <a:gd name="T65" fmla="*/ 96 h 136"/>
                  <a:gd name="T66" fmla="*/ 126 w 146"/>
                  <a:gd name="T67" fmla="*/ 76 h 136"/>
                  <a:gd name="T68" fmla="*/ 126 w 146"/>
                  <a:gd name="T69" fmla="*/ 76 h 136"/>
                  <a:gd name="T70" fmla="*/ 132 w 146"/>
                  <a:gd name="T71" fmla="*/ 62 h 136"/>
                  <a:gd name="T72" fmla="*/ 140 w 146"/>
                  <a:gd name="T73" fmla="*/ 48 h 136"/>
                  <a:gd name="T74" fmla="*/ 146 w 146"/>
                  <a:gd name="T75" fmla="*/ 34 h 136"/>
                  <a:gd name="T76" fmla="*/ 140 w 146"/>
                  <a:gd name="T77" fmla="*/ 20 h 136"/>
                  <a:gd name="T78" fmla="*/ 140 w 146"/>
                  <a:gd name="T79"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6" h="136">
                    <a:moveTo>
                      <a:pt x="140" y="20"/>
                    </a:moveTo>
                    <a:lnTo>
                      <a:pt x="132" y="12"/>
                    </a:lnTo>
                    <a:lnTo>
                      <a:pt x="132" y="6"/>
                    </a:lnTo>
                    <a:lnTo>
                      <a:pt x="126" y="6"/>
                    </a:lnTo>
                    <a:lnTo>
                      <a:pt x="118" y="6"/>
                    </a:lnTo>
                    <a:lnTo>
                      <a:pt x="118" y="0"/>
                    </a:lnTo>
                    <a:lnTo>
                      <a:pt x="98" y="6"/>
                    </a:lnTo>
                    <a:lnTo>
                      <a:pt x="90" y="6"/>
                    </a:lnTo>
                    <a:lnTo>
                      <a:pt x="84" y="12"/>
                    </a:lnTo>
                    <a:lnTo>
                      <a:pt x="70" y="12"/>
                    </a:lnTo>
                    <a:lnTo>
                      <a:pt x="62" y="20"/>
                    </a:lnTo>
                    <a:lnTo>
                      <a:pt x="56" y="20"/>
                    </a:lnTo>
                    <a:lnTo>
                      <a:pt x="56" y="26"/>
                    </a:lnTo>
                    <a:lnTo>
                      <a:pt x="62" y="26"/>
                    </a:lnTo>
                    <a:lnTo>
                      <a:pt x="70" y="20"/>
                    </a:lnTo>
                    <a:lnTo>
                      <a:pt x="78" y="26"/>
                    </a:lnTo>
                    <a:lnTo>
                      <a:pt x="84" y="20"/>
                    </a:lnTo>
                    <a:lnTo>
                      <a:pt x="90" y="20"/>
                    </a:lnTo>
                    <a:lnTo>
                      <a:pt x="90" y="26"/>
                    </a:lnTo>
                    <a:lnTo>
                      <a:pt x="84" y="34"/>
                    </a:lnTo>
                    <a:lnTo>
                      <a:pt x="84" y="40"/>
                    </a:lnTo>
                    <a:lnTo>
                      <a:pt x="84" y="48"/>
                    </a:lnTo>
                    <a:lnTo>
                      <a:pt x="78" y="48"/>
                    </a:lnTo>
                    <a:lnTo>
                      <a:pt x="84" y="54"/>
                    </a:lnTo>
                    <a:lnTo>
                      <a:pt x="78" y="62"/>
                    </a:lnTo>
                    <a:lnTo>
                      <a:pt x="70" y="62"/>
                    </a:lnTo>
                    <a:lnTo>
                      <a:pt x="62" y="68"/>
                    </a:lnTo>
                    <a:lnTo>
                      <a:pt x="56" y="76"/>
                    </a:lnTo>
                    <a:lnTo>
                      <a:pt x="48" y="68"/>
                    </a:lnTo>
                    <a:lnTo>
                      <a:pt x="42" y="76"/>
                    </a:lnTo>
                    <a:lnTo>
                      <a:pt x="36" y="76"/>
                    </a:lnTo>
                    <a:lnTo>
                      <a:pt x="28" y="76"/>
                    </a:lnTo>
                    <a:lnTo>
                      <a:pt x="22" y="76"/>
                    </a:lnTo>
                    <a:lnTo>
                      <a:pt x="14" y="68"/>
                    </a:lnTo>
                    <a:lnTo>
                      <a:pt x="8" y="76"/>
                    </a:lnTo>
                    <a:lnTo>
                      <a:pt x="8" y="82"/>
                    </a:lnTo>
                    <a:lnTo>
                      <a:pt x="0" y="88"/>
                    </a:lnTo>
                    <a:lnTo>
                      <a:pt x="14" y="88"/>
                    </a:lnTo>
                    <a:lnTo>
                      <a:pt x="22" y="88"/>
                    </a:lnTo>
                    <a:lnTo>
                      <a:pt x="22" y="96"/>
                    </a:lnTo>
                    <a:lnTo>
                      <a:pt x="14" y="96"/>
                    </a:lnTo>
                    <a:lnTo>
                      <a:pt x="14" y="102"/>
                    </a:lnTo>
                    <a:lnTo>
                      <a:pt x="28" y="102"/>
                    </a:lnTo>
                    <a:lnTo>
                      <a:pt x="36" y="96"/>
                    </a:lnTo>
                    <a:lnTo>
                      <a:pt x="42" y="96"/>
                    </a:lnTo>
                    <a:lnTo>
                      <a:pt x="48" y="96"/>
                    </a:lnTo>
                    <a:lnTo>
                      <a:pt x="48" y="102"/>
                    </a:lnTo>
                    <a:lnTo>
                      <a:pt x="48" y="110"/>
                    </a:lnTo>
                    <a:lnTo>
                      <a:pt x="56" y="110"/>
                    </a:lnTo>
                    <a:lnTo>
                      <a:pt x="48" y="110"/>
                    </a:lnTo>
                    <a:lnTo>
                      <a:pt x="48" y="116"/>
                    </a:lnTo>
                    <a:lnTo>
                      <a:pt x="62" y="116"/>
                    </a:lnTo>
                    <a:lnTo>
                      <a:pt x="70" y="116"/>
                    </a:lnTo>
                    <a:lnTo>
                      <a:pt x="62" y="124"/>
                    </a:lnTo>
                    <a:lnTo>
                      <a:pt x="70" y="130"/>
                    </a:lnTo>
                    <a:lnTo>
                      <a:pt x="78" y="136"/>
                    </a:lnTo>
                    <a:lnTo>
                      <a:pt x="84" y="136"/>
                    </a:lnTo>
                    <a:lnTo>
                      <a:pt x="98" y="136"/>
                    </a:lnTo>
                    <a:lnTo>
                      <a:pt x="104" y="136"/>
                    </a:lnTo>
                    <a:lnTo>
                      <a:pt x="112" y="130"/>
                    </a:lnTo>
                    <a:lnTo>
                      <a:pt x="112" y="124"/>
                    </a:lnTo>
                    <a:lnTo>
                      <a:pt x="118" y="124"/>
                    </a:lnTo>
                    <a:lnTo>
                      <a:pt x="118" y="110"/>
                    </a:lnTo>
                    <a:lnTo>
                      <a:pt x="112" y="110"/>
                    </a:lnTo>
                    <a:lnTo>
                      <a:pt x="112" y="102"/>
                    </a:lnTo>
                    <a:lnTo>
                      <a:pt x="112" y="96"/>
                    </a:lnTo>
                    <a:lnTo>
                      <a:pt x="118" y="88"/>
                    </a:lnTo>
                    <a:lnTo>
                      <a:pt x="126" y="76"/>
                    </a:lnTo>
                    <a:lnTo>
                      <a:pt x="118" y="76"/>
                    </a:lnTo>
                    <a:lnTo>
                      <a:pt x="126" y="76"/>
                    </a:lnTo>
                    <a:lnTo>
                      <a:pt x="132" y="68"/>
                    </a:lnTo>
                    <a:lnTo>
                      <a:pt x="132" y="62"/>
                    </a:lnTo>
                    <a:lnTo>
                      <a:pt x="132" y="54"/>
                    </a:lnTo>
                    <a:lnTo>
                      <a:pt x="140" y="48"/>
                    </a:lnTo>
                    <a:lnTo>
                      <a:pt x="146" y="40"/>
                    </a:lnTo>
                    <a:lnTo>
                      <a:pt x="146" y="34"/>
                    </a:lnTo>
                    <a:lnTo>
                      <a:pt x="140" y="26"/>
                    </a:lnTo>
                    <a:lnTo>
                      <a:pt x="140" y="20"/>
                    </a:lnTo>
                    <a:lnTo>
                      <a:pt x="140" y="20"/>
                    </a:lnTo>
                    <a:lnTo>
                      <a:pt x="140" y="20"/>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9" name="Freeform 43"/>
              <p:cNvSpPr>
                <a:spLocks/>
              </p:cNvSpPr>
              <p:nvPr/>
            </p:nvSpPr>
            <p:spPr bwMode="gray">
              <a:xfrm>
                <a:off x="3563173" y="2041076"/>
                <a:ext cx="317570" cy="447774"/>
              </a:xfrm>
              <a:custGeom>
                <a:avLst/>
                <a:gdLst>
                  <a:gd name="T0" fmla="*/ 82 w 200"/>
                  <a:gd name="T1" fmla="*/ 276 h 282"/>
                  <a:gd name="T2" fmla="*/ 62 w 200"/>
                  <a:gd name="T3" fmla="*/ 268 h 282"/>
                  <a:gd name="T4" fmla="*/ 54 w 200"/>
                  <a:gd name="T5" fmla="*/ 268 h 282"/>
                  <a:gd name="T6" fmla="*/ 34 w 200"/>
                  <a:gd name="T7" fmla="*/ 262 h 282"/>
                  <a:gd name="T8" fmla="*/ 28 w 200"/>
                  <a:gd name="T9" fmla="*/ 282 h 282"/>
                  <a:gd name="T10" fmla="*/ 14 w 200"/>
                  <a:gd name="T11" fmla="*/ 262 h 282"/>
                  <a:gd name="T12" fmla="*/ 6 w 200"/>
                  <a:gd name="T13" fmla="*/ 276 h 282"/>
                  <a:gd name="T14" fmla="*/ 0 w 200"/>
                  <a:gd name="T15" fmla="*/ 254 h 282"/>
                  <a:gd name="T16" fmla="*/ 6 w 200"/>
                  <a:gd name="T17" fmla="*/ 240 h 282"/>
                  <a:gd name="T18" fmla="*/ 20 w 200"/>
                  <a:gd name="T19" fmla="*/ 228 h 282"/>
                  <a:gd name="T20" fmla="*/ 42 w 200"/>
                  <a:gd name="T21" fmla="*/ 214 h 282"/>
                  <a:gd name="T22" fmla="*/ 54 w 200"/>
                  <a:gd name="T23" fmla="*/ 200 h 282"/>
                  <a:gd name="T24" fmla="*/ 42 w 200"/>
                  <a:gd name="T25" fmla="*/ 186 h 282"/>
                  <a:gd name="T26" fmla="*/ 28 w 200"/>
                  <a:gd name="T27" fmla="*/ 180 h 282"/>
                  <a:gd name="T28" fmla="*/ 42 w 200"/>
                  <a:gd name="T29" fmla="*/ 164 h 282"/>
                  <a:gd name="T30" fmla="*/ 20 w 200"/>
                  <a:gd name="T31" fmla="*/ 172 h 282"/>
                  <a:gd name="T32" fmla="*/ 14 w 200"/>
                  <a:gd name="T33" fmla="*/ 164 h 282"/>
                  <a:gd name="T34" fmla="*/ 34 w 200"/>
                  <a:gd name="T35" fmla="*/ 144 h 282"/>
                  <a:gd name="T36" fmla="*/ 34 w 200"/>
                  <a:gd name="T37" fmla="*/ 138 h 282"/>
                  <a:gd name="T38" fmla="*/ 54 w 200"/>
                  <a:gd name="T39" fmla="*/ 118 h 282"/>
                  <a:gd name="T40" fmla="*/ 34 w 200"/>
                  <a:gd name="T41" fmla="*/ 124 h 282"/>
                  <a:gd name="T42" fmla="*/ 14 w 200"/>
                  <a:gd name="T43" fmla="*/ 124 h 282"/>
                  <a:gd name="T44" fmla="*/ 28 w 200"/>
                  <a:gd name="T45" fmla="*/ 104 h 282"/>
                  <a:gd name="T46" fmla="*/ 42 w 200"/>
                  <a:gd name="T47" fmla="*/ 90 h 282"/>
                  <a:gd name="T48" fmla="*/ 54 w 200"/>
                  <a:gd name="T49" fmla="*/ 76 h 282"/>
                  <a:gd name="T50" fmla="*/ 48 w 200"/>
                  <a:gd name="T51" fmla="*/ 70 h 282"/>
                  <a:gd name="T52" fmla="*/ 48 w 200"/>
                  <a:gd name="T53" fmla="*/ 48 h 282"/>
                  <a:gd name="T54" fmla="*/ 68 w 200"/>
                  <a:gd name="T55" fmla="*/ 42 h 282"/>
                  <a:gd name="T56" fmla="*/ 82 w 200"/>
                  <a:gd name="T57" fmla="*/ 56 h 282"/>
                  <a:gd name="T58" fmla="*/ 76 w 200"/>
                  <a:gd name="T59" fmla="*/ 34 h 282"/>
                  <a:gd name="T60" fmla="*/ 82 w 200"/>
                  <a:gd name="T61" fmla="*/ 20 h 282"/>
                  <a:gd name="T62" fmla="*/ 96 w 200"/>
                  <a:gd name="T63" fmla="*/ 20 h 282"/>
                  <a:gd name="T64" fmla="*/ 110 w 200"/>
                  <a:gd name="T65" fmla="*/ 0 h 282"/>
                  <a:gd name="T66" fmla="*/ 124 w 200"/>
                  <a:gd name="T67" fmla="*/ 14 h 282"/>
                  <a:gd name="T68" fmla="*/ 144 w 200"/>
                  <a:gd name="T69" fmla="*/ 20 h 282"/>
                  <a:gd name="T70" fmla="*/ 166 w 200"/>
                  <a:gd name="T71" fmla="*/ 20 h 282"/>
                  <a:gd name="T72" fmla="*/ 172 w 200"/>
                  <a:gd name="T73" fmla="*/ 34 h 282"/>
                  <a:gd name="T74" fmla="*/ 152 w 200"/>
                  <a:gd name="T75" fmla="*/ 48 h 282"/>
                  <a:gd name="T76" fmla="*/ 132 w 200"/>
                  <a:gd name="T77" fmla="*/ 56 h 282"/>
                  <a:gd name="T78" fmla="*/ 118 w 200"/>
                  <a:gd name="T79" fmla="*/ 70 h 282"/>
                  <a:gd name="T80" fmla="*/ 110 w 200"/>
                  <a:gd name="T81" fmla="*/ 82 h 282"/>
                  <a:gd name="T82" fmla="*/ 104 w 200"/>
                  <a:gd name="T83" fmla="*/ 96 h 282"/>
                  <a:gd name="T84" fmla="*/ 132 w 200"/>
                  <a:gd name="T85" fmla="*/ 90 h 282"/>
                  <a:gd name="T86" fmla="*/ 166 w 200"/>
                  <a:gd name="T87" fmla="*/ 90 h 282"/>
                  <a:gd name="T88" fmla="*/ 180 w 200"/>
                  <a:gd name="T89" fmla="*/ 104 h 282"/>
                  <a:gd name="T90" fmla="*/ 200 w 200"/>
                  <a:gd name="T91" fmla="*/ 104 h 282"/>
                  <a:gd name="T92" fmla="*/ 194 w 200"/>
                  <a:gd name="T93" fmla="*/ 124 h 282"/>
                  <a:gd name="T94" fmla="*/ 180 w 200"/>
                  <a:gd name="T95" fmla="*/ 132 h 282"/>
                  <a:gd name="T96" fmla="*/ 180 w 200"/>
                  <a:gd name="T97" fmla="*/ 152 h 282"/>
                  <a:gd name="T98" fmla="*/ 158 w 200"/>
                  <a:gd name="T99" fmla="*/ 172 h 282"/>
                  <a:gd name="T100" fmla="*/ 138 w 200"/>
                  <a:gd name="T101" fmla="*/ 172 h 282"/>
                  <a:gd name="T102" fmla="*/ 118 w 200"/>
                  <a:gd name="T103" fmla="*/ 180 h 282"/>
                  <a:gd name="T104" fmla="*/ 138 w 200"/>
                  <a:gd name="T105" fmla="*/ 186 h 282"/>
                  <a:gd name="T106" fmla="*/ 118 w 200"/>
                  <a:gd name="T107" fmla="*/ 200 h 282"/>
                  <a:gd name="T108" fmla="*/ 96 w 200"/>
                  <a:gd name="T109" fmla="*/ 194 h 282"/>
                  <a:gd name="T110" fmla="*/ 96 w 200"/>
                  <a:gd name="T111" fmla="*/ 200 h 282"/>
                  <a:gd name="T112" fmla="*/ 124 w 200"/>
                  <a:gd name="T113" fmla="*/ 206 h 282"/>
                  <a:gd name="T114" fmla="*/ 144 w 200"/>
                  <a:gd name="T115" fmla="*/ 220 h 282"/>
                  <a:gd name="T116" fmla="*/ 138 w 200"/>
                  <a:gd name="T117" fmla="*/ 248 h 282"/>
                  <a:gd name="T118" fmla="*/ 132 w 200"/>
                  <a:gd name="T119" fmla="*/ 254 h 282"/>
                  <a:gd name="T120" fmla="*/ 118 w 200"/>
                  <a:gd name="T121" fmla="*/ 262 h 282"/>
                  <a:gd name="T122" fmla="*/ 104 w 200"/>
                  <a:gd name="T123" fmla="*/ 276 h 282"/>
                  <a:gd name="T124" fmla="*/ 90 w 200"/>
                  <a:gd name="T125" fmla="*/ 276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 h="282">
                    <a:moveTo>
                      <a:pt x="90" y="276"/>
                    </a:moveTo>
                    <a:lnTo>
                      <a:pt x="90" y="268"/>
                    </a:lnTo>
                    <a:lnTo>
                      <a:pt x="82" y="276"/>
                    </a:lnTo>
                    <a:lnTo>
                      <a:pt x="76" y="276"/>
                    </a:lnTo>
                    <a:lnTo>
                      <a:pt x="68" y="268"/>
                    </a:lnTo>
                    <a:lnTo>
                      <a:pt x="62" y="268"/>
                    </a:lnTo>
                    <a:lnTo>
                      <a:pt x="62" y="276"/>
                    </a:lnTo>
                    <a:lnTo>
                      <a:pt x="54" y="276"/>
                    </a:lnTo>
                    <a:lnTo>
                      <a:pt x="54" y="268"/>
                    </a:lnTo>
                    <a:lnTo>
                      <a:pt x="42" y="276"/>
                    </a:lnTo>
                    <a:lnTo>
                      <a:pt x="42" y="268"/>
                    </a:lnTo>
                    <a:lnTo>
                      <a:pt x="34" y="262"/>
                    </a:lnTo>
                    <a:lnTo>
                      <a:pt x="28" y="268"/>
                    </a:lnTo>
                    <a:lnTo>
                      <a:pt x="28" y="276"/>
                    </a:lnTo>
                    <a:lnTo>
                      <a:pt x="28" y="282"/>
                    </a:lnTo>
                    <a:lnTo>
                      <a:pt x="20" y="276"/>
                    </a:lnTo>
                    <a:lnTo>
                      <a:pt x="20" y="268"/>
                    </a:lnTo>
                    <a:lnTo>
                      <a:pt x="14" y="262"/>
                    </a:lnTo>
                    <a:lnTo>
                      <a:pt x="6" y="262"/>
                    </a:lnTo>
                    <a:lnTo>
                      <a:pt x="6" y="268"/>
                    </a:lnTo>
                    <a:lnTo>
                      <a:pt x="6" y="276"/>
                    </a:lnTo>
                    <a:lnTo>
                      <a:pt x="0" y="276"/>
                    </a:lnTo>
                    <a:lnTo>
                      <a:pt x="0" y="268"/>
                    </a:lnTo>
                    <a:lnTo>
                      <a:pt x="0" y="254"/>
                    </a:lnTo>
                    <a:lnTo>
                      <a:pt x="0" y="248"/>
                    </a:lnTo>
                    <a:lnTo>
                      <a:pt x="6" y="248"/>
                    </a:lnTo>
                    <a:lnTo>
                      <a:pt x="6" y="240"/>
                    </a:lnTo>
                    <a:lnTo>
                      <a:pt x="14" y="240"/>
                    </a:lnTo>
                    <a:lnTo>
                      <a:pt x="20" y="234"/>
                    </a:lnTo>
                    <a:lnTo>
                      <a:pt x="20" y="228"/>
                    </a:lnTo>
                    <a:lnTo>
                      <a:pt x="28" y="228"/>
                    </a:lnTo>
                    <a:lnTo>
                      <a:pt x="34" y="220"/>
                    </a:lnTo>
                    <a:lnTo>
                      <a:pt x="42" y="214"/>
                    </a:lnTo>
                    <a:lnTo>
                      <a:pt x="48" y="206"/>
                    </a:lnTo>
                    <a:lnTo>
                      <a:pt x="48" y="200"/>
                    </a:lnTo>
                    <a:lnTo>
                      <a:pt x="54" y="200"/>
                    </a:lnTo>
                    <a:lnTo>
                      <a:pt x="54" y="194"/>
                    </a:lnTo>
                    <a:lnTo>
                      <a:pt x="48" y="194"/>
                    </a:lnTo>
                    <a:lnTo>
                      <a:pt x="42" y="186"/>
                    </a:lnTo>
                    <a:lnTo>
                      <a:pt x="34" y="186"/>
                    </a:lnTo>
                    <a:lnTo>
                      <a:pt x="28" y="186"/>
                    </a:lnTo>
                    <a:lnTo>
                      <a:pt x="28" y="180"/>
                    </a:lnTo>
                    <a:lnTo>
                      <a:pt x="34" y="180"/>
                    </a:lnTo>
                    <a:lnTo>
                      <a:pt x="42" y="172"/>
                    </a:lnTo>
                    <a:lnTo>
                      <a:pt x="42" y="164"/>
                    </a:lnTo>
                    <a:lnTo>
                      <a:pt x="34" y="158"/>
                    </a:lnTo>
                    <a:lnTo>
                      <a:pt x="28" y="158"/>
                    </a:lnTo>
                    <a:lnTo>
                      <a:pt x="20" y="172"/>
                    </a:lnTo>
                    <a:lnTo>
                      <a:pt x="14" y="180"/>
                    </a:lnTo>
                    <a:lnTo>
                      <a:pt x="14" y="172"/>
                    </a:lnTo>
                    <a:lnTo>
                      <a:pt x="14" y="164"/>
                    </a:lnTo>
                    <a:lnTo>
                      <a:pt x="20" y="152"/>
                    </a:lnTo>
                    <a:lnTo>
                      <a:pt x="28" y="144"/>
                    </a:lnTo>
                    <a:lnTo>
                      <a:pt x="34" y="144"/>
                    </a:lnTo>
                    <a:lnTo>
                      <a:pt x="42" y="144"/>
                    </a:lnTo>
                    <a:lnTo>
                      <a:pt x="42" y="138"/>
                    </a:lnTo>
                    <a:lnTo>
                      <a:pt x="34" y="138"/>
                    </a:lnTo>
                    <a:lnTo>
                      <a:pt x="42" y="132"/>
                    </a:lnTo>
                    <a:lnTo>
                      <a:pt x="48" y="124"/>
                    </a:lnTo>
                    <a:lnTo>
                      <a:pt x="54" y="118"/>
                    </a:lnTo>
                    <a:lnTo>
                      <a:pt x="48" y="118"/>
                    </a:lnTo>
                    <a:lnTo>
                      <a:pt x="42" y="124"/>
                    </a:lnTo>
                    <a:lnTo>
                      <a:pt x="34" y="124"/>
                    </a:lnTo>
                    <a:lnTo>
                      <a:pt x="28" y="138"/>
                    </a:lnTo>
                    <a:lnTo>
                      <a:pt x="20" y="132"/>
                    </a:lnTo>
                    <a:lnTo>
                      <a:pt x="14" y="124"/>
                    </a:lnTo>
                    <a:lnTo>
                      <a:pt x="28" y="118"/>
                    </a:lnTo>
                    <a:lnTo>
                      <a:pt x="28" y="110"/>
                    </a:lnTo>
                    <a:lnTo>
                      <a:pt x="28" y="104"/>
                    </a:lnTo>
                    <a:lnTo>
                      <a:pt x="34" y="96"/>
                    </a:lnTo>
                    <a:lnTo>
                      <a:pt x="42" y="96"/>
                    </a:lnTo>
                    <a:lnTo>
                      <a:pt x="42" y="90"/>
                    </a:lnTo>
                    <a:lnTo>
                      <a:pt x="42" y="82"/>
                    </a:lnTo>
                    <a:lnTo>
                      <a:pt x="54" y="82"/>
                    </a:lnTo>
                    <a:lnTo>
                      <a:pt x="54" y="76"/>
                    </a:lnTo>
                    <a:lnTo>
                      <a:pt x="48" y="70"/>
                    </a:lnTo>
                    <a:lnTo>
                      <a:pt x="42" y="70"/>
                    </a:lnTo>
                    <a:lnTo>
                      <a:pt x="48" y="70"/>
                    </a:lnTo>
                    <a:lnTo>
                      <a:pt x="48" y="62"/>
                    </a:lnTo>
                    <a:lnTo>
                      <a:pt x="48" y="56"/>
                    </a:lnTo>
                    <a:lnTo>
                      <a:pt x="48" y="48"/>
                    </a:lnTo>
                    <a:lnTo>
                      <a:pt x="54" y="42"/>
                    </a:lnTo>
                    <a:lnTo>
                      <a:pt x="62" y="42"/>
                    </a:lnTo>
                    <a:lnTo>
                      <a:pt x="68" y="42"/>
                    </a:lnTo>
                    <a:lnTo>
                      <a:pt x="68" y="48"/>
                    </a:lnTo>
                    <a:lnTo>
                      <a:pt x="76" y="48"/>
                    </a:lnTo>
                    <a:lnTo>
                      <a:pt x="82" y="56"/>
                    </a:lnTo>
                    <a:lnTo>
                      <a:pt x="82" y="48"/>
                    </a:lnTo>
                    <a:lnTo>
                      <a:pt x="82" y="42"/>
                    </a:lnTo>
                    <a:lnTo>
                      <a:pt x="76" y="34"/>
                    </a:lnTo>
                    <a:lnTo>
                      <a:pt x="82" y="28"/>
                    </a:lnTo>
                    <a:lnTo>
                      <a:pt x="90" y="28"/>
                    </a:lnTo>
                    <a:lnTo>
                      <a:pt x="82" y="20"/>
                    </a:lnTo>
                    <a:lnTo>
                      <a:pt x="96" y="28"/>
                    </a:lnTo>
                    <a:lnTo>
                      <a:pt x="104" y="20"/>
                    </a:lnTo>
                    <a:lnTo>
                      <a:pt x="96" y="20"/>
                    </a:lnTo>
                    <a:lnTo>
                      <a:pt x="104" y="6"/>
                    </a:lnTo>
                    <a:lnTo>
                      <a:pt x="104" y="0"/>
                    </a:lnTo>
                    <a:lnTo>
                      <a:pt x="110" y="0"/>
                    </a:lnTo>
                    <a:lnTo>
                      <a:pt x="124" y="6"/>
                    </a:lnTo>
                    <a:lnTo>
                      <a:pt x="118" y="6"/>
                    </a:lnTo>
                    <a:lnTo>
                      <a:pt x="124" y="14"/>
                    </a:lnTo>
                    <a:lnTo>
                      <a:pt x="132" y="6"/>
                    </a:lnTo>
                    <a:lnTo>
                      <a:pt x="132" y="14"/>
                    </a:lnTo>
                    <a:lnTo>
                      <a:pt x="144" y="20"/>
                    </a:lnTo>
                    <a:lnTo>
                      <a:pt x="158" y="14"/>
                    </a:lnTo>
                    <a:lnTo>
                      <a:pt x="158" y="20"/>
                    </a:lnTo>
                    <a:lnTo>
                      <a:pt x="166" y="20"/>
                    </a:lnTo>
                    <a:lnTo>
                      <a:pt x="172" y="20"/>
                    </a:lnTo>
                    <a:lnTo>
                      <a:pt x="180" y="28"/>
                    </a:lnTo>
                    <a:lnTo>
                      <a:pt x="172" y="34"/>
                    </a:lnTo>
                    <a:lnTo>
                      <a:pt x="172" y="42"/>
                    </a:lnTo>
                    <a:lnTo>
                      <a:pt x="158" y="42"/>
                    </a:lnTo>
                    <a:lnTo>
                      <a:pt x="152" y="48"/>
                    </a:lnTo>
                    <a:lnTo>
                      <a:pt x="144" y="56"/>
                    </a:lnTo>
                    <a:lnTo>
                      <a:pt x="138" y="56"/>
                    </a:lnTo>
                    <a:lnTo>
                      <a:pt x="132" y="56"/>
                    </a:lnTo>
                    <a:lnTo>
                      <a:pt x="124" y="62"/>
                    </a:lnTo>
                    <a:lnTo>
                      <a:pt x="124" y="70"/>
                    </a:lnTo>
                    <a:lnTo>
                      <a:pt x="118" y="70"/>
                    </a:lnTo>
                    <a:lnTo>
                      <a:pt x="104" y="76"/>
                    </a:lnTo>
                    <a:lnTo>
                      <a:pt x="104" y="82"/>
                    </a:lnTo>
                    <a:lnTo>
                      <a:pt x="110" y="82"/>
                    </a:lnTo>
                    <a:lnTo>
                      <a:pt x="104" y="82"/>
                    </a:lnTo>
                    <a:lnTo>
                      <a:pt x="104" y="90"/>
                    </a:lnTo>
                    <a:lnTo>
                      <a:pt x="104" y="96"/>
                    </a:lnTo>
                    <a:lnTo>
                      <a:pt x="110" y="96"/>
                    </a:lnTo>
                    <a:lnTo>
                      <a:pt x="124" y="90"/>
                    </a:lnTo>
                    <a:lnTo>
                      <a:pt x="132" y="90"/>
                    </a:lnTo>
                    <a:lnTo>
                      <a:pt x="144" y="90"/>
                    </a:lnTo>
                    <a:lnTo>
                      <a:pt x="152" y="90"/>
                    </a:lnTo>
                    <a:lnTo>
                      <a:pt x="166" y="90"/>
                    </a:lnTo>
                    <a:lnTo>
                      <a:pt x="172" y="90"/>
                    </a:lnTo>
                    <a:lnTo>
                      <a:pt x="180" y="96"/>
                    </a:lnTo>
                    <a:lnTo>
                      <a:pt x="180" y="104"/>
                    </a:lnTo>
                    <a:lnTo>
                      <a:pt x="186" y="104"/>
                    </a:lnTo>
                    <a:lnTo>
                      <a:pt x="194" y="104"/>
                    </a:lnTo>
                    <a:lnTo>
                      <a:pt x="200" y="104"/>
                    </a:lnTo>
                    <a:lnTo>
                      <a:pt x="200" y="110"/>
                    </a:lnTo>
                    <a:lnTo>
                      <a:pt x="200" y="118"/>
                    </a:lnTo>
                    <a:lnTo>
                      <a:pt x="194" y="124"/>
                    </a:lnTo>
                    <a:lnTo>
                      <a:pt x="186" y="124"/>
                    </a:lnTo>
                    <a:lnTo>
                      <a:pt x="186" y="132"/>
                    </a:lnTo>
                    <a:lnTo>
                      <a:pt x="180" y="132"/>
                    </a:lnTo>
                    <a:lnTo>
                      <a:pt x="172" y="138"/>
                    </a:lnTo>
                    <a:lnTo>
                      <a:pt x="180" y="144"/>
                    </a:lnTo>
                    <a:lnTo>
                      <a:pt x="180" y="152"/>
                    </a:lnTo>
                    <a:lnTo>
                      <a:pt x="172" y="158"/>
                    </a:lnTo>
                    <a:lnTo>
                      <a:pt x="158" y="164"/>
                    </a:lnTo>
                    <a:lnTo>
                      <a:pt x="158" y="172"/>
                    </a:lnTo>
                    <a:lnTo>
                      <a:pt x="152" y="172"/>
                    </a:lnTo>
                    <a:lnTo>
                      <a:pt x="144" y="180"/>
                    </a:lnTo>
                    <a:lnTo>
                      <a:pt x="138" y="172"/>
                    </a:lnTo>
                    <a:lnTo>
                      <a:pt x="132" y="172"/>
                    </a:lnTo>
                    <a:lnTo>
                      <a:pt x="118" y="172"/>
                    </a:lnTo>
                    <a:lnTo>
                      <a:pt x="118" y="180"/>
                    </a:lnTo>
                    <a:lnTo>
                      <a:pt x="124" y="180"/>
                    </a:lnTo>
                    <a:lnTo>
                      <a:pt x="132" y="186"/>
                    </a:lnTo>
                    <a:lnTo>
                      <a:pt x="138" y="186"/>
                    </a:lnTo>
                    <a:lnTo>
                      <a:pt x="132" y="194"/>
                    </a:lnTo>
                    <a:lnTo>
                      <a:pt x="118" y="194"/>
                    </a:lnTo>
                    <a:lnTo>
                      <a:pt x="118" y="200"/>
                    </a:lnTo>
                    <a:lnTo>
                      <a:pt x="110" y="200"/>
                    </a:lnTo>
                    <a:lnTo>
                      <a:pt x="104" y="200"/>
                    </a:lnTo>
                    <a:lnTo>
                      <a:pt x="96" y="194"/>
                    </a:lnTo>
                    <a:lnTo>
                      <a:pt x="90" y="194"/>
                    </a:lnTo>
                    <a:lnTo>
                      <a:pt x="90" y="200"/>
                    </a:lnTo>
                    <a:lnTo>
                      <a:pt x="96" y="200"/>
                    </a:lnTo>
                    <a:lnTo>
                      <a:pt x="104" y="206"/>
                    </a:lnTo>
                    <a:lnTo>
                      <a:pt x="110" y="206"/>
                    </a:lnTo>
                    <a:lnTo>
                      <a:pt x="124" y="206"/>
                    </a:lnTo>
                    <a:lnTo>
                      <a:pt x="132" y="206"/>
                    </a:lnTo>
                    <a:lnTo>
                      <a:pt x="138" y="214"/>
                    </a:lnTo>
                    <a:lnTo>
                      <a:pt x="144" y="220"/>
                    </a:lnTo>
                    <a:lnTo>
                      <a:pt x="152" y="234"/>
                    </a:lnTo>
                    <a:lnTo>
                      <a:pt x="144" y="248"/>
                    </a:lnTo>
                    <a:lnTo>
                      <a:pt x="138" y="248"/>
                    </a:lnTo>
                    <a:lnTo>
                      <a:pt x="144" y="254"/>
                    </a:lnTo>
                    <a:lnTo>
                      <a:pt x="138" y="262"/>
                    </a:lnTo>
                    <a:lnTo>
                      <a:pt x="132" y="254"/>
                    </a:lnTo>
                    <a:lnTo>
                      <a:pt x="124" y="254"/>
                    </a:lnTo>
                    <a:lnTo>
                      <a:pt x="124" y="262"/>
                    </a:lnTo>
                    <a:lnTo>
                      <a:pt x="118" y="262"/>
                    </a:lnTo>
                    <a:lnTo>
                      <a:pt x="118" y="268"/>
                    </a:lnTo>
                    <a:lnTo>
                      <a:pt x="110" y="268"/>
                    </a:lnTo>
                    <a:lnTo>
                      <a:pt x="104" y="276"/>
                    </a:lnTo>
                    <a:lnTo>
                      <a:pt x="96" y="282"/>
                    </a:lnTo>
                    <a:lnTo>
                      <a:pt x="90" y="282"/>
                    </a:lnTo>
                    <a:lnTo>
                      <a:pt x="90" y="276"/>
                    </a:lnTo>
                    <a:lnTo>
                      <a:pt x="90" y="276"/>
                    </a:lnTo>
                    <a:lnTo>
                      <a:pt x="90" y="276"/>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0" name="Freeform 44"/>
              <p:cNvSpPr>
                <a:spLocks/>
              </p:cNvSpPr>
              <p:nvPr>
                <p:custDataLst>
                  <p:tags r:id="rId136"/>
                </p:custDataLst>
              </p:nvPr>
            </p:nvSpPr>
            <p:spPr bwMode="gray">
              <a:xfrm>
                <a:off x="4114159" y="3619402"/>
                <a:ext cx="1036868" cy="1082915"/>
              </a:xfrm>
              <a:custGeom>
                <a:avLst/>
                <a:gdLst>
                  <a:gd name="T0" fmla="*/ 62 w 653"/>
                  <a:gd name="T1" fmla="*/ 208 h 682"/>
                  <a:gd name="T2" fmla="*/ 96 w 653"/>
                  <a:gd name="T3" fmla="*/ 172 h 682"/>
                  <a:gd name="T4" fmla="*/ 160 w 653"/>
                  <a:gd name="T5" fmla="*/ 194 h 682"/>
                  <a:gd name="T6" fmla="*/ 172 w 653"/>
                  <a:gd name="T7" fmla="*/ 186 h 682"/>
                  <a:gd name="T8" fmla="*/ 194 w 653"/>
                  <a:gd name="T9" fmla="*/ 248 h 682"/>
                  <a:gd name="T10" fmla="*/ 242 w 653"/>
                  <a:gd name="T11" fmla="*/ 332 h 682"/>
                  <a:gd name="T12" fmla="*/ 326 w 653"/>
                  <a:gd name="T13" fmla="*/ 420 h 682"/>
                  <a:gd name="T14" fmla="*/ 368 w 653"/>
                  <a:gd name="T15" fmla="*/ 442 h 682"/>
                  <a:gd name="T16" fmla="*/ 422 w 653"/>
                  <a:gd name="T17" fmla="*/ 490 h 682"/>
                  <a:gd name="T18" fmla="*/ 436 w 653"/>
                  <a:gd name="T19" fmla="*/ 524 h 682"/>
                  <a:gd name="T20" fmla="*/ 484 w 653"/>
                  <a:gd name="T21" fmla="*/ 544 h 682"/>
                  <a:gd name="T22" fmla="*/ 507 w 653"/>
                  <a:gd name="T23" fmla="*/ 620 h 682"/>
                  <a:gd name="T24" fmla="*/ 484 w 653"/>
                  <a:gd name="T25" fmla="*/ 642 h 682"/>
                  <a:gd name="T26" fmla="*/ 470 w 653"/>
                  <a:gd name="T27" fmla="*/ 676 h 682"/>
                  <a:gd name="T28" fmla="*/ 507 w 653"/>
                  <a:gd name="T29" fmla="*/ 676 h 682"/>
                  <a:gd name="T30" fmla="*/ 527 w 653"/>
                  <a:gd name="T31" fmla="*/ 642 h 682"/>
                  <a:gd name="T32" fmla="*/ 561 w 653"/>
                  <a:gd name="T33" fmla="*/ 620 h 682"/>
                  <a:gd name="T34" fmla="*/ 569 w 653"/>
                  <a:gd name="T35" fmla="*/ 586 h 682"/>
                  <a:gd name="T36" fmla="*/ 541 w 653"/>
                  <a:gd name="T37" fmla="*/ 560 h 682"/>
                  <a:gd name="T38" fmla="*/ 555 w 653"/>
                  <a:gd name="T39" fmla="*/ 518 h 682"/>
                  <a:gd name="T40" fmla="*/ 575 w 653"/>
                  <a:gd name="T41" fmla="*/ 504 h 682"/>
                  <a:gd name="T42" fmla="*/ 611 w 653"/>
                  <a:gd name="T43" fmla="*/ 518 h 682"/>
                  <a:gd name="T44" fmla="*/ 625 w 653"/>
                  <a:gd name="T45" fmla="*/ 544 h 682"/>
                  <a:gd name="T46" fmla="*/ 653 w 653"/>
                  <a:gd name="T47" fmla="*/ 530 h 682"/>
                  <a:gd name="T48" fmla="*/ 625 w 653"/>
                  <a:gd name="T49" fmla="*/ 482 h 682"/>
                  <a:gd name="T50" fmla="*/ 561 w 653"/>
                  <a:gd name="T51" fmla="*/ 454 h 682"/>
                  <a:gd name="T52" fmla="*/ 521 w 653"/>
                  <a:gd name="T53" fmla="*/ 434 h 682"/>
                  <a:gd name="T54" fmla="*/ 521 w 653"/>
                  <a:gd name="T55" fmla="*/ 414 h 682"/>
                  <a:gd name="T56" fmla="*/ 458 w 653"/>
                  <a:gd name="T57" fmla="*/ 394 h 682"/>
                  <a:gd name="T58" fmla="*/ 408 w 653"/>
                  <a:gd name="T59" fmla="*/ 338 h 682"/>
                  <a:gd name="T60" fmla="*/ 388 w 653"/>
                  <a:gd name="T61" fmla="*/ 276 h 682"/>
                  <a:gd name="T62" fmla="*/ 360 w 653"/>
                  <a:gd name="T63" fmla="*/ 242 h 682"/>
                  <a:gd name="T64" fmla="*/ 318 w 653"/>
                  <a:gd name="T65" fmla="*/ 214 h 682"/>
                  <a:gd name="T66" fmla="*/ 318 w 653"/>
                  <a:gd name="T67" fmla="*/ 172 h 682"/>
                  <a:gd name="T68" fmla="*/ 318 w 653"/>
                  <a:gd name="T69" fmla="*/ 146 h 682"/>
                  <a:gd name="T70" fmla="*/ 326 w 653"/>
                  <a:gd name="T71" fmla="*/ 118 h 682"/>
                  <a:gd name="T72" fmla="*/ 368 w 653"/>
                  <a:gd name="T73" fmla="*/ 110 h 682"/>
                  <a:gd name="T74" fmla="*/ 388 w 653"/>
                  <a:gd name="T75" fmla="*/ 110 h 682"/>
                  <a:gd name="T76" fmla="*/ 402 w 653"/>
                  <a:gd name="T77" fmla="*/ 90 h 682"/>
                  <a:gd name="T78" fmla="*/ 402 w 653"/>
                  <a:gd name="T79" fmla="*/ 56 h 682"/>
                  <a:gd name="T80" fmla="*/ 368 w 653"/>
                  <a:gd name="T81" fmla="*/ 42 h 682"/>
                  <a:gd name="T82" fmla="*/ 340 w 653"/>
                  <a:gd name="T83" fmla="*/ 22 h 682"/>
                  <a:gd name="T84" fmla="*/ 298 w 653"/>
                  <a:gd name="T85" fmla="*/ 8 h 682"/>
                  <a:gd name="T86" fmla="*/ 264 w 653"/>
                  <a:gd name="T87" fmla="*/ 14 h 682"/>
                  <a:gd name="T88" fmla="*/ 242 w 653"/>
                  <a:gd name="T89" fmla="*/ 0 h 682"/>
                  <a:gd name="T90" fmla="*/ 228 w 653"/>
                  <a:gd name="T91" fmla="*/ 22 h 682"/>
                  <a:gd name="T92" fmla="*/ 208 w 653"/>
                  <a:gd name="T93" fmla="*/ 42 h 682"/>
                  <a:gd name="T94" fmla="*/ 180 w 653"/>
                  <a:gd name="T95" fmla="*/ 28 h 682"/>
                  <a:gd name="T96" fmla="*/ 160 w 653"/>
                  <a:gd name="T97" fmla="*/ 42 h 682"/>
                  <a:gd name="T98" fmla="*/ 132 w 653"/>
                  <a:gd name="T99" fmla="*/ 50 h 682"/>
                  <a:gd name="T100" fmla="*/ 110 w 653"/>
                  <a:gd name="T101" fmla="*/ 22 h 682"/>
                  <a:gd name="T102" fmla="*/ 76 w 653"/>
                  <a:gd name="T103" fmla="*/ 50 h 682"/>
                  <a:gd name="T104" fmla="*/ 28 w 653"/>
                  <a:gd name="T105" fmla="*/ 56 h 682"/>
                  <a:gd name="T106" fmla="*/ 34 w 653"/>
                  <a:gd name="T107" fmla="*/ 90 h 682"/>
                  <a:gd name="T108" fmla="*/ 0 w 653"/>
                  <a:gd name="T109" fmla="*/ 104 h 682"/>
                  <a:gd name="T110" fmla="*/ 20 w 653"/>
                  <a:gd name="T111" fmla="*/ 132 h 682"/>
                  <a:gd name="T112" fmla="*/ 14 w 653"/>
                  <a:gd name="T113" fmla="*/ 172 h 682"/>
                  <a:gd name="T114" fmla="*/ 42 w 653"/>
                  <a:gd name="T115" fmla="*/ 200 h 682"/>
                  <a:gd name="T116" fmla="*/ 28 w 653"/>
                  <a:gd name="T117" fmla="*/ 22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53" h="682">
                    <a:moveTo>
                      <a:pt x="28" y="220"/>
                    </a:moveTo>
                    <a:lnTo>
                      <a:pt x="42" y="214"/>
                    </a:lnTo>
                    <a:lnTo>
                      <a:pt x="48" y="208"/>
                    </a:lnTo>
                    <a:lnTo>
                      <a:pt x="56" y="208"/>
                    </a:lnTo>
                    <a:lnTo>
                      <a:pt x="62" y="208"/>
                    </a:lnTo>
                    <a:lnTo>
                      <a:pt x="76" y="200"/>
                    </a:lnTo>
                    <a:lnTo>
                      <a:pt x="84" y="194"/>
                    </a:lnTo>
                    <a:lnTo>
                      <a:pt x="84" y="186"/>
                    </a:lnTo>
                    <a:lnTo>
                      <a:pt x="90" y="180"/>
                    </a:lnTo>
                    <a:lnTo>
                      <a:pt x="96" y="172"/>
                    </a:lnTo>
                    <a:lnTo>
                      <a:pt x="110" y="172"/>
                    </a:lnTo>
                    <a:lnTo>
                      <a:pt x="118" y="172"/>
                    </a:lnTo>
                    <a:lnTo>
                      <a:pt x="132" y="186"/>
                    </a:lnTo>
                    <a:lnTo>
                      <a:pt x="138" y="180"/>
                    </a:lnTo>
                    <a:lnTo>
                      <a:pt x="160" y="194"/>
                    </a:lnTo>
                    <a:lnTo>
                      <a:pt x="160" y="186"/>
                    </a:lnTo>
                    <a:lnTo>
                      <a:pt x="166" y="180"/>
                    </a:lnTo>
                    <a:lnTo>
                      <a:pt x="172" y="180"/>
                    </a:lnTo>
                    <a:lnTo>
                      <a:pt x="180" y="180"/>
                    </a:lnTo>
                    <a:lnTo>
                      <a:pt x="172" y="186"/>
                    </a:lnTo>
                    <a:lnTo>
                      <a:pt x="172" y="194"/>
                    </a:lnTo>
                    <a:lnTo>
                      <a:pt x="180" y="200"/>
                    </a:lnTo>
                    <a:lnTo>
                      <a:pt x="172" y="208"/>
                    </a:lnTo>
                    <a:lnTo>
                      <a:pt x="186" y="220"/>
                    </a:lnTo>
                    <a:lnTo>
                      <a:pt x="194" y="248"/>
                    </a:lnTo>
                    <a:lnTo>
                      <a:pt x="200" y="276"/>
                    </a:lnTo>
                    <a:lnTo>
                      <a:pt x="208" y="284"/>
                    </a:lnTo>
                    <a:lnTo>
                      <a:pt x="222" y="318"/>
                    </a:lnTo>
                    <a:lnTo>
                      <a:pt x="228" y="318"/>
                    </a:lnTo>
                    <a:lnTo>
                      <a:pt x="242" y="332"/>
                    </a:lnTo>
                    <a:lnTo>
                      <a:pt x="250" y="346"/>
                    </a:lnTo>
                    <a:lnTo>
                      <a:pt x="256" y="352"/>
                    </a:lnTo>
                    <a:lnTo>
                      <a:pt x="264" y="358"/>
                    </a:lnTo>
                    <a:lnTo>
                      <a:pt x="284" y="380"/>
                    </a:lnTo>
                    <a:lnTo>
                      <a:pt x="326" y="420"/>
                    </a:lnTo>
                    <a:lnTo>
                      <a:pt x="332" y="420"/>
                    </a:lnTo>
                    <a:lnTo>
                      <a:pt x="340" y="434"/>
                    </a:lnTo>
                    <a:lnTo>
                      <a:pt x="354" y="434"/>
                    </a:lnTo>
                    <a:lnTo>
                      <a:pt x="360" y="448"/>
                    </a:lnTo>
                    <a:lnTo>
                      <a:pt x="368" y="442"/>
                    </a:lnTo>
                    <a:lnTo>
                      <a:pt x="388" y="462"/>
                    </a:lnTo>
                    <a:lnTo>
                      <a:pt x="396" y="470"/>
                    </a:lnTo>
                    <a:lnTo>
                      <a:pt x="402" y="476"/>
                    </a:lnTo>
                    <a:lnTo>
                      <a:pt x="408" y="476"/>
                    </a:lnTo>
                    <a:lnTo>
                      <a:pt x="422" y="490"/>
                    </a:lnTo>
                    <a:lnTo>
                      <a:pt x="430" y="490"/>
                    </a:lnTo>
                    <a:lnTo>
                      <a:pt x="436" y="496"/>
                    </a:lnTo>
                    <a:lnTo>
                      <a:pt x="436" y="510"/>
                    </a:lnTo>
                    <a:lnTo>
                      <a:pt x="436" y="518"/>
                    </a:lnTo>
                    <a:lnTo>
                      <a:pt x="436" y="524"/>
                    </a:lnTo>
                    <a:lnTo>
                      <a:pt x="450" y="530"/>
                    </a:lnTo>
                    <a:lnTo>
                      <a:pt x="458" y="530"/>
                    </a:lnTo>
                    <a:lnTo>
                      <a:pt x="464" y="530"/>
                    </a:lnTo>
                    <a:lnTo>
                      <a:pt x="478" y="538"/>
                    </a:lnTo>
                    <a:lnTo>
                      <a:pt x="484" y="544"/>
                    </a:lnTo>
                    <a:lnTo>
                      <a:pt x="484" y="552"/>
                    </a:lnTo>
                    <a:lnTo>
                      <a:pt x="493" y="558"/>
                    </a:lnTo>
                    <a:lnTo>
                      <a:pt x="499" y="578"/>
                    </a:lnTo>
                    <a:lnTo>
                      <a:pt x="507" y="600"/>
                    </a:lnTo>
                    <a:lnTo>
                      <a:pt x="507" y="620"/>
                    </a:lnTo>
                    <a:lnTo>
                      <a:pt x="499" y="628"/>
                    </a:lnTo>
                    <a:lnTo>
                      <a:pt x="493" y="628"/>
                    </a:lnTo>
                    <a:lnTo>
                      <a:pt x="484" y="628"/>
                    </a:lnTo>
                    <a:lnTo>
                      <a:pt x="484" y="634"/>
                    </a:lnTo>
                    <a:lnTo>
                      <a:pt x="484" y="642"/>
                    </a:lnTo>
                    <a:lnTo>
                      <a:pt x="484" y="648"/>
                    </a:lnTo>
                    <a:lnTo>
                      <a:pt x="484" y="654"/>
                    </a:lnTo>
                    <a:lnTo>
                      <a:pt x="478" y="662"/>
                    </a:lnTo>
                    <a:lnTo>
                      <a:pt x="470" y="668"/>
                    </a:lnTo>
                    <a:lnTo>
                      <a:pt x="470" y="676"/>
                    </a:lnTo>
                    <a:lnTo>
                      <a:pt x="478" y="682"/>
                    </a:lnTo>
                    <a:lnTo>
                      <a:pt x="484" y="682"/>
                    </a:lnTo>
                    <a:lnTo>
                      <a:pt x="493" y="682"/>
                    </a:lnTo>
                    <a:lnTo>
                      <a:pt x="499" y="682"/>
                    </a:lnTo>
                    <a:lnTo>
                      <a:pt x="507" y="676"/>
                    </a:lnTo>
                    <a:lnTo>
                      <a:pt x="513" y="676"/>
                    </a:lnTo>
                    <a:lnTo>
                      <a:pt x="513" y="668"/>
                    </a:lnTo>
                    <a:lnTo>
                      <a:pt x="527" y="662"/>
                    </a:lnTo>
                    <a:lnTo>
                      <a:pt x="527" y="654"/>
                    </a:lnTo>
                    <a:lnTo>
                      <a:pt x="527" y="642"/>
                    </a:lnTo>
                    <a:lnTo>
                      <a:pt x="535" y="634"/>
                    </a:lnTo>
                    <a:lnTo>
                      <a:pt x="541" y="628"/>
                    </a:lnTo>
                    <a:lnTo>
                      <a:pt x="549" y="620"/>
                    </a:lnTo>
                    <a:lnTo>
                      <a:pt x="555" y="620"/>
                    </a:lnTo>
                    <a:lnTo>
                      <a:pt x="561" y="620"/>
                    </a:lnTo>
                    <a:lnTo>
                      <a:pt x="569" y="620"/>
                    </a:lnTo>
                    <a:lnTo>
                      <a:pt x="569" y="614"/>
                    </a:lnTo>
                    <a:lnTo>
                      <a:pt x="569" y="606"/>
                    </a:lnTo>
                    <a:lnTo>
                      <a:pt x="569" y="600"/>
                    </a:lnTo>
                    <a:lnTo>
                      <a:pt x="569" y="586"/>
                    </a:lnTo>
                    <a:lnTo>
                      <a:pt x="569" y="578"/>
                    </a:lnTo>
                    <a:lnTo>
                      <a:pt x="569" y="572"/>
                    </a:lnTo>
                    <a:lnTo>
                      <a:pt x="561" y="566"/>
                    </a:lnTo>
                    <a:lnTo>
                      <a:pt x="549" y="572"/>
                    </a:lnTo>
                    <a:lnTo>
                      <a:pt x="541" y="560"/>
                    </a:lnTo>
                    <a:lnTo>
                      <a:pt x="539" y="542"/>
                    </a:lnTo>
                    <a:lnTo>
                      <a:pt x="541" y="530"/>
                    </a:lnTo>
                    <a:lnTo>
                      <a:pt x="549" y="530"/>
                    </a:lnTo>
                    <a:lnTo>
                      <a:pt x="549" y="524"/>
                    </a:lnTo>
                    <a:lnTo>
                      <a:pt x="555" y="518"/>
                    </a:lnTo>
                    <a:lnTo>
                      <a:pt x="549" y="518"/>
                    </a:lnTo>
                    <a:lnTo>
                      <a:pt x="555" y="510"/>
                    </a:lnTo>
                    <a:lnTo>
                      <a:pt x="561" y="504"/>
                    </a:lnTo>
                    <a:lnTo>
                      <a:pt x="569" y="504"/>
                    </a:lnTo>
                    <a:lnTo>
                      <a:pt x="575" y="504"/>
                    </a:lnTo>
                    <a:lnTo>
                      <a:pt x="575" y="510"/>
                    </a:lnTo>
                    <a:lnTo>
                      <a:pt x="589" y="518"/>
                    </a:lnTo>
                    <a:lnTo>
                      <a:pt x="597" y="518"/>
                    </a:lnTo>
                    <a:lnTo>
                      <a:pt x="603" y="518"/>
                    </a:lnTo>
                    <a:lnTo>
                      <a:pt x="611" y="518"/>
                    </a:lnTo>
                    <a:lnTo>
                      <a:pt x="617" y="518"/>
                    </a:lnTo>
                    <a:lnTo>
                      <a:pt x="617" y="524"/>
                    </a:lnTo>
                    <a:lnTo>
                      <a:pt x="617" y="530"/>
                    </a:lnTo>
                    <a:lnTo>
                      <a:pt x="625" y="538"/>
                    </a:lnTo>
                    <a:lnTo>
                      <a:pt x="625" y="544"/>
                    </a:lnTo>
                    <a:lnTo>
                      <a:pt x="631" y="552"/>
                    </a:lnTo>
                    <a:lnTo>
                      <a:pt x="637" y="552"/>
                    </a:lnTo>
                    <a:lnTo>
                      <a:pt x="645" y="552"/>
                    </a:lnTo>
                    <a:lnTo>
                      <a:pt x="653" y="544"/>
                    </a:lnTo>
                    <a:lnTo>
                      <a:pt x="653" y="530"/>
                    </a:lnTo>
                    <a:lnTo>
                      <a:pt x="653" y="518"/>
                    </a:lnTo>
                    <a:lnTo>
                      <a:pt x="653" y="510"/>
                    </a:lnTo>
                    <a:lnTo>
                      <a:pt x="637" y="504"/>
                    </a:lnTo>
                    <a:lnTo>
                      <a:pt x="631" y="490"/>
                    </a:lnTo>
                    <a:lnTo>
                      <a:pt x="625" y="482"/>
                    </a:lnTo>
                    <a:lnTo>
                      <a:pt x="611" y="476"/>
                    </a:lnTo>
                    <a:lnTo>
                      <a:pt x="597" y="476"/>
                    </a:lnTo>
                    <a:lnTo>
                      <a:pt x="589" y="470"/>
                    </a:lnTo>
                    <a:lnTo>
                      <a:pt x="583" y="462"/>
                    </a:lnTo>
                    <a:lnTo>
                      <a:pt x="561" y="454"/>
                    </a:lnTo>
                    <a:lnTo>
                      <a:pt x="555" y="448"/>
                    </a:lnTo>
                    <a:lnTo>
                      <a:pt x="549" y="442"/>
                    </a:lnTo>
                    <a:lnTo>
                      <a:pt x="541" y="442"/>
                    </a:lnTo>
                    <a:lnTo>
                      <a:pt x="527" y="442"/>
                    </a:lnTo>
                    <a:lnTo>
                      <a:pt x="521" y="434"/>
                    </a:lnTo>
                    <a:lnTo>
                      <a:pt x="507" y="428"/>
                    </a:lnTo>
                    <a:lnTo>
                      <a:pt x="499" y="428"/>
                    </a:lnTo>
                    <a:lnTo>
                      <a:pt x="507" y="420"/>
                    </a:lnTo>
                    <a:lnTo>
                      <a:pt x="513" y="420"/>
                    </a:lnTo>
                    <a:lnTo>
                      <a:pt x="521" y="414"/>
                    </a:lnTo>
                    <a:lnTo>
                      <a:pt x="521" y="400"/>
                    </a:lnTo>
                    <a:lnTo>
                      <a:pt x="499" y="394"/>
                    </a:lnTo>
                    <a:lnTo>
                      <a:pt x="493" y="394"/>
                    </a:lnTo>
                    <a:lnTo>
                      <a:pt x="470" y="394"/>
                    </a:lnTo>
                    <a:lnTo>
                      <a:pt x="458" y="394"/>
                    </a:lnTo>
                    <a:lnTo>
                      <a:pt x="444" y="386"/>
                    </a:lnTo>
                    <a:lnTo>
                      <a:pt x="436" y="372"/>
                    </a:lnTo>
                    <a:lnTo>
                      <a:pt x="430" y="366"/>
                    </a:lnTo>
                    <a:lnTo>
                      <a:pt x="416" y="352"/>
                    </a:lnTo>
                    <a:lnTo>
                      <a:pt x="408" y="338"/>
                    </a:lnTo>
                    <a:lnTo>
                      <a:pt x="396" y="324"/>
                    </a:lnTo>
                    <a:lnTo>
                      <a:pt x="396" y="310"/>
                    </a:lnTo>
                    <a:lnTo>
                      <a:pt x="402" y="304"/>
                    </a:lnTo>
                    <a:lnTo>
                      <a:pt x="396" y="290"/>
                    </a:lnTo>
                    <a:lnTo>
                      <a:pt x="388" y="276"/>
                    </a:lnTo>
                    <a:lnTo>
                      <a:pt x="388" y="268"/>
                    </a:lnTo>
                    <a:lnTo>
                      <a:pt x="382" y="262"/>
                    </a:lnTo>
                    <a:lnTo>
                      <a:pt x="382" y="248"/>
                    </a:lnTo>
                    <a:lnTo>
                      <a:pt x="374" y="248"/>
                    </a:lnTo>
                    <a:lnTo>
                      <a:pt x="360" y="242"/>
                    </a:lnTo>
                    <a:lnTo>
                      <a:pt x="346" y="234"/>
                    </a:lnTo>
                    <a:lnTo>
                      <a:pt x="340" y="234"/>
                    </a:lnTo>
                    <a:lnTo>
                      <a:pt x="326" y="228"/>
                    </a:lnTo>
                    <a:lnTo>
                      <a:pt x="326" y="220"/>
                    </a:lnTo>
                    <a:lnTo>
                      <a:pt x="318" y="214"/>
                    </a:lnTo>
                    <a:lnTo>
                      <a:pt x="318" y="208"/>
                    </a:lnTo>
                    <a:lnTo>
                      <a:pt x="312" y="194"/>
                    </a:lnTo>
                    <a:lnTo>
                      <a:pt x="318" y="186"/>
                    </a:lnTo>
                    <a:lnTo>
                      <a:pt x="318" y="180"/>
                    </a:lnTo>
                    <a:lnTo>
                      <a:pt x="318" y="172"/>
                    </a:lnTo>
                    <a:lnTo>
                      <a:pt x="326" y="166"/>
                    </a:lnTo>
                    <a:lnTo>
                      <a:pt x="332" y="160"/>
                    </a:lnTo>
                    <a:lnTo>
                      <a:pt x="332" y="152"/>
                    </a:lnTo>
                    <a:lnTo>
                      <a:pt x="326" y="152"/>
                    </a:lnTo>
                    <a:lnTo>
                      <a:pt x="318" y="146"/>
                    </a:lnTo>
                    <a:lnTo>
                      <a:pt x="318" y="138"/>
                    </a:lnTo>
                    <a:lnTo>
                      <a:pt x="312" y="138"/>
                    </a:lnTo>
                    <a:lnTo>
                      <a:pt x="318" y="132"/>
                    </a:lnTo>
                    <a:lnTo>
                      <a:pt x="326" y="132"/>
                    </a:lnTo>
                    <a:lnTo>
                      <a:pt x="326" y="118"/>
                    </a:lnTo>
                    <a:lnTo>
                      <a:pt x="340" y="118"/>
                    </a:lnTo>
                    <a:lnTo>
                      <a:pt x="346" y="118"/>
                    </a:lnTo>
                    <a:lnTo>
                      <a:pt x="354" y="118"/>
                    </a:lnTo>
                    <a:lnTo>
                      <a:pt x="360" y="118"/>
                    </a:lnTo>
                    <a:lnTo>
                      <a:pt x="368" y="110"/>
                    </a:lnTo>
                    <a:lnTo>
                      <a:pt x="374" y="110"/>
                    </a:lnTo>
                    <a:lnTo>
                      <a:pt x="374" y="104"/>
                    </a:lnTo>
                    <a:lnTo>
                      <a:pt x="382" y="104"/>
                    </a:lnTo>
                    <a:lnTo>
                      <a:pt x="388" y="104"/>
                    </a:lnTo>
                    <a:lnTo>
                      <a:pt x="388" y="110"/>
                    </a:lnTo>
                    <a:lnTo>
                      <a:pt x="396" y="118"/>
                    </a:lnTo>
                    <a:lnTo>
                      <a:pt x="396" y="104"/>
                    </a:lnTo>
                    <a:lnTo>
                      <a:pt x="402" y="104"/>
                    </a:lnTo>
                    <a:lnTo>
                      <a:pt x="408" y="96"/>
                    </a:lnTo>
                    <a:lnTo>
                      <a:pt x="402" y="90"/>
                    </a:lnTo>
                    <a:lnTo>
                      <a:pt x="396" y="84"/>
                    </a:lnTo>
                    <a:lnTo>
                      <a:pt x="408" y="76"/>
                    </a:lnTo>
                    <a:lnTo>
                      <a:pt x="408" y="70"/>
                    </a:lnTo>
                    <a:lnTo>
                      <a:pt x="402" y="62"/>
                    </a:lnTo>
                    <a:lnTo>
                      <a:pt x="402" y="56"/>
                    </a:lnTo>
                    <a:lnTo>
                      <a:pt x="402" y="50"/>
                    </a:lnTo>
                    <a:lnTo>
                      <a:pt x="396" y="50"/>
                    </a:lnTo>
                    <a:lnTo>
                      <a:pt x="388" y="42"/>
                    </a:lnTo>
                    <a:lnTo>
                      <a:pt x="374" y="42"/>
                    </a:lnTo>
                    <a:lnTo>
                      <a:pt x="368" y="42"/>
                    </a:lnTo>
                    <a:lnTo>
                      <a:pt x="360" y="42"/>
                    </a:lnTo>
                    <a:lnTo>
                      <a:pt x="354" y="42"/>
                    </a:lnTo>
                    <a:lnTo>
                      <a:pt x="346" y="36"/>
                    </a:lnTo>
                    <a:lnTo>
                      <a:pt x="340" y="28"/>
                    </a:lnTo>
                    <a:lnTo>
                      <a:pt x="340" y="22"/>
                    </a:lnTo>
                    <a:lnTo>
                      <a:pt x="332" y="14"/>
                    </a:lnTo>
                    <a:lnTo>
                      <a:pt x="326" y="8"/>
                    </a:lnTo>
                    <a:lnTo>
                      <a:pt x="312" y="8"/>
                    </a:lnTo>
                    <a:lnTo>
                      <a:pt x="304" y="8"/>
                    </a:lnTo>
                    <a:lnTo>
                      <a:pt x="298" y="8"/>
                    </a:lnTo>
                    <a:lnTo>
                      <a:pt x="292" y="8"/>
                    </a:lnTo>
                    <a:lnTo>
                      <a:pt x="284" y="0"/>
                    </a:lnTo>
                    <a:lnTo>
                      <a:pt x="276" y="0"/>
                    </a:lnTo>
                    <a:lnTo>
                      <a:pt x="276" y="8"/>
                    </a:lnTo>
                    <a:lnTo>
                      <a:pt x="264" y="14"/>
                    </a:lnTo>
                    <a:lnTo>
                      <a:pt x="256" y="14"/>
                    </a:lnTo>
                    <a:lnTo>
                      <a:pt x="250" y="14"/>
                    </a:lnTo>
                    <a:lnTo>
                      <a:pt x="250" y="8"/>
                    </a:lnTo>
                    <a:lnTo>
                      <a:pt x="250" y="0"/>
                    </a:lnTo>
                    <a:lnTo>
                      <a:pt x="242" y="0"/>
                    </a:lnTo>
                    <a:lnTo>
                      <a:pt x="236" y="0"/>
                    </a:lnTo>
                    <a:lnTo>
                      <a:pt x="236" y="8"/>
                    </a:lnTo>
                    <a:lnTo>
                      <a:pt x="236" y="14"/>
                    </a:lnTo>
                    <a:lnTo>
                      <a:pt x="236" y="22"/>
                    </a:lnTo>
                    <a:lnTo>
                      <a:pt x="228" y="22"/>
                    </a:lnTo>
                    <a:lnTo>
                      <a:pt x="222" y="14"/>
                    </a:lnTo>
                    <a:lnTo>
                      <a:pt x="214" y="22"/>
                    </a:lnTo>
                    <a:lnTo>
                      <a:pt x="208" y="28"/>
                    </a:lnTo>
                    <a:lnTo>
                      <a:pt x="214" y="36"/>
                    </a:lnTo>
                    <a:lnTo>
                      <a:pt x="208" y="42"/>
                    </a:lnTo>
                    <a:lnTo>
                      <a:pt x="200" y="36"/>
                    </a:lnTo>
                    <a:lnTo>
                      <a:pt x="194" y="36"/>
                    </a:lnTo>
                    <a:lnTo>
                      <a:pt x="186" y="36"/>
                    </a:lnTo>
                    <a:lnTo>
                      <a:pt x="180" y="36"/>
                    </a:lnTo>
                    <a:lnTo>
                      <a:pt x="180" y="28"/>
                    </a:lnTo>
                    <a:lnTo>
                      <a:pt x="172" y="22"/>
                    </a:lnTo>
                    <a:lnTo>
                      <a:pt x="166" y="22"/>
                    </a:lnTo>
                    <a:lnTo>
                      <a:pt x="166" y="28"/>
                    </a:lnTo>
                    <a:lnTo>
                      <a:pt x="166" y="42"/>
                    </a:lnTo>
                    <a:lnTo>
                      <a:pt x="160" y="42"/>
                    </a:lnTo>
                    <a:lnTo>
                      <a:pt x="152" y="50"/>
                    </a:lnTo>
                    <a:lnTo>
                      <a:pt x="146" y="56"/>
                    </a:lnTo>
                    <a:lnTo>
                      <a:pt x="146" y="62"/>
                    </a:lnTo>
                    <a:lnTo>
                      <a:pt x="138" y="56"/>
                    </a:lnTo>
                    <a:lnTo>
                      <a:pt x="132" y="50"/>
                    </a:lnTo>
                    <a:lnTo>
                      <a:pt x="124" y="42"/>
                    </a:lnTo>
                    <a:lnTo>
                      <a:pt x="124" y="36"/>
                    </a:lnTo>
                    <a:lnTo>
                      <a:pt x="124" y="28"/>
                    </a:lnTo>
                    <a:lnTo>
                      <a:pt x="118" y="22"/>
                    </a:lnTo>
                    <a:lnTo>
                      <a:pt x="110" y="22"/>
                    </a:lnTo>
                    <a:lnTo>
                      <a:pt x="104" y="28"/>
                    </a:lnTo>
                    <a:lnTo>
                      <a:pt x="104" y="36"/>
                    </a:lnTo>
                    <a:lnTo>
                      <a:pt x="96" y="50"/>
                    </a:lnTo>
                    <a:lnTo>
                      <a:pt x="90" y="50"/>
                    </a:lnTo>
                    <a:lnTo>
                      <a:pt x="76" y="50"/>
                    </a:lnTo>
                    <a:lnTo>
                      <a:pt x="68" y="42"/>
                    </a:lnTo>
                    <a:lnTo>
                      <a:pt x="42" y="50"/>
                    </a:lnTo>
                    <a:lnTo>
                      <a:pt x="34" y="50"/>
                    </a:lnTo>
                    <a:lnTo>
                      <a:pt x="34" y="56"/>
                    </a:lnTo>
                    <a:lnTo>
                      <a:pt x="28" y="56"/>
                    </a:lnTo>
                    <a:lnTo>
                      <a:pt x="28" y="62"/>
                    </a:lnTo>
                    <a:lnTo>
                      <a:pt x="34" y="70"/>
                    </a:lnTo>
                    <a:lnTo>
                      <a:pt x="34" y="76"/>
                    </a:lnTo>
                    <a:lnTo>
                      <a:pt x="42" y="84"/>
                    </a:lnTo>
                    <a:lnTo>
                      <a:pt x="34" y="90"/>
                    </a:lnTo>
                    <a:lnTo>
                      <a:pt x="28" y="96"/>
                    </a:lnTo>
                    <a:lnTo>
                      <a:pt x="20" y="104"/>
                    </a:lnTo>
                    <a:lnTo>
                      <a:pt x="14" y="104"/>
                    </a:lnTo>
                    <a:lnTo>
                      <a:pt x="6" y="104"/>
                    </a:lnTo>
                    <a:lnTo>
                      <a:pt x="0" y="104"/>
                    </a:lnTo>
                    <a:lnTo>
                      <a:pt x="0" y="110"/>
                    </a:lnTo>
                    <a:lnTo>
                      <a:pt x="6" y="118"/>
                    </a:lnTo>
                    <a:lnTo>
                      <a:pt x="14" y="118"/>
                    </a:lnTo>
                    <a:lnTo>
                      <a:pt x="20" y="126"/>
                    </a:lnTo>
                    <a:lnTo>
                      <a:pt x="20" y="132"/>
                    </a:lnTo>
                    <a:lnTo>
                      <a:pt x="20" y="138"/>
                    </a:lnTo>
                    <a:lnTo>
                      <a:pt x="14" y="146"/>
                    </a:lnTo>
                    <a:lnTo>
                      <a:pt x="14" y="152"/>
                    </a:lnTo>
                    <a:lnTo>
                      <a:pt x="14" y="166"/>
                    </a:lnTo>
                    <a:lnTo>
                      <a:pt x="14" y="172"/>
                    </a:lnTo>
                    <a:lnTo>
                      <a:pt x="20" y="186"/>
                    </a:lnTo>
                    <a:lnTo>
                      <a:pt x="28" y="186"/>
                    </a:lnTo>
                    <a:lnTo>
                      <a:pt x="42" y="186"/>
                    </a:lnTo>
                    <a:lnTo>
                      <a:pt x="48" y="194"/>
                    </a:lnTo>
                    <a:lnTo>
                      <a:pt x="42" y="200"/>
                    </a:lnTo>
                    <a:lnTo>
                      <a:pt x="42" y="208"/>
                    </a:lnTo>
                    <a:lnTo>
                      <a:pt x="34" y="214"/>
                    </a:lnTo>
                    <a:lnTo>
                      <a:pt x="28" y="220"/>
                    </a:lnTo>
                    <a:lnTo>
                      <a:pt x="28" y="220"/>
                    </a:lnTo>
                    <a:lnTo>
                      <a:pt x="28" y="220"/>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1" name="Freeform 45"/>
              <p:cNvSpPr>
                <a:spLocks/>
              </p:cNvSpPr>
              <p:nvPr/>
            </p:nvSpPr>
            <p:spPr bwMode="gray">
              <a:xfrm>
                <a:off x="4104632" y="3514604"/>
                <a:ext cx="393788" cy="206421"/>
              </a:xfrm>
              <a:custGeom>
                <a:avLst/>
                <a:gdLst>
                  <a:gd name="T0" fmla="*/ 36 w 248"/>
                  <a:gd name="T1" fmla="*/ 104 h 130"/>
                  <a:gd name="T2" fmla="*/ 42 w 248"/>
                  <a:gd name="T3" fmla="*/ 96 h 130"/>
                  <a:gd name="T4" fmla="*/ 36 w 248"/>
                  <a:gd name="T5" fmla="*/ 82 h 130"/>
                  <a:gd name="T6" fmla="*/ 48 w 248"/>
                  <a:gd name="T7" fmla="*/ 82 h 130"/>
                  <a:gd name="T8" fmla="*/ 42 w 248"/>
                  <a:gd name="T9" fmla="*/ 62 h 130"/>
                  <a:gd name="T10" fmla="*/ 36 w 248"/>
                  <a:gd name="T11" fmla="*/ 68 h 130"/>
                  <a:gd name="T12" fmla="*/ 22 w 248"/>
                  <a:gd name="T13" fmla="*/ 82 h 130"/>
                  <a:gd name="T14" fmla="*/ 0 w 248"/>
                  <a:gd name="T15" fmla="*/ 74 h 130"/>
                  <a:gd name="T16" fmla="*/ 22 w 248"/>
                  <a:gd name="T17" fmla="*/ 48 h 130"/>
                  <a:gd name="T18" fmla="*/ 28 w 248"/>
                  <a:gd name="T19" fmla="*/ 34 h 130"/>
                  <a:gd name="T20" fmla="*/ 56 w 248"/>
                  <a:gd name="T21" fmla="*/ 28 h 130"/>
                  <a:gd name="T22" fmla="*/ 62 w 248"/>
                  <a:gd name="T23" fmla="*/ 6 h 130"/>
                  <a:gd name="T24" fmla="*/ 76 w 248"/>
                  <a:gd name="T25" fmla="*/ 6 h 130"/>
                  <a:gd name="T26" fmla="*/ 90 w 248"/>
                  <a:gd name="T27" fmla="*/ 0 h 130"/>
                  <a:gd name="T28" fmla="*/ 98 w 248"/>
                  <a:gd name="T29" fmla="*/ 0 h 130"/>
                  <a:gd name="T30" fmla="*/ 104 w 248"/>
                  <a:gd name="T31" fmla="*/ 0 h 130"/>
                  <a:gd name="T32" fmla="*/ 126 w 248"/>
                  <a:gd name="T33" fmla="*/ 6 h 130"/>
                  <a:gd name="T34" fmla="*/ 138 w 248"/>
                  <a:gd name="T35" fmla="*/ 6 h 130"/>
                  <a:gd name="T36" fmla="*/ 152 w 248"/>
                  <a:gd name="T37" fmla="*/ 6 h 130"/>
                  <a:gd name="T38" fmla="*/ 174 w 248"/>
                  <a:gd name="T39" fmla="*/ 6 h 130"/>
                  <a:gd name="T40" fmla="*/ 180 w 248"/>
                  <a:gd name="T41" fmla="*/ 14 h 130"/>
                  <a:gd name="T42" fmla="*/ 186 w 248"/>
                  <a:gd name="T43" fmla="*/ 20 h 130"/>
                  <a:gd name="T44" fmla="*/ 200 w 248"/>
                  <a:gd name="T45" fmla="*/ 34 h 130"/>
                  <a:gd name="T46" fmla="*/ 194 w 248"/>
                  <a:gd name="T47" fmla="*/ 48 h 130"/>
                  <a:gd name="T48" fmla="*/ 200 w 248"/>
                  <a:gd name="T49" fmla="*/ 54 h 130"/>
                  <a:gd name="T50" fmla="*/ 214 w 248"/>
                  <a:gd name="T51" fmla="*/ 62 h 130"/>
                  <a:gd name="T52" fmla="*/ 248 w 248"/>
                  <a:gd name="T53" fmla="*/ 68 h 130"/>
                  <a:gd name="T54" fmla="*/ 242 w 248"/>
                  <a:gd name="T55" fmla="*/ 74 h 130"/>
                  <a:gd name="T56" fmla="*/ 242 w 248"/>
                  <a:gd name="T57" fmla="*/ 90 h 130"/>
                  <a:gd name="T58" fmla="*/ 228 w 248"/>
                  <a:gd name="T59" fmla="*/ 82 h 130"/>
                  <a:gd name="T60" fmla="*/ 214 w 248"/>
                  <a:gd name="T61" fmla="*/ 96 h 130"/>
                  <a:gd name="T62" fmla="*/ 214 w 248"/>
                  <a:gd name="T63" fmla="*/ 110 h 130"/>
                  <a:gd name="T64" fmla="*/ 200 w 248"/>
                  <a:gd name="T65" fmla="*/ 104 h 130"/>
                  <a:gd name="T66" fmla="*/ 186 w 248"/>
                  <a:gd name="T67" fmla="*/ 104 h 130"/>
                  <a:gd name="T68" fmla="*/ 180 w 248"/>
                  <a:gd name="T69" fmla="*/ 90 h 130"/>
                  <a:gd name="T70" fmla="*/ 174 w 248"/>
                  <a:gd name="T71" fmla="*/ 96 h 130"/>
                  <a:gd name="T72" fmla="*/ 166 w 248"/>
                  <a:gd name="T73" fmla="*/ 110 h 130"/>
                  <a:gd name="T74" fmla="*/ 152 w 248"/>
                  <a:gd name="T75" fmla="*/ 124 h 130"/>
                  <a:gd name="T76" fmla="*/ 146 w 248"/>
                  <a:gd name="T77" fmla="*/ 124 h 130"/>
                  <a:gd name="T78" fmla="*/ 132 w 248"/>
                  <a:gd name="T79" fmla="*/ 110 h 130"/>
                  <a:gd name="T80" fmla="*/ 132 w 248"/>
                  <a:gd name="T81" fmla="*/ 96 h 130"/>
                  <a:gd name="T82" fmla="*/ 118 w 248"/>
                  <a:gd name="T83" fmla="*/ 90 h 130"/>
                  <a:gd name="T84" fmla="*/ 112 w 248"/>
                  <a:gd name="T85" fmla="*/ 104 h 130"/>
                  <a:gd name="T86" fmla="*/ 98 w 248"/>
                  <a:gd name="T87" fmla="*/ 116 h 130"/>
                  <a:gd name="T88" fmla="*/ 76 w 248"/>
                  <a:gd name="T89" fmla="*/ 110 h 130"/>
                  <a:gd name="T90" fmla="*/ 42 w 248"/>
                  <a:gd name="T91" fmla="*/ 110 h 130"/>
                  <a:gd name="T92" fmla="*/ 42 w 248"/>
                  <a:gd name="T93" fmla="*/ 11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8" h="130">
                    <a:moveTo>
                      <a:pt x="42" y="110"/>
                    </a:moveTo>
                    <a:lnTo>
                      <a:pt x="36" y="104"/>
                    </a:lnTo>
                    <a:lnTo>
                      <a:pt x="36" y="96"/>
                    </a:lnTo>
                    <a:lnTo>
                      <a:pt x="42" y="96"/>
                    </a:lnTo>
                    <a:lnTo>
                      <a:pt x="36" y="90"/>
                    </a:lnTo>
                    <a:lnTo>
                      <a:pt x="36" y="82"/>
                    </a:lnTo>
                    <a:lnTo>
                      <a:pt x="42" y="82"/>
                    </a:lnTo>
                    <a:lnTo>
                      <a:pt x="48" y="82"/>
                    </a:lnTo>
                    <a:lnTo>
                      <a:pt x="48" y="74"/>
                    </a:lnTo>
                    <a:lnTo>
                      <a:pt x="42" y="62"/>
                    </a:lnTo>
                    <a:lnTo>
                      <a:pt x="36" y="62"/>
                    </a:lnTo>
                    <a:lnTo>
                      <a:pt x="36" y="68"/>
                    </a:lnTo>
                    <a:lnTo>
                      <a:pt x="28" y="68"/>
                    </a:lnTo>
                    <a:lnTo>
                      <a:pt x="22" y="82"/>
                    </a:lnTo>
                    <a:lnTo>
                      <a:pt x="8" y="90"/>
                    </a:lnTo>
                    <a:lnTo>
                      <a:pt x="0" y="74"/>
                    </a:lnTo>
                    <a:lnTo>
                      <a:pt x="8" y="62"/>
                    </a:lnTo>
                    <a:lnTo>
                      <a:pt x="22" y="48"/>
                    </a:lnTo>
                    <a:lnTo>
                      <a:pt x="22" y="42"/>
                    </a:lnTo>
                    <a:lnTo>
                      <a:pt x="28" y="34"/>
                    </a:lnTo>
                    <a:lnTo>
                      <a:pt x="42" y="34"/>
                    </a:lnTo>
                    <a:lnTo>
                      <a:pt x="56" y="28"/>
                    </a:lnTo>
                    <a:lnTo>
                      <a:pt x="62" y="14"/>
                    </a:lnTo>
                    <a:lnTo>
                      <a:pt x="62" y="6"/>
                    </a:lnTo>
                    <a:lnTo>
                      <a:pt x="70" y="0"/>
                    </a:lnTo>
                    <a:lnTo>
                      <a:pt x="76" y="6"/>
                    </a:lnTo>
                    <a:lnTo>
                      <a:pt x="84" y="14"/>
                    </a:lnTo>
                    <a:lnTo>
                      <a:pt x="90" y="0"/>
                    </a:lnTo>
                    <a:lnTo>
                      <a:pt x="98" y="6"/>
                    </a:lnTo>
                    <a:lnTo>
                      <a:pt x="98" y="0"/>
                    </a:lnTo>
                    <a:lnTo>
                      <a:pt x="104" y="6"/>
                    </a:lnTo>
                    <a:lnTo>
                      <a:pt x="104" y="0"/>
                    </a:lnTo>
                    <a:lnTo>
                      <a:pt x="118" y="6"/>
                    </a:lnTo>
                    <a:lnTo>
                      <a:pt x="126" y="6"/>
                    </a:lnTo>
                    <a:lnTo>
                      <a:pt x="132" y="6"/>
                    </a:lnTo>
                    <a:lnTo>
                      <a:pt x="138" y="6"/>
                    </a:lnTo>
                    <a:lnTo>
                      <a:pt x="146" y="6"/>
                    </a:lnTo>
                    <a:lnTo>
                      <a:pt x="152" y="6"/>
                    </a:lnTo>
                    <a:lnTo>
                      <a:pt x="160" y="6"/>
                    </a:lnTo>
                    <a:lnTo>
                      <a:pt x="174" y="6"/>
                    </a:lnTo>
                    <a:lnTo>
                      <a:pt x="174" y="14"/>
                    </a:lnTo>
                    <a:lnTo>
                      <a:pt x="180" y="14"/>
                    </a:lnTo>
                    <a:lnTo>
                      <a:pt x="186" y="14"/>
                    </a:lnTo>
                    <a:lnTo>
                      <a:pt x="186" y="20"/>
                    </a:lnTo>
                    <a:lnTo>
                      <a:pt x="200" y="28"/>
                    </a:lnTo>
                    <a:lnTo>
                      <a:pt x="200" y="34"/>
                    </a:lnTo>
                    <a:lnTo>
                      <a:pt x="194" y="42"/>
                    </a:lnTo>
                    <a:lnTo>
                      <a:pt x="194" y="48"/>
                    </a:lnTo>
                    <a:lnTo>
                      <a:pt x="200" y="48"/>
                    </a:lnTo>
                    <a:lnTo>
                      <a:pt x="200" y="54"/>
                    </a:lnTo>
                    <a:lnTo>
                      <a:pt x="208" y="54"/>
                    </a:lnTo>
                    <a:lnTo>
                      <a:pt x="214" y="62"/>
                    </a:lnTo>
                    <a:lnTo>
                      <a:pt x="222" y="68"/>
                    </a:lnTo>
                    <a:lnTo>
                      <a:pt x="248" y="68"/>
                    </a:lnTo>
                    <a:lnTo>
                      <a:pt x="242" y="68"/>
                    </a:lnTo>
                    <a:lnTo>
                      <a:pt x="242" y="74"/>
                    </a:lnTo>
                    <a:lnTo>
                      <a:pt x="242" y="82"/>
                    </a:lnTo>
                    <a:lnTo>
                      <a:pt x="242" y="90"/>
                    </a:lnTo>
                    <a:lnTo>
                      <a:pt x="236" y="90"/>
                    </a:lnTo>
                    <a:lnTo>
                      <a:pt x="228" y="82"/>
                    </a:lnTo>
                    <a:lnTo>
                      <a:pt x="222" y="90"/>
                    </a:lnTo>
                    <a:lnTo>
                      <a:pt x="214" y="96"/>
                    </a:lnTo>
                    <a:lnTo>
                      <a:pt x="222" y="104"/>
                    </a:lnTo>
                    <a:lnTo>
                      <a:pt x="214" y="110"/>
                    </a:lnTo>
                    <a:lnTo>
                      <a:pt x="208" y="104"/>
                    </a:lnTo>
                    <a:lnTo>
                      <a:pt x="200" y="104"/>
                    </a:lnTo>
                    <a:lnTo>
                      <a:pt x="194" y="104"/>
                    </a:lnTo>
                    <a:lnTo>
                      <a:pt x="186" y="104"/>
                    </a:lnTo>
                    <a:lnTo>
                      <a:pt x="186" y="96"/>
                    </a:lnTo>
                    <a:lnTo>
                      <a:pt x="180" y="90"/>
                    </a:lnTo>
                    <a:lnTo>
                      <a:pt x="174" y="90"/>
                    </a:lnTo>
                    <a:lnTo>
                      <a:pt x="174" y="96"/>
                    </a:lnTo>
                    <a:lnTo>
                      <a:pt x="174" y="110"/>
                    </a:lnTo>
                    <a:lnTo>
                      <a:pt x="166" y="110"/>
                    </a:lnTo>
                    <a:lnTo>
                      <a:pt x="160" y="116"/>
                    </a:lnTo>
                    <a:lnTo>
                      <a:pt x="152" y="124"/>
                    </a:lnTo>
                    <a:lnTo>
                      <a:pt x="152" y="130"/>
                    </a:lnTo>
                    <a:lnTo>
                      <a:pt x="146" y="124"/>
                    </a:lnTo>
                    <a:lnTo>
                      <a:pt x="138" y="116"/>
                    </a:lnTo>
                    <a:lnTo>
                      <a:pt x="132" y="110"/>
                    </a:lnTo>
                    <a:lnTo>
                      <a:pt x="132" y="104"/>
                    </a:lnTo>
                    <a:lnTo>
                      <a:pt x="132" y="96"/>
                    </a:lnTo>
                    <a:lnTo>
                      <a:pt x="126" y="90"/>
                    </a:lnTo>
                    <a:lnTo>
                      <a:pt x="118" y="90"/>
                    </a:lnTo>
                    <a:lnTo>
                      <a:pt x="112" y="96"/>
                    </a:lnTo>
                    <a:lnTo>
                      <a:pt x="112" y="104"/>
                    </a:lnTo>
                    <a:lnTo>
                      <a:pt x="104" y="116"/>
                    </a:lnTo>
                    <a:lnTo>
                      <a:pt x="98" y="116"/>
                    </a:lnTo>
                    <a:lnTo>
                      <a:pt x="84" y="116"/>
                    </a:lnTo>
                    <a:lnTo>
                      <a:pt x="76" y="110"/>
                    </a:lnTo>
                    <a:lnTo>
                      <a:pt x="48" y="116"/>
                    </a:lnTo>
                    <a:lnTo>
                      <a:pt x="42" y="110"/>
                    </a:lnTo>
                    <a:lnTo>
                      <a:pt x="42" y="110"/>
                    </a:lnTo>
                    <a:lnTo>
                      <a:pt x="42" y="11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2" name="Freeform 46"/>
              <p:cNvSpPr>
                <a:spLocks/>
              </p:cNvSpPr>
              <p:nvPr>
                <p:custDataLst>
                  <p:tags r:id="rId137"/>
                </p:custDataLst>
              </p:nvPr>
            </p:nvSpPr>
            <p:spPr bwMode="gray">
              <a:xfrm>
                <a:off x="4412675" y="3425684"/>
                <a:ext cx="639905" cy="292165"/>
              </a:xfrm>
              <a:custGeom>
                <a:avLst/>
                <a:gdLst>
                  <a:gd name="T0" fmla="*/ 347 w 403"/>
                  <a:gd name="T1" fmla="*/ 164 h 184"/>
                  <a:gd name="T2" fmla="*/ 341 w 403"/>
                  <a:gd name="T3" fmla="*/ 164 h 184"/>
                  <a:gd name="T4" fmla="*/ 319 w 403"/>
                  <a:gd name="T5" fmla="*/ 164 h 184"/>
                  <a:gd name="T6" fmla="*/ 298 w 403"/>
                  <a:gd name="T7" fmla="*/ 164 h 184"/>
                  <a:gd name="T8" fmla="*/ 284 w 403"/>
                  <a:gd name="T9" fmla="*/ 178 h 184"/>
                  <a:gd name="T10" fmla="*/ 262 w 403"/>
                  <a:gd name="T11" fmla="*/ 184 h 184"/>
                  <a:gd name="T12" fmla="*/ 242 w 403"/>
                  <a:gd name="T13" fmla="*/ 178 h 184"/>
                  <a:gd name="T14" fmla="*/ 228 w 403"/>
                  <a:gd name="T15" fmla="*/ 178 h 184"/>
                  <a:gd name="T16" fmla="*/ 200 w 403"/>
                  <a:gd name="T17" fmla="*/ 164 h 184"/>
                  <a:gd name="T18" fmla="*/ 174 w 403"/>
                  <a:gd name="T19" fmla="*/ 164 h 184"/>
                  <a:gd name="T20" fmla="*/ 152 w 403"/>
                  <a:gd name="T21" fmla="*/ 150 h 184"/>
                  <a:gd name="T22" fmla="*/ 138 w 403"/>
                  <a:gd name="T23" fmla="*/ 130 h 184"/>
                  <a:gd name="T24" fmla="*/ 110 w 403"/>
                  <a:gd name="T25" fmla="*/ 130 h 184"/>
                  <a:gd name="T26" fmla="*/ 90 w 403"/>
                  <a:gd name="T27" fmla="*/ 124 h 184"/>
                  <a:gd name="T28" fmla="*/ 70 w 403"/>
                  <a:gd name="T29" fmla="*/ 138 h 184"/>
                  <a:gd name="T30" fmla="*/ 62 w 403"/>
                  <a:gd name="T31" fmla="*/ 124 h 184"/>
                  <a:gd name="T32" fmla="*/ 20 w 403"/>
                  <a:gd name="T33" fmla="*/ 116 h 184"/>
                  <a:gd name="T34" fmla="*/ 6 w 403"/>
                  <a:gd name="T35" fmla="*/ 104 h 184"/>
                  <a:gd name="T36" fmla="*/ 6 w 403"/>
                  <a:gd name="T37" fmla="*/ 88 h 184"/>
                  <a:gd name="T38" fmla="*/ 20 w 403"/>
                  <a:gd name="T39" fmla="*/ 76 h 184"/>
                  <a:gd name="T40" fmla="*/ 40 w 403"/>
                  <a:gd name="T41" fmla="*/ 88 h 184"/>
                  <a:gd name="T42" fmla="*/ 62 w 403"/>
                  <a:gd name="T43" fmla="*/ 88 h 184"/>
                  <a:gd name="T44" fmla="*/ 82 w 403"/>
                  <a:gd name="T45" fmla="*/ 88 h 184"/>
                  <a:gd name="T46" fmla="*/ 104 w 403"/>
                  <a:gd name="T47" fmla="*/ 82 h 184"/>
                  <a:gd name="T48" fmla="*/ 124 w 403"/>
                  <a:gd name="T49" fmla="*/ 88 h 184"/>
                  <a:gd name="T50" fmla="*/ 152 w 403"/>
                  <a:gd name="T51" fmla="*/ 82 h 184"/>
                  <a:gd name="T52" fmla="*/ 166 w 403"/>
                  <a:gd name="T53" fmla="*/ 82 h 184"/>
                  <a:gd name="T54" fmla="*/ 186 w 403"/>
                  <a:gd name="T55" fmla="*/ 96 h 184"/>
                  <a:gd name="T56" fmla="*/ 194 w 403"/>
                  <a:gd name="T57" fmla="*/ 104 h 184"/>
                  <a:gd name="T58" fmla="*/ 200 w 403"/>
                  <a:gd name="T59" fmla="*/ 88 h 184"/>
                  <a:gd name="T60" fmla="*/ 194 w 403"/>
                  <a:gd name="T61" fmla="*/ 68 h 184"/>
                  <a:gd name="T62" fmla="*/ 186 w 403"/>
                  <a:gd name="T63" fmla="*/ 42 h 184"/>
                  <a:gd name="T64" fmla="*/ 222 w 403"/>
                  <a:gd name="T65" fmla="*/ 28 h 184"/>
                  <a:gd name="T66" fmla="*/ 236 w 403"/>
                  <a:gd name="T67" fmla="*/ 20 h 184"/>
                  <a:gd name="T68" fmla="*/ 250 w 403"/>
                  <a:gd name="T69" fmla="*/ 14 h 184"/>
                  <a:gd name="T70" fmla="*/ 284 w 403"/>
                  <a:gd name="T71" fmla="*/ 20 h 184"/>
                  <a:gd name="T72" fmla="*/ 290 w 403"/>
                  <a:gd name="T73" fmla="*/ 0 h 184"/>
                  <a:gd name="T74" fmla="*/ 319 w 403"/>
                  <a:gd name="T75" fmla="*/ 0 h 184"/>
                  <a:gd name="T76" fmla="*/ 341 w 403"/>
                  <a:gd name="T77" fmla="*/ 6 h 184"/>
                  <a:gd name="T78" fmla="*/ 369 w 403"/>
                  <a:gd name="T79" fmla="*/ 14 h 184"/>
                  <a:gd name="T80" fmla="*/ 381 w 403"/>
                  <a:gd name="T81" fmla="*/ 28 h 184"/>
                  <a:gd name="T82" fmla="*/ 403 w 403"/>
                  <a:gd name="T83" fmla="*/ 34 h 184"/>
                  <a:gd name="T84" fmla="*/ 395 w 403"/>
                  <a:gd name="T85" fmla="*/ 54 h 184"/>
                  <a:gd name="T86" fmla="*/ 395 w 403"/>
                  <a:gd name="T87" fmla="*/ 88 h 184"/>
                  <a:gd name="T88" fmla="*/ 389 w 403"/>
                  <a:gd name="T89" fmla="*/ 88 h 184"/>
                  <a:gd name="T90" fmla="*/ 375 w 403"/>
                  <a:gd name="T91" fmla="*/ 96 h 184"/>
                  <a:gd name="T92" fmla="*/ 381 w 403"/>
                  <a:gd name="T93" fmla="*/ 116 h 184"/>
                  <a:gd name="T94" fmla="*/ 369 w 403"/>
                  <a:gd name="T95" fmla="*/ 144 h 184"/>
                  <a:gd name="T96" fmla="*/ 355 w 403"/>
                  <a:gd name="T97" fmla="*/ 164 h 184"/>
                  <a:gd name="T98" fmla="*/ 355 w 403"/>
                  <a:gd name="T99" fmla="*/ 158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3" h="184">
                    <a:moveTo>
                      <a:pt x="355" y="158"/>
                    </a:moveTo>
                    <a:lnTo>
                      <a:pt x="355" y="164"/>
                    </a:lnTo>
                    <a:lnTo>
                      <a:pt x="347" y="164"/>
                    </a:lnTo>
                    <a:lnTo>
                      <a:pt x="347" y="172"/>
                    </a:lnTo>
                    <a:lnTo>
                      <a:pt x="341" y="172"/>
                    </a:lnTo>
                    <a:lnTo>
                      <a:pt x="341" y="164"/>
                    </a:lnTo>
                    <a:lnTo>
                      <a:pt x="333" y="164"/>
                    </a:lnTo>
                    <a:lnTo>
                      <a:pt x="327" y="164"/>
                    </a:lnTo>
                    <a:lnTo>
                      <a:pt x="319" y="164"/>
                    </a:lnTo>
                    <a:lnTo>
                      <a:pt x="313" y="164"/>
                    </a:lnTo>
                    <a:lnTo>
                      <a:pt x="305" y="164"/>
                    </a:lnTo>
                    <a:lnTo>
                      <a:pt x="298" y="164"/>
                    </a:lnTo>
                    <a:lnTo>
                      <a:pt x="290" y="164"/>
                    </a:lnTo>
                    <a:lnTo>
                      <a:pt x="290" y="172"/>
                    </a:lnTo>
                    <a:lnTo>
                      <a:pt x="284" y="178"/>
                    </a:lnTo>
                    <a:lnTo>
                      <a:pt x="276" y="178"/>
                    </a:lnTo>
                    <a:lnTo>
                      <a:pt x="270" y="178"/>
                    </a:lnTo>
                    <a:lnTo>
                      <a:pt x="262" y="184"/>
                    </a:lnTo>
                    <a:lnTo>
                      <a:pt x="256" y="184"/>
                    </a:lnTo>
                    <a:lnTo>
                      <a:pt x="250" y="178"/>
                    </a:lnTo>
                    <a:lnTo>
                      <a:pt x="242" y="178"/>
                    </a:lnTo>
                    <a:lnTo>
                      <a:pt x="236" y="178"/>
                    </a:lnTo>
                    <a:lnTo>
                      <a:pt x="228" y="172"/>
                    </a:lnTo>
                    <a:lnTo>
                      <a:pt x="228" y="178"/>
                    </a:lnTo>
                    <a:lnTo>
                      <a:pt x="214" y="172"/>
                    </a:lnTo>
                    <a:lnTo>
                      <a:pt x="208" y="172"/>
                    </a:lnTo>
                    <a:lnTo>
                      <a:pt x="200" y="164"/>
                    </a:lnTo>
                    <a:lnTo>
                      <a:pt x="186" y="164"/>
                    </a:lnTo>
                    <a:lnTo>
                      <a:pt x="180" y="164"/>
                    </a:lnTo>
                    <a:lnTo>
                      <a:pt x="174" y="164"/>
                    </a:lnTo>
                    <a:lnTo>
                      <a:pt x="166" y="164"/>
                    </a:lnTo>
                    <a:lnTo>
                      <a:pt x="160" y="158"/>
                    </a:lnTo>
                    <a:lnTo>
                      <a:pt x="152" y="150"/>
                    </a:lnTo>
                    <a:lnTo>
                      <a:pt x="152" y="144"/>
                    </a:lnTo>
                    <a:lnTo>
                      <a:pt x="144" y="138"/>
                    </a:lnTo>
                    <a:lnTo>
                      <a:pt x="138" y="130"/>
                    </a:lnTo>
                    <a:lnTo>
                      <a:pt x="124" y="130"/>
                    </a:lnTo>
                    <a:lnTo>
                      <a:pt x="118" y="130"/>
                    </a:lnTo>
                    <a:lnTo>
                      <a:pt x="110" y="130"/>
                    </a:lnTo>
                    <a:lnTo>
                      <a:pt x="104" y="130"/>
                    </a:lnTo>
                    <a:lnTo>
                      <a:pt x="96" y="124"/>
                    </a:lnTo>
                    <a:lnTo>
                      <a:pt x="90" y="124"/>
                    </a:lnTo>
                    <a:lnTo>
                      <a:pt x="90" y="130"/>
                    </a:lnTo>
                    <a:lnTo>
                      <a:pt x="76" y="138"/>
                    </a:lnTo>
                    <a:lnTo>
                      <a:pt x="70" y="138"/>
                    </a:lnTo>
                    <a:lnTo>
                      <a:pt x="62" y="138"/>
                    </a:lnTo>
                    <a:lnTo>
                      <a:pt x="62" y="130"/>
                    </a:lnTo>
                    <a:lnTo>
                      <a:pt x="62" y="124"/>
                    </a:lnTo>
                    <a:lnTo>
                      <a:pt x="56" y="124"/>
                    </a:lnTo>
                    <a:lnTo>
                      <a:pt x="28" y="124"/>
                    </a:lnTo>
                    <a:lnTo>
                      <a:pt x="20" y="116"/>
                    </a:lnTo>
                    <a:lnTo>
                      <a:pt x="14" y="110"/>
                    </a:lnTo>
                    <a:lnTo>
                      <a:pt x="6" y="110"/>
                    </a:lnTo>
                    <a:lnTo>
                      <a:pt x="6" y="104"/>
                    </a:lnTo>
                    <a:lnTo>
                      <a:pt x="0" y="104"/>
                    </a:lnTo>
                    <a:lnTo>
                      <a:pt x="0" y="96"/>
                    </a:lnTo>
                    <a:lnTo>
                      <a:pt x="6" y="88"/>
                    </a:lnTo>
                    <a:lnTo>
                      <a:pt x="6" y="82"/>
                    </a:lnTo>
                    <a:lnTo>
                      <a:pt x="14" y="76"/>
                    </a:lnTo>
                    <a:lnTo>
                      <a:pt x="20" y="76"/>
                    </a:lnTo>
                    <a:lnTo>
                      <a:pt x="28" y="82"/>
                    </a:lnTo>
                    <a:lnTo>
                      <a:pt x="34" y="88"/>
                    </a:lnTo>
                    <a:lnTo>
                      <a:pt x="40" y="88"/>
                    </a:lnTo>
                    <a:lnTo>
                      <a:pt x="48" y="96"/>
                    </a:lnTo>
                    <a:lnTo>
                      <a:pt x="56" y="88"/>
                    </a:lnTo>
                    <a:lnTo>
                      <a:pt x="62" y="88"/>
                    </a:lnTo>
                    <a:lnTo>
                      <a:pt x="70" y="76"/>
                    </a:lnTo>
                    <a:lnTo>
                      <a:pt x="82" y="82"/>
                    </a:lnTo>
                    <a:lnTo>
                      <a:pt x="82" y="88"/>
                    </a:lnTo>
                    <a:lnTo>
                      <a:pt x="90" y="88"/>
                    </a:lnTo>
                    <a:lnTo>
                      <a:pt x="96" y="88"/>
                    </a:lnTo>
                    <a:lnTo>
                      <a:pt x="104" y="82"/>
                    </a:lnTo>
                    <a:lnTo>
                      <a:pt x="110" y="88"/>
                    </a:lnTo>
                    <a:lnTo>
                      <a:pt x="118" y="88"/>
                    </a:lnTo>
                    <a:lnTo>
                      <a:pt x="124" y="88"/>
                    </a:lnTo>
                    <a:lnTo>
                      <a:pt x="132" y="82"/>
                    </a:lnTo>
                    <a:lnTo>
                      <a:pt x="138" y="82"/>
                    </a:lnTo>
                    <a:lnTo>
                      <a:pt x="152" y="82"/>
                    </a:lnTo>
                    <a:lnTo>
                      <a:pt x="160" y="82"/>
                    </a:lnTo>
                    <a:lnTo>
                      <a:pt x="166" y="88"/>
                    </a:lnTo>
                    <a:lnTo>
                      <a:pt x="166" y="82"/>
                    </a:lnTo>
                    <a:lnTo>
                      <a:pt x="174" y="82"/>
                    </a:lnTo>
                    <a:lnTo>
                      <a:pt x="186" y="88"/>
                    </a:lnTo>
                    <a:lnTo>
                      <a:pt x="186" y="96"/>
                    </a:lnTo>
                    <a:lnTo>
                      <a:pt x="186" y="104"/>
                    </a:lnTo>
                    <a:lnTo>
                      <a:pt x="194" y="110"/>
                    </a:lnTo>
                    <a:lnTo>
                      <a:pt x="194" y="104"/>
                    </a:lnTo>
                    <a:lnTo>
                      <a:pt x="200" y="104"/>
                    </a:lnTo>
                    <a:lnTo>
                      <a:pt x="200" y="96"/>
                    </a:lnTo>
                    <a:lnTo>
                      <a:pt x="200" y="88"/>
                    </a:lnTo>
                    <a:lnTo>
                      <a:pt x="194" y="82"/>
                    </a:lnTo>
                    <a:lnTo>
                      <a:pt x="194" y="76"/>
                    </a:lnTo>
                    <a:lnTo>
                      <a:pt x="194" y="68"/>
                    </a:lnTo>
                    <a:lnTo>
                      <a:pt x="186" y="62"/>
                    </a:lnTo>
                    <a:lnTo>
                      <a:pt x="186" y="54"/>
                    </a:lnTo>
                    <a:lnTo>
                      <a:pt x="186" y="42"/>
                    </a:lnTo>
                    <a:lnTo>
                      <a:pt x="208" y="42"/>
                    </a:lnTo>
                    <a:lnTo>
                      <a:pt x="214" y="34"/>
                    </a:lnTo>
                    <a:lnTo>
                      <a:pt x="222" y="28"/>
                    </a:lnTo>
                    <a:lnTo>
                      <a:pt x="222" y="20"/>
                    </a:lnTo>
                    <a:lnTo>
                      <a:pt x="228" y="20"/>
                    </a:lnTo>
                    <a:lnTo>
                      <a:pt x="236" y="20"/>
                    </a:lnTo>
                    <a:lnTo>
                      <a:pt x="242" y="20"/>
                    </a:lnTo>
                    <a:lnTo>
                      <a:pt x="242" y="14"/>
                    </a:lnTo>
                    <a:lnTo>
                      <a:pt x="250" y="14"/>
                    </a:lnTo>
                    <a:lnTo>
                      <a:pt x="256" y="20"/>
                    </a:lnTo>
                    <a:lnTo>
                      <a:pt x="270" y="20"/>
                    </a:lnTo>
                    <a:lnTo>
                      <a:pt x="284" y="20"/>
                    </a:lnTo>
                    <a:lnTo>
                      <a:pt x="290" y="14"/>
                    </a:lnTo>
                    <a:lnTo>
                      <a:pt x="290" y="6"/>
                    </a:lnTo>
                    <a:lnTo>
                      <a:pt x="290" y="0"/>
                    </a:lnTo>
                    <a:lnTo>
                      <a:pt x="298" y="0"/>
                    </a:lnTo>
                    <a:lnTo>
                      <a:pt x="313" y="0"/>
                    </a:lnTo>
                    <a:lnTo>
                      <a:pt x="319" y="0"/>
                    </a:lnTo>
                    <a:lnTo>
                      <a:pt x="327" y="0"/>
                    </a:lnTo>
                    <a:lnTo>
                      <a:pt x="333" y="6"/>
                    </a:lnTo>
                    <a:lnTo>
                      <a:pt x="341" y="6"/>
                    </a:lnTo>
                    <a:lnTo>
                      <a:pt x="355" y="6"/>
                    </a:lnTo>
                    <a:lnTo>
                      <a:pt x="361" y="14"/>
                    </a:lnTo>
                    <a:lnTo>
                      <a:pt x="369" y="14"/>
                    </a:lnTo>
                    <a:lnTo>
                      <a:pt x="369" y="20"/>
                    </a:lnTo>
                    <a:lnTo>
                      <a:pt x="375" y="28"/>
                    </a:lnTo>
                    <a:lnTo>
                      <a:pt x="381" y="28"/>
                    </a:lnTo>
                    <a:lnTo>
                      <a:pt x="389" y="28"/>
                    </a:lnTo>
                    <a:lnTo>
                      <a:pt x="395" y="28"/>
                    </a:lnTo>
                    <a:lnTo>
                      <a:pt x="403" y="34"/>
                    </a:lnTo>
                    <a:lnTo>
                      <a:pt x="395" y="42"/>
                    </a:lnTo>
                    <a:lnTo>
                      <a:pt x="403" y="54"/>
                    </a:lnTo>
                    <a:lnTo>
                      <a:pt x="395" y="54"/>
                    </a:lnTo>
                    <a:lnTo>
                      <a:pt x="403" y="68"/>
                    </a:lnTo>
                    <a:lnTo>
                      <a:pt x="403" y="82"/>
                    </a:lnTo>
                    <a:lnTo>
                      <a:pt x="395" y="88"/>
                    </a:lnTo>
                    <a:lnTo>
                      <a:pt x="395" y="96"/>
                    </a:lnTo>
                    <a:lnTo>
                      <a:pt x="389" y="96"/>
                    </a:lnTo>
                    <a:lnTo>
                      <a:pt x="389" y="88"/>
                    </a:lnTo>
                    <a:lnTo>
                      <a:pt x="381" y="88"/>
                    </a:lnTo>
                    <a:lnTo>
                      <a:pt x="375" y="88"/>
                    </a:lnTo>
                    <a:lnTo>
                      <a:pt x="375" y="96"/>
                    </a:lnTo>
                    <a:lnTo>
                      <a:pt x="381" y="104"/>
                    </a:lnTo>
                    <a:lnTo>
                      <a:pt x="381" y="110"/>
                    </a:lnTo>
                    <a:lnTo>
                      <a:pt x="381" y="116"/>
                    </a:lnTo>
                    <a:lnTo>
                      <a:pt x="375" y="116"/>
                    </a:lnTo>
                    <a:lnTo>
                      <a:pt x="375" y="130"/>
                    </a:lnTo>
                    <a:lnTo>
                      <a:pt x="369" y="144"/>
                    </a:lnTo>
                    <a:lnTo>
                      <a:pt x="361" y="144"/>
                    </a:lnTo>
                    <a:lnTo>
                      <a:pt x="355" y="158"/>
                    </a:lnTo>
                    <a:lnTo>
                      <a:pt x="355" y="164"/>
                    </a:lnTo>
                    <a:lnTo>
                      <a:pt x="355" y="158"/>
                    </a:lnTo>
                    <a:lnTo>
                      <a:pt x="355" y="158"/>
                    </a:lnTo>
                    <a:lnTo>
                      <a:pt x="355" y="158"/>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3" name="Freeform 47"/>
              <p:cNvSpPr>
                <a:spLocks/>
              </p:cNvSpPr>
              <p:nvPr>
                <p:custDataLst>
                  <p:tags r:id="rId138"/>
                </p:custDataLst>
              </p:nvPr>
            </p:nvSpPr>
            <p:spPr bwMode="gray">
              <a:xfrm>
                <a:off x="4193551" y="2673042"/>
                <a:ext cx="741528" cy="930481"/>
              </a:xfrm>
              <a:custGeom>
                <a:avLst/>
                <a:gdLst>
                  <a:gd name="T0" fmla="*/ 14 w 467"/>
                  <a:gd name="T1" fmla="*/ 358 h 586"/>
                  <a:gd name="T2" fmla="*/ 14 w 467"/>
                  <a:gd name="T3" fmla="*/ 392 h 586"/>
                  <a:gd name="T4" fmla="*/ 62 w 467"/>
                  <a:gd name="T5" fmla="*/ 426 h 586"/>
                  <a:gd name="T6" fmla="*/ 62 w 467"/>
                  <a:gd name="T7" fmla="*/ 454 h 586"/>
                  <a:gd name="T8" fmla="*/ 48 w 467"/>
                  <a:gd name="T9" fmla="*/ 502 h 586"/>
                  <a:gd name="T10" fmla="*/ 48 w 467"/>
                  <a:gd name="T11" fmla="*/ 538 h 586"/>
                  <a:gd name="T12" fmla="*/ 84 w 467"/>
                  <a:gd name="T13" fmla="*/ 538 h 586"/>
                  <a:gd name="T14" fmla="*/ 118 w 467"/>
                  <a:gd name="T15" fmla="*/ 544 h 586"/>
                  <a:gd name="T16" fmla="*/ 154 w 467"/>
                  <a:gd name="T17" fmla="*/ 550 h 586"/>
                  <a:gd name="T18" fmla="*/ 188 w 467"/>
                  <a:gd name="T19" fmla="*/ 572 h 586"/>
                  <a:gd name="T20" fmla="*/ 222 w 467"/>
                  <a:gd name="T21" fmla="*/ 564 h 586"/>
                  <a:gd name="T22" fmla="*/ 258 w 467"/>
                  <a:gd name="T23" fmla="*/ 564 h 586"/>
                  <a:gd name="T24" fmla="*/ 298 w 467"/>
                  <a:gd name="T25" fmla="*/ 558 h 586"/>
                  <a:gd name="T26" fmla="*/ 326 w 467"/>
                  <a:gd name="T27" fmla="*/ 572 h 586"/>
                  <a:gd name="T28" fmla="*/ 340 w 467"/>
                  <a:gd name="T29" fmla="*/ 572 h 586"/>
                  <a:gd name="T30" fmla="*/ 326 w 467"/>
                  <a:gd name="T31" fmla="*/ 538 h 586"/>
                  <a:gd name="T32" fmla="*/ 360 w 467"/>
                  <a:gd name="T33" fmla="*/ 502 h 586"/>
                  <a:gd name="T34" fmla="*/ 382 w 467"/>
                  <a:gd name="T35" fmla="*/ 490 h 586"/>
                  <a:gd name="T36" fmla="*/ 354 w 467"/>
                  <a:gd name="T37" fmla="*/ 462 h 586"/>
                  <a:gd name="T38" fmla="*/ 326 w 467"/>
                  <a:gd name="T39" fmla="*/ 414 h 586"/>
                  <a:gd name="T40" fmla="*/ 306 w 467"/>
                  <a:gd name="T41" fmla="*/ 372 h 586"/>
                  <a:gd name="T42" fmla="*/ 320 w 467"/>
                  <a:gd name="T43" fmla="*/ 352 h 586"/>
                  <a:gd name="T44" fmla="*/ 368 w 467"/>
                  <a:gd name="T45" fmla="*/ 344 h 586"/>
                  <a:gd name="T46" fmla="*/ 424 w 467"/>
                  <a:gd name="T47" fmla="*/ 310 h 586"/>
                  <a:gd name="T48" fmla="*/ 465 w 467"/>
                  <a:gd name="T49" fmla="*/ 308 h 586"/>
                  <a:gd name="T50" fmla="*/ 459 w 467"/>
                  <a:gd name="T51" fmla="*/ 264 h 586"/>
                  <a:gd name="T52" fmla="*/ 453 w 467"/>
                  <a:gd name="T53" fmla="*/ 210 h 586"/>
                  <a:gd name="T54" fmla="*/ 434 w 467"/>
                  <a:gd name="T55" fmla="*/ 180 h 586"/>
                  <a:gd name="T56" fmla="*/ 443 w 467"/>
                  <a:gd name="T57" fmla="*/ 140 h 586"/>
                  <a:gd name="T58" fmla="*/ 410 w 467"/>
                  <a:gd name="T59" fmla="*/ 98 h 586"/>
                  <a:gd name="T60" fmla="*/ 382 w 467"/>
                  <a:gd name="T61" fmla="*/ 70 h 586"/>
                  <a:gd name="T62" fmla="*/ 354 w 467"/>
                  <a:gd name="T63" fmla="*/ 70 h 586"/>
                  <a:gd name="T64" fmla="*/ 312 w 467"/>
                  <a:gd name="T65" fmla="*/ 84 h 586"/>
                  <a:gd name="T66" fmla="*/ 284 w 467"/>
                  <a:gd name="T67" fmla="*/ 70 h 586"/>
                  <a:gd name="T68" fmla="*/ 278 w 467"/>
                  <a:gd name="T69" fmla="*/ 56 h 586"/>
                  <a:gd name="T70" fmla="*/ 250 w 467"/>
                  <a:gd name="T71" fmla="*/ 42 h 586"/>
                  <a:gd name="T72" fmla="*/ 236 w 467"/>
                  <a:gd name="T73" fmla="*/ 22 h 586"/>
                  <a:gd name="T74" fmla="*/ 196 w 467"/>
                  <a:gd name="T75" fmla="*/ 0 h 586"/>
                  <a:gd name="T76" fmla="*/ 188 w 467"/>
                  <a:gd name="T77" fmla="*/ 42 h 586"/>
                  <a:gd name="T78" fmla="*/ 188 w 467"/>
                  <a:gd name="T79" fmla="*/ 64 h 586"/>
                  <a:gd name="T80" fmla="*/ 216 w 467"/>
                  <a:gd name="T81" fmla="*/ 104 h 586"/>
                  <a:gd name="T82" fmla="*/ 174 w 467"/>
                  <a:gd name="T83" fmla="*/ 90 h 586"/>
                  <a:gd name="T84" fmla="*/ 160 w 467"/>
                  <a:gd name="T85" fmla="*/ 112 h 586"/>
                  <a:gd name="T86" fmla="*/ 146 w 467"/>
                  <a:gd name="T87" fmla="*/ 104 h 586"/>
                  <a:gd name="T88" fmla="*/ 112 w 467"/>
                  <a:gd name="T89" fmla="*/ 84 h 586"/>
                  <a:gd name="T90" fmla="*/ 104 w 467"/>
                  <a:gd name="T91" fmla="*/ 104 h 586"/>
                  <a:gd name="T92" fmla="*/ 104 w 467"/>
                  <a:gd name="T93" fmla="*/ 138 h 586"/>
                  <a:gd name="T94" fmla="*/ 98 w 467"/>
                  <a:gd name="T95" fmla="*/ 172 h 586"/>
                  <a:gd name="T96" fmla="*/ 84 w 467"/>
                  <a:gd name="T97" fmla="*/ 214 h 586"/>
                  <a:gd name="T98" fmla="*/ 36 w 467"/>
                  <a:gd name="T99" fmla="*/ 214 h 586"/>
                  <a:gd name="T100" fmla="*/ 22 w 467"/>
                  <a:gd name="T101" fmla="*/ 256 h 586"/>
                  <a:gd name="T102" fmla="*/ 0 w 467"/>
                  <a:gd name="T103" fmla="*/ 296 h 586"/>
                  <a:gd name="T104" fmla="*/ 0 w 467"/>
                  <a:gd name="T105" fmla="*/ 318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7" h="586">
                    <a:moveTo>
                      <a:pt x="0" y="332"/>
                    </a:moveTo>
                    <a:lnTo>
                      <a:pt x="0" y="338"/>
                    </a:lnTo>
                    <a:lnTo>
                      <a:pt x="8" y="344"/>
                    </a:lnTo>
                    <a:lnTo>
                      <a:pt x="14" y="352"/>
                    </a:lnTo>
                    <a:lnTo>
                      <a:pt x="14" y="358"/>
                    </a:lnTo>
                    <a:lnTo>
                      <a:pt x="14" y="366"/>
                    </a:lnTo>
                    <a:lnTo>
                      <a:pt x="14" y="372"/>
                    </a:lnTo>
                    <a:lnTo>
                      <a:pt x="14" y="380"/>
                    </a:lnTo>
                    <a:lnTo>
                      <a:pt x="8" y="380"/>
                    </a:lnTo>
                    <a:lnTo>
                      <a:pt x="14" y="392"/>
                    </a:lnTo>
                    <a:lnTo>
                      <a:pt x="22" y="406"/>
                    </a:lnTo>
                    <a:lnTo>
                      <a:pt x="28" y="414"/>
                    </a:lnTo>
                    <a:lnTo>
                      <a:pt x="42" y="420"/>
                    </a:lnTo>
                    <a:lnTo>
                      <a:pt x="56" y="420"/>
                    </a:lnTo>
                    <a:lnTo>
                      <a:pt x="62" y="426"/>
                    </a:lnTo>
                    <a:lnTo>
                      <a:pt x="70" y="426"/>
                    </a:lnTo>
                    <a:lnTo>
                      <a:pt x="76" y="426"/>
                    </a:lnTo>
                    <a:lnTo>
                      <a:pt x="84" y="434"/>
                    </a:lnTo>
                    <a:lnTo>
                      <a:pt x="70" y="448"/>
                    </a:lnTo>
                    <a:lnTo>
                      <a:pt x="62" y="454"/>
                    </a:lnTo>
                    <a:lnTo>
                      <a:pt x="56" y="468"/>
                    </a:lnTo>
                    <a:lnTo>
                      <a:pt x="56" y="476"/>
                    </a:lnTo>
                    <a:lnTo>
                      <a:pt x="48" y="482"/>
                    </a:lnTo>
                    <a:lnTo>
                      <a:pt x="48" y="490"/>
                    </a:lnTo>
                    <a:lnTo>
                      <a:pt x="48" y="502"/>
                    </a:lnTo>
                    <a:lnTo>
                      <a:pt x="48" y="510"/>
                    </a:lnTo>
                    <a:lnTo>
                      <a:pt x="42" y="516"/>
                    </a:lnTo>
                    <a:lnTo>
                      <a:pt x="42" y="532"/>
                    </a:lnTo>
                    <a:lnTo>
                      <a:pt x="42" y="530"/>
                    </a:lnTo>
                    <a:lnTo>
                      <a:pt x="48" y="538"/>
                    </a:lnTo>
                    <a:lnTo>
                      <a:pt x="48" y="530"/>
                    </a:lnTo>
                    <a:lnTo>
                      <a:pt x="62" y="538"/>
                    </a:lnTo>
                    <a:lnTo>
                      <a:pt x="70" y="538"/>
                    </a:lnTo>
                    <a:lnTo>
                      <a:pt x="76" y="538"/>
                    </a:lnTo>
                    <a:lnTo>
                      <a:pt x="84" y="538"/>
                    </a:lnTo>
                    <a:lnTo>
                      <a:pt x="90" y="538"/>
                    </a:lnTo>
                    <a:lnTo>
                      <a:pt x="98" y="538"/>
                    </a:lnTo>
                    <a:lnTo>
                      <a:pt x="104" y="538"/>
                    </a:lnTo>
                    <a:lnTo>
                      <a:pt x="118" y="538"/>
                    </a:lnTo>
                    <a:lnTo>
                      <a:pt x="118" y="544"/>
                    </a:lnTo>
                    <a:lnTo>
                      <a:pt x="126" y="544"/>
                    </a:lnTo>
                    <a:lnTo>
                      <a:pt x="132" y="544"/>
                    </a:lnTo>
                    <a:lnTo>
                      <a:pt x="132" y="550"/>
                    </a:lnTo>
                    <a:lnTo>
                      <a:pt x="146" y="558"/>
                    </a:lnTo>
                    <a:lnTo>
                      <a:pt x="154" y="550"/>
                    </a:lnTo>
                    <a:lnTo>
                      <a:pt x="160" y="550"/>
                    </a:lnTo>
                    <a:lnTo>
                      <a:pt x="166" y="558"/>
                    </a:lnTo>
                    <a:lnTo>
                      <a:pt x="174" y="564"/>
                    </a:lnTo>
                    <a:lnTo>
                      <a:pt x="180" y="564"/>
                    </a:lnTo>
                    <a:lnTo>
                      <a:pt x="188" y="572"/>
                    </a:lnTo>
                    <a:lnTo>
                      <a:pt x="196" y="564"/>
                    </a:lnTo>
                    <a:lnTo>
                      <a:pt x="202" y="564"/>
                    </a:lnTo>
                    <a:lnTo>
                      <a:pt x="208" y="550"/>
                    </a:lnTo>
                    <a:lnTo>
                      <a:pt x="222" y="558"/>
                    </a:lnTo>
                    <a:lnTo>
                      <a:pt x="222" y="564"/>
                    </a:lnTo>
                    <a:lnTo>
                      <a:pt x="228" y="564"/>
                    </a:lnTo>
                    <a:lnTo>
                      <a:pt x="236" y="564"/>
                    </a:lnTo>
                    <a:lnTo>
                      <a:pt x="244" y="558"/>
                    </a:lnTo>
                    <a:lnTo>
                      <a:pt x="250" y="564"/>
                    </a:lnTo>
                    <a:lnTo>
                      <a:pt x="258" y="564"/>
                    </a:lnTo>
                    <a:lnTo>
                      <a:pt x="264" y="564"/>
                    </a:lnTo>
                    <a:lnTo>
                      <a:pt x="272" y="558"/>
                    </a:lnTo>
                    <a:lnTo>
                      <a:pt x="278" y="558"/>
                    </a:lnTo>
                    <a:lnTo>
                      <a:pt x="292" y="558"/>
                    </a:lnTo>
                    <a:lnTo>
                      <a:pt x="298" y="558"/>
                    </a:lnTo>
                    <a:lnTo>
                      <a:pt x="306" y="564"/>
                    </a:lnTo>
                    <a:lnTo>
                      <a:pt x="306" y="558"/>
                    </a:lnTo>
                    <a:lnTo>
                      <a:pt x="312" y="558"/>
                    </a:lnTo>
                    <a:lnTo>
                      <a:pt x="326" y="564"/>
                    </a:lnTo>
                    <a:lnTo>
                      <a:pt x="326" y="572"/>
                    </a:lnTo>
                    <a:lnTo>
                      <a:pt x="326" y="578"/>
                    </a:lnTo>
                    <a:lnTo>
                      <a:pt x="334" y="586"/>
                    </a:lnTo>
                    <a:lnTo>
                      <a:pt x="334" y="578"/>
                    </a:lnTo>
                    <a:lnTo>
                      <a:pt x="340" y="578"/>
                    </a:lnTo>
                    <a:lnTo>
                      <a:pt x="340" y="572"/>
                    </a:lnTo>
                    <a:lnTo>
                      <a:pt x="340" y="564"/>
                    </a:lnTo>
                    <a:lnTo>
                      <a:pt x="334" y="558"/>
                    </a:lnTo>
                    <a:lnTo>
                      <a:pt x="334" y="550"/>
                    </a:lnTo>
                    <a:lnTo>
                      <a:pt x="334" y="544"/>
                    </a:lnTo>
                    <a:lnTo>
                      <a:pt x="326" y="538"/>
                    </a:lnTo>
                    <a:lnTo>
                      <a:pt x="326" y="530"/>
                    </a:lnTo>
                    <a:lnTo>
                      <a:pt x="326" y="516"/>
                    </a:lnTo>
                    <a:lnTo>
                      <a:pt x="348" y="516"/>
                    </a:lnTo>
                    <a:lnTo>
                      <a:pt x="354" y="510"/>
                    </a:lnTo>
                    <a:lnTo>
                      <a:pt x="360" y="502"/>
                    </a:lnTo>
                    <a:lnTo>
                      <a:pt x="360" y="496"/>
                    </a:lnTo>
                    <a:lnTo>
                      <a:pt x="368" y="496"/>
                    </a:lnTo>
                    <a:lnTo>
                      <a:pt x="374" y="496"/>
                    </a:lnTo>
                    <a:lnTo>
                      <a:pt x="382" y="496"/>
                    </a:lnTo>
                    <a:lnTo>
                      <a:pt x="382" y="490"/>
                    </a:lnTo>
                    <a:lnTo>
                      <a:pt x="382" y="482"/>
                    </a:lnTo>
                    <a:lnTo>
                      <a:pt x="374" y="476"/>
                    </a:lnTo>
                    <a:lnTo>
                      <a:pt x="368" y="468"/>
                    </a:lnTo>
                    <a:lnTo>
                      <a:pt x="360" y="462"/>
                    </a:lnTo>
                    <a:lnTo>
                      <a:pt x="354" y="462"/>
                    </a:lnTo>
                    <a:lnTo>
                      <a:pt x="348" y="454"/>
                    </a:lnTo>
                    <a:lnTo>
                      <a:pt x="340" y="440"/>
                    </a:lnTo>
                    <a:lnTo>
                      <a:pt x="334" y="426"/>
                    </a:lnTo>
                    <a:lnTo>
                      <a:pt x="326" y="420"/>
                    </a:lnTo>
                    <a:lnTo>
                      <a:pt x="326" y="414"/>
                    </a:lnTo>
                    <a:lnTo>
                      <a:pt x="326" y="400"/>
                    </a:lnTo>
                    <a:lnTo>
                      <a:pt x="320" y="392"/>
                    </a:lnTo>
                    <a:lnTo>
                      <a:pt x="312" y="386"/>
                    </a:lnTo>
                    <a:lnTo>
                      <a:pt x="312" y="372"/>
                    </a:lnTo>
                    <a:lnTo>
                      <a:pt x="306" y="372"/>
                    </a:lnTo>
                    <a:lnTo>
                      <a:pt x="298" y="358"/>
                    </a:lnTo>
                    <a:lnTo>
                      <a:pt x="298" y="344"/>
                    </a:lnTo>
                    <a:lnTo>
                      <a:pt x="306" y="352"/>
                    </a:lnTo>
                    <a:lnTo>
                      <a:pt x="306" y="358"/>
                    </a:lnTo>
                    <a:lnTo>
                      <a:pt x="320" y="352"/>
                    </a:lnTo>
                    <a:lnTo>
                      <a:pt x="326" y="358"/>
                    </a:lnTo>
                    <a:lnTo>
                      <a:pt x="340" y="358"/>
                    </a:lnTo>
                    <a:lnTo>
                      <a:pt x="354" y="352"/>
                    </a:lnTo>
                    <a:lnTo>
                      <a:pt x="360" y="352"/>
                    </a:lnTo>
                    <a:lnTo>
                      <a:pt x="368" y="344"/>
                    </a:lnTo>
                    <a:lnTo>
                      <a:pt x="374" y="344"/>
                    </a:lnTo>
                    <a:lnTo>
                      <a:pt x="396" y="332"/>
                    </a:lnTo>
                    <a:lnTo>
                      <a:pt x="402" y="324"/>
                    </a:lnTo>
                    <a:lnTo>
                      <a:pt x="410" y="318"/>
                    </a:lnTo>
                    <a:lnTo>
                      <a:pt x="424" y="310"/>
                    </a:lnTo>
                    <a:lnTo>
                      <a:pt x="430" y="318"/>
                    </a:lnTo>
                    <a:lnTo>
                      <a:pt x="430" y="324"/>
                    </a:lnTo>
                    <a:lnTo>
                      <a:pt x="438" y="324"/>
                    </a:lnTo>
                    <a:lnTo>
                      <a:pt x="445" y="318"/>
                    </a:lnTo>
                    <a:lnTo>
                      <a:pt x="465" y="308"/>
                    </a:lnTo>
                    <a:lnTo>
                      <a:pt x="463" y="292"/>
                    </a:lnTo>
                    <a:lnTo>
                      <a:pt x="467" y="282"/>
                    </a:lnTo>
                    <a:lnTo>
                      <a:pt x="459" y="276"/>
                    </a:lnTo>
                    <a:lnTo>
                      <a:pt x="461" y="272"/>
                    </a:lnTo>
                    <a:lnTo>
                      <a:pt x="459" y="264"/>
                    </a:lnTo>
                    <a:lnTo>
                      <a:pt x="459" y="248"/>
                    </a:lnTo>
                    <a:lnTo>
                      <a:pt x="465" y="238"/>
                    </a:lnTo>
                    <a:lnTo>
                      <a:pt x="457" y="222"/>
                    </a:lnTo>
                    <a:lnTo>
                      <a:pt x="459" y="216"/>
                    </a:lnTo>
                    <a:lnTo>
                      <a:pt x="453" y="210"/>
                    </a:lnTo>
                    <a:lnTo>
                      <a:pt x="451" y="206"/>
                    </a:lnTo>
                    <a:lnTo>
                      <a:pt x="453" y="196"/>
                    </a:lnTo>
                    <a:lnTo>
                      <a:pt x="440" y="190"/>
                    </a:lnTo>
                    <a:lnTo>
                      <a:pt x="438" y="184"/>
                    </a:lnTo>
                    <a:lnTo>
                      <a:pt x="434" y="180"/>
                    </a:lnTo>
                    <a:lnTo>
                      <a:pt x="440" y="174"/>
                    </a:lnTo>
                    <a:lnTo>
                      <a:pt x="445" y="168"/>
                    </a:lnTo>
                    <a:lnTo>
                      <a:pt x="438" y="158"/>
                    </a:lnTo>
                    <a:lnTo>
                      <a:pt x="445" y="148"/>
                    </a:lnTo>
                    <a:lnTo>
                      <a:pt x="443" y="140"/>
                    </a:lnTo>
                    <a:lnTo>
                      <a:pt x="438" y="138"/>
                    </a:lnTo>
                    <a:lnTo>
                      <a:pt x="436" y="130"/>
                    </a:lnTo>
                    <a:lnTo>
                      <a:pt x="430" y="112"/>
                    </a:lnTo>
                    <a:lnTo>
                      <a:pt x="410" y="112"/>
                    </a:lnTo>
                    <a:lnTo>
                      <a:pt x="410" y="98"/>
                    </a:lnTo>
                    <a:lnTo>
                      <a:pt x="410" y="84"/>
                    </a:lnTo>
                    <a:lnTo>
                      <a:pt x="396" y="84"/>
                    </a:lnTo>
                    <a:lnTo>
                      <a:pt x="388" y="84"/>
                    </a:lnTo>
                    <a:lnTo>
                      <a:pt x="388" y="76"/>
                    </a:lnTo>
                    <a:lnTo>
                      <a:pt x="382" y="70"/>
                    </a:lnTo>
                    <a:lnTo>
                      <a:pt x="382" y="64"/>
                    </a:lnTo>
                    <a:lnTo>
                      <a:pt x="374" y="64"/>
                    </a:lnTo>
                    <a:lnTo>
                      <a:pt x="368" y="70"/>
                    </a:lnTo>
                    <a:lnTo>
                      <a:pt x="360" y="70"/>
                    </a:lnTo>
                    <a:lnTo>
                      <a:pt x="354" y="70"/>
                    </a:lnTo>
                    <a:lnTo>
                      <a:pt x="340" y="76"/>
                    </a:lnTo>
                    <a:lnTo>
                      <a:pt x="326" y="84"/>
                    </a:lnTo>
                    <a:lnTo>
                      <a:pt x="320" y="76"/>
                    </a:lnTo>
                    <a:lnTo>
                      <a:pt x="320" y="84"/>
                    </a:lnTo>
                    <a:lnTo>
                      <a:pt x="312" y="84"/>
                    </a:lnTo>
                    <a:lnTo>
                      <a:pt x="298" y="84"/>
                    </a:lnTo>
                    <a:lnTo>
                      <a:pt x="292" y="84"/>
                    </a:lnTo>
                    <a:lnTo>
                      <a:pt x="278" y="76"/>
                    </a:lnTo>
                    <a:lnTo>
                      <a:pt x="284" y="76"/>
                    </a:lnTo>
                    <a:lnTo>
                      <a:pt x="284" y="70"/>
                    </a:lnTo>
                    <a:lnTo>
                      <a:pt x="292" y="70"/>
                    </a:lnTo>
                    <a:lnTo>
                      <a:pt x="292" y="64"/>
                    </a:lnTo>
                    <a:lnTo>
                      <a:pt x="292" y="56"/>
                    </a:lnTo>
                    <a:lnTo>
                      <a:pt x="284" y="56"/>
                    </a:lnTo>
                    <a:lnTo>
                      <a:pt x="278" y="56"/>
                    </a:lnTo>
                    <a:lnTo>
                      <a:pt x="272" y="64"/>
                    </a:lnTo>
                    <a:lnTo>
                      <a:pt x="264" y="48"/>
                    </a:lnTo>
                    <a:lnTo>
                      <a:pt x="258" y="48"/>
                    </a:lnTo>
                    <a:lnTo>
                      <a:pt x="250" y="48"/>
                    </a:lnTo>
                    <a:lnTo>
                      <a:pt x="250" y="42"/>
                    </a:lnTo>
                    <a:lnTo>
                      <a:pt x="244" y="42"/>
                    </a:lnTo>
                    <a:lnTo>
                      <a:pt x="236" y="42"/>
                    </a:lnTo>
                    <a:lnTo>
                      <a:pt x="236" y="36"/>
                    </a:lnTo>
                    <a:lnTo>
                      <a:pt x="244" y="28"/>
                    </a:lnTo>
                    <a:lnTo>
                      <a:pt x="236" y="22"/>
                    </a:lnTo>
                    <a:lnTo>
                      <a:pt x="228" y="14"/>
                    </a:lnTo>
                    <a:lnTo>
                      <a:pt x="222" y="8"/>
                    </a:lnTo>
                    <a:lnTo>
                      <a:pt x="208" y="8"/>
                    </a:lnTo>
                    <a:lnTo>
                      <a:pt x="202" y="0"/>
                    </a:lnTo>
                    <a:lnTo>
                      <a:pt x="196" y="0"/>
                    </a:lnTo>
                    <a:lnTo>
                      <a:pt x="196" y="14"/>
                    </a:lnTo>
                    <a:lnTo>
                      <a:pt x="196" y="22"/>
                    </a:lnTo>
                    <a:lnTo>
                      <a:pt x="202" y="28"/>
                    </a:lnTo>
                    <a:lnTo>
                      <a:pt x="202" y="36"/>
                    </a:lnTo>
                    <a:lnTo>
                      <a:pt x="188" y="42"/>
                    </a:lnTo>
                    <a:lnTo>
                      <a:pt x="180" y="42"/>
                    </a:lnTo>
                    <a:lnTo>
                      <a:pt x="180" y="48"/>
                    </a:lnTo>
                    <a:lnTo>
                      <a:pt x="188" y="48"/>
                    </a:lnTo>
                    <a:lnTo>
                      <a:pt x="188" y="56"/>
                    </a:lnTo>
                    <a:lnTo>
                      <a:pt x="188" y="64"/>
                    </a:lnTo>
                    <a:lnTo>
                      <a:pt x="202" y="70"/>
                    </a:lnTo>
                    <a:lnTo>
                      <a:pt x="196" y="76"/>
                    </a:lnTo>
                    <a:lnTo>
                      <a:pt x="202" y="84"/>
                    </a:lnTo>
                    <a:lnTo>
                      <a:pt x="216" y="90"/>
                    </a:lnTo>
                    <a:lnTo>
                      <a:pt x="216" y="104"/>
                    </a:lnTo>
                    <a:lnTo>
                      <a:pt x="208" y="90"/>
                    </a:lnTo>
                    <a:lnTo>
                      <a:pt x="202" y="84"/>
                    </a:lnTo>
                    <a:lnTo>
                      <a:pt x="188" y="84"/>
                    </a:lnTo>
                    <a:lnTo>
                      <a:pt x="174" y="84"/>
                    </a:lnTo>
                    <a:lnTo>
                      <a:pt x="174" y="90"/>
                    </a:lnTo>
                    <a:lnTo>
                      <a:pt x="174" y="104"/>
                    </a:lnTo>
                    <a:lnTo>
                      <a:pt x="174" y="112"/>
                    </a:lnTo>
                    <a:lnTo>
                      <a:pt x="166" y="118"/>
                    </a:lnTo>
                    <a:lnTo>
                      <a:pt x="166" y="124"/>
                    </a:lnTo>
                    <a:lnTo>
                      <a:pt x="160" y="112"/>
                    </a:lnTo>
                    <a:lnTo>
                      <a:pt x="160" y="104"/>
                    </a:lnTo>
                    <a:lnTo>
                      <a:pt x="160" y="98"/>
                    </a:lnTo>
                    <a:lnTo>
                      <a:pt x="154" y="98"/>
                    </a:lnTo>
                    <a:lnTo>
                      <a:pt x="154" y="104"/>
                    </a:lnTo>
                    <a:lnTo>
                      <a:pt x="146" y="104"/>
                    </a:lnTo>
                    <a:lnTo>
                      <a:pt x="146" y="98"/>
                    </a:lnTo>
                    <a:lnTo>
                      <a:pt x="154" y="90"/>
                    </a:lnTo>
                    <a:lnTo>
                      <a:pt x="138" y="84"/>
                    </a:lnTo>
                    <a:lnTo>
                      <a:pt x="126" y="84"/>
                    </a:lnTo>
                    <a:lnTo>
                      <a:pt x="112" y="84"/>
                    </a:lnTo>
                    <a:lnTo>
                      <a:pt x="104" y="84"/>
                    </a:lnTo>
                    <a:lnTo>
                      <a:pt x="104" y="90"/>
                    </a:lnTo>
                    <a:lnTo>
                      <a:pt x="98" y="98"/>
                    </a:lnTo>
                    <a:lnTo>
                      <a:pt x="98" y="104"/>
                    </a:lnTo>
                    <a:lnTo>
                      <a:pt x="104" y="104"/>
                    </a:lnTo>
                    <a:lnTo>
                      <a:pt x="104" y="112"/>
                    </a:lnTo>
                    <a:lnTo>
                      <a:pt x="112" y="118"/>
                    </a:lnTo>
                    <a:lnTo>
                      <a:pt x="104" y="124"/>
                    </a:lnTo>
                    <a:lnTo>
                      <a:pt x="104" y="132"/>
                    </a:lnTo>
                    <a:lnTo>
                      <a:pt x="104" y="138"/>
                    </a:lnTo>
                    <a:lnTo>
                      <a:pt x="104" y="146"/>
                    </a:lnTo>
                    <a:lnTo>
                      <a:pt x="98" y="146"/>
                    </a:lnTo>
                    <a:lnTo>
                      <a:pt x="98" y="152"/>
                    </a:lnTo>
                    <a:lnTo>
                      <a:pt x="98" y="166"/>
                    </a:lnTo>
                    <a:lnTo>
                      <a:pt x="98" y="172"/>
                    </a:lnTo>
                    <a:lnTo>
                      <a:pt x="90" y="180"/>
                    </a:lnTo>
                    <a:lnTo>
                      <a:pt x="98" y="186"/>
                    </a:lnTo>
                    <a:lnTo>
                      <a:pt x="98" y="194"/>
                    </a:lnTo>
                    <a:lnTo>
                      <a:pt x="90" y="214"/>
                    </a:lnTo>
                    <a:lnTo>
                      <a:pt x="84" y="214"/>
                    </a:lnTo>
                    <a:lnTo>
                      <a:pt x="76" y="214"/>
                    </a:lnTo>
                    <a:lnTo>
                      <a:pt x="70" y="214"/>
                    </a:lnTo>
                    <a:lnTo>
                      <a:pt x="62" y="214"/>
                    </a:lnTo>
                    <a:lnTo>
                      <a:pt x="56" y="206"/>
                    </a:lnTo>
                    <a:lnTo>
                      <a:pt x="36" y="214"/>
                    </a:lnTo>
                    <a:lnTo>
                      <a:pt x="22" y="220"/>
                    </a:lnTo>
                    <a:lnTo>
                      <a:pt x="22" y="228"/>
                    </a:lnTo>
                    <a:lnTo>
                      <a:pt x="22" y="234"/>
                    </a:lnTo>
                    <a:lnTo>
                      <a:pt x="22" y="248"/>
                    </a:lnTo>
                    <a:lnTo>
                      <a:pt x="22" y="256"/>
                    </a:lnTo>
                    <a:lnTo>
                      <a:pt x="8" y="262"/>
                    </a:lnTo>
                    <a:lnTo>
                      <a:pt x="8" y="268"/>
                    </a:lnTo>
                    <a:lnTo>
                      <a:pt x="8" y="276"/>
                    </a:lnTo>
                    <a:lnTo>
                      <a:pt x="8" y="282"/>
                    </a:lnTo>
                    <a:lnTo>
                      <a:pt x="0" y="296"/>
                    </a:lnTo>
                    <a:lnTo>
                      <a:pt x="8" y="296"/>
                    </a:lnTo>
                    <a:lnTo>
                      <a:pt x="8" y="304"/>
                    </a:lnTo>
                    <a:lnTo>
                      <a:pt x="8" y="310"/>
                    </a:lnTo>
                    <a:lnTo>
                      <a:pt x="0" y="310"/>
                    </a:lnTo>
                    <a:lnTo>
                      <a:pt x="0" y="318"/>
                    </a:lnTo>
                    <a:lnTo>
                      <a:pt x="0" y="324"/>
                    </a:lnTo>
                    <a:lnTo>
                      <a:pt x="0" y="332"/>
                    </a:lnTo>
                    <a:lnTo>
                      <a:pt x="0" y="332"/>
                    </a:lnTo>
                    <a:lnTo>
                      <a:pt x="0" y="332"/>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4" name="Freeform 48"/>
              <p:cNvSpPr>
                <a:spLocks/>
              </p:cNvSpPr>
              <p:nvPr/>
            </p:nvSpPr>
            <p:spPr bwMode="gray">
              <a:xfrm>
                <a:off x="4473013" y="2444391"/>
                <a:ext cx="196894" cy="254057"/>
              </a:xfrm>
              <a:custGeom>
                <a:avLst/>
                <a:gdLst>
                  <a:gd name="T0" fmla="*/ 28 w 124"/>
                  <a:gd name="T1" fmla="*/ 146 h 160"/>
                  <a:gd name="T2" fmla="*/ 50 w 124"/>
                  <a:gd name="T3" fmla="*/ 152 h 160"/>
                  <a:gd name="T4" fmla="*/ 48 w 124"/>
                  <a:gd name="T5" fmla="*/ 160 h 160"/>
                  <a:gd name="T6" fmla="*/ 62 w 124"/>
                  <a:gd name="T7" fmla="*/ 152 h 160"/>
                  <a:gd name="T8" fmla="*/ 48 w 124"/>
                  <a:gd name="T9" fmla="*/ 138 h 160"/>
                  <a:gd name="T10" fmla="*/ 62 w 124"/>
                  <a:gd name="T11" fmla="*/ 132 h 160"/>
                  <a:gd name="T12" fmla="*/ 56 w 124"/>
                  <a:gd name="T13" fmla="*/ 118 h 160"/>
                  <a:gd name="T14" fmla="*/ 62 w 124"/>
                  <a:gd name="T15" fmla="*/ 110 h 160"/>
                  <a:gd name="T16" fmla="*/ 70 w 124"/>
                  <a:gd name="T17" fmla="*/ 104 h 160"/>
                  <a:gd name="T18" fmla="*/ 84 w 124"/>
                  <a:gd name="T19" fmla="*/ 96 h 160"/>
                  <a:gd name="T20" fmla="*/ 98 w 124"/>
                  <a:gd name="T21" fmla="*/ 82 h 160"/>
                  <a:gd name="T22" fmla="*/ 98 w 124"/>
                  <a:gd name="T23" fmla="*/ 62 h 160"/>
                  <a:gd name="T24" fmla="*/ 112 w 124"/>
                  <a:gd name="T25" fmla="*/ 56 h 160"/>
                  <a:gd name="T26" fmla="*/ 118 w 124"/>
                  <a:gd name="T27" fmla="*/ 62 h 160"/>
                  <a:gd name="T28" fmla="*/ 124 w 124"/>
                  <a:gd name="T29" fmla="*/ 48 h 160"/>
                  <a:gd name="T30" fmla="*/ 118 w 124"/>
                  <a:gd name="T31" fmla="*/ 34 h 160"/>
                  <a:gd name="T32" fmla="*/ 104 w 124"/>
                  <a:gd name="T33" fmla="*/ 34 h 160"/>
                  <a:gd name="T34" fmla="*/ 98 w 124"/>
                  <a:gd name="T35" fmla="*/ 28 h 160"/>
                  <a:gd name="T36" fmla="*/ 104 w 124"/>
                  <a:gd name="T37" fmla="*/ 14 h 160"/>
                  <a:gd name="T38" fmla="*/ 104 w 124"/>
                  <a:gd name="T39" fmla="*/ 6 h 160"/>
                  <a:gd name="T40" fmla="*/ 98 w 124"/>
                  <a:gd name="T41" fmla="*/ 0 h 160"/>
                  <a:gd name="T42" fmla="*/ 90 w 124"/>
                  <a:gd name="T43" fmla="*/ 6 h 160"/>
                  <a:gd name="T44" fmla="*/ 70 w 124"/>
                  <a:gd name="T45" fmla="*/ 6 h 160"/>
                  <a:gd name="T46" fmla="*/ 70 w 124"/>
                  <a:gd name="T47" fmla="*/ 20 h 160"/>
                  <a:gd name="T48" fmla="*/ 70 w 124"/>
                  <a:gd name="T49" fmla="*/ 34 h 160"/>
                  <a:gd name="T50" fmla="*/ 62 w 124"/>
                  <a:gd name="T51" fmla="*/ 20 h 160"/>
                  <a:gd name="T52" fmla="*/ 56 w 124"/>
                  <a:gd name="T53" fmla="*/ 20 h 160"/>
                  <a:gd name="T54" fmla="*/ 48 w 124"/>
                  <a:gd name="T55" fmla="*/ 14 h 160"/>
                  <a:gd name="T56" fmla="*/ 42 w 124"/>
                  <a:gd name="T57" fmla="*/ 28 h 160"/>
                  <a:gd name="T58" fmla="*/ 36 w 124"/>
                  <a:gd name="T59" fmla="*/ 34 h 160"/>
                  <a:gd name="T60" fmla="*/ 28 w 124"/>
                  <a:gd name="T61" fmla="*/ 20 h 160"/>
                  <a:gd name="T62" fmla="*/ 22 w 124"/>
                  <a:gd name="T63" fmla="*/ 14 h 160"/>
                  <a:gd name="T64" fmla="*/ 14 w 124"/>
                  <a:gd name="T65" fmla="*/ 20 h 160"/>
                  <a:gd name="T66" fmla="*/ 8 w 124"/>
                  <a:gd name="T67" fmla="*/ 34 h 160"/>
                  <a:gd name="T68" fmla="*/ 8 w 124"/>
                  <a:gd name="T69" fmla="*/ 56 h 160"/>
                  <a:gd name="T70" fmla="*/ 8 w 124"/>
                  <a:gd name="T71" fmla="*/ 70 h 160"/>
                  <a:gd name="T72" fmla="*/ 8 w 124"/>
                  <a:gd name="T73" fmla="*/ 82 h 160"/>
                  <a:gd name="T74" fmla="*/ 8 w 124"/>
                  <a:gd name="T75" fmla="*/ 96 h 160"/>
                  <a:gd name="T76" fmla="*/ 14 w 124"/>
                  <a:gd name="T77" fmla="*/ 104 h 160"/>
                  <a:gd name="T78" fmla="*/ 22 w 124"/>
                  <a:gd name="T79" fmla="*/ 118 h 160"/>
                  <a:gd name="T80" fmla="*/ 22 w 124"/>
                  <a:gd name="T81" fmla="*/ 138 h 160"/>
                  <a:gd name="T82" fmla="*/ 22 w 124"/>
                  <a:gd name="T83" fmla="*/ 152 h 160"/>
                  <a:gd name="T84" fmla="*/ 22 w 124"/>
                  <a:gd name="T85" fmla="*/ 14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4" h="160">
                    <a:moveTo>
                      <a:pt x="22" y="146"/>
                    </a:moveTo>
                    <a:lnTo>
                      <a:pt x="28" y="146"/>
                    </a:lnTo>
                    <a:lnTo>
                      <a:pt x="36" y="152"/>
                    </a:lnTo>
                    <a:lnTo>
                      <a:pt x="50" y="152"/>
                    </a:lnTo>
                    <a:lnTo>
                      <a:pt x="52" y="156"/>
                    </a:lnTo>
                    <a:lnTo>
                      <a:pt x="48" y="160"/>
                    </a:lnTo>
                    <a:lnTo>
                      <a:pt x="56" y="152"/>
                    </a:lnTo>
                    <a:lnTo>
                      <a:pt x="62" y="152"/>
                    </a:lnTo>
                    <a:lnTo>
                      <a:pt x="56" y="146"/>
                    </a:lnTo>
                    <a:lnTo>
                      <a:pt x="48" y="138"/>
                    </a:lnTo>
                    <a:lnTo>
                      <a:pt x="56" y="132"/>
                    </a:lnTo>
                    <a:lnTo>
                      <a:pt x="62" y="132"/>
                    </a:lnTo>
                    <a:lnTo>
                      <a:pt x="56" y="124"/>
                    </a:lnTo>
                    <a:lnTo>
                      <a:pt x="56" y="118"/>
                    </a:lnTo>
                    <a:lnTo>
                      <a:pt x="62" y="118"/>
                    </a:lnTo>
                    <a:lnTo>
                      <a:pt x="62" y="110"/>
                    </a:lnTo>
                    <a:lnTo>
                      <a:pt x="62" y="104"/>
                    </a:lnTo>
                    <a:lnTo>
                      <a:pt x="70" y="104"/>
                    </a:lnTo>
                    <a:lnTo>
                      <a:pt x="76" y="96"/>
                    </a:lnTo>
                    <a:lnTo>
                      <a:pt x="84" y="96"/>
                    </a:lnTo>
                    <a:lnTo>
                      <a:pt x="84" y="90"/>
                    </a:lnTo>
                    <a:lnTo>
                      <a:pt x="98" y="82"/>
                    </a:lnTo>
                    <a:lnTo>
                      <a:pt x="104" y="70"/>
                    </a:lnTo>
                    <a:lnTo>
                      <a:pt x="98" y="62"/>
                    </a:lnTo>
                    <a:lnTo>
                      <a:pt x="104" y="56"/>
                    </a:lnTo>
                    <a:lnTo>
                      <a:pt x="112" y="56"/>
                    </a:lnTo>
                    <a:lnTo>
                      <a:pt x="112" y="62"/>
                    </a:lnTo>
                    <a:lnTo>
                      <a:pt x="118" y="62"/>
                    </a:lnTo>
                    <a:lnTo>
                      <a:pt x="124" y="56"/>
                    </a:lnTo>
                    <a:lnTo>
                      <a:pt x="124" y="48"/>
                    </a:lnTo>
                    <a:lnTo>
                      <a:pt x="124" y="42"/>
                    </a:lnTo>
                    <a:lnTo>
                      <a:pt x="118" y="34"/>
                    </a:lnTo>
                    <a:lnTo>
                      <a:pt x="112" y="34"/>
                    </a:lnTo>
                    <a:lnTo>
                      <a:pt x="104" y="34"/>
                    </a:lnTo>
                    <a:lnTo>
                      <a:pt x="104" y="28"/>
                    </a:lnTo>
                    <a:lnTo>
                      <a:pt x="98" y="28"/>
                    </a:lnTo>
                    <a:lnTo>
                      <a:pt x="98" y="20"/>
                    </a:lnTo>
                    <a:lnTo>
                      <a:pt x="104" y="14"/>
                    </a:lnTo>
                    <a:lnTo>
                      <a:pt x="112" y="14"/>
                    </a:lnTo>
                    <a:lnTo>
                      <a:pt x="104" y="6"/>
                    </a:lnTo>
                    <a:lnTo>
                      <a:pt x="104" y="0"/>
                    </a:lnTo>
                    <a:lnTo>
                      <a:pt x="98" y="0"/>
                    </a:lnTo>
                    <a:lnTo>
                      <a:pt x="90" y="0"/>
                    </a:lnTo>
                    <a:lnTo>
                      <a:pt x="90" y="6"/>
                    </a:lnTo>
                    <a:lnTo>
                      <a:pt x="76" y="6"/>
                    </a:lnTo>
                    <a:lnTo>
                      <a:pt x="70" y="6"/>
                    </a:lnTo>
                    <a:lnTo>
                      <a:pt x="62" y="14"/>
                    </a:lnTo>
                    <a:lnTo>
                      <a:pt x="70" y="20"/>
                    </a:lnTo>
                    <a:lnTo>
                      <a:pt x="70" y="28"/>
                    </a:lnTo>
                    <a:lnTo>
                      <a:pt x="70" y="34"/>
                    </a:lnTo>
                    <a:lnTo>
                      <a:pt x="70" y="28"/>
                    </a:lnTo>
                    <a:lnTo>
                      <a:pt x="62" y="20"/>
                    </a:lnTo>
                    <a:lnTo>
                      <a:pt x="56" y="28"/>
                    </a:lnTo>
                    <a:lnTo>
                      <a:pt x="56" y="20"/>
                    </a:lnTo>
                    <a:lnTo>
                      <a:pt x="56" y="14"/>
                    </a:lnTo>
                    <a:lnTo>
                      <a:pt x="48" y="14"/>
                    </a:lnTo>
                    <a:lnTo>
                      <a:pt x="42" y="20"/>
                    </a:lnTo>
                    <a:lnTo>
                      <a:pt x="42" y="28"/>
                    </a:lnTo>
                    <a:lnTo>
                      <a:pt x="36" y="28"/>
                    </a:lnTo>
                    <a:lnTo>
                      <a:pt x="36" y="34"/>
                    </a:lnTo>
                    <a:lnTo>
                      <a:pt x="36" y="28"/>
                    </a:lnTo>
                    <a:lnTo>
                      <a:pt x="28" y="20"/>
                    </a:lnTo>
                    <a:lnTo>
                      <a:pt x="22" y="20"/>
                    </a:lnTo>
                    <a:lnTo>
                      <a:pt x="22" y="14"/>
                    </a:lnTo>
                    <a:lnTo>
                      <a:pt x="14" y="14"/>
                    </a:lnTo>
                    <a:lnTo>
                      <a:pt x="14" y="20"/>
                    </a:lnTo>
                    <a:lnTo>
                      <a:pt x="8" y="28"/>
                    </a:lnTo>
                    <a:lnTo>
                      <a:pt x="8" y="34"/>
                    </a:lnTo>
                    <a:lnTo>
                      <a:pt x="8" y="48"/>
                    </a:lnTo>
                    <a:lnTo>
                      <a:pt x="8" y="56"/>
                    </a:lnTo>
                    <a:lnTo>
                      <a:pt x="8" y="62"/>
                    </a:lnTo>
                    <a:lnTo>
                      <a:pt x="8" y="70"/>
                    </a:lnTo>
                    <a:lnTo>
                      <a:pt x="8" y="76"/>
                    </a:lnTo>
                    <a:lnTo>
                      <a:pt x="8" y="82"/>
                    </a:lnTo>
                    <a:lnTo>
                      <a:pt x="0" y="90"/>
                    </a:lnTo>
                    <a:lnTo>
                      <a:pt x="8" y="96"/>
                    </a:lnTo>
                    <a:lnTo>
                      <a:pt x="14" y="96"/>
                    </a:lnTo>
                    <a:lnTo>
                      <a:pt x="14" y="104"/>
                    </a:lnTo>
                    <a:lnTo>
                      <a:pt x="22" y="110"/>
                    </a:lnTo>
                    <a:lnTo>
                      <a:pt x="22" y="118"/>
                    </a:lnTo>
                    <a:lnTo>
                      <a:pt x="22" y="124"/>
                    </a:lnTo>
                    <a:lnTo>
                      <a:pt x="22" y="138"/>
                    </a:lnTo>
                    <a:lnTo>
                      <a:pt x="22" y="146"/>
                    </a:lnTo>
                    <a:lnTo>
                      <a:pt x="22" y="152"/>
                    </a:lnTo>
                    <a:lnTo>
                      <a:pt x="22" y="146"/>
                    </a:lnTo>
                    <a:lnTo>
                      <a:pt x="22" y="146"/>
                    </a:lnTo>
                    <a:lnTo>
                      <a:pt x="22" y="146"/>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5" name="Freeform 49"/>
              <p:cNvSpPr>
                <a:spLocks/>
              </p:cNvSpPr>
              <p:nvPr>
                <p:custDataLst>
                  <p:tags r:id="rId139"/>
                </p:custDataLst>
              </p:nvPr>
            </p:nvSpPr>
            <p:spPr bwMode="gray">
              <a:xfrm>
                <a:off x="3952198" y="3012842"/>
                <a:ext cx="254057" cy="263584"/>
              </a:xfrm>
              <a:custGeom>
                <a:avLst/>
                <a:gdLst>
                  <a:gd name="T0" fmla="*/ 146 w 160"/>
                  <a:gd name="T1" fmla="*/ 28 h 166"/>
                  <a:gd name="T2" fmla="*/ 132 w 160"/>
                  <a:gd name="T3" fmla="*/ 14 h 166"/>
                  <a:gd name="T4" fmla="*/ 118 w 160"/>
                  <a:gd name="T5" fmla="*/ 22 h 166"/>
                  <a:gd name="T6" fmla="*/ 112 w 160"/>
                  <a:gd name="T7" fmla="*/ 14 h 166"/>
                  <a:gd name="T8" fmla="*/ 84 w 160"/>
                  <a:gd name="T9" fmla="*/ 8 h 166"/>
                  <a:gd name="T10" fmla="*/ 76 w 160"/>
                  <a:gd name="T11" fmla="*/ 22 h 166"/>
                  <a:gd name="T12" fmla="*/ 56 w 160"/>
                  <a:gd name="T13" fmla="*/ 22 h 166"/>
                  <a:gd name="T14" fmla="*/ 50 w 160"/>
                  <a:gd name="T15" fmla="*/ 14 h 166"/>
                  <a:gd name="T16" fmla="*/ 36 w 160"/>
                  <a:gd name="T17" fmla="*/ 8 h 166"/>
                  <a:gd name="T18" fmla="*/ 28 w 160"/>
                  <a:gd name="T19" fmla="*/ 0 h 166"/>
                  <a:gd name="T20" fmla="*/ 14 w 160"/>
                  <a:gd name="T21" fmla="*/ 0 h 166"/>
                  <a:gd name="T22" fmla="*/ 0 w 160"/>
                  <a:gd name="T23" fmla="*/ 14 h 166"/>
                  <a:gd name="T24" fmla="*/ 0 w 160"/>
                  <a:gd name="T25" fmla="*/ 28 h 166"/>
                  <a:gd name="T26" fmla="*/ 8 w 160"/>
                  <a:gd name="T27" fmla="*/ 42 h 166"/>
                  <a:gd name="T28" fmla="*/ 14 w 160"/>
                  <a:gd name="T29" fmla="*/ 48 h 166"/>
                  <a:gd name="T30" fmla="*/ 20 w 160"/>
                  <a:gd name="T31" fmla="*/ 56 h 166"/>
                  <a:gd name="T32" fmla="*/ 28 w 160"/>
                  <a:gd name="T33" fmla="*/ 62 h 166"/>
                  <a:gd name="T34" fmla="*/ 36 w 160"/>
                  <a:gd name="T35" fmla="*/ 70 h 166"/>
                  <a:gd name="T36" fmla="*/ 50 w 160"/>
                  <a:gd name="T37" fmla="*/ 84 h 166"/>
                  <a:gd name="T38" fmla="*/ 62 w 160"/>
                  <a:gd name="T39" fmla="*/ 84 h 166"/>
                  <a:gd name="T40" fmla="*/ 62 w 160"/>
                  <a:gd name="T41" fmla="*/ 104 h 166"/>
                  <a:gd name="T42" fmla="*/ 62 w 160"/>
                  <a:gd name="T43" fmla="*/ 118 h 166"/>
                  <a:gd name="T44" fmla="*/ 76 w 160"/>
                  <a:gd name="T45" fmla="*/ 118 h 166"/>
                  <a:gd name="T46" fmla="*/ 84 w 160"/>
                  <a:gd name="T47" fmla="*/ 110 h 166"/>
                  <a:gd name="T48" fmla="*/ 90 w 160"/>
                  <a:gd name="T49" fmla="*/ 124 h 166"/>
                  <a:gd name="T50" fmla="*/ 98 w 160"/>
                  <a:gd name="T51" fmla="*/ 138 h 166"/>
                  <a:gd name="T52" fmla="*/ 104 w 160"/>
                  <a:gd name="T53" fmla="*/ 144 h 166"/>
                  <a:gd name="T54" fmla="*/ 118 w 160"/>
                  <a:gd name="T55" fmla="*/ 158 h 166"/>
                  <a:gd name="T56" fmla="*/ 126 w 160"/>
                  <a:gd name="T57" fmla="*/ 158 h 166"/>
                  <a:gd name="T58" fmla="*/ 134 w 160"/>
                  <a:gd name="T59" fmla="*/ 158 h 166"/>
                  <a:gd name="T60" fmla="*/ 134 w 160"/>
                  <a:gd name="T61" fmla="*/ 138 h 166"/>
                  <a:gd name="T62" fmla="*/ 134 w 160"/>
                  <a:gd name="T63" fmla="*/ 124 h 166"/>
                  <a:gd name="T64" fmla="*/ 148 w 160"/>
                  <a:gd name="T65" fmla="*/ 110 h 166"/>
                  <a:gd name="T66" fmla="*/ 154 w 160"/>
                  <a:gd name="T67" fmla="*/ 104 h 166"/>
                  <a:gd name="T68" fmla="*/ 160 w 160"/>
                  <a:gd name="T69" fmla="*/ 98 h 166"/>
                  <a:gd name="T70" fmla="*/ 160 w 160"/>
                  <a:gd name="T71" fmla="*/ 84 h 166"/>
                  <a:gd name="T72" fmla="*/ 160 w 160"/>
                  <a:gd name="T73" fmla="*/ 70 h 166"/>
                  <a:gd name="T74" fmla="*/ 160 w 160"/>
                  <a:gd name="T75" fmla="*/ 56 h 166"/>
                  <a:gd name="T76" fmla="*/ 160 w 160"/>
                  <a:gd name="T77" fmla="*/ 42 h 166"/>
                  <a:gd name="T78" fmla="*/ 160 w 160"/>
                  <a:gd name="T79" fmla="*/ 4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 h="166">
                    <a:moveTo>
                      <a:pt x="160" y="42"/>
                    </a:moveTo>
                    <a:lnTo>
                      <a:pt x="146" y="28"/>
                    </a:lnTo>
                    <a:lnTo>
                      <a:pt x="140" y="22"/>
                    </a:lnTo>
                    <a:lnTo>
                      <a:pt x="132" y="14"/>
                    </a:lnTo>
                    <a:lnTo>
                      <a:pt x="126" y="14"/>
                    </a:lnTo>
                    <a:lnTo>
                      <a:pt x="118" y="22"/>
                    </a:lnTo>
                    <a:lnTo>
                      <a:pt x="112" y="22"/>
                    </a:lnTo>
                    <a:lnTo>
                      <a:pt x="112" y="14"/>
                    </a:lnTo>
                    <a:lnTo>
                      <a:pt x="90" y="8"/>
                    </a:lnTo>
                    <a:lnTo>
                      <a:pt x="84" y="8"/>
                    </a:lnTo>
                    <a:lnTo>
                      <a:pt x="76" y="14"/>
                    </a:lnTo>
                    <a:lnTo>
                      <a:pt x="76" y="22"/>
                    </a:lnTo>
                    <a:lnTo>
                      <a:pt x="62" y="22"/>
                    </a:lnTo>
                    <a:lnTo>
                      <a:pt x="56" y="22"/>
                    </a:lnTo>
                    <a:lnTo>
                      <a:pt x="50" y="22"/>
                    </a:lnTo>
                    <a:lnTo>
                      <a:pt x="50" y="14"/>
                    </a:lnTo>
                    <a:lnTo>
                      <a:pt x="42" y="8"/>
                    </a:lnTo>
                    <a:lnTo>
                      <a:pt x="36" y="8"/>
                    </a:lnTo>
                    <a:lnTo>
                      <a:pt x="36" y="0"/>
                    </a:lnTo>
                    <a:lnTo>
                      <a:pt x="28" y="0"/>
                    </a:lnTo>
                    <a:lnTo>
                      <a:pt x="20" y="8"/>
                    </a:lnTo>
                    <a:lnTo>
                      <a:pt x="14" y="0"/>
                    </a:lnTo>
                    <a:lnTo>
                      <a:pt x="14" y="8"/>
                    </a:lnTo>
                    <a:lnTo>
                      <a:pt x="0" y="14"/>
                    </a:lnTo>
                    <a:lnTo>
                      <a:pt x="0" y="22"/>
                    </a:lnTo>
                    <a:lnTo>
                      <a:pt x="0" y="28"/>
                    </a:lnTo>
                    <a:lnTo>
                      <a:pt x="0" y="34"/>
                    </a:lnTo>
                    <a:lnTo>
                      <a:pt x="8" y="42"/>
                    </a:lnTo>
                    <a:lnTo>
                      <a:pt x="8" y="48"/>
                    </a:lnTo>
                    <a:lnTo>
                      <a:pt x="14" y="48"/>
                    </a:lnTo>
                    <a:lnTo>
                      <a:pt x="20" y="48"/>
                    </a:lnTo>
                    <a:lnTo>
                      <a:pt x="20" y="56"/>
                    </a:lnTo>
                    <a:lnTo>
                      <a:pt x="20" y="62"/>
                    </a:lnTo>
                    <a:lnTo>
                      <a:pt x="28" y="62"/>
                    </a:lnTo>
                    <a:lnTo>
                      <a:pt x="36" y="62"/>
                    </a:lnTo>
                    <a:lnTo>
                      <a:pt x="36" y="70"/>
                    </a:lnTo>
                    <a:lnTo>
                      <a:pt x="42" y="84"/>
                    </a:lnTo>
                    <a:lnTo>
                      <a:pt x="50" y="84"/>
                    </a:lnTo>
                    <a:lnTo>
                      <a:pt x="56" y="84"/>
                    </a:lnTo>
                    <a:lnTo>
                      <a:pt x="62" y="84"/>
                    </a:lnTo>
                    <a:lnTo>
                      <a:pt x="62" y="98"/>
                    </a:lnTo>
                    <a:lnTo>
                      <a:pt x="62" y="104"/>
                    </a:lnTo>
                    <a:lnTo>
                      <a:pt x="56" y="110"/>
                    </a:lnTo>
                    <a:lnTo>
                      <a:pt x="62" y="118"/>
                    </a:lnTo>
                    <a:lnTo>
                      <a:pt x="70" y="118"/>
                    </a:lnTo>
                    <a:lnTo>
                      <a:pt x="76" y="118"/>
                    </a:lnTo>
                    <a:lnTo>
                      <a:pt x="76" y="110"/>
                    </a:lnTo>
                    <a:lnTo>
                      <a:pt x="84" y="110"/>
                    </a:lnTo>
                    <a:lnTo>
                      <a:pt x="84" y="118"/>
                    </a:lnTo>
                    <a:lnTo>
                      <a:pt x="90" y="124"/>
                    </a:lnTo>
                    <a:lnTo>
                      <a:pt x="90" y="132"/>
                    </a:lnTo>
                    <a:lnTo>
                      <a:pt x="98" y="138"/>
                    </a:lnTo>
                    <a:lnTo>
                      <a:pt x="98" y="144"/>
                    </a:lnTo>
                    <a:lnTo>
                      <a:pt x="104" y="144"/>
                    </a:lnTo>
                    <a:lnTo>
                      <a:pt x="112" y="152"/>
                    </a:lnTo>
                    <a:lnTo>
                      <a:pt x="118" y="158"/>
                    </a:lnTo>
                    <a:lnTo>
                      <a:pt x="118" y="166"/>
                    </a:lnTo>
                    <a:lnTo>
                      <a:pt x="126" y="158"/>
                    </a:lnTo>
                    <a:lnTo>
                      <a:pt x="132" y="158"/>
                    </a:lnTo>
                    <a:lnTo>
                      <a:pt x="134" y="158"/>
                    </a:lnTo>
                    <a:lnTo>
                      <a:pt x="138" y="146"/>
                    </a:lnTo>
                    <a:lnTo>
                      <a:pt x="134" y="138"/>
                    </a:lnTo>
                    <a:lnTo>
                      <a:pt x="134" y="132"/>
                    </a:lnTo>
                    <a:lnTo>
                      <a:pt x="134" y="124"/>
                    </a:lnTo>
                    <a:lnTo>
                      <a:pt x="140" y="118"/>
                    </a:lnTo>
                    <a:lnTo>
                      <a:pt x="148" y="110"/>
                    </a:lnTo>
                    <a:lnTo>
                      <a:pt x="154" y="110"/>
                    </a:lnTo>
                    <a:lnTo>
                      <a:pt x="154" y="104"/>
                    </a:lnTo>
                    <a:lnTo>
                      <a:pt x="154" y="98"/>
                    </a:lnTo>
                    <a:lnTo>
                      <a:pt x="160" y="98"/>
                    </a:lnTo>
                    <a:lnTo>
                      <a:pt x="160" y="90"/>
                    </a:lnTo>
                    <a:lnTo>
                      <a:pt x="160" y="84"/>
                    </a:lnTo>
                    <a:lnTo>
                      <a:pt x="154" y="84"/>
                    </a:lnTo>
                    <a:lnTo>
                      <a:pt x="160" y="70"/>
                    </a:lnTo>
                    <a:lnTo>
                      <a:pt x="160" y="62"/>
                    </a:lnTo>
                    <a:lnTo>
                      <a:pt x="160" y="56"/>
                    </a:lnTo>
                    <a:lnTo>
                      <a:pt x="160" y="48"/>
                    </a:lnTo>
                    <a:lnTo>
                      <a:pt x="160" y="42"/>
                    </a:lnTo>
                    <a:lnTo>
                      <a:pt x="160" y="42"/>
                    </a:lnTo>
                    <a:lnTo>
                      <a:pt x="160" y="42"/>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6" name="Freeform 50"/>
              <p:cNvSpPr>
                <a:spLocks/>
              </p:cNvSpPr>
              <p:nvPr/>
            </p:nvSpPr>
            <p:spPr bwMode="gray">
              <a:xfrm>
                <a:off x="4161794" y="3187506"/>
                <a:ext cx="53987" cy="88920"/>
              </a:xfrm>
              <a:custGeom>
                <a:avLst/>
                <a:gdLst>
                  <a:gd name="T0" fmla="*/ 2 w 34"/>
                  <a:gd name="T1" fmla="*/ 48 h 56"/>
                  <a:gd name="T2" fmla="*/ 4 w 34"/>
                  <a:gd name="T3" fmla="*/ 36 h 56"/>
                  <a:gd name="T4" fmla="*/ 0 w 34"/>
                  <a:gd name="T5" fmla="*/ 28 h 56"/>
                  <a:gd name="T6" fmla="*/ 0 w 34"/>
                  <a:gd name="T7" fmla="*/ 22 h 56"/>
                  <a:gd name="T8" fmla="*/ 0 w 34"/>
                  <a:gd name="T9" fmla="*/ 14 h 56"/>
                  <a:gd name="T10" fmla="*/ 8 w 34"/>
                  <a:gd name="T11" fmla="*/ 8 h 56"/>
                  <a:gd name="T12" fmla="*/ 14 w 34"/>
                  <a:gd name="T13" fmla="*/ 0 h 56"/>
                  <a:gd name="T14" fmla="*/ 22 w 34"/>
                  <a:gd name="T15" fmla="*/ 8 h 56"/>
                  <a:gd name="T16" fmla="*/ 22 w 34"/>
                  <a:gd name="T17" fmla="*/ 14 h 56"/>
                  <a:gd name="T18" fmla="*/ 28 w 34"/>
                  <a:gd name="T19" fmla="*/ 22 h 56"/>
                  <a:gd name="T20" fmla="*/ 34 w 34"/>
                  <a:gd name="T21" fmla="*/ 28 h 56"/>
                  <a:gd name="T22" fmla="*/ 34 w 34"/>
                  <a:gd name="T23" fmla="*/ 34 h 56"/>
                  <a:gd name="T24" fmla="*/ 34 w 34"/>
                  <a:gd name="T25" fmla="*/ 42 h 56"/>
                  <a:gd name="T26" fmla="*/ 34 w 34"/>
                  <a:gd name="T27" fmla="*/ 48 h 56"/>
                  <a:gd name="T28" fmla="*/ 34 w 34"/>
                  <a:gd name="T29" fmla="*/ 56 h 56"/>
                  <a:gd name="T30" fmla="*/ 28 w 34"/>
                  <a:gd name="T31" fmla="*/ 56 h 56"/>
                  <a:gd name="T32" fmla="*/ 2 w 34"/>
                  <a:gd name="T33" fmla="*/ 48 h 56"/>
                  <a:gd name="T34" fmla="*/ 2 w 34"/>
                  <a:gd name="T35" fmla="*/ 48 h 56"/>
                  <a:gd name="T36" fmla="*/ 2 w 34"/>
                  <a:gd name="T37"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6">
                    <a:moveTo>
                      <a:pt x="2" y="48"/>
                    </a:moveTo>
                    <a:lnTo>
                      <a:pt x="4" y="36"/>
                    </a:lnTo>
                    <a:lnTo>
                      <a:pt x="0" y="28"/>
                    </a:lnTo>
                    <a:lnTo>
                      <a:pt x="0" y="22"/>
                    </a:lnTo>
                    <a:lnTo>
                      <a:pt x="0" y="14"/>
                    </a:lnTo>
                    <a:lnTo>
                      <a:pt x="8" y="8"/>
                    </a:lnTo>
                    <a:lnTo>
                      <a:pt x="14" y="0"/>
                    </a:lnTo>
                    <a:lnTo>
                      <a:pt x="22" y="8"/>
                    </a:lnTo>
                    <a:lnTo>
                      <a:pt x="22" y="14"/>
                    </a:lnTo>
                    <a:lnTo>
                      <a:pt x="28" y="22"/>
                    </a:lnTo>
                    <a:lnTo>
                      <a:pt x="34" y="28"/>
                    </a:lnTo>
                    <a:lnTo>
                      <a:pt x="34" y="34"/>
                    </a:lnTo>
                    <a:lnTo>
                      <a:pt x="34" y="42"/>
                    </a:lnTo>
                    <a:lnTo>
                      <a:pt x="34" y="48"/>
                    </a:lnTo>
                    <a:lnTo>
                      <a:pt x="34" y="56"/>
                    </a:lnTo>
                    <a:lnTo>
                      <a:pt x="28" y="56"/>
                    </a:lnTo>
                    <a:lnTo>
                      <a:pt x="2" y="48"/>
                    </a:lnTo>
                    <a:lnTo>
                      <a:pt x="2" y="48"/>
                    </a:lnTo>
                    <a:lnTo>
                      <a:pt x="2" y="48"/>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7" name="Freeform 51"/>
              <p:cNvSpPr>
                <a:spLocks/>
              </p:cNvSpPr>
              <p:nvPr>
                <p:custDataLst>
                  <p:tags r:id="rId140"/>
                </p:custDataLst>
              </p:nvPr>
            </p:nvSpPr>
            <p:spPr bwMode="gray">
              <a:xfrm>
                <a:off x="4072875" y="2815949"/>
                <a:ext cx="298516" cy="276286"/>
              </a:xfrm>
              <a:custGeom>
                <a:avLst/>
                <a:gdLst>
                  <a:gd name="T0" fmla="*/ 166 w 188"/>
                  <a:gd name="T1" fmla="*/ 28 h 174"/>
                  <a:gd name="T2" fmla="*/ 160 w 188"/>
                  <a:gd name="T3" fmla="*/ 0 h 174"/>
                  <a:gd name="T4" fmla="*/ 146 w 188"/>
                  <a:gd name="T5" fmla="*/ 8 h 174"/>
                  <a:gd name="T6" fmla="*/ 132 w 188"/>
                  <a:gd name="T7" fmla="*/ 8 h 174"/>
                  <a:gd name="T8" fmla="*/ 124 w 188"/>
                  <a:gd name="T9" fmla="*/ 8 h 174"/>
                  <a:gd name="T10" fmla="*/ 112 w 188"/>
                  <a:gd name="T11" fmla="*/ 8 h 174"/>
                  <a:gd name="T12" fmla="*/ 90 w 188"/>
                  <a:gd name="T13" fmla="*/ 22 h 174"/>
                  <a:gd name="T14" fmla="*/ 90 w 188"/>
                  <a:gd name="T15" fmla="*/ 36 h 174"/>
                  <a:gd name="T16" fmla="*/ 90 w 188"/>
                  <a:gd name="T17" fmla="*/ 50 h 174"/>
                  <a:gd name="T18" fmla="*/ 76 w 188"/>
                  <a:gd name="T19" fmla="*/ 76 h 174"/>
                  <a:gd name="T20" fmla="*/ 62 w 188"/>
                  <a:gd name="T21" fmla="*/ 76 h 174"/>
                  <a:gd name="T22" fmla="*/ 70 w 188"/>
                  <a:gd name="T23" fmla="*/ 56 h 174"/>
                  <a:gd name="T24" fmla="*/ 70 w 188"/>
                  <a:gd name="T25" fmla="*/ 50 h 174"/>
                  <a:gd name="T26" fmla="*/ 76 w 188"/>
                  <a:gd name="T27" fmla="*/ 36 h 174"/>
                  <a:gd name="T28" fmla="*/ 56 w 188"/>
                  <a:gd name="T29" fmla="*/ 28 h 174"/>
                  <a:gd name="T30" fmla="*/ 56 w 188"/>
                  <a:gd name="T31" fmla="*/ 28 h 174"/>
                  <a:gd name="T32" fmla="*/ 48 w 188"/>
                  <a:gd name="T33" fmla="*/ 56 h 174"/>
                  <a:gd name="T34" fmla="*/ 42 w 188"/>
                  <a:gd name="T35" fmla="*/ 70 h 174"/>
                  <a:gd name="T36" fmla="*/ 34 w 188"/>
                  <a:gd name="T37" fmla="*/ 76 h 174"/>
                  <a:gd name="T38" fmla="*/ 14 w 188"/>
                  <a:gd name="T39" fmla="*/ 84 h 174"/>
                  <a:gd name="T40" fmla="*/ 20 w 188"/>
                  <a:gd name="T41" fmla="*/ 98 h 174"/>
                  <a:gd name="T42" fmla="*/ 8 w 188"/>
                  <a:gd name="T43" fmla="*/ 112 h 174"/>
                  <a:gd name="T44" fmla="*/ 0 w 188"/>
                  <a:gd name="T45" fmla="*/ 98 h 174"/>
                  <a:gd name="T46" fmla="*/ 0 w 188"/>
                  <a:gd name="T47" fmla="*/ 112 h 174"/>
                  <a:gd name="T48" fmla="*/ 8 w 188"/>
                  <a:gd name="T49" fmla="*/ 126 h 174"/>
                  <a:gd name="T50" fmla="*/ 34 w 188"/>
                  <a:gd name="T51" fmla="*/ 138 h 174"/>
                  <a:gd name="T52" fmla="*/ 42 w 188"/>
                  <a:gd name="T53" fmla="*/ 146 h 174"/>
                  <a:gd name="T54" fmla="*/ 56 w 188"/>
                  <a:gd name="T55" fmla="*/ 138 h 174"/>
                  <a:gd name="T56" fmla="*/ 70 w 188"/>
                  <a:gd name="T57" fmla="*/ 152 h 174"/>
                  <a:gd name="T58" fmla="*/ 82 w 188"/>
                  <a:gd name="T59" fmla="*/ 174 h 174"/>
                  <a:gd name="T60" fmla="*/ 96 w 188"/>
                  <a:gd name="T61" fmla="*/ 160 h 174"/>
                  <a:gd name="T62" fmla="*/ 96 w 188"/>
                  <a:gd name="T63" fmla="*/ 138 h 174"/>
                  <a:gd name="T64" fmla="*/ 112 w 188"/>
                  <a:gd name="T65" fmla="*/ 126 h 174"/>
                  <a:gd name="T66" fmla="*/ 138 w 188"/>
                  <a:gd name="T67" fmla="*/ 126 h 174"/>
                  <a:gd name="T68" fmla="*/ 152 w 188"/>
                  <a:gd name="T69" fmla="*/ 126 h 174"/>
                  <a:gd name="T70" fmla="*/ 166 w 188"/>
                  <a:gd name="T71" fmla="*/ 126 h 174"/>
                  <a:gd name="T72" fmla="*/ 174 w 188"/>
                  <a:gd name="T73" fmla="*/ 98 h 174"/>
                  <a:gd name="T74" fmla="*/ 174 w 188"/>
                  <a:gd name="T75" fmla="*/ 84 h 174"/>
                  <a:gd name="T76" fmla="*/ 174 w 188"/>
                  <a:gd name="T77" fmla="*/ 64 h 174"/>
                  <a:gd name="T78" fmla="*/ 180 w 188"/>
                  <a:gd name="T79" fmla="*/ 56 h 174"/>
                  <a:gd name="T80" fmla="*/ 180 w 188"/>
                  <a:gd name="T81" fmla="*/ 42 h 174"/>
                  <a:gd name="T82" fmla="*/ 188 w 188"/>
                  <a:gd name="T83" fmla="*/ 28 h 174"/>
                  <a:gd name="T84" fmla="*/ 174 w 188"/>
                  <a:gd name="T85" fmla="*/ 28 h 174"/>
                  <a:gd name="T86" fmla="*/ 174 w 188"/>
                  <a:gd name="T87" fmla="*/ 2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 h="174">
                    <a:moveTo>
                      <a:pt x="174" y="28"/>
                    </a:moveTo>
                    <a:lnTo>
                      <a:pt x="166" y="28"/>
                    </a:lnTo>
                    <a:lnTo>
                      <a:pt x="166" y="0"/>
                    </a:lnTo>
                    <a:lnTo>
                      <a:pt x="160" y="0"/>
                    </a:lnTo>
                    <a:lnTo>
                      <a:pt x="152" y="0"/>
                    </a:lnTo>
                    <a:lnTo>
                      <a:pt x="146" y="8"/>
                    </a:lnTo>
                    <a:lnTo>
                      <a:pt x="132" y="14"/>
                    </a:lnTo>
                    <a:lnTo>
                      <a:pt x="132" y="8"/>
                    </a:lnTo>
                    <a:lnTo>
                      <a:pt x="132" y="0"/>
                    </a:lnTo>
                    <a:lnTo>
                      <a:pt x="124" y="8"/>
                    </a:lnTo>
                    <a:lnTo>
                      <a:pt x="118" y="8"/>
                    </a:lnTo>
                    <a:lnTo>
                      <a:pt x="112" y="8"/>
                    </a:lnTo>
                    <a:lnTo>
                      <a:pt x="96" y="14"/>
                    </a:lnTo>
                    <a:lnTo>
                      <a:pt x="90" y="22"/>
                    </a:lnTo>
                    <a:lnTo>
                      <a:pt x="90" y="28"/>
                    </a:lnTo>
                    <a:lnTo>
                      <a:pt x="90" y="36"/>
                    </a:lnTo>
                    <a:lnTo>
                      <a:pt x="90" y="42"/>
                    </a:lnTo>
                    <a:lnTo>
                      <a:pt x="90" y="50"/>
                    </a:lnTo>
                    <a:lnTo>
                      <a:pt x="90" y="64"/>
                    </a:lnTo>
                    <a:lnTo>
                      <a:pt x="76" y="76"/>
                    </a:lnTo>
                    <a:lnTo>
                      <a:pt x="70" y="76"/>
                    </a:lnTo>
                    <a:lnTo>
                      <a:pt x="62" y="76"/>
                    </a:lnTo>
                    <a:lnTo>
                      <a:pt x="62" y="64"/>
                    </a:lnTo>
                    <a:lnTo>
                      <a:pt x="70" y="56"/>
                    </a:lnTo>
                    <a:lnTo>
                      <a:pt x="62" y="56"/>
                    </a:lnTo>
                    <a:lnTo>
                      <a:pt x="70" y="50"/>
                    </a:lnTo>
                    <a:lnTo>
                      <a:pt x="76" y="42"/>
                    </a:lnTo>
                    <a:lnTo>
                      <a:pt x="76" y="36"/>
                    </a:lnTo>
                    <a:lnTo>
                      <a:pt x="70" y="28"/>
                    </a:lnTo>
                    <a:lnTo>
                      <a:pt x="56" y="28"/>
                    </a:lnTo>
                    <a:lnTo>
                      <a:pt x="56" y="22"/>
                    </a:lnTo>
                    <a:lnTo>
                      <a:pt x="56" y="28"/>
                    </a:lnTo>
                    <a:lnTo>
                      <a:pt x="48" y="42"/>
                    </a:lnTo>
                    <a:lnTo>
                      <a:pt x="48" y="56"/>
                    </a:lnTo>
                    <a:lnTo>
                      <a:pt x="42" y="64"/>
                    </a:lnTo>
                    <a:lnTo>
                      <a:pt x="42" y="70"/>
                    </a:lnTo>
                    <a:lnTo>
                      <a:pt x="34" y="70"/>
                    </a:lnTo>
                    <a:lnTo>
                      <a:pt x="34" y="76"/>
                    </a:lnTo>
                    <a:lnTo>
                      <a:pt x="28" y="84"/>
                    </a:lnTo>
                    <a:lnTo>
                      <a:pt x="14" y="84"/>
                    </a:lnTo>
                    <a:lnTo>
                      <a:pt x="14" y="98"/>
                    </a:lnTo>
                    <a:lnTo>
                      <a:pt x="20" y="98"/>
                    </a:lnTo>
                    <a:lnTo>
                      <a:pt x="20" y="104"/>
                    </a:lnTo>
                    <a:lnTo>
                      <a:pt x="8" y="112"/>
                    </a:lnTo>
                    <a:lnTo>
                      <a:pt x="8" y="98"/>
                    </a:lnTo>
                    <a:lnTo>
                      <a:pt x="0" y="98"/>
                    </a:lnTo>
                    <a:lnTo>
                      <a:pt x="0" y="104"/>
                    </a:lnTo>
                    <a:lnTo>
                      <a:pt x="0" y="112"/>
                    </a:lnTo>
                    <a:lnTo>
                      <a:pt x="0" y="126"/>
                    </a:lnTo>
                    <a:lnTo>
                      <a:pt x="8" y="126"/>
                    </a:lnTo>
                    <a:lnTo>
                      <a:pt x="14" y="132"/>
                    </a:lnTo>
                    <a:lnTo>
                      <a:pt x="34" y="138"/>
                    </a:lnTo>
                    <a:lnTo>
                      <a:pt x="34" y="146"/>
                    </a:lnTo>
                    <a:lnTo>
                      <a:pt x="42" y="146"/>
                    </a:lnTo>
                    <a:lnTo>
                      <a:pt x="48" y="138"/>
                    </a:lnTo>
                    <a:lnTo>
                      <a:pt x="56" y="138"/>
                    </a:lnTo>
                    <a:lnTo>
                      <a:pt x="62" y="146"/>
                    </a:lnTo>
                    <a:lnTo>
                      <a:pt x="70" y="152"/>
                    </a:lnTo>
                    <a:lnTo>
                      <a:pt x="82" y="168"/>
                    </a:lnTo>
                    <a:lnTo>
                      <a:pt x="82" y="174"/>
                    </a:lnTo>
                    <a:lnTo>
                      <a:pt x="96" y="168"/>
                    </a:lnTo>
                    <a:lnTo>
                      <a:pt x="96" y="160"/>
                    </a:lnTo>
                    <a:lnTo>
                      <a:pt x="96" y="146"/>
                    </a:lnTo>
                    <a:lnTo>
                      <a:pt x="96" y="138"/>
                    </a:lnTo>
                    <a:lnTo>
                      <a:pt x="96" y="132"/>
                    </a:lnTo>
                    <a:lnTo>
                      <a:pt x="112" y="126"/>
                    </a:lnTo>
                    <a:lnTo>
                      <a:pt x="132" y="118"/>
                    </a:lnTo>
                    <a:lnTo>
                      <a:pt x="138" y="126"/>
                    </a:lnTo>
                    <a:lnTo>
                      <a:pt x="146" y="126"/>
                    </a:lnTo>
                    <a:lnTo>
                      <a:pt x="152" y="126"/>
                    </a:lnTo>
                    <a:lnTo>
                      <a:pt x="160" y="126"/>
                    </a:lnTo>
                    <a:lnTo>
                      <a:pt x="166" y="126"/>
                    </a:lnTo>
                    <a:lnTo>
                      <a:pt x="174" y="104"/>
                    </a:lnTo>
                    <a:lnTo>
                      <a:pt x="174" y="98"/>
                    </a:lnTo>
                    <a:lnTo>
                      <a:pt x="166" y="90"/>
                    </a:lnTo>
                    <a:lnTo>
                      <a:pt x="174" y="84"/>
                    </a:lnTo>
                    <a:lnTo>
                      <a:pt x="174" y="76"/>
                    </a:lnTo>
                    <a:lnTo>
                      <a:pt x="174" y="64"/>
                    </a:lnTo>
                    <a:lnTo>
                      <a:pt x="174" y="56"/>
                    </a:lnTo>
                    <a:lnTo>
                      <a:pt x="180" y="56"/>
                    </a:lnTo>
                    <a:lnTo>
                      <a:pt x="180" y="50"/>
                    </a:lnTo>
                    <a:lnTo>
                      <a:pt x="180" y="42"/>
                    </a:lnTo>
                    <a:lnTo>
                      <a:pt x="180" y="36"/>
                    </a:lnTo>
                    <a:lnTo>
                      <a:pt x="188" y="28"/>
                    </a:lnTo>
                    <a:lnTo>
                      <a:pt x="180" y="22"/>
                    </a:lnTo>
                    <a:lnTo>
                      <a:pt x="174" y="28"/>
                    </a:lnTo>
                    <a:lnTo>
                      <a:pt x="174" y="28"/>
                    </a:lnTo>
                    <a:lnTo>
                      <a:pt x="174" y="28"/>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8" name="Freeform 52"/>
              <p:cNvSpPr>
                <a:spLocks/>
              </p:cNvSpPr>
              <p:nvPr/>
            </p:nvSpPr>
            <p:spPr bwMode="gray">
              <a:xfrm>
                <a:off x="4517473" y="2352295"/>
                <a:ext cx="177840" cy="107974"/>
              </a:xfrm>
              <a:custGeom>
                <a:avLst/>
                <a:gdLst>
                  <a:gd name="T0" fmla="*/ 8 w 112"/>
                  <a:gd name="T1" fmla="*/ 68 h 68"/>
                  <a:gd name="T2" fmla="*/ 8 w 112"/>
                  <a:gd name="T3" fmla="*/ 62 h 68"/>
                  <a:gd name="T4" fmla="*/ 8 w 112"/>
                  <a:gd name="T5" fmla="*/ 54 h 68"/>
                  <a:gd name="T6" fmla="*/ 14 w 112"/>
                  <a:gd name="T7" fmla="*/ 48 h 68"/>
                  <a:gd name="T8" fmla="*/ 22 w 112"/>
                  <a:gd name="T9" fmla="*/ 48 h 68"/>
                  <a:gd name="T10" fmla="*/ 28 w 112"/>
                  <a:gd name="T11" fmla="*/ 48 h 68"/>
                  <a:gd name="T12" fmla="*/ 34 w 112"/>
                  <a:gd name="T13" fmla="*/ 48 h 68"/>
                  <a:gd name="T14" fmla="*/ 42 w 112"/>
                  <a:gd name="T15" fmla="*/ 48 h 68"/>
                  <a:gd name="T16" fmla="*/ 50 w 112"/>
                  <a:gd name="T17" fmla="*/ 48 h 68"/>
                  <a:gd name="T18" fmla="*/ 56 w 112"/>
                  <a:gd name="T19" fmla="*/ 42 h 68"/>
                  <a:gd name="T20" fmla="*/ 64 w 112"/>
                  <a:gd name="T21" fmla="*/ 42 h 68"/>
                  <a:gd name="T22" fmla="*/ 76 w 112"/>
                  <a:gd name="T23" fmla="*/ 42 h 68"/>
                  <a:gd name="T24" fmla="*/ 84 w 112"/>
                  <a:gd name="T25" fmla="*/ 48 h 68"/>
                  <a:gd name="T26" fmla="*/ 92 w 112"/>
                  <a:gd name="T27" fmla="*/ 54 h 68"/>
                  <a:gd name="T28" fmla="*/ 92 w 112"/>
                  <a:gd name="T29" fmla="*/ 48 h 68"/>
                  <a:gd name="T30" fmla="*/ 98 w 112"/>
                  <a:gd name="T31" fmla="*/ 42 h 68"/>
                  <a:gd name="T32" fmla="*/ 106 w 112"/>
                  <a:gd name="T33" fmla="*/ 34 h 68"/>
                  <a:gd name="T34" fmla="*/ 106 w 112"/>
                  <a:gd name="T35" fmla="*/ 20 h 68"/>
                  <a:gd name="T36" fmla="*/ 98 w 112"/>
                  <a:gd name="T37" fmla="*/ 20 h 68"/>
                  <a:gd name="T38" fmla="*/ 98 w 112"/>
                  <a:gd name="T39" fmla="*/ 14 h 68"/>
                  <a:gd name="T40" fmla="*/ 106 w 112"/>
                  <a:gd name="T41" fmla="*/ 6 h 68"/>
                  <a:gd name="T42" fmla="*/ 112 w 112"/>
                  <a:gd name="T43" fmla="*/ 0 h 68"/>
                  <a:gd name="T44" fmla="*/ 106 w 112"/>
                  <a:gd name="T45" fmla="*/ 0 h 68"/>
                  <a:gd name="T46" fmla="*/ 98 w 112"/>
                  <a:gd name="T47" fmla="*/ 6 h 68"/>
                  <a:gd name="T48" fmla="*/ 92 w 112"/>
                  <a:gd name="T49" fmla="*/ 6 h 68"/>
                  <a:gd name="T50" fmla="*/ 84 w 112"/>
                  <a:gd name="T51" fmla="*/ 6 h 68"/>
                  <a:gd name="T52" fmla="*/ 76 w 112"/>
                  <a:gd name="T53" fmla="*/ 14 h 68"/>
                  <a:gd name="T54" fmla="*/ 70 w 112"/>
                  <a:gd name="T55" fmla="*/ 14 h 68"/>
                  <a:gd name="T56" fmla="*/ 64 w 112"/>
                  <a:gd name="T57" fmla="*/ 20 h 68"/>
                  <a:gd name="T58" fmla="*/ 56 w 112"/>
                  <a:gd name="T59" fmla="*/ 28 h 68"/>
                  <a:gd name="T60" fmla="*/ 56 w 112"/>
                  <a:gd name="T61" fmla="*/ 34 h 68"/>
                  <a:gd name="T62" fmla="*/ 50 w 112"/>
                  <a:gd name="T63" fmla="*/ 42 h 68"/>
                  <a:gd name="T64" fmla="*/ 42 w 112"/>
                  <a:gd name="T65" fmla="*/ 42 h 68"/>
                  <a:gd name="T66" fmla="*/ 34 w 112"/>
                  <a:gd name="T67" fmla="*/ 42 h 68"/>
                  <a:gd name="T68" fmla="*/ 14 w 112"/>
                  <a:gd name="T69" fmla="*/ 42 h 68"/>
                  <a:gd name="T70" fmla="*/ 8 w 112"/>
                  <a:gd name="T71" fmla="*/ 42 h 68"/>
                  <a:gd name="T72" fmla="*/ 0 w 112"/>
                  <a:gd name="T73" fmla="*/ 48 h 68"/>
                  <a:gd name="T74" fmla="*/ 0 w 112"/>
                  <a:gd name="T75" fmla="*/ 54 h 68"/>
                  <a:gd name="T76" fmla="*/ 8 w 112"/>
                  <a:gd name="T77" fmla="*/ 68 h 68"/>
                  <a:gd name="T78" fmla="*/ 8 w 112"/>
                  <a:gd name="T79" fmla="*/ 68 h 68"/>
                  <a:gd name="T80" fmla="*/ 8 w 112"/>
                  <a:gd name="T8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68">
                    <a:moveTo>
                      <a:pt x="8" y="68"/>
                    </a:moveTo>
                    <a:lnTo>
                      <a:pt x="8" y="62"/>
                    </a:lnTo>
                    <a:lnTo>
                      <a:pt x="8" y="54"/>
                    </a:lnTo>
                    <a:lnTo>
                      <a:pt x="14" y="48"/>
                    </a:lnTo>
                    <a:lnTo>
                      <a:pt x="22" y="48"/>
                    </a:lnTo>
                    <a:lnTo>
                      <a:pt x="28" y="48"/>
                    </a:lnTo>
                    <a:lnTo>
                      <a:pt x="34" y="48"/>
                    </a:lnTo>
                    <a:lnTo>
                      <a:pt x="42" y="48"/>
                    </a:lnTo>
                    <a:lnTo>
                      <a:pt x="50" y="48"/>
                    </a:lnTo>
                    <a:lnTo>
                      <a:pt x="56" y="42"/>
                    </a:lnTo>
                    <a:lnTo>
                      <a:pt x="64" y="42"/>
                    </a:lnTo>
                    <a:lnTo>
                      <a:pt x="76" y="42"/>
                    </a:lnTo>
                    <a:lnTo>
                      <a:pt x="84" y="48"/>
                    </a:lnTo>
                    <a:lnTo>
                      <a:pt x="92" y="54"/>
                    </a:lnTo>
                    <a:lnTo>
                      <a:pt x="92" y="48"/>
                    </a:lnTo>
                    <a:lnTo>
                      <a:pt x="98" y="42"/>
                    </a:lnTo>
                    <a:lnTo>
                      <a:pt x="106" y="34"/>
                    </a:lnTo>
                    <a:lnTo>
                      <a:pt x="106" y="20"/>
                    </a:lnTo>
                    <a:lnTo>
                      <a:pt x="98" y="20"/>
                    </a:lnTo>
                    <a:lnTo>
                      <a:pt x="98" y="14"/>
                    </a:lnTo>
                    <a:lnTo>
                      <a:pt x="106" y="6"/>
                    </a:lnTo>
                    <a:lnTo>
                      <a:pt x="112" y="0"/>
                    </a:lnTo>
                    <a:lnTo>
                      <a:pt x="106" y="0"/>
                    </a:lnTo>
                    <a:lnTo>
                      <a:pt x="98" y="6"/>
                    </a:lnTo>
                    <a:lnTo>
                      <a:pt x="92" y="6"/>
                    </a:lnTo>
                    <a:lnTo>
                      <a:pt x="84" y="6"/>
                    </a:lnTo>
                    <a:lnTo>
                      <a:pt x="76" y="14"/>
                    </a:lnTo>
                    <a:lnTo>
                      <a:pt x="70" y="14"/>
                    </a:lnTo>
                    <a:lnTo>
                      <a:pt x="64" y="20"/>
                    </a:lnTo>
                    <a:lnTo>
                      <a:pt x="56" y="28"/>
                    </a:lnTo>
                    <a:lnTo>
                      <a:pt x="56" y="34"/>
                    </a:lnTo>
                    <a:lnTo>
                      <a:pt x="50" y="42"/>
                    </a:lnTo>
                    <a:lnTo>
                      <a:pt x="42" y="42"/>
                    </a:lnTo>
                    <a:lnTo>
                      <a:pt x="34" y="42"/>
                    </a:lnTo>
                    <a:lnTo>
                      <a:pt x="14" y="42"/>
                    </a:lnTo>
                    <a:lnTo>
                      <a:pt x="8" y="42"/>
                    </a:lnTo>
                    <a:lnTo>
                      <a:pt x="0" y="48"/>
                    </a:lnTo>
                    <a:lnTo>
                      <a:pt x="0" y="54"/>
                    </a:lnTo>
                    <a:lnTo>
                      <a:pt x="8" y="68"/>
                    </a:lnTo>
                    <a:lnTo>
                      <a:pt x="8" y="68"/>
                    </a:lnTo>
                    <a:lnTo>
                      <a:pt x="8" y="68"/>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9" name="Freeform 53"/>
              <p:cNvSpPr>
                <a:spLocks/>
              </p:cNvSpPr>
              <p:nvPr/>
            </p:nvSpPr>
            <p:spPr bwMode="gray">
              <a:xfrm>
                <a:off x="4596866" y="2615879"/>
                <a:ext cx="53987" cy="53987"/>
              </a:xfrm>
              <a:custGeom>
                <a:avLst/>
                <a:gdLst>
                  <a:gd name="T0" fmla="*/ 34 w 34"/>
                  <a:gd name="T1" fmla="*/ 34 h 34"/>
                  <a:gd name="T2" fmla="*/ 26 w 34"/>
                  <a:gd name="T3" fmla="*/ 34 h 34"/>
                  <a:gd name="T4" fmla="*/ 14 w 34"/>
                  <a:gd name="T5" fmla="*/ 34 h 34"/>
                  <a:gd name="T6" fmla="*/ 14 w 34"/>
                  <a:gd name="T7" fmla="*/ 28 h 34"/>
                  <a:gd name="T8" fmla="*/ 0 w 34"/>
                  <a:gd name="T9" fmla="*/ 28 h 34"/>
                  <a:gd name="T10" fmla="*/ 0 w 34"/>
                  <a:gd name="T11" fmla="*/ 14 h 34"/>
                  <a:gd name="T12" fmla="*/ 0 w 34"/>
                  <a:gd name="T13" fmla="*/ 6 h 34"/>
                  <a:gd name="T14" fmla="*/ 6 w 34"/>
                  <a:gd name="T15" fmla="*/ 6 h 34"/>
                  <a:gd name="T16" fmla="*/ 6 w 34"/>
                  <a:gd name="T17" fmla="*/ 0 h 34"/>
                  <a:gd name="T18" fmla="*/ 14 w 34"/>
                  <a:gd name="T19" fmla="*/ 6 h 34"/>
                  <a:gd name="T20" fmla="*/ 20 w 34"/>
                  <a:gd name="T21" fmla="*/ 0 h 34"/>
                  <a:gd name="T22" fmla="*/ 26 w 34"/>
                  <a:gd name="T23" fmla="*/ 6 h 34"/>
                  <a:gd name="T24" fmla="*/ 34 w 34"/>
                  <a:gd name="T25" fmla="*/ 6 h 34"/>
                  <a:gd name="T26" fmla="*/ 34 w 34"/>
                  <a:gd name="T27" fmla="*/ 14 h 34"/>
                  <a:gd name="T28" fmla="*/ 34 w 34"/>
                  <a:gd name="T29" fmla="*/ 20 h 34"/>
                  <a:gd name="T30" fmla="*/ 34 w 34"/>
                  <a:gd name="T31" fmla="*/ 28 h 34"/>
                  <a:gd name="T32" fmla="*/ 34 w 34"/>
                  <a:gd name="T33" fmla="*/ 34 h 34"/>
                  <a:gd name="T34" fmla="*/ 26 w 34"/>
                  <a:gd name="T35" fmla="*/ 34 h 34"/>
                  <a:gd name="T36" fmla="*/ 34 w 34"/>
                  <a:gd name="T37" fmla="*/ 34 h 34"/>
                  <a:gd name="T38" fmla="*/ 34 w 34"/>
                  <a:gd name="T39" fmla="*/ 34 h 34"/>
                  <a:gd name="T40" fmla="*/ 34 w 34"/>
                  <a:gd name="T4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34">
                    <a:moveTo>
                      <a:pt x="34" y="34"/>
                    </a:moveTo>
                    <a:lnTo>
                      <a:pt x="26" y="34"/>
                    </a:lnTo>
                    <a:lnTo>
                      <a:pt x="14" y="34"/>
                    </a:lnTo>
                    <a:lnTo>
                      <a:pt x="14" y="28"/>
                    </a:lnTo>
                    <a:lnTo>
                      <a:pt x="0" y="28"/>
                    </a:lnTo>
                    <a:lnTo>
                      <a:pt x="0" y="14"/>
                    </a:lnTo>
                    <a:lnTo>
                      <a:pt x="0" y="6"/>
                    </a:lnTo>
                    <a:lnTo>
                      <a:pt x="6" y="6"/>
                    </a:lnTo>
                    <a:lnTo>
                      <a:pt x="6" y="0"/>
                    </a:lnTo>
                    <a:lnTo>
                      <a:pt x="14" y="6"/>
                    </a:lnTo>
                    <a:lnTo>
                      <a:pt x="20" y="0"/>
                    </a:lnTo>
                    <a:lnTo>
                      <a:pt x="26" y="6"/>
                    </a:lnTo>
                    <a:lnTo>
                      <a:pt x="34" y="6"/>
                    </a:lnTo>
                    <a:lnTo>
                      <a:pt x="34" y="14"/>
                    </a:lnTo>
                    <a:lnTo>
                      <a:pt x="34" y="20"/>
                    </a:lnTo>
                    <a:lnTo>
                      <a:pt x="34" y="28"/>
                    </a:lnTo>
                    <a:lnTo>
                      <a:pt x="34" y="34"/>
                    </a:lnTo>
                    <a:lnTo>
                      <a:pt x="26" y="34"/>
                    </a:lnTo>
                    <a:lnTo>
                      <a:pt x="34" y="34"/>
                    </a:lnTo>
                    <a:lnTo>
                      <a:pt x="34" y="34"/>
                    </a:lnTo>
                    <a:lnTo>
                      <a:pt x="34" y="34"/>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0" name="Freeform 54"/>
              <p:cNvSpPr>
                <a:spLocks/>
              </p:cNvSpPr>
              <p:nvPr/>
            </p:nvSpPr>
            <p:spPr bwMode="gray">
              <a:xfrm>
                <a:off x="4666731" y="2558716"/>
                <a:ext cx="111150" cy="130204"/>
              </a:xfrm>
              <a:custGeom>
                <a:avLst/>
                <a:gdLst>
                  <a:gd name="T0" fmla="*/ 34 w 70"/>
                  <a:gd name="T1" fmla="*/ 82 h 82"/>
                  <a:gd name="T2" fmla="*/ 20 w 70"/>
                  <a:gd name="T3" fmla="*/ 76 h 82"/>
                  <a:gd name="T4" fmla="*/ 28 w 70"/>
                  <a:gd name="T5" fmla="*/ 76 h 82"/>
                  <a:gd name="T6" fmla="*/ 28 w 70"/>
                  <a:gd name="T7" fmla="*/ 68 h 82"/>
                  <a:gd name="T8" fmla="*/ 20 w 70"/>
                  <a:gd name="T9" fmla="*/ 68 h 82"/>
                  <a:gd name="T10" fmla="*/ 6 w 70"/>
                  <a:gd name="T11" fmla="*/ 68 h 82"/>
                  <a:gd name="T12" fmla="*/ 0 w 70"/>
                  <a:gd name="T13" fmla="*/ 62 h 82"/>
                  <a:gd name="T14" fmla="*/ 0 w 70"/>
                  <a:gd name="T15" fmla="*/ 56 h 82"/>
                  <a:gd name="T16" fmla="*/ 6 w 70"/>
                  <a:gd name="T17" fmla="*/ 48 h 82"/>
                  <a:gd name="T18" fmla="*/ 0 w 70"/>
                  <a:gd name="T19" fmla="*/ 42 h 82"/>
                  <a:gd name="T20" fmla="*/ 0 w 70"/>
                  <a:gd name="T21" fmla="*/ 34 h 82"/>
                  <a:gd name="T22" fmla="*/ 6 w 70"/>
                  <a:gd name="T23" fmla="*/ 28 h 82"/>
                  <a:gd name="T24" fmla="*/ 14 w 70"/>
                  <a:gd name="T25" fmla="*/ 28 h 82"/>
                  <a:gd name="T26" fmla="*/ 20 w 70"/>
                  <a:gd name="T27" fmla="*/ 22 h 82"/>
                  <a:gd name="T28" fmla="*/ 20 w 70"/>
                  <a:gd name="T29" fmla="*/ 14 h 82"/>
                  <a:gd name="T30" fmla="*/ 28 w 70"/>
                  <a:gd name="T31" fmla="*/ 14 h 82"/>
                  <a:gd name="T32" fmla="*/ 28 w 70"/>
                  <a:gd name="T33" fmla="*/ 22 h 82"/>
                  <a:gd name="T34" fmla="*/ 20 w 70"/>
                  <a:gd name="T35" fmla="*/ 28 h 82"/>
                  <a:gd name="T36" fmla="*/ 28 w 70"/>
                  <a:gd name="T37" fmla="*/ 34 h 82"/>
                  <a:gd name="T38" fmla="*/ 34 w 70"/>
                  <a:gd name="T39" fmla="*/ 34 h 82"/>
                  <a:gd name="T40" fmla="*/ 34 w 70"/>
                  <a:gd name="T41" fmla="*/ 28 h 82"/>
                  <a:gd name="T42" fmla="*/ 34 w 70"/>
                  <a:gd name="T43" fmla="*/ 22 h 82"/>
                  <a:gd name="T44" fmla="*/ 42 w 70"/>
                  <a:gd name="T45" fmla="*/ 22 h 82"/>
                  <a:gd name="T46" fmla="*/ 48 w 70"/>
                  <a:gd name="T47" fmla="*/ 22 h 82"/>
                  <a:gd name="T48" fmla="*/ 56 w 70"/>
                  <a:gd name="T49" fmla="*/ 14 h 82"/>
                  <a:gd name="T50" fmla="*/ 48 w 70"/>
                  <a:gd name="T51" fmla="*/ 8 h 82"/>
                  <a:gd name="T52" fmla="*/ 42 w 70"/>
                  <a:gd name="T53" fmla="*/ 8 h 82"/>
                  <a:gd name="T54" fmla="*/ 48 w 70"/>
                  <a:gd name="T55" fmla="*/ 0 h 82"/>
                  <a:gd name="T56" fmla="*/ 56 w 70"/>
                  <a:gd name="T57" fmla="*/ 0 h 82"/>
                  <a:gd name="T58" fmla="*/ 70 w 70"/>
                  <a:gd name="T59" fmla="*/ 0 h 82"/>
                  <a:gd name="T60" fmla="*/ 62 w 70"/>
                  <a:gd name="T61" fmla="*/ 8 h 82"/>
                  <a:gd name="T62" fmla="*/ 70 w 70"/>
                  <a:gd name="T63" fmla="*/ 8 h 82"/>
                  <a:gd name="T64" fmla="*/ 62 w 70"/>
                  <a:gd name="T65" fmla="*/ 14 h 82"/>
                  <a:gd name="T66" fmla="*/ 70 w 70"/>
                  <a:gd name="T67" fmla="*/ 28 h 82"/>
                  <a:gd name="T68" fmla="*/ 62 w 70"/>
                  <a:gd name="T69" fmla="*/ 34 h 82"/>
                  <a:gd name="T70" fmla="*/ 48 w 70"/>
                  <a:gd name="T71" fmla="*/ 48 h 82"/>
                  <a:gd name="T72" fmla="*/ 56 w 70"/>
                  <a:gd name="T73" fmla="*/ 56 h 82"/>
                  <a:gd name="T74" fmla="*/ 48 w 70"/>
                  <a:gd name="T75" fmla="*/ 68 h 82"/>
                  <a:gd name="T76" fmla="*/ 42 w 70"/>
                  <a:gd name="T77" fmla="*/ 68 h 82"/>
                  <a:gd name="T78" fmla="*/ 34 w 70"/>
                  <a:gd name="T79" fmla="*/ 76 h 82"/>
                  <a:gd name="T80" fmla="*/ 42 w 70"/>
                  <a:gd name="T81" fmla="*/ 82 h 82"/>
                  <a:gd name="T82" fmla="*/ 34 w 70"/>
                  <a:gd name="T83" fmla="*/ 82 h 82"/>
                  <a:gd name="T84" fmla="*/ 34 w 70"/>
                  <a:gd name="T85" fmla="*/ 82 h 82"/>
                  <a:gd name="T86" fmla="*/ 34 w 70"/>
                  <a:gd name="T8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 h="82">
                    <a:moveTo>
                      <a:pt x="34" y="82"/>
                    </a:moveTo>
                    <a:lnTo>
                      <a:pt x="20" y="76"/>
                    </a:lnTo>
                    <a:lnTo>
                      <a:pt x="28" y="76"/>
                    </a:lnTo>
                    <a:lnTo>
                      <a:pt x="28" y="68"/>
                    </a:lnTo>
                    <a:lnTo>
                      <a:pt x="20" y="68"/>
                    </a:lnTo>
                    <a:lnTo>
                      <a:pt x="6" y="68"/>
                    </a:lnTo>
                    <a:lnTo>
                      <a:pt x="0" y="62"/>
                    </a:lnTo>
                    <a:lnTo>
                      <a:pt x="0" y="56"/>
                    </a:lnTo>
                    <a:lnTo>
                      <a:pt x="6" y="48"/>
                    </a:lnTo>
                    <a:lnTo>
                      <a:pt x="0" y="42"/>
                    </a:lnTo>
                    <a:lnTo>
                      <a:pt x="0" y="34"/>
                    </a:lnTo>
                    <a:lnTo>
                      <a:pt x="6" y="28"/>
                    </a:lnTo>
                    <a:lnTo>
                      <a:pt x="14" y="28"/>
                    </a:lnTo>
                    <a:lnTo>
                      <a:pt x="20" y="22"/>
                    </a:lnTo>
                    <a:lnTo>
                      <a:pt x="20" y="14"/>
                    </a:lnTo>
                    <a:lnTo>
                      <a:pt x="28" y="14"/>
                    </a:lnTo>
                    <a:lnTo>
                      <a:pt x="28" y="22"/>
                    </a:lnTo>
                    <a:lnTo>
                      <a:pt x="20" y="28"/>
                    </a:lnTo>
                    <a:lnTo>
                      <a:pt x="28" y="34"/>
                    </a:lnTo>
                    <a:lnTo>
                      <a:pt x="34" y="34"/>
                    </a:lnTo>
                    <a:lnTo>
                      <a:pt x="34" y="28"/>
                    </a:lnTo>
                    <a:lnTo>
                      <a:pt x="34" y="22"/>
                    </a:lnTo>
                    <a:lnTo>
                      <a:pt x="42" y="22"/>
                    </a:lnTo>
                    <a:lnTo>
                      <a:pt x="48" y="22"/>
                    </a:lnTo>
                    <a:lnTo>
                      <a:pt x="56" y="14"/>
                    </a:lnTo>
                    <a:lnTo>
                      <a:pt x="48" y="8"/>
                    </a:lnTo>
                    <a:lnTo>
                      <a:pt x="42" y="8"/>
                    </a:lnTo>
                    <a:lnTo>
                      <a:pt x="48" y="0"/>
                    </a:lnTo>
                    <a:lnTo>
                      <a:pt x="56" y="0"/>
                    </a:lnTo>
                    <a:lnTo>
                      <a:pt x="70" y="0"/>
                    </a:lnTo>
                    <a:lnTo>
                      <a:pt x="62" y="8"/>
                    </a:lnTo>
                    <a:lnTo>
                      <a:pt x="70" y="8"/>
                    </a:lnTo>
                    <a:lnTo>
                      <a:pt x="62" y="14"/>
                    </a:lnTo>
                    <a:lnTo>
                      <a:pt x="70" y="28"/>
                    </a:lnTo>
                    <a:lnTo>
                      <a:pt x="62" y="34"/>
                    </a:lnTo>
                    <a:lnTo>
                      <a:pt x="48" y="48"/>
                    </a:lnTo>
                    <a:lnTo>
                      <a:pt x="56" y="56"/>
                    </a:lnTo>
                    <a:lnTo>
                      <a:pt x="48" y="68"/>
                    </a:lnTo>
                    <a:lnTo>
                      <a:pt x="42" y="68"/>
                    </a:lnTo>
                    <a:lnTo>
                      <a:pt x="34" y="76"/>
                    </a:lnTo>
                    <a:lnTo>
                      <a:pt x="42" y="82"/>
                    </a:lnTo>
                    <a:lnTo>
                      <a:pt x="34" y="82"/>
                    </a:lnTo>
                    <a:lnTo>
                      <a:pt x="34" y="82"/>
                    </a:lnTo>
                    <a:lnTo>
                      <a:pt x="34" y="82"/>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1" name="Freeform 55"/>
              <p:cNvSpPr>
                <a:spLocks/>
              </p:cNvSpPr>
              <p:nvPr/>
            </p:nvSpPr>
            <p:spPr bwMode="gray">
              <a:xfrm>
                <a:off x="4654029" y="2701623"/>
                <a:ext cx="44460" cy="31757"/>
              </a:xfrm>
              <a:custGeom>
                <a:avLst/>
                <a:gdLst>
                  <a:gd name="T0" fmla="*/ 22 w 28"/>
                  <a:gd name="T1" fmla="*/ 20 h 20"/>
                  <a:gd name="T2" fmla="*/ 14 w 28"/>
                  <a:gd name="T3" fmla="*/ 20 h 20"/>
                  <a:gd name="T4" fmla="*/ 8 w 28"/>
                  <a:gd name="T5" fmla="*/ 14 h 20"/>
                  <a:gd name="T6" fmla="*/ 0 w 28"/>
                  <a:gd name="T7" fmla="*/ 8 h 20"/>
                  <a:gd name="T8" fmla="*/ 0 w 28"/>
                  <a:gd name="T9" fmla="*/ 0 h 20"/>
                  <a:gd name="T10" fmla="*/ 8 w 28"/>
                  <a:gd name="T11" fmla="*/ 0 h 20"/>
                  <a:gd name="T12" fmla="*/ 14 w 28"/>
                  <a:gd name="T13" fmla="*/ 0 h 20"/>
                  <a:gd name="T14" fmla="*/ 14 w 28"/>
                  <a:gd name="T15" fmla="*/ 8 h 20"/>
                  <a:gd name="T16" fmla="*/ 22 w 28"/>
                  <a:gd name="T17" fmla="*/ 8 h 20"/>
                  <a:gd name="T18" fmla="*/ 28 w 28"/>
                  <a:gd name="T19" fmla="*/ 14 h 20"/>
                  <a:gd name="T20" fmla="*/ 28 w 28"/>
                  <a:gd name="T21" fmla="*/ 20 h 20"/>
                  <a:gd name="T22" fmla="*/ 22 w 28"/>
                  <a:gd name="T23" fmla="*/ 20 h 20"/>
                  <a:gd name="T24" fmla="*/ 22 w 28"/>
                  <a:gd name="T25" fmla="*/ 20 h 20"/>
                  <a:gd name="T26" fmla="*/ 22 w 28"/>
                  <a:gd name="T2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20">
                    <a:moveTo>
                      <a:pt x="22" y="20"/>
                    </a:moveTo>
                    <a:lnTo>
                      <a:pt x="14" y="20"/>
                    </a:lnTo>
                    <a:lnTo>
                      <a:pt x="8" y="14"/>
                    </a:lnTo>
                    <a:lnTo>
                      <a:pt x="0" y="8"/>
                    </a:lnTo>
                    <a:lnTo>
                      <a:pt x="0" y="0"/>
                    </a:lnTo>
                    <a:lnTo>
                      <a:pt x="8" y="0"/>
                    </a:lnTo>
                    <a:lnTo>
                      <a:pt x="14" y="0"/>
                    </a:lnTo>
                    <a:lnTo>
                      <a:pt x="14" y="8"/>
                    </a:lnTo>
                    <a:lnTo>
                      <a:pt x="22" y="8"/>
                    </a:lnTo>
                    <a:lnTo>
                      <a:pt x="28" y="14"/>
                    </a:lnTo>
                    <a:lnTo>
                      <a:pt x="28" y="20"/>
                    </a:lnTo>
                    <a:lnTo>
                      <a:pt x="22" y="20"/>
                    </a:lnTo>
                    <a:lnTo>
                      <a:pt x="22" y="20"/>
                    </a:lnTo>
                    <a:lnTo>
                      <a:pt x="22" y="20"/>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2" name="Freeform 56"/>
              <p:cNvSpPr>
                <a:spLocks/>
              </p:cNvSpPr>
              <p:nvPr/>
            </p:nvSpPr>
            <p:spPr bwMode="gray">
              <a:xfrm>
                <a:off x="4711192" y="2701623"/>
                <a:ext cx="22230" cy="31757"/>
              </a:xfrm>
              <a:custGeom>
                <a:avLst/>
                <a:gdLst>
                  <a:gd name="T0" fmla="*/ 0 w 14"/>
                  <a:gd name="T1" fmla="*/ 14 h 20"/>
                  <a:gd name="T2" fmla="*/ 0 w 14"/>
                  <a:gd name="T3" fmla="*/ 8 h 20"/>
                  <a:gd name="T4" fmla="*/ 0 w 14"/>
                  <a:gd name="T5" fmla="*/ 0 h 20"/>
                  <a:gd name="T6" fmla="*/ 8 w 14"/>
                  <a:gd name="T7" fmla="*/ 8 h 20"/>
                  <a:gd name="T8" fmla="*/ 14 w 14"/>
                  <a:gd name="T9" fmla="*/ 8 h 20"/>
                  <a:gd name="T10" fmla="*/ 14 w 14"/>
                  <a:gd name="T11" fmla="*/ 14 h 20"/>
                  <a:gd name="T12" fmla="*/ 8 w 14"/>
                  <a:gd name="T13" fmla="*/ 14 h 20"/>
                  <a:gd name="T14" fmla="*/ 8 w 14"/>
                  <a:gd name="T15" fmla="*/ 20 h 20"/>
                  <a:gd name="T16" fmla="*/ 0 w 14"/>
                  <a:gd name="T17" fmla="*/ 14 h 20"/>
                  <a:gd name="T18" fmla="*/ 0 w 14"/>
                  <a:gd name="T19" fmla="*/ 14 h 20"/>
                  <a:gd name="T20" fmla="*/ 0 w 14"/>
                  <a:gd name="T21"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20">
                    <a:moveTo>
                      <a:pt x="0" y="14"/>
                    </a:moveTo>
                    <a:lnTo>
                      <a:pt x="0" y="8"/>
                    </a:lnTo>
                    <a:lnTo>
                      <a:pt x="0" y="0"/>
                    </a:lnTo>
                    <a:lnTo>
                      <a:pt x="8" y="8"/>
                    </a:lnTo>
                    <a:lnTo>
                      <a:pt x="14" y="8"/>
                    </a:lnTo>
                    <a:lnTo>
                      <a:pt x="14" y="14"/>
                    </a:lnTo>
                    <a:lnTo>
                      <a:pt x="8" y="14"/>
                    </a:lnTo>
                    <a:lnTo>
                      <a:pt x="8" y="20"/>
                    </a:lnTo>
                    <a:lnTo>
                      <a:pt x="0" y="14"/>
                    </a:lnTo>
                    <a:lnTo>
                      <a:pt x="0" y="14"/>
                    </a:lnTo>
                    <a:lnTo>
                      <a:pt x="0" y="14"/>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3" name="Freeform 57"/>
              <p:cNvSpPr>
                <a:spLocks/>
              </p:cNvSpPr>
              <p:nvPr>
                <p:custDataLst>
                  <p:tags r:id="rId141"/>
                </p:custDataLst>
              </p:nvPr>
            </p:nvSpPr>
            <p:spPr bwMode="gray">
              <a:xfrm>
                <a:off x="4973627" y="3438171"/>
                <a:ext cx="555748" cy="349328"/>
              </a:xfrm>
              <a:custGeom>
                <a:avLst/>
                <a:gdLst>
                  <a:gd name="T0" fmla="*/ 56 w 350"/>
                  <a:gd name="T1" fmla="*/ 48 h 220"/>
                  <a:gd name="T2" fmla="*/ 70 w 350"/>
                  <a:gd name="T3" fmla="*/ 54 h 220"/>
                  <a:gd name="T4" fmla="*/ 84 w 350"/>
                  <a:gd name="T5" fmla="*/ 68 h 220"/>
                  <a:gd name="T6" fmla="*/ 104 w 350"/>
                  <a:gd name="T7" fmla="*/ 68 h 220"/>
                  <a:gd name="T8" fmla="*/ 114 w 350"/>
                  <a:gd name="T9" fmla="*/ 68 h 220"/>
                  <a:gd name="T10" fmla="*/ 138 w 350"/>
                  <a:gd name="T11" fmla="*/ 62 h 220"/>
                  <a:gd name="T12" fmla="*/ 138 w 350"/>
                  <a:gd name="T13" fmla="*/ 54 h 220"/>
                  <a:gd name="T14" fmla="*/ 150 w 350"/>
                  <a:gd name="T15" fmla="*/ 46 h 220"/>
                  <a:gd name="T16" fmla="*/ 166 w 350"/>
                  <a:gd name="T17" fmla="*/ 48 h 220"/>
                  <a:gd name="T18" fmla="*/ 188 w 350"/>
                  <a:gd name="T19" fmla="*/ 40 h 220"/>
                  <a:gd name="T20" fmla="*/ 208 w 350"/>
                  <a:gd name="T21" fmla="*/ 26 h 220"/>
                  <a:gd name="T22" fmla="*/ 222 w 350"/>
                  <a:gd name="T23" fmla="*/ 12 h 220"/>
                  <a:gd name="T24" fmla="*/ 230 w 350"/>
                  <a:gd name="T25" fmla="*/ 0 h 220"/>
                  <a:gd name="T26" fmla="*/ 242 w 350"/>
                  <a:gd name="T27" fmla="*/ 0 h 220"/>
                  <a:gd name="T28" fmla="*/ 264 w 350"/>
                  <a:gd name="T29" fmla="*/ 0 h 220"/>
                  <a:gd name="T30" fmla="*/ 278 w 350"/>
                  <a:gd name="T31" fmla="*/ 0 h 220"/>
                  <a:gd name="T32" fmla="*/ 284 w 350"/>
                  <a:gd name="T33" fmla="*/ 6 h 220"/>
                  <a:gd name="T34" fmla="*/ 304 w 350"/>
                  <a:gd name="T35" fmla="*/ 6 h 220"/>
                  <a:gd name="T36" fmla="*/ 322 w 350"/>
                  <a:gd name="T37" fmla="*/ 20 h 220"/>
                  <a:gd name="T38" fmla="*/ 334 w 350"/>
                  <a:gd name="T39" fmla="*/ 20 h 220"/>
                  <a:gd name="T40" fmla="*/ 350 w 350"/>
                  <a:gd name="T41" fmla="*/ 32 h 220"/>
                  <a:gd name="T42" fmla="*/ 348 w 350"/>
                  <a:gd name="T43" fmla="*/ 52 h 220"/>
                  <a:gd name="T44" fmla="*/ 328 w 350"/>
                  <a:gd name="T45" fmla="*/ 68 h 220"/>
                  <a:gd name="T46" fmla="*/ 314 w 350"/>
                  <a:gd name="T47" fmla="*/ 74 h 220"/>
                  <a:gd name="T48" fmla="*/ 306 w 350"/>
                  <a:gd name="T49" fmla="*/ 98 h 220"/>
                  <a:gd name="T50" fmla="*/ 300 w 350"/>
                  <a:gd name="T51" fmla="*/ 112 h 220"/>
                  <a:gd name="T52" fmla="*/ 288 w 350"/>
                  <a:gd name="T53" fmla="*/ 138 h 220"/>
                  <a:gd name="T54" fmla="*/ 274 w 350"/>
                  <a:gd name="T55" fmla="*/ 148 h 220"/>
                  <a:gd name="T56" fmla="*/ 262 w 350"/>
                  <a:gd name="T57" fmla="*/ 164 h 220"/>
                  <a:gd name="T58" fmla="*/ 252 w 350"/>
                  <a:gd name="T59" fmla="*/ 174 h 220"/>
                  <a:gd name="T60" fmla="*/ 244 w 350"/>
                  <a:gd name="T61" fmla="*/ 186 h 220"/>
                  <a:gd name="T62" fmla="*/ 214 w 350"/>
                  <a:gd name="T63" fmla="*/ 178 h 220"/>
                  <a:gd name="T64" fmla="*/ 208 w 350"/>
                  <a:gd name="T65" fmla="*/ 186 h 220"/>
                  <a:gd name="T66" fmla="*/ 188 w 350"/>
                  <a:gd name="T67" fmla="*/ 192 h 220"/>
                  <a:gd name="T68" fmla="*/ 166 w 350"/>
                  <a:gd name="T69" fmla="*/ 192 h 220"/>
                  <a:gd name="T70" fmla="*/ 146 w 350"/>
                  <a:gd name="T71" fmla="*/ 200 h 220"/>
                  <a:gd name="T72" fmla="*/ 132 w 350"/>
                  <a:gd name="T73" fmla="*/ 206 h 220"/>
                  <a:gd name="T74" fmla="*/ 118 w 350"/>
                  <a:gd name="T75" fmla="*/ 220 h 220"/>
                  <a:gd name="T76" fmla="*/ 96 w 350"/>
                  <a:gd name="T77" fmla="*/ 214 h 220"/>
                  <a:gd name="T78" fmla="*/ 84 w 350"/>
                  <a:gd name="T79" fmla="*/ 214 h 220"/>
                  <a:gd name="T80" fmla="*/ 70 w 350"/>
                  <a:gd name="T81" fmla="*/ 206 h 220"/>
                  <a:gd name="T82" fmla="*/ 62 w 350"/>
                  <a:gd name="T83" fmla="*/ 200 h 220"/>
                  <a:gd name="T84" fmla="*/ 48 w 350"/>
                  <a:gd name="T85" fmla="*/ 192 h 220"/>
                  <a:gd name="T86" fmla="*/ 34 w 350"/>
                  <a:gd name="T87" fmla="*/ 178 h 220"/>
                  <a:gd name="T88" fmla="*/ 28 w 350"/>
                  <a:gd name="T89" fmla="*/ 164 h 220"/>
                  <a:gd name="T90" fmla="*/ 20 w 350"/>
                  <a:gd name="T91" fmla="*/ 152 h 220"/>
                  <a:gd name="T92" fmla="*/ 14 w 350"/>
                  <a:gd name="T93" fmla="*/ 138 h 220"/>
                  <a:gd name="T94" fmla="*/ 0 w 350"/>
                  <a:gd name="T95" fmla="*/ 144 h 220"/>
                  <a:gd name="T96" fmla="*/ 8 w 350"/>
                  <a:gd name="T97" fmla="*/ 124 h 220"/>
                  <a:gd name="T98" fmla="*/ 20 w 350"/>
                  <a:gd name="T99" fmla="*/ 110 h 220"/>
                  <a:gd name="T100" fmla="*/ 28 w 350"/>
                  <a:gd name="T101" fmla="*/ 96 h 220"/>
                  <a:gd name="T102" fmla="*/ 28 w 350"/>
                  <a:gd name="T103" fmla="*/ 82 h 220"/>
                  <a:gd name="T104" fmla="*/ 20 w 350"/>
                  <a:gd name="T105" fmla="*/ 68 h 220"/>
                  <a:gd name="T106" fmla="*/ 32 w 350"/>
                  <a:gd name="T107" fmla="*/ 66 h 220"/>
                  <a:gd name="T108" fmla="*/ 42 w 350"/>
                  <a:gd name="T109" fmla="*/ 72 h 220"/>
                  <a:gd name="T110" fmla="*/ 48 w 350"/>
                  <a:gd name="T111" fmla="*/ 62 h 220"/>
                  <a:gd name="T112" fmla="*/ 40 w 350"/>
                  <a:gd name="T113" fmla="*/ 36 h 220"/>
                  <a:gd name="T114" fmla="*/ 40 w 350"/>
                  <a:gd name="T115" fmla="*/ 3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0" h="220">
                    <a:moveTo>
                      <a:pt x="40" y="36"/>
                    </a:moveTo>
                    <a:lnTo>
                      <a:pt x="56" y="48"/>
                    </a:lnTo>
                    <a:lnTo>
                      <a:pt x="62" y="54"/>
                    </a:lnTo>
                    <a:lnTo>
                      <a:pt x="70" y="54"/>
                    </a:lnTo>
                    <a:lnTo>
                      <a:pt x="76" y="62"/>
                    </a:lnTo>
                    <a:lnTo>
                      <a:pt x="84" y="68"/>
                    </a:lnTo>
                    <a:lnTo>
                      <a:pt x="96" y="68"/>
                    </a:lnTo>
                    <a:lnTo>
                      <a:pt x="104" y="68"/>
                    </a:lnTo>
                    <a:lnTo>
                      <a:pt x="112" y="68"/>
                    </a:lnTo>
                    <a:lnTo>
                      <a:pt x="114" y="68"/>
                    </a:lnTo>
                    <a:lnTo>
                      <a:pt x="132" y="62"/>
                    </a:lnTo>
                    <a:lnTo>
                      <a:pt x="138" y="62"/>
                    </a:lnTo>
                    <a:lnTo>
                      <a:pt x="134" y="56"/>
                    </a:lnTo>
                    <a:lnTo>
                      <a:pt x="138" y="54"/>
                    </a:lnTo>
                    <a:lnTo>
                      <a:pt x="138" y="48"/>
                    </a:lnTo>
                    <a:lnTo>
                      <a:pt x="150" y="46"/>
                    </a:lnTo>
                    <a:lnTo>
                      <a:pt x="158" y="48"/>
                    </a:lnTo>
                    <a:lnTo>
                      <a:pt x="166" y="48"/>
                    </a:lnTo>
                    <a:lnTo>
                      <a:pt x="174" y="48"/>
                    </a:lnTo>
                    <a:lnTo>
                      <a:pt x="188" y="40"/>
                    </a:lnTo>
                    <a:lnTo>
                      <a:pt x="194" y="34"/>
                    </a:lnTo>
                    <a:lnTo>
                      <a:pt x="208" y="26"/>
                    </a:lnTo>
                    <a:lnTo>
                      <a:pt x="214" y="20"/>
                    </a:lnTo>
                    <a:lnTo>
                      <a:pt x="222" y="12"/>
                    </a:lnTo>
                    <a:lnTo>
                      <a:pt x="222" y="6"/>
                    </a:lnTo>
                    <a:lnTo>
                      <a:pt x="230" y="0"/>
                    </a:lnTo>
                    <a:lnTo>
                      <a:pt x="236" y="0"/>
                    </a:lnTo>
                    <a:lnTo>
                      <a:pt x="242" y="0"/>
                    </a:lnTo>
                    <a:lnTo>
                      <a:pt x="256" y="0"/>
                    </a:lnTo>
                    <a:lnTo>
                      <a:pt x="264" y="0"/>
                    </a:lnTo>
                    <a:lnTo>
                      <a:pt x="270" y="0"/>
                    </a:lnTo>
                    <a:lnTo>
                      <a:pt x="278" y="0"/>
                    </a:lnTo>
                    <a:lnTo>
                      <a:pt x="278" y="6"/>
                    </a:lnTo>
                    <a:lnTo>
                      <a:pt x="284" y="6"/>
                    </a:lnTo>
                    <a:lnTo>
                      <a:pt x="292" y="12"/>
                    </a:lnTo>
                    <a:lnTo>
                      <a:pt x="304" y="6"/>
                    </a:lnTo>
                    <a:lnTo>
                      <a:pt x="318" y="12"/>
                    </a:lnTo>
                    <a:lnTo>
                      <a:pt x="322" y="20"/>
                    </a:lnTo>
                    <a:lnTo>
                      <a:pt x="326" y="18"/>
                    </a:lnTo>
                    <a:lnTo>
                      <a:pt x="334" y="20"/>
                    </a:lnTo>
                    <a:lnTo>
                      <a:pt x="340" y="26"/>
                    </a:lnTo>
                    <a:lnTo>
                      <a:pt x="350" y="32"/>
                    </a:lnTo>
                    <a:lnTo>
                      <a:pt x="350" y="40"/>
                    </a:lnTo>
                    <a:lnTo>
                      <a:pt x="348" y="52"/>
                    </a:lnTo>
                    <a:lnTo>
                      <a:pt x="338" y="62"/>
                    </a:lnTo>
                    <a:lnTo>
                      <a:pt x="328" y="68"/>
                    </a:lnTo>
                    <a:lnTo>
                      <a:pt x="322" y="72"/>
                    </a:lnTo>
                    <a:lnTo>
                      <a:pt x="314" y="74"/>
                    </a:lnTo>
                    <a:lnTo>
                      <a:pt x="308" y="84"/>
                    </a:lnTo>
                    <a:lnTo>
                      <a:pt x="306" y="98"/>
                    </a:lnTo>
                    <a:lnTo>
                      <a:pt x="302" y="104"/>
                    </a:lnTo>
                    <a:lnTo>
                      <a:pt x="300" y="112"/>
                    </a:lnTo>
                    <a:lnTo>
                      <a:pt x="296" y="130"/>
                    </a:lnTo>
                    <a:lnTo>
                      <a:pt x="288" y="138"/>
                    </a:lnTo>
                    <a:lnTo>
                      <a:pt x="284" y="146"/>
                    </a:lnTo>
                    <a:lnTo>
                      <a:pt x="274" y="148"/>
                    </a:lnTo>
                    <a:lnTo>
                      <a:pt x="274" y="156"/>
                    </a:lnTo>
                    <a:lnTo>
                      <a:pt x="262" y="164"/>
                    </a:lnTo>
                    <a:lnTo>
                      <a:pt x="260" y="166"/>
                    </a:lnTo>
                    <a:lnTo>
                      <a:pt x="252" y="174"/>
                    </a:lnTo>
                    <a:lnTo>
                      <a:pt x="248" y="180"/>
                    </a:lnTo>
                    <a:lnTo>
                      <a:pt x="244" y="186"/>
                    </a:lnTo>
                    <a:lnTo>
                      <a:pt x="222" y="186"/>
                    </a:lnTo>
                    <a:lnTo>
                      <a:pt x="214" y="178"/>
                    </a:lnTo>
                    <a:lnTo>
                      <a:pt x="208" y="178"/>
                    </a:lnTo>
                    <a:lnTo>
                      <a:pt x="208" y="186"/>
                    </a:lnTo>
                    <a:lnTo>
                      <a:pt x="194" y="192"/>
                    </a:lnTo>
                    <a:lnTo>
                      <a:pt x="188" y="192"/>
                    </a:lnTo>
                    <a:lnTo>
                      <a:pt x="180" y="186"/>
                    </a:lnTo>
                    <a:lnTo>
                      <a:pt x="166" y="192"/>
                    </a:lnTo>
                    <a:lnTo>
                      <a:pt x="158" y="200"/>
                    </a:lnTo>
                    <a:lnTo>
                      <a:pt x="146" y="200"/>
                    </a:lnTo>
                    <a:lnTo>
                      <a:pt x="138" y="200"/>
                    </a:lnTo>
                    <a:lnTo>
                      <a:pt x="132" y="206"/>
                    </a:lnTo>
                    <a:lnTo>
                      <a:pt x="126" y="214"/>
                    </a:lnTo>
                    <a:lnTo>
                      <a:pt x="118" y="220"/>
                    </a:lnTo>
                    <a:lnTo>
                      <a:pt x="112" y="220"/>
                    </a:lnTo>
                    <a:lnTo>
                      <a:pt x="96" y="214"/>
                    </a:lnTo>
                    <a:lnTo>
                      <a:pt x="90" y="214"/>
                    </a:lnTo>
                    <a:lnTo>
                      <a:pt x="84" y="214"/>
                    </a:lnTo>
                    <a:lnTo>
                      <a:pt x="76" y="214"/>
                    </a:lnTo>
                    <a:lnTo>
                      <a:pt x="70" y="206"/>
                    </a:lnTo>
                    <a:lnTo>
                      <a:pt x="62" y="206"/>
                    </a:lnTo>
                    <a:lnTo>
                      <a:pt x="62" y="200"/>
                    </a:lnTo>
                    <a:lnTo>
                      <a:pt x="56" y="200"/>
                    </a:lnTo>
                    <a:lnTo>
                      <a:pt x="48" y="192"/>
                    </a:lnTo>
                    <a:lnTo>
                      <a:pt x="42" y="186"/>
                    </a:lnTo>
                    <a:lnTo>
                      <a:pt x="34" y="178"/>
                    </a:lnTo>
                    <a:lnTo>
                      <a:pt x="28" y="172"/>
                    </a:lnTo>
                    <a:lnTo>
                      <a:pt x="28" y="164"/>
                    </a:lnTo>
                    <a:lnTo>
                      <a:pt x="28" y="158"/>
                    </a:lnTo>
                    <a:lnTo>
                      <a:pt x="20" y="152"/>
                    </a:lnTo>
                    <a:lnTo>
                      <a:pt x="14" y="144"/>
                    </a:lnTo>
                    <a:lnTo>
                      <a:pt x="14" y="138"/>
                    </a:lnTo>
                    <a:lnTo>
                      <a:pt x="0" y="138"/>
                    </a:lnTo>
                    <a:lnTo>
                      <a:pt x="0" y="144"/>
                    </a:lnTo>
                    <a:lnTo>
                      <a:pt x="0" y="138"/>
                    </a:lnTo>
                    <a:lnTo>
                      <a:pt x="8" y="124"/>
                    </a:lnTo>
                    <a:lnTo>
                      <a:pt x="14" y="124"/>
                    </a:lnTo>
                    <a:lnTo>
                      <a:pt x="20" y="110"/>
                    </a:lnTo>
                    <a:lnTo>
                      <a:pt x="20" y="96"/>
                    </a:lnTo>
                    <a:lnTo>
                      <a:pt x="28" y="96"/>
                    </a:lnTo>
                    <a:lnTo>
                      <a:pt x="28" y="90"/>
                    </a:lnTo>
                    <a:lnTo>
                      <a:pt x="28" y="82"/>
                    </a:lnTo>
                    <a:lnTo>
                      <a:pt x="20" y="76"/>
                    </a:lnTo>
                    <a:lnTo>
                      <a:pt x="20" y="68"/>
                    </a:lnTo>
                    <a:lnTo>
                      <a:pt x="28" y="68"/>
                    </a:lnTo>
                    <a:lnTo>
                      <a:pt x="32" y="66"/>
                    </a:lnTo>
                    <a:lnTo>
                      <a:pt x="34" y="70"/>
                    </a:lnTo>
                    <a:lnTo>
                      <a:pt x="42" y="72"/>
                    </a:lnTo>
                    <a:lnTo>
                      <a:pt x="42" y="68"/>
                    </a:lnTo>
                    <a:lnTo>
                      <a:pt x="48" y="62"/>
                    </a:lnTo>
                    <a:lnTo>
                      <a:pt x="44" y="48"/>
                    </a:lnTo>
                    <a:lnTo>
                      <a:pt x="40" y="36"/>
                    </a:lnTo>
                    <a:lnTo>
                      <a:pt x="40" y="36"/>
                    </a:lnTo>
                    <a:lnTo>
                      <a:pt x="40" y="36"/>
                    </a:lnTo>
                    <a:close/>
                  </a:path>
                </a:pathLst>
              </a:custGeom>
              <a:solidFill>
                <a:srgbClr val="73C37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4" name="Freeform 58"/>
              <p:cNvSpPr>
                <a:spLocks/>
              </p:cNvSpPr>
              <p:nvPr>
                <p:custDataLst>
                  <p:tags r:id="rId142"/>
                </p:custDataLst>
              </p:nvPr>
            </p:nvSpPr>
            <p:spPr bwMode="gray">
              <a:xfrm>
                <a:off x="5589273" y="4626342"/>
                <a:ext cx="155609" cy="107974"/>
              </a:xfrm>
              <a:custGeom>
                <a:avLst/>
                <a:gdLst>
                  <a:gd name="T0" fmla="*/ 0 w 98"/>
                  <a:gd name="T1" fmla="*/ 6 h 68"/>
                  <a:gd name="T2" fmla="*/ 14 w 98"/>
                  <a:gd name="T3" fmla="*/ 0 h 68"/>
                  <a:gd name="T4" fmla="*/ 20 w 98"/>
                  <a:gd name="T5" fmla="*/ 0 h 68"/>
                  <a:gd name="T6" fmla="*/ 28 w 98"/>
                  <a:gd name="T7" fmla="*/ 6 h 68"/>
                  <a:gd name="T8" fmla="*/ 34 w 98"/>
                  <a:gd name="T9" fmla="*/ 12 h 68"/>
                  <a:gd name="T10" fmla="*/ 48 w 98"/>
                  <a:gd name="T11" fmla="*/ 12 h 68"/>
                  <a:gd name="T12" fmla="*/ 62 w 98"/>
                  <a:gd name="T13" fmla="*/ 20 h 68"/>
                  <a:gd name="T14" fmla="*/ 70 w 98"/>
                  <a:gd name="T15" fmla="*/ 26 h 68"/>
                  <a:gd name="T16" fmla="*/ 76 w 98"/>
                  <a:gd name="T17" fmla="*/ 26 h 68"/>
                  <a:gd name="T18" fmla="*/ 84 w 98"/>
                  <a:gd name="T19" fmla="*/ 34 h 68"/>
                  <a:gd name="T20" fmla="*/ 84 w 98"/>
                  <a:gd name="T21" fmla="*/ 40 h 68"/>
                  <a:gd name="T22" fmla="*/ 90 w 98"/>
                  <a:gd name="T23" fmla="*/ 46 h 68"/>
                  <a:gd name="T24" fmla="*/ 98 w 98"/>
                  <a:gd name="T25" fmla="*/ 54 h 68"/>
                  <a:gd name="T26" fmla="*/ 98 w 98"/>
                  <a:gd name="T27" fmla="*/ 68 h 68"/>
                  <a:gd name="T28" fmla="*/ 90 w 98"/>
                  <a:gd name="T29" fmla="*/ 68 h 68"/>
                  <a:gd name="T30" fmla="*/ 84 w 98"/>
                  <a:gd name="T31" fmla="*/ 54 h 68"/>
                  <a:gd name="T32" fmla="*/ 76 w 98"/>
                  <a:gd name="T33" fmla="*/ 46 h 68"/>
                  <a:gd name="T34" fmla="*/ 70 w 98"/>
                  <a:gd name="T35" fmla="*/ 40 h 68"/>
                  <a:gd name="T36" fmla="*/ 56 w 98"/>
                  <a:gd name="T37" fmla="*/ 34 h 68"/>
                  <a:gd name="T38" fmla="*/ 48 w 98"/>
                  <a:gd name="T39" fmla="*/ 26 h 68"/>
                  <a:gd name="T40" fmla="*/ 34 w 98"/>
                  <a:gd name="T41" fmla="*/ 20 h 68"/>
                  <a:gd name="T42" fmla="*/ 28 w 98"/>
                  <a:gd name="T43" fmla="*/ 12 h 68"/>
                  <a:gd name="T44" fmla="*/ 14 w 98"/>
                  <a:gd name="T45" fmla="*/ 12 h 68"/>
                  <a:gd name="T46" fmla="*/ 6 w 98"/>
                  <a:gd name="T47" fmla="*/ 12 h 68"/>
                  <a:gd name="T48" fmla="*/ 0 w 98"/>
                  <a:gd name="T49" fmla="*/ 6 h 68"/>
                  <a:gd name="T50" fmla="*/ 0 w 98"/>
                  <a:gd name="T51" fmla="*/ 6 h 68"/>
                  <a:gd name="T52" fmla="*/ 0 w 98"/>
                  <a:gd name="T53" fmla="*/ 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68">
                    <a:moveTo>
                      <a:pt x="0" y="6"/>
                    </a:moveTo>
                    <a:lnTo>
                      <a:pt x="14" y="0"/>
                    </a:lnTo>
                    <a:lnTo>
                      <a:pt x="20" y="0"/>
                    </a:lnTo>
                    <a:lnTo>
                      <a:pt x="28" y="6"/>
                    </a:lnTo>
                    <a:lnTo>
                      <a:pt x="34" y="12"/>
                    </a:lnTo>
                    <a:lnTo>
                      <a:pt x="48" y="12"/>
                    </a:lnTo>
                    <a:lnTo>
                      <a:pt x="62" y="20"/>
                    </a:lnTo>
                    <a:lnTo>
                      <a:pt x="70" y="26"/>
                    </a:lnTo>
                    <a:lnTo>
                      <a:pt x="76" y="26"/>
                    </a:lnTo>
                    <a:lnTo>
                      <a:pt x="84" y="34"/>
                    </a:lnTo>
                    <a:lnTo>
                      <a:pt x="84" y="40"/>
                    </a:lnTo>
                    <a:lnTo>
                      <a:pt x="90" y="46"/>
                    </a:lnTo>
                    <a:lnTo>
                      <a:pt x="98" y="54"/>
                    </a:lnTo>
                    <a:lnTo>
                      <a:pt x="98" y="68"/>
                    </a:lnTo>
                    <a:lnTo>
                      <a:pt x="90" y="68"/>
                    </a:lnTo>
                    <a:lnTo>
                      <a:pt x="84" y="54"/>
                    </a:lnTo>
                    <a:lnTo>
                      <a:pt x="76" y="46"/>
                    </a:lnTo>
                    <a:lnTo>
                      <a:pt x="70" y="40"/>
                    </a:lnTo>
                    <a:lnTo>
                      <a:pt x="56" y="34"/>
                    </a:lnTo>
                    <a:lnTo>
                      <a:pt x="48" y="26"/>
                    </a:lnTo>
                    <a:lnTo>
                      <a:pt x="34" y="20"/>
                    </a:lnTo>
                    <a:lnTo>
                      <a:pt x="28" y="12"/>
                    </a:lnTo>
                    <a:lnTo>
                      <a:pt x="14" y="12"/>
                    </a:lnTo>
                    <a:lnTo>
                      <a:pt x="6" y="12"/>
                    </a:lnTo>
                    <a:lnTo>
                      <a:pt x="0" y="6"/>
                    </a:lnTo>
                    <a:lnTo>
                      <a:pt x="0" y="6"/>
                    </a:lnTo>
                    <a:lnTo>
                      <a:pt x="0" y="6"/>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5" name="Freeform 59"/>
              <p:cNvSpPr>
                <a:spLocks/>
              </p:cNvSpPr>
              <p:nvPr/>
            </p:nvSpPr>
            <p:spPr bwMode="gray">
              <a:xfrm>
                <a:off x="5157377" y="1018500"/>
                <a:ext cx="53987" cy="66690"/>
              </a:xfrm>
              <a:custGeom>
                <a:avLst/>
                <a:gdLst>
                  <a:gd name="T0" fmla="*/ 6 w 34"/>
                  <a:gd name="T1" fmla="*/ 42 h 42"/>
                  <a:gd name="T2" fmla="*/ 14 w 34"/>
                  <a:gd name="T3" fmla="*/ 34 h 42"/>
                  <a:gd name="T4" fmla="*/ 14 w 34"/>
                  <a:gd name="T5" fmla="*/ 28 h 42"/>
                  <a:gd name="T6" fmla="*/ 20 w 34"/>
                  <a:gd name="T7" fmla="*/ 28 h 42"/>
                  <a:gd name="T8" fmla="*/ 28 w 34"/>
                  <a:gd name="T9" fmla="*/ 28 h 42"/>
                  <a:gd name="T10" fmla="*/ 34 w 34"/>
                  <a:gd name="T11" fmla="*/ 8 h 42"/>
                  <a:gd name="T12" fmla="*/ 28 w 34"/>
                  <a:gd name="T13" fmla="*/ 0 h 42"/>
                  <a:gd name="T14" fmla="*/ 20 w 34"/>
                  <a:gd name="T15" fmla="*/ 0 h 42"/>
                  <a:gd name="T16" fmla="*/ 20 w 34"/>
                  <a:gd name="T17" fmla="*/ 8 h 42"/>
                  <a:gd name="T18" fmla="*/ 14 w 34"/>
                  <a:gd name="T19" fmla="*/ 8 h 42"/>
                  <a:gd name="T20" fmla="*/ 6 w 34"/>
                  <a:gd name="T21" fmla="*/ 8 h 42"/>
                  <a:gd name="T22" fmla="*/ 6 w 34"/>
                  <a:gd name="T23" fmla="*/ 14 h 42"/>
                  <a:gd name="T24" fmla="*/ 6 w 34"/>
                  <a:gd name="T25" fmla="*/ 22 h 42"/>
                  <a:gd name="T26" fmla="*/ 0 w 34"/>
                  <a:gd name="T27" fmla="*/ 28 h 42"/>
                  <a:gd name="T28" fmla="*/ 6 w 34"/>
                  <a:gd name="T29" fmla="*/ 34 h 42"/>
                  <a:gd name="T30" fmla="*/ 6 w 34"/>
                  <a:gd name="T31" fmla="*/ 42 h 42"/>
                  <a:gd name="T32" fmla="*/ 6 w 34"/>
                  <a:gd name="T33" fmla="*/ 42 h 42"/>
                  <a:gd name="T34" fmla="*/ 6 w 34"/>
                  <a:gd name="T3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42">
                    <a:moveTo>
                      <a:pt x="6" y="42"/>
                    </a:moveTo>
                    <a:lnTo>
                      <a:pt x="14" y="34"/>
                    </a:lnTo>
                    <a:lnTo>
                      <a:pt x="14" y="28"/>
                    </a:lnTo>
                    <a:lnTo>
                      <a:pt x="20" y="28"/>
                    </a:lnTo>
                    <a:lnTo>
                      <a:pt x="28" y="28"/>
                    </a:lnTo>
                    <a:lnTo>
                      <a:pt x="34" y="8"/>
                    </a:lnTo>
                    <a:lnTo>
                      <a:pt x="28" y="0"/>
                    </a:lnTo>
                    <a:lnTo>
                      <a:pt x="20" y="0"/>
                    </a:lnTo>
                    <a:lnTo>
                      <a:pt x="20" y="8"/>
                    </a:lnTo>
                    <a:lnTo>
                      <a:pt x="14" y="8"/>
                    </a:lnTo>
                    <a:lnTo>
                      <a:pt x="6" y="8"/>
                    </a:lnTo>
                    <a:lnTo>
                      <a:pt x="6" y="14"/>
                    </a:lnTo>
                    <a:lnTo>
                      <a:pt x="6" y="22"/>
                    </a:lnTo>
                    <a:lnTo>
                      <a:pt x="0" y="28"/>
                    </a:lnTo>
                    <a:lnTo>
                      <a:pt x="6" y="34"/>
                    </a:lnTo>
                    <a:lnTo>
                      <a:pt x="6" y="42"/>
                    </a:lnTo>
                    <a:lnTo>
                      <a:pt x="6" y="42"/>
                    </a:lnTo>
                    <a:lnTo>
                      <a:pt x="6" y="42"/>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6" name="Freeform 60"/>
              <p:cNvSpPr>
                <a:spLocks/>
              </p:cNvSpPr>
              <p:nvPr>
                <p:custDataLst>
                  <p:tags r:id="rId143"/>
                </p:custDataLst>
              </p:nvPr>
            </p:nvSpPr>
            <p:spPr bwMode="gray">
              <a:xfrm>
                <a:off x="4365040" y="802551"/>
                <a:ext cx="1398899" cy="1495757"/>
              </a:xfrm>
              <a:custGeom>
                <a:avLst/>
                <a:gdLst>
                  <a:gd name="T0" fmla="*/ 256 w 881"/>
                  <a:gd name="T1" fmla="*/ 866 h 942"/>
                  <a:gd name="T2" fmla="*/ 304 w 881"/>
                  <a:gd name="T3" fmla="*/ 804 h 942"/>
                  <a:gd name="T4" fmla="*/ 318 w 881"/>
                  <a:gd name="T5" fmla="*/ 716 h 942"/>
                  <a:gd name="T6" fmla="*/ 312 w 881"/>
                  <a:gd name="T7" fmla="*/ 646 h 942"/>
                  <a:gd name="T8" fmla="*/ 318 w 881"/>
                  <a:gd name="T9" fmla="*/ 556 h 942"/>
                  <a:gd name="T10" fmla="*/ 383 w 881"/>
                  <a:gd name="T11" fmla="*/ 536 h 942"/>
                  <a:gd name="T12" fmla="*/ 395 w 881"/>
                  <a:gd name="T13" fmla="*/ 468 h 942"/>
                  <a:gd name="T14" fmla="*/ 431 w 881"/>
                  <a:gd name="T15" fmla="*/ 378 h 942"/>
                  <a:gd name="T16" fmla="*/ 485 w 881"/>
                  <a:gd name="T17" fmla="*/ 308 h 942"/>
                  <a:gd name="T18" fmla="*/ 521 w 881"/>
                  <a:gd name="T19" fmla="*/ 240 h 942"/>
                  <a:gd name="T20" fmla="*/ 569 w 881"/>
                  <a:gd name="T21" fmla="*/ 220 h 942"/>
                  <a:gd name="T22" fmla="*/ 611 w 881"/>
                  <a:gd name="T23" fmla="*/ 150 h 942"/>
                  <a:gd name="T24" fmla="*/ 665 w 881"/>
                  <a:gd name="T25" fmla="*/ 192 h 942"/>
                  <a:gd name="T26" fmla="*/ 735 w 881"/>
                  <a:gd name="T27" fmla="*/ 172 h 942"/>
                  <a:gd name="T28" fmla="*/ 769 w 881"/>
                  <a:gd name="T29" fmla="*/ 96 h 942"/>
                  <a:gd name="T30" fmla="*/ 833 w 881"/>
                  <a:gd name="T31" fmla="*/ 116 h 942"/>
                  <a:gd name="T32" fmla="*/ 835 w 881"/>
                  <a:gd name="T33" fmla="*/ 140 h 942"/>
                  <a:gd name="T34" fmla="*/ 867 w 881"/>
                  <a:gd name="T35" fmla="*/ 82 h 942"/>
                  <a:gd name="T36" fmla="*/ 867 w 881"/>
                  <a:gd name="T37" fmla="*/ 34 h 942"/>
                  <a:gd name="T38" fmla="*/ 797 w 881"/>
                  <a:gd name="T39" fmla="*/ 48 h 942"/>
                  <a:gd name="T40" fmla="*/ 777 w 881"/>
                  <a:gd name="T41" fmla="*/ 20 h 942"/>
                  <a:gd name="T42" fmla="*/ 749 w 881"/>
                  <a:gd name="T43" fmla="*/ 20 h 942"/>
                  <a:gd name="T44" fmla="*/ 721 w 881"/>
                  <a:gd name="T45" fmla="*/ 62 h 942"/>
                  <a:gd name="T46" fmla="*/ 721 w 881"/>
                  <a:gd name="T47" fmla="*/ 14 h 942"/>
                  <a:gd name="T48" fmla="*/ 687 w 881"/>
                  <a:gd name="T49" fmla="*/ 48 h 942"/>
                  <a:gd name="T50" fmla="*/ 651 w 881"/>
                  <a:gd name="T51" fmla="*/ 82 h 942"/>
                  <a:gd name="T52" fmla="*/ 611 w 881"/>
                  <a:gd name="T53" fmla="*/ 88 h 942"/>
                  <a:gd name="T54" fmla="*/ 583 w 881"/>
                  <a:gd name="T55" fmla="*/ 130 h 942"/>
                  <a:gd name="T56" fmla="*/ 561 w 881"/>
                  <a:gd name="T57" fmla="*/ 150 h 942"/>
                  <a:gd name="T58" fmla="*/ 521 w 881"/>
                  <a:gd name="T59" fmla="*/ 178 h 942"/>
                  <a:gd name="T60" fmla="*/ 493 w 881"/>
                  <a:gd name="T61" fmla="*/ 212 h 942"/>
                  <a:gd name="T62" fmla="*/ 479 w 881"/>
                  <a:gd name="T63" fmla="*/ 226 h 942"/>
                  <a:gd name="T64" fmla="*/ 457 w 881"/>
                  <a:gd name="T65" fmla="*/ 246 h 942"/>
                  <a:gd name="T66" fmla="*/ 457 w 881"/>
                  <a:gd name="T67" fmla="*/ 274 h 942"/>
                  <a:gd name="T68" fmla="*/ 431 w 881"/>
                  <a:gd name="T69" fmla="*/ 302 h 942"/>
                  <a:gd name="T70" fmla="*/ 381 w 881"/>
                  <a:gd name="T71" fmla="*/ 336 h 942"/>
                  <a:gd name="T72" fmla="*/ 375 w 881"/>
                  <a:gd name="T73" fmla="*/ 370 h 942"/>
                  <a:gd name="T74" fmla="*/ 353 w 881"/>
                  <a:gd name="T75" fmla="*/ 412 h 942"/>
                  <a:gd name="T76" fmla="*/ 341 w 881"/>
                  <a:gd name="T77" fmla="*/ 446 h 942"/>
                  <a:gd name="T78" fmla="*/ 318 w 881"/>
                  <a:gd name="T79" fmla="*/ 488 h 942"/>
                  <a:gd name="T80" fmla="*/ 270 w 881"/>
                  <a:gd name="T81" fmla="*/ 496 h 942"/>
                  <a:gd name="T82" fmla="*/ 236 w 881"/>
                  <a:gd name="T83" fmla="*/ 550 h 942"/>
                  <a:gd name="T84" fmla="*/ 188 w 881"/>
                  <a:gd name="T85" fmla="*/ 578 h 942"/>
                  <a:gd name="T86" fmla="*/ 152 w 881"/>
                  <a:gd name="T87" fmla="*/ 584 h 942"/>
                  <a:gd name="T88" fmla="*/ 110 w 881"/>
                  <a:gd name="T89" fmla="*/ 598 h 942"/>
                  <a:gd name="T90" fmla="*/ 76 w 881"/>
                  <a:gd name="T91" fmla="*/ 618 h 942"/>
                  <a:gd name="T92" fmla="*/ 62 w 881"/>
                  <a:gd name="T93" fmla="*/ 640 h 942"/>
                  <a:gd name="T94" fmla="*/ 28 w 881"/>
                  <a:gd name="T95" fmla="*/ 668 h 942"/>
                  <a:gd name="T96" fmla="*/ 28 w 881"/>
                  <a:gd name="T97" fmla="*/ 702 h 942"/>
                  <a:gd name="T98" fmla="*/ 34 w 881"/>
                  <a:gd name="T99" fmla="*/ 750 h 942"/>
                  <a:gd name="T100" fmla="*/ 48 w 881"/>
                  <a:gd name="T101" fmla="*/ 776 h 942"/>
                  <a:gd name="T102" fmla="*/ 14 w 881"/>
                  <a:gd name="T103" fmla="*/ 804 h 942"/>
                  <a:gd name="T104" fmla="*/ 34 w 881"/>
                  <a:gd name="T105" fmla="*/ 846 h 942"/>
                  <a:gd name="T106" fmla="*/ 14 w 881"/>
                  <a:gd name="T107" fmla="*/ 894 h 942"/>
                  <a:gd name="T108" fmla="*/ 90 w 881"/>
                  <a:gd name="T109" fmla="*/ 942 h 942"/>
                  <a:gd name="T110" fmla="*/ 160 w 881"/>
                  <a:gd name="T111" fmla="*/ 894 h 942"/>
                  <a:gd name="T112" fmla="*/ 214 w 881"/>
                  <a:gd name="T113" fmla="*/ 852 h 942"/>
                  <a:gd name="T114" fmla="*/ 228 w 881"/>
                  <a:gd name="T115" fmla="*/ 838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81" h="942">
                    <a:moveTo>
                      <a:pt x="242" y="880"/>
                    </a:moveTo>
                    <a:lnTo>
                      <a:pt x="250" y="880"/>
                    </a:lnTo>
                    <a:lnTo>
                      <a:pt x="250" y="886"/>
                    </a:lnTo>
                    <a:lnTo>
                      <a:pt x="256" y="894"/>
                    </a:lnTo>
                    <a:lnTo>
                      <a:pt x="264" y="886"/>
                    </a:lnTo>
                    <a:lnTo>
                      <a:pt x="264" y="880"/>
                    </a:lnTo>
                    <a:lnTo>
                      <a:pt x="264" y="874"/>
                    </a:lnTo>
                    <a:lnTo>
                      <a:pt x="256" y="866"/>
                    </a:lnTo>
                    <a:lnTo>
                      <a:pt x="270" y="852"/>
                    </a:lnTo>
                    <a:lnTo>
                      <a:pt x="270" y="846"/>
                    </a:lnTo>
                    <a:lnTo>
                      <a:pt x="278" y="838"/>
                    </a:lnTo>
                    <a:lnTo>
                      <a:pt x="278" y="832"/>
                    </a:lnTo>
                    <a:lnTo>
                      <a:pt x="284" y="826"/>
                    </a:lnTo>
                    <a:lnTo>
                      <a:pt x="292" y="826"/>
                    </a:lnTo>
                    <a:lnTo>
                      <a:pt x="298" y="826"/>
                    </a:lnTo>
                    <a:lnTo>
                      <a:pt x="304" y="804"/>
                    </a:lnTo>
                    <a:lnTo>
                      <a:pt x="304" y="784"/>
                    </a:lnTo>
                    <a:lnTo>
                      <a:pt x="304" y="776"/>
                    </a:lnTo>
                    <a:lnTo>
                      <a:pt x="304" y="770"/>
                    </a:lnTo>
                    <a:lnTo>
                      <a:pt x="298" y="756"/>
                    </a:lnTo>
                    <a:lnTo>
                      <a:pt x="298" y="750"/>
                    </a:lnTo>
                    <a:lnTo>
                      <a:pt x="318" y="736"/>
                    </a:lnTo>
                    <a:lnTo>
                      <a:pt x="318" y="728"/>
                    </a:lnTo>
                    <a:lnTo>
                      <a:pt x="318" y="716"/>
                    </a:lnTo>
                    <a:lnTo>
                      <a:pt x="318" y="708"/>
                    </a:lnTo>
                    <a:lnTo>
                      <a:pt x="312" y="702"/>
                    </a:lnTo>
                    <a:lnTo>
                      <a:pt x="304" y="694"/>
                    </a:lnTo>
                    <a:lnTo>
                      <a:pt x="304" y="686"/>
                    </a:lnTo>
                    <a:lnTo>
                      <a:pt x="304" y="680"/>
                    </a:lnTo>
                    <a:lnTo>
                      <a:pt x="312" y="668"/>
                    </a:lnTo>
                    <a:lnTo>
                      <a:pt x="312" y="660"/>
                    </a:lnTo>
                    <a:lnTo>
                      <a:pt x="312" y="646"/>
                    </a:lnTo>
                    <a:lnTo>
                      <a:pt x="304" y="640"/>
                    </a:lnTo>
                    <a:lnTo>
                      <a:pt x="304" y="632"/>
                    </a:lnTo>
                    <a:lnTo>
                      <a:pt x="304" y="618"/>
                    </a:lnTo>
                    <a:lnTo>
                      <a:pt x="312" y="612"/>
                    </a:lnTo>
                    <a:lnTo>
                      <a:pt x="312" y="598"/>
                    </a:lnTo>
                    <a:lnTo>
                      <a:pt x="312" y="584"/>
                    </a:lnTo>
                    <a:lnTo>
                      <a:pt x="312" y="570"/>
                    </a:lnTo>
                    <a:lnTo>
                      <a:pt x="318" y="556"/>
                    </a:lnTo>
                    <a:lnTo>
                      <a:pt x="326" y="550"/>
                    </a:lnTo>
                    <a:lnTo>
                      <a:pt x="341" y="544"/>
                    </a:lnTo>
                    <a:lnTo>
                      <a:pt x="341" y="550"/>
                    </a:lnTo>
                    <a:lnTo>
                      <a:pt x="347" y="550"/>
                    </a:lnTo>
                    <a:lnTo>
                      <a:pt x="355" y="544"/>
                    </a:lnTo>
                    <a:lnTo>
                      <a:pt x="361" y="536"/>
                    </a:lnTo>
                    <a:lnTo>
                      <a:pt x="369" y="536"/>
                    </a:lnTo>
                    <a:lnTo>
                      <a:pt x="383" y="536"/>
                    </a:lnTo>
                    <a:lnTo>
                      <a:pt x="389" y="528"/>
                    </a:lnTo>
                    <a:lnTo>
                      <a:pt x="383" y="516"/>
                    </a:lnTo>
                    <a:lnTo>
                      <a:pt x="383" y="508"/>
                    </a:lnTo>
                    <a:lnTo>
                      <a:pt x="383" y="502"/>
                    </a:lnTo>
                    <a:lnTo>
                      <a:pt x="375" y="488"/>
                    </a:lnTo>
                    <a:lnTo>
                      <a:pt x="383" y="480"/>
                    </a:lnTo>
                    <a:lnTo>
                      <a:pt x="395" y="474"/>
                    </a:lnTo>
                    <a:lnTo>
                      <a:pt x="395" y="468"/>
                    </a:lnTo>
                    <a:lnTo>
                      <a:pt x="403" y="446"/>
                    </a:lnTo>
                    <a:lnTo>
                      <a:pt x="403" y="440"/>
                    </a:lnTo>
                    <a:lnTo>
                      <a:pt x="403" y="432"/>
                    </a:lnTo>
                    <a:lnTo>
                      <a:pt x="403" y="418"/>
                    </a:lnTo>
                    <a:lnTo>
                      <a:pt x="409" y="412"/>
                    </a:lnTo>
                    <a:lnTo>
                      <a:pt x="417" y="398"/>
                    </a:lnTo>
                    <a:lnTo>
                      <a:pt x="417" y="384"/>
                    </a:lnTo>
                    <a:lnTo>
                      <a:pt x="431" y="378"/>
                    </a:lnTo>
                    <a:lnTo>
                      <a:pt x="445" y="370"/>
                    </a:lnTo>
                    <a:lnTo>
                      <a:pt x="451" y="364"/>
                    </a:lnTo>
                    <a:lnTo>
                      <a:pt x="451" y="358"/>
                    </a:lnTo>
                    <a:lnTo>
                      <a:pt x="451" y="344"/>
                    </a:lnTo>
                    <a:lnTo>
                      <a:pt x="465" y="336"/>
                    </a:lnTo>
                    <a:lnTo>
                      <a:pt x="479" y="324"/>
                    </a:lnTo>
                    <a:lnTo>
                      <a:pt x="479" y="316"/>
                    </a:lnTo>
                    <a:lnTo>
                      <a:pt x="485" y="308"/>
                    </a:lnTo>
                    <a:lnTo>
                      <a:pt x="479" y="296"/>
                    </a:lnTo>
                    <a:lnTo>
                      <a:pt x="471" y="288"/>
                    </a:lnTo>
                    <a:lnTo>
                      <a:pt x="479" y="282"/>
                    </a:lnTo>
                    <a:lnTo>
                      <a:pt x="485" y="274"/>
                    </a:lnTo>
                    <a:lnTo>
                      <a:pt x="507" y="260"/>
                    </a:lnTo>
                    <a:lnTo>
                      <a:pt x="507" y="254"/>
                    </a:lnTo>
                    <a:lnTo>
                      <a:pt x="513" y="240"/>
                    </a:lnTo>
                    <a:lnTo>
                      <a:pt x="521" y="240"/>
                    </a:lnTo>
                    <a:lnTo>
                      <a:pt x="535" y="246"/>
                    </a:lnTo>
                    <a:lnTo>
                      <a:pt x="541" y="246"/>
                    </a:lnTo>
                    <a:lnTo>
                      <a:pt x="541" y="240"/>
                    </a:lnTo>
                    <a:lnTo>
                      <a:pt x="541" y="226"/>
                    </a:lnTo>
                    <a:lnTo>
                      <a:pt x="555" y="220"/>
                    </a:lnTo>
                    <a:lnTo>
                      <a:pt x="563" y="226"/>
                    </a:lnTo>
                    <a:lnTo>
                      <a:pt x="569" y="226"/>
                    </a:lnTo>
                    <a:lnTo>
                      <a:pt x="569" y="220"/>
                    </a:lnTo>
                    <a:lnTo>
                      <a:pt x="575" y="198"/>
                    </a:lnTo>
                    <a:lnTo>
                      <a:pt x="589" y="206"/>
                    </a:lnTo>
                    <a:lnTo>
                      <a:pt x="589" y="198"/>
                    </a:lnTo>
                    <a:lnTo>
                      <a:pt x="589" y="186"/>
                    </a:lnTo>
                    <a:lnTo>
                      <a:pt x="589" y="178"/>
                    </a:lnTo>
                    <a:lnTo>
                      <a:pt x="603" y="178"/>
                    </a:lnTo>
                    <a:lnTo>
                      <a:pt x="603" y="164"/>
                    </a:lnTo>
                    <a:lnTo>
                      <a:pt x="611" y="150"/>
                    </a:lnTo>
                    <a:lnTo>
                      <a:pt x="617" y="150"/>
                    </a:lnTo>
                    <a:lnTo>
                      <a:pt x="625" y="158"/>
                    </a:lnTo>
                    <a:lnTo>
                      <a:pt x="639" y="164"/>
                    </a:lnTo>
                    <a:lnTo>
                      <a:pt x="639" y="172"/>
                    </a:lnTo>
                    <a:lnTo>
                      <a:pt x="645" y="186"/>
                    </a:lnTo>
                    <a:lnTo>
                      <a:pt x="653" y="186"/>
                    </a:lnTo>
                    <a:lnTo>
                      <a:pt x="659" y="186"/>
                    </a:lnTo>
                    <a:lnTo>
                      <a:pt x="665" y="192"/>
                    </a:lnTo>
                    <a:lnTo>
                      <a:pt x="687" y="192"/>
                    </a:lnTo>
                    <a:lnTo>
                      <a:pt x="693" y="186"/>
                    </a:lnTo>
                    <a:lnTo>
                      <a:pt x="701" y="186"/>
                    </a:lnTo>
                    <a:lnTo>
                      <a:pt x="707" y="198"/>
                    </a:lnTo>
                    <a:lnTo>
                      <a:pt x="721" y="192"/>
                    </a:lnTo>
                    <a:lnTo>
                      <a:pt x="729" y="192"/>
                    </a:lnTo>
                    <a:lnTo>
                      <a:pt x="729" y="186"/>
                    </a:lnTo>
                    <a:lnTo>
                      <a:pt x="735" y="172"/>
                    </a:lnTo>
                    <a:lnTo>
                      <a:pt x="743" y="164"/>
                    </a:lnTo>
                    <a:lnTo>
                      <a:pt x="743" y="158"/>
                    </a:lnTo>
                    <a:lnTo>
                      <a:pt x="743" y="150"/>
                    </a:lnTo>
                    <a:lnTo>
                      <a:pt x="743" y="144"/>
                    </a:lnTo>
                    <a:lnTo>
                      <a:pt x="749" y="130"/>
                    </a:lnTo>
                    <a:lnTo>
                      <a:pt x="749" y="102"/>
                    </a:lnTo>
                    <a:lnTo>
                      <a:pt x="755" y="96"/>
                    </a:lnTo>
                    <a:lnTo>
                      <a:pt x="769" y="96"/>
                    </a:lnTo>
                    <a:lnTo>
                      <a:pt x="783" y="88"/>
                    </a:lnTo>
                    <a:lnTo>
                      <a:pt x="791" y="82"/>
                    </a:lnTo>
                    <a:lnTo>
                      <a:pt x="797" y="82"/>
                    </a:lnTo>
                    <a:lnTo>
                      <a:pt x="791" y="96"/>
                    </a:lnTo>
                    <a:lnTo>
                      <a:pt x="811" y="102"/>
                    </a:lnTo>
                    <a:lnTo>
                      <a:pt x="817" y="102"/>
                    </a:lnTo>
                    <a:lnTo>
                      <a:pt x="825" y="110"/>
                    </a:lnTo>
                    <a:lnTo>
                      <a:pt x="833" y="116"/>
                    </a:lnTo>
                    <a:lnTo>
                      <a:pt x="833" y="124"/>
                    </a:lnTo>
                    <a:lnTo>
                      <a:pt x="825" y="130"/>
                    </a:lnTo>
                    <a:lnTo>
                      <a:pt x="825" y="144"/>
                    </a:lnTo>
                    <a:lnTo>
                      <a:pt x="825" y="150"/>
                    </a:lnTo>
                    <a:lnTo>
                      <a:pt x="825" y="158"/>
                    </a:lnTo>
                    <a:lnTo>
                      <a:pt x="825" y="164"/>
                    </a:lnTo>
                    <a:lnTo>
                      <a:pt x="833" y="164"/>
                    </a:lnTo>
                    <a:lnTo>
                      <a:pt x="835" y="140"/>
                    </a:lnTo>
                    <a:lnTo>
                      <a:pt x="845" y="124"/>
                    </a:lnTo>
                    <a:lnTo>
                      <a:pt x="859" y="116"/>
                    </a:lnTo>
                    <a:lnTo>
                      <a:pt x="875" y="112"/>
                    </a:lnTo>
                    <a:lnTo>
                      <a:pt x="881" y="88"/>
                    </a:lnTo>
                    <a:lnTo>
                      <a:pt x="879" y="88"/>
                    </a:lnTo>
                    <a:lnTo>
                      <a:pt x="867" y="88"/>
                    </a:lnTo>
                    <a:lnTo>
                      <a:pt x="859" y="88"/>
                    </a:lnTo>
                    <a:lnTo>
                      <a:pt x="867" y="82"/>
                    </a:lnTo>
                    <a:lnTo>
                      <a:pt x="867" y="68"/>
                    </a:lnTo>
                    <a:lnTo>
                      <a:pt x="859" y="62"/>
                    </a:lnTo>
                    <a:lnTo>
                      <a:pt x="867" y="62"/>
                    </a:lnTo>
                    <a:lnTo>
                      <a:pt x="873" y="54"/>
                    </a:lnTo>
                    <a:lnTo>
                      <a:pt x="873" y="48"/>
                    </a:lnTo>
                    <a:lnTo>
                      <a:pt x="873" y="40"/>
                    </a:lnTo>
                    <a:lnTo>
                      <a:pt x="867" y="40"/>
                    </a:lnTo>
                    <a:lnTo>
                      <a:pt x="867" y="34"/>
                    </a:lnTo>
                    <a:lnTo>
                      <a:pt x="853" y="34"/>
                    </a:lnTo>
                    <a:lnTo>
                      <a:pt x="839" y="40"/>
                    </a:lnTo>
                    <a:lnTo>
                      <a:pt x="839" y="26"/>
                    </a:lnTo>
                    <a:lnTo>
                      <a:pt x="825" y="26"/>
                    </a:lnTo>
                    <a:lnTo>
                      <a:pt x="817" y="20"/>
                    </a:lnTo>
                    <a:lnTo>
                      <a:pt x="803" y="34"/>
                    </a:lnTo>
                    <a:lnTo>
                      <a:pt x="803" y="40"/>
                    </a:lnTo>
                    <a:lnTo>
                      <a:pt x="797" y="48"/>
                    </a:lnTo>
                    <a:lnTo>
                      <a:pt x="791" y="34"/>
                    </a:lnTo>
                    <a:lnTo>
                      <a:pt x="791" y="26"/>
                    </a:lnTo>
                    <a:lnTo>
                      <a:pt x="797" y="20"/>
                    </a:lnTo>
                    <a:lnTo>
                      <a:pt x="797" y="14"/>
                    </a:lnTo>
                    <a:lnTo>
                      <a:pt x="797" y="0"/>
                    </a:lnTo>
                    <a:lnTo>
                      <a:pt x="791" y="0"/>
                    </a:lnTo>
                    <a:lnTo>
                      <a:pt x="777" y="14"/>
                    </a:lnTo>
                    <a:lnTo>
                      <a:pt x="777" y="20"/>
                    </a:lnTo>
                    <a:lnTo>
                      <a:pt x="763" y="26"/>
                    </a:lnTo>
                    <a:lnTo>
                      <a:pt x="763" y="48"/>
                    </a:lnTo>
                    <a:lnTo>
                      <a:pt x="763" y="54"/>
                    </a:lnTo>
                    <a:lnTo>
                      <a:pt x="755" y="48"/>
                    </a:lnTo>
                    <a:lnTo>
                      <a:pt x="755" y="40"/>
                    </a:lnTo>
                    <a:lnTo>
                      <a:pt x="749" y="34"/>
                    </a:lnTo>
                    <a:lnTo>
                      <a:pt x="749" y="26"/>
                    </a:lnTo>
                    <a:lnTo>
                      <a:pt x="749" y="20"/>
                    </a:lnTo>
                    <a:lnTo>
                      <a:pt x="749" y="14"/>
                    </a:lnTo>
                    <a:lnTo>
                      <a:pt x="741" y="14"/>
                    </a:lnTo>
                    <a:lnTo>
                      <a:pt x="741" y="20"/>
                    </a:lnTo>
                    <a:lnTo>
                      <a:pt x="741" y="26"/>
                    </a:lnTo>
                    <a:lnTo>
                      <a:pt x="735" y="40"/>
                    </a:lnTo>
                    <a:lnTo>
                      <a:pt x="727" y="54"/>
                    </a:lnTo>
                    <a:lnTo>
                      <a:pt x="721" y="68"/>
                    </a:lnTo>
                    <a:lnTo>
                      <a:pt x="721" y="62"/>
                    </a:lnTo>
                    <a:lnTo>
                      <a:pt x="721" y="54"/>
                    </a:lnTo>
                    <a:lnTo>
                      <a:pt x="721" y="40"/>
                    </a:lnTo>
                    <a:lnTo>
                      <a:pt x="735" y="34"/>
                    </a:lnTo>
                    <a:lnTo>
                      <a:pt x="735" y="26"/>
                    </a:lnTo>
                    <a:lnTo>
                      <a:pt x="741" y="14"/>
                    </a:lnTo>
                    <a:lnTo>
                      <a:pt x="749" y="6"/>
                    </a:lnTo>
                    <a:lnTo>
                      <a:pt x="741" y="0"/>
                    </a:lnTo>
                    <a:lnTo>
                      <a:pt x="721" y="14"/>
                    </a:lnTo>
                    <a:lnTo>
                      <a:pt x="713" y="6"/>
                    </a:lnTo>
                    <a:lnTo>
                      <a:pt x="707" y="14"/>
                    </a:lnTo>
                    <a:lnTo>
                      <a:pt x="707" y="20"/>
                    </a:lnTo>
                    <a:lnTo>
                      <a:pt x="721" y="26"/>
                    </a:lnTo>
                    <a:lnTo>
                      <a:pt x="701" y="34"/>
                    </a:lnTo>
                    <a:lnTo>
                      <a:pt x="693" y="26"/>
                    </a:lnTo>
                    <a:lnTo>
                      <a:pt x="687" y="34"/>
                    </a:lnTo>
                    <a:lnTo>
                      <a:pt x="687" y="48"/>
                    </a:lnTo>
                    <a:lnTo>
                      <a:pt x="679" y="48"/>
                    </a:lnTo>
                    <a:lnTo>
                      <a:pt x="687" y="54"/>
                    </a:lnTo>
                    <a:lnTo>
                      <a:pt x="673" y="68"/>
                    </a:lnTo>
                    <a:lnTo>
                      <a:pt x="665" y="54"/>
                    </a:lnTo>
                    <a:lnTo>
                      <a:pt x="659" y="62"/>
                    </a:lnTo>
                    <a:lnTo>
                      <a:pt x="659" y="68"/>
                    </a:lnTo>
                    <a:lnTo>
                      <a:pt x="659" y="76"/>
                    </a:lnTo>
                    <a:lnTo>
                      <a:pt x="651" y="82"/>
                    </a:lnTo>
                    <a:lnTo>
                      <a:pt x="645" y="76"/>
                    </a:lnTo>
                    <a:lnTo>
                      <a:pt x="637" y="76"/>
                    </a:lnTo>
                    <a:lnTo>
                      <a:pt x="637" y="82"/>
                    </a:lnTo>
                    <a:lnTo>
                      <a:pt x="631" y="76"/>
                    </a:lnTo>
                    <a:lnTo>
                      <a:pt x="623" y="76"/>
                    </a:lnTo>
                    <a:lnTo>
                      <a:pt x="617" y="82"/>
                    </a:lnTo>
                    <a:lnTo>
                      <a:pt x="617" y="88"/>
                    </a:lnTo>
                    <a:lnTo>
                      <a:pt x="611" y="88"/>
                    </a:lnTo>
                    <a:lnTo>
                      <a:pt x="603" y="96"/>
                    </a:lnTo>
                    <a:lnTo>
                      <a:pt x="603" y="110"/>
                    </a:lnTo>
                    <a:lnTo>
                      <a:pt x="611" y="116"/>
                    </a:lnTo>
                    <a:lnTo>
                      <a:pt x="611" y="130"/>
                    </a:lnTo>
                    <a:lnTo>
                      <a:pt x="603" y="124"/>
                    </a:lnTo>
                    <a:lnTo>
                      <a:pt x="597" y="116"/>
                    </a:lnTo>
                    <a:lnTo>
                      <a:pt x="589" y="116"/>
                    </a:lnTo>
                    <a:lnTo>
                      <a:pt x="583" y="130"/>
                    </a:lnTo>
                    <a:lnTo>
                      <a:pt x="575" y="116"/>
                    </a:lnTo>
                    <a:lnTo>
                      <a:pt x="569" y="124"/>
                    </a:lnTo>
                    <a:lnTo>
                      <a:pt x="569" y="138"/>
                    </a:lnTo>
                    <a:lnTo>
                      <a:pt x="575" y="150"/>
                    </a:lnTo>
                    <a:lnTo>
                      <a:pt x="575" y="158"/>
                    </a:lnTo>
                    <a:lnTo>
                      <a:pt x="569" y="150"/>
                    </a:lnTo>
                    <a:lnTo>
                      <a:pt x="561" y="138"/>
                    </a:lnTo>
                    <a:lnTo>
                      <a:pt x="561" y="150"/>
                    </a:lnTo>
                    <a:lnTo>
                      <a:pt x="555" y="164"/>
                    </a:lnTo>
                    <a:lnTo>
                      <a:pt x="547" y="158"/>
                    </a:lnTo>
                    <a:lnTo>
                      <a:pt x="547" y="144"/>
                    </a:lnTo>
                    <a:lnTo>
                      <a:pt x="541" y="150"/>
                    </a:lnTo>
                    <a:lnTo>
                      <a:pt x="541" y="172"/>
                    </a:lnTo>
                    <a:lnTo>
                      <a:pt x="535" y="172"/>
                    </a:lnTo>
                    <a:lnTo>
                      <a:pt x="527" y="172"/>
                    </a:lnTo>
                    <a:lnTo>
                      <a:pt x="521" y="178"/>
                    </a:lnTo>
                    <a:lnTo>
                      <a:pt x="527" y="186"/>
                    </a:lnTo>
                    <a:lnTo>
                      <a:pt x="521" y="192"/>
                    </a:lnTo>
                    <a:lnTo>
                      <a:pt x="513" y="198"/>
                    </a:lnTo>
                    <a:lnTo>
                      <a:pt x="513" y="206"/>
                    </a:lnTo>
                    <a:lnTo>
                      <a:pt x="521" y="212"/>
                    </a:lnTo>
                    <a:lnTo>
                      <a:pt x="513" y="220"/>
                    </a:lnTo>
                    <a:lnTo>
                      <a:pt x="493" y="220"/>
                    </a:lnTo>
                    <a:lnTo>
                      <a:pt x="493" y="212"/>
                    </a:lnTo>
                    <a:lnTo>
                      <a:pt x="485" y="220"/>
                    </a:lnTo>
                    <a:lnTo>
                      <a:pt x="485" y="226"/>
                    </a:lnTo>
                    <a:lnTo>
                      <a:pt x="485" y="240"/>
                    </a:lnTo>
                    <a:lnTo>
                      <a:pt x="485" y="246"/>
                    </a:lnTo>
                    <a:lnTo>
                      <a:pt x="479" y="260"/>
                    </a:lnTo>
                    <a:lnTo>
                      <a:pt x="479" y="246"/>
                    </a:lnTo>
                    <a:lnTo>
                      <a:pt x="479" y="234"/>
                    </a:lnTo>
                    <a:lnTo>
                      <a:pt x="479" y="226"/>
                    </a:lnTo>
                    <a:lnTo>
                      <a:pt x="471" y="234"/>
                    </a:lnTo>
                    <a:lnTo>
                      <a:pt x="465" y="234"/>
                    </a:lnTo>
                    <a:lnTo>
                      <a:pt x="457" y="234"/>
                    </a:lnTo>
                    <a:lnTo>
                      <a:pt x="451" y="240"/>
                    </a:lnTo>
                    <a:lnTo>
                      <a:pt x="457" y="240"/>
                    </a:lnTo>
                    <a:lnTo>
                      <a:pt x="465" y="246"/>
                    </a:lnTo>
                    <a:lnTo>
                      <a:pt x="465" y="254"/>
                    </a:lnTo>
                    <a:lnTo>
                      <a:pt x="457" y="246"/>
                    </a:lnTo>
                    <a:lnTo>
                      <a:pt x="451" y="254"/>
                    </a:lnTo>
                    <a:lnTo>
                      <a:pt x="443" y="246"/>
                    </a:lnTo>
                    <a:lnTo>
                      <a:pt x="437" y="246"/>
                    </a:lnTo>
                    <a:lnTo>
                      <a:pt x="437" y="260"/>
                    </a:lnTo>
                    <a:lnTo>
                      <a:pt x="431" y="268"/>
                    </a:lnTo>
                    <a:lnTo>
                      <a:pt x="451" y="260"/>
                    </a:lnTo>
                    <a:lnTo>
                      <a:pt x="457" y="268"/>
                    </a:lnTo>
                    <a:lnTo>
                      <a:pt x="457" y="274"/>
                    </a:lnTo>
                    <a:lnTo>
                      <a:pt x="443" y="274"/>
                    </a:lnTo>
                    <a:lnTo>
                      <a:pt x="437" y="274"/>
                    </a:lnTo>
                    <a:lnTo>
                      <a:pt x="431" y="282"/>
                    </a:lnTo>
                    <a:lnTo>
                      <a:pt x="431" y="288"/>
                    </a:lnTo>
                    <a:lnTo>
                      <a:pt x="443" y="288"/>
                    </a:lnTo>
                    <a:lnTo>
                      <a:pt x="443" y="302"/>
                    </a:lnTo>
                    <a:lnTo>
                      <a:pt x="437" y="302"/>
                    </a:lnTo>
                    <a:lnTo>
                      <a:pt x="431" y="302"/>
                    </a:lnTo>
                    <a:lnTo>
                      <a:pt x="423" y="308"/>
                    </a:lnTo>
                    <a:lnTo>
                      <a:pt x="417" y="316"/>
                    </a:lnTo>
                    <a:lnTo>
                      <a:pt x="403" y="308"/>
                    </a:lnTo>
                    <a:lnTo>
                      <a:pt x="395" y="316"/>
                    </a:lnTo>
                    <a:lnTo>
                      <a:pt x="395" y="324"/>
                    </a:lnTo>
                    <a:lnTo>
                      <a:pt x="395" y="330"/>
                    </a:lnTo>
                    <a:lnTo>
                      <a:pt x="389" y="330"/>
                    </a:lnTo>
                    <a:lnTo>
                      <a:pt x="381" y="336"/>
                    </a:lnTo>
                    <a:lnTo>
                      <a:pt x="389" y="344"/>
                    </a:lnTo>
                    <a:lnTo>
                      <a:pt x="381" y="350"/>
                    </a:lnTo>
                    <a:lnTo>
                      <a:pt x="367" y="350"/>
                    </a:lnTo>
                    <a:lnTo>
                      <a:pt x="375" y="358"/>
                    </a:lnTo>
                    <a:lnTo>
                      <a:pt x="381" y="364"/>
                    </a:lnTo>
                    <a:lnTo>
                      <a:pt x="389" y="358"/>
                    </a:lnTo>
                    <a:lnTo>
                      <a:pt x="389" y="370"/>
                    </a:lnTo>
                    <a:lnTo>
                      <a:pt x="375" y="370"/>
                    </a:lnTo>
                    <a:lnTo>
                      <a:pt x="367" y="370"/>
                    </a:lnTo>
                    <a:lnTo>
                      <a:pt x="367" y="378"/>
                    </a:lnTo>
                    <a:lnTo>
                      <a:pt x="375" y="384"/>
                    </a:lnTo>
                    <a:lnTo>
                      <a:pt x="367" y="392"/>
                    </a:lnTo>
                    <a:lnTo>
                      <a:pt x="361" y="392"/>
                    </a:lnTo>
                    <a:lnTo>
                      <a:pt x="353" y="398"/>
                    </a:lnTo>
                    <a:lnTo>
                      <a:pt x="347" y="406"/>
                    </a:lnTo>
                    <a:lnTo>
                      <a:pt x="353" y="412"/>
                    </a:lnTo>
                    <a:lnTo>
                      <a:pt x="353" y="418"/>
                    </a:lnTo>
                    <a:lnTo>
                      <a:pt x="347" y="426"/>
                    </a:lnTo>
                    <a:lnTo>
                      <a:pt x="341" y="418"/>
                    </a:lnTo>
                    <a:lnTo>
                      <a:pt x="341" y="412"/>
                    </a:lnTo>
                    <a:lnTo>
                      <a:pt x="332" y="426"/>
                    </a:lnTo>
                    <a:lnTo>
                      <a:pt x="332" y="432"/>
                    </a:lnTo>
                    <a:lnTo>
                      <a:pt x="341" y="432"/>
                    </a:lnTo>
                    <a:lnTo>
                      <a:pt x="341" y="446"/>
                    </a:lnTo>
                    <a:lnTo>
                      <a:pt x="332" y="454"/>
                    </a:lnTo>
                    <a:lnTo>
                      <a:pt x="326" y="454"/>
                    </a:lnTo>
                    <a:lnTo>
                      <a:pt x="326" y="468"/>
                    </a:lnTo>
                    <a:lnTo>
                      <a:pt x="318" y="474"/>
                    </a:lnTo>
                    <a:lnTo>
                      <a:pt x="312" y="474"/>
                    </a:lnTo>
                    <a:lnTo>
                      <a:pt x="312" y="480"/>
                    </a:lnTo>
                    <a:lnTo>
                      <a:pt x="318" y="480"/>
                    </a:lnTo>
                    <a:lnTo>
                      <a:pt x="318" y="488"/>
                    </a:lnTo>
                    <a:lnTo>
                      <a:pt x="318" y="496"/>
                    </a:lnTo>
                    <a:lnTo>
                      <a:pt x="312" y="502"/>
                    </a:lnTo>
                    <a:lnTo>
                      <a:pt x="298" y="496"/>
                    </a:lnTo>
                    <a:lnTo>
                      <a:pt x="298" y="488"/>
                    </a:lnTo>
                    <a:lnTo>
                      <a:pt x="290" y="480"/>
                    </a:lnTo>
                    <a:lnTo>
                      <a:pt x="284" y="488"/>
                    </a:lnTo>
                    <a:lnTo>
                      <a:pt x="276" y="496"/>
                    </a:lnTo>
                    <a:lnTo>
                      <a:pt x="270" y="496"/>
                    </a:lnTo>
                    <a:lnTo>
                      <a:pt x="264" y="496"/>
                    </a:lnTo>
                    <a:lnTo>
                      <a:pt x="264" y="508"/>
                    </a:lnTo>
                    <a:lnTo>
                      <a:pt x="256" y="516"/>
                    </a:lnTo>
                    <a:lnTo>
                      <a:pt x="250" y="528"/>
                    </a:lnTo>
                    <a:lnTo>
                      <a:pt x="242" y="528"/>
                    </a:lnTo>
                    <a:lnTo>
                      <a:pt x="236" y="528"/>
                    </a:lnTo>
                    <a:lnTo>
                      <a:pt x="236" y="536"/>
                    </a:lnTo>
                    <a:lnTo>
                      <a:pt x="236" y="550"/>
                    </a:lnTo>
                    <a:lnTo>
                      <a:pt x="228" y="544"/>
                    </a:lnTo>
                    <a:lnTo>
                      <a:pt x="222" y="550"/>
                    </a:lnTo>
                    <a:lnTo>
                      <a:pt x="214" y="556"/>
                    </a:lnTo>
                    <a:lnTo>
                      <a:pt x="208" y="550"/>
                    </a:lnTo>
                    <a:lnTo>
                      <a:pt x="202" y="556"/>
                    </a:lnTo>
                    <a:lnTo>
                      <a:pt x="194" y="564"/>
                    </a:lnTo>
                    <a:lnTo>
                      <a:pt x="188" y="564"/>
                    </a:lnTo>
                    <a:lnTo>
                      <a:pt x="188" y="578"/>
                    </a:lnTo>
                    <a:lnTo>
                      <a:pt x="180" y="570"/>
                    </a:lnTo>
                    <a:lnTo>
                      <a:pt x="172" y="570"/>
                    </a:lnTo>
                    <a:lnTo>
                      <a:pt x="180" y="578"/>
                    </a:lnTo>
                    <a:lnTo>
                      <a:pt x="180" y="584"/>
                    </a:lnTo>
                    <a:lnTo>
                      <a:pt x="172" y="584"/>
                    </a:lnTo>
                    <a:lnTo>
                      <a:pt x="166" y="578"/>
                    </a:lnTo>
                    <a:lnTo>
                      <a:pt x="160" y="584"/>
                    </a:lnTo>
                    <a:lnTo>
                      <a:pt x="152" y="584"/>
                    </a:lnTo>
                    <a:lnTo>
                      <a:pt x="146" y="584"/>
                    </a:lnTo>
                    <a:lnTo>
                      <a:pt x="138" y="584"/>
                    </a:lnTo>
                    <a:lnTo>
                      <a:pt x="138" y="592"/>
                    </a:lnTo>
                    <a:lnTo>
                      <a:pt x="146" y="604"/>
                    </a:lnTo>
                    <a:lnTo>
                      <a:pt x="138" y="604"/>
                    </a:lnTo>
                    <a:lnTo>
                      <a:pt x="130" y="604"/>
                    </a:lnTo>
                    <a:lnTo>
                      <a:pt x="118" y="598"/>
                    </a:lnTo>
                    <a:lnTo>
                      <a:pt x="110" y="598"/>
                    </a:lnTo>
                    <a:lnTo>
                      <a:pt x="104" y="604"/>
                    </a:lnTo>
                    <a:lnTo>
                      <a:pt x="110" y="612"/>
                    </a:lnTo>
                    <a:lnTo>
                      <a:pt x="110" y="618"/>
                    </a:lnTo>
                    <a:lnTo>
                      <a:pt x="104" y="618"/>
                    </a:lnTo>
                    <a:lnTo>
                      <a:pt x="90" y="618"/>
                    </a:lnTo>
                    <a:lnTo>
                      <a:pt x="82" y="632"/>
                    </a:lnTo>
                    <a:lnTo>
                      <a:pt x="82" y="618"/>
                    </a:lnTo>
                    <a:lnTo>
                      <a:pt x="76" y="618"/>
                    </a:lnTo>
                    <a:lnTo>
                      <a:pt x="68" y="626"/>
                    </a:lnTo>
                    <a:lnTo>
                      <a:pt x="62" y="618"/>
                    </a:lnTo>
                    <a:lnTo>
                      <a:pt x="56" y="618"/>
                    </a:lnTo>
                    <a:lnTo>
                      <a:pt x="48" y="618"/>
                    </a:lnTo>
                    <a:lnTo>
                      <a:pt x="48" y="626"/>
                    </a:lnTo>
                    <a:lnTo>
                      <a:pt x="48" y="632"/>
                    </a:lnTo>
                    <a:lnTo>
                      <a:pt x="56" y="640"/>
                    </a:lnTo>
                    <a:lnTo>
                      <a:pt x="62" y="640"/>
                    </a:lnTo>
                    <a:lnTo>
                      <a:pt x="62" y="646"/>
                    </a:lnTo>
                    <a:lnTo>
                      <a:pt x="56" y="646"/>
                    </a:lnTo>
                    <a:lnTo>
                      <a:pt x="48" y="654"/>
                    </a:lnTo>
                    <a:lnTo>
                      <a:pt x="34" y="654"/>
                    </a:lnTo>
                    <a:lnTo>
                      <a:pt x="34" y="660"/>
                    </a:lnTo>
                    <a:lnTo>
                      <a:pt x="42" y="668"/>
                    </a:lnTo>
                    <a:lnTo>
                      <a:pt x="42" y="674"/>
                    </a:lnTo>
                    <a:lnTo>
                      <a:pt x="28" y="668"/>
                    </a:lnTo>
                    <a:lnTo>
                      <a:pt x="28" y="674"/>
                    </a:lnTo>
                    <a:lnTo>
                      <a:pt x="28" y="680"/>
                    </a:lnTo>
                    <a:lnTo>
                      <a:pt x="34" y="694"/>
                    </a:lnTo>
                    <a:lnTo>
                      <a:pt x="48" y="694"/>
                    </a:lnTo>
                    <a:lnTo>
                      <a:pt x="48" y="702"/>
                    </a:lnTo>
                    <a:lnTo>
                      <a:pt x="42" y="702"/>
                    </a:lnTo>
                    <a:lnTo>
                      <a:pt x="28" y="694"/>
                    </a:lnTo>
                    <a:lnTo>
                      <a:pt x="28" y="702"/>
                    </a:lnTo>
                    <a:lnTo>
                      <a:pt x="28" y="708"/>
                    </a:lnTo>
                    <a:lnTo>
                      <a:pt x="34" y="722"/>
                    </a:lnTo>
                    <a:lnTo>
                      <a:pt x="42" y="728"/>
                    </a:lnTo>
                    <a:lnTo>
                      <a:pt x="34" y="736"/>
                    </a:lnTo>
                    <a:lnTo>
                      <a:pt x="28" y="728"/>
                    </a:lnTo>
                    <a:lnTo>
                      <a:pt x="20" y="736"/>
                    </a:lnTo>
                    <a:lnTo>
                      <a:pt x="20" y="742"/>
                    </a:lnTo>
                    <a:lnTo>
                      <a:pt x="34" y="750"/>
                    </a:lnTo>
                    <a:lnTo>
                      <a:pt x="28" y="750"/>
                    </a:lnTo>
                    <a:lnTo>
                      <a:pt x="20" y="750"/>
                    </a:lnTo>
                    <a:lnTo>
                      <a:pt x="20" y="756"/>
                    </a:lnTo>
                    <a:lnTo>
                      <a:pt x="28" y="764"/>
                    </a:lnTo>
                    <a:lnTo>
                      <a:pt x="34" y="770"/>
                    </a:lnTo>
                    <a:lnTo>
                      <a:pt x="48" y="770"/>
                    </a:lnTo>
                    <a:lnTo>
                      <a:pt x="62" y="764"/>
                    </a:lnTo>
                    <a:lnTo>
                      <a:pt x="48" y="776"/>
                    </a:lnTo>
                    <a:lnTo>
                      <a:pt x="42" y="784"/>
                    </a:lnTo>
                    <a:lnTo>
                      <a:pt x="34" y="790"/>
                    </a:lnTo>
                    <a:lnTo>
                      <a:pt x="48" y="804"/>
                    </a:lnTo>
                    <a:lnTo>
                      <a:pt x="42" y="804"/>
                    </a:lnTo>
                    <a:lnTo>
                      <a:pt x="34" y="804"/>
                    </a:lnTo>
                    <a:lnTo>
                      <a:pt x="28" y="812"/>
                    </a:lnTo>
                    <a:lnTo>
                      <a:pt x="20" y="804"/>
                    </a:lnTo>
                    <a:lnTo>
                      <a:pt x="14" y="804"/>
                    </a:lnTo>
                    <a:lnTo>
                      <a:pt x="6" y="818"/>
                    </a:lnTo>
                    <a:lnTo>
                      <a:pt x="6" y="826"/>
                    </a:lnTo>
                    <a:lnTo>
                      <a:pt x="0" y="838"/>
                    </a:lnTo>
                    <a:lnTo>
                      <a:pt x="6" y="846"/>
                    </a:lnTo>
                    <a:lnTo>
                      <a:pt x="20" y="826"/>
                    </a:lnTo>
                    <a:lnTo>
                      <a:pt x="34" y="826"/>
                    </a:lnTo>
                    <a:lnTo>
                      <a:pt x="34" y="832"/>
                    </a:lnTo>
                    <a:lnTo>
                      <a:pt x="34" y="846"/>
                    </a:lnTo>
                    <a:lnTo>
                      <a:pt x="28" y="846"/>
                    </a:lnTo>
                    <a:lnTo>
                      <a:pt x="28" y="860"/>
                    </a:lnTo>
                    <a:lnTo>
                      <a:pt x="20" y="866"/>
                    </a:lnTo>
                    <a:lnTo>
                      <a:pt x="20" y="860"/>
                    </a:lnTo>
                    <a:lnTo>
                      <a:pt x="14" y="866"/>
                    </a:lnTo>
                    <a:lnTo>
                      <a:pt x="14" y="874"/>
                    </a:lnTo>
                    <a:lnTo>
                      <a:pt x="14" y="886"/>
                    </a:lnTo>
                    <a:lnTo>
                      <a:pt x="14" y="894"/>
                    </a:lnTo>
                    <a:lnTo>
                      <a:pt x="28" y="908"/>
                    </a:lnTo>
                    <a:lnTo>
                      <a:pt x="48" y="914"/>
                    </a:lnTo>
                    <a:lnTo>
                      <a:pt x="34" y="928"/>
                    </a:lnTo>
                    <a:lnTo>
                      <a:pt x="48" y="936"/>
                    </a:lnTo>
                    <a:lnTo>
                      <a:pt x="56" y="928"/>
                    </a:lnTo>
                    <a:lnTo>
                      <a:pt x="56" y="942"/>
                    </a:lnTo>
                    <a:lnTo>
                      <a:pt x="76" y="942"/>
                    </a:lnTo>
                    <a:lnTo>
                      <a:pt x="90" y="942"/>
                    </a:lnTo>
                    <a:lnTo>
                      <a:pt x="104" y="936"/>
                    </a:lnTo>
                    <a:lnTo>
                      <a:pt x="104" y="942"/>
                    </a:lnTo>
                    <a:lnTo>
                      <a:pt x="118" y="936"/>
                    </a:lnTo>
                    <a:lnTo>
                      <a:pt x="124" y="928"/>
                    </a:lnTo>
                    <a:lnTo>
                      <a:pt x="130" y="914"/>
                    </a:lnTo>
                    <a:lnTo>
                      <a:pt x="138" y="908"/>
                    </a:lnTo>
                    <a:lnTo>
                      <a:pt x="160" y="900"/>
                    </a:lnTo>
                    <a:lnTo>
                      <a:pt x="160" y="894"/>
                    </a:lnTo>
                    <a:lnTo>
                      <a:pt x="166" y="886"/>
                    </a:lnTo>
                    <a:lnTo>
                      <a:pt x="180" y="886"/>
                    </a:lnTo>
                    <a:lnTo>
                      <a:pt x="180" y="894"/>
                    </a:lnTo>
                    <a:lnTo>
                      <a:pt x="188" y="900"/>
                    </a:lnTo>
                    <a:lnTo>
                      <a:pt x="202" y="894"/>
                    </a:lnTo>
                    <a:lnTo>
                      <a:pt x="202" y="880"/>
                    </a:lnTo>
                    <a:lnTo>
                      <a:pt x="214" y="866"/>
                    </a:lnTo>
                    <a:lnTo>
                      <a:pt x="214" y="852"/>
                    </a:lnTo>
                    <a:lnTo>
                      <a:pt x="208" y="846"/>
                    </a:lnTo>
                    <a:lnTo>
                      <a:pt x="222" y="832"/>
                    </a:lnTo>
                    <a:lnTo>
                      <a:pt x="228" y="826"/>
                    </a:lnTo>
                    <a:lnTo>
                      <a:pt x="236" y="818"/>
                    </a:lnTo>
                    <a:lnTo>
                      <a:pt x="242" y="818"/>
                    </a:lnTo>
                    <a:lnTo>
                      <a:pt x="242" y="832"/>
                    </a:lnTo>
                    <a:lnTo>
                      <a:pt x="236" y="838"/>
                    </a:lnTo>
                    <a:lnTo>
                      <a:pt x="228" y="838"/>
                    </a:lnTo>
                    <a:lnTo>
                      <a:pt x="228" y="852"/>
                    </a:lnTo>
                    <a:lnTo>
                      <a:pt x="236" y="852"/>
                    </a:lnTo>
                    <a:lnTo>
                      <a:pt x="256" y="866"/>
                    </a:lnTo>
                    <a:lnTo>
                      <a:pt x="242" y="880"/>
                    </a:lnTo>
                    <a:lnTo>
                      <a:pt x="242" y="880"/>
                    </a:lnTo>
                    <a:lnTo>
                      <a:pt x="242" y="88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7" name="Freeform 61"/>
              <p:cNvSpPr>
                <a:spLocks/>
              </p:cNvSpPr>
              <p:nvPr>
                <p:custDataLst>
                  <p:tags r:id="rId144"/>
                </p:custDataLst>
              </p:nvPr>
            </p:nvSpPr>
            <p:spPr bwMode="gray">
              <a:xfrm>
                <a:off x="4749300" y="1085189"/>
                <a:ext cx="757406" cy="1575150"/>
              </a:xfrm>
              <a:custGeom>
                <a:avLst/>
                <a:gdLst>
                  <a:gd name="T0" fmla="*/ 465 w 477"/>
                  <a:gd name="T1" fmla="*/ 180 h 992"/>
                  <a:gd name="T2" fmla="*/ 465 w 477"/>
                  <a:gd name="T3" fmla="*/ 130 h 992"/>
                  <a:gd name="T4" fmla="*/ 443 w 477"/>
                  <a:gd name="T5" fmla="*/ 104 h 992"/>
                  <a:gd name="T6" fmla="*/ 451 w 477"/>
                  <a:gd name="T7" fmla="*/ 68 h 992"/>
                  <a:gd name="T8" fmla="*/ 409 w 477"/>
                  <a:gd name="T9" fmla="*/ 34 h 992"/>
                  <a:gd name="T10" fmla="*/ 375 w 477"/>
                  <a:gd name="T11" fmla="*/ 8 h 992"/>
                  <a:gd name="T12" fmla="*/ 347 w 477"/>
                  <a:gd name="T13" fmla="*/ 28 h 992"/>
                  <a:gd name="T14" fmla="*/ 311 w 477"/>
                  <a:gd name="T15" fmla="*/ 42 h 992"/>
                  <a:gd name="T16" fmla="*/ 277 w 477"/>
                  <a:gd name="T17" fmla="*/ 62 h 992"/>
                  <a:gd name="T18" fmla="*/ 237 w 477"/>
                  <a:gd name="T19" fmla="*/ 104 h 992"/>
                  <a:gd name="T20" fmla="*/ 237 w 477"/>
                  <a:gd name="T21" fmla="*/ 144 h 992"/>
                  <a:gd name="T22" fmla="*/ 201 w 477"/>
                  <a:gd name="T23" fmla="*/ 192 h 992"/>
                  <a:gd name="T24" fmla="*/ 159 w 477"/>
                  <a:gd name="T25" fmla="*/ 240 h 992"/>
                  <a:gd name="T26" fmla="*/ 153 w 477"/>
                  <a:gd name="T27" fmla="*/ 296 h 992"/>
                  <a:gd name="T28" fmla="*/ 139 w 477"/>
                  <a:gd name="T29" fmla="*/ 338 h 992"/>
                  <a:gd name="T30" fmla="*/ 111 w 477"/>
                  <a:gd name="T31" fmla="*/ 366 h 992"/>
                  <a:gd name="T32" fmla="*/ 76 w 477"/>
                  <a:gd name="T33" fmla="*/ 380 h 992"/>
                  <a:gd name="T34" fmla="*/ 62 w 477"/>
                  <a:gd name="T35" fmla="*/ 442 h 992"/>
                  <a:gd name="T36" fmla="*/ 68 w 477"/>
                  <a:gd name="T37" fmla="*/ 490 h 992"/>
                  <a:gd name="T38" fmla="*/ 76 w 477"/>
                  <a:gd name="T39" fmla="*/ 530 h 992"/>
                  <a:gd name="T40" fmla="*/ 56 w 477"/>
                  <a:gd name="T41" fmla="*/ 580 h 992"/>
                  <a:gd name="T42" fmla="*/ 56 w 477"/>
                  <a:gd name="T43" fmla="*/ 648 h 992"/>
                  <a:gd name="T44" fmla="*/ 28 w 477"/>
                  <a:gd name="T45" fmla="*/ 670 h 992"/>
                  <a:gd name="T46" fmla="*/ 20 w 477"/>
                  <a:gd name="T47" fmla="*/ 710 h 992"/>
                  <a:gd name="T48" fmla="*/ 0 w 477"/>
                  <a:gd name="T49" fmla="*/ 704 h 992"/>
                  <a:gd name="T50" fmla="*/ 0 w 477"/>
                  <a:gd name="T51" fmla="*/ 752 h 992"/>
                  <a:gd name="T52" fmla="*/ 14 w 477"/>
                  <a:gd name="T53" fmla="*/ 772 h 992"/>
                  <a:gd name="T54" fmla="*/ 14 w 477"/>
                  <a:gd name="T55" fmla="*/ 814 h 992"/>
                  <a:gd name="T56" fmla="*/ 14 w 477"/>
                  <a:gd name="T57" fmla="*/ 862 h 992"/>
                  <a:gd name="T58" fmla="*/ 42 w 477"/>
                  <a:gd name="T59" fmla="*/ 902 h 992"/>
                  <a:gd name="T60" fmla="*/ 28 w 477"/>
                  <a:gd name="T61" fmla="*/ 930 h 992"/>
                  <a:gd name="T62" fmla="*/ 42 w 477"/>
                  <a:gd name="T63" fmla="*/ 964 h 992"/>
                  <a:gd name="T64" fmla="*/ 56 w 477"/>
                  <a:gd name="T65" fmla="*/ 992 h 992"/>
                  <a:gd name="T66" fmla="*/ 99 w 477"/>
                  <a:gd name="T67" fmla="*/ 986 h 992"/>
                  <a:gd name="T68" fmla="*/ 119 w 477"/>
                  <a:gd name="T69" fmla="*/ 952 h 992"/>
                  <a:gd name="T70" fmla="*/ 153 w 477"/>
                  <a:gd name="T71" fmla="*/ 938 h 992"/>
                  <a:gd name="T72" fmla="*/ 181 w 477"/>
                  <a:gd name="T73" fmla="*/ 930 h 992"/>
                  <a:gd name="T74" fmla="*/ 209 w 477"/>
                  <a:gd name="T75" fmla="*/ 876 h 992"/>
                  <a:gd name="T76" fmla="*/ 209 w 477"/>
                  <a:gd name="T77" fmla="*/ 840 h 992"/>
                  <a:gd name="T78" fmla="*/ 223 w 477"/>
                  <a:gd name="T79" fmla="*/ 800 h 992"/>
                  <a:gd name="T80" fmla="*/ 209 w 477"/>
                  <a:gd name="T81" fmla="*/ 758 h 992"/>
                  <a:gd name="T82" fmla="*/ 249 w 477"/>
                  <a:gd name="T83" fmla="*/ 738 h 992"/>
                  <a:gd name="T84" fmla="*/ 277 w 477"/>
                  <a:gd name="T85" fmla="*/ 724 h 992"/>
                  <a:gd name="T86" fmla="*/ 291 w 477"/>
                  <a:gd name="T87" fmla="*/ 690 h 992"/>
                  <a:gd name="T88" fmla="*/ 291 w 477"/>
                  <a:gd name="T89" fmla="*/ 654 h 992"/>
                  <a:gd name="T90" fmla="*/ 277 w 477"/>
                  <a:gd name="T91" fmla="*/ 620 h 992"/>
                  <a:gd name="T92" fmla="*/ 249 w 477"/>
                  <a:gd name="T93" fmla="*/ 592 h 992"/>
                  <a:gd name="T94" fmla="*/ 249 w 477"/>
                  <a:gd name="T95" fmla="*/ 566 h 992"/>
                  <a:gd name="T96" fmla="*/ 249 w 477"/>
                  <a:gd name="T97" fmla="*/ 524 h 992"/>
                  <a:gd name="T98" fmla="*/ 243 w 477"/>
                  <a:gd name="T99" fmla="*/ 482 h 992"/>
                  <a:gd name="T100" fmla="*/ 277 w 477"/>
                  <a:gd name="T101" fmla="*/ 462 h 992"/>
                  <a:gd name="T102" fmla="*/ 313 w 477"/>
                  <a:gd name="T103" fmla="*/ 428 h 992"/>
                  <a:gd name="T104" fmla="*/ 347 w 477"/>
                  <a:gd name="T105" fmla="*/ 406 h 992"/>
                  <a:gd name="T106" fmla="*/ 367 w 477"/>
                  <a:gd name="T107" fmla="*/ 372 h 992"/>
                  <a:gd name="T108" fmla="*/ 389 w 477"/>
                  <a:gd name="T109" fmla="*/ 330 h 992"/>
                  <a:gd name="T110" fmla="*/ 389 w 477"/>
                  <a:gd name="T111" fmla="*/ 282 h 992"/>
                  <a:gd name="T112" fmla="*/ 417 w 477"/>
                  <a:gd name="T113" fmla="*/ 254 h 992"/>
                  <a:gd name="T114" fmla="*/ 429 w 477"/>
                  <a:gd name="T115" fmla="*/ 228 h 992"/>
                  <a:gd name="T116" fmla="*/ 471 w 477"/>
                  <a:gd name="T117" fmla="*/ 228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7" h="992">
                    <a:moveTo>
                      <a:pt x="477" y="220"/>
                    </a:moveTo>
                    <a:lnTo>
                      <a:pt x="477" y="206"/>
                    </a:lnTo>
                    <a:lnTo>
                      <a:pt x="471" y="200"/>
                    </a:lnTo>
                    <a:lnTo>
                      <a:pt x="465" y="186"/>
                    </a:lnTo>
                    <a:lnTo>
                      <a:pt x="465" y="180"/>
                    </a:lnTo>
                    <a:lnTo>
                      <a:pt x="465" y="166"/>
                    </a:lnTo>
                    <a:lnTo>
                      <a:pt x="465" y="152"/>
                    </a:lnTo>
                    <a:lnTo>
                      <a:pt x="471" y="144"/>
                    </a:lnTo>
                    <a:lnTo>
                      <a:pt x="465" y="138"/>
                    </a:lnTo>
                    <a:lnTo>
                      <a:pt x="465" y="130"/>
                    </a:lnTo>
                    <a:lnTo>
                      <a:pt x="457" y="124"/>
                    </a:lnTo>
                    <a:lnTo>
                      <a:pt x="457" y="116"/>
                    </a:lnTo>
                    <a:lnTo>
                      <a:pt x="457" y="110"/>
                    </a:lnTo>
                    <a:lnTo>
                      <a:pt x="457" y="104"/>
                    </a:lnTo>
                    <a:lnTo>
                      <a:pt x="443" y="104"/>
                    </a:lnTo>
                    <a:lnTo>
                      <a:pt x="451" y="96"/>
                    </a:lnTo>
                    <a:lnTo>
                      <a:pt x="451" y="90"/>
                    </a:lnTo>
                    <a:lnTo>
                      <a:pt x="451" y="82"/>
                    </a:lnTo>
                    <a:lnTo>
                      <a:pt x="451" y="76"/>
                    </a:lnTo>
                    <a:lnTo>
                      <a:pt x="451" y="68"/>
                    </a:lnTo>
                    <a:lnTo>
                      <a:pt x="443" y="62"/>
                    </a:lnTo>
                    <a:lnTo>
                      <a:pt x="443" y="48"/>
                    </a:lnTo>
                    <a:lnTo>
                      <a:pt x="437" y="48"/>
                    </a:lnTo>
                    <a:lnTo>
                      <a:pt x="423" y="42"/>
                    </a:lnTo>
                    <a:lnTo>
                      <a:pt x="409" y="34"/>
                    </a:lnTo>
                    <a:lnTo>
                      <a:pt x="403" y="34"/>
                    </a:lnTo>
                    <a:lnTo>
                      <a:pt x="395" y="28"/>
                    </a:lnTo>
                    <a:lnTo>
                      <a:pt x="387" y="28"/>
                    </a:lnTo>
                    <a:lnTo>
                      <a:pt x="387" y="14"/>
                    </a:lnTo>
                    <a:lnTo>
                      <a:pt x="375" y="8"/>
                    </a:lnTo>
                    <a:lnTo>
                      <a:pt x="361" y="0"/>
                    </a:lnTo>
                    <a:lnTo>
                      <a:pt x="347" y="0"/>
                    </a:lnTo>
                    <a:lnTo>
                      <a:pt x="347" y="8"/>
                    </a:lnTo>
                    <a:lnTo>
                      <a:pt x="347" y="20"/>
                    </a:lnTo>
                    <a:lnTo>
                      <a:pt x="347" y="28"/>
                    </a:lnTo>
                    <a:lnTo>
                      <a:pt x="333" y="20"/>
                    </a:lnTo>
                    <a:lnTo>
                      <a:pt x="327" y="42"/>
                    </a:lnTo>
                    <a:lnTo>
                      <a:pt x="327" y="48"/>
                    </a:lnTo>
                    <a:lnTo>
                      <a:pt x="319" y="48"/>
                    </a:lnTo>
                    <a:lnTo>
                      <a:pt x="311" y="42"/>
                    </a:lnTo>
                    <a:lnTo>
                      <a:pt x="297" y="48"/>
                    </a:lnTo>
                    <a:lnTo>
                      <a:pt x="297" y="62"/>
                    </a:lnTo>
                    <a:lnTo>
                      <a:pt x="297" y="68"/>
                    </a:lnTo>
                    <a:lnTo>
                      <a:pt x="291" y="68"/>
                    </a:lnTo>
                    <a:lnTo>
                      <a:pt x="277" y="62"/>
                    </a:lnTo>
                    <a:lnTo>
                      <a:pt x="271" y="62"/>
                    </a:lnTo>
                    <a:lnTo>
                      <a:pt x="263" y="76"/>
                    </a:lnTo>
                    <a:lnTo>
                      <a:pt x="263" y="82"/>
                    </a:lnTo>
                    <a:lnTo>
                      <a:pt x="243" y="96"/>
                    </a:lnTo>
                    <a:lnTo>
                      <a:pt x="237" y="104"/>
                    </a:lnTo>
                    <a:lnTo>
                      <a:pt x="229" y="110"/>
                    </a:lnTo>
                    <a:lnTo>
                      <a:pt x="237" y="116"/>
                    </a:lnTo>
                    <a:lnTo>
                      <a:pt x="243" y="130"/>
                    </a:lnTo>
                    <a:lnTo>
                      <a:pt x="237" y="138"/>
                    </a:lnTo>
                    <a:lnTo>
                      <a:pt x="237" y="144"/>
                    </a:lnTo>
                    <a:lnTo>
                      <a:pt x="223" y="158"/>
                    </a:lnTo>
                    <a:lnTo>
                      <a:pt x="207" y="166"/>
                    </a:lnTo>
                    <a:lnTo>
                      <a:pt x="207" y="180"/>
                    </a:lnTo>
                    <a:lnTo>
                      <a:pt x="207" y="186"/>
                    </a:lnTo>
                    <a:lnTo>
                      <a:pt x="201" y="192"/>
                    </a:lnTo>
                    <a:lnTo>
                      <a:pt x="187" y="200"/>
                    </a:lnTo>
                    <a:lnTo>
                      <a:pt x="173" y="206"/>
                    </a:lnTo>
                    <a:lnTo>
                      <a:pt x="173" y="220"/>
                    </a:lnTo>
                    <a:lnTo>
                      <a:pt x="167" y="234"/>
                    </a:lnTo>
                    <a:lnTo>
                      <a:pt x="159" y="240"/>
                    </a:lnTo>
                    <a:lnTo>
                      <a:pt x="159" y="254"/>
                    </a:lnTo>
                    <a:lnTo>
                      <a:pt x="159" y="262"/>
                    </a:lnTo>
                    <a:lnTo>
                      <a:pt x="159" y="268"/>
                    </a:lnTo>
                    <a:lnTo>
                      <a:pt x="153" y="290"/>
                    </a:lnTo>
                    <a:lnTo>
                      <a:pt x="153" y="296"/>
                    </a:lnTo>
                    <a:lnTo>
                      <a:pt x="139" y="302"/>
                    </a:lnTo>
                    <a:lnTo>
                      <a:pt x="133" y="310"/>
                    </a:lnTo>
                    <a:lnTo>
                      <a:pt x="139" y="324"/>
                    </a:lnTo>
                    <a:lnTo>
                      <a:pt x="139" y="330"/>
                    </a:lnTo>
                    <a:lnTo>
                      <a:pt x="139" y="338"/>
                    </a:lnTo>
                    <a:lnTo>
                      <a:pt x="147" y="352"/>
                    </a:lnTo>
                    <a:lnTo>
                      <a:pt x="139" y="358"/>
                    </a:lnTo>
                    <a:lnTo>
                      <a:pt x="125" y="358"/>
                    </a:lnTo>
                    <a:lnTo>
                      <a:pt x="119" y="358"/>
                    </a:lnTo>
                    <a:lnTo>
                      <a:pt x="111" y="366"/>
                    </a:lnTo>
                    <a:lnTo>
                      <a:pt x="105" y="372"/>
                    </a:lnTo>
                    <a:lnTo>
                      <a:pt x="97" y="372"/>
                    </a:lnTo>
                    <a:lnTo>
                      <a:pt x="97" y="366"/>
                    </a:lnTo>
                    <a:lnTo>
                      <a:pt x="82" y="372"/>
                    </a:lnTo>
                    <a:lnTo>
                      <a:pt x="76" y="380"/>
                    </a:lnTo>
                    <a:lnTo>
                      <a:pt x="68" y="392"/>
                    </a:lnTo>
                    <a:lnTo>
                      <a:pt x="68" y="406"/>
                    </a:lnTo>
                    <a:lnTo>
                      <a:pt x="68" y="420"/>
                    </a:lnTo>
                    <a:lnTo>
                      <a:pt x="68" y="434"/>
                    </a:lnTo>
                    <a:lnTo>
                      <a:pt x="62" y="442"/>
                    </a:lnTo>
                    <a:lnTo>
                      <a:pt x="62" y="456"/>
                    </a:lnTo>
                    <a:lnTo>
                      <a:pt x="62" y="462"/>
                    </a:lnTo>
                    <a:lnTo>
                      <a:pt x="68" y="468"/>
                    </a:lnTo>
                    <a:lnTo>
                      <a:pt x="68" y="482"/>
                    </a:lnTo>
                    <a:lnTo>
                      <a:pt x="68" y="490"/>
                    </a:lnTo>
                    <a:lnTo>
                      <a:pt x="62" y="504"/>
                    </a:lnTo>
                    <a:lnTo>
                      <a:pt x="62" y="510"/>
                    </a:lnTo>
                    <a:lnTo>
                      <a:pt x="62" y="516"/>
                    </a:lnTo>
                    <a:lnTo>
                      <a:pt x="68" y="524"/>
                    </a:lnTo>
                    <a:lnTo>
                      <a:pt x="76" y="530"/>
                    </a:lnTo>
                    <a:lnTo>
                      <a:pt x="76" y="538"/>
                    </a:lnTo>
                    <a:lnTo>
                      <a:pt x="76" y="552"/>
                    </a:lnTo>
                    <a:lnTo>
                      <a:pt x="76" y="558"/>
                    </a:lnTo>
                    <a:lnTo>
                      <a:pt x="56" y="572"/>
                    </a:lnTo>
                    <a:lnTo>
                      <a:pt x="56" y="580"/>
                    </a:lnTo>
                    <a:lnTo>
                      <a:pt x="62" y="592"/>
                    </a:lnTo>
                    <a:lnTo>
                      <a:pt x="62" y="600"/>
                    </a:lnTo>
                    <a:lnTo>
                      <a:pt x="62" y="606"/>
                    </a:lnTo>
                    <a:lnTo>
                      <a:pt x="62" y="628"/>
                    </a:lnTo>
                    <a:lnTo>
                      <a:pt x="56" y="648"/>
                    </a:lnTo>
                    <a:lnTo>
                      <a:pt x="48" y="648"/>
                    </a:lnTo>
                    <a:lnTo>
                      <a:pt x="42" y="648"/>
                    </a:lnTo>
                    <a:lnTo>
                      <a:pt x="34" y="654"/>
                    </a:lnTo>
                    <a:lnTo>
                      <a:pt x="34" y="662"/>
                    </a:lnTo>
                    <a:lnTo>
                      <a:pt x="28" y="670"/>
                    </a:lnTo>
                    <a:lnTo>
                      <a:pt x="28" y="676"/>
                    </a:lnTo>
                    <a:lnTo>
                      <a:pt x="14" y="690"/>
                    </a:lnTo>
                    <a:lnTo>
                      <a:pt x="20" y="696"/>
                    </a:lnTo>
                    <a:lnTo>
                      <a:pt x="20" y="704"/>
                    </a:lnTo>
                    <a:lnTo>
                      <a:pt x="20" y="710"/>
                    </a:lnTo>
                    <a:lnTo>
                      <a:pt x="14" y="718"/>
                    </a:lnTo>
                    <a:lnTo>
                      <a:pt x="6" y="710"/>
                    </a:lnTo>
                    <a:lnTo>
                      <a:pt x="6" y="704"/>
                    </a:lnTo>
                    <a:lnTo>
                      <a:pt x="0" y="704"/>
                    </a:lnTo>
                    <a:lnTo>
                      <a:pt x="0" y="704"/>
                    </a:lnTo>
                    <a:lnTo>
                      <a:pt x="0" y="718"/>
                    </a:lnTo>
                    <a:lnTo>
                      <a:pt x="0" y="724"/>
                    </a:lnTo>
                    <a:lnTo>
                      <a:pt x="0" y="738"/>
                    </a:lnTo>
                    <a:lnTo>
                      <a:pt x="0" y="744"/>
                    </a:lnTo>
                    <a:lnTo>
                      <a:pt x="0" y="752"/>
                    </a:lnTo>
                    <a:lnTo>
                      <a:pt x="0" y="758"/>
                    </a:lnTo>
                    <a:lnTo>
                      <a:pt x="0" y="766"/>
                    </a:lnTo>
                    <a:lnTo>
                      <a:pt x="8" y="766"/>
                    </a:lnTo>
                    <a:lnTo>
                      <a:pt x="8" y="780"/>
                    </a:lnTo>
                    <a:lnTo>
                      <a:pt x="14" y="772"/>
                    </a:lnTo>
                    <a:lnTo>
                      <a:pt x="20" y="780"/>
                    </a:lnTo>
                    <a:lnTo>
                      <a:pt x="14" y="794"/>
                    </a:lnTo>
                    <a:lnTo>
                      <a:pt x="14" y="800"/>
                    </a:lnTo>
                    <a:lnTo>
                      <a:pt x="14" y="806"/>
                    </a:lnTo>
                    <a:lnTo>
                      <a:pt x="14" y="814"/>
                    </a:lnTo>
                    <a:lnTo>
                      <a:pt x="14" y="828"/>
                    </a:lnTo>
                    <a:lnTo>
                      <a:pt x="14" y="834"/>
                    </a:lnTo>
                    <a:lnTo>
                      <a:pt x="20" y="840"/>
                    </a:lnTo>
                    <a:lnTo>
                      <a:pt x="14" y="848"/>
                    </a:lnTo>
                    <a:lnTo>
                      <a:pt x="14" y="862"/>
                    </a:lnTo>
                    <a:lnTo>
                      <a:pt x="20" y="868"/>
                    </a:lnTo>
                    <a:lnTo>
                      <a:pt x="28" y="868"/>
                    </a:lnTo>
                    <a:lnTo>
                      <a:pt x="28" y="890"/>
                    </a:lnTo>
                    <a:lnTo>
                      <a:pt x="42" y="896"/>
                    </a:lnTo>
                    <a:lnTo>
                      <a:pt x="42" y="902"/>
                    </a:lnTo>
                    <a:lnTo>
                      <a:pt x="42" y="910"/>
                    </a:lnTo>
                    <a:lnTo>
                      <a:pt x="34" y="910"/>
                    </a:lnTo>
                    <a:lnTo>
                      <a:pt x="34" y="918"/>
                    </a:lnTo>
                    <a:lnTo>
                      <a:pt x="28" y="924"/>
                    </a:lnTo>
                    <a:lnTo>
                      <a:pt x="28" y="930"/>
                    </a:lnTo>
                    <a:lnTo>
                      <a:pt x="28" y="938"/>
                    </a:lnTo>
                    <a:lnTo>
                      <a:pt x="34" y="944"/>
                    </a:lnTo>
                    <a:lnTo>
                      <a:pt x="34" y="952"/>
                    </a:lnTo>
                    <a:lnTo>
                      <a:pt x="42" y="958"/>
                    </a:lnTo>
                    <a:lnTo>
                      <a:pt x="42" y="964"/>
                    </a:lnTo>
                    <a:lnTo>
                      <a:pt x="42" y="980"/>
                    </a:lnTo>
                    <a:lnTo>
                      <a:pt x="34" y="986"/>
                    </a:lnTo>
                    <a:lnTo>
                      <a:pt x="42" y="992"/>
                    </a:lnTo>
                    <a:lnTo>
                      <a:pt x="48" y="986"/>
                    </a:lnTo>
                    <a:lnTo>
                      <a:pt x="56" y="992"/>
                    </a:lnTo>
                    <a:lnTo>
                      <a:pt x="76" y="986"/>
                    </a:lnTo>
                    <a:lnTo>
                      <a:pt x="84" y="992"/>
                    </a:lnTo>
                    <a:lnTo>
                      <a:pt x="90" y="992"/>
                    </a:lnTo>
                    <a:lnTo>
                      <a:pt x="99" y="992"/>
                    </a:lnTo>
                    <a:lnTo>
                      <a:pt x="99" y="986"/>
                    </a:lnTo>
                    <a:lnTo>
                      <a:pt x="99" y="972"/>
                    </a:lnTo>
                    <a:lnTo>
                      <a:pt x="99" y="958"/>
                    </a:lnTo>
                    <a:lnTo>
                      <a:pt x="105" y="952"/>
                    </a:lnTo>
                    <a:lnTo>
                      <a:pt x="111" y="952"/>
                    </a:lnTo>
                    <a:lnTo>
                      <a:pt x="119" y="952"/>
                    </a:lnTo>
                    <a:lnTo>
                      <a:pt x="125" y="944"/>
                    </a:lnTo>
                    <a:lnTo>
                      <a:pt x="119" y="944"/>
                    </a:lnTo>
                    <a:lnTo>
                      <a:pt x="125" y="938"/>
                    </a:lnTo>
                    <a:lnTo>
                      <a:pt x="139" y="930"/>
                    </a:lnTo>
                    <a:lnTo>
                      <a:pt x="153" y="938"/>
                    </a:lnTo>
                    <a:lnTo>
                      <a:pt x="153" y="944"/>
                    </a:lnTo>
                    <a:lnTo>
                      <a:pt x="161" y="944"/>
                    </a:lnTo>
                    <a:lnTo>
                      <a:pt x="175" y="944"/>
                    </a:lnTo>
                    <a:lnTo>
                      <a:pt x="181" y="944"/>
                    </a:lnTo>
                    <a:lnTo>
                      <a:pt x="181" y="930"/>
                    </a:lnTo>
                    <a:lnTo>
                      <a:pt x="181" y="924"/>
                    </a:lnTo>
                    <a:lnTo>
                      <a:pt x="195" y="902"/>
                    </a:lnTo>
                    <a:lnTo>
                      <a:pt x="195" y="890"/>
                    </a:lnTo>
                    <a:lnTo>
                      <a:pt x="201" y="882"/>
                    </a:lnTo>
                    <a:lnTo>
                      <a:pt x="209" y="876"/>
                    </a:lnTo>
                    <a:lnTo>
                      <a:pt x="209" y="868"/>
                    </a:lnTo>
                    <a:lnTo>
                      <a:pt x="201" y="868"/>
                    </a:lnTo>
                    <a:lnTo>
                      <a:pt x="209" y="854"/>
                    </a:lnTo>
                    <a:lnTo>
                      <a:pt x="215" y="848"/>
                    </a:lnTo>
                    <a:lnTo>
                      <a:pt x="209" y="840"/>
                    </a:lnTo>
                    <a:lnTo>
                      <a:pt x="209" y="834"/>
                    </a:lnTo>
                    <a:lnTo>
                      <a:pt x="209" y="828"/>
                    </a:lnTo>
                    <a:lnTo>
                      <a:pt x="215" y="820"/>
                    </a:lnTo>
                    <a:lnTo>
                      <a:pt x="215" y="814"/>
                    </a:lnTo>
                    <a:lnTo>
                      <a:pt x="223" y="800"/>
                    </a:lnTo>
                    <a:lnTo>
                      <a:pt x="223" y="794"/>
                    </a:lnTo>
                    <a:lnTo>
                      <a:pt x="223" y="786"/>
                    </a:lnTo>
                    <a:lnTo>
                      <a:pt x="215" y="772"/>
                    </a:lnTo>
                    <a:lnTo>
                      <a:pt x="229" y="766"/>
                    </a:lnTo>
                    <a:lnTo>
                      <a:pt x="209" y="758"/>
                    </a:lnTo>
                    <a:lnTo>
                      <a:pt x="215" y="752"/>
                    </a:lnTo>
                    <a:lnTo>
                      <a:pt x="229" y="758"/>
                    </a:lnTo>
                    <a:lnTo>
                      <a:pt x="237" y="758"/>
                    </a:lnTo>
                    <a:lnTo>
                      <a:pt x="249" y="744"/>
                    </a:lnTo>
                    <a:lnTo>
                      <a:pt x="249" y="738"/>
                    </a:lnTo>
                    <a:lnTo>
                      <a:pt x="249" y="730"/>
                    </a:lnTo>
                    <a:lnTo>
                      <a:pt x="257" y="730"/>
                    </a:lnTo>
                    <a:lnTo>
                      <a:pt x="263" y="730"/>
                    </a:lnTo>
                    <a:lnTo>
                      <a:pt x="271" y="738"/>
                    </a:lnTo>
                    <a:lnTo>
                      <a:pt x="277" y="724"/>
                    </a:lnTo>
                    <a:lnTo>
                      <a:pt x="285" y="718"/>
                    </a:lnTo>
                    <a:lnTo>
                      <a:pt x="299" y="710"/>
                    </a:lnTo>
                    <a:lnTo>
                      <a:pt x="285" y="704"/>
                    </a:lnTo>
                    <a:lnTo>
                      <a:pt x="285" y="696"/>
                    </a:lnTo>
                    <a:lnTo>
                      <a:pt x="291" y="690"/>
                    </a:lnTo>
                    <a:lnTo>
                      <a:pt x="299" y="690"/>
                    </a:lnTo>
                    <a:lnTo>
                      <a:pt x="313" y="670"/>
                    </a:lnTo>
                    <a:lnTo>
                      <a:pt x="305" y="662"/>
                    </a:lnTo>
                    <a:lnTo>
                      <a:pt x="305" y="648"/>
                    </a:lnTo>
                    <a:lnTo>
                      <a:pt x="291" y="654"/>
                    </a:lnTo>
                    <a:lnTo>
                      <a:pt x="291" y="648"/>
                    </a:lnTo>
                    <a:lnTo>
                      <a:pt x="291" y="640"/>
                    </a:lnTo>
                    <a:lnTo>
                      <a:pt x="285" y="634"/>
                    </a:lnTo>
                    <a:lnTo>
                      <a:pt x="277" y="628"/>
                    </a:lnTo>
                    <a:lnTo>
                      <a:pt x="277" y="620"/>
                    </a:lnTo>
                    <a:lnTo>
                      <a:pt x="277" y="614"/>
                    </a:lnTo>
                    <a:lnTo>
                      <a:pt x="263" y="620"/>
                    </a:lnTo>
                    <a:lnTo>
                      <a:pt x="257" y="614"/>
                    </a:lnTo>
                    <a:lnTo>
                      <a:pt x="249" y="606"/>
                    </a:lnTo>
                    <a:lnTo>
                      <a:pt x="249" y="592"/>
                    </a:lnTo>
                    <a:lnTo>
                      <a:pt x="243" y="586"/>
                    </a:lnTo>
                    <a:lnTo>
                      <a:pt x="243" y="580"/>
                    </a:lnTo>
                    <a:lnTo>
                      <a:pt x="237" y="572"/>
                    </a:lnTo>
                    <a:lnTo>
                      <a:pt x="243" y="572"/>
                    </a:lnTo>
                    <a:lnTo>
                      <a:pt x="249" y="566"/>
                    </a:lnTo>
                    <a:lnTo>
                      <a:pt x="249" y="552"/>
                    </a:lnTo>
                    <a:lnTo>
                      <a:pt x="249" y="544"/>
                    </a:lnTo>
                    <a:lnTo>
                      <a:pt x="249" y="530"/>
                    </a:lnTo>
                    <a:lnTo>
                      <a:pt x="257" y="530"/>
                    </a:lnTo>
                    <a:lnTo>
                      <a:pt x="249" y="524"/>
                    </a:lnTo>
                    <a:lnTo>
                      <a:pt x="257" y="516"/>
                    </a:lnTo>
                    <a:lnTo>
                      <a:pt x="257" y="504"/>
                    </a:lnTo>
                    <a:lnTo>
                      <a:pt x="263" y="496"/>
                    </a:lnTo>
                    <a:lnTo>
                      <a:pt x="263" y="482"/>
                    </a:lnTo>
                    <a:lnTo>
                      <a:pt x="243" y="482"/>
                    </a:lnTo>
                    <a:lnTo>
                      <a:pt x="243" y="468"/>
                    </a:lnTo>
                    <a:lnTo>
                      <a:pt x="249" y="462"/>
                    </a:lnTo>
                    <a:lnTo>
                      <a:pt x="263" y="468"/>
                    </a:lnTo>
                    <a:lnTo>
                      <a:pt x="271" y="462"/>
                    </a:lnTo>
                    <a:lnTo>
                      <a:pt x="277" y="462"/>
                    </a:lnTo>
                    <a:lnTo>
                      <a:pt x="285" y="456"/>
                    </a:lnTo>
                    <a:lnTo>
                      <a:pt x="291" y="456"/>
                    </a:lnTo>
                    <a:lnTo>
                      <a:pt x="305" y="448"/>
                    </a:lnTo>
                    <a:lnTo>
                      <a:pt x="299" y="442"/>
                    </a:lnTo>
                    <a:lnTo>
                      <a:pt x="313" y="428"/>
                    </a:lnTo>
                    <a:lnTo>
                      <a:pt x="305" y="420"/>
                    </a:lnTo>
                    <a:lnTo>
                      <a:pt x="319" y="420"/>
                    </a:lnTo>
                    <a:lnTo>
                      <a:pt x="327" y="406"/>
                    </a:lnTo>
                    <a:lnTo>
                      <a:pt x="333" y="414"/>
                    </a:lnTo>
                    <a:lnTo>
                      <a:pt x="347" y="406"/>
                    </a:lnTo>
                    <a:lnTo>
                      <a:pt x="341" y="400"/>
                    </a:lnTo>
                    <a:lnTo>
                      <a:pt x="347" y="392"/>
                    </a:lnTo>
                    <a:lnTo>
                      <a:pt x="353" y="392"/>
                    </a:lnTo>
                    <a:lnTo>
                      <a:pt x="367" y="386"/>
                    </a:lnTo>
                    <a:lnTo>
                      <a:pt x="367" y="372"/>
                    </a:lnTo>
                    <a:lnTo>
                      <a:pt x="367" y="366"/>
                    </a:lnTo>
                    <a:lnTo>
                      <a:pt x="367" y="358"/>
                    </a:lnTo>
                    <a:lnTo>
                      <a:pt x="375" y="344"/>
                    </a:lnTo>
                    <a:lnTo>
                      <a:pt x="381" y="344"/>
                    </a:lnTo>
                    <a:lnTo>
                      <a:pt x="389" y="330"/>
                    </a:lnTo>
                    <a:lnTo>
                      <a:pt x="395" y="324"/>
                    </a:lnTo>
                    <a:lnTo>
                      <a:pt x="389" y="318"/>
                    </a:lnTo>
                    <a:lnTo>
                      <a:pt x="389" y="310"/>
                    </a:lnTo>
                    <a:lnTo>
                      <a:pt x="389" y="296"/>
                    </a:lnTo>
                    <a:lnTo>
                      <a:pt x="389" y="282"/>
                    </a:lnTo>
                    <a:lnTo>
                      <a:pt x="395" y="276"/>
                    </a:lnTo>
                    <a:lnTo>
                      <a:pt x="395" y="268"/>
                    </a:lnTo>
                    <a:lnTo>
                      <a:pt x="395" y="262"/>
                    </a:lnTo>
                    <a:lnTo>
                      <a:pt x="403" y="254"/>
                    </a:lnTo>
                    <a:lnTo>
                      <a:pt x="417" y="254"/>
                    </a:lnTo>
                    <a:lnTo>
                      <a:pt x="417" y="240"/>
                    </a:lnTo>
                    <a:lnTo>
                      <a:pt x="417" y="228"/>
                    </a:lnTo>
                    <a:lnTo>
                      <a:pt x="417" y="220"/>
                    </a:lnTo>
                    <a:lnTo>
                      <a:pt x="423" y="220"/>
                    </a:lnTo>
                    <a:lnTo>
                      <a:pt x="429" y="228"/>
                    </a:lnTo>
                    <a:lnTo>
                      <a:pt x="443" y="214"/>
                    </a:lnTo>
                    <a:lnTo>
                      <a:pt x="451" y="220"/>
                    </a:lnTo>
                    <a:lnTo>
                      <a:pt x="457" y="220"/>
                    </a:lnTo>
                    <a:lnTo>
                      <a:pt x="465" y="220"/>
                    </a:lnTo>
                    <a:lnTo>
                      <a:pt x="471" y="228"/>
                    </a:lnTo>
                    <a:lnTo>
                      <a:pt x="477" y="220"/>
                    </a:lnTo>
                    <a:lnTo>
                      <a:pt x="477" y="220"/>
                    </a:lnTo>
                    <a:lnTo>
                      <a:pt x="477" y="220"/>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8" name="Freeform 62"/>
              <p:cNvSpPr>
                <a:spLocks/>
              </p:cNvSpPr>
              <p:nvPr>
                <p:custDataLst>
                  <p:tags r:id="rId145"/>
                </p:custDataLst>
              </p:nvPr>
            </p:nvSpPr>
            <p:spPr bwMode="gray">
              <a:xfrm>
                <a:off x="5322514" y="932755"/>
                <a:ext cx="652608" cy="1190889"/>
              </a:xfrm>
              <a:custGeom>
                <a:avLst/>
                <a:gdLst>
                  <a:gd name="T0" fmla="*/ 222 w 411"/>
                  <a:gd name="T1" fmla="*/ 68 h 750"/>
                  <a:gd name="T2" fmla="*/ 228 w 411"/>
                  <a:gd name="T3" fmla="*/ 34 h 750"/>
                  <a:gd name="T4" fmla="*/ 186 w 411"/>
                  <a:gd name="T5" fmla="*/ 14 h 750"/>
                  <a:gd name="T6" fmla="*/ 166 w 411"/>
                  <a:gd name="T7" fmla="*/ 14 h 750"/>
                  <a:gd name="T8" fmla="*/ 138 w 411"/>
                  <a:gd name="T9" fmla="*/ 62 h 750"/>
                  <a:gd name="T10" fmla="*/ 130 w 411"/>
                  <a:gd name="T11" fmla="*/ 88 h 750"/>
                  <a:gd name="T12" fmla="*/ 104 w 411"/>
                  <a:gd name="T13" fmla="*/ 116 h 750"/>
                  <a:gd name="T14" fmla="*/ 62 w 411"/>
                  <a:gd name="T15" fmla="*/ 110 h 750"/>
                  <a:gd name="T16" fmla="*/ 34 w 411"/>
                  <a:gd name="T17" fmla="*/ 88 h 750"/>
                  <a:gd name="T18" fmla="*/ 6 w 411"/>
                  <a:gd name="T19" fmla="*/ 68 h 750"/>
                  <a:gd name="T20" fmla="*/ 26 w 411"/>
                  <a:gd name="T21" fmla="*/ 110 h 750"/>
                  <a:gd name="T22" fmla="*/ 48 w 411"/>
                  <a:gd name="T23" fmla="*/ 130 h 750"/>
                  <a:gd name="T24" fmla="*/ 82 w 411"/>
                  <a:gd name="T25" fmla="*/ 158 h 750"/>
                  <a:gd name="T26" fmla="*/ 90 w 411"/>
                  <a:gd name="T27" fmla="*/ 186 h 750"/>
                  <a:gd name="T28" fmla="*/ 96 w 411"/>
                  <a:gd name="T29" fmla="*/ 206 h 750"/>
                  <a:gd name="T30" fmla="*/ 104 w 411"/>
                  <a:gd name="T31" fmla="*/ 234 h 750"/>
                  <a:gd name="T32" fmla="*/ 104 w 411"/>
                  <a:gd name="T33" fmla="*/ 276 h 750"/>
                  <a:gd name="T34" fmla="*/ 116 w 411"/>
                  <a:gd name="T35" fmla="*/ 316 h 750"/>
                  <a:gd name="T36" fmla="*/ 144 w 411"/>
                  <a:gd name="T37" fmla="*/ 330 h 750"/>
                  <a:gd name="T38" fmla="*/ 152 w 411"/>
                  <a:gd name="T39" fmla="*/ 364 h 750"/>
                  <a:gd name="T40" fmla="*/ 152 w 411"/>
                  <a:gd name="T41" fmla="*/ 384 h 750"/>
                  <a:gd name="T42" fmla="*/ 124 w 411"/>
                  <a:gd name="T43" fmla="*/ 414 h 750"/>
                  <a:gd name="T44" fmla="*/ 96 w 411"/>
                  <a:gd name="T45" fmla="*/ 454 h 750"/>
                  <a:gd name="T46" fmla="*/ 82 w 411"/>
                  <a:gd name="T47" fmla="*/ 482 h 750"/>
                  <a:gd name="T48" fmla="*/ 68 w 411"/>
                  <a:gd name="T49" fmla="*/ 496 h 750"/>
                  <a:gd name="T50" fmla="*/ 40 w 411"/>
                  <a:gd name="T51" fmla="*/ 510 h 750"/>
                  <a:gd name="T52" fmla="*/ 26 w 411"/>
                  <a:gd name="T53" fmla="*/ 558 h 750"/>
                  <a:gd name="T54" fmla="*/ 26 w 411"/>
                  <a:gd name="T55" fmla="*/ 592 h 750"/>
                  <a:gd name="T56" fmla="*/ 40 w 411"/>
                  <a:gd name="T57" fmla="*/ 640 h 750"/>
                  <a:gd name="T58" fmla="*/ 26 w 411"/>
                  <a:gd name="T59" fmla="*/ 682 h 750"/>
                  <a:gd name="T60" fmla="*/ 82 w 411"/>
                  <a:gd name="T61" fmla="*/ 710 h 750"/>
                  <a:gd name="T62" fmla="*/ 104 w 411"/>
                  <a:gd name="T63" fmla="*/ 744 h 750"/>
                  <a:gd name="T64" fmla="*/ 144 w 411"/>
                  <a:gd name="T65" fmla="*/ 736 h 750"/>
                  <a:gd name="T66" fmla="*/ 172 w 411"/>
                  <a:gd name="T67" fmla="*/ 730 h 750"/>
                  <a:gd name="T68" fmla="*/ 222 w 411"/>
                  <a:gd name="T69" fmla="*/ 716 h 750"/>
                  <a:gd name="T70" fmla="*/ 236 w 411"/>
                  <a:gd name="T71" fmla="*/ 710 h 750"/>
                  <a:gd name="T72" fmla="*/ 270 w 411"/>
                  <a:gd name="T73" fmla="*/ 688 h 750"/>
                  <a:gd name="T74" fmla="*/ 312 w 411"/>
                  <a:gd name="T75" fmla="*/ 654 h 750"/>
                  <a:gd name="T76" fmla="*/ 338 w 411"/>
                  <a:gd name="T77" fmla="*/ 620 h 750"/>
                  <a:gd name="T78" fmla="*/ 361 w 411"/>
                  <a:gd name="T79" fmla="*/ 592 h 750"/>
                  <a:gd name="T80" fmla="*/ 367 w 411"/>
                  <a:gd name="T81" fmla="*/ 558 h 750"/>
                  <a:gd name="T82" fmla="*/ 389 w 411"/>
                  <a:gd name="T83" fmla="*/ 522 h 750"/>
                  <a:gd name="T84" fmla="*/ 395 w 411"/>
                  <a:gd name="T85" fmla="*/ 482 h 750"/>
                  <a:gd name="T86" fmla="*/ 338 w 411"/>
                  <a:gd name="T87" fmla="*/ 454 h 750"/>
                  <a:gd name="T88" fmla="*/ 338 w 411"/>
                  <a:gd name="T89" fmla="*/ 440 h 750"/>
                  <a:gd name="T90" fmla="*/ 338 w 411"/>
                  <a:gd name="T91" fmla="*/ 414 h 750"/>
                  <a:gd name="T92" fmla="*/ 326 w 411"/>
                  <a:gd name="T93" fmla="*/ 392 h 750"/>
                  <a:gd name="T94" fmla="*/ 318 w 411"/>
                  <a:gd name="T95" fmla="*/ 364 h 750"/>
                  <a:gd name="T96" fmla="*/ 304 w 411"/>
                  <a:gd name="T97" fmla="*/ 350 h 750"/>
                  <a:gd name="T98" fmla="*/ 304 w 411"/>
                  <a:gd name="T99" fmla="*/ 322 h 750"/>
                  <a:gd name="T100" fmla="*/ 304 w 411"/>
                  <a:gd name="T101" fmla="*/ 288 h 750"/>
                  <a:gd name="T102" fmla="*/ 270 w 411"/>
                  <a:gd name="T103" fmla="*/ 248 h 750"/>
                  <a:gd name="T104" fmla="*/ 256 w 411"/>
                  <a:gd name="T105" fmla="*/ 206 h 750"/>
                  <a:gd name="T106" fmla="*/ 262 w 411"/>
                  <a:gd name="T107" fmla="*/ 172 h 750"/>
                  <a:gd name="T108" fmla="*/ 236 w 411"/>
                  <a:gd name="T109" fmla="*/ 130 h 750"/>
                  <a:gd name="T110" fmla="*/ 214 w 411"/>
                  <a:gd name="T111" fmla="*/ 102 h 750"/>
                  <a:gd name="T112" fmla="*/ 228 w 411"/>
                  <a:gd name="T113" fmla="*/ 82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1" h="750">
                    <a:moveTo>
                      <a:pt x="228" y="82"/>
                    </a:moveTo>
                    <a:lnTo>
                      <a:pt x="222" y="82"/>
                    </a:lnTo>
                    <a:lnTo>
                      <a:pt x="222" y="74"/>
                    </a:lnTo>
                    <a:lnTo>
                      <a:pt x="222" y="68"/>
                    </a:lnTo>
                    <a:lnTo>
                      <a:pt x="222" y="62"/>
                    </a:lnTo>
                    <a:lnTo>
                      <a:pt x="222" y="48"/>
                    </a:lnTo>
                    <a:lnTo>
                      <a:pt x="228" y="40"/>
                    </a:lnTo>
                    <a:lnTo>
                      <a:pt x="228" y="34"/>
                    </a:lnTo>
                    <a:lnTo>
                      <a:pt x="222" y="26"/>
                    </a:lnTo>
                    <a:lnTo>
                      <a:pt x="214" y="20"/>
                    </a:lnTo>
                    <a:lnTo>
                      <a:pt x="206" y="20"/>
                    </a:lnTo>
                    <a:lnTo>
                      <a:pt x="186" y="14"/>
                    </a:lnTo>
                    <a:lnTo>
                      <a:pt x="194" y="0"/>
                    </a:lnTo>
                    <a:lnTo>
                      <a:pt x="186" y="0"/>
                    </a:lnTo>
                    <a:lnTo>
                      <a:pt x="180" y="6"/>
                    </a:lnTo>
                    <a:lnTo>
                      <a:pt x="166" y="14"/>
                    </a:lnTo>
                    <a:lnTo>
                      <a:pt x="152" y="14"/>
                    </a:lnTo>
                    <a:lnTo>
                      <a:pt x="144" y="20"/>
                    </a:lnTo>
                    <a:lnTo>
                      <a:pt x="144" y="48"/>
                    </a:lnTo>
                    <a:lnTo>
                      <a:pt x="138" y="62"/>
                    </a:lnTo>
                    <a:lnTo>
                      <a:pt x="138" y="68"/>
                    </a:lnTo>
                    <a:lnTo>
                      <a:pt x="138" y="74"/>
                    </a:lnTo>
                    <a:lnTo>
                      <a:pt x="138" y="82"/>
                    </a:lnTo>
                    <a:lnTo>
                      <a:pt x="130" y="88"/>
                    </a:lnTo>
                    <a:lnTo>
                      <a:pt x="124" y="102"/>
                    </a:lnTo>
                    <a:lnTo>
                      <a:pt x="124" y="110"/>
                    </a:lnTo>
                    <a:lnTo>
                      <a:pt x="116" y="110"/>
                    </a:lnTo>
                    <a:lnTo>
                      <a:pt x="104" y="116"/>
                    </a:lnTo>
                    <a:lnTo>
                      <a:pt x="96" y="102"/>
                    </a:lnTo>
                    <a:lnTo>
                      <a:pt x="90" y="102"/>
                    </a:lnTo>
                    <a:lnTo>
                      <a:pt x="82" y="110"/>
                    </a:lnTo>
                    <a:lnTo>
                      <a:pt x="62" y="110"/>
                    </a:lnTo>
                    <a:lnTo>
                      <a:pt x="54" y="102"/>
                    </a:lnTo>
                    <a:lnTo>
                      <a:pt x="48" y="102"/>
                    </a:lnTo>
                    <a:lnTo>
                      <a:pt x="40" y="102"/>
                    </a:lnTo>
                    <a:lnTo>
                      <a:pt x="34" y="88"/>
                    </a:lnTo>
                    <a:lnTo>
                      <a:pt x="34" y="82"/>
                    </a:lnTo>
                    <a:lnTo>
                      <a:pt x="20" y="74"/>
                    </a:lnTo>
                    <a:lnTo>
                      <a:pt x="14" y="68"/>
                    </a:lnTo>
                    <a:lnTo>
                      <a:pt x="6" y="68"/>
                    </a:lnTo>
                    <a:lnTo>
                      <a:pt x="0" y="82"/>
                    </a:lnTo>
                    <a:lnTo>
                      <a:pt x="0" y="96"/>
                    </a:lnTo>
                    <a:lnTo>
                      <a:pt x="14" y="102"/>
                    </a:lnTo>
                    <a:lnTo>
                      <a:pt x="26" y="110"/>
                    </a:lnTo>
                    <a:lnTo>
                      <a:pt x="26" y="124"/>
                    </a:lnTo>
                    <a:lnTo>
                      <a:pt x="34" y="124"/>
                    </a:lnTo>
                    <a:lnTo>
                      <a:pt x="40" y="130"/>
                    </a:lnTo>
                    <a:lnTo>
                      <a:pt x="48" y="130"/>
                    </a:lnTo>
                    <a:lnTo>
                      <a:pt x="62" y="138"/>
                    </a:lnTo>
                    <a:lnTo>
                      <a:pt x="76" y="144"/>
                    </a:lnTo>
                    <a:lnTo>
                      <a:pt x="82" y="144"/>
                    </a:lnTo>
                    <a:lnTo>
                      <a:pt x="82" y="158"/>
                    </a:lnTo>
                    <a:lnTo>
                      <a:pt x="90" y="164"/>
                    </a:lnTo>
                    <a:lnTo>
                      <a:pt x="90" y="172"/>
                    </a:lnTo>
                    <a:lnTo>
                      <a:pt x="90" y="178"/>
                    </a:lnTo>
                    <a:lnTo>
                      <a:pt x="90" y="186"/>
                    </a:lnTo>
                    <a:lnTo>
                      <a:pt x="90" y="192"/>
                    </a:lnTo>
                    <a:lnTo>
                      <a:pt x="82" y="198"/>
                    </a:lnTo>
                    <a:lnTo>
                      <a:pt x="96" y="198"/>
                    </a:lnTo>
                    <a:lnTo>
                      <a:pt x="96" y="206"/>
                    </a:lnTo>
                    <a:lnTo>
                      <a:pt x="96" y="212"/>
                    </a:lnTo>
                    <a:lnTo>
                      <a:pt x="96" y="220"/>
                    </a:lnTo>
                    <a:lnTo>
                      <a:pt x="104" y="226"/>
                    </a:lnTo>
                    <a:lnTo>
                      <a:pt x="104" y="234"/>
                    </a:lnTo>
                    <a:lnTo>
                      <a:pt x="110" y="240"/>
                    </a:lnTo>
                    <a:lnTo>
                      <a:pt x="104" y="248"/>
                    </a:lnTo>
                    <a:lnTo>
                      <a:pt x="104" y="262"/>
                    </a:lnTo>
                    <a:lnTo>
                      <a:pt x="104" y="276"/>
                    </a:lnTo>
                    <a:lnTo>
                      <a:pt x="104" y="282"/>
                    </a:lnTo>
                    <a:lnTo>
                      <a:pt x="110" y="296"/>
                    </a:lnTo>
                    <a:lnTo>
                      <a:pt x="116" y="302"/>
                    </a:lnTo>
                    <a:lnTo>
                      <a:pt x="116" y="316"/>
                    </a:lnTo>
                    <a:lnTo>
                      <a:pt x="124" y="316"/>
                    </a:lnTo>
                    <a:lnTo>
                      <a:pt x="130" y="322"/>
                    </a:lnTo>
                    <a:lnTo>
                      <a:pt x="144" y="322"/>
                    </a:lnTo>
                    <a:lnTo>
                      <a:pt x="144" y="330"/>
                    </a:lnTo>
                    <a:lnTo>
                      <a:pt x="152" y="336"/>
                    </a:lnTo>
                    <a:lnTo>
                      <a:pt x="152" y="344"/>
                    </a:lnTo>
                    <a:lnTo>
                      <a:pt x="152" y="350"/>
                    </a:lnTo>
                    <a:lnTo>
                      <a:pt x="152" y="364"/>
                    </a:lnTo>
                    <a:lnTo>
                      <a:pt x="152" y="372"/>
                    </a:lnTo>
                    <a:lnTo>
                      <a:pt x="158" y="378"/>
                    </a:lnTo>
                    <a:lnTo>
                      <a:pt x="158" y="384"/>
                    </a:lnTo>
                    <a:lnTo>
                      <a:pt x="152" y="384"/>
                    </a:lnTo>
                    <a:lnTo>
                      <a:pt x="144" y="384"/>
                    </a:lnTo>
                    <a:lnTo>
                      <a:pt x="138" y="384"/>
                    </a:lnTo>
                    <a:lnTo>
                      <a:pt x="138" y="392"/>
                    </a:lnTo>
                    <a:lnTo>
                      <a:pt x="124" y="414"/>
                    </a:lnTo>
                    <a:lnTo>
                      <a:pt x="124" y="420"/>
                    </a:lnTo>
                    <a:lnTo>
                      <a:pt x="116" y="434"/>
                    </a:lnTo>
                    <a:lnTo>
                      <a:pt x="110" y="440"/>
                    </a:lnTo>
                    <a:lnTo>
                      <a:pt x="96" y="454"/>
                    </a:lnTo>
                    <a:lnTo>
                      <a:pt x="96" y="462"/>
                    </a:lnTo>
                    <a:lnTo>
                      <a:pt x="96" y="468"/>
                    </a:lnTo>
                    <a:lnTo>
                      <a:pt x="82" y="474"/>
                    </a:lnTo>
                    <a:lnTo>
                      <a:pt x="82" y="482"/>
                    </a:lnTo>
                    <a:lnTo>
                      <a:pt x="82" y="474"/>
                    </a:lnTo>
                    <a:lnTo>
                      <a:pt x="76" y="482"/>
                    </a:lnTo>
                    <a:lnTo>
                      <a:pt x="68" y="488"/>
                    </a:lnTo>
                    <a:lnTo>
                      <a:pt x="68" y="496"/>
                    </a:lnTo>
                    <a:lnTo>
                      <a:pt x="68" y="510"/>
                    </a:lnTo>
                    <a:lnTo>
                      <a:pt x="54" y="516"/>
                    </a:lnTo>
                    <a:lnTo>
                      <a:pt x="48" y="510"/>
                    </a:lnTo>
                    <a:lnTo>
                      <a:pt x="40" y="510"/>
                    </a:lnTo>
                    <a:lnTo>
                      <a:pt x="40" y="522"/>
                    </a:lnTo>
                    <a:lnTo>
                      <a:pt x="26" y="536"/>
                    </a:lnTo>
                    <a:lnTo>
                      <a:pt x="26" y="550"/>
                    </a:lnTo>
                    <a:lnTo>
                      <a:pt x="26" y="558"/>
                    </a:lnTo>
                    <a:lnTo>
                      <a:pt x="34" y="564"/>
                    </a:lnTo>
                    <a:lnTo>
                      <a:pt x="34" y="578"/>
                    </a:lnTo>
                    <a:lnTo>
                      <a:pt x="26" y="586"/>
                    </a:lnTo>
                    <a:lnTo>
                      <a:pt x="26" y="592"/>
                    </a:lnTo>
                    <a:lnTo>
                      <a:pt x="40" y="598"/>
                    </a:lnTo>
                    <a:lnTo>
                      <a:pt x="40" y="606"/>
                    </a:lnTo>
                    <a:lnTo>
                      <a:pt x="40" y="620"/>
                    </a:lnTo>
                    <a:lnTo>
                      <a:pt x="40" y="640"/>
                    </a:lnTo>
                    <a:lnTo>
                      <a:pt x="40" y="654"/>
                    </a:lnTo>
                    <a:lnTo>
                      <a:pt x="26" y="660"/>
                    </a:lnTo>
                    <a:lnTo>
                      <a:pt x="26" y="674"/>
                    </a:lnTo>
                    <a:lnTo>
                      <a:pt x="26" y="682"/>
                    </a:lnTo>
                    <a:lnTo>
                      <a:pt x="40" y="702"/>
                    </a:lnTo>
                    <a:lnTo>
                      <a:pt x="62" y="702"/>
                    </a:lnTo>
                    <a:lnTo>
                      <a:pt x="68" y="710"/>
                    </a:lnTo>
                    <a:lnTo>
                      <a:pt x="82" y="710"/>
                    </a:lnTo>
                    <a:lnTo>
                      <a:pt x="90" y="710"/>
                    </a:lnTo>
                    <a:lnTo>
                      <a:pt x="96" y="724"/>
                    </a:lnTo>
                    <a:lnTo>
                      <a:pt x="96" y="736"/>
                    </a:lnTo>
                    <a:lnTo>
                      <a:pt x="104" y="744"/>
                    </a:lnTo>
                    <a:lnTo>
                      <a:pt x="110" y="750"/>
                    </a:lnTo>
                    <a:lnTo>
                      <a:pt x="130" y="750"/>
                    </a:lnTo>
                    <a:lnTo>
                      <a:pt x="138" y="750"/>
                    </a:lnTo>
                    <a:lnTo>
                      <a:pt x="144" y="736"/>
                    </a:lnTo>
                    <a:lnTo>
                      <a:pt x="152" y="730"/>
                    </a:lnTo>
                    <a:lnTo>
                      <a:pt x="158" y="744"/>
                    </a:lnTo>
                    <a:lnTo>
                      <a:pt x="166" y="736"/>
                    </a:lnTo>
                    <a:lnTo>
                      <a:pt x="172" y="730"/>
                    </a:lnTo>
                    <a:lnTo>
                      <a:pt x="186" y="724"/>
                    </a:lnTo>
                    <a:lnTo>
                      <a:pt x="206" y="716"/>
                    </a:lnTo>
                    <a:lnTo>
                      <a:pt x="214" y="716"/>
                    </a:lnTo>
                    <a:lnTo>
                      <a:pt x="222" y="716"/>
                    </a:lnTo>
                    <a:lnTo>
                      <a:pt x="222" y="710"/>
                    </a:lnTo>
                    <a:lnTo>
                      <a:pt x="222" y="702"/>
                    </a:lnTo>
                    <a:lnTo>
                      <a:pt x="228" y="696"/>
                    </a:lnTo>
                    <a:lnTo>
                      <a:pt x="236" y="710"/>
                    </a:lnTo>
                    <a:lnTo>
                      <a:pt x="242" y="702"/>
                    </a:lnTo>
                    <a:lnTo>
                      <a:pt x="256" y="696"/>
                    </a:lnTo>
                    <a:lnTo>
                      <a:pt x="262" y="682"/>
                    </a:lnTo>
                    <a:lnTo>
                      <a:pt x="270" y="688"/>
                    </a:lnTo>
                    <a:lnTo>
                      <a:pt x="284" y="688"/>
                    </a:lnTo>
                    <a:lnTo>
                      <a:pt x="290" y="688"/>
                    </a:lnTo>
                    <a:lnTo>
                      <a:pt x="298" y="682"/>
                    </a:lnTo>
                    <a:lnTo>
                      <a:pt x="312" y="654"/>
                    </a:lnTo>
                    <a:lnTo>
                      <a:pt x="318" y="648"/>
                    </a:lnTo>
                    <a:lnTo>
                      <a:pt x="326" y="634"/>
                    </a:lnTo>
                    <a:lnTo>
                      <a:pt x="332" y="626"/>
                    </a:lnTo>
                    <a:lnTo>
                      <a:pt x="338" y="620"/>
                    </a:lnTo>
                    <a:lnTo>
                      <a:pt x="346" y="606"/>
                    </a:lnTo>
                    <a:lnTo>
                      <a:pt x="353" y="586"/>
                    </a:lnTo>
                    <a:lnTo>
                      <a:pt x="353" y="592"/>
                    </a:lnTo>
                    <a:lnTo>
                      <a:pt x="361" y="592"/>
                    </a:lnTo>
                    <a:lnTo>
                      <a:pt x="367" y="586"/>
                    </a:lnTo>
                    <a:lnTo>
                      <a:pt x="361" y="578"/>
                    </a:lnTo>
                    <a:lnTo>
                      <a:pt x="367" y="572"/>
                    </a:lnTo>
                    <a:lnTo>
                      <a:pt x="367" y="558"/>
                    </a:lnTo>
                    <a:lnTo>
                      <a:pt x="375" y="550"/>
                    </a:lnTo>
                    <a:lnTo>
                      <a:pt x="381" y="544"/>
                    </a:lnTo>
                    <a:lnTo>
                      <a:pt x="381" y="536"/>
                    </a:lnTo>
                    <a:lnTo>
                      <a:pt x="389" y="522"/>
                    </a:lnTo>
                    <a:lnTo>
                      <a:pt x="403" y="516"/>
                    </a:lnTo>
                    <a:lnTo>
                      <a:pt x="411" y="502"/>
                    </a:lnTo>
                    <a:lnTo>
                      <a:pt x="403" y="488"/>
                    </a:lnTo>
                    <a:lnTo>
                      <a:pt x="395" y="482"/>
                    </a:lnTo>
                    <a:lnTo>
                      <a:pt x="375" y="474"/>
                    </a:lnTo>
                    <a:lnTo>
                      <a:pt x="353" y="468"/>
                    </a:lnTo>
                    <a:lnTo>
                      <a:pt x="346" y="462"/>
                    </a:lnTo>
                    <a:lnTo>
                      <a:pt x="338" y="454"/>
                    </a:lnTo>
                    <a:lnTo>
                      <a:pt x="332" y="454"/>
                    </a:lnTo>
                    <a:lnTo>
                      <a:pt x="326" y="440"/>
                    </a:lnTo>
                    <a:lnTo>
                      <a:pt x="332" y="440"/>
                    </a:lnTo>
                    <a:lnTo>
                      <a:pt x="338" y="440"/>
                    </a:lnTo>
                    <a:lnTo>
                      <a:pt x="346" y="434"/>
                    </a:lnTo>
                    <a:lnTo>
                      <a:pt x="346" y="426"/>
                    </a:lnTo>
                    <a:lnTo>
                      <a:pt x="346" y="420"/>
                    </a:lnTo>
                    <a:lnTo>
                      <a:pt x="338" y="414"/>
                    </a:lnTo>
                    <a:lnTo>
                      <a:pt x="338" y="406"/>
                    </a:lnTo>
                    <a:lnTo>
                      <a:pt x="326" y="406"/>
                    </a:lnTo>
                    <a:lnTo>
                      <a:pt x="326" y="398"/>
                    </a:lnTo>
                    <a:lnTo>
                      <a:pt x="326" y="392"/>
                    </a:lnTo>
                    <a:lnTo>
                      <a:pt x="312" y="384"/>
                    </a:lnTo>
                    <a:lnTo>
                      <a:pt x="326" y="378"/>
                    </a:lnTo>
                    <a:lnTo>
                      <a:pt x="318" y="372"/>
                    </a:lnTo>
                    <a:lnTo>
                      <a:pt x="318" y="364"/>
                    </a:lnTo>
                    <a:lnTo>
                      <a:pt x="312" y="372"/>
                    </a:lnTo>
                    <a:lnTo>
                      <a:pt x="304" y="364"/>
                    </a:lnTo>
                    <a:lnTo>
                      <a:pt x="304" y="358"/>
                    </a:lnTo>
                    <a:lnTo>
                      <a:pt x="304" y="350"/>
                    </a:lnTo>
                    <a:lnTo>
                      <a:pt x="304" y="344"/>
                    </a:lnTo>
                    <a:lnTo>
                      <a:pt x="298" y="336"/>
                    </a:lnTo>
                    <a:lnTo>
                      <a:pt x="298" y="330"/>
                    </a:lnTo>
                    <a:lnTo>
                      <a:pt x="304" y="322"/>
                    </a:lnTo>
                    <a:lnTo>
                      <a:pt x="298" y="310"/>
                    </a:lnTo>
                    <a:lnTo>
                      <a:pt x="304" y="302"/>
                    </a:lnTo>
                    <a:lnTo>
                      <a:pt x="304" y="296"/>
                    </a:lnTo>
                    <a:lnTo>
                      <a:pt x="304" y="288"/>
                    </a:lnTo>
                    <a:lnTo>
                      <a:pt x="298" y="276"/>
                    </a:lnTo>
                    <a:lnTo>
                      <a:pt x="290" y="262"/>
                    </a:lnTo>
                    <a:lnTo>
                      <a:pt x="284" y="254"/>
                    </a:lnTo>
                    <a:lnTo>
                      <a:pt x="270" y="248"/>
                    </a:lnTo>
                    <a:lnTo>
                      <a:pt x="270" y="240"/>
                    </a:lnTo>
                    <a:lnTo>
                      <a:pt x="262" y="234"/>
                    </a:lnTo>
                    <a:lnTo>
                      <a:pt x="256" y="220"/>
                    </a:lnTo>
                    <a:lnTo>
                      <a:pt x="256" y="206"/>
                    </a:lnTo>
                    <a:lnTo>
                      <a:pt x="256" y="198"/>
                    </a:lnTo>
                    <a:lnTo>
                      <a:pt x="256" y="186"/>
                    </a:lnTo>
                    <a:lnTo>
                      <a:pt x="262" y="178"/>
                    </a:lnTo>
                    <a:lnTo>
                      <a:pt x="262" y="172"/>
                    </a:lnTo>
                    <a:lnTo>
                      <a:pt x="262" y="158"/>
                    </a:lnTo>
                    <a:lnTo>
                      <a:pt x="248" y="144"/>
                    </a:lnTo>
                    <a:lnTo>
                      <a:pt x="236" y="138"/>
                    </a:lnTo>
                    <a:lnTo>
                      <a:pt x="236" y="130"/>
                    </a:lnTo>
                    <a:lnTo>
                      <a:pt x="228" y="124"/>
                    </a:lnTo>
                    <a:lnTo>
                      <a:pt x="222" y="116"/>
                    </a:lnTo>
                    <a:lnTo>
                      <a:pt x="214" y="110"/>
                    </a:lnTo>
                    <a:lnTo>
                      <a:pt x="214" y="102"/>
                    </a:lnTo>
                    <a:lnTo>
                      <a:pt x="222" y="96"/>
                    </a:lnTo>
                    <a:lnTo>
                      <a:pt x="222" y="88"/>
                    </a:lnTo>
                    <a:lnTo>
                      <a:pt x="228" y="82"/>
                    </a:lnTo>
                    <a:lnTo>
                      <a:pt x="228" y="82"/>
                    </a:lnTo>
                    <a:lnTo>
                      <a:pt x="228" y="82"/>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9" name="Freeform 63"/>
              <p:cNvSpPr>
                <a:spLocks/>
              </p:cNvSpPr>
              <p:nvPr>
                <p:custDataLst>
                  <p:tags r:id="rId146"/>
                </p:custDataLst>
              </p:nvPr>
            </p:nvSpPr>
            <p:spPr bwMode="gray">
              <a:xfrm>
                <a:off x="5494002" y="3952851"/>
                <a:ext cx="573215" cy="358855"/>
              </a:xfrm>
              <a:custGeom>
                <a:avLst/>
                <a:gdLst>
                  <a:gd name="T0" fmla="*/ 56 w 361"/>
                  <a:gd name="T1" fmla="*/ 220 h 226"/>
                  <a:gd name="T2" fmla="*/ 84 w 361"/>
                  <a:gd name="T3" fmla="*/ 220 h 226"/>
                  <a:gd name="T4" fmla="*/ 104 w 361"/>
                  <a:gd name="T5" fmla="*/ 226 h 226"/>
                  <a:gd name="T6" fmla="*/ 118 w 361"/>
                  <a:gd name="T7" fmla="*/ 212 h 226"/>
                  <a:gd name="T8" fmla="*/ 132 w 361"/>
                  <a:gd name="T9" fmla="*/ 206 h 226"/>
                  <a:gd name="T10" fmla="*/ 140 w 361"/>
                  <a:gd name="T11" fmla="*/ 206 h 226"/>
                  <a:gd name="T12" fmla="*/ 152 w 361"/>
                  <a:gd name="T13" fmla="*/ 212 h 226"/>
                  <a:gd name="T14" fmla="*/ 160 w 361"/>
                  <a:gd name="T15" fmla="*/ 220 h 226"/>
                  <a:gd name="T16" fmla="*/ 180 w 361"/>
                  <a:gd name="T17" fmla="*/ 212 h 226"/>
                  <a:gd name="T18" fmla="*/ 202 w 361"/>
                  <a:gd name="T19" fmla="*/ 212 h 226"/>
                  <a:gd name="T20" fmla="*/ 222 w 361"/>
                  <a:gd name="T21" fmla="*/ 206 h 226"/>
                  <a:gd name="T22" fmla="*/ 243 w 361"/>
                  <a:gd name="T23" fmla="*/ 200 h 226"/>
                  <a:gd name="T24" fmla="*/ 236 w 361"/>
                  <a:gd name="T25" fmla="*/ 186 h 226"/>
                  <a:gd name="T26" fmla="*/ 251 w 361"/>
                  <a:gd name="T27" fmla="*/ 186 h 226"/>
                  <a:gd name="T28" fmla="*/ 259 w 361"/>
                  <a:gd name="T29" fmla="*/ 178 h 226"/>
                  <a:gd name="T30" fmla="*/ 269 w 361"/>
                  <a:gd name="T31" fmla="*/ 166 h 226"/>
                  <a:gd name="T32" fmla="*/ 279 w 361"/>
                  <a:gd name="T33" fmla="*/ 158 h 226"/>
                  <a:gd name="T34" fmla="*/ 293 w 361"/>
                  <a:gd name="T35" fmla="*/ 158 h 226"/>
                  <a:gd name="T36" fmla="*/ 299 w 361"/>
                  <a:gd name="T37" fmla="*/ 164 h 226"/>
                  <a:gd name="T38" fmla="*/ 319 w 361"/>
                  <a:gd name="T39" fmla="*/ 164 h 226"/>
                  <a:gd name="T40" fmla="*/ 341 w 361"/>
                  <a:gd name="T41" fmla="*/ 158 h 226"/>
                  <a:gd name="T42" fmla="*/ 333 w 361"/>
                  <a:gd name="T43" fmla="*/ 144 h 226"/>
                  <a:gd name="T44" fmla="*/ 327 w 361"/>
                  <a:gd name="T45" fmla="*/ 130 h 226"/>
                  <a:gd name="T46" fmla="*/ 305 w 361"/>
                  <a:gd name="T47" fmla="*/ 138 h 226"/>
                  <a:gd name="T48" fmla="*/ 305 w 361"/>
                  <a:gd name="T49" fmla="*/ 116 h 226"/>
                  <a:gd name="T50" fmla="*/ 319 w 361"/>
                  <a:gd name="T51" fmla="*/ 110 h 226"/>
                  <a:gd name="T52" fmla="*/ 327 w 361"/>
                  <a:gd name="T53" fmla="*/ 96 h 226"/>
                  <a:gd name="T54" fmla="*/ 319 w 361"/>
                  <a:gd name="T55" fmla="*/ 76 h 226"/>
                  <a:gd name="T56" fmla="*/ 327 w 361"/>
                  <a:gd name="T57" fmla="*/ 62 h 226"/>
                  <a:gd name="T58" fmla="*/ 341 w 361"/>
                  <a:gd name="T59" fmla="*/ 48 h 226"/>
                  <a:gd name="T60" fmla="*/ 361 w 361"/>
                  <a:gd name="T61" fmla="*/ 42 h 226"/>
                  <a:gd name="T62" fmla="*/ 353 w 361"/>
                  <a:gd name="T63" fmla="*/ 20 h 226"/>
                  <a:gd name="T64" fmla="*/ 319 w 361"/>
                  <a:gd name="T65" fmla="*/ 8 h 226"/>
                  <a:gd name="T66" fmla="*/ 307 w 361"/>
                  <a:gd name="T67" fmla="*/ 8 h 226"/>
                  <a:gd name="T68" fmla="*/ 285 w 361"/>
                  <a:gd name="T69" fmla="*/ 6 h 226"/>
                  <a:gd name="T70" fmla="*/ 265 w 361"/>
                  <a:gd name="T71" fmla="*/ 6 h 226"/>
                  <a:gd name="T72" fmla="*/ 228 w 361"/>
                  <a:gd name="T73" fmla="*/ 6 h 226"/>
                  <a:gd name="T74" fmla="*/ 208 w 361"/>
                  <a:gd name="T75" fmla="*/ 28 h 226"/>
                  <a:gd name="T76" fmla="*/ 180 w 361"/>
                  <a:gd name="T77" fmla="*/ 48 h 226"/>
                  <a:gd name="T78" fmla="*/ 160 w 361"/>
                  <a:gd name="T79" fmla="*/ 54 h 226"/>
                  <a:gd name="T80" fmla="*/ 140 w 361"/>
                  <a:gd name="T81" fmla="*/ 48 h 226"/>
                  <a:gd name="T82" fmla="*/ 118 w 361"/>
                  <a:gd name="T83" fmla="*/ 48 h 226"/>
                  <a:gd name="T84" fmla="*/ 90 w 361"/>
                  <a:gd name="T85" fmla="*/ 48 h 226"/>
                  <a:gd name="T86" fmla="*/ 70 w 361"/>
                  <a:gd name="T87" fmla="*/ 42 h 226"/>
                  <a:gd name="T88" fmla="*/ 42 w 361"/>
                  <a:gd name="T89" fmla="*/ 42 h 226"/>
                  <a:gd name="T90" fmla="*/ 36 w 361"/>
                  <a:gd name="T91" fmla="*/ 28 h 226"/>
                  <a:gd name="T92" fmla="*/ 22 w 361"/>
                  <a:gd name="T93" fmla="*/ 14 h 226"/>
                  <a:gd name="T94" fmla="*/ 14 w 361"/>
                  <a:gd name="T95" fmla="*/ 28 h 226"/>
                  <a:gd name="T96" fmla="*/ 0 w 361"/>
                  <a:gd name="T97" fmla="*/ 34 h 226"/>
                  <a:gd name="T98" fmla="*/ 8 w 361"/>
                  <a:gd name="T99" fmla="*/ 62 h 226"/>
                  <a:gd name="T100" fmla="*/ 14 w 361"/>
                  <a:gd name="T101" fmla="*/ 76 h 226"/>
                  <a:gd name="T102" fmla="*/ 28 w 361"/>
                  <a:gd name="T103" fmla="*/ 76 h 226"/>
                  <a:gd name="T104" fmla="*/ 28 w 361"/>
                  <a:gd name="T105" fmla="*/ 90 h 226"/>
                  <a:gd name="T106" fmla="*/ 14 w 361"/>
                  <a:gd name="T107" fmla="*/ 102 h 226"/>
                  <a:gd name="T108" fmla="*/ 14 w 361"/>
                  <a:gd name="T109" fmla="*/ 124 h 226"/>
                  <a:gd name="T110" fmla="*/ 8 w 361"/>
                  <a:gd name="T111" fmla="*/ 138 h 226"/>
                  <a:gd name="T112" fmla="*/ 8 w 361"/>
                  <a:gd name="T113" fmla="*/ 158 h 226"/>
                  <a:gd name="T114" fmla="*/ 28 w 361"/>
                  <a:gd name="T115" fmla="*/ 172 h 226"/>
                  <a:gd name="T116" fmla="*/ 42 w 361"/>
                  <a:gd name="T117" fmla="*/ 186 h 226"/>
                  <a:gd name="T118" fmla="*/ 48 w 361"/>
                  <a:gd name="T119" fmla="*/ 200 h 226"/>
                  <a:gd name="T120" fmla="*/ 42 w 361"/>
                  <a:gd name="T121" fmla="*/ 212 h 226"/>
                  <a:gd name="T122" fmla="*/ 42 w 361"/>
                  <a:gd name="T123" fmla="*/ 22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1" h="226">
                    <a:moveTo>
                      <a:pt x="42" y="220"/>
                    </a:moveTo>
                    <a:lnTo>
                      <a:pt x="56" y="220"/>
                    </a:lnTo>
                    <a:lnTo>
                      <a:pt x="70" y="220"/>
                    </a:lnTo>
                    <a:lnTo>
                      <a:pt x="84" y="220"/>
                    </a:lnTo>
                    <a:lnTo>
                      <a:pt x="98" y="220"/>
                    </a:lnTo>
                    <a:lnTo>
                      <a:pt x="104" y="226"/>
                    </a:lnTo>
                    <a:lnTo>
                      <a:pt x="118" y="220"/>
                    </a:lnTo>
                    <a:lnTo>
                      <a:pt x="118" y="212"/>
                    </a:lnTo>
                    <a:lnTo>
                      <a:pt x="124" y="212"/>
                    </a:lnTo>
                    <a:lnTo>
                      <a:pt x="132" y="206"/>
                    </a:lnTo>
                    <a:lnTo>
                      <a:pt x="140" y="212"/>
                    </a:lnTo>
                    <a:lnTo>
                      <a:pt x="140" y="206"/>
                    </a:lnTo>
                    <a:lnTo>
                      <a:pt x="146" y="206"/>
                    </a:lnTo>
                    <a:lnTo>
                      <a:pt x="152" y="212"/>
                    </a:lnTo>
                    <a:lnTo>
                      <a:pt x="160" y="212"/>
                    </a:lnTo>
                    <a:lnTo>
                      <a:pt x="160" y="220"/>
                    </a:lnTo>
                    <a:lnTo>
                      <a:pt x="174" y="212"/>
                    </a:lnTo>
                    <a:lnTo>
                      <a:pt x="180" y="212"/>
                    </a:lnTo>
                    <a:lnTo>
                      <a:pt x="186" y="212"/>
                    </a:lnTo>
                    <a:lnTo>
                      <a:pt x="202" y="212"/>
                    </a:lnTo>
                    <a:lnTo>
                      <a:pt x="208" y="206"/>
                    </a:lnTo>
                    <a:lnTo>
                      <a:pt x="222" y="206"/>
                    </a:lnTo>
                    <a:lnTo>
                      <a:pt x="236" y="206"/>
                    </a:lnTo>
                    <a:lnTo>
                      <a:pt x="243" y="200"/>
                    </a:lnTo>
                    <a:lnTo>
                      <a:pt x="236" y="192"/>
                    </a:lnTo>
                    <a:lnTo>
                      <a:pt x="236" y="186"/>
                    </a:lnTo>
                    <a:lnTo>
                      <a:pt x="243" y="186"/>
                    </a:lnTo>
                    <a:lnTo>
                      <a:pt x="251" y="186"/>
                    </a:lnTo>
                    <a:lnTo>
                      <a:pt x="251" y="178"/>
                    </a:lnTo>
                    <a:lnTo>
                      <a:pt x="259" y="178"/>
                    </a:lnTo>
                    <a:lnTo>
                      <a:pt x="261" y="166"/>
                    </a:lnTo>
                    <a:lnTo>
                      <a:pt x="269" y="166"/>
                    </a:lnTo>
                    <a:lnTo>
                      <a:pt x="271" y="164"/>
                    </a:lnTo>
                    <a:lnTo>
                      <a:pt x="279" y="158"/>
                    </a:lnTo>
                    <a:lnTo>
                      <a:pt x="285" y="158"/>
                    </a:lnTo>
                    <a:lnTo>
                      <a:pt x="293" y="158"/>
                    </a:lnTo>
                    <a:lnTo>
                      <a:pt x="299" y="158"/>
                    </a:lnTo>
                    <a:lnTo>
                      <a:pt x="299" y="164"/>
                    </a:lnTo>
                    <a:lnTo>
                      <a:pt x="305" y="164"/>
                    </a:lnTo>
                    <a:lnTo>
                      <a:pt x="319" y="164"/>
                    </a:lnTo>
                    <a:lnTo>
                      <a:pt x="341" y="164"/>
                    </a:lnTo>
                    <a:lnTo>
                      <a:pt x="341" y="158"/>
                    </a:lnTo>
                    <a:lnTo>
                      <a:pt x="341" y="144"/>
                    </a:lnTo>
                    <a:lnTo>
                      <a:pt x="333" y="144"/>
                    </a:lnTo>
                    <a:lnTo>
                      <a:pt x="327" y="138"/>
                    </a:lnTo>
                    <a:lnTo>
                      <a:pt x="327" y="130"/>
                    </a:lnTo>
                    <a:lnTo>
                      <a:pt x="313" y="130"/>
                    </a:lnTo>
                    <a:lnTo>
                      <a:pt x="305" y="138"/>
                    </a:lnTo>
                    <a:lnTo>
                      <a:pt x="305" y="124"/>
                    </a:lnTo>
                    <a:lnTo>
                      <a:pt x="305" y="116"/>
                    </a:lnTo>
                    <a:lnTo>
                      <a:pt x="313" y="110"/>
                    </a:lnTo>
                    <a:lnTo>
                      <a:pt x="319" y="110"/>
                    </a:lnTo>
                    <a:lnTo>
                      <a:pt x="319" y="102"/>
                    </a:lnTo>
                    <a:lnTo>
                      <a:pt x="327" y="96"/>
                    </a:lnTo>
                    <a:lnTo>
                      <a:pt x="319" y="90"/>
                    </a:lnTo>
                    <a:lnTo>
                      <a:pt x="319" y="76"/>
                    </a:lnTo>
                    <a:lnTo>
                      <a:pt x="327" y="76"/>
                    </a:lnTo>
                    <a:lnTo>
                      <a:pt x="327" y="62"/>
                    </a:lnTo>
                    <a:lnTo>
                      <a:pt x="327" y="48"/>
                    </a:lnTo>
                    <a:lnTo>
                      <a:pt x="341" y="48"/>
                    </a:lnTo>
                    <a:lnTo>
                      <a:pt x="355" y="48"/>
                    </a:lnTo>
                    <a:lnTo>
                      <a:pt x="361" y="42"/>
                    </a:lnTo>
                    <a:lnTo>
                      <a:pt x="353" y="24"/>
                    </a:lnTo>
                    <a:lnTo>
                      <a:pt x="353" y="20"/>
                    </a:lnTo>
                    <a:lnTo>
                      <a:pt x="327" y="10"/>
                    </a:lnTo>
                    <a:lnTo>
                      <a:pt x="319" y="8"/>
                    </a:lnTo>
                    <a:lnTo>
                      <a:pt x="313" y="8"/>
                    </a:lnTo>
                    <a:lnTo>
                      <a:pt x="307" y="8"/>
                    </a:lnTo>
                    <a:lnTo>
                      <a:pt x="291" y="10"/>
                    </a:lnTo>
                    <a:lnTo>
                      <a:pt x="285" y="6"/>
                    </a:lnTo>
                    <a:lnTo>
                      <a:pt x="271" y="6"/>
                    </a:lnTo>
                    <a:lnTo>
                      <a:pt x="265" y="6"/>
                    </a:lnTo>
                    <a:lnTo>
                      <a:pt x="257" y="0"/>
                    </a:lnTo>
                    <a:lnTo>
                      <a:pt x="228" y="6"/>
                    </a:lnTo>
                    <a:lnTo>
                      <a:pt x="222" y="14"/>
                    </a:lnTo>
                    <a:lnTo>
                      <a:pt x="208" y="28"/>
                    </a:lnTo>
                    <a:lnTo>
                      <a:pt x="194" y="42"/>
                    </a:lnTo>
                    <a:lnTo>
                      <a:pt x="180" y="48"/>
                    </a:lnTo>
                    <a:lnTo>
                      <a:pt x="174" y="54"/>
                    </a:lnTo>
                    <a:lnTo>
                      <a:pt x="160" y="54"/>
                    </a:lnTo>
                    <a:lnTo>
                      <a:pt x="146" y="48"/>
                    </a:lnTo>
                    <a:lnTo>
                      <a:pt x="140" y="48"/>
                    </a:lnTo>
                    <a:lnTo>
                      <a:pt x="124" y="48"/>
                    </a:lnTo>
                    <a:lnTo>
                      <a:pt x="118" y="48"/>
                    </a:lnTo>
                    <a:lnTo>
                      <a:pt x="104" y="48"/>
                    </a:lnTo>
                    <a:lnTo>
                      <a:pt x="90" y="48"/>
                    </a:lnTo>
                    <a:lnTo>
                      <a:pt x="84" y="42"/>
                    </a:lnTo>
                    <a:lnTo>
                      <a:pt x="70" y="42"/>
                    </a:lnTo>
                    <a:lnTo>
                      <a:pt x="56" y="42"/>
                    </a:lnTo>
                    <a:lnTo>
                      <a:pt x="42" y="42"/>
                    </a:lnTo>
                    <a:lnTo>
                      <a:pt x="36" y="34"/>
                    </a:lnTo>
                    <a:lnTo>
                      <a:pt x="36" y="28"/>
                    </a:lnTo>
                    <a:lnTo>
                      <a:pt x="36" y="14"/>
                    </a:lnTo>
                    <a:lnTo>
                      <a:pt x="22" y="14"/>
                    </a:lnTo>
                    <a:lnTo>
                      <a:pt x="28" y="14"/>
                    </a:lnTo>
                    <a:lnTo>
                      <a:pt x="14" y="28"/>
                    </a:lnTo>
                    <a:lnTo>
                      <a:pt x="8" y="34"/>
                    </a:lnTo>
                    <a:lnTo>
                      <a:pt x="0" y="34"/>
                    </a:lnTo>
                    <a:lnTo>
                      <a:pt x="8" y="48"/>
                    </a:lnTo>
                    <a:lnTo>
                      <a:pt x="8" y="62"/>
                    </a:lnTo>
                    <a:lnTo>
                      <a:pt x="14" y="68"/>
                    </a:lnTo>
                    <a:lnTo>
                      <a:pt x="14" y="76"/>
                    </a:lnTo>
                    <a:lnTo>
                      <a:pt x="22" y="76"/>
                    </a:lnTo>
                    <a:lnTo>
                      <a:pt x="28" y="76"/>
                    </a:lnTo>
                    <a:lnTo>
                      <a:pt x="36" y="82"/>
                    </a:lnTo>
                    <a:lnTo>
                      <a:pt x="28" y="90"/>
                    </a:lnTo>
                    <a:lnTo>
                      <a:pt x="28" y="96"/>
                    </a:lnTo>
                    <a:lnTo>
                      <a:pt x="14" y="102"/>
                    </a:lnTo>
                    <a:lnTo>
                      <a:pt x="14" y="110"/>
                    </a:lnTo>
                    <a:lnTo>
                      <a:pt x="14" y="124"/>
                    </a:lnTo>
                    <a:lnTo>
                      <a:pt x="8" y="124"/>
                    </a:lnTo>
                    <a:lnTo>
                      <a:pt x="8" y="138"/>
                    </a:lnTo>
                    <a:lnTo>
                      <a:pt x="8" y="144"/>
                    </a:lnTo>
                    <a:lnTo>
                      <a:pt x="8" y="158"/>
                    </a:lnTo>
                    <a:lnTo>
                      <a:pt x="22" y="164"/>
                    </a:lnTo>
                    <a:lnTo>
                      <a:pt x="28" y="172"/>
                    </a:lnTo>
                    <a:lnTo>
                      <a:pt x="36" y="178"/>
                    </a:lnTo>
                    <a:lnTo>
                      <a:pt x="42" y="186"/>
                    </a:lnTo>
                    <a:lnTo>
                      <a:pt x="48" y="192"/>
                    </a:lnTo>
                    <a:lnTo>
                      <a:pt x="48" y="200"/>
                    </a:lnTo>
                    <a:lnTo>
                      <a:pt x="48" y="206"/>
                    </a:lnTo>
                    <a:lnTo>
                      <a:pt x="42" y="212"/>
                    </a:lnTo>
                    <a:lnTo>
                      <a:pt x="42" y="220"/>
                    </a:lnTo>
                    <a:lnTo>
                      <a:pt x="42" y="220"/>
                    </a:lnTo>
                    <a:lnTo>
                      <a:pt x="42" y="220"/>
                    </a:lnTo>
                    <a:close/>
                  </a:path>
                </a:pathLst>
              </a:custGeom>
              <a:solidFill>
                <a:srgbClr val="24892C"/>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0" name="Freeform 64"/>
              <p:cNvSpPr>
                <a:spLocks/>
              </p:cNvSpPr>
              <p:nvPr>
                <p:custDataLst>
                  <p:tags r:id="rId147"/>
                </p:custDataLst>
              </p:nvPr>
            </p:nvSpPr>
            <p:spPr bwMode="gray">
              <a:xfrm>
                <a:off x="5347919" y="3454265"/>
                <a:ext cx="792339" cy="590681"/>
              </a:xfrm>
              <a:custGeom>
                <a:avLst/>
                <a:gdLst>
                  <a:gd name="T0" fmla="*/ 110 w 499"/>
                  <a:gd name="T1" fmla="*/ 312 h 372"/>
                  <a:gd name="T2" fmla="*/ 110 w 499"/>
                  <a:gd name="T3" fmla="*/ 292 h 372"/>
                  <a:gd name="T4" fmla="*/ 76 w 499"/>
                  <a:gd name="T5" fmla="*/ 300 h 372"/>
                  <a:gd name="T6" fmla="*/ 48 w 499"/>
                  <a:gd name="T7" fmla="*/ 292 h 372"/>
                  <a:gd name="T8" fmla="*/ 40 w 499"/>
                  <a:gd name="T9" fmla="*/ 278 h 372"/>
                  <a:gd name="T10" fmla="*/ 40 w 499"/>
                  <a:gd name="T11" fmla="*/ 258 h 372"/>
                  <a:gd name="T12" fmla="*/ 20 w 499"/>
                  <a:gd name="T13" fmla="*/ 250 h 372"/>
                  <a:gd name="T14" fmla="*/ 12 w 499"/>
                  <a:gd name="T15" fmla="*/ 224 h 372"/>
                  <a:gd name="T16" fmla="*/ 6 w 499"/>
                  <a:gd name="T17" fmla="*/ 202 h 372"/>
                  <a:gd name="T18" fmla="*/ 6 w 499"/>
                  <a:gd name="T19" fmla="*/ 190 h 372"/>
                  <a:gd name="T20" fmla="*/ 28 w 499"/>
                  <a:gd name="T21" fmla="*/ 162 h 372"/>
                  <a:gd name="T22" fmla="*/ 42 w 499"/>
                  <a:gd name="T23" fmla="*/ 142 h 372"/>
                  <a:gd name="T24" fmla="*/ 62 w 499"/>
                  <a:gd name="T25" fmla="*/ 126 h 372"/>
                  <a:gd name="T26" fmla="*/ 68 w 499"/>
                  <a:gd name="T27" fmla="*/ 86 h 372"/>
                  <a:gd name="T28" fmla="*/ 90 w 499"/>
                  <a:gd name="T29" fmla="*/ 72 h 372"/>
                  <a:gd name="T30" fmla="*/ 110 w 499"/>
                  <a:gd name="T31" fmla="*/ 52 h 372"/>
                  <a:gd name="T32" fmla="*/ 112 w 499"/>
                  <a:gd name="T33" fmla="*/ 24 h 372"/>
                  <a:gd name="T34" fmla="*/ 154 w 499"/>
                  <a:gd name="T35" fmla="*/ 32 h 372"/>
                  <a:gd name="T36" fmla="*/ 180 w 499"/>
                  <a:gd name="T37" fmla="*/ 30 h 372"/>
                  <a:gd name="T38" fmla="*/ 220 w 499"/>
                  <a:gd name="T39" fmla="*/ 36 h 372"/>
                  <a:gd name="T40" fmla="*/ 248 w 499"/>
                  <a:gd name="T41" fmla="*/ 20 h 372"/>
                  <a:gd name="T42" fmla="*/ 274 w 499"/>
                  <a:gd name="T43" fmla="*/ 16 h 372"/>
                  <a:gd name="T44" fmla="*/ 310 w 499"/>
                  <a:gd name="T45" fmla="*/ 6 h 372"/>
                  <a:gd name="T46" fmla="*/ 353 w 499"/>
                  <a:gd name="T47" fmla="*/ 30 h 372"/>
                  <a:gd name="T48" fmla="*/ 381 w 499"/>
                  <a:gd name="T49" fmla="*/ 64 h 372"/>
                  <a:gd name="T50" fmla="*/ 395 w 499"/>
                  <a:gd name="T51" fmla="*/ 92 h 372"/>
                  <a:gd name="T52" fmla="*/ 415 w 499"/>
                  <a:gd name="T53" fmla="*/ 120 h 372"/>
                  <a:gd name="T54" fmla="*/ 409 w 499"/>
                  <a:gd name="T55" fmla="*/ 140 h 372"/>
                  <a:gd name="T56" fmla="*/ 415 w 499"/>
                  <a:gd name="T57" fmla="*/ 160 h 372"/>
                  <a:gd name="T58" fmla="*/ 415 w 499"/>
                  <a:gd name="T59" fmla="*/ 196 h 372"/>
                  <a:gd name="T60" fmla="*/ 445 w 499"/>
                  <a:gd name="T61" fmla="*/ 208 h 372"/>
                  <a:gd name="T62" fmla="*/ 459 w 499"/>
                  <a:gd name="T63" fmla="*/ 200 h 372"/>
                  <a:gd name="T64" fmla="*/ 485 w 499"/>
                  <a:gd name="T65" fmla="*/ 208 h 372"/>
                  <a:gd name="T66" fmla="*/ 499 w 499"/>
                  <a:gd name="T67" fmla="*/ 236 h 372"/>
                  <a:gd name="T68" fmla="*/ 485 w 499"/>
                  <a:gd name="T69" fmla="*/ 258 h 372"/>
                  <a:gd name="T70" fmla="*/ 471 w 499"/>
                  <a:gd name="T71" fmla="*/ 250 h 372"/>
                  <a:gd name="T72" fmla="*/ 457 w 499"/>
                  <a:gd name="T73" fmla="*/ 258 h 372"/>
                  <a:gd name="T74" fmla="*/ 457 w 499"/>
                  <a:gd name="T75" fmla="*/ 278 h 372"/>
                  <a:gd name="T76" fmla="*/ 451 w 499"/>
                  <a:gd name="T77" fmla="*/ 292 h 372"/>
                  <a:gd name="T78" fmla="*/ 457 w 499"/>
                  <a:gd name="T79" fmla="*/ 320 h 372"/>
                  <a:gd name="T80" fmla="*/ 449 w 499"/>
                  <a:gd name="T81" fmla="*/ 342 h 372"/>
                  <a:gd name="T82" fmla="*/ 409 w 499"/>
                  <a:gd name="T83" fmla="*/ 326 h 372"/>
                  <a:gd name="T84" fmla="*/ 381 w 499"/>
                  <a:gd name="T85" fmla="*/ 324 h 372"/>
                  <a:gd name="T86" fmla="*/ 353 w 499"/>
                  <a:gd name="T87" fmla="*/ 316 h 372"/>
                  <a:gd name="T88" fmla="*/ 306 w 499"/>
                  <a:gd name="T89" fmla="*/ 342 h 372"/>
                  <a:gd name="T90" fmla="*/ 270 w 499"/>
                  <a:gd name="T91" fmla="*/ 370 h 372"/>
                  <a:gd name="T92" fmla="*/ 236 w 499"/>
                  <a:gd name="T93" fmla="*/ 366 h 372"/>
                  <a:gd name="T94" fmla="*/ 200 w 499"/>
                  <a:gd name="T95" fmla="*/ 366 h 372"/>
                  <a:gd name="T96" fmla="*/ 166 w 499"/>
                  <a:gd name="T97" fmla="*/ 360 h 372"/>
                  <a:gd name="T98" fmla="*/ 130 w 499"/>
                  <a:gd name="T99" fmla="*/ 356 h 372"/>
                  <a:gd name="T100" fmla="*/ 124 w 499"/>
                  <a:gd name="T101" fmla="*/ 334 h 372"/>
                  <a:gd name="T102" fmla="*/ 124 w 499"/>
                  <a:gd name="T103" fmla="*/ 33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99" h="372">
                    <a:moveTo>
                      <a:pt x="124" y="330"/>
                    </a:moveTo>
                    <a:lnTo>
                      <a:pt x="116" y="316"/>
                    </a:lnTo>
                    <a:lnTo>
                      <a:pt x="110" y="312"/>
                    </a:lnTo>
                    <a:lnTo>
                      <a:pt x="110" y="306"/>
                    </a:lnTo>
                    <a:lnTo>
                      <a:pt x="116" y="300"/>
                    </a:lnTo>
                    <a:lnTo>
                      <a:pt x="110" y="292"/>
                    </a:lnTo>
                    <a:lnTo>
                      <a:pt x="96" y="300"/>
                    </a:lnTo>
                    <a:lnTo>
                      <a:pt x="90" y="306"/>
                    </a:lnTo>
                    <a:lnTo>
                      <a:pt x="76" y="300"/>
                    </a:lnTo>
                    <a:lnTo>
                      <a:pt x="68" y="292"/>
                    </a:lnTo>
                    <a:lnTo>
                      <a:pt x="62" y="292"/>
                    </a:lnTo>
                    <a:lnTo>
                      <a:pt x="48" y="292"/>
                    </a:lnTo>
                    <a:lnTo>
                      <a:pt x="40" y="292"/>
                    </a:lnTo>
                    <a:lnTo>
                      <a:pt x="40" y="286"/>
                    </a:lnTo>
                    <a:lnTo>
                      <a:pt x="40" y="278"/>
                    </a:lnTo>
                    <a:lnTo>
                      <a:pt x="48" y="272"/>
                    </a:lnTo>
                    <a:lnTo>
                      <a:pt x="48" y="264"/>
                    </a:lnTo>
                    <a:lnTo>
                      <a:pt x="40" y="258"/>
                    </a:lnTo>
                    <a:lnTo>
                      <a:pt x="34" y="250"/>
                    </a:lnTo>
                    <a:lnTo>
                      <a:pt x="26" y="250"/>
                    </a:lnTo>
                    <a:lnTo>
                      <a:pt x="20" y="250"/>
                    </a:lnTo>
                    <a:lnTo>
                      <a:pt x="20" y="236"/>
                    </a:lnTo>
                    <a:lnTo>
                      <a:pt x="12" y="230"/>
                    </a:lnTo>
                    <a:lnTo>
                      <a:pt x="12" y="224"/>
                    </a:lnTo>
                    <a:lnTo>
                      <a:pt x="12" y="210"/>
                    </a:lnTo>
                    <a:lnTo>
                      <a:pt x="12" y="202"/>
                    </a:lnTo>
                    <a:lnTo>
                      <a:pt x="6" y="202"/>
                    </a:lnTo>
                    <a:lnTo>
                      <a:pt x="0" y="202"/>
                    </a:lnTo>
                    <a:lnTo>
                      <a:pt x="6" y="188"/>
                    </a:lnTo>
                    <a:lnTo>
                      <a:pt x="6" y="190"/>
                    </a:lnTo>
                    <a:lnTo>
                      <a:pt x="14" y="176"/>
                    </a:lnTo>
                    <a:lnTo>
                      <a:pt x="20" y="168"/>
                    </a:lnTo>
                    <a:lnTo>
                      <a:pt x="28" y="162"/>
                    </a:lnTo>
                    <a:lnTo>
                      <a:pt x="34" y="154"/>
                    </a:lnTo>
                    <a:lnTo>
                      <a:pt x="42" y="148"/>
                    </a:lnTo>
                    <a:lnTo>
                      <a:pt x="42" y="142"/>
                    </a:lnTo>
                    <a:lnTo>
                      <a:pt x="48" y="142"/>
                    </a:lnTo>
                    <a:lnTo>
                      <a:pt x="56" y="134"/>
                    </a:lnTo>
                    <a:lnTo>
                      <a:pt x="62" y="126"/>
                    </a:lnTo>
                    <a:lnTo>
                      <a:pt x="62" y="106"/>
                    </a:lnTo>
                    <a:lnTo>
                      <a:pt x="68" y="100"/>
                    </a:lnTo>
                    <a:lnTo>
                      <a:pt x="68" y="86"/>
                    </a:lnTo>
                    <a:lnTo>
                      <a:pt x="76" y="78"/>
                    </a:lnTo>
                    <a:lnTo>
                      <a:pt x="82" y="72"/>
                    </a:lnTo>
                    <a:lnTo>
                      <a:pt x="90" y="72"/>
                    </a:lnTo>
                    <a:lnTo>
                      <a:pt x="96" y="64"/>
                    </a:lnTo>
                    <a:lnTo>
                      <a:pt x="104" y="58"/>
                    </a:lnTo>
                    <a:lnTo>
                      <a:pt x="110" y="52"/>
                    </a:lnTo>
                    <a:lnTo>
                      <a:pt x="110" y="44"/>
                    </a:lnTo>
                    <a:lnTo>
                      <a:pt x="98" y="28"/>
                    </a:lnTo>
                    <a:lnTo>
                      <a:pt x="112" y="24"/>
                    </a:lnTo>
                    <a:lnTo>
                      <a:pt x="130" y="24"/>
                    </a:lnTo>
                    <a:lnTo>
                      <a:pt x="144" y="28"/>
                    </a:lnTo>
                    <a:lnTo>
                      <a:pt x="154" y="32"/>
                    </a:lnTo>
                    <a:lnTo>
                      <a:pt x="162" y="36"/>
                    </a:lnTo>
                    <a:lnTo>
                      <a:pt x="174" y="40"/>
                    </a:lnTo>
                    <a:lnTo>
                      <a:pt x="180" y="30"/>
                    </a:lnTo>
                    <a:lnTo>
                      <a:pt x="192" y="28"/>
                    </a:lnTo>
                    <a:lnTo>
                      <a:pt x="200" y="28"/>
                    </a:lnTo>
                    <a:lnTo>
                      <a:pt x="220" y="36"/>
                    </a:lnTo>
                    <a:lnTo>
                      <a:pt x="228" y="32"/>
                    </a:lnTo>
                    <a:lnTo>
                      <a:pt x="242" y="20"/>
                    </a:lnTo>
                    <a:lnTo>
                      <a:pt x="248" y="20"/>
                    </a:lnTo>
                    <a:lnTo>
                      <a:pt x="260" y="20"/>
                    </a:lnTo>
                    <a:lnTo>
                      <a:pt x="272" y="20"/>
                    </a:lnTo>
                    <a:lnTo>
                      <a:pt x="274" y="16"/>
                    </a:lnTo>
                    <a:lnTo>
                      <a:pt x="278" y="8"/>
                    </a:lnTo>
                    <a:lnTo>
                      <a:pt x="298" y="0"/>
                    </a:lnTo>
                    <a:lnTo>
                      <a:pt x="310" y="6"/>
                    </a:lnTo>
                    <a:lnTo>
                      <a:pt x="324" y="10"/>
                    </a:lnTo>
                    <a:lnTo>
                      <a:pt x="333" y="16"/>
                    </a:lnTo>
                    <a:lnTo>
                      <a:pt x="353" y="30"/>
                    </a:lnTo>
                    <a:lnTo>
                      <a:pt x="351" y="54"/>
                    </a:lnTo>
                    <a:lnTo>
                      <a:pt x="367" y="58"/>
                    </a:lnTo>
                    <a:lnTo>
                      <a:pt x="381" y="64"/>
                    </a:lnTo>
                    <a:lnTo>
                      <a:pt x="381" y="78"/>
                    </a:lnTo>
                    <a:lnTo>
                      <a:pt x="387" y="86"/>
                    </a:lnTo>
                    <a:lnTo>
                      <a:pt x="395" y="92"/>
                    </a:lnTo>
                    <a:lnTo>
                      <a:pt x="409" y="100"/>
                    </a:lnTo>
                    <a:lnTo>
                      <a:pt x="409" y="106"/>
                    </a:lnTo>
                    <a:lnTo>
                      <a:pt x="415" y="120"/>
                    </a:lnTo>
                    <a:lnTo>
                      <a:pt x="415" y="126"/>
                    </a:lnTo>
                    <a:lnTo>
                      <a:pt x="415" y="140"/>
                    </a:lnTo>
                    <a:lnTo>
                      <a:pt x="409" y="140"/>
                    </a:lnTo>
                    <a:lnTo>
                      <a:pt x="409" y="146"/>
                    </a:lnTo>
                    <a:lnTo>
                      <a:pt x="409" y="154"/>
                    </a:lnTo>
                    <a:lnTo>
                      <a:pt x="415" y="160"/>
                    </a:lnTo>
                    <a:lnTo>
                      <a:pt x="415" y="168"/>
                    </a:lnTo>
                    <a:lnTo>
                      <a:pt x="415" y="182"/>
                    </a:lnTo>
                    <a:lnTo>
                      <a:pt x="415" y="196"/>
                    </a:lnTo>
                    <a:lnTo>
                      <a:pt x="423" y="206"/>
                    </a:lnTo>
                    <a:lnTo>
                      <a:pt x="437" y="202"/>
                    </a:lnTo>
                    <a:lnTo>
                      <a:pt x="445" y="208"/>
                    </a:lnTo>
                    <a:lnTo>
                      <a:pt x="449" y="210"/>
                    </a:lnTo>
                    <a:lnTo>
                      <a:pt x="453" y="208"/>
                    </a:lnTo>
                    <a:lnTo>
                      <a:pt x="459" y="200"/>
                    </a:lnTo>
                    <a:lnTo>
                      <a:pt x="475" y="202"/>
                    </a:lnTo>
                    <a:lnTo>
                      <a:pt x="479" y="206"/>
                    </a:lnTo>
                    <a:lnTo>
                      <a:pt x="485" y="208"/>
                    </a:lnTo>
                    <a:lnTo>
                      <a:pt x="493" y="220"/>
                    </a:lnTo>
                    <a:lnTo>
                      <a:pt x="499" y="210"/>
                    </a:lnTo>
                    <a:lnTo>
                      <a:pt x="499" y="236"/>
                    </a:lnTo>
                    <a:lnTo>
                      <a:pt x="491" y="250"/>
                    </a:lnTo>
                    <a:lnTo>
                      <a:pt x="485" y="250"/>
                    </a:lnTo>
                    <a:lnTo>
                      <a:pt x="485" y="258"/>
                    </a:lnTo>
                    <a:lnTo>
                      <a:pt x="477" y="264"/>
                    </a:lnTo>
                    <a:lnTo>
                      <a:pt x="471" y="264"/>
                    </a:lnTo>
                    <a:lnTo>
                      <a:pt x="471" y="250"/>
                    </a:lnTo>
                    <a:lnTo>
                      <a:pt x="463" y="244"/>
                    </a:lnTo>
                    <a:lnTo>
                      <a:pt x="457" y="250"/>
                    </a:lnTo>
                    <a:lnTo>
                      <a:pt x="457" y="258"/>
                    </a:lnTo>
                    <a:lnTo>
                      <a:pt x="451" y="272"/>
                    </a:lnTo>
                    <a:lnTo>
                      <a:pt x="451" y="278"/>
                    </a:lnTo>
                    <a:lnTo>
                      <a:pt x="457" y="278"/>
                    </a:lnTo>
                    <a:lnTo>
                      <a:pt x="463" y="278"/>
                    </a:lnTo>
                    <a:lnTo>
                      <a:pt x="457" y="286"/>
                    </a:lnTo>
                    <a:lnTo>
                      <a:pt x="451" y="292"/>
                    </a:lnTo>
                    <a:lnTo>
                      <a:pt x="451" y="300"/>
                    </a:lnTo>
                    <a:lnTo>
                      <a:pt x="451" y="312"/>
                    </a:lnTo>
                    <a:lnTo>
                      <a:pt x="457" y="320"/>
                    </a:lnTo>
                    <a:lnTo>
                      <a:pt x="451" y="334"/>
                    </a:lnTo>
                    <a:lnTo>
                      <a:pt x="451" y="340"/>
                    </a:lnTo>
                    <a:lnTo>
                      <a:pt x="449" y="342"/>
                    </a:lnTo>
                    <a:lnTo>
                      <a:pt x="423" y="328"/>
                    </a:lnTo>
                    <a:lnTo>
                      <a:pt x="415" y="328"/>
                    </a:lnTo>
                    <a:lnTo>
                      <a:pt x="409" y="326"/>
                    </a:lnTo>
                    <a:lnTo>
                      <a:pt x="403" y="326"/>
                    </a:lnTo>
                    <a:lnTo>
                      <a:pt x="387" y="328"/>
                    </a:lnTo>
                    <a:lnTo>
                      <a:pt x="381" y="324"/>
                    </a:lnTo>
                    <a:lnTo>
                      <a:pt x="367" y="324"/>
                    </a:lnTo>
                    <a:lnTo>
                      <a:pt x="361" y="324"/>
                    </a:lnTo>
                    <a:lnTo>
                      <a:pt x="353" y="316"/>
                    </a:lnTo>
                    <a:lnTo>
                      <a:pt x="324" y="324"/>
                    </a:lnTo>
                    <a:lnTo>
                      <a:pt x="318" y="326"/>
                    </a:lnTo>
                    <a:lnTo>
                      <a:pt x="306" y="342"/>
                    </a:lnTo>
                    <a:lnTo>
                      <a:pt x="290" y="358"/>
                    </a:lnTo>
                    <a:lnTo>
                      <a:pt x="274" y="362"/>
                    </a:lnTo>
                    <a:lnTo>
                      <a:pt x="270" y="370"/>
                    </a:lnTo>
                    <a:lnTo>
                      <a:pt x="254" y="372"/>
                    </a:lnTo>
                    <a:lnTo>
                      <a:pt x="242" y="366"/>
                    </a:lnTo>
                    <a:lnTo>
                      <a:pt x="236" y="366"/>
                    </a:lnTo>
                    <a:lnTo>
                      <a:pt x="220" y="366"/>
                    </a:lnTo>
                    <a:lnTo>
                      <a:pt x="212" y="366"/>
                    </a:lnTo>
                    <a:lnTo>
                      <a:pt x="200" y="366"/>
                    </a:lnTo>
                    <a:lnTo>
                      <a:pt x="186" y="366"/>
                    </a:lnTo>
                    <a:lnTo>
                      <a:pt x="176" y="360"/>
                    </a:lnTo>
                    <a:lnTo>
                      <a:pt x="166" y="360"/>
                    </a:lnTo>
                    <a:lnTo>
                      <a:pt x="150" y="360"/>
                    </a:lnTo>
                    <a:lnTo>
                      <a:pt x="138" y="360"/>
                    </a:lnTo>
                    <a:lnTo>
                      <a:pt x="130" y="356"/>
                    </a:lnTo>
                    <a:lnTo>
                      <a:pt x="128" y="346"/>
                    </a:lnTo>
                    <a:lnTo>
                      <a:pt x="126" y="336"/>
                    </a:lnTo>
                    <a:lnTo>
                      <a:pt x="124" y="334"/>
                    </a:lnTo>
                    <a:lnTo>
                      <a:pt x="124" y="330"/>
                    </a:lnTo>
                    <a:lnTo>
                      <a:pt x="124" y="330"/>
                    </a:lnTo>
                    <a:lnTo>
                      <a:pt x="124" y="330"/>
                    </a:lnTo>
                    <a:close/>
                  </a:path>
                </a:pathLst>
              </a:custGeom>
              <a:solidFill>
                <a:schemeClr val="bg1">
                  <a:lumMod val="85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2" name="Freeform 66"/>
              <p:cNvSpPr>
                <a:spLocks/>
              </p:cNvSpPr>
              <p:nvPr>
                <p:custDataLst>
                  <p:tags r:id="rId148"/>
                </p:custDataLst>
              </p:nvPr>
            </p:nvSpPr>
            <p:spPr bwMode="gray">
              <a:xfrm>
                <a:off x="5312987" y="4235489"/>
                <a:ext cx="604972" cy="641492"/>
              </a:xfrm>
              <a:custGeom>
                <a:avLst/>
                <a:gdLst>
                  <a:gd name="T0" fmla="*/ 214 w 381"/>
                  <a:gd name="T1" fmla="*/ 40 h 404"/>
                  <a:gd name="T2" fmla="*/ 248 w 381"/>
                  <a:gd name="T3" fmla="*/ 24 h 404"/>
                  <a:gd name="T4" fmla="*/ 278 w 381"/>
                  <a:gd name="T5" fmla="*/ 32 h 404"/>
                  <a:gd name="T6" fmla="*/ 318 w 381"/>
                  <a:gd name="T7" fmla="*/ 32 h 404"/>
                  <a:gd name="T8" fmla="*/ 348 w 381"/>
                  <a:gd name="T9" fmla="*/ 12 h 404"/>
                  <a:gd name="T10" fmla="*/ 381 w 381"/>
                  <a:gd name="T11" fmla="*/ 12 h 404"/>
                  <a:gd name="T12" fmla="*/ 369 w 381"/>
                  <a:gd name="T13" fmla="*/ 42 h 404"/>
                  <a:gd name="T14" fmla="*/ 355 w 381"/>
                  <a:gd name="T15" fmla="*/ 82 h 404"/>
                  <a:gd name="T16" fmla="*/ 292 w 381"/>
                  <a:gd name="T17" fmla="*/ 68 h 404"/>
                  <a:gd name="T18" fmla="*/ 264 w 381"/>
                  <a:gd name="T19" fmla="*/ 74 h 404"/>
                  <a:gd name="T20" fmla="*/ 242 w 381"/>
                  <a:gd name="T21" fmla="*/ 88 h 404"/>
                  <a:gd name="T22" fmla="*/ 228 w 381"/>
                  <a:gd name="T23" fmla="*/ 108 h 404"/>
                  <a:gd name="T24" fmla="*/ 242 w 381"/>
                  <a:gd name="T25" fmla="*/ 136 h 404"/>
                  <a:gd name="T26" fmla="*/ 222 w 381"/>
                  <a:gd name="T27" fmla="*/ 130 h 404"/>
                  <a:gd name="T28" fmla="*/ 208 w 381"/>
                  <a:gd name="T29" fmla="*/ 136 h 404"/>
                  <a:gd name="T30" fmla="*/ 202 w 381"/>
                  <a:gd name="T31" fmla="*/ 144 h 404"/>
                  <a:gd name="T32" fmla="*/ 180 w 381"/>
                  <a:gd name="T33" fmla="*/ 130 h 404"/>
                  <a:gd name="T34" fmla="*/ 146 w 381"/>
                  <a:gd name="T35" fmla="*/ 102 h 404"/>
                  <a:gd name="T36" fmla="*/ 146 w 381"/>
                  <a:gd name="T37" fmla="*/ 144 h 404"/>
                  <a:gd name="T38" fmla="*/ 202 w 381"/>
                  <a:gd name="T39" fmla="*/ 192 h 404"/>
                  <a:gd name="T40" fmla="*/ 180 w 381"/>
                  <a:gd name="T41" fmla="*/ 184 h 404"/>
                  <a:gd name="T42" fmla="*/ 166 w 381"/>
                  <a:gd name="T43" fmla="*/ 204 h 404"/>
                  <a:gd name="T44" fmla="*/ 174 w 381"/>
                  <a:gd name="T45" fmla="*/ 232 h 404"/>
                  <a:gd name="T46" fmla="*/ 228 w 381"/>
                  <a:gd name="T47" fmla="*/ 266 h 404"/>
                  <a:gd name="T48" fmla="*/ 236 w 381"/>
                  <a:gd name="T49" fmla="*/ 308 h 404"/>
                  <a:gd name="T50" fmla="*/ 188 w 381"/>
                  <a:gd name="T51" fmla="*/ 308 h 404"/>
                  <a:gd name="T52" fmla="*/ 214 w 381"/>
                  <a:gd name="T53" fmla="*/ 328 h 404"/>
                  <a:gd name="T54" fmla="*/ 174 w 381"/>
                  <a:gd name="T55" fmla="*/ 328 h 404"/>
                  <a:gd name="T56" fmla="*/ 174 w 381"/>
                  <a:gd name="T57" fmla="*/ 356 h 404"/>
                  <a:gd name="T58" fmla="*/ 202 w 381"/>
                  <a:gd name="T59" fmla="*/ 390 h 404"/>
                  <a:gd name="T60" fmla="*/ 158 w 381"/>
                  <a:gd name="T61" fmla="*/ 384 h 404"/>
                  <a:gd name="T62" fmla="*/ 152 w 381"/>
                  <a:gd name="T63" fmla="*/ 404 h 404"/>
                  <a:gd name="T64" fmla="*/ 124 w 381"/>
                  <a:gd name="T65" fmla="*/ 378 h 404"/>
                  <a:gd name="T66" fmla="*/ 112 w 381"/>
                  <a:gd name="T67" fmla="*/ 370 h 404"/>
                  <a:gd name="T68" fmla="*/ 90 w 381"/>
                  <a:gd name="T69" fmla="*/ 370 h 404"/>
                  <a:gd name="T70" fmla="*/ 90 w 381"/>
                  <a:gd name="T71" fmla="*/ 328 h 404"/>
                  <a:gd name="T72" fmla="*/ 62 w 381"/>
                  <a:gd name="T73" fmla="*/ 294 h 404"/>
                  <a:gd name="T74" fmla="*/ 90 w 381"/>
                  <a:gd name="T75" fmla="*/ 280 h 404"/>
                  <a:gd name="T76" fmla="*/ 124 w 381"/>
                  <a:gd name="T77" fmla="*/ 274 h 404"/>
                  <a:gd name="T78" fmla="*/ 152 w 381"/>
                  <a:gd name="T79" fmla="*/ 288 h 404"/>
                  <a:gd name="T80" fmla="*/ 166 w 381"/>
                  <a:gd name="T81" fmla="*/ 274 h 404"/>
                  <a:gd name="T82" fmla="*/ 132 w 381"/>
                  <a:gd name="T83" fmla="*/ 260 h 404"/>
                  <a:gd name="T84" fmla="*/ 82 w 381"/>
                  <a:gd name="T85" fmla="*/ 260 h 404"/>
                  <a:gd name="T86" fmla="*/ 48 w 381"/>
                  <a:gd name="T87" fmla="*/ 254 h 404"/>
                  <a:gd name="T88" fmla="*/ 42 w 381"/>
                  <a:gd name="T89" fmla="*/ 226 h 404"/>
                  <a:gd name="T90" fmla="*/ 56 w 381"/>
                  <a:gd name="T91" fmla="*/ 212 h 404"/>
                  <a:gd name="T92" fmla="*/ 28 w 381"/>
                  <a:gd name="T93" fmla="*/ 198 h 404"/>
                  <a:gd name="T94" fmla="*/ 6 w 381"/>
                  <a:gd name="T95" fmla="*/ 170 h 404"/>
                  <a:gd name="T96" fmla="*/ 34 w 381"/>
                  <a:gd name="T97" fmla="*/ 144 h 404"/>
                  <a:gd name="T98" fmla="*/ 56 w 381"/>
                  <a:gd name="T99" fmla="*/ 108 h 404"/>
                  <a:gd name="T100" fmla="*/ 48 w 381"/>
                  <a:gd name="T101" fmla="*/ 74 h 404"/>
                  <a:gd name="T102" fmla="*/ 82 w 381"/>
                  <a:gd name="T103" fmla="*/ 74 h 404"/>
                  <a:gd name="T104" fmla="*/ 132 w 381"/>
                  <a:gd name="T105" fmla="*/ 60 h 404"/>
                  <a:gd name="T106" fmla="*/ 174 w 381"/>
                  <a:gd name="T107" fmla="*/ 4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1" h="404">
                    <a:moveTo>
                      <a:pt x="158" y="40"/>
                    </a:moveTo>
                    <a:lnTo>
                      <a:pt x="174" y="40"/>
                    </a:lnTo>
                    <a:lnTo>
                      <a:pt x="188" y="40"/>
                    </a:lnTo>
                    <a:lnTo>
                      <a:pt x="202" y="40"/>
                    </a:lnTo>
                    <a:lnTo>
                      <a:pt x="214" y="40"/>
                    </a:lnTo>
                    <a:lnTo>
                      <a:pt x="222" y="46"/>
                    </a:lnTo>
                    <a:lnTo>
                      <a:pt x="232" y="40"/>
                    </a:lnTo>
                    <a:lnTo>
                      <a:pt x="228" y="32"/>
                    </a:lnTo>
                    <a:lnTo>
                      <a:pt x="234" y="30"/>
                    </a:lnTo>
                    <a:lnTo>
                      <a:pt x="248" y="24"/>
                    </a:lnTo>
                    <a:lnTo>
                      <a:pt x="256" y="30"/>
                    </a:lnTo>
                    <a:lnTo>
                      <a:pt x="262" y="24"/>
                    </a:lnTo>
                    <a:lnTo>
                      <a:pt x="264" y="24"/>
                    </a:lnTo>
                    <a:lnTo>
                      <a:pt x="270" y="32"/>
                    </a:lnTo>
                    <a:lnTo>
                      <a:pt x="278" y="32"/>
                    </a:lnTo>
                    <a:lnTo>
                      <a:pt x="278" y="40"/>
                    </a:lnTo>
                    <a:lnTo>
                      <a:pt x="292" y="32"/>
                    </a:lnTo>
                    <a:lnTo>
                      <a:pt x="298" y="32"/>
                    </a:lnTo>
                    <a:lnTo>
                      <a:pt x="304" y="32"/>
                    </a:lnTo>
                    <a:lnTo>
                      <a:pt x="318" y="32"/>
                    </a:lnTo>
                    <a:lnTo>
                      <a:pt x="326" y="26"/>
                    </a:lnTo>
                    <a:lnTo>
                      <a:pt x="340" y="26"/>
                    </a:lnTo>
                    <a:lnTo>
                      <a:pt x="355" y="26"/>
                    </a:lnTo>
                    <a:lnTo>
                      <a:pt x="352" y="20"/>
                    </a:lnTo>
                    <a:lnTo>
                      <a:pt x="348" y="12"/>
                    </a:lnTo>
                    <a:lnTo>
                      <a:pt x="348" y="6"/>
                    </a:lnTo>
                    <a:lnTo>
                      <a:pt x="361" y="0"/>
                    </a:lnTo>
                    <a:lnTo>
                      <a:pt x="371" y="6"/>
                    </a:lnTo>
                    <a:lnTo>
                      <a:pt x="375" y="12"/>
                    </a:lnTo>
                    <a:lnTo>
                      <a:pt x="381" y="12"/>
                    </a:lnTo>
                    <a:lnTo>
                      <a:pt x="381" y="20"/>
                    </a:lnTo>
                    <a:lnTo>
                      <a:pt x="381" y="26"/>
                    </a:lnTo>
                    <a:lnTo>
                      <a:pt x="375" y="32"/>
                    </a:lnTo>
                    <a:lnTo>
                      <a:pt x="379" y="40"/>
                    </a:lnTo>
                    <a:lnTo>
                      <a:pt x="369" y="42"/>
                    </a:lnTo>
                    <a:lnTo>
                      <a:pt x="371" y="46"/>
                    </a:lnTo>
                    <a:lnTo>
                      <a:pt x="367" y="60"/>
                    </a:lnTo>
                    <a:lnTo>
                      <a:pt x="361" y="68"/>
                    </a:lnTo>
                    <a:lnTo>
                      <a:pt x="361" y="74"/>
                    </a:lnTo>
                    <a:lnTo>
                      <a:pt x="355" y="82"/>
                    </a:lnTo>
                    <a:lnTo>
                      <a:pt x="346" y="82"/>
                    </a:lnTo>
                    <a:lnTo>
                      <a:pt x="340" y="74"/>
                    </a:lnTo>
                    <a:lnTo>
                      <a:pt x="318" y="74"/>
                    </a:lnTo>
                    <a:lnTo>
                      <a:pt x="304" y="68"/>
                    </a:lnTo>
                    <a:lnTo>
                      <a:pt x="292" y="68"/>
                    </a:lnTo>
                    <a:lnTo>
                      <a:pt x="284" y="68"/>
                    </a:lnTo>
                    <a:lnTo>
                      <a:pt x="292" y="74"/>
                    </a:lnTo>
                    <a:lnTo>
                      <a:pt x="284" y="82"/>
                    </a:lnTo>
                    <a:lnTo>
                      <a:pt x="270" y="82"/>
                    </a:lnTo>
                    <a:lnTo>
                      <a:pt x="264" y="74"/>
                    </a:lnTo>
                    <a:lnTo>
                      <a:pt x="256" y="68"/>
                    </a:lnTo>
                    <a:lnTo>
                      <a:pt x="250" y="74"/>
                    </a:lnTo>
                    <a:lnTo>
                      <a:pt x="250" y="82"/>
                    </a:lnTo>
                    <a:lnTo>
                      <a:pt x="250" y="88"/>
                    </a:lnTo>
                    <a:lnTo>
                      <a:pt x="242" y="88"/>
                    </a:lnTo>
                    <a:lnTo>
                      <a:pt x="222" y="88"/>
                    </a:lnTo>
                    <a:lnTo>
                      <a:pt x="214" y="88"/>
                    </a:lnTo>
                    <a:lnTo>
                      <a:pt x="214" y="94"/>
                    </a:lnTo>
                    <a:lnTo>
                      <a:pt x="222" y="102"/>
                    </a:lnTo>
                    <a:lnTo>
                      <a:pt x="228" y="108"/>
                    </a:lnTo>
                    <a:lnTo>
                      <a:pt x="242" y="116"/>
                    </a:lnTo>
                    <a:lnTo>
                      <a:pt x="256" y="122"/>
                    </a:lnTo>
                    <a:lnTo>
                      <a:pt x="264" y="122"/>
                    </a:lnTo>
                    <a:lnTo>
                      <a:pt x="256" y="130"/>
                    </a:lnTo>
                    <a:lnTo>
                      <a:pt x="242" y="136"/>
                    </a:lnTo>
                    <a:lnTo>
                      <a:pt x="228" y="136"/>
                    </a:lnTo>
                    <a:lnTo>
                      <a:pt x="228" y="122"/>
                    </a:lnTo>
                    <a:lnTo>
                      <a:pt x="222" y="122"/>
                    </a:lnTo>
                    <a:lnTo>
                      <a:pt x="214" y="122"/>
                    </a:lnTo>
                    <a:lnTo>
                      <a:pt x="222" y="130"/>
                    </a:lnTo>
                    <a:lnTo>
                      <a:pt x="228" y="144"/>
                    </a:lnTo>
                    <a:lnTo>
                      <a:pt x="236" y="144"/>
                    </a:lnTo>
                    <a:lnTo>
                      <a:pt x="236" y="150"/>
                    </a:lnTo>
                    <a:lnTo>
                      <a:pt x="214" y="144"/>
                    </a:lnTo>
                    <a:lnTo>
                      <a:pt x="208" y="136"/>
                    </a:lnTo>
                    <a:lnTo>
                      <a:pt x="202" y="130"/>
                    </a:lnTo>
                    <a:lnTo>
                      <a:pt x="194" y="122"/>
                    </a:lnTo>
                    <a:lnTo>
                      <a:pt x="194" y="130"/>
                    </a:lnTo>
                    <a:lnTo>
                      <a:pt x="194" y="136"/>
                    </a:lnTo>
                    <a:lnTo>
                      <a:pt x="202" y="144"/>
                    </a:lnTo>
                    <a:lnTo>
                      <a:pt x="214" y="150"/>
                    </a:lnTo>
                    <a:lnTo>
                      <a:pt x="214" y="156"/>
                    </a:lnTo>
                    <a:lnTo>
                      <a:pt x="202" y="150"/>
                    </a:lnTo>
                    <a:lnTo>
                      <a:pt x="188" y="144"/>
                    </a:lnTo>
                    <a:lnTo>
                      <a:pt x="180" y="130"/>
                    </a:lnTo>
                    <a:lnTo>
                      <a:pt x="174" y="116"/>
                    </a:lnTo>
                    <a:lnTo>
                      <a:pt x="166" y="108"/>
                    </a:lnTo>
                    <a:lnTo>
                      <a:pt x="166" y="94"/>
                    </a:lnTo>
                    <a:lnTo>
                      <a:pt x="158" y="94"/>
                    </a:lnTo>
                    <a:lnTo>
                      <a:pt x="146" y="102"/>
                    </a:lnTo>
                    <a:lnTo>
                      <a:pt x="138" y="108"/>
                    </a:lnTo>
                    <a:lnTo>
                      <a:pt x="146" y="116"/>
                    </a:lnTo>
                    <a:lnTo>
                      <a:pt x="146" y="122"/>
                    </a:lnTo>
                    <a:lnTo>
                      <a:pt x="146" y="130"/>
                    </a:lnTo>
                    <a:lnTo>
                      <a:pt x="146" y="144"/>
                    </a:lnTo>
                    <a:lnTo>
                      <a:pt x="152" y="150"/>
                    </a:lnTo>
                    <a:lnTo>
                      <a:pt x="166" y="156"/>
                    </a:lnTo>
                    <a:lnTo>
                      <a:pt x="174" y="170"/>
                    </a:lnTo>
                    <a:lnTo>
                      <a:pt x="194" y="192"/>
                    </a:lnTo>
                    <a:lnTo>
                      <a:pt x="202" y="192"/>
                    </a:lnTo>
                    <a:lnTo>
                      <a:pt x="194" y="204"/>
                    </a:lnTo>
                    <a:lnTo>
                      <a:pt x="188" y="204"/>
                    </a:lnTo>
                    <a:lnTo>
                      <a:pt x="188" y="198"/>
                    </a:lnTo>
                    <a:lnTo>
                      <a:pt x="188" y="192"/>
                    </a:lnTo>
                    <a:lnTo>
                      <a:pt x="180" y="184"/>
                    </a:lnTo>
                    <a:lnTo>
                      <a:pt x="166" y="184"/>
                    </a:lnTo>
                    <a:lnTo>
                      <a:pt x="158" y="184"/>
                    </a:lnTo>
                    <a:lnTo>
                      <a:pt x="152" y="192"/>
                    </a:lnTo>
                    <a:lnTo>
                      <a:pt x="158" y="204"/>
                    </a:lnTo>
                    <a:lnTo>
                      <a:pt x="166" y="204"/>
                    </a:lnTo>
                    <a:lnTo>
                      <a:pt x="166" y="212"/>
                    </a:lnTo>
                    <a:lnTo>
                      <a:pt x="158" y="220"/>
                    </a:lnTo>
                    <a:lnTo>
                      <a:pt x="152" y="226"/>
                    </a:lnTo>
                    <a:lnTo>
                      <a:pt x="158" y="232"/>
                    </a:lnTo>
                    <a:lnTo>
                      <a:pt x="174" y="232"/>
                    </a:lnTo>
                    <a:lnTo>
                      <a:pt x="188" y="240"/>
                    </a:lnTo>
                    <a:lnTo>
                      <a:pt x="202" y="246"/>
                    </a:lnTo>
                    <a:lnTo>
                      <a:pt x="208" y="246"/>
                    </a:lnTo>
                    <a:lnTo>
                      <a:pt x="214" y="260"/>
                    </a:lnTo>
                    <a:lnTo>
                      <a:pt x="228" y="266"/>
                    </a:lnTo>
                    <a:lnTo>
                      <a:pt x="236" y="266"/>
                    </a:lnTo>
                    <a:lnTo>
                      <a:pt x="236" y="280"/>
                    </a:lnTo>
                    <a:lnTo>
                      <a:pt x="236" y="294"/>
                    </a:lnTo>
                    <a:lnTo>
                      <a:pt x="236" y="302"/>
                    </a:lnTo>
                    <a:lnTo>
                      <a:pt x="236" y="308"/>
                    </a:lnTo>
                    <a:lnTo>
                      <a:pt x="222" y="302"/>
                    </a:lnTo>
                    <a:lnTo>
                      <a:pt x="214" y="288"/>
                    </a:lnTo>
                    <a:lnTo>
                      <a:pt x="208" y="288"/>
                    </a:lnTo>
                    <a:lnTo>
                      <a:pt x="194" y="302"/>
                    </a:lnTo>
                    <a:lnTo>
                      <a:pt x="188" y="308"/>
                    </a:lnTo>
                    <a:lnTo>
                      <a:pt x="188" y="314"/>
                    </a:lnTo>
                    <a:lnTo>
                      <a:pt x="194" y="322"/>
                    </a:lnTo>
                    <a:lnTo>
                      <a:pt x="202" y="322"/>
                    </a:lnTo>
                    <a:lnTo>
                      <a:pt x="214" y="314"/>
                    </a:lnTo>
                    <a:lnTo>
                      <a:pt x="214" y="328"/>
                    </a:lnTo>
                    <a:lnTo>
                      <a:pt x="202" y="336"/>
                    </a:lnTo>
                    <a:lnTo>
                      <a:pt x="188" y="342"/>
                    </a:lnTo>
                    <a:lnTo>
                      <a:pt x="180" y="342"/>
                    </a:lnTo>
                    <a:lnTo>
                      <a:pt x="174" y="336"/>
                    </a:lnTo>
                    <a:lnTo>
                      <a:pt x="174" y="328"/>
                    </a:lnTo>
                    <a:lnTo>
                      <a:pt x="166" y="322"/>
                    </a:lnTo>
                    <a:lnTo>
                      <a:pt x="158" y="322"/>
                    </a:lnTo>
                    <a:lnTo>
                      <a:pt x="158" y="336"/>
                    </a:lnTo>
                    <a:lnTo>
                      <a:pt x="166" y="342"/>
                    </a:lnTo>
                    <a:lnTo>
                      <a:pt x="174" y="356"/>
                    </a:lnTo>
                    <a:lnTo>
                      <a:pt x="180" y="356"/>
                    </a:lnTo>
                    <a:lnTo>
                      <a:pt x="180" y="370"/>
                    </a:lnTo>
                    <a:lnTo>
                      <a:pt x="188" y="378"/>
                    </a:lnTo>
                    <a:lnTo>
                      <a:pt x="188" y="384"/>
                    </a:lnTo>
                    <a:lnTo>
                      <a:pt x="202" y="390"/>
                    </a:lnTo>
                    <a:lnTo>
                      <a:pt x="202" y="398"/>
                    </a:lnTo>
                    <a:lnTo>
                      <a:pt x="174" y="398"/>
                    </a:lnTo>
                    <a:lnTo>
                      <a:pt x="166" y="398"/>
                    </a:lnTo>
                    <a:lnTo>
                      <a:pt x="166" y="384"/>
                    </a:lnTo>
                    <a:lnTo>
                      <a:pt x="158" y="384"/>
                    </a:lnTo>
                    <a:lnTo>
                      <a:pt x="158" y="370"/>
                    </a:lnTo>
                    <a:lnTo>
                      <a:pt x="152" y="378"/>
                    </a:lnTo>
                    <a:lnTo>
                      <a:pt x="152" y="384"/>
                    </a:lnTo>
                    <a:lnTo>
                      <a:pt x="152" y="390"/>
                    </a:lnTo>
                    <a:lnTo>
                      <a:pt x="152" y="404"/>
                    </a:lnTo>
                    <a:lnTo>
                      <a:pt x="146" y="404"/>
                    </a:lnTo>
                    <a:lnTo>
                      <a:pt x="138" y="390"/>
                    </a:lnTo>
                    <a:lnTo>
                      <a:pt x="132" y="390"/>
                    </a:lnTo>
                    <a:lnTo>
                      <a:pt x="124" y="384"/>
                    </a:lnTo>
                    <a:lnTo>
                      <a:pt x="124" y="378"/>
                    </a:lnTo>
                    <a:lnTo>
                      <a:pt x="124" y="370"/>
                    </a:lnTo>
                    <a:lnTo>
                      <a:pt x="124" y="364"/>
                    </a:lnTo>
                    <a:lnTo>
                      <a:pt x="118" y="356"/>
                    </a:lnTo>
                    <a:lnTo>
                      <a:pt x="112" y="364"/>
                    </a:lnTo>
                    <a:lnTo>
                      <a:pt x="112" y="370"/>
                    </a:lnTo>
                    <a:lnTo>
                      <a:pt x="118" y="378"/>
                    </a:lnTo>
                    <a:lnTo>
                      <a:pt x="112" y="384"/>
                    </a:lnTo>
                    <a:lnTo>
                      <a:pt x="104" y="384"/>
                    </a:lnTo>
                    <a:lnTo>
                      <a:pt x="96" y="384"/>
                    </a:lnTo>
                    <a:lnTo>
                      <a:pt x="90" y="370"/>
                    </a:lnTo>
                    <a:lnTo>
                      <a:pt x="90" y="364"/>
                    </a:lnTo>
                    <a:lnTo>
                      <a:pt x="90" y="356"/>
                    </a:lnTo>
                    <a:lnTo>
                      <a:pt x="82" y="350"/>
                    </a:lnTo>
                    <a:lnTo>
                      <a:pt x="90" y="342"/>
                    </a:lnTo>
                    <a:lnTo>
                      <a:pt x="90" y="328"/>
                    </a:lnTo>
                    <a:lnTo>
                      <a:pt x="90" y="322"/>
                    </a:lnTo>
                    <a:lnTo>
                      <a:pt x="82" y="314"/>
                    </a:lnTo>
                    <a:lnTo>
                      <a:pt x="76" y="308"/>
                    </a:lnTo>
                    <a:lnTo>
                      <a:pt x="70" y="308"/>
                    </a:lnTo>
                    <a:lnTo>
                      <a:pt x="62" y="294"/>
                    </a:lnTo>
                    <a:lnTo>
                      <a:pt x="62" y="288"/>
                    </a:lnTo>
                    <a:lnTo>
                      <a:pt x="70" y="280"/>
                    </a:lnTo>
                    <a:lnTo>
                      <a:pt x="76" y="280"/>
                    </a:lnTo>
                    <a:lnTo>
                      <a:pt x="82" y="280"/>
                    </a:lnTo>
                    <a:lnTo>
                      <a:pt x="90" y="280"/>
                    </a:lnTo>
                    <a:lnTo>
                      <a:pt x="96" y="280"/>
                    </a:lnTo>
                    <a:lnTo>
                      <a:pt x="104" y="274"/>
                    </a:lnTo>
                    <a:lnTo>
                      <a:pt x="112" y="274"/>
                    </a:lnTo>
                    <a:lnTo>
                      <a:pt x="118" y="274"/>
                    </a:lnTo>
                    <a:lnTo>
                      <a:pt x="124" y="274"/>
                    </a:lnTo>
                    <a:lnTo>
                      <a:pt x="132" y="274"/>
                    </a:lnTo>
                    <a:lnTo>
                      <a:pt x="132" y="280"/>
                    </a:lnTo>
                    <a:lnTo>
                      <a:pt x="146" y="274"/>
                    </a:lnTo>
                    <a:lnTo>
                      <a:pt x="152" y="280"/>
                    </a:lnTo>
                    <a:lnTo>
                      <a:pt x="152" y="288"/>
                    </a:lnTo>
                    <a:lnTo>
                      <a:pt x="158" y="294"/>
                    </a:lnTo>
                    <a:lnTo>
                      <a:pt x="166" y="288"/>
                    </a:lnTo>
                    <a:lnTo>
                      <a:pt x="174" y="288"/>
                    </a:lnTo>
                    <a:lnTo>
                      <a:pt x="180" y="280"/>
                    </a:lnTo>
                    <a:lnTo>
                      <a:pt x="166" y="274"/>
                    </a:lnTo>
                    <a:lnTo>
                      <a:pt x="158" y="266"/>
                    </a:lnTo>
                    <a:lnTo>
                      <a:pt x="152" y="260"/>
                    </a:lnTo>
                    <a:lnTo>
                      <a:pt x="138" y="260"/>
                    </a:lnTo>
                    <a:lnTo>
                      <a:pt x="138" y="266"/>
                    </a:lnTo>
                    <a:lnTo>
                      <a:pt x="132" y="260"/>
                    </a:lnTo>
                    <a:lnTo>
                      <a:pt x="124" y="254"/>
                    </a:lnTo>
                    <a:lnTo>
                      <a:pt x="112" y="254"/>
                    </a:lnTo>
                    <a:lnTo>
                      <a:pt x="104" y="254"/>
                    </a:lnTo>
                    <a:lnTo>
                      <a:pt x="96" y="254"/>
                    </a:lnTo>
                    <a:lnTo>
                      <a:pt x="82" y="260"/>
                    </a:lnTo>
                    <a:lnTo>
                      <a:pt x="82" y="254"/>
                    </a:lnTo>
                    <a:lnTo>
                      <a:pt x="76" y="254"/>
                    </a:lnTo>
                    <a:lnTo>
                      <a:pt x="70" y="254"/>
                    </a:lnTo>
                    <a:lnTo>
                      <a:pt x="62" y="260"/>
                    </a:lnTo>
                    <a:lnTo>
                      <a:pt x="48" y="254"/>
                    </a:lnTo>
                    <a:lnTo>
                      <a:pt x="42" y="254"/>
                    </a:lnTo>
                    <a:lnTo>
                      <a:pt x="42" y="246"/>
                    </a:lnTo>
                    <a:lnTo>
                      <a:pt x="42" y="240"/>
                    </a:lnTo>
                    <a:lnTo>
                      <a:pt x="34" y="232"/>
                    </a:lnTo>
                    <a:lnTo>
                      <a:pt x="42" y="226"/>
                    </a:lnTo>
                    <a:lnTo>
                      <a:pt x="48" y="226"/>
                    </a:lnTo>
                    <a:lnTo>
                      <a:pt x="62" y="226"/>
                    </a:lnTo>
                    <a:lnTo>
                      <a:pt x="62" y="220"/>
                    </a:lnTo>
                    <a:lnTo>
                      <a:pt x="62" y="212"/>
                    </a:lnTo>
                    <a:lnTo>
                      <a:pt x="56" y="212"/>
                    </a:lnTo>
                    <a:lnTo>
                      <a:pt x="48" y="212"/>
                    </a:lnTo>
                    <a:lnTo>
                      <a:pt x="42" y="212"/>
                    </a:lnTo>
                    <a:lnTo>
                      <a:pt x="34" y="220"/>
                    </a:lnTo>
                    <a:lnTo>
                      <a:pt x="28" y="212"/>
                    </a:lnTo>
                    <a:lnTo>
                      <a:pt x="28" y="198"/>
                    </a:lnTo>
                    <a:lnTo>
                      <a:pt x="28" y="192"/>
                    </a:lnTo>
                    <a:lnTo>
                      <a:pt x="14" y="192"/>
                    </a:lnTo>
                    <a:lnTo>
                      <a:pt x="6" y="184"/>
                    </a:lnTo>
                    <a:lnTo>
                      <a:pt x="0" y="170"/>
                    </a:lnTo>
                    <a:lnTo>
                      <a:pt x="6" y="170"/>
                    </a:lnTo>
                    <a:lnTo>
                      <a:pt x="6" y="164"/>
                    </a:lnTo>
                    <a:lnTo>
                      <a:pt x="6" y="156"/>
                    </a:lnTo>
                    <a:lnTo>
                      <a:pt x="14" y="150"/>
                    </a:lnTo>
                    <a:lnTo>
                      <a:pt x="22" y="150"/>
                    </a:lnTo>
                    <a:lnTo>
                      <a:pt x="34" y="144"/>
                    </a:lnTo>
                    <a:lnTo>
                      <a:pt x="28" y="136"/>
                    </a:lnTo>
                    <a:lnTo>
                      <a:pt x="34" y="136"/>
                    </a:lnTo>
                    <a:lnTo>
                      <a:pt x="42" y="130"/>
                    </a:lnTo>
                    <a:lnTo>
                      <a:pt x="48" y="116"/>
                    </a:lnTo>
                    <a:lnTo>
                      <a:pt x="56" y="108"/>
                    </a:lnTo>
                    <a:lnTo>
                      <a:pt x="56" y="102"/>
                    </a:lnTo>
                    <a:lnTo>
                      <a:pt x="56" y="94"/>
                    </a:lnTo>
                    <a:lnTo>
                      <a:pt x="48" y="88"/>
                    </a:lnTo>
                    <a:lnTo>
                      <a:pt x="42" y="82"/>
                    </a:lnTo>
                    <a:lnTo>
                      <a:pt x="48" y="74"/>
                    </a:lnTo>
                    <a:lnTo>
                      <a:pt x="56" y="74"/>
                    </a:lnTo>
                    <a:lnTo>
                      <a:pt x="56" y="68"/>
                    </a:lnTo>
                    <a:lnTo>
                      <a:pt x="62" y="74"/>
                    </a:lnTo>
                    <a:lnTo>
                      <a:pt x="76" y="74"/>
                    </a:lnTo>
                    <a:lnTo>
                      <a:pt x="82" y="74"/>
                    </a:lnTo>
                    <a:lnTo>
                      <a:pt x="96" y="68"/>
                    </a:lnTo>
                    <a:lnTo>
                      <a:pt x="112" y="68"/>
                    </a:lnTo>
                    <a:lnTo>
                      <a:pt x="118" y="60"/>
                    </a:lnTo>
                    <a:lnTo>
                      <a:pt x="124" y="54"/>
                    </a:lnTo>
                    <a:lnTo>
                      <a:pt x="132" y="60"/>
                    </a:lnTo>
                    <a:lnTo>
                      <a:pt x="138" y="60"/>
                    </a:lnTo>
                    <a:lnTo>
                      <a:pt x="146" y="60"/>
                    </a:lnTo>
                    <a:lnTo>
                      <a:pt x="152" y="54"/>
                    </a:lnTo>
                    <a:lnTo>
                      <a:pt x="158" y="46"/>
                    </a:lnTo>
                    <a:lnTo>
                      <a:pt x="174" y="40"/>
                    </a:lnTo>
                    <a:lnTo>
                      <a:pt x="158" y="40"/>
                    </a:lnTo>
                    <a:lnTo>
                      <a:pt x="158" y="40"/>
                    </a:lnTo>
                    <a:lnTo>
                      <a:pt x="158" y="40"/>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3" name="Freeform 69"/>
              <p:cNvSpPr>
                <a:spLocks/>
              </p:cNvSpPr>
              <p:nvPr/>
            </p:nvSpPr>
            <p:spPr bwMode="gray">
              <a:xfrm>
                <a:off x="3629863" y="3990959"/>
                <a:ext cx="44460" cy="41284"/>
              </a:xfrm>
              <a:custGeom>
                <a:avLst/>
                <a:gdLst>
                  <a:gd name="T0" fmla="*/ 0 w 28"/>
                  <a:gd name="T1" fmla="*/ 10 h 26"/>
                  <a:gd name="T2" fmla="*/ 4 w 28"/>
                  <a:gd name="T3" fmla="*/ 4 h 26"/>
                  <a:gd name="T4" fmla="*/ 8 w 28"/>
                  <a:gd name="T5" fmla="*/ 2 h 26"/>
                  <a:gd name="T6" fmla="*/ 16 w 28"/>
                  <a:gd name="T7" fmla="*/ 0 h 26"/>
                  <a:gd name="T8" fmla="*/ 22 w 28"/>
                  <a:gd name="T9" fmla="*/ 0 h 26"/>
                  <a:gd name="T10" fmla="*/ 28 w 28"/>
                  <a:gd name="T11" fmla="*/ 10 h 26"/>
                  <a:gd name="T12" fmla="*/ 28 w 28"/>
                  <a:gd name="T13" fmla="*/ 20 h 26"/>
                  <a:gd name="T14" fmla="*/ 22 w 28"/>
                  <a:gd name="T15" fmla="*/ 26 h 26"/>
                  <a:gd name="T16" fmla="*/ 16 w 28"/>
                  <a:gd name="T17" fmla="*/ 26 h 26"/>
                  <a:gd name="T18" fmla="*/ 10 w 28"/>
                  <a:gd name="T19" fmla="*/ 26 h 26"/>
                  <a:gd name="T20" fmla="*/ 4 w 28"/>
                  <a:gd name="T21" fmla="*/ 22 h 26"/>
                  <a:gd name="T22" fmla="*/ 0 w 28"/>
                  <a:gd name="T23" fmla="*/ 10 h 26"/>
                  <a:gd name="T24" fmla="*/ 0 w 28"/>
                  <a:gd name="T25" fmla="*/ 10 h 26"/>
                  <a:gd name="T26" fmla="*/ 0 w 28"/>
                  <a:gd name="T2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26">
                    <a:moveTo>
                      <a:pt x="0" y="10"/>
                    </a:moveTo>
                    <a:lnTo>
                      <a:pt x="4" y="4"/>
                    </a:lnTo>
                    <a:lnTo>
                      <a:pt x="8" y="2"/>
                    </a:lnTo>
                    <a:lnTo>
                      <a:pt x="16" y="0"/>
                    </a:lnTo>
                    <a:lnTo>
                      <a:pt x="22" y="0"/>
                    </a:lnTo>
                    <a:lnTo>
                      <a:pt x="28" y="10"/>
                    </a:lnTo>
                    <a:lnTo>
                      <a:pt x="28" y="20"/>
                    </a:lnTo>
                    <a:lnTo>
                      <a:pt x="22" y="26"/>
                    </a:lnTo>
                    <a:lnTo>
                      <a:pt x="16" y="26"/>
                    </a:lnTo>
                    <a:lnTo>
                      <a:pt x="10" y="26"/>
                    </a:lnTo>
                    <a:lnTo>
                      <a:pt x="4" y="22"/>
                    </a:lnTo>
                    <a:lnTo>
                      <a:pt x="0" y="10"/>
                    </a:lnTo>
                    <a:lnTo>
                      <a:pt x="0" y="10"/>
                    </a:lnTo>
                    <a:lnTo>
                      <a:pt x="0" y="10"/>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4" name="Freeform 70"/>
              <p:cNvSpPr>
                <a:spLocks/>
              </p:cNvSpPr>
              <p:nvPr/>
            </p:nvSpPr>
            <p:spPr bwMode="gray">
              <a:xfrm>
                <a:off x="4412675" y="3568591"/>
                <a:ext cx="31757" cy="34933"/>
              </a:xfrm>
              <a:custGeom>
                <a:avLst/>
                <a:gdLst>
                  <a:gd name="T0" fmla="*/ 10 w 20"/>
                  <a:gd name="T1" fmla="*/ 0 h 22"/>
                  <a:gd name="T2" fmla="*/ 20 w 20"/>
                  <a:gd name="T3" fmla="*/ 6 h 22"/>
                  <a:gd name="T4" fmla="*/ 20 w 20"/>
                  <a:gd name="T5" fmla="*/ 18 h 22"/>
                  <a:gd name="T6" fmla="*/ 16 w 20"/>
                  <a:gd name="T7" fmla="*/ 22 h 22"/>
                  <a:gd name="T8" fmla="*/ 10 w 20"/>
                  <a:gd name="T9" fmla="*/ 22 h 22"/>
                  <a:gd name="T10" fmla="*/ 4 w 20"/>
                  <a:gd name="T11" fmla="*/ 22 h 22"/>
                  <a:gd name="T12" fmla="*/ 0 w 20"/>
                  <a:gd name="T13" fmla="*/ 18 h 22"/>
                  <a:gd name="T14" fmla="*/ 0 w 20"/>
                  <a:gd name="T15" fmla="*/ 6 h 22"/>
                  <a:gd name="T16" fmla="*/ 8 w 20"/>
                  <a:gd name="T17" fmla="*/ 2 h 22"/>
                  <a:gd name="T18" fmla="*/ 10 w 20"/>
                  <a:gd name="T19" fmla="*/ 0 h 22"/>
                  <a:gd name="T20" fmla="*/ 10 w 20"/>
                  <a:gd name="T21" fmla="*/ 0 h 22"/>
                  <a:gd name="T22" fmla="*/ 10 w 2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2">
                    <a:moveTo>
                      <a:pt x="10" y="0"/>
                    </a:moveTo>
                    <a:lnTo>
                      <a:pt x="20" y="6"/>
                    </a:lnTo>
                    <a:lnTo>
                      <a:pt x="20" y="18"/>
                    </a:lnTo>
                    <a:lnTo>
                      <a:pt x="16" y="22"/>
                    </a:lnTo>
                    <a:lnTo>
                      <a:pt x="10" y="22"/>
                    </a:lnTo>
                    <a:lnTo>
                      <a:pt x="4" y="22"/>
                    </a:lnTo>
                    <a:lnTo>
                      <a:pt x="0" y="18"/>
                    </a:lnTo>
                    <a:lnTo>
                      <a:pt x="0" y="6"/>
                    </a:lnTo>
                    <a:lnTo>
                      <a:pt x="8" y="2"/>
                    </a:lnTo>
                    <a:lnTo>
                      <a:pt x="10" y="0"/>
                    </a:lnTo>
                    <a:lnTo>
                      <a:pt x="10" y="0"/>
                    </a:lnTo>
                    <a:lnTo>
                      <a:pt x="10" y="0"/>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5" name="Line 71"/>
              <p:cNvSpPr>
                <a:spLocks noChangeShapeType="1"/>
              </p:cNvSpPr>
              <p:nvPr/>
            </p:nvSpPr>
            <p:spPr bwMode="gray">
              <a:xfrm>
                <a:off x="5039876" y="3295480"/>
                <a:ext cx="0" cy="0"/>
              </a:xfrm>
              <a:prstGeom prst="line">
                <a:avLst/>
              </a:prstGeom>
              <a:solidFill>
                <a:schemeClr val="bg2">
                  <a:lumMod val="40000"/>
                  <a:lumOff val="60000"/>
                </a:schemeClr>
              </a:solid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826" name="Line 72"/>
              <p:cNvSpPr>
                <a:spLocks noChangeShapeType="1"/>
              </p:cNvSpPr>
              <p:nvPr/>
            </p:nvSpPr>
            <p:spPr bwMode="gray">
              <a:xfrm>
                <a:off x="5039876" y="3295480"/>
                <a:ext cx="0" cy="0"/>
              </a:xfrm>
              <a:prstGeom prst="line">
                <a:avLst/>
              </a:prstGeom>
              <a:solidFill>
                <a:schemeClr val="bg2">
                  <a:lumMod val="40000"/>
                  <a:lumOff val="60000"/>
                </a:schemeClr>
              </a:solid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827" name="Freeform 73"/>
              <p:cNvSpPr>
                <a:spLocks/>
              </p:cNvSpPr>
              <p:nvPr>
                <p:custDataLst>
                  <p:tags r:id="rId149"/>
                </p:custDataLst>
              </p:nvPr>
            </p:nvSpPr>
            <p:spPr bwMode="gray">
              <a:xfrm>
                <a:off x="4669907" y="3158925"/>
                <a:ext cx="570039" cy="314395"/>
              </a:xfrm>
              <a:custGeom>
                <a:avLst/>
                <a:gdLst>
                  <a:gd name="T0" fmla="*/ 133 w 179"/>
                  <a:gd name="T1" fmla="*/ 19 h 99"/>
                  <a:gd name="T2" fmla="*/ 114 w 179"/>
                  <a:gd name="T3" fmla="*/ 13 h 99"/>
                  <a:gd name="T4" fmla="*/ 95 w 179"/>
                  <a:gd name="T5" fmla="*/ 5 h 99"/>
                  <a:gd name="T6" fmla="*/ 79 w 179"/>
                  <a:gd name="T7" fmla="*/ 2 h 99"/>
                  <a:gd name="T8" fmla="*/ 72 w 179"/>
                  <a:gd name="T9" fmla="*/ 6 h 99"/>
                  <a:gd name="T10" fmla="*/ 65 w 179"/>
                  <a:gd name="T11" fmla="*/ 9 h 99"/>
                  <a:gd name="T12" fmla="*/ 62 w 179"/>
                  <a:gd name="T13" fmla="*/ 2 h 99"/>
                  <a:gd name="T14" fmla="*/ 51 w 179"/>
                  <a:gd name="T15" fmla="*/ 9 h 99"/>
                  <a:gd name="T16" fmla="*/ 37 w 179"/>
                  <a:gd name="T17" fmla="*/ 19 h 99"/>
                  <a:gd name="T18" fmla="*/ 30 w 179"/>
                  <a:gd name="T19" fmla="*/ 23 h 99"/>
                  <a:gd name="T20" fmla="*/ 20 w 179"/>
                  <a:gd name="T21" fmla="*/ 26 h 99"/>
                  <a:gd name="T22" fmla="*/ 10 w 179"/>
                  <a:gd name="T23" fmla="*/ 23 h 99"/>
                  <a:gd name="T24" fmla="*/ 3 w 179"/>
                  <a:gd name="T25" fmla="*/ 23 h 99"/>
                  <a:gd name="T26" fmla="*/ 0 w 179"/>
                  <a:gd name="T27" fmla="*/ 26 h 99"/>
                  <a:gd name="T28" fmla="*/ 7 w 179"/>
                  <a:gd name="T29" fmla="*/ 33 h 99"/>
                  <a:gd name="T30" fmla="*/ 10 w 179"/>
                  <a:gd name="T31" fmla="*/ 43 h 99"/>
                  <a:gd name="T32" fmla="*/ 13 w 179"/>
                  <a:gd name="T33" fmla="*/ 54 h 99"/>
                  <a:gd name="T34" fmla="*/ 17 w 179"/>
                  <a:gd name="T35" fmla="*/ 60 h 99"/>
                  <a:gd name="T36" fmla="*/ 24 w 179"/>
                  <a:gd name="T37" fmla="*/ 74 h 99"/>
                  <a:gd name="T38" fmla="*/ 30 w 179"/>
                  <a:gd name="T39" fmla="*/ 78 h 99"/>
                  <a:gd name="T40" fmla="*/ 36 w 179"/>
                  <a:gd name="T41" fmla="*/ 84 h 99"/>
                  <a:gd name="T42" fmla="*/ 41 w 179"/>
                  <a:gd name="T43" fmla="*/ 91 h 99"/>
                  <a:gd name="T44" fmla="*/ 48 w 179"/>
                  <a:gd name="T45" fmla="*/ 95 h 99"/>
                  <a:gd name="T46" fmla="*/ 62 w 179"/>
                  <a:gd name="T47" fmla="*/ 95 h 99"/>
                  <a:gd name="T48" fmla="*/ 65 w 179"/>
                  <a:gd name="T49" fmla="*/ 88 h 99"/>
                  <a:gd name="T50" fmla="*/ 68 w 179"/>
                  <a:gd name="T51" fmla="*/ 84 h 99"/>
                  <a:gd name="T52" fmla="*/ 79 w 179"/>
                  <a:gd name="T53" fmla="*/ 84 h 99"/>
                  <a:gd name="T54" fmla="*/ 86 w 179"/>
                  <a:gd name="T55" fmla="*/ 88 h 99"/>
                  <a:gd name="T56" fmla="*/ 96 w 179"/>
                  <a:gd name="T57" fmla="*/ 88 h 99"/>
                  <a:gd name="T58" fmla="*/ 100 w 179"/>
                  <a:gd name="T59" fmla="*/ 93 h 99"/>
                  <a:gd name="T60" fmla="*/ 106 w 179"/>
                  <a:gd name="T61" fmla="*/ 98 h 99"/>
                  <a:gd name="T62" fmla="*/ 110 w 179"/>
                  <a:gd name="T63" fmla="*/ 99 h 99"/>
                  <a:gd name="T64" fmla="*/ 113 w 179"/>
                  <a:gd name="T65" fmla="*/ 99 h 99"/>
                  <a:gd name="T66" fmla="*/ 151 w 179"/>
                  <a:gd name="T67" fmla="*/ 71 h 99"/>
                  <a:gd name="T68" fmla="*/ 152 w 179"/>
                  <a:gd name="T69" fmla="*/ 66 h 99"/>
                  <a:gd name="T70" fmla="*/ 163 w 179"/>
                  <a:gd name="T71" fmla="*/ 66 h 99"/>
                  <a:gd name="T72" fmla="*/ 178 w 179"/>
                  <a:gd name="T73" fmla="*/ 60 h 99"/>
                  <a:gd name="T74" fmla="*/ 179 w 179"/>
                  <a:gd name="T75" fmla="*/ 52 h 99"/>
                  <a:gd name="T76" fmla="*/ 172 w 179"/>
                  <a:gd name="T77" fmla="*/ 44 h 99"/>
                  <a:gd name="T78" fmla="*/ 155 w 179"/>
                  <a:gd name="T79" fmla="*/ 39 h 99"/>
                  <a:gd name="T80" fmla="*/ 139 w 179"/>
                  <a:gd name="T81" fmla="*/ 28 h 99"/>
                  <a:gd name="T82" fmla="*/ 123 w 179"/>
                  <a:gd name="T83" fmla="*/ 3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9" h="99">
                    <a:moveTo>
                      <a:pt x="121" y="20"/>
                    </a:moveTo>
                    <a:cubicBezTo>
                      <a:pt x="133" y="19"/>
                      <a:pt x="133" y="19"/>
                      <a:pt x="133" y="19"/>
                    </a:cubicBezTo>
                    <a:cubicBezTo>
                      <a:pt x="121" y="17"/>
                      <a:pt x="121" y="17"/>
                      <a:pt x="121" y="17"/>
                    </a:cubicBezTo>
                    <a:cubicBezTo>
                      <a:pt x="114" y="13"/>
                      <a:pt x="114" y="13"/>
                      <a:pt x="114" y="13"/>
                    </a:cubicBezTo>
                    <a:cubicBezTo>
                      <a:pt x="106" y="10"/>
                      <a:pt x="106" y="10"/>
                      <a:pt x="106" y="10"/>
                    </a:cubicBezTo>
                    <a:cubicBezTo>
                      <a:pt x="95" y="5"/>
                      <a:pt x="95" y="5"/>
                      <a:pt x="95" y="5"/>
                    </a:cubicBezTo>
                    <a:cubicBezTo>
                      <a:pt x="89" y="0"/>
                      <a:pt x="89" y="0"/>
                      <a:pt x="89" y="0"/>
                    </a:cubicBezTo>
                    <a:cubicBezTo>
                      <a:pt x="79" y="2"/>
                      <a:pt x="79" y="2"/>
                      <a:pt x="79" y="2"/>
                    </a:cubicBezTo>
                    <a:cubicBezTo>
                      <a:pt x="72" y="2"/>
                      <a:pt x="72" y="2"/>
                      <a:pt x="72" y="2"/>
                    </a:cubicBezTo>
                    <a:cubicBezTo>
                      <a:pt x="72" y="6"/>
                      <a:pt x="72" y="6"/>
                      <a:pt x="72" y="6"/>
                    </a:cubicBezTo>
                    <a:cubicBezTo>
                      <a:pt x="68" y="9"/>
                      <a:pt x="68" y="9"/>
                      <a:pt x="68" y="9"/>
                    </a:cubicBezTo>
                    <a:cubicBezTo>
                      <a:pt x="65" y="9"/>
                      <a:pt x="65" y="9"/>
                      <a:pt x="65" y="9"/>
                    </a:cubicBezTo>
                    <a:cubicBezTo>
                      <a:pt x="65" y="6"/>
                      <a:pt x="65" y="6"/>
                      <a:pt x="65" y="6"/>
                    </a:cubicBezTo>
                    <a:cubicBezTo>
                      <a:pt x="62" y="2"/>
                      <a:pt x="62" y="2"/>
                      <a:pt x="62" y="2"/>
                    </a:cubicBezTo>
                    <a:cubicBezTo>
                      <a:pt x="55" y="6"/>
                      <a:pt x="55" y="6"/>
                      <a:pt x="55" y="6"/>
                    </a:cubicBezTo>
                    <a:cubicBezTo>
                      <a:pt x="51" y="9"/>
                      <a:pt x="51" y="9"/>
                      <a:pt x="51" y="9"/>
                    </a:cubicBezTo>
                    <a:cubicBezTo>
                      <a:pt x="48" y="13"/>
                      <a:pt x="48" y="13"/>
                      <a:pt x="48" y="13"/>
                    </a:cubicBezTo>
                    <a:cubicBezTo>
                      <a:pt x="37" y="19"/>
                      <a:pt x="37" y="19"/>
                      <a:pt x="37" y="19"/>
                    </a:cubicBezTo>
                    <a:cubicBezTo>
                      <a:pt x="34" y="19"/>
                      <a:pt x="34" y="19"/>
                      <a:pt x="34" y="19"/>
                    </a:cubicBezTo>
                    <a:cubicBezTo>
                      <a:pt x="30" y="23"/>
                      <a:pt x="30" y="23"/>
                      <a:pt x="30" y="23"/>
                    </a:cubicBezTo>
                    <a:cubicBezTo>
                      <a:pt x="27" y="23"/>
                      <a:pt x="27" y="23"/>
                      <a:pt x="27" y="23"/>
                    </a:cubicBezTo>
                    <a:cubicBezTo>
                      <a:pt x="20" y="26"/>
                      <a:pt x="20" y="26"/>
                      <a:pt x="20" y="26"/>
                    </a:cubicBezTo>
                    <a:cubicBezTo>
                      <a:pt x="13" y="26"/>
                      <a:pt x="13" y="26"/>
                      <a:pt x="13" y="26"/>
                    </a:cubicBezTo>
                    <a:cubicBezTo>
                      <a:pt x="10" y="23"/>
                      <a:pt x="10" y="23"/>
                      <a:pt x="10" y="23"/>
                    </a:cubicBezTo>
                    <a:cubicBezTo>
                      <a:pt x="3" y="26"/>
                      <a:pt x="3" y="26"/>
                      <a:pt x="3" y="26"/>
                    </a:cubicBezTo>
                    <a:cubicBezTo>
                      <a:pt x="3" y="23"/>
                      <a:pt x="3" y="23"/>
                      <a:pt x="3" y="23"/>
                    </a:cubicBezTo>
                    <a:cubicBezTo>
                      <a:pt x="0" y="19"/>
                      <a:pt x="0" y="19"/>
                      <a:pt x="0" y="19"/>
                    </a:cubicBezTo>
                    <a:cubicBezTo>
                      <a:pt x="0" y="26"/>
                      <a:pt x="0" y="26"/>
                      <a:pt x="0" y="26"/>
                    </a:cubicBezTo>
                    <a:cubicBezTo>
                      <a:pt x="3" y="33"/>
                      <a:pt x="3" y="33"/>
                      <a:pt x="3" y="33"/>
                    </a:cubicBezTo>
                    <a:cubicBezTo>
                      <a:pt x="7" y="33"/>
                      <a:pt x="7" y="33"/>
                      <a:pt x="7" y="33"/>
                    </a:cubicBezTo>
                    <a:cubicBezTo>
                      <a:pt x="7" y="40"/>
                      <a:pt x="7" y="40"/>
                      <a:pt x="7" y="40"/>
                    </a:cubicBezTo>
                    <a:cubicBezTo>
                      <a:pt x="10" y="43"/>
                      <a:pt x="10" y="43"/>
                      <a:pt x="10" y="43"/>
                    </a:cubicBezTo>
                    <a:cubicBezTo>
                      <a:pt x="13" y="47"/>
                      <a:pt x="13" y="47"/>
                      <a:pt x="13" y="47"/>
                    </a:cubicBezTo>
                    <a:cubicBezTo>
                      <a:pt x="13" y="54"/>
                      <a:pt x="13" y="54"/>
                      <a:pt x="13" y="54"/>
                    </a:cubicBezTo>
                    <a:cubicBezTo>
                      <a:pt x="13" y="57"/>
                      <a:pt x="13" y="57"/>
                      <a:pt x="13" y="57"/>
                    </a:cubicBezTo>
                    <a:cubicBezTo>
                      <a:pt x="17" y="60"/>
                      <a:pt x="17" y="60"/>
                      <a:pt x="17" y="60"/>
                    </a:cubicBezTo>
                    <a:cubicBezTo>
                      <a:pt x="20" y="67"/>
                      <a:pt x="20" y="67"/>
                      <a:pt x="20" y="67"/>
                    </a:cubicBezTo>
                    <a:cubicBezTo>
                      <a:pt x="24" y="74"/>
                      <a:pt x="24" y="74"/>
                      <a:pt x="24" y="74"/>
                    </a:cubicBezTo>
                    <a:cubicBezTo>
                      <a:pt x="27" y="78"/>
                      <a:pt x="27" y="78"/>
                      <a:pt x="27" y="78"/>
                    </a:cubicBezTo>
                    <a:cubicBezTo>
                      <a:pt x="30" y="78"/>
                      <a:pt x="30" y="78"/>
                      <a:pt x="30" y="78"/>
                    </a:cubicBezTo>
                    <a:cubicBezTo>
                      <a:pt x="33" y="81"/>
                      <a:pt x="33" y="81"/>
                      <a:pt x="33" y="81"/>
                    </a:cubicBezTo>
                    <a:cubicBezTo>
                      <a:pt x="36" y="84"/>
                      <a:pt x="36" y="84"/>
                      <a:pt x="36" y="84"/>
                    </a:cubicBezTo>
                    <a:cubicBezTo>
                      <a:pt x="39" y="88"/>
                      <a:pt x="39" y="88"/>
                      <a:pt x="39" y="88"/>
                    </a:cubicBezTo>
                    <a:cubicBezTo>
                      <a:pt x="41" y="91"/>
                      <a:pt x="41" y="91"/>
                      <a:pt x="41" y="91"/>
                    </a:cubicBezTo>
                    <a:cubicBezTo>
                      <a:pt x="44" y="91"/>
                      <a:pt x="44" y="91"/>
                      <a:pt x="44" y="91"/>
                    </a:cubicBezTo>
                    <a:cubicBezTo>
                      <a:pt x="48" y="95"/>
                      <a:pt x="48" y="95"/>
                      <a:pt x="48" y="95"/>
                    </a:cubicBezTo>
                    <a:cubicBezTo>
                      <a:pt x="55" y="95"/>
                      <a:pt x="55" y="95"/>
                      <a:pt x="55" y="95"/>
                    </a:cubicBezTo>
                    <a:cubicBezTo>
                      <a:pt x="62" y="95"/>
                      <a:pt x="62" y="95"/>
                      <a:pt x="62" y="95"/>
                    </a:cubicBezTo>
                    <a:cubicBezTo>
                      <a:pt x="65" y="91"/>
                      <a:pt x="65" y="91"/>
                      <a:pt x="65" y="91"/>
                    </a:cubicBezTo>
                    <a:cubicBezTo>
                      <a:pt x="65" y="88"/>
                      <a:pt x="65" y="88"/>
                      <a:pt x="65" y="88"/>
                    </a:cubicBezTo>
                    <a:cubicBezTo>
                      <a:pt x="66" y="86"/>
                      <a:pt x="66" y="86"/>
                      <a:pt x="66" y="86"/>
                    </a:cubicBezTo>
                    <a:cubicBezTo>
                      <a:pt x="68" y="84"/>
                      <a:pt x="68" y="84"/>
                      <a:pt x="68" y="84"/>
                    </a:cubicBezTo>
                    <a:cubicBezTo>
                      <a:pt x="75" y="84"/>
                      <a:pt x="75" y="84"/>
                      <a:pt x="75" y="84"/>
                    </a:cubicBezTo>
                    <a:cubicBezTo>
                      <a:pt x="79" y="84"/>
                      <a:pt x="79" y="84"/>
                      <a:pt x="79" y="84"/>
                    </a:cubicBezTo>
                    <a:cubicBezTo>
                      <a:pt x="82" y="84"/>
                      <a:pt x="82" y="84"/>
                      <a:pt x="82" y="84"/>
                    </a:cubicBezTo>
                    <a:cubicBezTo>
                      <a:pt x="86" y="88"/>
                      <a:pt x="86" y="88"/>
                      <a:pt x="86" y="88"/>
                    </a:cubicBezTo>
                    <a:cubicBezTo>
                      <a:pt x="89" y="88"/>
                      <a:pt x="89" y="88"/>
                      <a:pt x="89" y="88"/>
                    </a:cubicBezTo>
                    <a:cubicBezTo>
                      <a:pt x="96" y="88"/>
                      <a:pt x="96" y="88"/>
                      <a:pt x="96" y="88"/>
                    </a:cubicBezTo>
                    <a:cubicBezTo>
                      <a:pt x="97" y="91"/>
                      <a:pt x="97" y="91"/>
                      <a:pt x="97" y="91"/>
                    </a:cubicBezTo>
                    <a:cubicBezTo>
                      <a:pt x="100" y="93"/>
                      <a:pt x="100" y="93"/>
                      <a:pt x="100" y="93"/>
                    </a:cubicBezTo>
                    <a:cubicBezTo>
                      <a:pt x="101" y="95"/>
                      <a:pt x="101" y="95"/>
                      <a:pt x="101" y="95"/>
                    </a:cubicBezTo>
                    <a:cubicBezTo>
                      <a:pt x="106" y="98"/>
                      <a:pt x="106" y="98"/>
                      <a:pt x="106" y="98"/>
                    </a:cubicBezTo>
                    <a:cubicBezTo>
                      <a:pt x="109" y="99"/>
                      <a:pt x="109" y="99"/>
                      <a:pt x="109" y="99"/>
                    </a:cubicBezTo>
                    <a:cubicBezTo>
                      <a:pt x="110" y="99"/>
                      <a:pt x="110" y="99"/>
                      <a:pt x="110" y="99"/>
                    </a:cubicBezTo>
                    <a:cubicBezTo>
                      <a:pt x="110" y="98"/>
                      <a:pt x="110" y="98"/>
                      <a:pt x="110" y="98"/>
                    </a:cubicBezTo>
                    <a:cubicBezTo>
                      <a:pt x="110" y="98"/>
                      <a:pt x="111" y="99"/>
                      <a:pt x="113" y="99"/>
                    </a:cubicBezTo>
                    <a:cubicBezTo>
                      <a:pt x="121" y="95"/>
                      <a:pt x="140" y="93"/>
                      <a:pt x="145" y="77"/>
                    </a:cubicBezTo>
                    <a:cubicBezTo>
                      <a:pt x="147" y="75"/>
                      <a:pt x="148" y="73"/>
                      <a:pt x="151" y="71"/>
                    </a:cubicBezTo>
                    <a:cubicBezTo>
                      <a:pt x="152" y="67"/>
                      <a:pt x="150" y="69"/>
                      <a:pt x="152" y="66"/>
                    </a:cubicBezTo>
                    <a:cubicBezTo>
                      <a:pt x="152" y="64"/>
                      <a:pt x="152" y="66"/>
                      <a:pt x="152" y="66"/>
                    </a:cubicBezTo>
                    <a:cubicBezTo>
                      <a:pt x="154" y="66"/>
                      <a:pt x="154" y="66"/>
                      <a:pt x="156" y="66"/>
                    </a:cubicBezTo>
                    <a:cubicBezTo>
                      <a:pt x="158" y="66"/>
                      <a:pt x="162" y="66"/>
                      <a:pt x="163" y="66"/>
                    </a:cubicBezTo>
                    <a:cubicBezTo>
                      <a:pt x="163" y="62"/>
                      <a:pt x="165" y="60"/>
                      <a:pt x="167" y="60"/>
                    </a:cubicBezTo>
                    <a:cubicBezTo>
                      <a:pt x="169" y="60"/>
                      <a:pt x="177" y="60"/>
                      <a:pt x="178" y="60"/>
                    </a:cubicBezTo>
                    <a:cubicBezTo>
                      <a:pt x="176" y="56"/>
                      <a:pt x="176" y="56"/>
                      <a:pt x="176" y="56"/>
                    </a:cubicBezTo>
                    <a:cubicBezTo>
                      <a:pt x="179" y="52"/>
                      <a:pt x="179" y="52"/>
                      <a:pt x="179" y="52"/>
                    </a:cubicBezTo>
                    <a:cubicBezTo>
                      <a:pt x="170" y="50"/>
                      <a:pt x="170" y="50"/>
                      <a:pt x="170" y="50"/>
                    </a:cubicBezTo>
                    <a:cubicBezTo>
                      <a:pt x="172" y="44"/>
                      <a:pt x="172" y="44"/>
                      <a:pt x="172" y="44"/>
                    </a:cubicBezTo>
                    <a:cubicBezTo>
                      <a:pt x="165" y="40"/>
                      <a:pt x="165" y="40"/>
                      <a:pt x="165" y="40"/>
                    </a:cubicBezTo>
                    <a:cubicBezTo>
                      <a:pt x="155" y="39"/>
                      <a:pt x="155" y="39"/>
                      <a:pt x="155" y="39"/>
                    </a:cubicBezTo>
                    <a:cubicBezTo>
                      <a:pt x="146" y="29"/>
                      <a:pt x="146" y="29"/>
                      <a:pt x="146" y="29"/>
                    </a:cubicBezTo>
                    <a:cubicBezTo>
                      <a:pt x="139" y="28"/>
                      <a:pt x="139" y="28"/>
                      <a:pt x="139" y="28"/>
                    </a:cubicBezTo>
                    <a:cubicBezTo>
                      <a:pt x="135" y="26"/>
                      <a:pt x="135" y="26"/>
                      <a:pt x="135" y="26"/>
                    </a:cubicBezTo>
                    <a:cubicBezTo>
                      <a:pt x="123" y="33"/>
                      <a:pt x="123" y="33"/>
                      <a:pt x="123" y="33"/>
                    </a:cubicBezTo>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8" name="Freeform 74"/>
              <p:cNvSpPr>
                <a:spLocks/>
              </p:cNvSpPr>
              <p:nvPr/>
            </p:nvSpPr>
            <p:spPr bwMode="gray">
              <a:xfrm>
                <a:off x="5281230" y="2666690"/>
                <a:ext cx="247705" cy="114326"/>
              </a:xfrm>
              <a:custGeom>
                <a:avLst/>
                <a:gdLst>
                  <a:gd name="T0" fmla="*/ 152 w 156"/>
                  <a:gd name="T1" fmla="*/ 30 h 72"/>
                  <a:gd name="T2" fmla="*/ 150 w 156"/>
                  <a:gd name="T3" fmla="*/ 26 h 72"/>
                  <a:gd name="T4" fmla="*/ 146 w 156"/>
                  <a:gd name="T5" fmla="*/ 26 h 72"/>
                  <a:gd name="T6" fmla="*/ 144 w 156"/>
                  <a:gd name="T7" fmla="*/ 20 h 72"/>
                  <a:gd name="T8" fmla="*/ 142 w 156"/>
                  <a:gd name="T9" fmla="*/ 16 h 72"/>
                  <a:gd name="T10" fmla="*/ 122 w 156"/>
                  <a:gd name="T11" fmla="*/ 18 h 72"/>
                  <a:gd name="T12" fmla="*/ 120 w 156"/>
                  <a:gd name="T13" fmla="*/ 20 h 72"/>
                  <a:gd name="T14" fmla="*/ 116 w 156"/>
                  <a:gd name="T15" fmla="*/ 16 h 72"/>
                  <a:gd name="T16" fmla="*/ 114 w 156"/>
                  <a:gd name="T17" fmla="*/ 16 h 72"/>
                  <a:gd name="T18" fmla="*/ 110 w 156"/>
                  <a:gd name="T19" fmla="*/ 14 h 72"/>
                  <a:gd name="T20" fmla="*/ 102 w 156"/>
                  <a:gd name="T21" fmla="*/ 12 h 72"/>
                  <a:gd name="T22" fmla="*/ 92 w 156"/>
                  <a:gd name="T23" fmla="*/ 8 h 72"/>
                  <a:gd name="T24" fmla="*/ 84 w 156"/>
                  <a:gd name="T25" fmla="*/ 0 h 72"/>
                  <a:gd name="T26" fmla="*/ 80 w 156"/>
                  <a:gd name="T27" fmla="*/ 4 h 72"/>
                  <a:gd name="T28" fmla="*/ 78 w 156"/>
                  <a:gd name="T29" fmla="*/ 6 h 72"/>
                  <a:gd name="T30" fmla="*/ 78 w 156"/>
                  <a:gd name="T31" fmla="*/ 6 h 72"/>
                  <a:gd name="T32" fmla="*/ 76 w 156"/>
                  <a:gd name="T33" fmla="*/ 8 h 72"/>
                  <a:gd name="T34" fmla="*/ 76 w 156"/>
                  <a:gd name="T35" fmla="*/ 12 h 72"/>
                  <a:gd name="T36" fmla="*/ 78 w 156"/>
                  <a:gd name="T37" fmla="*/ 26 h 72"/>
                  <a:gd name="T38" fmla="*/ 72 w 156"/>
                  <a:gd name="T39" fmla="*/ 30 h 72"/>
                  <a:gd name="T40" fmla="*/ 70 w 156"/>
                  <a:gd name="T41" fmla="*/ 30 h 72"/>
                  <a:gd name="T42" fmla="*/ 66 w 156"/>
                  <a:gd name="T43" fmla="*/ 30 h 72"/>
                  <a:gd name="T44" fmla="*/ 48 w 156"/>
                  <a:gd name="T45" fmla="*/ 26 h 72"/>
                  <a:gd name="T46" fmla="*/ 44 w 156"/>
                  <a:gd name="T47" fmla="*/ 26 h 72"/>
                  <a:gd name="T48" fmla="*/ 46 w 156"/>
                  <a:gd name="T49" fmla="*/ 24 h 72"/>
                  <a:gd name="T50" fmla="*/ 58 w 156"/>
                  <a:gd name="T51" fmla="*/ 10 h 72"/>
                  <a:gd name="T52" fmla="*/ 62 w 156"/>
                  <a:gd name="T53" fmla="*/ 8 h 72"/>
                  <a:gd name="T54" fmla="*/ 62 w 156"/>
                  <a:gd name="T55" fmla="*/ 6 h 72"/>
                  <a:gd name="T56" fmla="*/ 64 w 156"/>
                  <a:gd name="T57" fmla="*/ 4 h 72"/>
                  <a:gd name="T58" fmla="*/ 66 w 156"/>
                  <a:gd name="T59" fmla="*/ 2 h 72"/>
                  <a:gd name="T60" fmla="*/ 64 w 156"/>
                  <a:gd name="T61" fmla="*/ 0 h 72"/>
                  <a:gd name="T62" fmla="*/ 42 w 156"/>
                  <a:gd name="T63" fmla="*/ 24 h 72"/>
                  <a:gd name="T64" fmla="*/ 26 w 156"/>
                  <a:gd name="T65" fmla="*/ 26 h 72"/>
                  <a:gd name="T66" fmla="*/ 20 w 156"/>
                  <a:gd name="T67" fmla="*/ 24 h 72"/>
                  <a:gd name="T68" fmla="*/ 16 w 156"/>
                  <a:gd name="T69" fmla="*/ 28 h 72"/>
                  <a:gd name="T70" fmla="*/ 18 w 156"/>
                  <a:gd name="T71" fmla="*/ 36 h 72"/>
                  <a:gd name="T72" fmla="*/ 16 w 156"/>
                  <a:gd name="T73" fmla="*/ 44 h 72"/>
                  <a:gd name="T74" fmla="*/ 14 w 156"/>
                  <a:gd name="T75" fmla="*/ 46 h 72"/>
                  <a:gd name="T76" fmla="*/ 14 w 156"/>
                  <a:gd name="T77" fmla="*/ 48 h 72"/>
                  <a:gd name="T78" fmla="*/ 6 w 156"/>
                  <a:gd name="T79" fmla="*/ 60 h 72"/>
                  <a:gd name="T80" fmla="*/ 0 w 156"/>
                  <a:gd name="T81" fmla="*/ 64 h 72"/>
                  <a:gd name="T82" fmla="*/ 18 w 156"/>
                  <a:gd name="T83" fmla="*/ 66 h 72"/>
                  <a:gd name="T84" fmla="*/ 102 w 156"/>
                  <a:gd name="T85" fmla="*/ 70 h 72"/>
                  <a:gd name="T86" fmla="*/ 152 w 156"/>
                  <a:gd name="T87" fmla="*/ 72 h 72"/>
                  <a:gd name="T88" fmla="*/ 148 w 156"/>
                  <a:gd name="T89" fmla="*/ 56 h 72"/>
                  <a:gd name="T90" fmla="*/ 150 w 156"/>
                  <a:gd name="T91" fmla="*/ 48 h 72"/>
                  <a:gd name="T92" fmla="*/ 150 w 156"/>
                  <a:gd name="T93" fmla="*/ 44 h 72"/>
                  <a:gd name="T94" fmla="*/ 150 w 156"/>
                  <a:gd name="T95" fmla="*/ 44 h 72"/>
                  <a:gd name="T96" fmla="*/ 152 w 156"/>
                  <a:gd name="T97" fmla="*/ 42 h 72"/>
                  <a:gd name="T98" fmla="*/ 156 w 156"/>
                  <a:gd name="T99" fmla="*/ 38 h 72"/>
                  <a:gd name="T100" fmla="*/ 156 w 156"/>
                  <a:gd name="T101" fmla="*/ 3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6" h="72">
                    <a:moveTo>
                      <a:pt x="156" y="32"/>
                    </a:moveTo>
                    <a:lnTo>
                      <a:pt x="156" y="32"/>
                    </a:lnTo>
                    <a:lnTo>
                      <a:pt x="154" y="30"/>
                    </a:lnTo>
                    <a:lnTo>
                      <a:pt x="152" y="30"/>
                    </a:lnTo>
                    <a:lnTo>
                      <a:pt x="152" y="28"/>
                    </a:lnTo>
                    <a:lnTo>
                      <a:pt x="152" y="28"/>
                    </a:lnTo>
                    <a:lnTo>
                      <a:pt x="152" y="28"/>
                    </a:lnTo>
                    <a:lnTo>
                      <a:pt x="150" y="26"/>
                    </a:lnTo>
                    <a:lnTo>
                      <a:pt x="150" y="26"/>
                    </a:lnTo>
                    <a:lnTo>
                      <a:pt x="150" y="26"/>
                    </a:lnTo>
                    <a:lnTo>
                      <a:pt x="150" y="26"/>
                    </a:lnTo>
                    <a:lnTo>
                      <a:pt x="146" y="26"/>
                    </a:lnTo>
                    <a:lnTo>
                      <a:pt x="146" y="26"/>
                    </a:lnTo>
                    <a:lnTo>
                      <a:pt x="146" y="24"/>
                    </a:lnTo>
                    <a:lnTo>
                      <a:pt x="144" y="22"/>
                    </a:lnTo>
                    <a:lnTo>
                      <a:pt x="144" y="20"/>
                    </a:lnTo>
                    <a:lnTo>
                      <a:pt x="144" y="18"/>
                    </a:lnTo>
                    <a:lnTo>
                      <a:pt x="144" y="18"/>
                    </a:lnTo>
                    <a:lnTo>
                      <a:pt x="142" y="16"/>
                    </a:lnTo>
                    <a:lnTo>
                      <a:pt x="142" y="16"/>
                    </a:lnTo>
                    <a:lnTo>
                      <a:pt x="136" y="18"/>
                    </a:lnTo>
                    <a:lnTo>
                      <a:pt x="128" y="16"/>
                    </a:lnTo>
                    <a:lnTo>
                      <a:pt x="128" y="16"/>
                    </a:lnTo>
                    <a:lnTo>
                      <a:pt x="122" y="18"/>
                    </a:lnTo>
                    <a:lnTo>
                      <a:pt x="122" y="18"/>
                    </a:lnTo>
                    <a:lnTo>
                      <a:pt x="122" y="20"/>
                    </a:lnTo>
                    <a:lnTo>
                      <a:pt x="120" y="20"/>
                    </a:lnTo>
                    <a:lnTo>
                      <a:pt x="120" y="20"/>
                    </a:lnTo>
                    <a:lnTo>
                      <a:pt x="118" y="20"/>
                    </a:lnTo>
                    <a:lnTo>
                      <a:pt x="116" y="18"/>
                    </a:lnTo>
                    <a:lnTo>
                      <a:pt x="116" y="18"/>
                    </a:lnTo>
                    <a:lnTo>
                      <a:pt x="116" y="16"/>
                    </a:lnTo>
                    <a:lnTo>
                      <a:pt x="116" y="16"/>
                    </a:lnTo>
                    <a:lnTo>
                      <a:pt x="116" y="14"/>
                    </a:lnTo>
                    <a:lnTo>
                      <a:pt x="114" y="14"/>
                    </a:lnTo>
                    <a:lnTo>
                      <a:pt x="114" y="16"/>
                    </a:lnTo>
                    <a:lnTo>
                      <a:pt x="112" y="16"/>
                    </a:lnTo>
                    <a:lnTo>
                      <a:pt x="112" y="16"/>
                    </a:lnTo>
                    <a:lnTo>
                      <a:pt x="112" y="16"/>
                    </a:lnTo>
                    <a:lnTo>
                      <a:pt x="110" y="14"/>
                    </a:lnTo>
                    <a:lnTo>
                      <a:pt x="108" y="14"/>
                    </a:lnTo>
                    <a:lnTo>
                      <a:pt x="106" y="12"/>
                    </a:lnTo>
                    <a:lnTo>
                      <a:pt x="104" y="12"/>
                    </a:lnTo>
                    <a:lnTo>
                      <a:pt x="102" y="12"/>
                    </a:lnTo>
                    <a:lnTo>
                      <a:pt x="102" y="10"/>
                    </a:lnTo>
                    <a:lnTo>
                      <a:pt x="98" y="8"/>
                    </a:lnTo>
                    <a:lnTo>
                      <a:pt x="96" y="8"/>
                    </a:lnTo>
                    <a:lnTo>
                      <a:pt x="92" y="8"/>
                    </a:lnTo>
                    <a:lnTo>
                      <a:pt x="90" y="6"/>
                    </a:lnTo>
                    <a:lnTo>
                      <a:pt x="86" y="0"/>
                    </a:lnTo>
                    <a:lnTo>
                      <a:pt x="86" y="0"/>
                    </a:lnTo>
                    <a:lnTo>
                      <a:pt x="84" y="0"/>
                    </a:lnTo>
                    <a:lnTo>
                      <a:pt x="80" y="2"/>
                    </a:lnTo>
                    <a:lnTo>
                      <a:pt x="80" y="4"/>
                    </a:lnTo>
                    <a:lnTo>
                      <a:pt x="80" y="4"/>
                    </a:lnTo>
                    <a:lnTo>
                      <a:pt x="80" y="4"/>
                    </a:lnTo>
                    <a:lnTo>
                      <a:pt x="80" y="6"/>
                    </a:lnTo>
                    <a:lnTo>
                      <a:pt x="80" y="6"/>
                    </a:lnTo>
                    <a:lnTo>
                      <a:pt x="80" y="6"/>
                    </a:lnTo>
                    <a:lnTo>
                      <a:pt x="78" y="6"/>
                    </a:lnTo>
                    <a:lnTo>
                      <a:pt x="78" y="6"/>
                    </a:lnTo>
                    <a:lnTo>
                      <a:pt x="78" y="6"/>
                    </a:lnTo>
                    <a:lnTo>
                      <a:pt x="78" y="6"/>
                    </a:lnTo>
                    <a:lnTo>
                      <a:pt x="78" y="6"/>
                    </a:lnTo>
                    <a:lnTo>
                      <a:pt x="76" y="6"/>
                    </a:lnTo>
                    <a:lnTo>
                      <a:pt x="76" y="6"/>
                    </a:lnTo>
                    <a:lnTo>
                      <a:pt x="76" y="8"/>
                    </a:lnTo>
                    <a:lnTo>
                      <a:pt x="76" y="8"/>
                    </a:lnTo>
                    <a:lnTo>
                      <a:pt x="76" y="8"/>
                    </a:lnTo>
                    <a:lnTo>
                      <a:pt x="76" y="10"/>
                    </a:lnTo>
                    <a:lnTo>
                      <a:pt x="76" y="10"/>
                    </a:lnTo>
                    <a:lnTo>
                      <a:pt x="76" y="12"/>
                    </a:lnTo>
                    <a:lnTo>
                      <a:pt x="78" y="22"/>
                    </a:lnTo>
                    <a:lnTo>
                      <a:pt x="78" y="24"/>
                    </a:lnTo>
                    <a:lnTo>
                      <a:pt x="80" y="26"/>
                    </a:lnTo>
                    <a:lnTo>
                      <a:pt x="78" y="26"/>
                    </a:lnTo>
                    <a:lnTo>
                      <a:pt x="76" y="28"/>
                    </a:lnTo>
                    <a:lnTo>
                      <a:pt x="72" y="28"/>
                    </a:lnTo>
                    <a:lnTo>
                      <a:pt x="72" y="30"/>
                    </a:lnTo>
                    <a:lnTo>
                      <a:pt x="72" y="30"/>
                    </a:lnTo>
                    <a:lnTo>
                      <a:pt x="72" y="30"/>
                    </a:lnTo>
                    <a:lnTo>
                      <a:pt x="72" y="30"/>
                    </a:lnTo>
                    <a:lnTo>
                      <a:pt x="72" y="30"/>
                    </a:lnTo>
                    <a:lnTo>
                      <a:pt x="70" y="30"/>
                    </a:lnTo>
                    <a:lnTo>
                      <a:pt x="70" y="28"/>
                    </a:lnTo>
                    <a:lnTo>
                      <a:pt x="70" y="30"/>
                    </a:lnTo>
                    <a:lnTo>
                      <a:pt x="70" y="30"/>
                    </a:lnTo>
                    <a:lnTo>
                      <a:pt x="66" y="30"/>
                    </a:lnTo>
                    <a:lnTo>
                      <a:pt x="60" y="30"/>
                    </a:lnTo>
                    <a:lnTo>
                      <a:pt x="58" y="26"/>
                    </a:lnTo>
                    <a:lnTo>
                      <a:pt x="56" y="26"/>
                    </a:lnTo>
                    <a:lnTo>
                      <a:pt x="48" y="26"/>
                    </a:lnTo>
                    <a:lnTo>
                      <a:pt x="46" y="26"/>
                    </a:lnTo>
                    <a:lnTo>
                      <a:pt x="46" y="26"/>
                    </a:lnTo>
                    <a:lnTo>
                      <a:pt x="46" y="26"/>
                    </a:lnTo>
                    <a:lnTo>
                      <a:pt x="44" y="26"/>
                    </a:lnTo>
                    <a:lnTo>
                      <a:pt x="44" y="24"/>
                    </a:lnTo>
                    <a:lnTo>
                      <a:pt x="44" y="24"/>
                    </a:lnTo>
                    <a:lnTo>
                      <a:pt x="46" y="24"/>
                    </a:lnTo>
                    <a:lnTo>
                      <a:pt x="46" y="24"/>
                    </a:lnTo>
                    <a:lnTo>
                      <a:pt x="46" y="24"/>
                    </a:lnTo>
                    <a:lnTo>
                      <a:pt x="52" y="18"/>
                    </a:lnTo>
                    <a:lnTo>
                      <a:pt x="56" y="14"/>
                    </a:lnTo>
                    <a:lnTo>
                      <a:pt x="58" y="10"/>
                    </a:lnTo>
                    <a:lnTo>
                      <a:pt x="60" y="10"/>
                    </a:lnTo>
                    <a:lnTo>
                      <a:pt x="60" y="8"/>
                    </a:lnTo>
                    <a:lnTo>
                      <a:pt x="60" y="8"/>
                    </a:lnTo>
                    <a:lnTo>
                      <a:pt x="62" y="8"/>
                    </a:lnTo>
                    <a:lnTo>
                      <a:pt x="62" y="6"/>
                    </a:lnTo>
                    <a:lnTo>
                      <a:pt x="62" y="6"/>
                    </a:lnTo>
                    <a:lnTo>
                      <a:pt x="62" y="6"/>
                    </a:lnTo>
                    <a:lnTo>
                      <a:pt x="62" y="6"/>
                    </a:lnTo>
                    <a:lnTo>
                      <a:pt x="62" y="6"/>
                    </a:lnTo>
                    <a:lnTo>
                      <a:pt x="62" y="4"/>
                    </a:lnTo>
                    <a:lnTo>
                      <a:pt x="64" y="4"/>
                    </a:lnTo>
                    <a:lnTo>
                      <a:pt x="64" y="4"/>
                    </a:lnTo>
                    <a:lnTo>
                      <a:pt x="64" y="4"/>
                    </a:lnTo>
                    <a:lnTo>
                      <a:pt x="64" y="4"/>
                    </a:lnTo>
                    <a:lnTo>
                      <a:pt x="64" y="2"/>
                    </a:lnTo>
                    <a:lnTo>
                      <a:pt x="66" y="2"/>
                    </a:lnTo>
                    <a:lnTo>
                      <a:pt x="66" y="0"/>
                    </a:lnTo>
                    <a:lnTo>
                      <a:pt x="66" y="0"/>
                    </a:lnTo>
                    <a:lnTo>
                      <a:pt x="66" y="0"/>
                    </a:lnTo>
                    <a:lnTo>
                      <a:pt x="64" y="0"/>
                    </a:lnTo>
                    <a:lnTo>
                      <a:pt x="58" y="8"/>
                    </a:lnTo>
                    <a:lnTo>
                      <a:pt x="58" y="8"/>
                    </a:lnTo>
                    <a:lnTo>
                      <a:pt x="50" y="18"/>
                    </a:lnTo>
                    <a:lnTo>
                      <a:pt x="42" y="24"/>
                    </a:lnTo>
                    <a:lnTo>
                      <a:pt x="38" y="26"/>
                    </a:lnTo>
                    <a:lnTo>
                      <a:pt x="36" y="26"/>
                    </a:lnTo>
                    <a:lnTo>
                      <a:pt x="30" y="26"/>
                    </a:lnTo>
                    <a:lnTo>
                      <a:pt x="26" y="26"/>
                    </a:lnTo>
                    <a:lnTo>
                      <a:pt x="22" y="26"/>
                    </a:lnTo>
                    <a:lnTo>
                      <a:pt x="22" y="26"/>
                    </a:lnTo>
                    <a:lnTo>
                      <a:pt x="20" y="26"/>
                    </a:lnTo>
                    <a:lnTo>
                      <a:pt x="20" y="24"/>
                    </a:lnTo>
                    <a:lnTo>
                      <a:pt x="18" y="24"/>
                    </a:lnTo>
                    <a:lnTo>
                      <a:pt x="18" y="26"/>
                    </a:lnTo>
                    <a:lnTo>
                      <a:pt x="16" y="28"/>
                    </a:lnTo>
                    <a:lnTo>
                      <a:pt x="16" y="28"/>
                    </a:lnTo>
                    <a:lnTo>
                      <a:pt x="16" y="30"/>
                    </a:lnTo>
                    <a:lnTo>
                      <a:pt x="16" y="32"/>
                    </a:lnTo>
                    <a:lnTo>
                      <a:pt x="16" y="32"/>
                    </a:lnTo>
                    <a:lnTo>
                      <a:pt x="18" y="36"/>
                    </a:lnTo>
                    <a:lnTo>
                      <a:pt x="18" y="38"/>
                    </a:lnTo>
                    <a:lnTo>
                      <a:pt x="18" y="40"/>
                    </a:lnTo>
                    <a:lnTo>
                      <a:pt x="18" y="40"/>
                    </a:lnTo>
                    <a:lnTo>
                      <a:pt x="16" y="44"/>
                    </a:lnTo>
                    <a:lnTo>
                      <a:pt x="16" y="46"/>
                    </a:lnTo>
                    <a:lnTo>
                      <a:pt x="14" y="46"/>
                    </a:lnTo>
                    <a:lnTo>
                      <a:pt x="14" y="46"/>
                    </a:lnTo>
                    <a:lnTo>
                      <a:pt x="14" y="46"/>
                    </a:lnTo>
                    <a:lnTo>
                      <a:pt x="14" y="48"/>
                    </a:lnTo>
                    <a:lnTo>
                      <a:pt x="14" y="48"/>
                    </a:lnTo>
                    <a:lnTo>
                      <a:pt x="14" y="48"/>
                    </a:lnTo>
                    <a:lnTo>
                      <a:pt x="14" y="48"/>
                    </a:lnTo>
                    <a:lnTo>
                      <a:pt x="14" y="48"/>
                    </a:lnTo>
                    <a:lnTo>
                      <a:pt x="14" y="48"/>
                    </a:lnTo>
                    <a:lnTo>
                      <a:pt x="12" y="54"/>
                    </a:lnTo>
                    <a:lnTo>
                      <a:pt x="6" y="60"/>
                    </a:lnTo>
                    <a:lnTo>
                      <a:pt x="2" y="64"/>
                    </a:lnTo>
                    <a:lnTo>
                      <a:pt x="2" y="64"/>
                    </a:lnTo>
                    <a:lnTo>
                      <a:pt x="0" y="64"/>
                    </a:lnTo>
                    <a:lnTo>
                      <a:pt x="0" y="64"/>
                    </a:lnTo>
                    <a:lnTo>
                      <a:pt x="2" y="64"/>
                    </a:lnTo>
                    <a:lnTo>
                      <a:pt x="4" y="66"/>
                    </a:lnTo>
                    <a:lnTo>
                      <a:pt x="8" y="66"/>
                    </a:lnTo>
                    <a:lnTo>
                      <a:pt x="18" y="66"/>
                    </a:lnTo>
                    <a:lnTo>
                      <a:pt x="36" y="68"/>
                    </a:lnTo>
                    <a:lnTo>
                      <a:pt x="64" y="68"/>
                    </a:lnTo>
                    <a:lnTo>
                      <a:pt x="82" y="70"/>
                    </a:lnTo>
                    <a:lnTo>
                      <a:pt x="102" y="70"/>
                    </a:lnTo>
                    <a:lnTo>
                      <a:pt x="128" y="72"/>
                    </a:lnTo>
                    <a:lnTo>
                      <a:pt x="140" y="72"/>
                    </a:lnTo>
                    <a:lnTo>
                      <a:pt x="150" y="72"/>
                    </a:lnTo>
                    <a:lnTo>
                      <a:pt x="152" y="72"/>
                    </a:lnTo>
                    <a:lnTo>
                      <a:pt x="150" y="68"/>
                    </a:lnTo>
                    <a:lnTo>
                      <a:pt x="148" y="64"/>
                    </a:lnTo>
                    <a:lnTo>
                      <a:pt x="148" y="62"/>
                    </a:lnTo>
                    <a:lnTo>
                      <a:pt x="148" y="56"/>
                    </a:lnTo>
                    <a:lnTo>
                      <a:pt x="150" y="52"/>
                    </a:lnTo>
                    <a:lnTo>
                      <a:pt x="150" y="50"/>
                    </a:lnTo>
                    <a:lnTo>
                      <a:pt x="150" y="50"/>
                    </a:lnTo>
                    <a:lnTo>
                      <a:pt x="150" y="48"/>
                    </a:lnTo>
                    <a:lnTo>
                      <a:pt x="150" y="48"/>
                    </a:lnTo>
                    <a:lnTo>
                      <a:pt x="150" y="46"/>
                    </a:lnTo>
                    <a:lnTo>
                      <a:pt x="150" y="44"/>
                    </a:lnTo>
                    <a:lnTo>
                      <a:pt x="150" y="44"/>
                    </a:lnTo>
                    <a:lnTo>
                      <a:pt x="150" y="44"/>
                    </a:lnTo>
                    <a:lnTo>
                      <a:pt x="150" y="44"/>
                    </a:lnTo>
                    <a:lnTo>
                      <a:pt x="150" y="44"/>
                    </a:lnTo>
                    <a:lnTo>
                      <a:pt x="150" y="44"/>
                    </a:lnTo>
                    <a:lnTo>
                      <a:pt x="152" y="44"/>
                    </a:lnTo>
                    <a:lnTo>
                      <a:pt x="152" y="42"/>
                    </a:lnTo>
                    <a:lnTo>
                      <a:pt x="152" y="42"/>
                    </a:lnTo>
                    <a:lnTo>
                      <a:pt x="152" y="42"/>
                    </a:lnTo>
                    <a:lnTo>
                      <a:pt x="154" y="42"/>
                    </a:lnTo>
                    <a:lnTo>
                      <a:pt x="156" y="40"/>
                    </a:lnTo>
                    <a:lnTo>
                      <a:pt x="156" y="40"/>
                    </a:lnTo>
                    <a:lnTo>
                      <a:pt x="156" y="38"/>
                    </a:lnTo>
                    <a:lnTo>
                      <a:pt x="156" y="36"/>
                    </a:lnTo>
                    <a:lnTo>
                      <a:pt x="156" y="36"/>
                    </a:lnTo>
                    <a:lnTo>
                      <a:pt x="156" y="32"/>
                    </a:lnTo>
                    <a:lnTo>
                      <a:pt x="156" y="32"/>
                    </a:lnTo>
                    <a:lnTo>
                      <a:pt x="156" y="32"/>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9" name="Freeform 75"/>
              <p:cNvSpPr>
                <a:spLocks/>
              </p:cNvSpPr>
              <p:nvPr>
                <p:custDataLst>
                  <p:tags r:id="rId150"/>
                </p:custDataLst>
              </p:nvPr>
            </p:nvSpPr>
            <p:spPr bwMode="gray">
              <a:xfrm>
                <a:off x="4860450" y="2720678"/>
                <a:ext cx="766933" cy="676425"/>
              </a:xfrm>
              <a:custGeom>
                <a:avLst/>
                <a:gdLst>
                  <a:gd name="T0" fmla="*/ 473 w 483"/>
                  <a:gd name="T1" fmla="*/ 284 h 426"/>
                  <a:gd name="T2" fmla="*/ 461 w 483"/>
                  <a:gd name="T3" fmla="*/ 258 h 426"/>
                  <a:gd name="T4" fmla="*/ 455 w 483"/>
                  <a:gd name="T5" fmla="*/ 240 h 426"/>
                  <a:gd name="T6" fmla="*/ 459 w 483"/>
                  <a:gd name="T7" fmla="*/ 228 h 426"/>
                  <a:gd name="T8" fmla="*/ 459 w 483"/>
                  <a:gd name="T9" fmla="*/ 208 h 426"/>
                  <a:gd name="T10" fmla="*/ 447 w 483"/>
                  <a:gd name="T11" fmla="*/ 200 h 426"/>
                  <a:gd name="T12" fmla="*/ 473 w 483"/>
                  <a:gd name="T13" fmla="*/ 162 h 426"/>
                  <a:gd name="T14" fmla="*/ 471 w 483"/>
                  <a:gd name="T15" fmla="*/ 132 h 426"/>
                  <a:gd name="T16" fmla="*/ 453 w 483"/>
                  <a:gd name="T17" fmla="*/ 74 h 426"/>
                  <a:gd name="T18" fmla="*/ 449 w 483"/>
                  <a:gd name="T19" fmla="*/ 52 h 426"/>
                  <a:gd name="T20" fmla="*/ 429 w 483"/>
                  <a:gd name="T21" fmla="*/ 38 h 426"/>
                  <a:gd name="T22" fmla="*/ 273 w 483"/>
                  <a:gd name="T23" fmla="*/ 32 h 426"/>
                  <a:gd name="T24" fmla="*/ 219 w 483"/>
                  <a:gd name="T25" fmla="*/ 34 h 426"/>
                  <a:gd name="T26" fmla="*/ 209 w 483"/>
                  <a:gd name="T27" fmla="*/ 10 h 426"/>
                  <a:gd name="T28" fmla="*/ 225 w 483"/>
                  <a:gd name="T29" fmla="*/ 18 h 426"/>
                  <a:gd name="T30" fmla="*/ 135 w 483"/>
                  <a:gd name="T31" fmla="*/ 20 h 426"/>
                  <a:gd name="T32" fmla="*/ 109 w 483"/>
                  <a:gd name="T33" fmla="*/ 38 h 426"/>
                  <a:gd name="T34" fmla="*/ 101 w 483"/>
                  <a:gd name="T35" fmla="*/ 46 h 426"/>
                  <a:gd name="T36" fmla="*/ 4 w 483"/>
                  <a:gd name="T37" fmla="*/ 72 h 426"/>
                  <a:gd name="T38" fmla="*/ 14 w 483"/>
                  <a:gd name="T39" fmla="*/ 76 h 426"/>
                  <a:gd name="T40" fmla="*/ 23 w 483"/>
                  <a:gd name="T41" fmla="*/ 78 h 426"/>
                  <a:gd name="T42" fmla="*/ 25 w 483"/>
                  <a:gd name="T43" fmla="*/ 92 h 426"/>
                  <a:gd name="T44" fmla="*/ 10 w 483"/>
                  <a:gd name="T45" fmla="*/ 84 h 426"/>
                  <a:gd name="T46" fmla="*/ 10 w 483"/>
                  <a:gd name="T47" fmla="*/ 104 h 426"/>
                  <a:gd name="T48" fmla="*/ 14 w 483"/>
                  <a:gd name="T49" fmla="*/ 130 h 426"/>
                  <a:gd name="T50" fmla="*/ 8 w 483"/>
                  <a:gd name="T51" fmla="*/ 156 h 426"/>
                  <a:gd name="T52" fmla="*/ 23 w 483"/>
                  <a:gd name="T53" fmla="*/ 192 h 426"/>
                  <a:gd name="T54" fmla="*/ 29 w 483"/>
                  <a:gd name="T55" fmla="*/ 214 h 426"/>
                  <a:gd name="T56" fmla="*/ 29 w 483"/>
                  <a:gd name="T57" fmla="*/ 248 h 426"/>
                  <a:gd name="T58" fmla="*/ 45 w 483"/>
                  <a:gd name="T59" fmla="*/ 268 h 426"/>
                  <a:gd name="T60" fmla="*/ 43 w 483"/>
                  <a:gd name="T61" fmla="*/ 292 h 426"/>
                  <a:gd name="T62" fmla="*/ 49 w 483"/>
                  <a:gd name="T63" fmla="*/ 288 h 426"/>
                  <a:gd name="T64" fmla="*/ 61 w 483"/>
                  <a:gd name="T65" fmla="*/ 300 h 426"/>
                  <a:gd name="T66" fmla="*/ 87 w 483"/>
                  <a:gd name="T67" fmla="*/ 310 h 426"/>
                  <a:gd name="T68" fmla="*/ 103 w 483"/>
                  <a:gd name="T69" fmla="*/ 310 h 426"/>
                  <a:gd name="T70" fmla="*/ 105 w 483"/>
                  <a:gd name="T71" fmla="*/ 324 h 426"/>
                  <a:gd name="T72" fmla="*/ 109 w 483"/>
                  <a:gd name="T73" fmla="*/ 332 h 426"/>
                  <a:gd name="T74" fmla="*/ 129 w 483"/>
                  <a:gd name="T75" fmla="*/ 346 h 426"/>
                  <a:gd name="T76" fmla="*/ 141 w 483"/>
                  <a:gd name="T77" fmla="*/ 340 h 426"/>
                  <a:gd name="T78" fmla="*/ 147 w 483"/>
                  <a:gd name="T79" fmla="*/ 330 h 426"/>
                  <a:gd name="T80" fmla="*/ 157 w 483"/>
                  <a:gd name="T81" fmla="*/ 338 h 426"/>
                  <a:gd name="T82" fmla="*/ 175 w 483"/>
                  <a:gd name="T83" fmla="*/ 336 h 426"/>
                  <a:gd name="T84" fmla="*/ 173 w 483"/>
                  <a:gd name="T85" fmla="*/ 348 h 426"/>
                  <a:gd name="T86" fmla="*/ 189 w 483"/>
                  <a:gd name="T87" fmla="*/ 354 h 426"/>
                  <a:gd name="T88" fmla="*/ 203 w 483"/>
                  <a:gd name="T89" fmla="*/ 362 h 426"/>
                  <a:gd name="T90" fmla="*/ 221 w 483"/>
                  <a:gd name="T91" fmla="*/ 378 h 426"/>
                  <a:gd name="T92" fmla="*/ 235 w 483"/>
                  <a:gd name="T93" fmla="*/ 396 h 426"/>
                  <a:gd name="T94" fmla="*/ 245 w 483"/>
                  <a:gd name="T95" fmla="*/ 394 h 426"/>
                  <a:gd name="T96" fmla="*/ 263 w 483"/>
                  <a:gd name="T97" fmla="*/ 394 h 426"/>
                  <a:gd name="T98" fmla="*/ 275 w 483"/>
                  <a:gd name="T99" fmla="*/ 406 h 426"/>
                  <a:gd name="T100" fmla="*/ 289 w 483"/>
                  <a:gd name="T101" fmla="*/ 410 h 426"/>
                  <a:gd name="T102" fmla="*/ 305 w 483"/>
                  <a:gd name="T103" fmla="*/ 398 h 426"/>
                  <a:gd name="T104" fmla="*/ 329 w 483"/>
                  <a:gd name="T105" fmla="*/ 404 h 426"/>
                  <a:gd name="T106" fmla="*/ 345 w 483"/>
                  <a:gd name="T107" fmla="*/ 394 h 426"/>
                  <a:gd name="T108" fmla="*/ 371 w 483"/>
                  <a:gd name="T109" fmla="*/ 400 h 426"/>
                  <a:gd name="T110" fmla="*/ 391 w 483"/>
                  <a:gd name="T111" fmla="*/ 416 h 426"/>
                  <a:gd name="T112" fmla="*/ 421 w 483"/>
                  <a:gd name="T113" fmla="*/ 426 h 426"/>
                  <a:gd name="T114" fmla="*/ 415 w 483"/>
                  <a:gd name="T115" fmla="*/ 408 h 426"/>
                  <a:gd name="T116" fmla="*/ 423 w 483"/>
                  <a:gd name="T117" fmla="*/ 372 h 426"/>
                  <a:gd name="T118" fmla="*/ 463 w 483"/>
                  <a:gd name="T119" fmla="*/ 330 h 426"/>
                  <a:gd name="T120" fmla="*/ 479 w 483"/>
                  <a:gd name="T121" fmla="*/ 30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3" h="426">
                    <a:moveTo>
                      <a:pt x="475" y="298"/>
                    </a:moveTo>
                    <a:lnTo>
                      <a:pt x="477" y="298"/>
                    </a:lnTo>
                    <a:lnTo>
                      <a:pt x="477" y="298"/>
                    </a:lnTo>
                    <a:lnTo>
                      <a:pt x="479" y="298"/>
                    </a:lnTo>
                    <a:lnTo>
                      <a:pt x="481" y="298"/>
                    </a:lnTo>
                    <a:lnTo>
                      <a:pt x="481" y="298"/>
                    </a:lnTo>
                    <a:lnTo>
                      <a:pt x="483" y="298"/>
                    </a:lnTo>
                    <a:lnTo>
                      <a:pt x="483" y="296"/>
                    </a:lnTo>
                    <a:lnTo>
                      <a:pt x="483" y="296"/>
                    </a:lnTo>
                    <a:lnTo>
                      <a:pt x="479" y="292"/>
                    </a:lnTo>
                    <a:lnTo>
                      <a:pt x="475" y="290"/>
                    </a:lnTo>
                    <a:lnTo>
                      <a:pt x="475" y="290"/>
                    </a:lnTo>
                    <a:lnTo>
                      <a:pt x="475" y="288"/>
                    </a:lnTo>
                    <a:lnTo>
                      <a:pt x="475" y="288"/>
                    </a:lnTo>
                    <a:lnTo>
                      <a:pt x="475" y="286"/>
                    </a:lnTo>
                    <a:lnTo>
                      <a:pt x="475" y="286"/>
                    </a:lnTo>
                    <a:lnTo>
                      <a:pt x="473" y="286"/>
                    </a:lnTo>
                    <a:lnTo>
                      <a:pt x="473" y="286"/>
                    </a:lnTo>
                    <a:lnTo>
                      <a:pt x="473" y="286"/>
                    </a:lnTo>
                    <a:lnTo>
                      <a:pt x="473" y="284"/>
                    </a:lnTo>
                    <a:lnTo>
                      <a:pt x="473" y="284"/>
                    </a:lnTo>
                    <a:lnTo>
                      <a:pt x="473" y="282"/>
                    </a:lnTo>
                    <a:lnTo>
                      <a:pt x="471" y="280"/>
                    </a:lnTo>
                    <a:lnTo>
                      <a:pt x="471" y="278"/>
                    </a:lnTo>
                    <a:lnTo>
                      <a:pt x="469" y="278"/>
                    </a:lnTo>
                    <a:lnTo>
                      <a:pt x="471" y="276"/>
                    </a:lnTo>
                    <a:lnTo>
                      <a:pt x="471" y="276"/>
                    </a:lnTo>
                    <a:lnTo>
                      <a:pt x="471" y="276"/>
                    </a:lnTo>
                    <a:lnTo>
                      <a:pt x="467" y="274"/>
                    </a:lnTo>
                    <a:lnTo>
                      <a:pt x="465" y="272"/>
                    </a:lnTo>
                    <a:lnTo>
                      <a:pt x="465" y="270"/>
                    </a:lnTo>
                    <a:lnTo>
                      <a:pt x="461" y="264"/>
                    </a:lnTo>
                    <a:lnTo>
                      <a:pt x="461" y="264"/>
                    </a:lnTo>
                    <a:lnTo>
                      <a:pt x="461" y="264"/>
                    </a:lnTo>
                    <a:lnTo>
                      <a:pt x="459" y="264"/>
                    </a:lnTo>
                    <a:lnTo>
                      <a:pt x="459" y="262"/>
                    </a:lnTo>
                    <a:lnTo>
                      <a:pt x="459" y="262"/>
                    </a:lnTo>
                    <a:lnTo>
                      <a:pt x="459" y="260"/>
                    </a:lnTo>
                    <a:lnTo>
                      <a:pt x="461" y="260"/>
                    </a:lnTo>
                    <a:lnTo>
                      <a:pt x="461" y="260"/>
                    </a:lnTo>
                    <a:lnTo>
                      <a:pt x="461" y="258"/>
                    </a:lnTo>
                    <a:lnTo>
                      <a:pt x="461" y="258"/>
                    </a:lnTo>
                    <a:lnTo>
                      <a:pt x="461" y="258"/>
                    </a:lnTo>
                    <a:lnTo>
                      <a:pt x="463" y="258"/>
                    </a:lnTo>
                    <a:lnTo>
                      <a:pt x="461" y="256"/>
                    </a:lnTo>
                    <a:lnTo>
                      <a:pt x="461" y="254"/>
                    </a:lnTo>
                    <a:lnTo>
                      <a:pt x="459" y="254"/>
                    </a:lnTo>
                    <a:lnTo>
                      <a:pt x="461" y="252"/>
                    </a:lnTo>
                    <a:lnTo>
                      <a:pt x="461" y="252"/>
                    </a:lnTo>
                    <a:lnTo>
                      <a:pt x="459" y="250"/>
                    </a:lnTo>
                    <a:lnTo>
                      <a:pt x="459" y="250"/>
                    </a:lnTo>
                    <a:lnTo>
                      <a:pt x="457" y="250"/>
                    </a:lnTo>
                    <a:lnTo>
                      <a:pt x="457" y="248"/>
                    </a:lnTo>
                    <a:lnTo>
                      <a:pt x="457" y="248"/>
                    </a:lnTo>
                    <a:lnTo>
                      <a:pt x="457" y="248"/>
                    </a:lnTo>
                    <a:lnTo>
                      <a:pt x="457" y="248"/>
                    </a:lnTo>
                    <a:lnTo>
                      <a:pt x="455" y="246"/>
                    </a:lnTo>
                    <a:lnTo>
                      <a:pt x="455" y="246"/>
                    </a:lnTo>
                    <a:lnTo>
                      <a:pt x="457" y="246"/>
                    </a:lnTo>
                    <a:lnTo>
                      <a:pt x="455" y="244"/>
                    </a:lnTo>
                    <a:lnTo>
                      <a:pt x="455" y="244"/>
                    </a:lnTo>
                    <a:lnTo>
                      <a:pt x="455" y="242"/>
                    </a:lnTo>
                    <a:lnTo>
                      <a:pt x="455" y="240"/>
                    </a:lnTo>
                    <a:lnTo>
                      <a:pt x="455" y="240"/>
                    </a:lnTo>
                    <a:lnTo>
                      <a:pt x="455" y="240"/>
                    </a:lnTo>
                    <a:lnTo>
                      <a:pt x="455" y="238"/>
                    </a:lnTo>
                    <a:lnTo>
                      <a:pt x="455" y="238"/>
                    </a:lnTo>
                    <a:lnTo>
                      <a:pt x="455" y="238"/>
                    </a:lnTo>
                    <a:lnTo>
                      <a:pt x="455" y="238"/>
                    </a:lnTo>
                    <a:lnTo>
                      <a:pt x="455" y="238"/>
                    </a:lnTo>
                    <a:lnTo>
                      <a:pt x="455" y="236"/>
                    </a:lnTo>
                    <a:lnTo>
                      <a:pt x="455" y="236"/>
                    </a:lnTo>
                    <a:lnTo>
                      <a:pt x="455" y="236"/>
                    </a:lnTo>
                    <a:lnTo>
                      <a:pt x="455" y="236"/>
                    </a:lnTo>
                    <a:lnTo>
                      <a:pt x="455" y="236"/>
                    </a:lnTo>
                    <a:lnTo>
                      <a:pt x="455" y="234"/>
                    </a:lnTo>
                    <a:lnTo>
                      <a:pt x="455" y="234"/>
                    </a:lnTo>
                    <a:lnTo>
                      <a:pt x="455" y="234"/>
                    </a:lnTo>
                    <a:lnTo>
                      <a:pt x="455" y="232"/>
                    </a:lnTo>
                    <a:lnTo>
                      <a:pt x="455" y="232"/>
                    </a:lnTo>
                    <a:lnTo>
                      <a:pt x="457" y="230"/>
                    </a:lnTo>
                    <a:lnTo>
                      <a:pt x="457" y="230"/>
                    </a:lnTo>
                    <a:lnTo>
                      <a:pt x="459" y="230"/>
                    </a:lnTo>
                    <a:lnTo>
                      <a:pt x="459" y="228"/>
                    </a:lnTo>
                    <a:lnTo>
                      <a:pt x="457" y="226"/>
                    </a:lnTo>
                    <a:lnTo>
                      <a:pt x="457" y="226"/>
                    </a:lnTo>
                    <a:lnTo>
                      <a:pt x="457" y="224"/>
                    </a:lnTo>
                    <a:lnTo>
                      <a:pt x="457" y="224"/>
                    </a:lnTo>
                    <a:lnTo>
                      <a:pt x="459" y="222"/>
                    </a:lnTo>
                    <a:lnTo>
                      <a:pt x="459" y="222"/>
                    </a:lnTo>
                    <a:lnTo>
                      <a:pt x="459" y="222"/>
                    </a:lnTo>
                    <a:lnTo>
                      <a:pt x="459" y="222"/>
                    </a:lnTo>
                    <a:lnTo>
                      <a:pt x="459" y="222"/>
                    </a:lnTo>
                    <a:lnTo>
                      <a:pt x="459" y="220"/>
                    </a:lnTo>
                    <a:lnTo>
                      <a:pt x="459" y="218"/>
                    </a:lnTo>
                    <a:lnTo>
                      <a:pt x="459" y="216"/>
                    </a:lnTo>
                    <a:lnTo>
                      <a:pt x="461" y="214"/>
                    </a:lnTo>
                    <a:lnTo>
                      <a:pt x="461" y="214"/>
                    </a:lnTo>
                    <a:lnTo>
                      <a:pt x="461" y="214"/>
                    </a:lnTo>
                    <a:lnTo>
                      <a:pt x="461" y="210"/>
                    </a:lnTo>
                    <a:lnTo>
                      <a:pt x="459" y="210"/>
                    </a:lnTo>
                    <a:lnTo>
                      <a:pt x="459" y="208"/>
                    </a:lnTo>
                    <a:lnTo>
                      <a:pt x="459" y="208"/>
                    </a:lnTo>
                    <a:lnTo>
                      <a:pt x="459" y="208"/>
                    </a:lnTo>
                    <a:lnTo>
                      <a:pt x="459" y="208"/>
                    </a:lnTo>
                    <a:lnTo>
                      <a:pt x="457" y="206"/>
                    </a:lnTo>
                    <a:lnTo>
                      <a:pt x="457" y="206"/>
                    </a:lnTo>
                    <a:lnTo>
                      <a:pt x="457" y="206"/>
                    </a:lnTo>
                    <a:lnTo>
                      <a:pt x="457" y="206"/>
                    </a:lnTo>
                    <a:lnTo>
                      <a:pt x="455" y="206"/>
                    </a:lnTo>
                    <a:lnTo>
                      <a:pt x="453" y="206"/>
                    </a:lnTo>
                    <a:lnTo>
                      <a:pt x="451" y="202"/>
                    </a:lnTo>
                    <a:lnTo>
                      <a:pt x="453" y="202"/>
                    </a:lnTo>
                    <a:lnTo>
                      <a:pt x="453" y="202"/>
                    </a:lnTo>
                    <a:lnTo>
                      <a:pt x="453" y="200"/>
                    </a:lnTo>
                    <a:lnTo>
                      <a:pt x="451" y="202"/>
                    </a:lnTo>
                    <a:lnTo>
                      <a:pt x="451" y="202"/>
                    </a:lnTo>
                    <a:lnTo>
                      <a:pt x="451" y="200"/>
                    </a:lnTo>
                    <a:lnTo>
                      <a:pt x="451" y="200"/>
                    </a:lnTo>
                    <a:lnTo>
                      <a:pt x="449" y="202"/>
                    </a:lnTo>
                    <a:lnTo>
                      <a:pt x="449" y="202"/>
                    </a:lnTo>
                    <a:lnTo>
                      <a:pt x="449" y="200"/>
                    </a:lnTo>
                    <a:lnTo>
                      <a:pt x="449" y="200"/>
                    </a:lnTo>
                    <a:lnTo>
                      <a:pt x="447" y="200"/>
                    </a:lnTo>
                    <a:lnTo>
                      <a:pt x="447" y="200"/>
                    </a:lnTo>
                    <a:lnTo>
                      <a:pt x="447" y="200"/>
                    </a:lnTo>
                    <a:lnTo>
                      <a:pt x="447" y="200"/>
                    </a:lnTo>
                    <a:lnTo>
                      <a:pt x="447" y="200"/>
                    </a:lnTo>
                    <a:lnTo>
                      <a:pt x="443" y="198"/>
                    </a:lnTo>
                    <a:lnTo>
                      <a:pt x="443" y="198"/>
                    </a:lnTo>
                    <a:lnTo>
                      <a:pt x="443" y="198"/>
                    </a:lnTo>
                    <a:lnTo>
                      <a:pt x="439" y="198"/>
                    </a:lnTo>
                    <a:lnTo>
                      <a:pt x="437" y="196"/>
                    </a:lnTo>
                    <a:lnTo>
                      <a:pt x="439" y="196"/>
                    </a:lnTo>
                    <a:lnTo>
                      <a:pt x="437" y="194"/>
                    </a:lnTo>
                    <a:lnTo>
                      <a:pt x="437" y="194"/>
                    </a:lnTo>
                    <a:lnTo>
                      <a:pt x="437" y="194"/>
                    </a:lnTo>
                    <a:lnTo>
                      <a:pt x="437" y="192"/>
                    </a:lnTo>
                    <a:lnTo>
                      <a:pt x="439" y="188"/>
                    </a:lnTo>
                    <a:lnTo>
                      <a:pt x="439" y="188"/>
                    </a:lnTo>
                    <a:lnTo>
                      <a:pt x="441" y="184"/>
                    </a:lnTo>
                    <a:lnTo>
                      <a:pt x="447" y="176"/>
                    </a:lnTo>
                    <a:lnTo>
                      <a:pt x="451" y="174"/>
                    </a:lnTo>
                    <a:lnTo>
                      <a:pt x="457" y="172"/>
                    </a:lnTo>
                    <a:lnTo>
                      <a:pt x="465" y="168"/>
                    </a:lnTo>
                    <a:lnTo>
                      <a:pt x="471" y="164"/>
                    </a:lnTo>
                    <a:lnTo>
                      <a:pt x="473" y="162"/>
                    </a:lnTo>
                    <a:lnTo>
                      <a:pt x="473" y="160"/>
                    </a:lnTo>
                    <a:lnTo>
                      <a:pt x="473" y="158"/>
                    </a:lnTo>
                    <a:lnTo>
                      <a:pt x="473" y="148"/>
                    </a:lnTo>
                    <a:lnTo>
                      <a:pt x="473" y="148"/>
                    </a:lnTo>
                    <a:lnTo>
                      <a:pt x="473" y="148"/>
                    </a:lnTo>
                    <a:lnTo>
                      <a:pt x="473" y="146"/>
                    </a:lnTo>
                    <a:lnTo>
                      <a:pt x="471" y="146"/>
                    </a:lnTo>
                    <a:lnTo>
                      <a:pt x="473" y="146"/>
                    </a:lnTo>
                    <a:lnTo>
                      <a:pt x="473" y="144"/>
                    </a:lnTo>
                    <a:lnTo>
                      <a:pt x="473" y="144"/>
                    </a:lnTo>
                    <a:lnTo>
                      <a:pt x="473" y="144"/>
                    </a:lnTo>
                    <a:lnTo>
                      <a:pt x="473" y="142"/>
                    </a:lnTo>
                    <a:lnTo>
                      <a:pt x="473" y="140"/>
                    </a:lnTo>
                    <a:lnTo>
                      <a:pt x="473" y="140"/>
                    </a:lnTo>
                    <a:lnTo>
                      <a:pt x="473" y="140"/>
                    </a:lnTo>
                    <a:lnTo>
                      <a:pt x="471" y="138"/>
                    </a:lnTo>
                    <a:lnTo>
                      <a:pt x="471" y="136"/>
                    </a:lnTo>
                    <a:lnTo>
                      <a:pt x="471" y="136"/>
                    </a:lnTo>
                    <a:lnTo>
                      <a:pt x="471" y="134"/>
                    </a:lnTo>
                    <a:lnTo>
                      <a:pt x="471" y="132"/>
                    </a:lnTo>
                    <a:lnTo>
                      <a:pt x="471" y="132"/>
                    </a:lnTo>
                    <a:lnTo>
                      <a:pt x="471" y="130"/>
                    </a:lnTo>
                    <a:lnTo>
                      <a:pt x="471" y="130"/>
                    </a:lnTo>
                    <a:lnTo>
                      <a:pt x="471" y="128"/>
                    </a:lnTo>
                    <a:lnTo>
                      <a:pt x="471" y="128"/>
                    </a:lnTo>
                    <a:lnTo>
                      <a:pt x="469" y="126"/>
                    </a:lnTo>
                    <a:lnTo>
                      <a:pt x="469" y="126"/>
                    </a:lnTo>
                    <a:lnTo>
                      <a:pt x="469" y="124"/>
                    </a:lnTo>
                    <a:lnTo>
                      <a:pt x="467" y="124"/>
                    </a:lnTo>
                    <a:lnTo>
                      <a:pt x="467" y="122"/>
                    </a:lnTo>
                    <a:lnTo>
                      <a:pt x="467" y="120"/>
                    </a:lnTo>
                    <a:lnTo>
                      <a:pt x="465" y="114"/>
                    </a:lnTo>
                    <a:lnTo>
                      <a:pt x="463" y="110"/>
                    </a:lnTo>
                    <a:lnTo>
                      <a:pt x="461" y="106"/>
                    </a:lnTo>
                    <a:lnTo>
                      <a:pt x="457" y="94"/>
                    </a:lnTo>
                    <a:lnTo>
                      <a:pt x="455" y="90"/>
                    </a:lnTo>
                    <a:lnTo>
                      <a:pt x="455" y="84"/>
                    </a:lnTo>
                    <a:lnTo>
                      <a:pt x="455" y="84"/>
                    </a:lnTo>
                    <a:lnTo>
                      <a:pt x="455" y="82"/>
                    </a:lnTo>
                    <a:lnTo>
                      <a:pt x="453" y="78"/>
                    </a:lnTo>
                    <a:lnTo>
                      <a:pt x="453" y="76"/>
                    </a:lnTo>
                    <a:lnTo>
                      <a:pt x="453" y="74"/>
                    </a:lnTo>
                    <a:lnTo>
                      <a:pt x="453" y="72"/>
                    </a:lnTo>
                    <a:lnTo>
                      <a:pt x="453" y="70"/>
                    </a:lnTo>
                    <a:lnTo>
                      <a:pt x="453" y="70"/>
                    </a:lnTo>
                    <a:lnTo>
                      <a:pt x="453" y="68"/>
                    </a:lnTo>
                    <a:lnTo>
                      <a:pt x="453" y="68"/>
                    </a:lnTo>
                    <a:lnTo>
                      <a:pt x="451" y="68"/>
                    </a:lnTo>
                    <a:lnTo>
                      <a:pt x="451" y="68"/>
                    </a:lnTo>
                    <a:lnTo>
                      <a:pt x="451" y="68"/>
                    </a:lnTo>
                    <a:lnTo>
                      <a:pt x="451" y="66"/>
                    </a:lnTo>
                    <a:lnTo>
                      <a:pt x="451" y="66"/>
                    </a:lnTo>
                    <a:lnTo>
                      <a:pt x="451" y="66"/>
                    </a:lnTo>
                    <a:lnTo>
                      <a:pt x="451" y="66"/>
                    </a:lnTo>
                    <a:lnTo>
                      <a:pt x="451" y="64"/>
                    </a:lnTo>
                    <a:lnTo>
                      <a:pt x="453" y="64"/>
                    </a:lnTo>
                    <a:lnTo>
                      <a:pt x="453" y="62"/>
                    </a:lnTo>
                    <a:lnTo>
                      <a:pt x="451" y="58"/>
                    </a:lnTo>
                    <a:lnTo>
                      <a:pt x="451" y="56"/>
                    </a:lnTo>
                    <a:lnTo>
                      <a:pt x="451" y="54"/>
                    </a:lnTo>
                    <a:lnTo>
                      <a:pt x="451" y="54"/>
                    </a:lnTo>
                    <a:lnTo>
                      <a:pt x="449" y="52"/>
                    </a:lnTo>
                    <a:lnTo>
                      <a:pt x="449" y="52"/>
                    </a:lnTo>
                    <a:lnTo>
                      <a:pt x="447" y="52"/>
                    </a:lnTo>
                    <a:lnTo>
                      <a:pt x="447" y="52"/>
                    </a:lnTo>
                    <a:lnTo>
                      <a:pt x="447" y="50"/>
                    </a:lnTo>
                    <a:lnTo>
                      <a:pt x="447" y="50"/>
                    </a:lnTo>
                    <a:lnTo>
                      <a:pt x="445" y="48"/>
                    </a:lnTo>
                    <a:lnTo>
                      <a:pt x="445" y="48"/>
                    </a:lnTo>
                    <a:lnTo>
                      <a:pt x="445" y="48"/>
                    </a:lnTo>
                    <a:lnTo>
                      <a:pt x="441" y="46"/>
                    </a:lnTo>
                    <a:lnTo>
                      <a:pt x="439" y="44"/>
                    </a:lnTo>
                    <a:lnTo>
                      <a:pt x="435" y="42"/>
                    </a:lnTo>
                    <a:lnTo>
                      <a:pt x="435" y="42"/>
                    </a:lnTo>
                    <a:lnTo>
                      <a:pt x="433" y="42"/>
                    </a:lnTo>
                    <a:lnTo>
                      <a:pt x="433" y="42"/>
                    </a:lnTo>
                    <a:lnTo>
                      <a:pt x="431" y="42"/>
                    </a:lnTo>
                    <a:lnTo>
                      <a:pt x="431" y="42"/>
                    </a:lnTo>
                    <a:lnTo>
                      <a:pt x="431" y="40"/>
                    </a:lnTo>
                    <a:lnTo>
                      <a:pt x="431" y="40"/>
                    </a:lnTo>
                    <a:lnTo>
                      <a:pt x="431" y="40"/>
                    </a:lnTo>
                    <a:lnTo>
                      <a:pt x="431" y="38"/>
                    </a:lnTo>
                    <a:lnTo>
                      <a:pt x="429" y="38"/>
                    </a:lnTo>
                    <a:lnTo>
                      <a:pt x="429" y="38"/>
                    </a:lnTo>
                    <a:lnTo>
                      <a:pt x="427" y="38"/>
                    </a:lnTo>
                    <a:lnTo>
                      <a:pt x="427" y="38"/>
                    </a:lnTo>
                    <a:lnTo>
                      <a:pt x="427" y="36"/>
                    </a:lnTo>
                    <a:lnTo>
                      <a:pt x="427" y="36"/>
                    </a:lnTo>
                    <a:lnTo>
                      <a:pt x="427" y="36"/>
                    </a:lnTo>
                    <a:lnTo>
                      <a:pt x="425" y="36"/>
                    </a:lnTo>
                    <a:lnTo>
                      <a:pt x="425" y="36"/>
                    </a:lnTo>
                    <a:lnTo>
                      <a:pt x="421" y="34"/>
                    </a:lnTo>
                    <a:lnTo>
                      <a:pt x="421" y="34"/>
                    </a:lnTo>
                    <a:lnTo>
                      <a:pt x="419" y="36"/>
                    </a:lnTo>
                    <a:lnTo>
                      <a:pt x="419" y="38"/>
                    </a:lnTo>
                    <a:lnTo>
                      <a:pt x="417" y="38"/>
                    </a:lnTo>
                    <a:lnTo>
                      <a:pt x="415" y="38"/>
                    </a:lnTo>
                    <a:lnTo>
                      <a:pt x="405" y="38"/>
                    </a:lnTo>
                    <a:lnTo>
                      <a:pt x="393" y="38"/>
                    </a:lnTo>
                    <a:lnTo>
                      <a:pt x="367" y="36"/>
                    </a:lnTo>
                    <a:lnTo>
                      <a:pt x="347" y="36"/>
                    </a:lnTo>
                    <a:lnTo>
                      <a:pt x="329" y="34"/>
                    </a:lnTo>
                    <a:lnTo>
                      <a:pt x="301" y="34"/>
                    </a:lnTo>
                    <a:lnTo>
                      <a:pt x="283" y="32"/>
                    </a:lnTo>
                    <a:lnTo>
                      <a:pt x="273" y="32"/>
                    </a:lnTo>
                    <a:lnTo>
                      <a:pt x="269" y="32"/>
                    </a:lnTo>
                    <a:lnTo>
                      <a:pt x="267" y="30"/>
                    </a:lnTo>
                    <a:lnTo>
                      <a:pt x="265" y="30"/>
                    </a:lnTo>
                    <a:lnTo>
                      <a:pt x="265" y="30"/>
                    </a:lnTo>
                    <a:lnTo>
                      <a:pt x="261" y="34"/>
                    </a:lnTo>
                    <a:lnTo>
                      <a:pt x="261" y="34"/>
                    </a:lnTo>
                    <a:lnTo>
                      <a:pt x="259" y="34"/>
                    </a:lnTo>
                    <a:lnTo>
                      <a:pt x="255" y="36"/>
                    </a:lnTo>
                    <a:lnTo>
                      <a:pt x="237" y="38"/>
                    </a:lnTo>
                    <a:lnTo>
                      <a:pt x="235" y="38"/>
                    </a:lnTo>
                    <a:lnTo>
                      <a:pt x="235" y="38"/>
                    </a:lnTo>
                    <a:lnTo>
                      <a:pt x="233" y="38"/>
                    </a:lnTo>
                    <a:lnTo>
                      <a:pt x="233" y="38"/>
                    </a:lnTo>
                    <a:lnTo>
                      <a:pt x="231" y="38"/>
                    </a:lnTo>
                    <a:lnTo>
                      <a:pt x="223" y="36"/>
                    </a:lnTo>
                    <a:lnTo>
                      <a:pt x="221" y="34"/>
                    </a:lnTo>
                    <a:lnTo>
                      <a:pt x="221" y="34"/>
                    </a:lnTo>
                    <a:lnTo>
                      <a:pt x="221" y="34"/>
                    </a:lnTo>
                    <a:lnTo>
                      <a:pt x="219" y="34"/>
                    </a:lnTo>
                    <a:lnTo>
                      <a:pt x="219" y="34"/>
                    </a:lnTo>
                    <a:lnTo>
                      <a:pt x="219" y="34"/>
                    </a:lnTo>
                    <a:lnTo>
                      <a:pt x="217" y="32"/>
                    </a:lnTo>
                    <a:lnTo>
                      <a:pt x="217" y="32"/>
                    </a:lnTo>
                    <a:lnTo>
                      <a:pt x="215" y="30"/>
                    </a:lnTo>
                    <a:lnTo>
                      <a:pt x="215" y="28"/>
                    </a:lnTo>
                    <a:lnTo>
                      <a:pt x="215" y="24"/>
                    </a:lnTo>
                    <a:lnTo>
                      <a:pt x="215" y="24"/>
                    </a:lnTo>
                    <a:lnTo>
                      <a:pt x="215" y="22"/>
                    </a:lnTo>
                    <a:lnTo>
                      <a:pt x="213" y="18"/>
                    </a:lnTo>
                    <a:lnTo>
                      <a:pt x="213" y="18"/>
                    </a:lnTo>
                    <a:lnTo>
                      <a:pt x="213" y="16"/>
                    </a:lnTo>
                    <a:lnTo>
                      <a:pt x="213" y="16"/>
                    </a:lnTo>
                    <a:lnTo>
                      <a:pt x="213" y="16"/>
                    </a:lnTo>
                    <a:lnTo>
                      <a:pt x="211" y="16"/>
                    </a:lnTo>
                    <a:lnTo>
                      <a:pt x="211" y="16"/>
                    </a:lnTo>
                    <a:lnTo>
                      <a:pt x="211" y="14"/>
                    </a:lnTo>
                    <a:lnTo>
                      <a:pt x="211" y="14"/>
                    </a:lnTo>
                    <a:lnTo>
                      <a:pt x="211" y="14"/>
                    </a:lnTo>
                    <a:lnTo>
                      <a:pt x="211" y="14"/>
                    </a:lnTo>
                    <a:lnTo>
                      <a:pt x="211" y="12"/>
                    </a:lnTo>
                    <a:lnTo>
                      <a:pt x="211" y="10"/>
                    </a:lnTo>
                    <a:lnTo>
                      <a:pt x="209" y="10"/>
                    </a:lnTo>
                    <a:lnTo>
                      <a:pt x="209" y="10"/>
                    </a:lnTo>
                    <a:lnTo>
                      <a:pt x="209" y="10"/>
                    </a:lnTo>
                    <a:lnTo>
                      <a:pt x="209" y="8"/>
                    </a:lnTo>
                    <a:lnTo>
                      <a:pt x="209" y="8"/>
                    </a:lnTo>
                    <a:lnTo>
                      <a:pt x="209" y="8"/>
                    </a:lnTo>
                    <a:lnTo>
                      <a:pt x="209" y="6"/>
                    </a:lnTo>
                    <a:lnTo>
                      <a:pt x="209" y="4"/>
                    </a:lnTo>
                    <a:lnTo>
                      <a:pt x="209" y="4"/>
                    </a:lnTo>
                    <a:lnTo>
                      <a:pt x="209" y="4"/>
                    </a:lnTo>
                    <a:lnTo>
                      <a:pt x="211" y="6"/>
                    </a:lnTo>
                    <a:lnTo>
                      <a:pt x="213" y="6"/>
                    </a:lnTo>
                    <a:lnTo>
                      <a:pt x="215" y="8"/>
                    </a:lnTo>
                    <a:lnTo>
                      <a:pt x="217" y="10"/>
                    </a:lnTo>
                    <a:lnTo>
                      <a:pt x="219" y="10"/>
                    </a:lnTo>
                    <a:lnTo>
                      <a:pt x="219" y="10"/>
                    </a:lnTo>
                    <a:lnTo>
                      <a:pt x="219" y="10"/>
                    </a:lnTo>
                    <a:lnTo>
                      <a:pt x="221" y="12"/>
                    </a:lnTo>
                    <a:lnTo>
                      <a:pt x="223" y="12"/>
                    </a:lnTo>
                    <a:lnTo>
                      <a:pt x="225" y="14"/>
                    </a:lnTo>
                    <a:lnTo>
                      <a:pt x="225" y="16"/>
                    </a:lnTo>
                    <a:lnTo>
                      <a:pt x="225" y="18"/>
                    </a:lnTo>
                    <a:lnTo>
                      <a:pt x="227" y="18"/>
                    </a:lnTo>
                    <a:lnTo>
                      <a:pt x="227" y="18"/>
                    </a:lnTo>
                    <a:lnTo>
                      <a:pt x="227" y="20"/>
                    </a:lnTo>
                    <a:lnTo>
                      <a:pt x="227" y="20"/>
                    </a:lnTo>
                    <a:lnTo>
                      <a:pt x="229" y="20"/>
                    </a:lnTo>
                    <a:lnTo>
                      <a:pt x="229" y="18"/>
                    </a:lnTo>
                    <a:lnTo>
                      <a:pt x="227" y="16"/>
                    </a:lnTo>
                    <a:lnTo>
                      <a:pt x="227" y="16"/>
                    </a:lnTo>
                    <a:lnTo>
                      <a:pt x="225" y="12"/>
                    </a:lnTo>
                    <a:lnTo>
                      <a:pt x="207" y="2"/>
                    </a:lnTo>
                    <a:lnTo>
                      <a:pt x="207" y="2"/>
                    </a:lnTo>
                    <a:lnTo>
                      <a:pt x="207" y="2"/>
                    </a:lnTo>
                    <a:lnTo>
                      <a:pt x="205" y="0"/>
                    </a:lnTo>
                    <a:lnTo>
                      <a:pt x="203" y="0"/>
                    </a:lnTo>
                    <a:lnTo>
                      <a:pt x="195" y="0"/>
                    </a:lnTo>
                    <a:lnTo>
                      <a:pt x="183" y="2"/>
                    </a:lnTo>
                    <a:lnTo>
                      <a:pt x="175" y="4"/>
                    </a:lnTo>
                    <a:lnTo>
                      <a:pt x="157" y="8"/>
                    </a:lnTo>
                    <a:lnTo>
                      <a:pt x="141" y="14"/>
                    </a:lnTo>
                    <a:lnTo>
                      <a:pt x="137" y="18"/>
                    </a:lnTo>
                    <a:lnTo>
                      <a:pt x="135" y="20"/>
                    </a:lnTo>
                    <a:lnTo>
                      <a:pt x="133" y="20"/>
                    </a:lnTo>
                    <a:lnTo>
                      <a:pt x="129" y="22"/>
                    </a:lnTo>
                    <a:lnTo>
                      <a:pt x="119" y="22"/>
                    </a:lnTo>
                    <a:lnTo>
                      <a:pt x="115" y="24"/>
                    </a:lnTo>
                    <a:lnTo>
                      <a:pt x="115" y="26"/>
                    </a:lnTo>
                    <a:lnTo>
                      <a:pt x="113" y="28"/>
                    </a:lnTo>
                    <a:lnTo>
                      <a:pt x="115" y="28"/>
                    </a:lnTo>
                    <a:lnTo>
                      <a:pt x="115" y="26"/>
                    </a:lnTo>
                    <a:lnTo>
                      <a:pt x="115" y="28"/>
                    </a:lnTo>
                    <a:lnTo>
                      <a:pt x="115" y="28"/>
                    </a:lnTo>
                    <a:lnTo>
                      <a:pt x="113" y="28"/>
                    </a:lnTo>
                    <a:lnTo>
                      <a:pt x="113" y="30"/>
                    </a:lnTo>
                    <a:lnTo>
                      <a:pt x="113" y="28"/>
                    </a:lnTo>
                    <a:lnTo>
                      <a:pt x="113" y="28"/>
                    </a:lnTo>
                    <a:lnTo>
                      <a:pt x="113" y="28"/>
                    </a:lnTo>
                    <a:lnTo>
                      <a:pt x="107" y="34"/>
                    </a:lnTo>
                    <a:lnTo>
                      <a:pt x="105" y="38"/>
                    </a:lnTo>
                    <a:lnTo>
                      <a:pt x="105" y="38"/>
                    </a:lnTo>
                    <a:lnTo>
                      <a:pt x="107" y="36"/>
                    </a:lnTo>
                    <a:lnTo>
                      <a:pt x="107" y="36"/>
                    </a:lnTo>
                    <a:lnTo>
                      <a:pt x="109" y="38"/>
                    </a:lnTo>
                    <a:lnTo>
                      <a:pt x="107" y="38"/>
                    </a:lnTo>
                    <a:lnTo>
                      <a:pt x="105" y="40"/>
                    </a:lnTo>
                    <a:lnTo>
                      <a:pt x="105" y="40"/>
                    </a:lnTo>
                    <a:lnTo>
                      <a:pt x="105" y="40"/>
                    </a:lnTo>
                    <a:lnTo>
                      <a:pt x="103" y="40"/>
                    </a:lnTo>
                    <a:lnTo>
                      <a:pt x="103" y="40"/>
                    </a:lnTo>
                    <a:lnTo>
                      <a:pt x="103" y="40"/>
                    </a:lnTo>
                    <a:lnTo>
                      <a:pt x="105" y="38"/>
                    </a:lnTo>
                    <a:lnTo>
                      <a:pt x="105" y="38"/>
                    </a:lnTo>
                    <a:lnTo>
                      <a:pt x="101" y="42"/>
                    </a:lnTo>
                    <a:lnTo>
                      <a:pt x="101" y="42"/>
                    </a:lnTo>
                    <a:lnTo>
                      <a:pt x="99" y="44"/>
                    </a:lnTo>
                    <a:lnTo>
                      <a:pt x="101" y="42"/>
                    </a:lnTo>
                    <a:lnTo>
                      <a:pt x="103" y="42"/>
                    </a:lnTo>
                    <a:lnTo>
                      <a:pt x="101" y="44"/>
                    </a:lnTo>
                    <a:lnTo>
                      <a:pt x="103" y="44"/>
                    </a:lnTo>
                    <a:lnTo>
                      <a:pt x="103" y="44"/>
                    </a:lnTo>
                    <a:lnTo>
                      <a:pt x="101" y="44"/>
                    </a:lnTo>
                    <a:lnTo>
                      <a:pt x="101" y="44"/>
                    </a:lnTo>
                    <a:lnTo>
                      <a:pt x="101" y="44"/>
                    </a:lnTo>
                    <a:lnTo>
                      <a:pt x="101" y="46"/>
                    </a:lnTo>
                    <a:lnTo>
                      <a:pt x="97" y="46"/>
                    </a:lnTo>
                    <a:lnTo>
                      <a:pt x="95" y="46"/>
                    </a:lnTo>
                    <a:lnTo>
                      <a:pt x="97" y="44"/>
                    </a:lnTo>
                    <a:lnTo>
                      <a:pt x="99" y="44"/>
                    </a:lnTo>
                    <a:lnTo>
                      <a:pt x="93" y="46"/>
                    </a:lnTo>
                    <a:lnTo>
                      <a:pt x="85" y="46"/>
                    </a:lnTo>
                    <a:lnTo>
                      <a:pt x="75" y="50"/>
                    </a:lnTo>
                    <a:lnTo>
                      <a:pt x="67" y="52"/>
                    </a:lnTo>
                    <a:lnTo>
                      <a:pt x="57" y="54"/>
                    </a:lnTo>
                    <a:lnTo>
                      <a:pt x="45" y="60"/>
                    </a:lnTo>
                    <a:lnTo>
                      <a:pt x="33" y="62"/>
                    </a:lnTo>
                    <a:lnTo>
                      <a:pt x="20" y="68"/>
                    </a:lnTo>
                    <a:lnTo>
                      <a:pt x="16" y="70"/>
                    </a:lnTo>
                    <a:lnTo>
                      <a:pt x="14" y="72"/>
                    </a:lnTo>
                    <a:lnTo>
                      <a:pt x="12" y="72"/>
                    </a:lnTo>
                    <a:lnTo>
                      <a:pt x="8" y="72"/>
                    </a:lnTo>
                    <a:lnTo>
                      <a:pt x="6" y="70"/>
                    </a:lnTo>
                    <a:lnTo>
                      <a:pt x="6" y="70"/>
                    </a:lnTo>
                    <a:lnTo>
                      <a:pt x="4" y="70"/>
                    </a:lnTo>
                    <a:lnTo>
                      <a:pt x="4" y="72"/>
                    </a:lnTo>
                    <a:lnTo>
                      <a:pt x="4" y="72"/>
                    </a:lnTo>
                    <a:lnTo>
                      <a:pt x="2" y="72"/>
                    </a:lnTo>
                    <a:lnTo>
                      <a:pt x="4" y="74"/>
                    </a:lnTo>
                    <a:lnTo>
                      <a:pt x="4" y="74"/>
                    </a:lnTo>
                    <a:lnTo>
                      <a:pt x="6" y="76"/>
                    </a:lnTo>
                    <a:lnTo>
                      <a:pt x="8" y="78"/>
                    </a:lnTo>
                    <a:lnTo>
                      <a:pt x="8" y="78"/>
                    </a:lnTo>
                    <a:lnTo>
                      <a:pt x="10" y="78"/>
                    </a:lnTo>
                    <a:lnTo>
                      <a:pt x="10" y="78"/>
                    </a:lnTo>
                    <a:lnTo>
                      <a:pt x="10" y="78"/>
                    </a:lnTo>
                    <a:lnTo>
                      <a:pt x="10" y="78"/>
                    </a:lnTo>
                    <a:lnTo>
                      <a:pt x="10" y="78"/>
                    </a:lnTo>
                    <a:lnTo>
                      <a:pt x="10" y="78"/>
                    </a:lnTo>
                    <a:lnTo>
                      <a:pt x="10" y="78"/>
                    </a:lnTo>
                    <a:lnTo>
                      <a:pt x="10" y="78"/>
                    </a:lnTo>
                    <a:lnTo>
                      <a:pt x="12" y="78"/>
                    </a:lnTo>
                    <a:lnTo>
                      <a:pt x="14" y="78"/>
                    </a:lnTo>
                    <a:lnTo>
                      <a:pt x="14" y="78"/>
                    </a:lnTo>
                    <a:lnTo>
                      <a:pt x="14" y="78"/>
                    </a:lnTo>
                    <a:lnTo>
                      <a:pt x="14" y="76"/>
                    </a:lnTo>
                    <a:lnTo>
                      <a:pt x="14" y="76"/>
                    </a:lnTo>
                    <a:lnTo>
                      <a:pt x="14" y="76"/>
                    </a:lnTo>
                    <a:lnTo>
                      <a:pt x="14" y="74"/>
                    </a:lnTo>
                    <a:lnTo>
                      <a:pt x="12" y="74"/>
                    </a:lnTo>
                    <a:lnTo>
                      <a:pt x="12" y="74"/>
                    </a:lnTo>
                    <a:lnTo>
                      <a:pt x="12" y="74"/>
                    </a:lnTo>
                    <a:lnTo>
                      <a:pt x="14" y="74"/>
                    </a:lnTo>
                    <a:lnTo>
                      <a:pt x="14" y="72"/>
                    </a:lnTo>
                    <a:lnTo>
                      <a:pt x="14" y="74"/>
                    </a:lnTo>
                    <a:lnTo>
                      <a:pt x="14" y="74"/>
                    </a:lnTo>
                    <a:lnTo>
                      <a:pt x="14" y="74"/>
                    </a:lnTo>
                    <a:lnTo>
                      <a:pt x="16" y="72"/>
                    </a:lnTo>
                    <a:lnTo>
                      <a:pt x="16" y="72"/>
                    </a:lnTo>
                    <a:lnTo>
                      <a:pt x="16" y="72"/>
                    </a:lnTo>
                    <a:lnTo>
                      <a:pt x="14" y="74"/>
                    </a:lnTo>
                    <a:lnTo>
                      <a:pt x="16" y="76"/>
                    </a:lnTo>
                    <a:lnTo>
                      <a:pt x="23" y="76"/>
                    </a:lnTo>
                    <a:lnTo>
                      <a:pt x="23" y="76"/>
                    </a:lnTo>
                    <a:lnTo>
                      <a:pt x="25" y="78"/>
                    </a:lnTo>
                    <a:lnTo>
                      <a:pt x="23" y="78"/>
                    </a:lnTo>
                    <a:lnTo>
                      <a:pt x="23" y="78"/>
                    </a:lnTo>
                    <a:lnTo>
                      <a:pt x="23" y="78"/>
                    </a:lnTo>
                    <a:lnTo>
                      <a:pt x="23" y="78"/>
                    </a:lnTo>
                    <a:lnTo>
                      <a:pt x="23" y="80"/>
                    </a:lnTo>
                    <a:lnTo>
                      <a:pt x="23" y="80"/>
                    </a:lnTo>
                    <a:lnTo>
                      <a:pt x="25" y="80"/>
                    </a:lnTo>
                    <a:lnTo>
                      <a:pt x="25" y="78"/>
                    </a:lnTo>
                    <a:lnTo>
                      <a:pt x="25" y="78"/>
                    </a:lnTo>
                    <a:lnTo>
                      <a:pt x="25" y="78"/>
                    </a:lnTo>
                    <a:lnTo>
                      <a:pt x="25" y="76"/>
                    </a:lnTo>
                    <a:lnTo>
                      <a:pt x="25" y="76"/>
                    </a:lnTo>
                    <a:lnTo>
                      <a:pt x="25" y="78"/>
                    </a:lnTo>
                    <a:lnTo>
                      <a:pt x="25" y="80"/>
                    </a:lnTo>
                    <a:lnTo>
                      <a:pt x="25" y="80"/>
                    </a:lnTo>
                    <a:lnTo>
                      <a:pt x="25" y="82"/>
                    </a:lnTo>
                    <a:lnTo>
                      <a:pt x="25" y="82"/>
                    </a:lnTo>
                    <a:lnTo>
                      <a:pt x="25" y="82"/>
                    </a:lnTo>
                    <a:lnTo>
                      <a:pt x="23" y="84"/>
                    </a:lnTo>
                    <a:lnTo>
                      <a:pt x="23" y="82"/>
                    </a:lnTo>
                    <a:lnTo>
                      <a:pt x="20" y="86"/>
                    </a:lnTo>
                    <a:lnTo>
                      <a:pt x="20" y="88"/>
                    </a:lnTo>
                    <a:lnTo>
                      <a:pt x="23" y="90"/>
                    </a:lnTo>
                    <a:lnTo>
                      <a:pt x="23" y="92"/>
                    </a:lnTo>
                    <a:lnTo>
                      <a:pt x="25" y="92"/>
                    </a:lnTo>
                    <a:lnTo>
                      <a:pt x="25" y="92"/>
                    </a:lnTo>
                    <a:lnTo>
                      <a:pt x="25" y="92"/>
                    </a:lnTo>
                    <a:lnTo>
                      <a:pt x="25" y="92"/>
                    </a:lnTo>
                    <a:lnTo>
                      <a:pt x="25" y="92"/>
                    </a:lnTo>
                    <a:lnTo>
                      <a:pt x="25" y="94"/>
                    </a:lnTo>
                    <a:lnTo>
                      <a:pt x="25" y="94"/>
                    </a:lnTo>
                    <a:lnTo>
                      <a:pt x="25" y="94"/>
                    </a:lnTo>
                    <a:lnTo>
                      <a:pt x="25" y="96"/>
                    </a:lnTo>
                    <a:lnTo>
                      <a:pt x="25" y="96"/>
                    </a:lnTo>
                    <a:lnTo>
                      <a:pt x="23" y="96"/>
                    </a:lnTo>
                    <a:lnTo>
                      <a:pt x="20" y="92"/>
                    </a:lnTo>
                    <a:lnTo>
                      <a:pt x="20" y="92"/>
                    </a:lnTo>
                    <a:lnTo>
                      <a:pt x="20" y="90"/>
                    </a:lnTo>
                    <a:lnTo>
                      <a:pt x="16" y="90"/>
                    </a:lnTo>
                    <a:lnTo>
                      <a:pt x="14" y="90"/>
                    </a:lnTo>
                    <a:lnTo>
                      <a:pt x="14" y="88"/>
                    </a:lnTo>
                    <a:lnTo>
                      <a:pt x="14" y="88"/>
                    </a:lnTo>
                    <a:lnTo>
                      <a:pt x="12" y="88"/>
                    </a:lnTo>
                    <a:lnTo>
                      <a:pt x="10" y="86"/>
                    </a:lnTo>
                    <a:lnTo>
                      <a:pt x="10" y="86"/>
                    </a:lnTo>
                    <a:lnTo>
                      <a:pt x="10" y="84"/>
                    </a:lnTo>
                    <a:lnTo>
                      <a:pt x="10" y="84"/>
                    </a:lnTo>
                    <a:lnTo>
                      <a:pt x="8" y="84"/>
                    </a:lnTo>
                    <a:lnTo>
                      <a:pt x="8" y="84"/>
                    </a:lnTo>
                    <a:lnTo>
                      <a:pt x="8" y="86"/>
                    </a:lnTo>
                    <a:lnTo>
                      <a:pt x="10" y="86"/>
                    </a:lnTo>
                    <a:lnTo>
                      <a:pt x="8" y="86"/>
                    </a:lnTo>
                    <a:lnTo>
                      <a:pt x="8" y="86"/>
                    </a:lnTo>
                    <a:lnTo>
                      <a:pt x="10" y="86"/>
                    </a:lnTo>
                    <a:lnTo>
                      <a:pt x="10" y="86"/>
                    </a:lnTo>
                    <a:lnTo>
                      <a:pt x="8" y="88"/>
                    </a:lnTo>
                    <a:lnTo>
                      <a:pt x="8" y="88"/>
                    </a:lnTo>
                    <a:lnTo>
                      <a:pt x="8" y="88"/>
                    </a:lnTo>
                    <a:lnTo>
                      <a:pt x="8" y="90"/>
                    </a:lnTo>
                    <a:lnTo>
                      <a:pt x="6" y="92"/>
                    </a:lnTo>
                    <a:lnTo>
                      <a:pt x="8" y="92"/>
                    </a:lnTo>
                    <a:lnTo>
                      <a:pt x="8" y="96"/>
                    </a:lnTo>
                    <a:lnTo>
                      <a:pt x="8" y="96"/>
                    </a:lnTo>
                    <a:lnTo>
                      <a:pt x="8" y="100"/>
                    </a:lnTo>
                    <a:lnTo>
                      <a:pt x="8" y="100"/>
                    </a:lnTo>
                    <a:lnTo>
                      <a:pt x="10" y="102"/>
                    </a:lnTo>
                    <a:lnTo>
                      <a:pt x="10" y="104"/>
                    </a:lnTo>
                    <a:lnTo>
                      <a:pt x="10" y="106"/>
                    </a:lnTo>
                    <a:lnTo>
                      <a:pt x="12" y="108"/>
                    </a:lnTo>
                    <a:lnTo>
                      <a:pt x="12" y="112"/>
                    </a:lnTo>
                    <a:lnTo>
                      <a:pt x="14" y="116"/>
                    </a:lnTo>
                    <a:lnTo>
                      <a:pt x="14" y="116"/>
                    </a:lnTo>
                    <a:lnTo>
                      <a:pt x="14" y="118"/>
                    </a:lnTo>
                    <a:lnTo>
                      <a:pt x="14" y="118"/>
                    </a:lnTo>
                    <a:lnTo>
                      <a:pt x="14" y="120"/>
                    </a:lnTo>
                    <a:lnTo>
                      <a:pt x="14" y="120"/>
                    </a:lnTo>
                    <a:lnTo>
                      <a:pt x="14" y="120"/>
                    </a:lnTo>
                    <a:lnTo>
                      <a:pt x="16" y="122"/>
                    </a:lnTo>
                    <a:lnTo>
                      <a:pt x="16" y="122"/>
                    </a:lnTo>
                    <a:lnTo>
                      <a:pt x="14" y="124"/>
                    </a:lnTo>
                    <a:lnTo>
                      <a:pt x="14" y="124"/>
                    </a:lnTo>
                    <a:lnTo>
                      <a:pt x="14" y="124"/>
                    </a:lnTo>
                    <a:lnTo>
                      <a:pt x="14" y="126"/>
                    </a:lnTo>
                    <a:lnTo>
                      <a:pt x="12" y="126"/>
                    </a:lnTo>
                    <a:lnTo>
                      <a:pt x="12" y="128"/>
                    </a:lnTo>
                    <a:lnTo>
                      <a:pt x="14" y="128"/>
                    </a:lnTo>
                    <a:lnTo>
                      <a:pt x="14" y="130"/>
                    </a:lnTo>
                    <a:lnTo>
                      <a:pt x="14" y="130"/>
                    </a:lnTo>
                    <a:lnTo>
                      <a:pt x="12" y="134"/>
                    </a:lnTo>
                    <a:lnTo>
                      <a:pt x="12" y="136"/>
                    </a:lnTo>
                    <a:lnTo>
                      <a:pt x="10" y="136"/>
                    </a:lnTo>
                    <a:lnTo>
                      <a:pt x="10" y="138"/>
                    </a:lnTo>
                    <a:lnTo>
                      <a:pt x="6" y="140"/>
                    </a:lnTo>
                    <a:lnTo>
                      <a:pt x="4" y="142"/>
                    </a:lnTo>
                    <a:lnTo>
                      <a:pt x="2" y="144"/>
                    </a:lnTo>
                    <a:lnTo>
                      <a:pt x="2" y="144"/>
                    </a:lnTo>
                    <a:lnTo>
                      <a:pt x="2" y="144"/>
                    </a:lnTo>
                    <a:lnTo>
                      <a:pt x="2" y="148"/>
                    </a:lnTo>
                    <a:lnTo>
                      <a:pt x="2" y="148"/>
                    </a:lnTo>
                    <a:lnTo>
                      <a:pt x="2" y="150"/>
                    </a:lnTo>
                    <a:lnTo>
                      <a:pt x="2" y="150"/>
                    </a:lnTo>
                    <a:lnTo>
                      <a:pt x="0" y="152"/>
                    </a:lnTo>
                    <a:lnTo>
                      <a:pt x="2" y="152"/>
                    </a:lnTo>
                    <a:lnTo>
                      <a:pt x="2" y="154"/>
                    </a:lnTo>
                    <a:lnTo>
                      <a:pt x="2" y="154"/>
                    </a:lnTo>
                    <a:lnTo>
                      <a:pt x="4" y="154"/>
                    </a:lnTo>
                    <a:lnTo>
                      <a:pt x="4" y="154"/>
                    </a:lnTo>
                    <a:lnTo>
                      <a:pt x="6" y="156"/>
                    </a:lnTo>
                    <a:lnTo>
                      <a:pt x="8" y="156"/>
                    </a:lnTo>
                    <a:lnTo>
                      <a:pt x="14" y="160"/>
                    </a:lnTo>
                    <a:lnTo>
                      <a:pt x="14" y="160"/>
                    </a:lnTo>
                    <a:lnTo>
                      <a:pt x="16" y="164"/>
                    </a:lnTo>
                    <a:lnTo>
                      <a:pt x="16" y="164"/>
                    </a:lnTo>
                    <a:lnTo>
                      <a:pt x="16" y="164"/>
                    </a:lnTo>
                    <a:lnTo>
                      <a:pt x="18" y="166"/>
                    </a:lnTo>
                    <a:lnTo>
                      <a:pt x="20" y="168"/>
                    </a:lnTo>
                    <a:lnTo>
                      <a:pt x="25" y="170"/>
                    </a:lnTo>
                    <a:lnTo>
                      <a:pt x="25" y="170"/>
                    </a:lnTo>
                    <a:lnTo>
                      <a:pt x="27" y="172"/>
                    </a:lnTo>
                    <a:lnTo>
                      <a:pt x="25" y="174"/>
                    </a:lnTo>
                    <a:lnTo>
                      <a:pt x="25" y="176"/>
                    </a:lnTo>
                    <a:lnTo>
                      <a:pt x="25" y="176"/>
                    </a:lnTo>
                    <a:lnTo>
                      <a:pt x="25" y="178"/>
                    </a:lnTo>
                    <a:lnTo>
                      <a:pt x="25" y="180"/>
                    </a:lnTo>
                    <a:lnTo>
                      <a:pt x="25" y="182"/>
                    </a:lnTo>
                    <a:lnTo>
                      <a:pt x="20" y="184"/>
                    </a:lnTo>
                    <a:lnTo>
                      <a:pt x="20" y="186"/>
                    </a:lnTo>
                    <a:lnTo>
                      <a:pt x="23" y="190"/>
                    </a:lnTo>
                    <a:lnTo>
                      <a:pt x="25" y="192"/>
                    </a:lnTo>
                    <a:lnTo>
                      <a:pt x="23" y="192"/>
                    </a:lnTo>
                    <a:lnTo>
                      <a:pt x="25" y="194"/>
                    </a:lnTo>
                    <a:lnTo>
                      <a:pt x="27" y="194"/>
                    </a:lnTo>
                    <a:lnTo>
                      <a:pt x="27" y="194"/>
                    </a:lnTo>
                    <a:lnTo>
                      <a:pt x="29" y="196"/>
                    </a:lnTo>
                    <a:lnTo>
                      <a:pt x="29" y="196"/>
                    </a:lnTo>
                    <a:lnTo>
                      <a:pt x="29" y="198"/>
                    </a:lnTo>
                    <a:lnTo>
                      <a:pt x="29" y="200"/>
                    </a:lnTo>
                    <a:lnTo>
                      <a:pt x="29" y="200"/>
                    </a:lnTo>
                    <a:lnTo>
                      <a:pt x="29" y="200"/>
                    </a:lnTo>
                    <a:lnTo>
                      <a:pt x="29" y="202"/>
                    </a:lnTo>
                    <a:lnTo>
                      <a:pt x="29" y="204"/>
                    </a:lnTo>
                    <a:lnTo>
                      <a:pt x="29" y="206"/>
                    </a:lnTo>
                    <a:lnTo>
                      <a:pt x="29" y="206"/>
                    </a:lnTo>
                    <a:lnTo>
                      <a:pt x="33" y="208"/>
                    </a:lnTo>
                    <a:lnTo>
                      <a:pt x="31" y="210"/>
                    </a:lnTo>
                    <a:lnTo>
                      <a:pt x="31" y="210"/>
                    </a:lnTo>
                    <a:lnTo>
                      <a:pt x="31" y="210"/>
                    </a:lnTo>
                    <a:lnTo>
                      <a:pt x="31" y="212"/>
                    </a:lnTo>
                    <a:lnTo>
                      <a:pt x="31" y="212"/>
                    </a:lnTo>
                    <a:lnTo>
                      <a:pt x="29" y="214"/>
                    </a:lnTo>
                    <a:lnTo>
                      <a:pt x="29" y="214"/>
                    </a:lnTo>
                    <a:lnTo>
                      <a:pt x="29" y="218"/>
                    </a:lnTo>
                    <a:lnTo>
                      <a:pt x="29" y="220"/>
                    </a:lnTo>
                    <a:lnTo>
                      <a:pt x="27" y="222"/>
                    </a:lnTo>
                    <a:lnTo>
                      <a:pt x="27" y="222"/>
                    </a:lnTo>
                    <a:lnTo>
                      <a:pt x="25" y="226"/>
                    </a:lnTo>
                    <a:lnTo>
                      <a:pt x="23" y="226"/>
                    </a:lnTo>
                    <a:lnTo>
                      <a:pt x="23" y="228"/>
                    </a:lnTo>
                    <a:lnTo>
                      <a:pt x="25" y="230"/>
                    </a:lnTo>
                    <a:lnTo>
                      <a:pt x="25" y="230"/>
                    </a:lnTo>
                    <a:lnTo>
                      <a:pt x="25" y="230"/>
                    </a:lnTo>
                    <a:lnTo>
                      <a:pt x="27" y="232"/>
                    </a:lnTo>
                    <a:lnTo>
                      <a:pt x="27" y="234"/>
                    </a:lnTo>
                    <a:lnTo>
                      <a:pt x="27" y="236"/>
                    </a:lnTo>
                    <a:lnTo>
                      <a:pt x="31" y="238"/>
                    </a:lnTo>
                    <a:lnTo>
                      <a:pt x="31" y="238"/>
                    </a:lnTo>
                    <a:lnTo>
                      <a:pt x="31" y="240"/>
                    </a:lnTo>
                    <a:lnTo>
                      <a:pt x="31" y="242"/>
                    </a:lnTo>
                    <a:lnTo>
                      <a:pt x="31" y="244"/>
                    </a:lnTo>
                    <a:lnTo>
                      <a:pt x="29" y="246"/>
                    </a:lnTo>
                    <a:lnTo>
                      <a:pt x="29" y="246"/>
                    </a:lnTo>
                    <a:lnTo>
                      <a:pt x="29" y="248"/>
                    </a:lnTo>
                    <a:lnTo>
                      <a:pt x="29" y="248"/>
                    </a:lnTo>
                    <a:lnTo>
                      <a:pt x="31" y="248"/>
                    </a:lnTo>
                    <a:lnTo>
                      <a:pt x="33" y="250"/>
                    </a:lnTo>
                    <a:lnTo>
                      <a:pt x="35" y="250"/>
                    </a:lnTo>
                    <a:lnTo>
                      <a:pt x="37" y="252"/>
                    </a:lnTo>
                    <a:lnTo>
                      <a:pt x="39" y="252"/>
                    </a:lnTo>
                    <a:lnTo>
                      <a:pt x="39" y="252"/>
                    </a:lnTo>
                    <a:lnTo>
                      <a:pt x="41" y="252"/>
                    </a:lnTo>
                    <a:lnTo>
                      <a:pt x="41" y="254"/>
                    </a:lnTo>
                    <a:lnTo>
                      <a:pt x="41" y="254"/>
                    </a:lnTo>
                    <a:lnTo>
                      <a:pt x="41" y="256"/>
                    </a:lnTo>
                    <a:lnTo>
                      <a:pt x="41" y="258"/>
                    </a:lnTo>
                    <a:lnTo>
                      <a:pt x="41" y="260"/>
                    </a:lnTo>
                    <a:lnTo>
                      <a:pt x="41" y="262"/>
                    </a:lnTo>
                    <a:lnTo>
                      <a:pt x="41" y="262"/>
                    </a:lnTo>
                    <a:lnTo>
                      <a:pt x="43" y="264"/>
                    </a:lnTo>
                    <a:lnTo>
                      <a:pt x="43" y="264"/>
                    </a:lnTo>
                    <a:lnTo>
                      <a:pt x="45" y="266"/>
                    </a:lnTo>
                    <a:lnTo>
                      <a:pt x="45" y="268"/>
                    </a:lnTo>
                    <a:lnTo>
                      <a:pt x="45" y="268"/>
                    </a:lnTo>
                    <a:lnTo>
                      <a:pt x="45" y="268"/>
                    </a:lnTo>
                    <a:lnTo>
                      <a:pt x="43" y="270"/>
                    </a:lnTo>
                    <a:lnTo>
                      <a:pt x="43" y="272"/>
                    </a:lnTo>
                    <a:lnTo>
                      <a:pt x="43" y="274"/>
                    </a:lnTo>
                    <a:lnTo>
                      <a:pt x="43" y="276"/>
                    </a:lnTo>
                    <a:lnTo>
                      <a:pt x="43" y="278"/>
                    </a:lnTo>
                    <a:lnTo>
                      <a:pt x="43" y="278"/>
                    </a:lnTo>
                    <a:lnTo>
                      <a:pt x="41" y="278"/>
                    </a:lnTo>
                    <a:lnTo>
                      <a:pt x="41" y="278"/>
                    </a:lnTo>
                    <a:lnTo>
                      <a:pt x="41" y="280"/>
                    </a:lnTo>
                    <a:lnTo>
                      <a:pt x="41" y="280"/>
                    </a:lnTo>
                    <a:lnTo>
                      <a:pt x="41" y="282"/>
                    </a:lnTo>
                    <a:lnTo>
                      <a:pt x="39" y="286"/>
                    </a:lnTo>
                    <a:lnTo>
                      <a:pt x="37" y="292"/>
                    </a:lnTo>
                    <a:lnTo>
                      <a:pt x="35" y="294"/>
                    </a:lnTo>
                    <a:lnTo>
                      <a:pt x="35" y="294"/>
                    </a:lnTo>
                    <a:lnTo>
                      <a:pt x="35" y="296"/>
                    </a:lnTo>
                    <a:lnTo>
                      <a:pt x="35" y="296"/>
                    </a:lnTo>
                    <a:lnTo>
                      <a:pt x="37" y="296"/>
                    </a:lnTo>
                    <a:lnTo>
                      <a:pt x="43" y="296"/>
                    </a:lnTo>
                    <a:lnTo>
                      <a:pt x="43" y="296"/>
                    </a:lnTo>
                    <a:lnTo>
                      <a:pt x="43" y="292"/>
                    </a:lnTo>
                    <a:lnTo>
                      <a:pt x="43" y="292"/>
                    </a:lnTo>
                    <a:lnTo>
                      <a:pt x="43" y="292"/>
                    </a:lnTo>
                    <a:lnTo>
                      <a:pt x="43" y="292"/>
                    </a:lnTo>
                    <a:lnTo>
                      <a:pt x="43" y="292"/>
                    </a:lnTo>
                    <a:lnTo>
                      <a:pt x="43" y="290"/>
                    </a:lnTo>
                    <a:lnTo>
                      <a:pt x="43" y="288"/>
                    </a:lnTo>
                    <a:lnTo>
                      <a:pt x="43" y="288"/>
                    </a:lnTo>
                    <a:lnTo>
                      <a:pt x="41" y="286"/>
                    </a:lnTo>
                    <a:lnTo>
                      <a:pt x="41" y="286"/>
                    </a:lnTo>
                    <a:lnTo>
                      <a:pt x="41" y="286"/>
                    </a:lnTo>
                    <a:lnTo>
                      <a:pt x="43" y="286"/>
                    </a:lnTo>
                    <a:lnTo>
                      <a:pt x="43" y="286"/>
                    </a:lnTo>
                    <a:lnTo>
                      <a:pt x="43" y="286"/>
                    </a:lnTo>
                    <a:lnTo>
                      <a:pt x="43" y="286"/>
                    </a:lnTo>
                    <a:lnTo>
                      <a:pt x="43" y="284"/>
                    </a:lnTo>
                    <a:lnTo>
                      <a:pt x="43" y="284"/>
                    </a:lnTo>
                    <a:lnTo>
                      <a:pt x="45" y="286"/>
                    </a:lnTo>
                    <a:lnTo>
                      <a:pt x="47" y="286"/>
                    </a:lnTo>
                    <a:lnTo>
                      <a:pt x="47" y="286"/>
                    </a:lnTo>
                    <a:lnTo>
                      <a:pt x="47" y="286"/>
                    </a:lnTo>
                    <a:lnTo>
                      <a:pt x="49" y="288"/>
                    </a:lnTo>
                    <a:lnTo>
                      <a:pt x="49" y="286"/>
                    </a:lnTo>
                    <a:lnTo>
                      <a:pt x="49" y="286"/>
                    </a:lnTo>
                    <a:lnTo>
                      <a:pt x="49" y="286"/>
                    </a:lnTo>
                    <a:lnTo>
                      <a:pt x="51" y="284"/>
                    </a:lnTo>
                    <a:lnTo>
                      <a:pt x="51" y="286"/>
                    </a:lnTo>
                    <a:lnTo>
                      <a:pt x="51" y="286"/>
                    </a:lnTo>
                    <a:lnTo>
                      <a:pt x="51" y="288"/>
                    </a:lnTo>
                    <a:lnTo>
                      <a:pt x="55" y="288"/>
                    </a:lnTo>
                    <a:lnTo>
                      <a:pt x="55" y="288"/>
                    </a:lnTo>
                    <a:lnTo>
                      <a:pt x="57" y="290"/>
                    </a:lnTo>
                    <a:lnTo>
                      <a:pt x="57" y="290"/>
                    </a:lnTo>
                    <a:lnTo>
                      <a:pt x="57" y="290"/>
                    </a:lnTo>
                    <a:lnTo>
                      <a:pt x="55" y="292"/>
                    </a:lnTo>
                    <a:lnTo>
                      <a:pt x="55" y="292"/>
                    </a:lnTo>
                    <a:lnTo>
                      <a:pt x="57" y="294"/>
                    </a:lnTo>
                    <a:lnTo>
                      <a:pt x="57" y="296"/>
                    </a:lnTo>
                    <a:lnTo>
                      <a:pt x="57" y="296"/>
                    </a:lnTo>
                    <a:lnTo>
                      <a:pt x="59" y="296"/>
                    </a:lnTo>
                    <a:lnTo>
                      <a:pt x="59" y="298"/>
                    </a:lnTo>
                    <a:lnTo>
                      <a:pt x="61" y="298"/>
                    </a:lnTo>
                    <a:lnTo>
                      <a:pt x="61" y="300"/>
                    </a:lnTo>
                    <a:lnTo>
                      <a:pt x="61" y="300"/>
                    </a:lnTo>
                    <a:lnTo>
                      <a:pt x="61" y="300"/>
                    </a:lnTo>
                    <a:lnTo>
                      <a:pt x="61" y="302"/>
                    </a:lnTo>
                    <a:lnTo>
                      <a:pt x="61" y="302"/>
                    </a:lnTo>
                    <a:lnTo>
                      <a:pt x="61" y="302"/>
                    </a:lnTo>
                    <a:lnTo>
                      <a:pt x="61" y="302"/>
                    </a:lnTo>
                    <a:lnTo>
                      <a:pt x="63" y="300"/>
                    </a:lnTo>
                    <a:lnTo>
                      <a:pt x="63" y="300"/>
                    </a:lnTo>
                    <a:lnTo>
                      <a:pt x="65" y="300"/>
                    </a:lnTo>
                    <a:lnTo>
                      <a:pt x="75" y="304"/>
                    </a:lnTo>
                    <a:lnTo>
                      <a:pt x="75" y="304"/>
                    </a:lnTo>
                    <a:lnTo>
                      <a:pt x="75" y="304"/>
                    </a:lnTo>
                    <a:lnTo>
                      <a:pt x="77" y="304"/>
                    </a:lnTo>
                    <a:lnTo>
                      <a:pt x="77" y="304"/>
                    </a:lnTo>
                    <a:lnTo>
                      <a:pt x="81" y="304"/>
                    </a:lnTo>
                    <a:lnTo>
                      <a:pt x="81" y="304"/>
                    </a:lnTo>
                    <a:lnTo>
                      <a:pt x="81" y="304"/>
                    </a:lnTo>
                    <a:lnTo>
                      <a:pt x="81" y="306"/>
                    </a:lnTo>
                    <a:lnTo>
                      <a:pt x="85" y="308"/>
                    </a:lnTo>
                    <a:lnTo>
                      <a:pt x="85" y="310"/>
                    </a:lnTo>
                    <a:lnTo>
                      <a:pt x="87" y="310"/>
                    </a:lnTo>
                    <a:lnTo>
                      <a:pt x="89" y="308"/>
                    </a:lnTo>
                    <a:lnTo>
                      <a:pt x="89" y="308"/>
                    </a:lnTo>
                    <a:lnTo>
                      <a:pt x="91" y="308"/>
                    </a:lnTo>
                    <a:lnTo>
                      <a:pt x="91" y="310"/>
                    </a:lnTo>
                    <a:lnTo>
                      <a:pt x="91" y="310"/>
                    </a:lnTo>
                    <a:lnTo>
                      <a:pt x="91" y="312"/>
                    </a:lnTo>
                    <a:lnTo>
                      <a:pt x="91" y="312"/>
                    </a:lnTo>
                    <a:lnTo>
                      <a:pt x="91" y="312"/>
                    </a:lnTo>
                    <a:lnTo>
                      <a:pt x="91" y="314"/>
                    </a:lnTo>
                    <a:lnTo>
                      <a:pt x="91" y="314"/>
                    </a:lnTo>
                    <a:lnTo>
                      <a:pt x="91" y="314"/>
                    </a:lnTo>
                    <a:lnTo>
                      <a:pt x="93" y="314"/>
                    </a:lnTo>
                    <a:lnTo>
                      <a:pt x="95" y="310"/>
                    </a:lnTo>
                    <a:lnTo>
                      <a:pt x="99" y="312"/>
                    </a:lnTo>
                    <a:lnTo>
                      <a:pt x="99" y="312"/>
                    </a:lnTo>
                    <a:lnTo>
                      <a:pt x="101" y="312"/>
                    </a:lnTo>
                    <a:lnTo>
                      <a:pt x="101" y="312"/>
                    </a:lnTo>
                    <a:lnTo>
                      <a:pt x="101" y="312"/>
                    </a:lnTo>
                    <a:lnTo>
                      <a:pt x="101" y="310"/>
                    </a:lnTo>
                    <a:lnTo>
                      <a:pt x="103" y="310"/>
                    </a:lnTo>
                    <a:lnTo>
                      <a:pt x="103" y="310"/>
                    </a:lnTo>
                    <a:lnTo>
                      <a:pt x="105" y="310"/>
                    </a:lnTo>
                    <a:lnTo>
                      <a:pt x="107" y="310"/>
                    </a:lnTo>
                    <a:lnTo>
                      <a:pt x="107" y="312"/>
                    </a:lnTo>
                    <a:lnTo>
                      <a:pt x="111" y="314"/>
                    </a:lnTo>
                    <a:lnTo>
                      <a:pt x="113" y="316"/>
                    </a:lnTo>
                    <a:lnTo>
                      <a:pt x="111" y="316"/>
                    </a:lnTo>
                    <a:lnTo>
                      <a:pt x="111" y="318"/>
                    </a:lnTo>
                    <a:lnTo>
                      <a:pt x="111" y="318"/>
                    </a:lnTo>
                    <a:lnTo>
                      <a:pt x="111" y="318"/>
                    </a:lnTo>
                    <a:lnTo>
                      <a:pt x="111" y="318"/>
                    </a:lnTo>
                    <a:lnTo>
                      <a:pt x="111" y="318"/>
                    </a:lnTo>
                    <a:lnTo>
                      <a:pt x="111" y="320"/>
                    </a:lnTo>
                    <a:lnTo>
                      <a:pt x="111" y="320"/>
                    </a:lnTo>
                    <a:lnTo>
                      <a:pt x="111" y="320"/>
                    </a:lnTo>
                    <a:lnTo>
                      <a:pt x="109" y="322"/>
                    </a:lnTo>
                    <a:lnTo>
                      <a:pt x="109" y="322"/>
                    </a:lnTo>
                    <a:lnTo>
                      <a:pt x="109" y="322"/>
                    </a:lnTo>
                    <a:lnTo>
                      <a:pt x="107" y="322"/>
                    </a:lnTo>
                    <a:lnTo>
                      <a:pt x="105" y="322"/>
                    </a:lnTo>
                    <a:lnTo>
                      <a:pt x="105" y="322"/>
                    </a:lnTo>
                    <a:lnTo>
                      <a:pt x="105" y="324"/>
                    </a:lnTo>
                    <a:lnTo>
                      <a:pt x="103" y="324"/>
                    </a:lnTo>
                    <a:lnTo>
                      <a:pt x="103" y="324"/>
                    </a:lnTo>
                    <a:lnTo>
                      <a:pt x="103" y="324"/>
                    </a:lnTo>
                    <a:lnTo>
                      <a:pt x="103" y="324"/>
                    </a:lnTo>
                    <a:lnTo>
                      <a:pt x="101" y="324"/>
                    </a:lnTo>
                    <a:lnTo>
                      <a:pt x="103" y="326"/>
                    </a:lnTo>
                    <a:lnTo>
                      <a:pt x="103" y="326"/>
                    </a:lnTo>
                    <a:lnTo>
                      <a:pt x="101" y="326"/>
                    </a:lnTo>
                    <a:lnTo>
                      <a:pt x="101" y="326"/>
                    </a:lnTo>
                    <a:lnTo>
                      <a:pt x="101" y="328"/>
                    </a:lnTo>
                    <a:lnTo>
                      <a:pt x="103" y="328"/>
                    </a:lnTo>
                    <a:lnTo>
                      <a:pt x="103" y="330"/>
                    </a:lnTo>
                    <a:lnTo>
                      <a:pt x="103" y="330"/>
                    </a:lnTo>
                    <a:lnTo>
                      <a:pt x="105" y="330"/>
                    </a:lnTo>
                    <a:lnTo>
                      <a:pt x="105" y="330"/>
                    </a:lnTo>
                    <a:lnTo>
                      <a:pt x="105" y="330"/>
                    </a:lnTo>
                    <a:lnTo>
                      <a:pt x="105" y="330"/>
                    </a:lnTo>
                    <a:lnTo>
                      <a:pt x="107" y="330"/>
                    </a:lnTo>
                    <a:lnTo>
                      <a:pt x="109" y="330"/>
                    </a:lnTo>
                    <a:lnTo>
                      <a:pt x="109" y="332"/>
                    </a:lnTo>
                    <a:lnTo>
                      <a:pt x="109" y="332"/>
                    </a:lnTo>
                    <a:lnTo>
                      <a:pt x="109" y="332"/>
                    </a:lnTo>
                    <a:lnTo>
                      <a:pt x="109" y="332"/>
                    </a:lnTo>
                    <a:lnTo>
                      <a:pt x="109" y="334"/>
                    </a:lnTo>
                    <a:lnTo>
                      <a:pt x="111" y="334"/>
                    </a:lnTo>
                    <a:lnTo>
                      <a:pt x="113" y="336"/>
                    </a:lnTo>
                    <a:lnTo>
                      <a:pt x="113" y="336"/>
                    </a:lnTo>
                    <a:lnTo>
                      <a:pt x="115" y="338"/>
                    </a:lnTo>
                    <a:lnTo>
                      <a:pt x="115" y="340"/>
                    </a:lnTo>
                    <a:lnTo>
                      <a:pt x="117" y="340"/>
                    </a:lnTo>
                    <a:lnTo>
                      <a:pt x="117" y="342"/>
                    </a:lnTo>
                    <a:lnTo>
                      <a:pt x="119" y="342"/>
                    </a:lnTo>
                    <a:lnTo>
                      <a:pt x="119" y="346"/>
                    </a:lnTo>
                    <a:lnTo>
                      <a:pt x="119" y="346"/>
                    </a:lnTo>
                    <a:lnTo>
                      <a:pt x="119" y="348"/>
                    </a:lnTo>
                    <a:lnTo>
                      <a:pt x="121" y="348"/>
                    </a:lnTo>
                    <a:lnTo>
                      <a:pt x="123" y="350"/>
                    </a:lnTo>
                    <a:lnTo>
                      <a:pt x="125" y="350"/>
                    </a:lnTo>
                    <a:lnTo>
                      <a:pt x="127" y="348"/>
                    </a:lnTo>
                    <a:lnTo>
                      <a:pt x="129" y="346"/>
                    </a:lnTo>
                    <a:lnTo>
                      <a:pt x="129" y="346"/>
                    </a:lnTo>
                    <a:lnTo>
                      <a:pt x="129" y="346"/>
                    </a:lnTo>
                    <a:lnTo>
                      <a:pt x="131" y="344"/>
                    </a:lnTo>
                    <a:lnTo>
                      <a:pt x="131" y="344"/>
                    </a:lnTo>
                    <a:lnTo>
                      <a:pt x="131" y="342"/>
                    </a:lnTo>
                    <a:lnTo>
                      <a:pt x="133" y="342"/>
                    </a:lnTo>
                    <a:lnTo>
                      <a:pt x="133" y="342"/>
                    </a:lnTo>
                    <a:lnTo>
                      <a:pt x="135" y="342"/>
                    </a:lnTo>
                    <a:lnTo>
                      <a:pt x="135" y="342"/>
                    </a:lnTo>
                    <a:lnTo>
                      <a:pt x="135" y="342"/>
                    </a:lnTo>
                    <a:lnTo>
                      <a:pt x="135" y="340"/>
                    </a:lnTo>
                    <a:lnTo>
                      <a:pt x="137" y="340"/>
                    </a:lnTo>
                    <a:lnTo>
                      <a:pt x="137" y="342"/>
                    </a:lnTo>
                    <a:lnTo>
                      <a:pt x="137" y="342"/>
                    </a:lnTo>
                    <a:lnTo>
                      <a:pt x="137" y="340"/>
                    </a:lnTo>
                    <a:lnTo>
                      <a:pt x="137" y="340"/>
                    </a:lnTo>
                    <a:lnTo>
                      <a:pt x="139" y="340"/>
                    </a:lnTo>
                    <a:lnTo>
                      <a:pt x="139" y="340"/>
                    </a:lnTo>
                    <a:lnTo>
                      <a:pt x="139" y="340"/>
                    </a:lnTo>
                    <a:lnTo>
                      <a:pt x="139" y="340"/>
                    </a:lnTo>
                    <a:lnTo>
                      <a:pt x="139" y="342"/>
                    </a:lnTo>
                    <a:lnTo>
                      <a:pt x="141" y="342"/>
                    </a:lnTo>
                    <a:lnTo>
                      <a:pt x="141" y="340"/>
                    </a:lnTo>
                    <a:lnTo>
                      <a:pt x="141" y="340"/>
                    </a:lnTo>
                    <a:lnTo>
                      <a:pt x="139" y="340"/>
                    </a:lnTo>
                    <a:lnTo>
                      <a:pt x="139" y="338"/>
                    </a:lnTo>
                    <a:lnTo>
                      <a:pt x="139" y="336"/>
                    </a:lnTo>
                    <a:lnTo>
                      <a:pt x="139" y="336"/>
                    </a:lnTo>
                    <a:lnTo>
                      <a:pt x="137" y="334"/>
                    </a:lnTo>
                    <a:lnTo>
                      <a:pt x="137" y="334"/>
                    </a:lnTo>
                    <a:lnTo>
                      <a:pt x="135" y="332"/>
                    </a:lnTo>
                    <a:lnTo>
                      <a:pt x="135" y="332"/>
                    </a:lnTo>
                    <a:lnTo>
                      <a:pt x="135" y="330"/>
                    </a:lnTo>
                    <a:lnTo>
                      <a:pt x="133" y="328"/>
                    </a:lnTo>
                    <a:lnTo>
                      <a:pt x="133" y="326"/>
                    </a:lnTo>
                    <a:lnTo>
                      <a:pt x="135" y="326"/>
                    </a:lnTo>
                    <a:lnTo>
                      <a:pt x="135" y="326"/>
                    </a:lnTo>
                    <a:lnTo>
                      <a:pt x="137" y="326"/>
                    </a:lnTo>
                    <a:lnTo>
                      <a:pt x="139" y="328"/>
                    </a:lnTo>
                    <a:lnTo>
                      <a:pt x="139" y="328"/>
                    </a:lnTo>
                    <a:lnTo>
                      <a:pt x="145" y="328"/>
                    </a:lnTo>
                    <a:lnTo>
                      <a:pt x="145" y="328"/>
                    </a:lnTo>
                    <a:lnTo>
                      <a:pt x="145" y="330"/>
                    </a:lnTo>
                    <a:lnTo>
                      <a:pt x="147" y="330"/>
                    </a:lnTo>
                    <a:lnTo>
                      <a:pt x="147" y="330"/>
                    </a:lnTo>
                    <a:lnTo>
                      <a:pt x="149" y="330"/>
                    </a:lnTo>
                    <a:lnTo>
                      <a:pt x="149" y="330"/>
                    </a:lnTo>
                    <a:lnTo>
                      <a:pt x="149" y="330"/>
                    </a:lnTo>
                    <a:lnTo>
                      <a:pt x="149" y="330"/>
                    </a:lnTo>
                    <a:lnTo>
                      <a:pt x="149" y="332"/>
                    </a:lnTo>
                    <a:lnTo>
                      <a:pt x="149" y="332"/>
                    </a:lnTo>
                    <a:lnTo>
                      <a:pt x="151" y="332"/>
                    </a:lnTo>
                    <a:lnTo>
                      <a:pt x="151" y="334"/>
                    </a:lnTo>
                    <a:lnTo>
                      <a:pt x="153" y="334"/>
                    </a:lnTo>
                    <a:lnTo>
                      <a:pt x="155" y="334"/>
                    </a:lnTo>
                    <a:lnTo>
                      <a:pt x="157" y="334"/>
                    </a:lnTo>
                    <a:lnTo>
                      <a:pt x="155" y="334"/>
                    </a:lnTo>
                    <a:lnTo>
                      <a:pt x="155" y="336"/>
                    </a:lnTo>
                    <a:lnTo>
                      <a:pt x="155" y="336"/>
                    </a:lnTo>
                    <a:lnTo>
                      <a:pt x="155" y="336"/>
                    </a:lnTo>
                    <a:lnTo>
                      <a:pt x="155" y="336"/>
                    </a:lnTo>
                    <a:lnTo>
                      <a:pt x="155" y="338"/>
                    </a:lnTo>
                    <a:lnTo>
                      <a:pt x="157" y="338"/>
                    </a:lnTo>
                    <a:lnTo>
                      <a:pt x="157" y="338"/>
                    </a:lnTo>
                    <a:lnTo>
                      <a:pt x="157" y="338"/>
                    </a:lnTo>
                    <a:lnTo>
                      <a:pt x="159" y="338"/>
                    </a:lnTo>
                    <a:lnTo>
                      <a:pt x="159" y="338"/>
                    </a:lnTo>
                    <a:lnTo>
                      <a:pt x="161" y="340"/>
                    </a:lnTo>
                    <a:lnTo>
                      <a:pt x="161" y="340"/>
                    </a:lnTo>
                    <a:lnTo>
                      <a:pt x="161" y="340"/>
                    </a:lnTo>
                    <a:lnTo>
                      <a:pt x="161" y="340"/>
                    </a:lnTo>
                    <a:lnTo>
                      <a:pt x="161" y="340"/>
                    </a:lnTo>
                    <a:lnTo>
                      <a:pt x="163" y="338"/>
                    </a:lnTo>
                    <a:lnTo>
                      <a:pt x="165" y="338"/>
                    </a:lnTo>
                    <a:lnTo>
                      <a:pt x="169" y="338"/>
                    </a:lnTo>
                    <a:lnTo>
                      <a:pt x="171" y="338"/>
                    </a:lnTo>
                    <a:lnTo>
                      <a:pt x="171" y="338"/>
                    </a:lnTo>
                    <a:lnTo>
                      <a:pt x="173" y="336"/>
                    </a:lnTo>
                    <a:lnTo>
                      <a:pt x="173" y="334"/>
                    </a:lnTo>
                    <a:lnTo>
                      <a:pt x="173" y="334"/>
                    </a:lnTo>
                    <a:lnTo>
                      <a:pt x="173" y="334"/>
                    </a:lnTo>
                    <a:lnTo>
                      <a:pt x="175" y="334"/>
                    </a:lnTo>
                    <a:lnTo>
                      <a:pt x="175" y="334"/>
                    </a:lnTo>
                    <a:lnTo>
                      <a:pt x="175" y="336"/>
                    </a:lnTo>
                    <a:lnTo>
                      <a:pt x="175" y="336"/>
                    </a:lnTo>
                    <a:lnTo>
                      <a:pt x="175" y="336"/>
                    </a:lnTo>
                    <a:lnTo>
                      <a:pt x="175" y="336"/>
                    </a:lnTo>
                    <a:lnTo>
                      <a:pt x="175" y="336"/>
                    </a:lnTo>
                    <a:lnTo>
                      <a:pt x="175" y="338"/>
                    </a:lnTo>
                    <a:lnTo>
                      <a:pt x="175" y="338"/>
                    </a:lnTo>
                    <a:lnTo>
                      <a:pt x="175" y="340"/>
                    </a:lnTo>
                    <a:lnTo>
                      <a:pt x="175" y="340"/>
                    </a:lnTo>
                    <a:lnTo>
                      <a:pt x="175" y="340"/>
                    </a:lnTo>
                    <a:lnTo>
                      <a:pt x="175" y="342"/>
                    </a:lnTo>
                    <a:lnTo>
                      <a:pt x="175" y="342"/>
                    </a:lnTo>
                    <a:lnTo>
                      <a:pt x="173" y="344"/>
                    </a:lnTo>
                    <a:lnTo>
                      <a:pt x="171" y="344"/>
                    </a:lnTo>
                    <a:lnTo>
                      <a:pt x="169" y="344"/>
                    </a:lnTo>
                    <a:lnTo>
                      <a:pt x="169" y="344"/>
                    </a:lnTo>
                    <a:lnTo>
                      <a:pt x="169" y="346"/>
                    </a:lnTo>
                    <a:lnTo>
                      <a:pt x="169" y="346"/>
                    </a:lnTo>
                    <a:lnTo>
                      <a:pt x="171" y="348"/>
                    </a:lnTo>
                    <a:lnTo>
                      <a:pt x="171" y="350"/>
                    </a:lnTo>
                    <a:lnTo>
                      <a:pt x="171" y="350"/>
                    </a:lnTo>
                    <a:lnTo>
                      <a:pt x="173" y="348"/>
                    </a:lnTo>
                    <a:lnTo>
                      <a:pt x="173" y="348"/>
                    </a:lnTo>
                    <a:lnTo>
                      <a:pt x="173" y="348"/>
                    </a:lnTo>
                    <a:lnTo>
                      <a:pt x="175" y="350"/>
                    </a:lnTo>
                    <a:lnTo>
                      <a:pt x="175" y="350"/>
                    </a:lnTo>
                    <a:lnTo>
                      <a:pt x="175" y="350"/>
                    </a:lnTo>
                    <a:lnTo>
                      <a:pt x="175" y="350"/>
                    </a:lnTo>
                    <a:lnTo>
                      <a:pt x="175" y="350"/>
                    </a:lnTo>
                    <a:lnTo>
                      <a:pt x="175" y="350"/>
                    </a:lnTo>
                    <a:lnTo>
                      <a:pt x="175" y="352"/>
                    </a:lnTo>
                    <a:lnTo>
                      <a:pt x="175" y="352"/>
                    </a:lnTo>
                    <a:lnTo>
                      <a:pt x="175" y="352"/>
                    </a:lnTo>
                    <a:lnTo>
                      <a:pt x="177" y="354"/>
                    </a:lnTo>
                    <a:lnTo>
                      <a:pt x="177" y="354"/>
                    </a:lnTo>
                    <a:lnTo>
                      <a:pt x="177" y="356"/>
                    </a:lnTo>
                    <a:lnTo>
                      <a:pt x="181" y="358"/>
                    </a:lnTo>
                    <a:lnTo>
                      <a:pt x="183" y="358"/>
                    </a:lnTo>
                    <a:lnTo>
                      <a:pt x="183" y="358"/>
                    </a:lnTo>
                    <a:lnTo>
                      <a:pt x="185" y="356"/>
                    </a:lnTo>
                    <a:lnTo>
                      <a:pt x="185" y="356"/>
                    </a:lnTo>
                    <a:lnTo>
                      <a:pt x="189" y="356"/>
                    </a:lnTo>
                    <a:lnTo>
                      <a:pt x="189" y="356"/>
                    </a:lnTo>
                    <a:lnTo>
                      <a:pt x="189" y="356"/>
                    </a:lnTo>
                    <a:lnTo>
                      <a:pt x="189" y="354"/>
                    </a:lnTo>
                    <a:lnTo>
                      <a:pt x="189" y="354"/>
                    </a:lnTo>
                    <a:lnTo>
                      <a:pt x="189" y="354"/>
                    </a:lnTo>
                    <a:lnTo>
                      <a:pt x="189" y="354"/>
                    </a:lnTo>
                    <a:lnTo>
                      <a:pt x="189" y="354"/>
                    </a:lnTo>
                    <a:lnTo>
                      <a:pt x="189" y="352"/>
                    </a:lnTo>
                    <a:lnTo>
                      <a:pt x="189" y="354"/>
                    </a:lnTo>
                    <a:lnTo>
                      <a:pt x="189" y="354"/>
                    </a:lnTo>
                    <a:lnTo>
                      <a:pt x="193" y="354"/>
                    </a:lnTo>
                    <a:lnTo>
                      <a:pt x="193" y="356"/>
                    </a:lnTo>
                    <a:lnTo>
                      <a:pt x="193" y="358"/>
                    </a:lnTo>
                    <a:lnTo>
                      <a:pt x="195" y="358"/>
                    </a:lnTo>
                    <a:lnTo>
                      <a:pt x="197" y="358"/>
                    </a:lnTo>
                    <a:lnTo>
                      <a:pt x="199" y="360"/>
                    </a:lnTo>
                    <a:lnTo>
                      <a:pt x="199" y="360"/>
                    </a:lnTo>
                    <a:lnTo>
                      <a:pt x="199" y="360"/>
                    </a:lnTo>
                    <a:lnTo>
                      <a:pt x="201" y="360"/>
                    </a:lnTo>
                    <a:lnTo>
                      <a:pt x="201" y="360"/>
                    </a:lnTo>
                    <a:lnTo>
                      <a:pt x="201" y="362"/>
                    </a:lnTo>
                    <a:lnTo>
                      <a:pt x="201" y="362"/>
                    </a:lnTo>
                    <a:lnTo>
                      <a:pt x="203" y="362"/>
                    </a:lnTo>
                    <a:lnTo>
                      <a:pt x="203" y="362"/>
                    </a:lnTo>
                    <a:lnTo>
                      <a:pt x="205" y="362"/>
                    </a:lnTo>
                    <a:lnTo>
                      <a:pt x="203" y="362"/>
                    </a:lnTo>
                    <a:lnTo>
                      <a:pt x="205" y="362"/>
                    </a:lnTo>
                    <a:lnTo>
                      <a:pt x="207" y="362"/>
                    </a:lnTo>
                    <a:lnTo>
                      <a:pt x="211" y="364"/>
                    </a:lnTo>
                    <a:lnTo>
                      <a:pt x="213" y="364"/>
                    </a:lnTo>
                    <a:lnTo>
                      <a:pt x="215" y="362"/>
                    </a:lnTo>
                    <a:lnTo>
                      <a:pt x="215" y="362"/>
                    </a:lnTo>
                    <a:lnTo>
                      <a:pt x="215" y="364"/>
                    </a:lnTo>
                    <a:lnTo>
                      <a:pt x="215" y="364"/>
                    </a:lnTo>
                    <a:lnTo>
                      <a:pt x="215" y="366"/>
                    </a:lnTo>
                    <a:lnTo>
                      <a:pt x="217" y="366"/>
                    </a:lnTo>
                    <a:lnTo>
                      <a:pt x="215" y="368"/>
                    </a:lnTo>
                    <a:lnTo>
                      <a:pt x="215" y="370"/>
                    </a:lnTo>
                    <a:lnTo>
                      <a:pt x="217" y="372"/>
                    </a:lnTo>
                    <a:lnTo>
                      <a:pt x="217" y="374"/>
                    </a:lnTo>
                    <a:lnTo>
                      <a:pt x="217" y="376"/>
                    </a:lnTo>
                    <a:lnTo>
                      <a:pt x="219" y="376"/>
                    </a:lnTo>
                    <a:lnTo>
                      <a:pt x="219" y="376"/>
                    </a:lnTo>
                    <a:lnTo>
                      <a:pt x="221" y="378"/>
                    </a:lnTo>
                    <a:lnTo>
                      <a:pt x="221" y="378"/>
                    </a:lnTo>
                    <a:lnTo>
                      <a:pt x="221" y="378"/>
                    </a:lnTo>
                    <a:lnTo>
                      <a:pt x="223" y="378"/>
                    </a:lnTo>
                    <a:lnTo>
                      <a:pt x="223" y="380"/>
                    </a:lnTo>
                    <a:lnTo>
                      <a:pt x="223" y="380"/>
                    </a:lnTo>
                    <a:lnTo>
                      <a:pt x="225" y="378"/>
                    </a:lnTo>
                    <a:lnTo>
                      <a:pt x="225" y="378"/>
                    </a:lnTo>
                    <a:lnTo>
                      <a:pt x="225" y="380"/>
                    </a:lnTo>
                    <a:lnTo>
                      <a:pt x="227" y="380"/>
                    </a:lnTo>
                    <a:lnTo>
                      <a:pt x="227" y="382"/>
                    </a:lnTo>
                    <a:lnTo>
                      <a:pt x="227" y="382"/>
                    </a:lnTo>
                    <a:lnTo>
                      <a:pt x="227" y="384"/>
                    </a:lnTo>
                    <a:lnTo>
                      <a:pt x="227" y="384"/>
                    </a:lnTo>
                    <a:lnTo>
                      <a:pt x="229" y="388"/>
                    </a:lnTo>
                    <a:lnTo>
                      <a:pt x="229" y="390"/>
                    </a:lnTo>
                    <a:lnTo>
                      <a:pt x="229" y="390"/>
                    </a:lnTo>
                    <a:lnTo>
                      <a:pt x="233" y="390"/>
                    </a:lnTo>
                    <a:lnTo>
                      <a:pt x="235" y="392"/>
                    </a:lnTo>
                    <a:lnTo>
                      <a:pt x="233" y="392"/>
                    </a:lnTo>
                    <a:lnTo>
                      <a:pt x="233" y="394"/>
                    </a:lnTo>
                    <a:lnTo>
                      <a:pt x="235" y="394"/>
                    </a:lnTo>
                    <a:lnTo>
                      <a:pt x="235" y="396"/>
                    </a:lnTo>
                    <a:lnTo>
                      <a:pt x="235" y="398"/>
                    </a:lnTo>
                    <a:lnTo>
                      <a:pt x="235" y="398"/>
                    </a:lnTo>
                    <a:lnTo>
                      <a:pt x="235" y="398"/>
                    </a:lnTo>
                    <a:lnTo>
                      <a:pt x="237" y="398"/>
                    </a:lnTo>
                    <a:lnTo>
                      <a:pt x="239" y="398"/>
                    </a:lnTo>
                    <a:lnTo>
                      <a:pt x="239" y="398"/>
                    </a:lnTo>
                    <a:lnTo>
                      <a:pt x="239" y="398"/>
                    </a:lnTo>
                    <a:lnTo>
                      <a:pt x="241" y="398"/>
                    </a:lnTo>
                    <a:lnTo>
                      <a:pt x="241" y="398"/>
                    </a:lnTo>
                    <a:lnTo>
                      <a:pt x="241" y="398"/>
                    </a:lnTo>
                    <a:lnTo>
                      <a:pt x="243" y="398"/>
                    </a:lnTo>
                    <a:lnTo>
                      <a:pt x="245" y="398"/>
                    </a:lnTo>
                    <a:lnTo>
                      <a:pt x="245" y="396"/>
                    </a:lnTo>
                    <a:lnTo>
                      <a:pt x="245" y="396"/>
                    </a:lnTo>
                    <a:lnTo>
                      <a:pt x="245" y="394"/>
                    </a:lnTo>
                    <a:lnTo>
                      <a:pt x="245" y="394"/>
                    </a:lnTo>
                    <a:lnTo>
                      <a:pt x="245" y="394"/>
                    </a:lnTo>
                    <a:lnTo>
                      <a:pt x="247" y="394"/>
                    </a:lnTo>
                    <a:lnTo>
                      <a:pt x="247" y="394"/>
                    </a:lnTo>
                    <a:lnTo>
                      <a:pt x="247" y="394"/>
                    </a:lnTo>
                    <a:lnTo>
                      <a:pt x="245" y="394"/>
                    </a:lnTo>
                    <a:lnTo>
                      <a:pt x="247" y="392"/>
                    </a:lnTo>
                    <a:lnTo>
                      <a:pt x="247" y="390"/>
                    </a:lnTo>
                    <a:lnTo>
                      <a:pt x="249" y="390"/>
                    </a:lnTo>
                    <a:lnTo>
                      <a:pt x="249" y="390"/>
                    </a:lnTo>
                    <a:lnTo>
                      <a:pt x="249" y="390"/>
                    </a:lnTo>
                    <a:lnTo>
                      <a:pt x="251" y="390"/>
                    </a:lnTo>
                    <a:lnTo>
                      <a:pt x="251" y="390"/>
                    </a:lnTo>
                    <a:lnTo>
                      <a:pt x="253" y="388"/>
                    </a:lnTo>
                    <a:lnTo>
                      <a:pt x="253" y="388"/>
                    </a:lnTo>
                    <a:lnTo>
                      <a:pt x="257" y="384"/>
                    </a:lnTo>
                    <a:lnTo>
                      <a:pt x="257" y="384"/>
                    </a:lnTo>
                    <a:lnTo>
                      <a:pt x="257" y="384"/>
                    </a:lnTo>
                    <a:lnTo>
                      <a:pt x="257" y="384"/>
                    </a:lnTo>
                    <a:lnTo>
                      <a:pt x="259" y="384"/>
                    </a:lnTo>
                    <a:lnTo>
                      <a:pt x="259" y="386"/>
                    </a:lnTo>
                    <a:lnTo>
                      <a:pt x="259" y="386"/>
                    </a:lnTo>
                    <a:lnTo>
                      <a:pt x="261" y="386"/>
                    </a:lnTo>
                    <a:lnTo>
                      <a:pt x="261" y="388"/>
                    </a:lnTo>
                    <a:lnTo>
                      <a:pt x="261" y="392"/>
                    </a:lnTo>
                    <a:lnTo>
                      <a:pt x="263" y="394"/>
                    </a:lnTo>
                    <a:lnTo>
                      <a:pt x="263" y="394"/>
                    </a:lnTo>
                    <a:lnTo>
                      <a:pt x="263" y="394"/>
                    </a:lnTo>
                    <a:lnTo>
                      <a:pt x="265" y="394"/>
                    </a:lnTo>
                    <a:lnTo>
                      <a:pt x="267" y="394"/>
                    </a:lnTo>
                    <a:lnTo>
                      <a:pt x="267" y="396"/>
                    </a:lnTo>
                    <a:lnTo>
                      <a:pt x="267" y="396"/>
                    </a:lnTo>
                    <a:lnTo>
                      <a:pt x="267" y="396"/>
                    </a:lnTo>
                    <a:lnTo>
                      <a:pt x="267" y="398"/>
                    </a:lnTo>
                    <a:lnTo>
                      <a:pt x="269" y="398"/>
                    </a:lnTo>
                    <a:lnTo>
                      <a:pt x="271" y="398"/>
                    </a:lnTo>
                    <a:lnTo>
                      <a:pt x="271" y="398"/>
                    </a:lnTo>
                    <a:lnTo>
                      <a:pt x="273" y="398"/>
                    </a:lnTo>
                    <a:lnTo>
                      <a:pt x="273" y="398"/>
                    </a:lnTo>
                    <a:lnTo>
                      <a:pt x="273" y="400"/>
                    </a:lnTo>
                    <a:lnTo>
                      <a:pt x="273" y="400"/>
                    </a:lnTo>
                    <a:lnTo>
                      <a:pt x="275" y="404"/>
                    </a:lnTo>
                    <a:lnTo>
                      <a:pt x="275" y="404"/>
                    </a:lnTo>
                    <a:lnTo>
                      <a:pt x="273" y="404"/>
                    </a:lnTo>
                    <a:lnTo>
                      <a:pt x="273" y="404"/>
                    </a:lnTo>
                    <a:lnTo>
                      <a:pt x="273" y="406"/>
                    </a:lnTo>
                    <a:lnTo>
                      <a:pt x="273" y="406"/>
                    </a:lnTo>
                    <a:lnTo>
                      <a:pt x="275" y="406"/>
                    </a:lnTo>
                    <a:lnTo>
                      <a:pt x="275" y="406"/>
                    </a:lnTo>
                    <a:lnTo>
                      <a:pt x="275" y="406"/>
                    </a:lnTo>
                    <a:lnTo>
                      <a:pt x="275" y="406"/>
                    </a:lnTo>
                    <a:lnTo>
                      <a:pt x="275" y="408"/>
                    </a:lnTo>
                    <a:lnTo>
                      <a:pt x="275" y="408"/>
                    </a:lnTo>
                    <a:lnTo>
                      <a:pt x="275" y="408"/>
                    </a:lnTo>
                    <a:lnTo>
                      <a:pt x="273" y="410"/>
                    </a:lnTo>
                    <a:lnTo>
                      <a:pt x="273" y="412"/>
                    </a:lnTo>
                    <a:lnTo>
                      <a:pt x="273" y="412"/>
                    </a:lnTo>
                    <a:lnTo>
                      <a:pt x="273" y="412"/>
                    </a:lnTo>
                    <a:lnTo>
                      <a:pt x="277" y="412"/>
                    </a:lnTo>
                    <a:lnTo>
                      <a:pt x="277" y="412"/>
                    </a:lnTo>
                    <a:lnTo>
                      <a:pt x="277" y="412"/>
                    </a:lnTo>
                    <a:lnTo>
                      <a:pt x="279" y="410"/>
                    </a:lnTo>
                    <a:lnTo>
                      <a:pt x="279" y="410"/>
                    </a:lnTo>
                    <a:lnTo>
                      <a:pt x="281" y="410"/>
                    </a:lnTo>
                    <a:lnTo>
                      <a:pt x="283" y="410"/>
                    </a:lnTo>
                    <a:lnTo>
                      <a:pt x="285" y="412"/>
                    </a:lnTo>
                    <a:lnTo>
                      <a:pt x="287" y="414"/>
                    </a:lnTo>
                    <a:lnTo>
                      <a:pt x="287" y="412"/>
                    </a:lnTo>
                    <a:lnTo>
                      <a:pt x="289" y="410"/>
                    </a:lnTo>
                    <a:lnTo>
                      <a:pt x="289" y="408"/>
                    </a:lnTo>
                    <a:lnTo>
                      <a:pt x="289" y="408"/>
                    </a:lnTo>
                    <a:lnTo>
                      <a:pt x="289" y="408"/>
                    </a:lnTo>
                    <a:lnTo>
                      <a:pt x="289" y="406"/>
                    </a:lnTo>
                    <a:lnTo>
                      <a:pt x="291" y="404"/>
                    </a:lnTo>
                    <a:lnTo>
                      <a:pt x="291" y="404"/>
                    </a:lnTo>
                    <a:lnTo>
                      <a:pt x="293" y="404"/>
                    </a:lnTo>
                    <a:lnTo>
                      <a:pt x="293" y="404"/>
                    </a:lnTo>
                    <a:lnTo>
                      <a:pt x="293" y="402"/>
                    </a:lnTo>
                    <a:lnTo>
                      <a:pt x="295" y="402"/>
                    </a:lnTo>
                    <a:lnTo>
                      <a:pt x="297" y="402"/>
                    </a:lnTo>
                    <a:lnTo>
                      <a:pt x="299" y="402"/>
                    </a:lnTo>
                    <a:lnTo>
                      <a:pt x="299" y="400"/>
                    </a:lnTo>
                    <a:lnTo>
                      <a:pt x="299" y="400"/>
                    </a:lnTo>
                    <a:lnTo>
                      <a:pt x="299" y="398"/>
                    </a:lnTo>
                    <a:lnTo>
                      <a:pt x="299" y="398"/>
                    </a:lnTo>
                    <a:lnTo>
                      <a:pt x="299" y="398"/>
                    </a:lnTo>
                    <a:lnTo>
                      <a:pt x="299" y="398"/>
                    </a:lnTo>
                    <a:lnTo>
                      <a:pt x="303" y="398"/>
                    </a:lnTo>
                    <a:lnTo>
                      <a:pt x="305" y="398"/>
                    </a:lnTo>
                    <a:lnTo>
                      <a:pt x="305" y="398"/>
                    </a:lnTo>
                    <a:lnTo>
                      <a:pt x="305" y="398"/>
                    </a:lnTo>
                    <a:lnTo>
                      <a:pt x="309" y="400"/>
                    </a:lnTo>
                    <a:lnTo>
                      <a:pt x="311" y="400"/>
                    </a:lnTo>
                    <a:lnTo>
                      <a:pt x="311" y="400"/>
                    </a:lnTo>
                    <a:lnTo>
                      <a:pt x="313" y="398"/>
                    </a:lnTo>
                    <a:lnTo>
                      <a:pt x="313" y="398"/>
                    </a:lnTo>
                    <a:lnTo>
                      <a:pt x="313" y="398"/>
                    </a:lnTo>
                    <a:lnTo>
                      <a:pt x="313" y="398"/>
                    </a:lnTo>
                    <a:lnTo>
                      <a:pt x="315" y="398"/>
                    </a:lnTo>
                    <a:lnTo>
                      <a:pt x="317" y="398"/>
                    </a:lnTo>
                    <a:lnTo>
                      <a:pt x="317" y="398"/>
                    </a:lnTo>
                    <a:lnTo>
                      <a:pt x="321" y="402"/>
                    </a:lnTo>
                    <a:lnTo>
                      <a:pt x="323" y="402"/>
                    </a:lnTo>
                    <a:lnTo>
                      <a:pt x="323" y="404"/>
                    </a:lnTo>
                    <a:lnTo>
                      <a:pt x="325" y="404"/>
                    </a:lnTo>
                    <a:lnTo>
                      <a:pt x="325" y="404"/>
                    </a:lnTo>
                    <a:lnTo>
                      <a:pt x="327" y="404"/>
                    </a:lnTo>
                    <a:lnTo>
                      <a:pt x="327" y="404"/>
                    </a:lnTo>
                    <a:lnTo>
                      <a:pt x="327" y="406"/>
                    </a:lnTo>
                    <a:lnTo>
                      <a:pt x="329" y="406"/>
                    </a:lnTo>
                    <a:lnTo>
                      <a:pt x="329" y="404"/>
                    </a:lnTo>
                    <a:lnTo>
                      <a:pt x="331" y="404"/>
                    </a:lnTo>
                    <a:lnTo>
                      <a:pt x="333" y="402"/>
                    </a:lnTo>
                    <a:lnTo>
                      <a:pt x="333" y="400"/>
                    </a:lnTo>
                    <a:lnTo>
                      <a:pt x="333" y="400"/>
                    </a:lnTo>
                    <a:lnTo>
                      <a:pt x="335" y="400"/>
                    </a:lnTo>
                    <a:lnTo>
                      <a:pt x="335" y="400"/>
                    </a:lnTo>
                    <a:lnTo>
                      <a:pt x="337" y="400"/>
                    </a:lnTo>
                    <a:lnTo>
                      <a:pt x="335" y="398"/>
                    </a:lnTo>
                    <a:lnTo>
                      <a:pt x="335" y="398"/>
                    </a:lnTo>
                    <a:lnTo>
                      <a:pt x="333" y="398"/>
                    </a:lnTo>
                    <a:lnTo>
                      <a:pt x="335" y="396"/>
                    </a:lnTo>
                    <a:lnTo>
                      <a:pt x="335" y="396"/>
                    </a:lnTo>
                    <a:lnTo>
                      <a:pt x="337" y="396"/>
                    </a:lnTo>
                    <a:lnTo>
                      <a:pt x="339" y="396"/>
                    </a:lnTo>
                    <a:lnTo>
                      <a:pt x="339" y="396"/>
                    </a:lnTo>
                    <a:lnTo>
                      <a:pt x="341" y="398"/>
                    </a:lnTo>
                    <a:lnTo>
                      <a:pt x="341" y="398"/>
                    </a:lnTo>
                    <a:lnTo>
                      <a:pt x="341" y="398"/>
                    </a:lnTo>
                    <a:lnTo>
                      <a:pt x="343" y="396"/>
                    </a:lnTo>
                    <a:lnTo>
                      <a:pt x="345" y="394"/>
                    </a:lnTo>
                    <a:lnTo>
                      <a:pt x="345" y="394"/>
                    </a:lnTo>
                    <a:lnTo>
                      <a:pt x="345" y="394"/>
                    </a:lnTo>
                    <a:lnTo>
                      <a:pt x="349" y="396"/>
                    </a:lnTo>
                    <a:lnTo>
                      <a:pt x="353" y="396"/>
                    </a:lnTo>
                    <a:lnTo>
                      <a:pt x="353" y="396"/>
                    </a:lnTo>
                    <a:lnTo>
                      <a:pt x="355" y="396"/>
                    </a:lnTo>
                    <a:lnTo>
                      <a:pt x="357" y="396"/>
                    </a:lnTo>
                    <a:lnTo>
                      <a:pt x="357" y="396"/>
                    </a:lnTo>
                    <a:lnTo>
                      <a:pt x="357" y="396"/>
                    </a:lnTo>
                    <a:lnTo>
                      <a:pt x="361" y="396"/>
                    </a:lnTo>
                    <a:lnTo>
                      <a:pt x="363" y="396"/>
                    </a:lnTo>
                    <a:lnTo>
                      <a:pt x="363" y="396"/>
                    </a:lnTo>
                    <a:lnTo>
                      <a:pt x="363" y="398"/>
                    </a:lnTo>
                    <a:lnTo>
                      <a:pt x="365" y="398"/>
                    </a:lnTo>
                    <a:lnTo>
                      <a:pt x="365" y="398"/>
                    </a:lnTo>
                    <a:lnTo>
                      <a:pt x="365" y="398"/>
                    </a:lnTo>
                    <a:lnTo>
                      <a:pt x="365" y="398"/>
                    </a:lnTo>
                    <a:lnTo>
                      <a:pt x="367" y="398"/>
                    </a:lnTo>
                    <a:lnTo>
                      <a:pt x="369" y="400"/>
                    </a:lnTo>
                    <a:lnTo>
                      <a:pt x="369" y="402"/>
                    </a:lnTo>
                    <a:lnTo>
                      <a:pt x="369" y="400"/>
                    </a:lnTo>
                    <a:lnTo>
                      <a:pt x="371" y="400"/>
                    </a:lnTo>
                    <a:lnTo>
                      <a:pt x="371" y="400"/>
                    </a:lnTo>
                    <a:lnTo>
                      <a:pt x="371" y="400"/>
                    </a:lnTo>
                    <a:lnTo>
                      <a:pt x="373" y="400"/>
                    </a:lnTo>
                    <a:lnTo>
                      <a:pt x="375" y="402"/>
                    </a:lnTo>
                    <a:lnTo>
                      <a:pt x="377" y="402"/>
                    </a:lnTo>
                    <a:lnTo>
                      <a:pt x="379" y="404"/>
                    </a:lnTo>
                    <a:lnTo>
                      <a:pt x="381" y="406"/>
                    </a:lnTo>
                    <a:lnTo>
                      <a:pt x="381" y="408"/>
                    </a:lnTo>
                    <a:lnTo>
                      <a:pt x="381" y="410"/>
                    </a:lnTo>
                    <a:lnTo>
                      <a:pt x="383" y="412"/>
                    </a:lnTo>
                    <a:lnTo>
                      <a:pt x="385" y="412"/>
                    </a:lnTo>
                    <a:lnTo>
                      <a:pt x="387" y="414"/>
                    </a:lnTo>
                    <a:lnTo>
                      <a:pt x="387" y="414"/>
                    </a:lnTo>
                    <a:lnTo>
                      <a:pt x="389" y="414"/>
                    </a:lnTo>
                    <a:lnTo>
                      <a:pt x="389" y="414"/>
                    </a:lnTo>
                    <a:lnTo>
                      <a:pt x="391" y="414"/>
                    </a:lnTo>
                    <a:lnTo>
                      <a:pt x="391" y="414"/>
                    </a:lnTo>
                    <a:lnTo>
                      <a:pt x="391" y="414"/>
                    </a:lnTo>
                    <a:lnTo>
                      <a:pt x="391" y="414"/>
                    </a:lnTo>
                    <a:lnTo>
                      <a:pt x="391" y="416"/>
                    </a:lnTo>
                    <a:lnTo>
                      <a:pt x="391" y="416"/>
                    </a:lnTo>
                    <a:lnTo>
                      <a:pt x="393" y="416"/>
                    </a:lnTo>
                    <a:lnTo>
                      <a:pt x="395" y="416"/>
                    </a:lnTo>
                    <a:lnTo>
                      <a:pt x="397" y="416"/>
                    </a:lnTo>
                    <a:lnTo>
                      <a:pt x="399" y="418"/>
                    </a:lnTo>
                    <a:lnTo>
                      <a:pt x="401" y="420"/>
                    </a:lnTo>
                    <a:lnTo>
                      <a:pt x="405" y="420"/>
                    </a:lnTo>
                    <a:lnTo>
                      <a:pt x="407" y="420"/>
                    </a:lnTo>
                    <a:lnTo>
                      <a:pt x="407" y="420"/>
                    </a:lnTo>
                    <a:lnTo>
                      <a:pt x="409" y="420"/>
                    </a:lnTo>
                    <a:lnTo>
                      <a:pt x="411" y="422"/>
                    </a:lnTo>
                    <a:lnTo>
                      <a:pt x="411" y="422"/>
                    </a:lnTo>
                    <a:lnTo>
                      <a:pt x="413" y="422"/>
                    </a:lnTo>
                    <a:lnTo>
                      <a:pt x="413" y="422"/>
                    </a:lnTo>
                    <a:lnTo>
                      <a:pt x="415" y="422"/>
                    </a:lnTo>
                    <a:lnTo>
                      <a:pt x="417" y="422"/>
                    </a:lnTo>
                    <a:lnTo>
                      <a:pt x="417" y="422"/>
                    </a:lnTo>
                    <a:lnTo>
                      <a:pt x="417" y="422"/>
                    </a:lnTo>
                    <a:lnTo>
                      <a:pt x="419" y="424"/>
                    </a:lnTo>
                    <a:lnTo>
                      <a:pt x="419" y="424"/>
                    </a:lnTo>
                    <a:lnTo>
                      <a:pt x="419" y="424"/>
                    </a:lnTo>
                    <a:lnTo>
                      <a:pt x="421" y="426"/>
                    </a:lnTo>
                    <a:lnTo>
                      <a:pt x="421" y="426"/>
                    </a:lnTo>
                    <a:lnTo>
                      <a:pt x="423" y="424"/>
                    </a:lnTo>
                    <a:lnTo>
                      <a:pt x="423" y="424"/>
                    </a:lnTo>
                    <a:lnTo>
                      <a:pt x="421" y="422"/>
                    </a:lnTo>
                    <a:lnTo>
                      <a:pt x="421" y="422"/>
                    </a:lnTo>
                    <a:lnTo>
                      <a:pt x="421" y="422"/>
                    </a:lnTo>
                    <a:lnTo>
                      <a:pt x="421" y="420"/>
                    </a:lnTo>
                    <a:lnTo>
                      <a:pt x="421" y="420"/>
                    </a:lnTo>
                    <a:lnTo>
                      <a:pt x="421" y="418"/>
                    </a:lnTo>
                    <a:lnTo>
                      <a:pt x="419" y="418"/>
                    </a:lnTo>
                    <a:lnTo>
                      <a:pt x="417" y="416"/>
                    </a:lnTo>
                    <a:lnTo>
                      <a:pt x="417" y="416"/>
                    </a:lnTo>
                    <a:lnTo>
                      <a:pt x="415" y="414"/>
                    </a:lnTo>
                    <a:lnTo>
                      <a:pt x="415" y="414"/>
                    </a:lnTo>
                    <a:lnTo>
                      <a:pt x="415" y="414"/>
                    </a:lnTo>
                    <a:lnTo>
                      <a:pt x="413" y="414"/>
                    </a:lnTo>
                    <a:lnTo>
                      <a:pt x="413" y="414"/>
                    </a:lnTo>
                    <a:lnTo>
                      <a:pt x="413" y="414"/>
                    </a:lnTo>
                    <a:lnTo>
                      <a:pt x="415" y="412"/>
                    </a:lnTo>
                    <a:lnTo>
                      <a:pt x="415" y="410"/>
                    </a:lnTo>
                    <a:lnTo>
                      <a:pt x="415" y="408"/>
                    </a:lnTo>
                    <a:lnTo>
                      <a:pt x="417" y="406"/>
                    </a:lnTo>
                    <a:lnTo>
                      <a:pt x="415" y="400"/>
                    </a:lnTo>
                    <a:lnTo>
                      <a:pt x="415" y="398"/>
                    </a:lnTo>
                    <a:lnTo>
                      <a:pt x="415" y="398"/>
                    </a:lnTo>
                    <a:lnTo>
                      <a:pt x="415" y="398"/>
                    </a:lnTo>
                    <a:lnTo>
                      <a:pt x="413" y="396"/>
                    </a:lnTo>
                    <a:lnTo>
                      <a:pt x="413" y="396"/>
                    </a:lnTo>
                    <a:lnTo>
                      <a:pt x="413" y="396"/>
                    </a:lnTo>
                    <a:lnTo>
                      <a:pt x="413" y="392"/>
                    </a:lnTo>
                    <a:lnTo>
                      <a:pt x="413" y="392"/>
                    </a:lnTo>
                    <a:lnTo>
                      <a:pt x="411" y="388"/>
                    </a:lnTo>
                    <a:lnTo>
                      <a:pt x="413" y="386"/>
                    </a:lnTo>
                    <a:lnTo>
                      <a:pt x="417" y="382"/>
                    </a:lnTo>
                    <a:lnTo>
                      <a:pt x="417" y="380"/>
                    </a:lnTo>
                    <a:lnTo>
                      <a:pt x="417" y="378"/>
                    </a:lnTo>
                    <a:lnTo>
                      <a:pt x="417" y="378"/>
                    </a:lnTo>
                    <a:lnTo>
                      <a:pt x="419" y="378"/>
                    </a:lnTo>
                    <a:lnTo>
                      <a:pt x="419" y="378"/>
                    </a:lnTo>
                    <a:lnTo>
                      <a:pt x="421" y="378"/>
                    </a:lnTo>
                    <a:lnTo>
                      <a:pt x="423" y="372"/>
                    </a:lnTo>
                    <a:lnTo>
                      <a:pt x="423" y="372"/>
                    </a:lnTo>
                    <a:lnTo>
                      <a:pt x="425" y="372"/>
                    </a:lnTo>
                    <a:lnTo>
                      <a:pt x="425" y="372"/>
                    </a:lnTo>
                    <a:lnTo>
                      <a:pt x="425" y="370"/>
                    </a:lnTo>
                    <a:lnTo>
                      <a:pt x="425" y="370"/>
                    </a:lnTo>
                    <a:lnTo>
                      <a:pt x="427" y="368"/>
                    </a:lnTo>
                    <a:lnTo>
                      <a:pt x="427" y="368"/>
                    </a:lnTo>
                    <a:lnTo>
                      <a:pt x="429" y="366"/>
                    </a:lnTo>
                    <a:lnTo>
                      <a:pt x="433" y="360"/>
                    </a:lnTo>
                    <a:lnTo>
                      <a:pt x="435" y="358"/>
                    </a:lnTo>
                    <a:lnTo>
                      <a:pt x="437" y="356"/>
                    </a:lnTo>
                    <a:lnTo>
                      <a:pt x="439" y="354"/>
                    </a:lnTo>
                    <a:lnTo>
                      <a:pt x="449" y="342"/>
                    </a:lnTo>
                    <a:lnTo>
                      <a:pt x="451" y="340"/>
                    </a:lnTo>
                    <a:lnTo>
                      <a:pt x="455" y="340"/>
                    </a:lnTo>
                    <a:lnTo>
                      <a:pt x="455" y="340"/>
                    </a:lnTo>
                    <a:lnTo>
                      <a:pt x="455" y="338"/>
                    </a:lnTo>
                    <a:lnTo>
                      <a:pt x="459" y="334"/>
                    </a:lnTo>
                    <a:lnTo>
                      <a:pt x="461" y="334"/>
                    </a:lnTo>
                    <a:lnTo>
                      <a:pt x="461" y="332"/>
                    </a:lnTo>
                    <a:lnTo>
                      <a:pt x="461" y="330"/>
                    </a:lnTo>
                    <a:lnTo>
                      <a:pt x="463" y="330"/>
                    </a:lnTo>
                    <a:lnTo>
                      <a:pt x="463" y="330"/>
                    </a:lnTo>
                    <a:lnTo>
                      <a:pt x="465" y="328"/>
                    </a:lnTo>
                    <a:lnTo>
                      <a:pt x="473" y="328"/>
                    </a:lnTo>
                    <a:lnTo>
                      <a:pt x="475" y="328"/>
                    </a:lnTo>
                    <a:lnTo>
                      <a:pt x="477" y="326"/>
                    </a:lnTo>
                    <a:lnTo>
                      <a:pt x="477" y="324"/>
                    </a:lnTo>
                    <a:lnTo>
                      <a:pt x="477" y="324"/>
                    </a:lnTo>
                    <a:lnTo>
                      <a:pt x="477" y="322"/>
                    </a:lnTo>
                    <a:lnTo>
                      <a:pt x="477" y="322"/>
                    </a:lnTo>
                    <a:lnTo>
                      <a:pt x="481" y="320"/>
                    </a:lnTo>
                    <a:lnTo>
                      <a:pt x="481" y="320"/>
                    </a:lnTo>
                    <a:lnTo>
                      <a:pt x="481" y="318"/>
                    </a:lnTo>
                    <a:lnTo>
                      <a:pt x="481" y="318"/>
                    </a:lnTo>
                    <a:lnTo>
                      <a:pt x="481" y="318"/>
                    </a:lnTo>
                    <a:lnTo>
                      <a:pt x="481" y="314"/>
                    </a:lnTo>
                    <a:lnTo>
                      <a:pt x="483" y="312"/>
                    </a:lnTo>
                    <a:lnTo>
                      <a:pt x="481" y="312"/>
                    </a:lnTo>
                    <a:lnTo>
                      <a:pt x="481" y="310"/>
                    </a:lnTo>
                    <a:lnTo>
                      <a:pt x="481" y="308"/>
                    </a:lnTo>
                    <a:lnTo>
                      <a:pt x="481" y="306"/>
                    </a:lnTo>
                    <a:lnTo>
                      <a:pt x="479" y="306"/>
                    </a:lnTo>
                    <a:lnTo>
                      <a:pt x="477" y="306"/>
                    </a:lnTo>
                    <a:lnTo>
                      <a:pt x="477" y="304"/>
                    </a:lnTo>
                    <a:lnTo>
                      <a:pt x="477" y="302"/>
                    </a:lnTo>
                    <a:lnTo>
                      <a:pt x="477" y="302"/>
                    </a:lnTo>
                    <a:lnTo>
                      <a:pt x="477" y="302"/>
                    </a:lnTo>
                    <a:lnTo>
                      <a:pt x="475" y="302"/>
                    </a:lnTo>
                    <a:lnTo>
                      <a:pt x="475" y="300"/>
                    </a:lnTo>
                    <a:lnTo>
                      <a:pt x="475" y="300"/>
                    </a:lnTo>
                    <a:lnTo>
                      <a:pt x="475" y="298"/>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30" name="Freeform 76"/>
              <p:cNvSpPr>
                <a:spLocks/>
              </p:cNvSpPr>
              <p:nvPr>
                <p:custDataLst>
                  <p:tags r:id="rId151"/>
                </p:custDataLst>
              </p:nvPr>
            </p:nvSpPr>
            <p:spPr bwMode="gray">
              <a:xfrm>
                <a:off x="5030349" y="3330413"/>
                <a:ext cx="476356" cy="241353"/>
              </a:xfrm>
              <a:custGeom>
                <a:avLst/>
                <a:gdLst>
                  <a:gd name="T0" fmla="*/ 149 w 150"/>
                  <a:gd name="T1" fmla="*/ 20 h 76"/>
                  <a:gd name="T2" fmla="*/ 144 w 150"/>
                  <a:gd name="T3" fmla="*/ 16 h 76"/>
                  <a:gd name="T4" fmla="*/ 138 w 150"/>
                  <a:gd name="T5" fmla="*/ 14 h 76"/>
                  <a:gd name="T6" fmla="*/ 130 w 150"/>
                  <a:gd name="T7" fmla="*/ 7 h 76"/>
                  <a:gd name="T8" fmla="*/ 119 w 150"/>
                  <a:gd name="T9" fmla="*/ 6 h 76"/>
                  <a:gd name="T10" fmla="*/ 113 w 150"/>
                  <a:gd name="T11" fmla="*/ 10 h 76"/>
                  <a:gd name="T12" fmla="*/ 105 w 150"/>
                  <a:gd name="T13" fmla="*/ 6 h 76"/>
                  <a:gd name="T14" fmla="*/ 99 w 150"/>
                  <a:gd name="T15" fmla="*/ 5 h 76"/>
                  <a:gd name="T16" fmla="*/ 92 w 150"/>
                  <a:gd name="T17" fmla="*/ 3 h 76"/>
                  <a:gd name="T18" fmla="*/ 85 w 150"/>
                  <a:gd name="T19" fmla="*/ 10 h 76"/>
                  <a:gd name="T20" fmla="*/ 82 w 150"/>
                  <a:gd name="T21" fmla="*/ 6 h 76"/>
                  <a:gd name="T22" fmla="*/ 76 w 150"/>
                  <a:gd name="T23" fmla="*/ 0 h 76"/>
                  <a:gd name="T24" fmla="*/ 67 w 150"/>
                  <a:gd name="T25" fmla="*/ 7 h 76"/>
                  <a:gd name="T26" fmla="*/ 58 w 150"/>
                  <a:gd name="T27" fmla="*/ 6 h 76"/>
                  <a:gd name="T28" fmla="*/ 54 w 150"/>
                  <a:gd name="T29" fmla="*/ 6 h 76"/>
                  <a:gd name="T30" fmla="*/ 50 w 150"/>
                  <a:gd name="T31" fmla="*/ 12 h 76"/>
                  <a:gd name="T32" fmla="*/ 41 w 150"/>
                  <a:gd name="T33" fmla="*/ 12 h 76"/>
                  <a:gd name="T34" fmla="*/ 35 w 150"/>
                  <a:gd name="T35" fmla="*/ 19 h 76"/>
                  <a:gd name="T36" fmla="*/ 0 w 150"/>
                  <a:gd name="T37" fmla="*/ 45 h 76"/>
                  <a:gd name="T38" fmla="*/ 1 w 150"/>
                  <a:gd name="T39" fmla="*/ 51 h 76"/>
                  <a:gd name="T40" fmla="*/ 0 w 150"/>
                  <a:gd name="T41" fmla="*/ 58 h 76"/>
                  <a:gd name="T42" fmla="*/ 10 w 150"/>
                  <a:gd name="T43" fmla="*/ 65 h 76"/>
                  <a:gd name="T44" fmla="*/ 17 w 150"/>
                  <a:gd name="T45" fmla="*/ 71 h 76"/>
                  <a:gd name="T46" fmla="*/ 23 w 150"/>
                  <a:gd name="T47" fmla="*/ 75 h 76"/>
                  <a:gd name="T48" fmla="*/ 34 w 150"/>
                  <a:gd name="T49" fmla="*/ 75 h 76"/>
                  <a:gd name="T50" fmla="*/ 38 w 150"/>
                  <a:gd name="T51" fmla="*/ 75 h 76"/>
                  <a:gd name="T52" fmla="*/ 47 w 150"/>
                  <a:gd name="T53" fmla="*/ 72 h 76"/>
                  <a:gd name="T54" fmla="*/ 51 w 150"/>
                  <a:gd name="T55" fmla="*/ 68 h 76"/>
                  <a:gd name="T56" fmla="*/ 54 w 150"/>
                  <a:gd name="T57" fmla="*/ 65 h 76"/>
                  <a:gd name="T58" fmla="*/ 65 w 150"/>
                  <a:gd name="T59" fmla="*/ 65 h 76"/>
                  <a:gd name="T60" fmla="*/ 75 w 150"/>
                  <a:gd name="T61" fmla="*/ 61 h 76"/>
                  <a:gd name="T62" fmla="*/ 85 w 150"/>
                  <a:gd name="T63" fmla="*/ 54 h 76"/>
                  <a:gd name="T64" fmla="*/ 92 w 150"/>
                  <a:gd name="T65" fmla="*/ 47 h 76"/>
                  <a:gd name="T66" fmla="*/ 96 w 150"/>
                  <a:gd name="T67" fmla="*/ 41 h 76"/>
                  <a:gd name="T68" fmla="*/ 102 w 150"/>
                  <a:gd name="T69" fmla="*/ 41 h 76"/>
                  <a:gd name="T70" fmla="*/ 113 w 150"/>
                  <a:gd name="T71" fmla="*/ 41 h 76"/>
                  <a:gd name="T72" fmla="*/ 119 w 150"/>
                  <a:gd name="T73" fmla="*/ 41 h 76"/>
                  <a:gd name="T74" fmla="*/ 124 w 150"/>
                  <a:gd name="T75" fmla="*/ 45 h 76"/>
                  <a:gd name="T76" fmla="*/ 134 w 150"/>
                  <a:gd name="T77" fmla="*/ 45 h 76"/>
                  <a:gd name="T78" fmla="*/ 140 w 150"/>
                  <a:gd name="T79" fmla="*/ 44 h 76"/>
                  <a:gd name="T80" fmla="*/ 140 w 150"/>
                  <a:gd name="T81" fmla="*/ 37 h 76"/>
                  <a:gd name="T82" fmla="*/ 145 w 150"/>
                  <a:gd name="T83" fmla="*/ 34 h 76"/>
                  <a:gd name="T84" fmla="*/ 146 w 150"/>
                  <a:gd name="T85" fmla="*/ 2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76">
                    <a:moveTo>
                      <a:pt x="150" y="25"/>
                    </a:moveTo>
                    <a:cubicBezTo>
                      <a:pt x="149" y="20"/>
                      <a:pt x="149" y="20"/>
                      <a:pt x="149" y="20"/>
                    </a:cubicBezTo>
                    <a:cubicBezTo>
                      <a:pt x="146" y="17"/>
                      <a:pt x="146" y="17"/>
                      <a:pt x="146" y="17"/>
                    </a:cubicBezTo>
                    <a:cubicBezTo>
                      <a:pt x="144" y="16"/>
                      <a:pt x="144" y="16"/>
                      <a:pt x="144" y="16"/>
                    </a:cubicBezTo>
                    <a:cubicBezTo>
                      <a:pt x="142" y="16"/>
                      <a:pt x="142" y="16"/>
                      <a:pt x="142" y="16"/>
                    </a:cubicBezTo>
                    <a:cubicBezTo>
                      <a:pt x="138" y="14"/>
                      <a:pt x="138" y="14"/>
                      <a:pt x="138" y="14"/>
                    </a:cubicBezTo>
                    <a:cubicBezTo>
                      <a:pt x="135" y="9"/>
                      <a:pt x="135" y="9"/>
                      <a:pt x="135" y="9"/>
                    </a:cubicBezTo>
                    <a:cubicBezTo>
                      <a:pt x="130" y="7"/>
                      <a:pt x="130" y="7"/>
                      <a:pt x="130" y="7"/>
                    </a:cubicBezTo>
                    <a:cubicBezTo>
                      <a:pt x="124" y="6"/>
                      <a:pt x="124" y="6"/>
                      <a:pt x="124" y="6"/>
                    </a:cubicBezTo>
                    <a:cubicBezTo>
                      <a:pt x="119" y="6"/>
                      <a:pt x="119" y="6"/>
                      <a:pt x="119" y="6"/>
                    </a:cubicBezTo>
                    <a:cubicBezTo>
                      <a:pt x="115" y="7"/>
                      <a:pt x="115" y="7"/>
                      <a:pt x="115" y="7"/>
                    </a:cubicBezTo>
                    <a:cubicBezTo>
                      <a:pt x="113" y="10"/>
                      <a:pt x="113" y="10"/>
                      <a:pt x="113" y="10"/>
                    </a:cubicBezTo>
                    <a:cubicBezTo>
                      <a:pt x="107" y="8"/>
                      <a:pt x="107" y="8"/>
                      <a:pt x="107" y="8"/>
                    </a:cubicBezTo>
                    <a:cubicBezTo>
                      <a:pt x="105" y="6"/>
                      <a:pt x="105" y="6"/>
                      <a:pt x="105" y="6"/>
                    </a:cubicBezTo>
                    <a:cubicBezTo>
                      <a:pt x="102" y="2"/>
                      <a:pt x="102" y="2"/>
                      <a:pt x="102" y="2"/>
                    </a:cubicBezTo>
                    <a:cubicBezTo>
                      <a:pt x="99" y="5"/>
                      <a:pt x="99" y="5"/>
                      <a:pt x="99" y="5"/>
                    </a:cubicBezTo>
                    <a:cubicBezTo>
                      <a:pt x="96" y="6"/>
                      <a:pt x="96" y="6"/>
                      <a:pt x="96" y="6"/>
                    </a:cubicBezTo>
                    <a:cubicBezTo>
                      <a:pt x="92" y="3"/>
                      <a:pt x="92" y="3"/>
                      <a:pt x="92" y="3"/>
                    </a:cubicBezTo>
                    <a:cubicBezTo>
                      <a:pt x="85" y="6"/>
                      <a:pt x="85" y="6"/>
                      <a:pt x="85" y="6"/>
                    </a:cubicBezTo>
                    <a:cubicBezTo>
                      <a:pt x="85" y="10"/>
                      <a:pt x="85" y="10"/>
                      <a:pt x="85" y="10"/>
                    </a:cubicBezTo>
                    <a:cubicBezTo>
                      <a:pt x="83" y="7"/>
                      <a:pt x="83" y="7"/>
                      <a:pt x="83" y="7"/>
                    </a:cubicBezTo>
                    <a:cubicBezTo>
                      <a:pt x="82" y="6"/>
                      <a:pt x="82" y="6"/>
                      <a:pt x="82" y="6"/>
                    </a:cubicBezTo>
                    <a:cubicBezTo>
                      <a:pt x="78" y="3"/>
                      <a:pt x="78" y="3"/>
                      <a:pt x="78" y="3"/>
                    </a:cubicBezTo>
                    <a:cubicBezTo>
                      <a:pt x="76" y="0"/>
                      <a:pt x="76" y="0"/>
                      <a:pt x="76" y="0"/>
                    </a:cubicBezTo>
                    <a:cubicBezTo>
                      <a:pt x="70" y="4"/>
                      <a:pt x="70" y="4"/>
                      <a:pt x="70" y="4"/>
                    </a:cubicBezTo>
                    <a:cubicBezTo>
                      <a:pt x="67" y="7"/>
                      <a:pt x="67" y="7"/>
                      <a:pt x="67" y="7"/>
                    </a:cubicBezTo>
                    <a:cubicBezTo>
                      <a:pt x="65" y="6"/>
                      <a:pt x="65" y="6"/>
                      <a:pt x="65" y="6"/>
                    </a:cubicBezTo>
                    <a:cubicBezTo>
                      <a:pt x="58" y="6"/>
                      <a:pt x="58" y="6"/>
                      <a:pt x="58" y="6"/>
                    </a:cubicBezTo>
                    <a:cubicBezTo>
                      <a:pt x="57" y="6"/>
                      <a:pt x="57" y="6"/>
                      <a:pt x="57" y="6"/>
                    </a:cubicBezTo>
                    <a:cubicBezTo>
                      <a:pt x="56" y="6"/>
                      <a:pt x="54" y="6"/>
                      <a:pt x="54" y="6"/>
                    </a:cubicBezTo>
                    <a:cubicBezTo>
                      <a:pt x="52" y="6"/>
                      <a:pt x="50" y="8"/>
                      <a:pt x="50" y="10"/>
                    </a:cubicBezTo>
                    <a:cubicBezTo>
                      <a:pt x="50" y="12"/>
                      <a:pt x="50" y="12"/>
                      <a:pt x="50" y="12"/>
                    </a:cubicBezTo>
                    <a:cubicBezTo>
                      <a:pt x="50" y="12"/>
                      <a:pt x="50" y="12"/>
                      <a:pt x="49" y="12"/>
                    </a:cubicBezTo>
                    <a:cubicBezTo>
                      <a:pt x="47" y="12"/>
                      <a:pt x="45" y="12"/>
                      <a:pt x="41" y="12"/>
                    </a:cubicBezTo>
                    <a:cubicBezTo>
                      <a:pt x="39" y="12"/>
                      <a:pt x="39" y="12"/>
                      <a:pt x="39" y="12"/>
                    </a:cubicBezTo>
                    <a:cubicBezTo>
                      <a:pt x="37" y="17"/>
                      <a:pt x="35" y="19"/>
                      <a:pt x="35" y="19"/>
                    </a:cubicBezTo>
                    <a:cubicBezTo>
                      <a:pt x="34" y="21"/>
                      <a:pt x="34" y="21"/>
                      <a:pt x="32" y="23"/>
                    </a:cubicBezTo>
                    <a:cubicBezTo>
                      <a:pt x="30" y="37"/>
                      <a:pt x="9" y="42"/>
                      <a:pt x="0" y="45"/>
                    </a:cubicBezTo>
                    <a:cubicBezTo>
                      <a:pt x="2" y="48"/>
                      <a:pt x="2" y="48"/>
                      <a:pt x="2" y="48"/>
                    </a:cubicBezTo>
                    <a:cubicBezTo>
                      <a:pt x="1" y="51"/>
                      <a:pt x="1" y="51"/>
                      <a:pt x="1" y="51"/>
                    </a:cubicBezTo>
                    <a:cubicBezTo>
                      <a:pt x="5" y="56"/>
                      <a:pt x="5" y="56"/>
                      <a:pt x="5" y="56"/>
                    </a:cubicBezTo>
                    <a:cubicBezTo>
                      <a:pt x="0" y="58"/>
                      <a:pt x="0" y="58"/>
                      <a:pt x="0" y="58"/>
                    </a:cubicBezTo>
                    <a:cubicBezTo>
                      <a:pt x="4" y="65"/>
                      <a:pt x="4" y="65"/>
                      <a:pt x="4" y="65"/>
                    </a:cubicBezTo>
                    <a:cubicBezTo>
                      <a:pt x="10" y="65"/>
                      <a:pt x="10" y="65"/>
                      <a:pt x="10" y="65"/>
                    </a:cubicBezTo>
                    <a:cubicBezTo>
                      <a:pt x="13" y="68"/>
                      <a:pt x="13" y="68"/>
                      <a:pt x="13" y="68"/>
                    </a:cubicBezTo>
                    <a:cubicBezTo>
                      <a:pt x="17" y="71"/>
                      <a:pt x="17" y="71"/>
                      <a:pt x="17" y="71"/>
                    </a:cubicBezTo>
                    <a:cubicBezTo>
                      <a:pt x="20" y="73"/>
                      <a:pt x="20" y="73"/>
                      <a:pt x="20" y="73"/>
                    </a:cubicBezTo>
                    <a:cubicBezTo>
                      <a:pt x="23" y="75"/>
                      <a:pt x="23" y="75"/>
                      <a:pt x="23" y="75"/>
                    </a:cubicBezTo>
                    <a:cubicBezTo>
                      <a:pt x="30" y="76"/>
                      <a:pt x="30" y="76"/>
                      <a:pt x="30" y="76"/>
                    </a:cubicBezTo>
                    <a:cubicBezTo>
                      <a:pt x="34" y="75"/>
                      <a:pt x="34" y="75"/>
                      <a:pt x="34" y="75"/>
                    </a:cubicBezTo>
                    <a:cubicBezTo>
                      <a:pt x="37" y="75"/>
                      <a:pt x="37" y="75"/>
                      <a:pt x="37" y="75"/>
                    </a:cubicBezTo>
                    <a:cubicBezTo>
                      <a:pt x="38" y="75"/>
                      <a:pt x="38" y="75"/>
                      <a:pt x="38" y="75"/>
                    </a:cubicBezTo>
                    <a:cubicBezTo>
                      <a:pt x="44" y="72"/>
                      <a:pt x="44" y="72"/>
                      <a:pt x="44" y="72"/>
                    </a:cubicBezTo>
                    <a:cubicBezTo>
                      <a:pt x="47" y="72"/>
                      <a:pt x="47" y="72"/>
                      <a:pt x="47" y="72"/>
                    </a:cubicBezTo>
                    <a:cubicBezTo>
                      <a:pt x="50" y="71"/>
                      <a:pt x="50" y="71"/>
                      <a:pt x="50" y="71"/>
                    </a:cubicBezTo>
                    <a:cubicBezTo>
                      <a:pt x="51" y="68"/>
                      <a:pt x="51" y="68"/>
                      <a:pt x="51" y="68"/>
                    </a:cubicBezTo>
                    <a:cubicBezTo>
                      <a:pt x="53" y="65"/>
                      <a:pt x="53" y="65"/>
                      <a:pt x="53" y="65"/>
                    </a:cubicBezTo>
                    <a:cubicBezTo>
                      <a:pt x="54" y="65"/>
                      <a:pt x="54" y="65"/>
                      <a:pt x="54" y="65"/>
                    </a:cubicBezTo>
                    <a:cubicBezTo>
                      <a:pt x="61" y="65"/>
                      <a:pt x="61" y="65"/>
                      <a:pt x="61" y="65"/>
                    </a:cubicBezTo>
                    <a:cubicBezTo>
                      <a:pt x="65" y="65"/>
                      <a:pt x="65" y="65"/>
                      <a:pt x="65" y="65"/>
                    </a:cubicBezTo>
                    <a:cubicBezTo>
                      <a:pt x="68" y="65"/>
                      <a:pt x="68" y="65"/>
                      <a:pt x="68" y="65"/>
                    </a:cubicBezTo>
                    <a:cubicBezTo>
                      <a:pt x="75" y="61"/>
                      <a:pt x="75" y="61"/>
                      <a:pt x="75" y="61"/>
                    </a:cubicBezTo>
                    <a:cubicBezTo>
                      <a:pt x="78" y="58"/>
                      <a:pt x="78" y="58"/>
                      <a:pt x="78" y="58"/>
                    </a:cubicBezTo>
                    <a:cubicBezTo>
                      <a:pt x="85" y="54"/>
                      <a:pt x="85" y="54"/>
                      <a:pt x="85" y="54"/>
                    </a:cubicBezTo>
                    <a:cubicBezTo>
                      <a:pt x="89" y="51"/>
                      <a:pt x="89" y="51"/>
                      <a:pt x="89" y="51"/>
                    </a:cubicBezTo>
                    <a:cubicBezTo>
                      <a:pt x="92" y="47"/>
                      <a:pt x="92" y="47"/>
                      <a:pt x="92" y="47"/>
                    </a:cubicBezTo>
                    <a:cubicBezTo>
                      <a:pt x="92" y="44"/>
                      <a:pt x="92" y="44"/>
                      <a:pt x="92" y="44"/>
                    </a:cubicBezTo>
                    <a:cubicBezTo>
                      <a:pt x="96" y="41"/>
                      <a:pt x="96" y="41"/>
                      <a:pt x="96" y="41"/>
                    </a:cubicBezTo>
                    <a:cubicBezTo>
                      <a:pt x="99" y="41"/>
                      <a:pt x="99" y="41"/>
                      <a:pt x="99" y="41"/>
                    </a:cubicBezTo>
                    <a:cubicBezTo>
                      <a:pt x="102" y="41"/>
                      <a:pt x="102" y="41"/>
                      <a:pt x="102" y="41"/>
                    </a:cubicBezTo>
                    <a:cubicBezTo>
                      <a:pt x="109" y="41"/>
                      <a:pt x="109" y="41"/>
                      <a:pt x="109" y="41"/>
                    </a:cubicBezTo>
                    <a:cubicBezTo>
                      <a:pt x="113" y="41"/>
                      <a:pt x="113" y="41"/>
                      <a:pt x="113" y="41"/>
                    </a:cubicBezTo>
                    <a:cubicBezTo>
                      <a:pt x="114" y="41"/>
                      <a:pt x="114" y="41"/>
                      <a:pt x="114" y="41"/>
                    </a:cubicBezTo>
                    <a:cubicBezTo>
                      <a:pt x="119" y="41"/>
                      <a:pt x="119" y="41"/>
                      <a:pt x="119" y="41"/>
                    </a:cubicBezTo>
                    <a:cubicBezTo>
                      <a:pt x="119" y="46"/>
                      <a:pt x="119" y="46"/>
                      <a:pt x="119" y="46"/>
                    </a:cubicBezTo>
                    <a:cubicBezTo>
                      <a:pt x="124" y="45"/>
                      <a:pt x="124" y="45"/>
                      <a:pt x="124" y="45"/>
                    </a:cubicBezTo>
                    <a:cubicBezTo>
                      <a:pt x="128" y="49"/>
                      <a:pt x="128" y="49"/>
                      <a:pt x="128" y="49"/>
                    </a:cubicBezTo>
                    <a:cubicBezTo>
                      <a:pt x="134" y="45"/>
                      <a:pt x="134" y="45"/>
                      <a:pt x="134" y="45"/>
                    </a:cubicBezTo>
                    <a:cubicBezTo>
                      <a:pt x="140" y="48"/>
                      <a:pt x="140" y="48"/>
                      <a:pt x="140" y="48"/>
                    </a:cubicBezTo>
                    <a:cubicBezTo>
                      <a:pt x="140" y="44"/>
                      <a:pt x="140" y="44"/>
                      <a:pt x="140" y="44"/>
                    </a:cubicBezTo>
                    <a:cubicBezTo>
                      <a:pt x="139" y="41"/>
                      <a:pt x="139" y="41"/>
                      <a:pt x="139" y="41"/>
                    </a:cubicBezTo>
                    <a:cubicBezTo>
                      <a:pt x="140" y="37"/>
                      <a:pt x="140" y="37"/>
                      <a:pt x="140" y="37"/>
                    </a:cubicBezTo>
                    <a:cubicBezTo>
                      <a:pt x="142" y="34"/>
                      <a:pt x="142" y="34"/>
                      <a:pt x="142" y="34"/>
                    </a:cubicBezTo>
                    <a:cubicBezTo>
                      <a:pt x="145" y="34"/>
                      <a:pt x="145" y="34"/>
                      <a:pt x="145" y="34"/>
                    </a:cubicBezTo>
                    <a:cubicBezTo>
                      <a:pt x="144" y="30"/>
                      <a:pt x="144" y="30"/>
                      <a:pt x="144" y="30"/>
                    </a:cubicBezTo>
                    <a:cubicBezTo>
                      <a:pt x="146" y="28"/>
                      <a:pt x="146" y="28"/>
                      <a:pt x="146" y="28"/>
                    </a:cubicBezTo>
                    <a:lnTo>
                      <a:pt x="150" y="25"/>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grpSp>
        <p:sp>
          <p:nvSpPr>
            <p:cNvPr id="910" name="Rechteck 909"/>
            <p:cNvSpPr/>
            <p:nvPr>
              <p:custDataLst>
                <p:tags r:id="rId84"/>
              </p:custDataLst>
            </p:nvPr>
          </p:nvSpPr>
          <p:spPr bwMode="gray">
            <a:xfrm>
              <a:off x="2915820" y="397590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bg1"/>
                  </a:solidFill>
                </a:rPr>
                <a:t>-25</a:t>
              </a:r>
            </a:p>
          </p:txBody>
        </p:sp>
        <p:sp>
          <p:nvSpPr>
            <p:cNvPr id="911" name="Rechteck 910"/>
            <p:cNvSpPr/>
            <p:nvPr>
              <p:custDataLst>
                <p:tags r:id="rId85"/>
              </p:custDataLst>
            </p:nvPr>
          </p:nvSpPr>
          <p:spPr bwMode="gray">
            <a:xfrm>
              <a:off x="2876836" y="4119938"/>
              <a:ext cx="182964"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bg1"/>
                  </a:solidFill>
                </a:rPr>
                <a:t>-3</a:t>
              </a:r>
            </a:p>
          </p:txBody>
        </p:sp>
        <p:sp>
          <p:nvSpPr>
            <p:cNvPr id="916" name="Rechteck 915"/>
            <p:cNvSpPr/>
            <p:nvPr>
              <p:custDataLst>
                <p:tags r:id="rId86"/>
              </p:custDataLst>
            </p:nvPr>
          </p:nvSpPr>
          <p:spPr bwMode="gray">
            <a:xfrm>
              <a:off x="2303752" y="368787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37</a:t>
              </a:r>
            </a:p>
          </p:txBody>
        </p:sp>
        <p:sp>
          <p:nvSpPr>
            <p:cNvPr id="917" name="Rechteck 916"/>
            <p:cNvSpPr/>
            <p:nvPr>
              <p:custDataLst>
                <p:tags r:id="rId87"/>
              </p:custDataLst>
            </p:nvPr>
          </p:nvSpPr>
          <p:spPr bwMode="gray">
            <a:xfrm>
              <a:off x="2159732" y="383190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2</a:t>
              </a:r>
            </a:p>
          </p:txBody>
        </p:sp>
        <p:sp>
          <p:nvSpPr>
            <p:cNvPr id="921" name="Rechteck 920"/>
            <p:cNvSpPr/>
            <p:nvPr>
              <p:custDataLst>
                <p:tags r:id="rId88"/>
              </p:custDataLst>
            </p:nvPr>
          </p:nvSpPr>
          <p:spPr bwMode="gray">
            <a:xfrm>
              <a:off x="3671932" y="3399838"/>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bg1"/>
                  </a:solidFill>
                </a:rPr>
                <a:t>-42</a:t>
              </a:r>
            </a:p>
          </p:txBody>
        </p:sp>
        <p:sp>
          <p:nvSpPr>
            <p:cNvPr id="922" name="Rechteck 921"/>
            <p:cNvSpPr/>
            <p:nvPr>
              <p:custDataLst>
                <p:tags r:id="rId89"/>
              </p:custDataLst>
            </p:nvPr>
          </p:nvSpPr>
          <p:spPr bwMode="gray">
            <a:xfrm>
              <a:off x="3527912" y="3543870"/>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bg1"/>
                  </a:solidFill>
                </a:rPr>
                <a:t>-1</a:t>
              </a:r>
            </a:p>
          </p:txBody>
        </p:sp>
        <p:sp>
          <p:nvSpPr>
            <p:cNvPr id="932" name="Rechteck 931"/>
            <p:cNvSpPr/>
            <p:nvPr>
              <p:custDataLst>
                <p:tags r:id="rId90"/>
              </p:custDataLst>
            </p:nvPr>
          </p:nvSpPr>
          <p:spPr bwMode="gray">
            <a:xfrm>
              <a:off x="2627816" y="2823790"/>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28</a:t>
              </a:r>
            </a:p>
          </p:txBody>
        </p:sp>
        <p:sp>
          <p:nvSpPr>
            <p:cNvPr id="933" name="Rechteck 932"/>
            <p:cNvSpPr/>
            <p:nvPr>
              <p:custDataLst>
                <p:tags r:id="rId91"/>
              </p:custDataLst>
            </p:nvPr>
          </p:nvSpPr>
          <p:spPr bwMode="gray">
            <a:xfrm>
              <a:off x="2483796" y="295293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7</a:t>
              </a:r>
            </a:p>
          </p:txBody>
        </p:sp>
        <p:sp>
          <p:nvSpPr>
            <p:cNvPr id="935" name="Ellipse 934"/>
            <p:cNvSpPr/>
            <p:nvPr>
              <p:custDataLst>
                <p:tags r:id="rId92"/>
              </p:custDataLst>
            </p:nvPr>
          </p:nvSpPr>
          <p:spPr bwMode="gray">
            <a:xfrm>
              <a:off x="2807816" y="2952928"/>
              <a:ext cx="108000" cy="108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endParaRPr lang="en-US" sz="1067" dirty="0">
                <a:solidFill>
                  <a:schemeClr val="bg1"/>
                </a:solidFill>
              </a:endParaRPr>
            </a:p>
          </p:txBody>
        </p:sp>
        <p:sp>
          <p:nvSpPr>
            <p:cNvPr id="937" name="Rechteck 936"/>
            <p:cNvSpPr/>
            <p:nvPr>
              <p:custDataLst>
                <p:tags r:id="rId93"/>
              </p:custDataLst>
            </p:nvPr>
          </p:nvSpPr>
          <p:spPr bwMode="gray">
            <a:xfrm>
              <a:off x="4064686" y="2643758"/>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33</a:t>
              </a:r>
            </a:p>
          </p:txBody>
        </p:sp>
        <p:sp>
          <p:nvSpPr>
            <p:cNvPr id="938" name="Rechteck 937"/>
            <p:cNvSpPr/>
            <p:nvPr>
              <p:custDataLst>
                <p:tags r:id="rId94"/>
              </p:custDataLst>
            </p:nvPr>
          </p:nvSpPr>
          <p:spPr bwMode="gray">
            <a:xfrm>
              <a:off x="3938704" y="2787790"/>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0</a:t>
              </a:r>
            </a:p>
          </p:txBody>
        </p:sp>
        <p:sp>
          <p:nvSpPr>
            <p:cNvPr id="942" name="Rechteck 941"/>
            <p:cNvSpPr/>
            <p:nvPr>
              <p:custDataLst>
                <p:tags r:id="rId95"/>
              </p:custDataLst>
            </p:nvPr>
          </p:nvSpPr>
          <p:spPr bwMode="gray">
            <a:xfrm>
              <a:off x="4283972" y="3039798"/>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9</a:t>
              </a:r>
            </a:p>
          </p:txBody>
        </p:sp>
        <p:sp>
          <p:nvSpPr>
            <p:cNvPr id="943" name="Rechteck 942"/>
            <p:cNvSpPr/>
            <p:nvPr>
              <p:custDataLst>
                <p:tags r:id="rId96"/>
              </p:custDataLst>
            </p:nvPr>
          </p:nvSpPr>
          <p:spPr bwMode="gray">
            <a:xfrm>
              <a:off x="4139952" y="3183830"/>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6</a:t>
              </a:r>
            </a:p>
          </p:txBody>
        </p:sp>
        <p:sp>
          <p:nvSpPr>
            <p:cNvPr id="947" name="Rechteck 946"/>
            <p:cNvSpPr/>
            <p:nvPr>
              <p:custDataLst>
                <p:tags r:id="rId97"/>
              </p:custDataLst>
            </p:nvPr>
          </p:nvSpPr>
          <p:spPr bwMode="gray">
            <a:xfrm>
              <a:off x="5112064" y="289578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0</a:t>
              </a:r>
            </a:p>
          </p:txBody>
        </p:sp>
        <p:sp>
          <p:nvSpPr>
            <p:cNvPr id="948" name="Rechteck 947"/>
            <p:cNvSpPr/>
            <p:nvPr>
              <p:custDataLst>
                <p:tags r:id="rId98"/>
              </p:custDataLst>
            </p:nvPr>
          </p:nvSpPr>
          <p:spPr bwMode="gray">
            <a:xfrm>
              <a:off x="4968044" y="303981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2</a:t>
              </a:r>
            </a:p>
          </p:txBody>
        </p:sp>
        <p:sp>
          <p:nvSpPr>
            <p:cNvPr id="957" name="Rechteck 956"/>
            <p:cNvSpPr/>
            <p:nvPr>
              <p:custDataLst>
                <p:tags r:id="rId99"/>
              </p:custDataLst>
            </p:nvPr>
          </p:nvSpPr>
          <p:spPr bwMode="gray">
            <a:xfrm>
              <a:off x="6146773" y="301357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38</a:t>
              </a:r>
            </a:p>
          </p:txBody>
        </p:sp>
        <p:sp>
          <p:nvSpPr>
            <p:cNvPr id="958" name="Rechteck 957"/>
            <p:cNvSpPr/>
            <p:nvPr>
              <p:custDataLst>
                <p:tags r:id="rId100"/>
              </p:custDataLst>
            </p:nvPr>
          </p:nvSpPr>
          <p:spPr bwMode="gray">
            <a:xfrm>
              <a:off x="6002755" y="3157609"/>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GB" sz="1200" dirty="0">
                  <a:solidFill>
                    <a:schemeClr val="tx1"/>
                  </a:solidFill>
                </a:rPr>
                <a:t>+1</a:t>
              </a:r>
              <a:endParaRPr lang="en-US" sz="1200" dirty="0">
                <a:solidFill>
                  <a:schemeClr val="tx1"/>
                </a:solidFill>
              </a:endParaRPr>
            </a:p>
          </p:txBody>
        </p:sp>
        <p:sp>
          <p:nvSpPr>
            <p:cNvPr id="963" name="Rechteck 962"/>
            <p:cNvSpPr/>
            <p:nvPr>
              <p:custDataLst>
                <p:tags r:id="rId101"/>
              </p:custDataLst>
            </p:nvPr>
          </p:nvSpPr>
          <p:spPr bwMode="gray">
            <a:xfrm>
              <a:off x="5492002" y="3690841"/>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err="1">
                  <a:solidFill>
                    <a:schemeClr val="tx1"/>
                  </a:solidFill>
                </a:rPr>
                <a:t>na</a:t>
              </a:r>
              <a:endParaRPr lang="en-US" sz="1200" b="1" dirty="0">
                <a:solidFill>
                  <a:schemeClr val="tx1"/>
                </a:solidFill>
              </a:endParaRPr>
            </a:p>
          </p:txBody>
        </p:sp>
        <p:sp>
          <p:nvSpPr>
            <p:cNvPr id="968" name="Rechteck 967"/>
            <p:cNvSpPr/>
            <p:nvPr>
              <p:custDataLst>
                <p:tags r:id="rId102"/>
              </p:custDataLst>
            </p:nvPr>
          </p:nvSpPr>
          <p:spPr bwMode="gray">
            <a:xfrm>
              <a:off x="5686146" y="4021441"/>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bg1"/>
                  </a:solidFill>
                </a:rPr>
                <a:t>+23</a:t>
              </a:r>
            </a:p>
          </p:txBody>
        </p:sp>
        <p:sp>
          <p:nvSpPr>
            <p:cNvPr id="969" name="Rechteck 968"/>
            <p:cNvSpPr/>
            <p:nvPr>
              <p:custDataLst>
                <p:tags r:id="rId103"/>
              </p:custDataLst>
            </p:nvPr>
          </p:nvSpPr>
          <p:spPr bwMode="gray">
            <a:xfrm>
              <a:off x="5542125" y="4134011"/>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GB" sz="1200" dirty="0">
                  <a:solidFill>
                    <a:schemeClr val="bg1"/>
                  </a:solidFill>
                </a:rPr>
                <a:t>+2</a:t>
              </a:r>
              <a:endParaRPr lang="en-US" sz="1200" dirty="0">
                <a:solidFill>
                  <a:schemeClr val="bg1"/>
                </a:solidFill>
              </a:endParaRPr>
            </a:p>
          </p:txBody>
        </p:sp>
        <p:sp>
          <p:nvSpPr>
            <p:cNvPr id="971" name="Ellipse 970"/>
            <p:cNvSpPr/>
            <p:nvPr>
              <p:custDataLst>
                <p:tags r:id="rId104"/>
              </p:custDataLst>
            </p:nvPr>
          </p:nvSpPr>
          <p:spPr bwMode="gray">
            <a:xfrm>
              <a:off x="6660244" y="3953550"/>
              <a:ext cx="108000" cy="108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endParaRPr lang="en-US" sz="1067" dirty="0">
                <a:solidFill>
                  <a:schemeClr val="bg1"/>
                </a:solidFill>
              </a:endParaRPr>
            </a:p>
          </p:txBody>
        </p:sp>
        <p:grpSp>
          <p:nvGrpSpPr>
            <p:cNvPr id="979" name="Gruppieren 978"/>
            <p:cNvGrpSpPr/>
            <p:nvPr/>
          </p:nvGrpSpPr>
          <p:grpSpPr bwMode="gray">
            <a:xfrm>
              <a:off x="2627944" y="3075806"/>
              <a:ext cx="1440000" cy="0"/>
              <a:chOff x="2627944" y="3075806"/>
              <a:chExt cx="1440000" cy="0"/>
            </a:xfrm>
          </p:grpSpPr>
          <p:cxnSp>
            <p:nvCxnSpPr>
              <p:cNvPr id="931" name="Gerade Verbindung 930"/>
              <p:cNvCxnSpPr/>
              <p:nvPr>
                <p:custDataLst>
                  <p:tags r:id="rId119"/>
                </p:custDataLst>
              </p:nvPr>
            </p:nvCxnSpPr>
            <p:spPr bwMode="gray">
              <a:xfrm>
                <a:off x="2627944" y="3075806"/>
                <a:ext cx="1440000" cy="0"/>
              </a:xfrm>
              <a:prstGeom prst="line">
                <a:avLst/>
              </a:prstGeom>
              <a:ln w="38100" cap="rnd">
                <a:solidFill>
                  <a:schemeClr val="bg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978" name="Gerade Verbindung 977"/>
              <p:cNvCxnSpPr/>
              <p:nvPr>
                <p:custDataLst>
                  <p:tags r:id="rId120"/>
                </p:custDataLst>
              </p:nvPr>
            </p:nvCxnSpPr>
            <p:spPr bwMode="gray">
              <a:xfrm>
                <a:off x="2627944" y="3075806"/>
                <a:ext cx="1440000" cy="0"/>
              </a:xfrm>
              <a:prstGeom prst="line">
                <a:avLst/>
              </a:prstGeom>
              <a:ln cap="rnd">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grpSp>
        <p:sp>
          <p:nvSpPr>
            <p:cNvPr id="980" name="Rechteck 979"/>
            <p:cNvSpPr/>
            <p:nvPr>
              <p:custDataLst>
                <p:tags r:id="rId105"/>
              </p:custDataLst>
            </p:nvPr>
          </p:nvSpPr>
          <p:spPr bwMode="gray">
            <a:xfrm>
              <a:off x="5704198" y="441601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3</a:t>
              </a:r>
            </a:p>
          </p:txBody>
        </p:sp>
        <p:sp>
          <p:nvSpPr>
            <p:cNvPr id="981" name="Rechteck 980"/>
            <p:cNvSpPr/>
            <p:nvPr>
              <p:custDataLst>
                <p:tags r:id="rId106"/>
              </p:custDataLst>
            </p:nvPr>
          </p:nvSpPr>
          <p:spPr bwMode="gray">
            <a:xfrm>
              <a:off x="5560177" y="456004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8</a:t>
              </a:r>
            </a:p>
          </p:txBody>
        </p:sp>
        <p:sp>
          <p:nvSpPr>
            <p:cNvPr id="989" name="Freihandform 988"/>
            <p:cNvSpPr/>
            <p:nvPr>
              <p:custDataLst>
                <p:tags r:id="rId107"/>
              </p:custDataLst>
            </p:nvPr>
          </p:nvSpPr>
          <p:spPr bwMode="gray">
            <a:xfrm flipV="1">
              <a:off x="4853758" y="3777134"/>
              <a:ext cx="1908002" cy="1152000"/>
            </a:xfrm>
            <a:custGeom>
              <a:avLst/>
              <a:gdLst>
                <a:gd name="connsiteX0" fmla="*/ 0 w 1574800"/>
                <a:gd name="connsiteY0" fmla="*/ 654050 h 654050"/>
                <a:gd name="connsiteX1" fmla="*/ 0 w 1574800"/>
                <a:gd name="connsiteY1" fmla="*/ 0 h 654050"/>
                <a:gd name="connsiteX2" fmla="*/ 1574800 w 1574800"/>
                <a:gd name="connsiteY2" fmla="*/ 0 h 654050"/>
              </a:gdLst>
              <a:ahLst/>
              <a:cxnLst>
                <a:cxn ang="0">
                  <a:pos x="connsiteX0" y="connsiteY0"/>
                </a:cxn>
                <a:cxn ang="0">
                  <a:pos x="connsiteX1" y="connsiteY1"/>
                </a:cxn>
                <a:cxn ang="0">
                  <a:pos x="connsiteX2" y="connsiteY2"/>
                </a:cxn>
              </a:cxnLst>
              <a:rect l="l" t="t" r="r" b="b"/>
              <a:pathLst>
                <a:path w="1574800" h="654050">
                  <a:moveTo>
                    <a:pt x="0" y="654050"/>
                  </a:moveTo>
                  <a:lnTo>
                    <a:pt x="0" y="0"/>
                  </a:lnTo>
                  <a:lnTo>
                    <a:pt x="1574800" y="0"/>
                  </a:lnTo>
                </a:path>
              </a:pathLst>
            </a:custGeom>
            <a:noFill/>
            <a:ln w="9525" cap="rnd">
              <a:solidFill>
                <a:schemeClr val="bg2"/>
              </a:solidFill>
              <a:head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991" name="Rechteck 990"/>
            <p:cNvSpPr/>
            <p:nvPr>
              <p:custDataLst>
                <p:tags r:id="rId108"/>
              </p:custDataLst>
            </p:nvPr>
          </p:nvSpPr>
          <p:spPr bwMode="gray">
            <a:xfrm>
              <a:off x="6939532" y="313872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0</a:t>
              </a:r>
            </a:p>
          </p:txBody>
        </p:sp>
        <p:sp>
          <p:nvSpPr>
            <p:cNvPr id="992" name="Rechteck 991"/>
            <p:cNvSpPr/>
            <p:nvPr>
              <p:custDataLst>
                <p:tags r:id="rId109"/>
              </p:custDataLst>
            </p:nvPr>
          </p:nvSpPr>
          <p:spPr bwMode="gray">
            <a:xfrm>
              <a:off x="6795511" y="328275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GB" sz="1200" dirty="0">
                  <a:solidFill>
                    <a:schemeClr val="tx1"/>
                  </a:solidFill>
                </a:rPr>
                <a:t>+5</a:t>
              </a:r>
              <a:endParaRPr lang="en-US" sz="1200" dirty="0">
                <a:solidFill>
                  <a:schemeClr val="tx1"/>
                </a:solidFill>
              </a:endParaRPr>
            </a:p>
          </p:txBody>
        </p:sp>
        <p:sp>
          <p:nvSpPr>
            <p:cNvPr id="994" name="Ellipse 993"/>
            <p:cNvSpPr/>
            <p:nvPr>
              <p:custDataLst>
                <p:tags r:id="rId110"/>
              </p:custDataLst>
            </p:nvPr>
          </p:nvSpPr>
          <p:spPr bwMode="gray">
            <a:xfrm>
              <a:off x="7695737" y="2977892"/>
              <a:ext cx="108000" cy="108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endParaRPr lang="en-US" sz="1067" dirty="0">
                <a:solidFill>
                  <a:schemeClr val="bg1"/>
                </a:solidFill>
              </a:endParaRPr>
            </a:p>
          </p:txBody>
        </p:sp>
        <p:cxnSp>
          <p:nvCxnSpPr>
            <p:cNvPr id="998" name="Gerade Verbindung 997"/>
            <p:cNvCxnSpPr/>
            <p:nvPr>
              <p:custDataLst>
                <p:tags r:id="rId111"/>
              </p:custDataLst>
            </p:nvPr>
          </p:nvCxnSpPr>
          <p:spPr bwMode="gray">
            <a:xfrm>
              <a:off x="5266211" y="3399842"/>
              <a:ext cx="1980005" cy="0"/>
            </a:xfrm>
            <a:prstGeom prst="line">
              <a:avLst/>
            </a:prstGeom>
            <a:ln cap="rnd">
              <a:solidFill>
                <a:schemeClr val="bg2"/>
              </a:solidFill>
              <a:headEnd type="oval" w="sm" len="sm"/>
              <a:tailEnd type="none"/>
            </a:ln>
            <a:effectLst/>
          </p:spPr>
          <p:style>
            <a:lnRef idx="1">
              <a:schemeClr val="accent1"/>
            </a:lnRef>
            <a:fillRef idx="0">
              <a:schemeClr val="accent1"/>
            </a:fillRef>
            <a:effectRef idx="0">
              <a:schemeClr val="accent1"/>
            </a:effectRef>
            <a:fontRef idx="minor">
              <a:schemeClr val="tx1"/>
            </a:fontRef>
          </p:style>
        </p:cxnSp>
        <p:sp>
          <p:nvSpPr>
            <p:cNvPr id="1016" name="Rechteck 1015"/>
            <p:cNvSpPr/>
            <p:nvPr>
              <p:custDataLst>
                <p:tags r:id="rId112"/>
              </p:custDataLst>
            </p:nvPr>
          </p:nvSpPr>
          <p:spPr bwMode="gray">
            <a:xfrm>
              <a:off x="6480244" y="467361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20</a:t>
              </a:r>
            </a:p>
          </p:txBody>
        </p:sp>
        <p:sp>
          <p:nvSpPr>
            <p:cNvPr id="1017" name="Rechteck 1016"/>
            <p:cNvSpPr/>
            <p:nvPr>
              <p:custDataLst>
                <p:tags r:id="rId113"/>
              </p:custDataLst>
            </p:nvPr>
          </p:nvSpPr>
          <p:spPr bwMode="gray">
            <a:xfrm>
              <a:off x="6336224" y="481764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0</a:t>
              </a:r>
            </a:p>
          </p:txBody>
        </p:sp>
        <p:sp>
          <p:nvSpPr>
            <p:cNvPr id="1025" name="Rechteck 1024"/>
            <p:cNvSpPr/>
            <p:nvPr>
              <p:custDataLst>
                <p:tags r:id="rId114"/>
              </p:custDataLst>
            </p:nvPr>
          </p:nvSpPr>
          <p:spPr bwMode="gray">
            <a:xfrm>
              <a:off x="4717543" y="3456873"/>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bg1"/>
                  </a:solidFill>
                </a:rPr>
                <a:t>-60</a:t>
              </a:r>
            </a:p>
          </p:txBody>
        </p:sp>
        <p:sp>
          <p:nvSpPr>
            <p:cNvPr id="1026" name="Rechteck 1025"/>
            <p:cNvSpPr/>
            <p:nvPr>
              <p:custDataLst>
                <p:tags r:id="rId115"/>
              </p:custDataLst>
            </p:nvPr>
          </p:nvSpPr>
          <p:spPr bwMode="gray">
            <a:xfrm>
              <a:off x="4572028" y="357987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bg1"/>
                  </a:solidFill>
                </a:rPr>
                <a:t>-1</a:t>
              </a:r>
            </a:p>
          </p:txBody>
        </p:sp>
        <p:sp>
          <p:nvSpPr>
            <p:cNvPr id="1034" name="Rechteck 1033"/>
            <p:cNvSpPr/>
            <p:nvPr>
              <p:custDataLst>
                <p:tags r:id="rId116"/>
              </p:custDataLst>
            </p:nvPr>
          </p:nvSpPr>
          <p:spPr bwMode="gray">
            <a:xfrm>
              <a:off x="4391984" y="433594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6</a:t>
              </a:r>
            </a:p>
          </p:txBody>
        </p:sp>
        <p:sp>
          <p:nvSpPr>
            <p:cNvPr id="1035" name="Rechteck 1034"/>
            <p:cNvSpPr/>
            <p:nvPr>
              <p:custDataLst>
                <p:tags r:id="rId117"/>
              </p:custDataLst>
            </p:nvPr>
          </p:nvSpPr>
          <p:spPr bwMode="gray">
            <a:xfrm>
              <a:off x="4266859" y="447997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de-DE" sz="1200" dirty="0">
                  <a:solidFill>
                    <a:schemeClr val="tx1"/>
                  </a:solidFill>
                </a:rPr>
                <a:t>+5</a:t>
              </a:r>
              <a:endParaRPr lang="en-US" sz="1200" dirty="0">
                <a:solidFill>
                  <a:schemeClr val="tx1"/>
                </a:solidFill>
              </a:endParaRPr>
            </a:p>
          </p:txBody>
        </p:sp>
        <p:cxnSp>
          <p:nvCxnSpPr>
            <p:cNvPr id="974" name="Gerade Verbindung 973"/>
            <p:cNvCxnSpPr>
              <a:cxnSpLocks/>
            </p:cNvCxnSpPr>
            <p:nvPr>
              <p:custDataLst>
                <p:tags r:id="rId118"/>
              </p:custDataLst>
            </p:nvPr>
          </p:nvCxnSpPr>
          <p:spPr bwMode="gray">
            <a:xfrm>
              <a:off x="4924012" y="3299863"/>
              <a:ext cx="1527078" cy="0"/>
            </a:xfrm>
            <a:prstGeom prst="line">
              <a:avLst/>
            </a:prstGeom>
            <a:ln cap="rnd">
              <a:solidFill>
                <a:schemeClr val="bg2"/>
              </a:solidFill>
              <a:headEnd type="oval" w="sm" len="sm"/>
              <a:tailEnd type="none"/>
            </a:ln>
          </p:spPr>
          <p:style>
            <a:lnRef idx="1">
              <a:schemeClr val="accent1"/>
            </a:lnRef>
            <a:fillRef idx="0">
              <a:schemeClr val="accent1"/>
            </a:fillRef>
            <a:effectRef idx="0">
              <a:schemeClr val="accent1"/>
            </a:effectRef>
            <a:fontRef idx="minor">
              <a:schemeClr val="tx1"/>
            </a:fontRef>
          </p:style>
        </p:cxnSp>
      </p:grpSp>
      <p:sp>
        <p:nvSpPr>
          <p:cNvPr id="192" name="Rechteck 191">
            <a:extLst>
              <a:ext uri="{FF2B5EF4-FFF2-40B4-BE49-F238E27FC236}">
                <a16:creationId xmlns:a16="http://schemas.microsoft.com/office/drawing/2014/main" id="{8CDEF71B-AD69-46E5-A52F-6DA82D02DF0F}"/>
              </a:ext>
            </a:extLst>
          </p:cNvPr>
          <p:cNvSpPr/>
          <p:nvPr>
            <p:custDataLst>
              <p:tags r:id="rId4"/>
            </p:custDataLst>
          </p:nvPr>
        </p:nvSpPr>
        <p:spPr bwMode="gray">
          <a:xfrm>
            <a:off x="6468433" y="2674706"/>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bg1"/>
                </a:solidFill>
              </a:rPr>
              <a:t>-61</a:t>
            </a:r>
          </a:p>
        </p:txBody>
      </p:sp>
      <p:sp>
        <p:nvSpPr>
          <p:cNvPr id="198" name="Rechteck 197">
            <a:extLst>
              <a:ext uri="{FF2B5EF4-FFF2-40B4-BE49-F238E27FC236}">
                <a16:creationId xmlns:a16="http://schemas.microsoft.com/office/drawing/2014/main" id="{364FA076-8CFE-44C3-BE26-B8E411532D31}"/>
              </a:ext>
            </a:extLst>
          </p:cNvPr>
          <p:cNvSpPr/>
          <p:nvPr>
            <p:custDataLst>
              <p:tags r:id="rId5"/>
            </p:custDataLst>
          </p:nvPr>
        </p:nvSpPr>
        <p:spPr bwMode="gray">
          <a:xfrm>
            <a:off x="6294604" y="2866749"/>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de-DE" sz="1200" dirty="0">
                <a:solidFill>
                  <a:schemeClr val="bg1"/>
                </a:solidFill>
              </a:rPr>
              <a:t>+1</a:t>
            </a:r>
            <a:endParaRPr lang="en-US" sz="1200" dirty="0">
              <a:solidFill>
                <a:schemeClr val="bg1"/>
              </a:solidFill>
            </a:endParaRPr>
          </a:p>
        </p:txBody>
      </p:sp>
      <p:sp>
        <p:nvSpPr>
          <p:cNvPr id="206" name="Rechteck 205">
            <a:extLst>
              <a:ext uri="{FF2B5EF4-FFF2-40B4-BE49-F238E27FC236}">
                <a16:creationId xmlns:a16="http://schemas.microsoft.com/office/drawing/2014/main" id="{1C8E8956-A32F-4F91-A6EF-7B6C5D7CE4B5}"/>
              </a:ext>
            </a:extLst>
          </p:cNvPr>
          <p:cNvSpPr/>
          <p:nvPr>
            <p:custDataLst>
              <p:tags r:id="rId6"/>
            </p:custDataLst>
          </p:nvPr>
        </p:nvSpPr>
        <p:spPr bwMode="gray">
          <a:xfrm>
            <a:off x="7277884" y="2214709"/>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bg1"/>
                </a:solidFill>
              </a:rPr>
              <a:t>-47</a:t>
            </a:r>
          </a:p>
        </p:txBody>
      </p:sp>
      <p:sp>
        <p:nvSpPr>
          <p:cNvPr id="216" name="Rechteck 215">
            <a:extLst>
              <a:ext uri="{FF2B5EF4-FFF2-40B4-BE49-F238E27FC236}">
                <a16:creationId xmlns:a16="http://schemas.microsoft.com/office/drawing/2014/main" id="{367D58A3-BB20-46FD-93D5-54C5192760E8}"/>
              </a:ext>
            </a:extLst>
          </p:cNvPr>
          <p:cNvSpPr/>
          <p:nvPr>
            <p:custDataLst>
              <p:tags r:id="rId7"/>
            </p:custDataLst>
          </p:nvPr>
        </p:nvSpPr>
        <p:spPr bwMode="gray">
          <a:xfrm>
            <a:off x="7104055" y="2406752"/>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de-DE" sz="1200" dirty="0">
                <a:solidFill>
                  <a:schemeClr val="bg1"/>
                </a:solidFill>
              </a:rPr>
              <a:t>-2</a:t>
            </a:r>
            <a:endParaRPr lang="en-US" sz="1200" dirty="0">
              <a:solidFill>
                <a:schemeClr val="bg1"/>
              </a:solidFill>
            </a:endParaRPr>
          </a:p>
        </p:txBody>
      </p:sp>
      <p:sp>
        <p:nvSpPr>
          <p:cNvPr id="225" name="Rechteck 224">
            <a:extLst>
              <a:ext uri="{FF2B5EF4-FFF2-40B4-BE49-F238E27FC236}">
                <a16:creationId xmlns:a16="http://schemas.microsoft.com/office/drawing/2014/main" id="{09F6619A-2C01-4531-8440-206D08DE91FD}"/>
              </a:ext>
            </a:extLst>
          </p:cNvPr>
          <p:cNvSpPr/>
          <p:nvPr>
            <p:custDataLst>
              <p:tags r:id="rId8"/>
            </p:custDataLst>
          </p:nvPr>
        </p:nvSpPr>
        <p:spPr bwMode="gray">
          <a:xfrm>
            <a:off x="7863716" y="2691484"/>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41</a:t>
            </a:r>
          </a:p>
        </p:txBody>
      </p:sp>
      <p:sp>
        <p:nvSpPr>
          <p:cNvPr id="226" name="Rechteck 225">
            <a:extLst>
              <a:ext uri="{FF2B5EF4-FFF2-40B4-BE49-F238E27FC236}">
                <a16:creationId xmlns:a16="http://schemas.microsoft.com/office/drawing/2014/main" id="{4175E6EE-B99F-418B-87E4-73DBB925D2FA}"/>
              </a:ext>
            </a:extLst>
          </p:cNvPr>
          <p:cNvSpPr/>
          <p:nvPr>
            <p:custDataLst>
              <p:tags r:id="rId9"/>
            </p:custDataLst>
          </p:nvPr>
        </p:nvSpPr>
        <p:spPr bwMode="gray">
          <a:xfrm>
            <a:off x="7673109" y="2849971"/>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5</a:t>
            </a:r>
          </a:p>
        </p:txBody>
      </p:sp>
      <p:sp>
        <p:nvSpPr>
          <p:cNvPr id="228" name="Rechteck 227">
            <a:extLst>
              <a:ext uri="{FF2B5EF4-FFF2-40B4-BE49-F238E27FC236}">
                <a16:creationId xmlns:a16="http://schemas.microsoft.com/office/drawing/2014/main" id="{DE748FB1-2376-429B-A6BD-F786DAB5C008}"/>
              </a:ext>
            </a:extLst>
          </p:cNvPr>
          <p:cNvSpPr/>
          <p:nvPr>
            <p:custDataLst>
              <p:tags r:id="rId10"/>
            </p:custDataLst>
          </p:nvPr>
        </p:nvSpPr>
        <p:spPr bwMode="gray">
          <a:xfrm>
            <a:off x="8922128" y="3313668"/>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8</a:t>
            </a:r>
          </a:p>
        </p:txBody>
      </p:sp>
      <p:sp>
        <p:nvSpPr>
          <p:cNvPr id="229" name="Rechteck 228">
            <a:extLst>
              <a:ext uri="{FF2B5EF4-FFF2-40B4-BE49-F238E27FC236}">
                <a16:creationId xmlns:a16="http://schemas.microsoft.com/office/drawing/2014/main" id="{CFB87258-F801-48BA-B193-4053837C75F3}"/>
              </a:ext>
            </a:extLst>
          </p:cNvPr>
          <p:cNvSpPr/>
          <p:nvPr>
            <p:custDataLst>
              <p:tags r:id="rId11"/>
            </p:custDataLst>
          </p:nvPr>
        </p:nvSpPr>
        <p:spPr bwMode="gray">
          <a:xfrm>
            <a:off x="8748299" y="348893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de-DE" sz="1200" dirty="0">
                <a:solidFill>
                  <a:schemeClr val="tx1"/>
                </a:solidFill>
              </a:rPr>
              <a:t>+5</a:t>
            </a:r>
            <a:endParaRPr lang="en-US" sz="1200" dirty="0">
              <a:solidFill>
                <a:schemeClr val="tx1"/>
              </a:solidFill>
            </a:endParaRPr>
          </a:p>
        </p:txBody>
      </p:sp>
      <p:sp>
        <p:nvSpPr>
          <p:cNvPr id="231" name="Rechteck 230">
            <a:extLst>
              <a:ext uri="{FF2B5EF4-FFF2-40B4-BE49-F238E27FC236}">
                <a16:creationId xmlns:a16="http://schemas.microsoft.com/office/drawing/2014/main" id="{4A824B33-3B0E-4E11-AD9A-B602B283BBF1}"/>
              </a:ext>
            </a:extLst>
          </p:cNvPr>
          <p:cNvSpPr/>
          <p:nvPr>
            <p:custDataLst>
              <p:tags r:id="rId12"/>
            </p:custDataLst>
          </p:nvPr>
        </p:nvSpPr>
        <p:spPr bwMode="gray">
          <a:xfrm>
            <a:off x="8251008" y="3045220"/>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7</a:t>
            </a:r>
          </a:p>
        </p:txBody>
      </p:sp>
      <p:sp>
        <p:nvSpPr>
          <p:cNvPr id="232" name="Rechteck 231">
            <a:extLst>
              <a:ext uri="{FF2B5EF4-FFF2-40B4-BE49-F238E27FC236}">
                <a16:creationId xmlns:a16="http://schemas.microsoft.com/office/drawing/2014/main" id="{2C697118-C9F2-4B6C-A7E4-EBA18D078C0B}"/>
              </a:ext>
            </a:extLst>
          </p:cNvPr>
          <p:cNvSpPr/>
          <p:nvPr>
            <p:custDataLst>
              <p:tags r:id="rId13"/>
            </p:custDataLst>
          </p:nvPr>
        </p:nvSpPr>
        <p:spPr bwMode="gray">
          <a:xfrm>
            <a:off x="8077179" y="3203707"/>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de-DE" sz="1200" dirty="0">
                <a:solidFill>
                  <a:schemeClr val="tx1"/>
                </a:solidFill>
              </a:rPr>
              <a:t>-2</a:t>
            </a:r>
            <a:endParaRPr lang="en-US" sz="1200" dirty="0">
              <a:solidFill>
                <a:schemeClr val="tx1"/>
              </a:solidFill>
            </a:endParaRPr>
          </a:p>
        </p:txBody>
      </p:sp>
      <p:cxnSp>
        <p:nvCxnSpPr>
          <p:cNvPr id="234" name="Gerade Verbindung 997">
            <a:extLst>
              <a:ext uri="{FF2B5EF4-FFF2-40B4-BE49-F238E27FC236}">
                <a16:creationId xmlns:a16="http://schemas.microsoft.com/office/drawing/2014/main" id="{8EE88C56-6909-49FC-BBED-DB298FDD9DAE}"/>
              </a:ext>
            </a:extLst>
          </p:cNvPr>
          <p:cNvCxnSpPr>
            <a:cxnSpLocks/>
          </p:cNvCxnSpPr>
          <p:nvPr>
            <p:custDataLst>
              <p:tags r:id="rId14"/>
            </p:custDataLst>
          </p:nvPr>
        </p:nvCxnSpPr>
        <p:spPr bwMode="gray">
          <a:xfrm flipV="1">
            <a:off x="7661884" y="3011687"/>
            <a:ext cx="501800" cy="6148"/>
          </a:xfrm>
          <a:prstGeom prst="line">
            <a:avLst/>
          </a:prstGeom>
          <a:ln cap="rnd">
            <a:solidFill>
              <a:schemeClr val="tx1"/>
            </a:solidFill>
            <a:headEnd type="oval" w="sm" len="sm"/>
            <a:tailEnd type="none"/>
          </a:ln>
        </p:spPr>
        <p:style>
          <a:lnRef idx="1">
            <a:schemeClr val="accent1"/>
          </a:lnRef>
          <a:fillRef idx="0">
            <a:schemeClr val="accent1"/>
          </a:fillRef>
          <a:effectRef idx="0">
            <a:schemeClr val="accent1"/>
          </a:effectRef>
          <a:fontRef idx="minor">
            <a:schemeClr val="tx1"/>
          </a:fontRef>
        </p:style>
      </p:cxnSp>
      <p:cxnSp>
        <p:nvCxnSpPr>
          <p:cNvPr id="236" name="Gerade Verbindung 997">
            <a:extLst>
              <a:ext uri="{FF2B5EF4-FFF2-40B4-BE49-F238E27FC236}">
                <a16:creationId xmlns:a16="http://schemas.microsoft.com/office/drawing/2014/main" id="{C6C32F3A-6671-4349-A6A1-CC38BECDC670}"/>
              </a:ext>
            </a:extLst>
          </p:cNvPr>
          <p:cNvCxnSpPr>
            <a:cxnSpLocks/>
          </p:cNvCxnSpPr>
          <p:nvPr>
            <p:custDataLst>
              <p:tags r:id="rId15"/>
            </p:custDataLst>
          </p:nvPr>
        </p:nvCxnSpPr>
        <p:spPr bwMode="gray">
          <a:xfrm>
            <a:off x="7570665" y="3624157"/>
            <a:ext cx="1734013" cy="21582"/>
          </a:xfrm>
          <a:prstGeom prst="line">
            <a:avLst/>
          </a:prstGeom>
          <a:ln cap="rnd">
            <a:solidFill>
              <a:schemeClr val="tx1"/>
            </a:solidFill>
            <a:headEnd type="oval" w="sm" len="sm"/>
            <a:tailEnd type="none"/>
          </a:ln>
        </p:spPr>
        <p:style>
          <a:lnRef idx="1">
            <a:schemeClr val="accent1"/>
          </a:lnRef>
          <a:fillRef idx="0">
            <a:schemeClr val="accent1"/>
          </a:fillRef>
          <a:effectRef idx="0">
            <a:schemeClr val="accent1"/>
          </a:effectRef>
          <a:fontRef idx="minor">
            <a:schemeClr val="tx1"/>
          </a:fontRef>
        </p:style>
      </p:cxnSp>
      <p:cxnSp>
        <p:nvCxnSpPr>
          <p:cNvPr id="237" name="Gerade Verbindung 997">
            <a:extLst>
              <a:ext uri="{FF2B5EF4-FFF2-40B4-BE49-F238E27FC236}">
                <a16:creationId xmlns:a16="http://schemas.microsoft.com/office/drawing/2014/main" id="{CD2B5108-3EF0-4A96-B43A-7F85682C3B3E}"/>
              </a:ext>
            </a:extLst>
          </p:cNvPr>
          <p:cNvCxnSpPr>
            <a:cxnSpLocks/>
          </p:cNvCxnSpPr>
          <p:nvPr>
            <p:custDataLst>
              <p:tags r:id="rId16"/>
            </p:custDataLst>
          </p:nvPr>
        </p:nvCxnSpPr>
        <p:spPr bwMode="gray">
          <a:xfrm>
            <a:off x="7688405" y="3355417"/>
            <a:ext cx="932277" cy="10593"/>
          </a:xfrm>
          <a:prstGeom prst="line">
            <a:avLst/>
          </a:prstGeom>
          <a:ln cap="rnd">
            <a:solidFill>
              <a:schemeClr val="tx1"/>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238" name="Rechteck 237">
            <a:extLst>
              <a:ext uri="{FF2B5EF4-FFF2-40B4-BE49-F238E27FC236}">
                <a16:creationId xmlns:a16="http://schemas.microsoft.com/office/drawing/2014/main" id="{A3D78A8D-084A-433B-BE49-0148CE372A67}"/>
              </a:ext>
            </a:extLst>
          </p:cNvPr>
          <p:cNvSpPr/>
          <p:nvPr>
            <p:custDataLst>
              <p:tags r:id="rId17"/>
            </p:custDataLst>
          </p:nvPr>
        </p:nvSpPr>
        <p:spPr bwMode="gray">
          <a:xfrm>
            <a:off x="5802818" y="2962728"/>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21</a:t>
            </a:r>
          </a:p>
        </p:txBody>
      </p:sp>
      <p:sp>
        <p:nvSpPr>
          <p:cNvPr id="239" name="Rechteck 238">
            <a:extLst>
              <a:ext uri="{FF2B5EF4-FFF2-40B4-BE49-F238E27FC236}">
                <a16:creationId xmlns:a16="http://schemas.microsoft.com/office/drawing/2014/main" id="{3A57E9E1-33CA-4D58-B82D-FC112D49872B}"/>
              </a:ext>
            </a:extLst>
          </p:cNvPr>
          <p:cNvSpPr/>
          <p:nvPr>
            <p:custDataLst>
              <p:tags r:id="rId18"/>
            </p:custDataLst>
          </p:nvPr>
        </p:nvSpPr>
        <p:spPr bwMode="gray">
          <a:xfrm>
            <a:off x="5628989" y="313799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4</a:t>
            </a:r>
          </a:p>
        </p:txBody>
      </p:sp>
      <p:sp>
        <p:nvSpPr>
          <p:cNvPr id="14" name="Textfeld 13">
            <a:extLst>
              <a:ext uri="{FF2B5EF4-FFF2-40B4-BE49-F238E27FC236}">
                <a16:creationId xmlns:a16="http://schemas.microsoft.com/office/drawing/2014/main" id="{DB88D01E-B885-4E9F-A02C-86E958554558}"/>
              </a:ext>
            </a:extLst>
          </p:cNvPr>
          <p:cNvSpPr txBox="1"/>
          <p:nvPr/>
        </p:nvSpPr>
        <p:spPr>
          <a:xfrm>
            <a:off x="10002420" y="5591228"/>
            <a:ext cx="712855" cy="328418"/>
          </a:xfrm>
          <a:prstGeom prst="rect">
            <a:avLst/>
          </a:prstGeom>
          <a:solidFill>
            <a:srgbClr val="CBA6AB"/>
          </a:solidFill>
        </p:spPr>
        <p:txBody>
          <a:bodyPr wrap="none" lIns="0" tIns="0" rIns="0" bIns="0" rtlCol="0">
            <a:noAutofit/>
          </a:bodyPr>
          <a:lstStyle/>
          <a:p>
            <a:pPr>
              <a:lnSpc>
                <a:spcPct val="125000"/>
              </a:lnSpc>
              <a:buClr>
                <a:schemeClr val="tx2"/>
              </a:buClr>
            </a:pPr>
            <a:r>
              <a:rPr lang="es-ES_tradnl" sz="1600" dirty="0"/>
              <a:t>Turquía</a:t>
            </a:r>
          </a:p>
        </p:txBody>
      </p:sp>
      <p:sp>
        <p:nvSpPr>
          <p:cNvPr id="241" name="Rechteck 240">
            <a:extLst>
              <a:ext uri="{FF2B5EF4-FFF2-40B4-BE49-F238E27FC236}">
                <a16:creationId xmlns:a16="http://schemas.microsoft.com/office/drawing/2014/main" id="{78886C40-9725-46FE-A31F-00AC3D709778}"/>
              </a:ext>
            </a:extLst>
          </p:cNvPr>
          <p:cNvSpPr/>
          <p:nvPr>
            <p:custDataLst>
              <p:tags r:id="rId19"/>
            </p:custDataLst>
          </p:nvPr>
        </p:nvSpPr>
        <p:spPr bwMode="gray">
          <a:xfrm>
            <a:off x="10920635" y="559842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8</a:t>
            </a:r>
          </a:p>
        </p:txBody>
      </p:sp>
      <p:sp>
        <p:nvSpPr>
          <p:cNvPr id="242" name="Rechteck 241">
            <a:extLst>
              <a:ext uri="{FF2B5EF4-FFF2-40B4-BE49-F238E27FC236}">
                <a16:creationId xmlns:a16="http://schemas.microsoft.com/office/drawing/2014/main" id="{EE1671ED-38D7-475B-B5F3-473E3CE3A83B}"/>
              </a:ext>
            </a:extLst>
          </p:cNvPr>
          <p:cNvSpPr/>
          <p:nvPr>
            <p:custDataLst>
              <p:tags r:id="rId20"/>
            </p:custDataLst>
          </p:nvPr>
        </p:nvSpPr>
        <p:spPr bwMode="gray">
          <a:xfrm>
            <a:off x="10728607" y="579046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GB" sz="1200" dirty="0">
                <a:solidFill>
                  <a:schemeClr val="tx1"/>
                </a:solidFill>
              </a:rPr>
              <a:t>+5</a:t>
            </a:r>
            <a:endParaRPr lang="en-US" sz="1200" dirty="0">
              <a:solidFill>
                <a:schemeClr val="tx1"/>
              </a:solidFill>
            </a:endParaRPr>
          </a:p>
        </p:txBody>
      </p:sp>
      <p:sp>
        <p:nvSpPr>
          <p:cNvPr id="244" name="Rechteck 243">
            <a:extLst>
              <a:ext uri="{FF2B5EF4-FFF2-40B4-BE49-F238E27FC236}">
                <a16:creationId xmlns:a16="http://schemas.microsoft.com/office/drawing/2014/main" id="{F9061F18-33CD-4043-9AC6-AD32872EF77B}"/>
              </a:ext>
            </a:extLst>
          </p:cNvPr>
          <p:cNvSpPr/>
          <p:nvPr>
            <p:custDataLst>
              <p:tags r:id="rId21"/>
            </p:custDataLst>
          </p:nvPr>
        </p:nvSpPr>
        <p:spPr bwMode="gray">
          <a:xfrm>
            <a:off x="6517523" y="5166072"/>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5</a:t>
            </a:r>
          </a:p>
        </p:txBody>
      </p:sp>
      <p:sp>
        <p:nvSpPr>
          <p:cNvPr id="245" name="Rechteck 244">
            <a:extLst>
              <a:ext uri="{FF2B5EF4-FFF2-40B4-BE49-F238E27FC236}">
                <a16:creationId xmlns:a16="http://schemas.microsoft.com/office/drawing/2014/main" id="{4BFA3DBF-115D-4292-8D6D-0967618A0F6E}"/>
              </a:ext>
            </a:extLst>
          </p:cNvPr>
          <p:cNvSpPr/>
          <p:nvPr>
            <p:custDataLst>
              <p:tags r:id="rId22"/>
            </p:custDataLst>
          </p:nvPr>
        </p:nvSpPr>
        <p:spPr bwMode="gray">
          <a:xfrm>
            <a:off x="6275878" y="533007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3</a:t>
            </a:r>
          </a:p>
        </p:txBody>
      </p:sp>
      <p:sp>
        <p:nvSpPr>
          <p:cNvPr id="199" name="Rechteck 198">
            <a:extLst>
              <a:ext uri="{FF2B5EF4-FFF2-40B4-BE49-F238E27FC236}">
                <a16:creationId xmlns:a16="http://schemas.microsoft.com/office/drawing/2014/main" id="{5692468B-5AE5-44B1-9602-5DCC96B7252C}"/>
              </a:ext>
            </a:extLst>
          </p:cNvPr>
          <p:cNvSpPr/>
          <p:nvPr>
            <p:custDataLst>
              <p:tags r:id="rId23"/>
            </p:custDataLst>
          </p:nvPr>
        </p:nvSpPr>
        <p:spPr bwMode="gray">
          <a:xfrm>
            <a:off x="6745209" y="4717194"/>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3</a:t>
            </a:r>
          </a:p>
        </p:txBody>
      </p:sp>
      <p:sp>
        <p:nvSpPr>
          <p:cNvPr id="235" name="Rechteck 234">
            <a:extLst>
              <a:ext uri="{FF2B5EF4-FFF2-40B4-BE49-F238E27FC236}">
                <a16:creationId xmlns:a16="http://schemas.microsoft.com/office/drawing/2014/main" id="{3319CFAF-F4F9-4734-9518-F8CF7329DD23}"/>
              </a:ext>
            </a:extLst>
          </p:cNvPr>
          <p:cNvSpPr/>
          <p:nvPr>
            <p:custDataLst>
              <p:tags r:id="rId24"/>
            </p:custDataLst>
          </p:nvPr>
        </p:nvSpPr>
        <p:spPr bwMode="gray">
          <a:xfrm>
            <a:off x="6553182" y="4867292"/>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2</a:t>
            </a:r>
          </a:p>
        </p:txBody>
      </p:sp>
      <p:sp>
        <p:nvSpPr>
          <p:cNvPr id="247" name="Ellipse 983">
            <a:extLst>
              <a:ext uri="{FF2B5EF4-FFF2-40B4-BE49-F238E27FC236}">
                <a16:creationId xmlns:a16="http://schemas.microsoft.com/office/drawing/2014/main" id="{4F7A1E43-92F2-45B1-8F80-DE3B0A015965}"/>
              </a:ext>
            </a:extLst>
          </p:cNvPr>
          <p:cNvSpPr/>
          <p:nvPr>
            <p:custDataLst>
              <p:tags r:id="rId25"/>
            </p:custDataLst>
          </p:nvPr>
        </p:nvSpPr>
        <p:spPr bwMode="gray">
          <a:xfrm rot="17922702">
            <a:off x="7507299" y="2398181"/>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197" name="Ellipse 1037">
            <a:extLst>
              <a:ext uri="{FF2B5EF4-FFF2-40B4-BE49-F238E27FC236}">
                <a16:creationId xmlns:a16="http://schemas.microsoft.com/office/drawing/2014/main" id="{00AD6703-6703-4931-BDD3-8432574D788D}"/>
              </a:ext>
            </a:extLst>
          </p:cNvPr>
          <p:cNvSpPr/>
          <p:nvPr>
            <p:custDataLst>
              <p:tags r:id="rId26"/>
            </p:custDataLst>
          </p:nvPr>
        </p:nvSpPr>
        <p:spPr bwMode="gray">
          <a:xfrm rot="14448434">
            <a:off x="6020304" y="3132352"/>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03" name="Ellipse 983">
            <a:extLst>
              <a:ext uri="{FF2B5EF4-FFF2-40B4-BE49-F238E27FC236}">
                <a16:creationId xmlns:a16="http://schemas.microsoft.com/office/drawing/2014/main" id="{FF7A8453-6473-4E1A-8E18-525E30CC1591}"/>
              </a:ext>
            </a:extLst>
          </p:cNvPr>
          <p:cNvSpPr/>
          <p:nvPr>
            <p:custDataLst>
              <p:tags r:id="rId27"/>
            </p:custDataLst>
          </p:nvPr>
        </p:nvSpPr>
        <p:spPr bwMode="gray">
          <a:xfrm rot="19179353">
            <a:off x="8084552" y="2857497"/>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48" name="Ellipse 247">
            <a:extLst>
              <a:ext uri="{FF2B5EF4-FFF2-40B4-BE49-F238E27FC236}">
                <a16:creationId xmlns:a16="http://schemas.microsoft.com/office/drawing/2014/main" id="{B3518BC9-6319-4795-A6EB-54C9E9FECA39}"/>
              </a:ext>
            </a:extLst>
          </p:cNvPr>
          <p:cNvSpPr/>
          <p:nvPr>
            <p:custDataLst>
              <p:tags r:id="rId28"/>
            </p:custDataLst>
          </p:nvPr>
        </p:nvSpPr>
        <p:spPr bwMode="gray">
          <a:xfrm rot="19604229">
            <a:off x="6105318" y="5976817"/>
            <a:ext cx="143999"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52" name="Ellipse 1037">
            <a:extLst>
              <a:ext uri="{FF2B5EF4-FFF2-40B4-BE49-F238E27FC236}">
                <a16:creationId xmlns:a16="http://schemas.microsoft.com/office/drawing/2014/main" id="{3F49FC77-CB36-497E-B5CD-F9DDBE9CB85C}"/>
              </a:ext>
            </a:extLst>
          </p:cNvPr>
          <p:cNvSpPr/>
          <p:nvPr>
            <p:custDataLst>
              <p:tags r:id="rId29"/>
            </p:custDataLst>
          </p:nvPr>
        </p:nvSpPr>
        <p:spPr bwMode="gray">
          <a:xfrm rot="16200000">
            <a:off x="5686335" y="3717606"/>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53" name="Ellipse 1037">
            <a:extLst>
              <a:ext uri="{FF2B5EF4-FFF2-40B4-BE49-F238E27FC236}">
                <a16:creationId xmlns:a16="http://schemas.microsoft.com/office/drawing/2014/main" id="{3C6371B3-ADB2-407E-9FDF-CEFB4D7C98B2}"/>
              </a:ext>
            </a:extLst>
          </p:cNvPr>
          <p:cNvSpPr/>
          <p:nvPr>
            <p:custDataLst>
              <p:tags r:id="rId30"/>
            </p:custDataLst>
          </p:nvPr>
        </p:nvSpPr>
        <p:spPr bwMode="gray">
          <a:xfrm rot="18845301">
            <a:off x="8489455" y="3210373"/>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56" name="Ellipse 255">
            <a:extLst>
              <a:ext uri="{FF2B5EF4-FFF2-40B4-BE49-F238E27FC236}">
                <a16:creationId xmlns:a16="http://schemas.microsoft.com/office/drawing/2014/main" id="{1A364D83-6835-425A-8665-7478278E65AF}"/>
              </a:ext>
            </a:extLst>
          </p:cNvPr>
          <p:cNvSpPr/>
          <p:nvPr>
            <p:custDataLst>
              <p:tags r:id="rId31"/>
            </p:custDataLst>
          </p:nvPr>
        </p:nvSpPr>
        <p:spPr bwMode="gray">
          <a:xfrm rot="3578199">
            <a:off x="9152409" y="3479010"/>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57" name="Ellipse 256">
            <a:extLst>
              <a:ext uri="{FF2B5EF4-FFF2-40B4-BE49-F238E27FC236}">
                <a16:creationId xmlns:a16="http://schemas.microsoft.com/office/drawing/2014/main" id="{7B40A972-EE85-47D5-8087-96DDCF167DBE}"/>
              </a:ext>
            </a:extLst>
          </p:cNvPr>
          <p:cNvSpPr/>
          <p:nvPr>
            <p:custDataLst>
              <p:tags r:id="rId32"/>
            </p:custDataLst>
          </p:nvPr>
        </p:nvSpPr>
        <p:spPr bwMode="gray">
          <a:xfrm rot="5400000">
            <a:off x="8433968" y="4219030"/>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58" name="Ellipse 929">
            <a:extLst>
              <a:ext uri="{FF2B5EF4-FFF2-40B4-BE49-F238E27FC236}">
                <a16:creationId xmlns:a16="http://schemas.microsoft.com/office/drawing/2014/main" id="{7CDC56D2-A9CE-46F5-9AC7-41A69CB30A9F}"/>
              </a:ext>
            </a:extLst>
          </p:cNvPr>
          <p:cNvSpPr/>
          <p:nvPr>
            <p:custDataLst>
              <p:tags r:id="rId33"/>
            </p:custDataLst>
          </p:nvPr>
        </p:nvSpPr>
        <p:spPr bwMode="gray">
          <a:xfrm>
            <a:off x="7044673" y="4044587"/>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72" name="Ellipse 929">
            <a:extLst>
              <a:ext uri="{FF2B5EF4-FFF2-40B4-BE49-F238E27FC236}">
                <a16:creationId xmlns:a16="http://schemas.microsoft.com/office/drawing/2014/main" id="{D90A9905-F209-4541-AB37-AFA1F3FC6FB2}"/>
              </a:ext>
            </a:extLst>
          </p:cNvPr>
          <p:cNvSpPr/>
          <p:nvPr>
            <p:custDataLst>
              <p:tags r:id="rId34"/>
            </p:custDataLst>
          </p:nvPr>
        </p:nvSpPr>
        <p:spPr bwMode="gray">
          <a:xfrm rot="21149565">
            <a:off x="7001305" y="4884465"/>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75" name="Ellipse 1037">
            <a:extLst>
              <a:ext uri="{FF2B5EF4-FFF2-40B4-BE49-F238E27FC236}">
                <a16:creationId xmlns:a16="http://schemas.microsoft.com/office/drawing/2014/main" id="{7E51DF7D-5112-4C97-A5BB-640234EE475C}"/>
              </a:ext>
            </a:extLst>
          </p:cNvPr>
          <p:cNvSpPr/>
          <p:nvPr>
            <p:custDataLst>
              <p:tags r:id="rId35"/>
            </p:custDataLst>
          </p:nvPr>
        </p:nvSpPr>
        <p:spPr bwMode="gray">
          <a:xfrm rot="18693852">
            <a:off x="3340544" y="5112388"/>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77" name="Ellipse 1037">
            <a:extLst>
              <a:ext uri="{FF2B5EF4-FFF2-40B4-BE49-F238E27FC236}">
                <a16:creationId xmlns:a16="http://schemas.microsoft.com/office/drawing/2014/main" id="{86F6BF1B-9DB4-4697-A11A-5EC6BC8B65D9}"/>
              </a:ext>
            </a:extLst>
          </p:cNvPr>
          <p:cNvSpPr/>
          <p:nvPr>
            <p:custDataLst>
              <p:tags r:id="rId36"/>
            </p:custDataLst>
          </p:nvPr>
        </p:nvSpPr>
        <p:spPr bwMode="gray">
          <a:xfrm rot="16200000">
            <a:off x="6701254" y="2895374"/>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83" name="Ellipse 282">
            <a:extLst>
              <a:ext uri="{FF2B5EF4-FFF2-40B4-BE49-F238E27FC236}">
                <a16:creationId xmlns:a16="http://schemas.microsoft.com/office/drawing/2014/main" id="{646EE146-ED70-45EE-84CF-2B56CE0F53E2}"/>
              </a:ext>
            </a:extLst>
          </p:cNvPr>
          <p:cNvSpPr/>
          <p:nvPr>
            <p:custDataLst>
              <p:tags r:id="rId37"/>
            </p:custDataLst>
          </p:nvPr>
        </p:nvSpPr>
        <p:spPr bwMode="gray">
          <a:xfrm rot="19574508">
            <a:off x="9519752" y="4377004"/>
            <a:ext cx="143999"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00" name="Ellipse 1037">
            <a:extLst>
              <a:ext uri="{FF2B5EF4-FFF2-40B4-BE49-F238E27FC236}">
                <a16:creationId xmlns:a16="http://schemas.microsoft.com/office/drawing/2014/main" id="{70BA98B1-BD09-43AF-96E3-7C241894B5CE}"/>
              </a:ext>
            </a:extLst>
          </p:cNvPr>
          <p:cNvSpPr/>
          <p:nvPr>
            <p:custDataLst>
              <p:tags r:id="rId38"/>
            </p:custDataLst>
          </p:nvPr>
        </p:nvSpPr>
        <p:spPr bwMode="gray">
          <a:xfrm rot="16388138">
            <a:off x="4145864" y="5483739"/>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19" name="Ellipse 1037">
            <a:extLst>
              <a:ext uri="{FF2B5EF4-FFF2-40B4-BE49-F238E27FC236}">
                <a16:creationId xmlns:a16="http://schemas.microsoft.com/office/drawing/2014/main" id="{C4679675-C011-4241-98A8-8ECE8A8265D8}"/>
              </a:ext>
            </a:extLst>
          </p:cNvPr>
          <p:cNvSpPr/>
          <p:nvPr>
            <p:custDataLst>
              <p:tags r:id="rId39"/>
            </p:custDataLst>
          </p:nvPr>
        </p:nvSpPr>
        <p:spPr bwMode="gray">
          <a:xfrm rot="14281100">
            <a:off x="2378791" y="3318205"/>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30" name="Ellipse 229">
            <a:extLst>
              <a:ext uri="{FF2B5EF4-FFF2-40B4-BE49-F238E27FC236}">
                <a16:creationId xmlns:a16="http://schemas.microsoft.com/office/drawing/2014/main" id="{6E92C420-88E1-4B6A-B04B-75733AF6607F}"/>
              </a:ext>
            </a:extLst>
          </p:cNvPr>
          <p:cNvSpPr/>
          <p:nvPr>
            <p:custDataLst>
              <p:tags r:id="rId40"/>
            </p:custDataLst>
          </p:nvPr>
        </p:nvSpPr>
        <p:spPr bwMode="gray">
          <a:xfrm rot="3126506">
            <a:off x="11160635" y="5775646"/>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1" name="Ellipse 983">
            <a:extLst>
              <a:ext uri="{FF2B5EF4-FFF2-40B4-BE49-F238E27FC236}">
                <a16:creationId xmlns:a16="http://schemas.microsoft.com/office/drawing/2014/main" id="{CD4B43B4-1080-4BB7-B8EA-5BC0E253B180}"/>
              </a:ext>
            </a:extLst>
          </p:cNvPr>
          <p:cNvSpPr/>
          <p:nvPr>
            <p:custDataLst>
              <p:tags r:id="rId41"/>
            </p:custDataLst>
          </p:nvPr>
        </p:nvSpPr>
        <p:spPr bwMode="gray">
          <a:xfrm rot="16200000">
            <a:off x="7837472" y="5512909"/>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2" name="Ellipse 983">
            <a:extLst>
              <a:ext uri="{FF2B5EF4-FFF2-40B4-BE49-F238E27FC236}">
                <a16:creationId xmlns:a16="http://schemas.microsoft.com/office/drawing/2014/main" id="{DCEADA96-90C7-4B8B-8348-D03A626B94F0}"/>
              </a:ext>
            </a:extLst>
          </p:cNvPr>
          <p:cNvSpPr/>
          <p:nvPr>
            <p:custDataLst>
              <p:tags r:id="rId42"/>
            </p:custDataLst>
          </p:nvPr>
        </p:nvSpPr>
        <p:spPr bwMode="gray">
          <a:xfrm rot="16392156">
            <a:off x="8880550" y="6400185"/>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4" name="Ellipse 263">
            <a:extLst>
              <a:ext uri="{FF2B5EF4-FFF2-40B4-BE49-F238E27FC236}">
                <a16:creationId xmlns:a16="http://schemas.microsoft.com/office/drawing/2014/main" id="{D57D3A4F-A11A-47B7-9B33-828340BC9803}"/>
              </a:ext>
            </a:extLst>
          </p:cNvPr>
          <p:cNvSpPr/>
          <p:nvPr>
            <p:custDataLst>
              <p:tags r:id="rId43"/>
            </p:custDataLst>
          </p:nvPr>
        </p:nvSpPr>
        <p:spPr bwMode="gray">
          <a:xfrm>
            <a:off x="7849459" y="6088201"/>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5" name="Ellipse 264">
            <a:extLst>
              <a:ext uri="{FF2B5EF4-FFF2-40B4-BE49-F238E27FC236}">
                <a16:creationId xmlns:a16="http://schemas.microsoft.com/office/drawing/2014/main" id="{153D4671-88B9-4A16-9433-C05D560E2397}"/>
              </a:ext>
            </a:extLst>
          </p:cNvPr>
          <p:cNvSpPr/>
          <p:nvPr>
            <p:custDataLst>
              <p:tags r:id="rId44"/>
            </p:custDataLst>
          </p:nvPr>
        </p:nvSpPr>
        <p:spPr bwMode="gray">
          <a:xfrm rot="7630480">
            <a:off x="6725523" y="5341770"/>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6" name="Ellipse 265">
            <a:extLst>
              <a:ext uri="{FF2B5EF4-FFF2-40B4-BE49-F238E27FC236}">
                <a16:creationId xmlns:a16="http://schemas.microsoft.com/office/drawing/2014/main" id="{5CE75EC8-722A-46DB-AD0D-1AFF9D24DB36}"/>
              </a:ext>
            </a:extLst>
          </p:cNvPr>
          <p:cNvSpPr/>
          <p:nvPr>
            <p:custDataLst>
              <p:tags r:id="rId45"/>
            </p:custDataLst>
          </p:nvPr>
        </p:nvSpPr>
        <p:spPr bwMode="gray">
          <a:xfrm rot="5677737">
            <a:off x="5125405" y="4736934"/>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9" name="Ellipse 983">
            <a:extLst>
              <a:ext uri="{FF2B5EF4-FFF2-40B4-BE49-F238E27FC236}">
                <a16:creationId xmlns:a16="http://schemas.microsoft.com/office/drawing/2014/main" id="{387BF722-17BF-4D11-9DE8-1E96431FFAE3}"/>
              </a:ext>
            </a:extLst>
          </p:cNvPr>
          <p:cNvSpPr/>
          <p:nvPr>
            <p:custDataLst>
              <p:tags r:id="rId46"/>
            </p:custDataLst>
          </p:nvPr>
        </p:nvSpPr>
        <p:spPr bwMode="gray">
          <a:xfrm>
            <a:off x="3740538" y="3941569"/>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74" name="Ellipse 983">
            <a:extLst>
              <a:ext uri="{FF2B5EF4-FFF2-40B4-BE49-F238E27FC236}">
                <a16:creationId xmlns:a16="http://schemas.microsoft.com/office/drawing/2014/main" id="{0F934287-CEEE-4C13-B9E4-360597676409}"/>
              </a:ext>
            </a:extLst>
          </p:cNvPr>
          <p:cNvSpPr/>
          <p:nvPr>
            <p:custDataLst>
              <p:tags r:id="rId47"/>
            </p:custDataLst>
          </p:nvPr>
        </p:nvSpPr>
        <p:spPr bwMode="gray">
          <a:xfrm rot="10800000">
            <a:off x="5941035" y="4243527"/>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80" name="Ellipse 983">
            <a:extLst>
              <a:ext uri="{FF2B5EF4-FFF2-40B4-BE49-F238E27FC236}">
                <a16:creationId xmlns:a16="http://schemas.microsoft.com/office/drawing/2014/main" id="{B626215B-4B47-43A4-94AD-069438AEF149}"/>
              </a:ext>
            </a:extLst>
          </p:cNvPr>
          <p:cNvSpPr/>
          <p:nvPr>
            <p:custDataLst>
              <p:tags r:id="rId48"/>
            </p:custDataLst>
          </p:nvPr>
        </p:nvSpPr>
        <p:spPr bwMode="gray">
          <a:xfrm rot="16200000">
            <a:off x="6521861" y="4770239"/>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86" name="Rechteck 285">
            <a:extLst>
              <a:ext uri="{FF2B5EF4-FFF2-40B4-BE49-F238E27FC236}">
                <a16:creationId xmlns:a16="http://schemas.microsoft.com/office/drawing/2014/main" id="{85F1FDF1-0DE0-4264-96EE-31C1EF97EA68}"/>
              </a:ext>
            </a:extLst>
          </p:cNvPr>
          <p:cNvSpPr/>
          <p:nvPr>
            <p:custDataLst>
              <p:tags r:id="rId49"/>
            </p:custDataLst>
          </p:nvPr>
        </p:nvSpPr>
        <p:spPr bwMode="gray">
          <a:xfrm>
            <a:off x="8844185" y="4922148"/>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6</a:t>
            </a:r>
          </a:p>
        </p:txBody>
      </p:sp>
      <p:sp>
        <p:nvSpPr>
          <p:cNvPr id="288" name="Rechteck 287">
            <a:extLst>
              <a:ext uri="{FF2B5EF4-FFF2-40B4-BE49-F238E27FC236}">
                <a16:creationId xmlns:a16="http://schemas.microsoft.com/office/drawing/2014/main" id="{1FA3A32E-AAE2-4346-A12E-E4F6E04849F8}"/>
              </a:ext>
            </a:extLst>
          </p:cNvPr>
          <p:cNvSpPr/>
          <p:nvPr>
            <p:custDataLst>
              <p:tags r:id="rId50"/>
            </p:custDataLst>
          </p:nvPr>
        </p:nvSpPr>
        <p:spPr bwMode="gray">
          <a:xfrm>
            <a:off x="8652157" y="5114188"/>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GB" sz="1200" dirty="0">
                <a:solidFill>
                  <a:schemeClr val="tx1"/>
                </a:solidFill>
              </a:rPr>
              <a:t>+3</a:t>
            </a:r>
            <a:endParaRPr lang="en-US" sz="1200" dirty="0">
              <a:solidFill>
                <a:schemeClr val="tx1"/>
              </a:solidFill>
            </a:endParaRPr>
          </a:p>
        </p:txBody>
      </p:sp>
      <p:sp>
        <p:nvSpPr>
          <p:cNvPr id="291" name="Ellipse 290">
            <a:extLst>
              <a:ext uri="{FF2B5EF4-FFF2-40B4-BE49-F238E27FC236}">
                <a16:creationId xmlns:a16="http://schemas.microsoft.com/office/drawing/2014/main" id="{81E7F255-0AA2-43C9-823B-FC42056D4F36}"/>
              </a:ext>
            </a:extLst>
          </p:cNvPr>
          <p:cNvSpPr/>
          <p:nvPr>
            <p:custDataLst>
              <p:tags r:id="rId51"/>
            </p:custDataLst>
          </p:nvPr>
        </p:nvSpPr>
        <p:spPr bwMode="gray">
          <a:xfrm rot="3370282">
            <a:off x="9084185" y="5122481"/>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cxnSp>
        <p:nvCxnSpPr>
          <p:cNvPr id="292" name="Gerade Verbindung 997">
            <a:extLst>
              <a:ext uri="{FF2B5EF4-FFF2-40B4-BE49-F238E27FC236}">
                <a16:creationId xmlns:a16="http://schemas.microsoft.com/office/drawing/2014/main" id="{46F48061-5832-4BC9-87E6-AC454AA9B5DD}"/>
              </a:ext>
            </a:extLst>
          </p:cNvPr>
          <p:cNvCxnSpPr>
            <a:cxnSpLocks/>
          </p:cNvCxnSpPr>
          <p:nvPr>
            <p:custDataLst>
              <p:tags r:id="rId52"/>
            </p:custDataLst>
          </p:nvPr>
        </p:nvCxnSpPr>
        <p:spPr bwMode="gray">
          <a:xfrm>
            <a:off x="7145441" y="5276074"/>
            <a:ext cx="2081084" cy="18116"/>
          </a:xfrm>
          <a:prstGeom prst="line">
            <a:avLst/>
          </a:prstGeom>
          <a:ln cap="rnd">
            <a:solidFill>
              <a:schemeClr val="bg2"/>
            </a:solidFill>
            <a:headEnd type="oval" w="sm" len="sm"/>
            <a:tailEnd type="none"/>
          </a:ln>
          <a:effectLst/>
        </p:spPr>
        <p:style>
          <a:lnRef idx="1">
            <a:schemeClr val="accent1"/>
          </a:lnRef>
          <a:fillRef idx="0">
            <a:schemeClr val="accent1"/>
          </a:fillRef>
          <a:effectRef idx="0">
            <a:schemeClr val="accent1"/>
          </a:effectRef>
          <a:fontRef idx="minor">
            <a:schemeClr val="tx1"/>
          </a:fontRef>
        </p:style>
      </p:cxnSp>
      <p:sp>
        <p:nvSpPr>
          <p:cNvPr id="205" name="Rechteck 204">
            <a:extLst>
              <a:ext uri="{FF2B5EF4-FFF2-40B4-BE49-F238E27FC236}">
                <a16:creationId xmlns:a16="http://schemas.microsoft.com/office/drawing/2014/main" id="{8CB3F6E9-4BC6-4F36-9F8A-24D536E842D8}"/>
              </a:ext>
            </a:extLst>
          </p:cNvPr>
          <p:cNvSpPr/>
          <p:nvPr>
            <p:custDataLst>
              <p:tags r:id="rId53"/>
            </p:custDataLst>
          </p:nvPr>
        </p:nvSpPr>
        <p:spPr bwMode="gray">
          <a:xfrm>
            <a:off x="4714125" y="3543607"/>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bg1"/>
                </a:solidFill>
              </a:rPr>
              <a:t>-32</a:t>
            </a:r>
          </a:p>
        </p:txBody>
      </p:sp>
      <p:sp>
        <p:nvSpPr>
          <p:cNvPr id="215" name="Rechteck 214">
            <a:extLst>
              <a:ext uri="{FF2B5EF4-FFF2-40B4-BE49-F238E27FC236}">
                <a16:creationId xmlns:a16="http://schemas.microsoft.com/office/drawing/2014/main" id="{B161EFFD-1AFA-4252-9B32-D955759E73C9}"/>
              </a:ext>
            </a:extLst>
          </p:cNvPr>
          <p:cNvSpPr/>
          <p:nvPr>
            <p:custDataLst>
              <p:tags r:id="rId54"/>
            </p:custDataLst>
          </p:nvPr>
        </p:nvSpPr>
        <p:spPr bwMode="gray">
          <a:xfrm>
            <a:off x="4750388" y="3735650"/>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bg1"/>
                </a:solidFill>
              </a:rPr>
              <a:t>+2</a:t>
            </a:r>
          </a:p>
        </p:txBody>
      </p:sp>
      <p:sp>
        <p:nvSpPr>
          <p:cNvPr id="218" name="Ellipse 983">
            <a:extLst>
              <a:ext uri="{FF2B5EF4-FFF2-40B4-BE49-F238E27FC236}">
                <a16:creationId xmlns:a16="http://schemas.microsoft.com/office/drawing/2014/main" id="{DE73F314-F3F1-44D4-91FA-9CE226817C82}"/>
              </a:ext>
            </a:extLst>
          </p:cNvPr>
          <p:cNvSpPr/>
          <p:nvPr>
            <p:custDataLst>
              <p:tags r:id="rId55"/>
            </p:custDataLst>
          </p:nvPr>
        </p:nvSpPr>
        <p:spPr bwMode="gray">
          <a:xfrm rot="14779606">
            <a:off x="5155837" y="3720475"/>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20" name="Subtitle 19">
            <a:extLst>
              <a:ext uri="{FF2B5EF4-FFF2-40B4-BE49-F238E27FC236}">
                <a16:creationId xmlns:a16="http://schemas.microsoft.com/office/drawing/2014/main" id="{C22B0221-FA0E-440D-9ADB-EBE474E80A6D}"/>
              </a:ext>
            </a:extLst>
          </p:cNvPr>
          <p:cNvSpPr txBox="1">
            <a:spLocks/>
          </p:cNvSpPr>
          <p:nvPr/>
        </p:nvSpPr>
        <p:spPr>
          <a:xfrm>
            <a:off x="191344" y="980728"/>
            <a:ext cx="8641357" cy="360040"/>
          </a:xfrm>
          <a:prstGeom prst="rect">
            <a:avLst/>
          </a:prstGeom>
        </p:spPr>
        <p:txBody>
          <a:bodyPr/>
          <a:lstStyle>
            <a:lvl1pPr marL="266700" indent="-266700" algn="l" defTabSz="914400" rtl="0" eaLnBrk="1" latinLnBrk="0" hangingPunct="1">
              <a:lnSpc>
                <a:spcPct val="100000"/>
              </a:lnSpc>
              <a:spcBef>
                <a:spcPts val="1000"/>
              </a:spcBef>
              <a:buClrTx/>
              <a:buSzPct val="80000"/>
              <a:buFont typeface="Wingdings" panose="05000000000000000000" pitchFamily="2" charset="2"/>
              <a:buChar char="n"/>
              <a:defRPr sz="1600" kern="1200">
                <a:solidFill>
                  <a:schemeClr val="tx1"/>
                </a:solidFill>
                <a:latin typeface="+mn-lt"/>
                <a:ea typeface="+mn-ea"/>
                <a:cs typeface="+mn-cs"/>
              </a:defRPr>
            </a:lvl1pPr>
            <a:lvl2pPr marL="542925" indent="-276225" algn="l" defTabSz="914400" rtl="0" eaLnBrk="1" latinLnBrk="0" hangingPunct="1">
              <a:lnSpc>
                <a:spcPct val="100000"/>
              </a:lnSpc>
              <a:spcBef>
                <a:spcPts val="1000"/>
              </a:spcBef>
              <a:buClrTx/>
              <a:buSzPct val="80000"/>
              <a:buFont typeface="Wingdings" panose="05000000000000000000" pitchFamily="2" charset="2"/>
              <a:buChar char=""/>
              <a:defRPr sz="1600" kern="1200">
                <a:solidFill>
                  <a:schemeClr val="tx1"/>
                </a:solidFill>
                <a:latin typeface="+mn-lt"/>
                <a:ea typeface="+mn-ea"/>
                <a:cs typeface="+mn-cs"/>
              </a:defRPr>
            </a:lvl2pPr>
            <a:lvl3pPr marL="809625" indent="-266700" algn="l" defTabSz="914400" rtl="0" eaLnBrk="1" latinLnBrk="0" hangingPunct="1">
              <a:lnSpc>
                <a:spcPct val="100000"/>
              </a:lnSpc>
              <a:spcBef>
                <a:spcPts val="1000"/>
              </a:spcBef>
              <a:buClrTx/>
              <a:buSzPct val="100000"/>
              <a:buFont typeface="Courier New" panose="02070309020205020404" pitchFamily="49" charset="0"/>
              <a:buChar char="o"/>
              <a:defRPr sz="1600" kern="1200">
                <a:solidFill>
                  <a:schemeClr val="tx1"/>
                </a:solidFill>
                <a:latin typeface="+mn-lt"/>
                <a:ea typeface="+mn-ea"/>
                <a:cs typeface="+mn-cs"/>
              </a:defRPr>
            </a:lvl3pPr>
            <a:lvl4pPr marL="0" indent="0" algn="l" defTabSz="914400" rtl="0" eaLnBrk="1" latinLnBrk="0" hangingPunct="1">
              <a:lnSpc>
                <a:spcPct val="100000"/>
              </a:lnSpc>
              <a:spcBef>
                <a:spcPts val="1000"/>
              </a:spcBef>
              <a:buClrTx/>
              <a:buSzPct val="80000"/>
              <a:buFont typeface="Wingdings" panose="05000000000000000000" pitchFamily="2" charset="2"/>
              <a:buNone/>
              <a:defRPr sz="1600" kern="1200">
                <a:solidFill>
                  <a:schemeClr val="tx1"/>
                </a:solidFill>
                <a:latin typeface="+mn-lt"/>
                <a:ea typeface="+mn-ea"/>
                <a:cs typeface="+mn-cs"/>
              </a:defRPr>
            </a:lvl4pPr>
            <a:lvl5pPr marL="0" indent="0" algn="l" defTabSz="914400" rtl="0" eaLnBrk="1" latinLnBrk="0" hangingPunct="1">
              <a:lnSpc>
                <a:spcPct val="100000"/>
              </a:lnSpc>
              <a:spcBef>
                <a:spcPts val="1000"/>
              </a:spcBef>
              <a:buClrTx/>
              <a:buFont typeface="Wingdings 2" panose="05020102010507070707" pitchFamily="18" charset="2"/>
              <a:buNone/>
              <a:defRPr sz="1200" b="0" kern="1200">
                <a:solidFill>
                  <a:schemeClr val="tx1"/>
                </a:solidFill>
                <a:latin typeface="+mn-lt"/>
                <a:ea typeface="+mn-ea"/>
                <a:cs typeface="+mn-cs"/>
              </a:defRPr>
            </a:lvl5pPr>
            <a:lvl6pPr marL="266700" indent="-266700" algn="l" defTabSz="914400" rtl="0" eaLnBrk="1" latinLnBrk="0" hangingPunct="1">
              <a:lnSpc>
                <a:spcPct val="100000"/>
              </a:lnSpc>
              <a:spcBef>
                <a:spcPts val="600"/>
              </a:spcBef>
              <a:buClrTx/>
              <a:buSzPct val="80000"/>
              <a:buFont typeface="Wingdings" panose="05000000000000000000" pitchFamily="2" charset="2"/>
              <a:buChar char="n"/>
              <a:defRPr sz="1200" b="0" kern="1200">
                <a:solidFill>
                  <a:schemeClr val="tx1"/>
                </a:solidFill>
                <a:latin typeface="+mn-lt"/>
                <a:ea typeface="+mn-ea"/>
                <a:cs typeface="+mn-cs"/>
              </a:defRPr>
            </a:lvl6pPr>
            <a:lvl7pPr marL="542925" indent="-276225" algn="l" defTabSz="914400" rtl="0" eaLnBrk="1" latinLnBrk="0" hangingPunct="1">
              <a:lnSpc>
                <a:spcPct val="100000"/>
              </a:lnSpc>
              <a:spcBef>
                <a:spcPts val="600"/>
              </a:spcBef>
              <a:buClrTx/>
              <a:buSzPct val="80000"/>
              <a:buFont typeface="Wingdings" panose="05000000000000000000" pitchFamily="2" charset="2"/>
              <a:buChar char="o"/>
              <a:defRPr sz="1200" b="0" kern="1200">
                <a:solidFill>
                  <a:schemeClr val="tx1"/>
                </a:solidFill>
                <a:latin typeface="+mn-lt"/>
                <a:ea typeface="+mn-ea"/>
                <a:cs typeface="+mn-cs"/>
              </a:defRPr>
            </a:lvl7pPr>
            <a:lvl8pPr marL="809625" indent="-266700" algn="l" defTabSz="914400" rtl="0" eaLnBrk="1" latinLnBrk="0" hangingPunct="1">
              <a:lnSpc>
                <a:spcPct val="100000"/>
              </a:lnSpc>
              <a:spcBef>
                <a:spcPts val="600"/>
              </a:spcBef>
              <a:buClrTx/>
              <a:buSzPct val="100000"/>
              <a:buFont typeface="Courier New" panose="02070309020205020404" pitchFamily="49" charset="0"/>
              <a:buChar char="o"/>
              <a:defRPr sz="1200" b="0" kern="1200">
                <a:solidFill>
                  <a:schemeClr val="tx1"/>
                </a:solidFill>
                <a:latin typeface="+mn-lt"/>
                <a:ea typeface="+mn-ea"/>
                <a:cs typeface="+mn-cs"/>
              </a:defRPr>
            </a:lvl8pPr>
            <a:lvl9pPr marL="803275" indent="-268288" algn="l" defTabSz="914400" rtl="0" eaLnBrk="1" latinLnBrk="0" hangingPunct="1">
              <a:lnSpc>
                <a:spcPct val="100000"/>
              </a:lnSpc>
              <a:spcBef>
                <a:spcPts val="600"/>
              </a:spcBef>
              <a:buClrTx/>
              <a:buSzPct val="100000"/>
              <a:buFont typeface="Courier New" panose="02070309020205020404" pitchFamily="49" charset="0"/>
              <a:buChar char="o"/>
              <a:defRPr sz="1200" b="0" kern="1200">
                <a:solidFill>
                  <a:schemeClr val="tx1"/>
                </a:solidFill>
                <a:latin typeface="+mn-lt"/>
                <a:ea typeface="+mn-ea"/>
                <a:cs typeface="+mn-cs"/>
              </a:defRPr>
            </a:lvl9pPr>
          </a:lstStyle>
          <a:p>
            <a:pPr marL="0" indent="0">
              <a:buNone/>
            </a:pPr>
            <a:r>
              <a:rPr lang="es-ES_tradnl" sz="2000" dirty="0">
                <a:latin typeface="Lato Light" panose="020F0502020204030203" pitchFamily="34" charset="0"/>
                <a:ea typeface="Lato Light" panose="020F0502020204030203" pitchFamily="34" charset="0"/>
                <a:cs typeface="Lato Light" panose="020F0502020204030203" pitchFamily="34" charset="0"/>
              </a:rPr>
              <a:t>Diciembre 2023</a:t>
            </a:r>
          </a:p>
        </p:txBody>
      </p:sp>
      <p:sp>
        <p:nvSpPr>
          <p:cNvPr id="202" name="Freihandform: Form 201">
            <a:extLst>
              <a:ext uri="{FF2B5EF4-FFF2-40B4-BE49-F238E27FC236}">
                <a16:creationId xmlns:a16="http://schemas.microsoft.com/office/drawing/2014/main" id="{3974CF93-A7A8-4F7A-BA4C-297C417C3EB0}"/>
              </a:ext>
            </a:extLst>
          </p:cNvPr>
          <p:cNvSpPr/>
          <p:nvPr/>
        </p:nvSpPr>
        <p:spPr>
          <a:xfrm>
            <a:off x="8018304" y="4848334"/>
            <a:ext cx="196724" cy="128042"/>
          </a:xfrm>
          <a:custGeom>
            <a:avLst/>
            <a:gdLst>
              <a:gd name="connsiteX0" fmla="*/ 0 w 196724"/>
              <a:gd name="connsiteY0" fmla="*/ 128042 h 128042"/>
              <a:gd name="connsiteX1" fmla="*/ 3643 w 196724"/>
              <a:gd name="connsiteY1" fmla="*/ 109827 h 128042"/>
              <a:gd name="connsiteX2" fmla="*/ 14572 w 196724"/>
              <a:gd name="connsiteY2" fmla="*/ 102541 h 128042"/>
              <a:gd name="connsiteX3" fmla="*/ 21859 w 196724"/>
              <a:gd name="connsiteY3" fmla="*/ 91612 h 128042"/>
              <a:gd name="connsiteX4" fmla="*/ 32788 w 196724"/>
              <a:gd name="connsiteY4" fmla="*/ 87969 h 128042"/>
              <a:gd name="connsiteX5" fmla="*/ 76504 w 196724"/>
              <a:gd name="connsiteY5" fmla="*/ 84326 h 128042"/>
              <a:gd name="connsiteX6" fmla="*/ 54646 w 196724"/>
              <a:gd name="connsiteY6" fmla="*/ 51539 h 128042"/>
              <a:gd name="connsiteX7" fmla="*/ 58289 w 196724"/>
              <a:gd name="connsiteY7" fmla="*/ 26037 h 128042"/>
              <a:gd name="connsiteX8" fmla="*/ 69218 w 196724"/>
              <a:gd name="connsiteY8" fmla="*/ 22394 h 128042"/>
              <a:gd name="connsiteX9" fmla="*/ 80147 w 196724"/>
              <a:gd name="connsiteY9" fmla="*/ 11465 h 128042"/>
              <a:gd name="connsiteX10" fmla="*/ 87433 w 196724"/>
              <a:gd name="connsiteY10" fmla="*/ 536 h 128042"/>
              <a:gd name="connsiteX11" fmla="*/ 131149 w 196724"/>
              <a:gd name="connsiteY11" fmla="*/ 4179 h 128042"/>
              <a:gd name="connsiteX12" fmla="*/ 196724 w 196724"/>
              <a:gd name="connsiteY12" fmla="*/ 11465 h 12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24" h="128042">
                <a:moveTo>
                  <a:pt x="0" y="128042"/>
                </a:moveTo>
                <a:cubicBezTo>
                  <a:pt x="1214" y="121970"/>
                  <a:pt x="571" y="115203"/>
                  <a:pt x="3643" y="109827"/>
                </a:cubicBezTo>
                <a:cubicBezTo>
                  <a:pt x="5815" y="106026"/>
                  <a:pt x="11476" y="105637"/>
                  <a:pt x="14572" y="102541"/>
                </a:cubicBezTo>
                <a:cubicBezTo>
                  <a:pt x="17668" y="99445"/>
                  <a:pt x="18440" y="94347"/>
                  <a:pt x="21859" y="91612"/>
                </a:cubicBezTo>
                <a:cubicBezTo>
                  <a:pt x="24858" y="89213"/>
                  <a:pt x="28982" y="88477"/>
                  <a:pt x="32788" y="87969"/>
                </a:cubicBezTo>
                <a:cubicBezTo>
                  <a:pt x="47282" y="86036"/>
                  <a:pt x="61932" y="85540"/>
                  <a:pt x="76504" y="84326"/>
                </a:cubicBezTo>
                <a:cubicBezTo>
                  <a:pt x="72765" y="79652"/>
                  <a:pt x="55474" y="60646"/>
                  <a:pt x="54646" y="51539"/>
                </a:cubicBezTo>
                <a:cubicBezTo>
                  <a:pt x="53869" y="42987"/>
                  <a:pt x="54449" y="33717"/>
                  <a:pt x="58289" y="26037"/>
                </a:cubicBezTo>
                <a:cubicBezTo>
                  <a:pt x="60006" y="22602"/>
                  <a:pt x="65575" y="23608"/>
                  <a:pt x="69218" y="22394"/>
                </a:cubicBezTo>
                <a:cubicBezTo>
                  <a:pt x="72861" y="18751"/>
                  <a:pt x="76849" y="15423"/>
                  <a:pt x="80147" y="11465"/>
                </a:cubicBezTo>
                <a:cubicBezTo>
                  <a:pt x="82950" y="8101"/>
                  <a:pt x="83099" y="1155"/>
                  <a:pt x="87433" y="536"/>
                </a:cubicBezTo>
                <a:cubicBezTo>
                  <a:pt x="101909" y="-1532"/>
                  <a:pt x="116577" y="2965"/>
                  <a:pt x="131149" y="4179"/>
                </a:cubicBezTo>
                <a:cubicBezTo>
                  <a:pt x="172075" y="14410"/>
                  <a:pt x="150280" y="11465"/>
                  <a:pt x="196724" y="11465"/>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Rechteck 13">
            <a:extLst>
              <a:ext uri="{FF2B5EF4-FFF2-40B4-BE49-F238E27FC236}">
                <a16:creationId xmlns:a16="http://schemas.microsoft.com/office/drawing/2014/main" id="{4A368CA6-5BB8-CC28-E3CD-9BC662C3918F}"/>
              </a:ext>
            </a:extLst>
          </p:cNvPr>
          <p:cNvSpPr/>
          <p:nvPr/>
        </p:nvSpPr>
        <p:spPr bwMode="gray">
          <a:xfrm>
            <a:off x="1023888" y="6597368"/>
            <a:ext cx="7056000" cy="144000"/>
          </a:xfrm>
          <a:prstGeom prst="rect">
            <a:avLst/>
          </a:prstGeom>
          <a:no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s-ES_tradnl" sz="800" dirty="0">
                <a:solidFill>
                  <a:srgbClr val="8E8581"/>
                </a:solidFill>
                <a:latin typeface="Arial" pitchFamily="34" charset="0"/>
                <a:cs typeface="Arial" pitchFamily="34" charset="0"/>
              </a:rPr>
              <a:t>Fuente</a:t>
            </a:r>
            <a:r>
              <a:rPr kumimoji="0" lang="es-ES_tradnl" sz="800" b="0" i="0" u="none" strike="noStrike" kern="1200" cap="none" spc="0" normalizeH="0" baseline="0" noProof="0" dirty="0">
                <a:ln>
                  <a:noFill/>
                </a:ln>
                <a:solidFill>
                  <a:srgbClr val="8E8581"/>
                </a:solidFill>
                <a:effectLst/>
                <a:uLnTx/>
                <a:uFillTx/>
                <a:latin typeface="Arial" pitchFamily="34" charset="0"/>
                <a:ea typeface="+mn-ea"/>
                <a:cs typeface="Arial" pitchFamily="34" charset="0"/>
              </a:rPr>
              <a:t>: GfK Euro Clima </a:t>
            </a:r>
            <a:r>
              <a:rPr kumimoji="0" lang="es-ES_tradnl" sz="800" b="0" i="1" u="none" strike="noStrike" kern="1200" cap="none" spc="0" normalizeH="0" baseline="0" noProof="0" dirty="0" err="1">
                <a:ln>
                  <a:noFill/>
                </a:ln>
                <a:solidFill>
                  <a:srgbClr val="8E8581"/>
                </a:solidFill>
                <a:effectLst/>
                <a:uLnTx/>
                <a:uFillTx/>
                <a:latin typeface="Arial" pitchFamily="34" charset="0"/>
                <a:ea typeface="+mn-ea"/>
                <a:cs typeface="Arial" pitchFamily="34" charset="0"/>
              </a:rPr>
              <a:t>powered</a:t>
            </a:r>
            <a:r>
              <a:rPr kumimoji="0" lang="es-ES_tradnl" sz="800" b="0" i="1" u="none" strike="noStrike" kern="1200" cap="none" spc="0" normalizeH="0" baseline="0" noProof="0" dirty="0">
                <a:ln>
                  <a:noFill/>
                </a:ln>
                <a:solidFill>
                  <a:srgbClr val="8E8581"/>
                </a:solidFill>
                <a:effectLst/>
                <a:uLnTx/>
                <a:uFillTx/>
                <a:latin typeface="Arial" pitchFamily="34" charset="0"/>
                <a:ea typeface="+mn-ea"/>
                <a:cs typeface="Arial" pitchFamily="34" charset="0"/>
              </a:rPr>
              <a:t> </a:t>
            </a:r>
            <a:r>
              <a:rPr kumimoji="0" lang="es-ES_tradnl" sz="800" b="0" i="1" u="none" strike="noStrike" kern="1200" cap="none" spc="0" normalizeH="0" baseline="0" noProof="0" dirty="0" err="1">
                <a:ln>
                  <a:noFill/>
                </a:ln>
                <a:solidFill>
                  <a:srgbClr val="8E8581"/>
                </a:solidFill>
                <a:effectLst/>
                <a:uLnTx/>
                <a:uFillTx/>
                <a:latin typeface="Arial" pitchFamily="34" charset="0"/>
                <a:ea typeface="+mn-ea"/>
                <a:cs typeface="Arial" pitchFamily="34" charset="0"/>
              </a:rPr>
              <a:t>by</a:t>
            </a:r>
            <a:r>
              <a:rPr kumimoji="0" lang="es-ES_tradnl" sz="800" b="0" i="0" u="none" strike="noStrike" kern="1200" cap="none" spc="0" normalizeH="0" baseline="0" noProof="0" dirty="0">
                <a:ln>
                  <a:noFill/>
                </a:ln>
                <a:solidFill>
                  <a:srgbClr val="8E8581"/>
                </a:solidFill>
                <a:effectLst/>
                <a:uLnTx/>
                <a:uFillTx/>
                <a:latin typeface="Arial" pitchFamily="34" charset="0"/>
                <a:ea typeface="+mn-ea"/>
                <a:cs typeface="Arial" pitchFamily="34" charset="0"/>
              </a:rPr>
              <a:t> NIM, estudio por encargo de la Comisión EU | Diciembre 2023 | valores redondeados</a:t>
            </a:r>
          </a:p>
        </p:txBody>
      </p:sp>
      <p:sp>
        <p:nvSpPr>
          <p:cNvPr id="6" name="Rechteck 388">
            <a:extLst>
              <a:ext uri="{FF2B5EF4-FFF2-40B4-BE49-F238E27FC236}">
                <a16:creationId xmlns:a16="http://schemas.microsoft.com/office/drawing/2014/main" id="{015102CC-FD46-E252-136B-3D1644CF3B03}"/>
              </a:ext>
            </a:extLst>
          </p:cNvPr>
          <p:cNvSpPr/>
          <p:nvPr>
            <p:custDataLst>
              <p:tags r:id="rId56"/>
            </p:custDataLst>
          </p:nvPr>
        </p:nvSpPr>
        <p:spPr bwMode="gray">
          <a:xfrm>
            <a:off x="1313127" y="4677133"/>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en-US" sz="1100" dirty="0">
                <a:solidFill>
                  <a:schemeClr val="tx1">
                    <a:lumMod val="65000"/>
                    <a:lumOff val="35000"/>
                  </a:schemeClr>
                </a:solidFill>
                <a:cs typeface="Arial" pitchFamily="34" charset="0"/>
                <a:sym typeface="Wingdings"/>
              </a:rPr>
              <a:t>&gt; +5</a:t>
            </a:r>
            <a:endParaRPr lang="en-US" sz="1100" dirty="0">
              <a:solidFill>
                <a:schemeClr val="tx1">
                  <a:lumMod val="65000"/>
                  <a:lumOff val="35000"/>
                </a:schemeClr>
              </a:solidFill>
              <a:cs typeface="Arial" pitchFamily="34" charset="0"/>
            </a:endParaRPr>
          </a:p>
        </p:txBody>
      </p:sp>
      <p:sp>
        <p:nvSpPr>
          <p:cNvPr id="7" name="Rechteck 176">
            <a:extLst>
              <a:ext uri="{FF2B5EF4-FFF2-40B4-BE49-F238E27FC236}">
                <a16:creationId xmlns:a16="http://schemas.microsoft.com/office/drawing/2014/main" id="{E5578085-CE8D-17FD-E926-C10A83A2EDB1}"/>
              </a:ext>
            </a:extLst>
          </p:cNvPr>
          <p:cNvSpPr/>
          <p:nvPr>
            <p:custDataLst>
              <p:tags r:id="rId57"/>
            </p:custDataLst>
          </p:nvPr>
        </p:nvSpPr>
        <p:spPr bwMode="gray">
          <a:xfrm>
            <a:off x="1313127" y="4965165"/>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de-DE" sz="1100" dirty="0">
                <a:solidFill>
                  <a:schemeClr val="tx1">
                    <a:lumMod val="65000"/>
                    <a:lumOff val="35000"/>
                  </a:schemeClr>
                </a:solidFill>
                <a:cs typeface="Arial" pitchFamily="34" charset="0"/>
                <a:sym typeface="Wingdings"/>
              </a:rPr>
              <a:t>+1 a +5</a:t>
            </a:r>
            <a:endParaRPr lang="de-DE" sz="1100" dirty="0">
              <a:solidFill>
                <a:schemeClr val="tx1">
                  <a:lumMod val="65000"/>
                  <a:lumOff val="35000"/>
                </a:schemeClr>
              </a:solidFill>
              <a:cs typeface="Arial" pitchFamily="34" charset="0"/>
            </a:endParaRPr>
          </a:p>
        </p:txBody>
      </p:sp>
      <p:sp>
        <p:nvSpPr>
          <p:cNvPr id="8" name="Rechteck 177">
            <a:extLst>
              <a:ext uri="{FF2B5EF4-FFF2-40B4-BE49-F238E27FC236}">
                <a16:creationId xmlns:a16="http://schemas.microsoft.com/office/drawing/2014/main" id="{2F3581CB-85E8-656B-9247-1C885068B471}"/>
              </a:ext>
            </a:extLst>
          </p:cNvPr>
          <p:cNvSpPr/>
          <p:nvPr>
            <p:custDataLst>
              <p:tags r:id="rId58"/>
            </p:custDataLst>
          </p:nvPr>
        </p:nvSpPr>
        <p:spPr bwMode="gray">
          <a:xfrm>
            <a:off x="1313127" y="5253229"/>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de-DE" sz="1100" dirty="0">
                <a:solidFill>
                  <a:schemeClr val="tx1">
                    <a:lumMod val="65000"/>
                    <a:lumOff val="35000"/>
                  </a:schemeClr>
                </a:solidFill>
                <a:cs typeface="Arial" pitchFamily="34" charset="0"/>
                <a:sym typeface="Wingdings"/>
              </a:rPr>
              <a:t>-1 a +1</a:t>
            </a:r>
            <a:endParaRPr lang="de-DE" sz="1100" dirty="0">
              <a:solidFill>
                <a:schemeClr val="tx1">
                  <a:lumMod val="65000"/>
                  <a:lumOff val="35000"/>
                </a:schemeClr>
              </a:solidFill>
              <a:cs typeface="Arial" pitchFamily="34" charset="0"/>
            </a:endParaRPr>
          </a:p>
        </p:txBody>
      </p:sp>
      <p:sp>
        <p:nvSpPr>
          <p:cNvPr id="9" name="Rechteck 178">
            <a:extLst>
              <a:ext uri="{FF2B5EF4-FFF2-40B4-BE49-F238E27FC236}">
                <a16:creationId xmlns:a16="http://schemas.microsoft.com/office/drawing/2014/main" id="{E538E545-EF89-BE99-F545-3203C4CC0CD8}"/>
              </a:ext>
            </a:extLst>
          </p:cNvPr>
          <p:cNvSpPr/>
          <p:nvPr>
            <p:custDataLst>
              <p:tags r:id="rId59"/>
            </p:custDataLst>
          </p:nvPr>
        </p:nvSpPr>
        <p:spPr bwMode="gray">
          <a:xfrm>
            <a:off x="1313127" y="5541229"/>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de-DE" sz="1100" dirty="0">
                <a:solidFill>
                  <a:schemeClr val="tx1">
                    <a:lumMod val="65000"/>
                    <a:lumOff val="35000"/>
                  </a:schemeClr>
                </a:solidFill>
                <a:cs typeface="Arial" pitchFamily="34" charset="0"/>
                <a:sym typeface="Wingdings"/>
              </a:rPr>
              <a:t>-5 a -1</a:t>
            </a:r>
            <a:endParaRPr lang="de-DE" sz="1100" dirty="0">
              <a:solidFill>
                <a:schemeClr val="tx1">
                  <a:lumMod val="65000"/>
                  <a:lumOff val="35000"/>
                </a:schemeClr>
              </a:solidFill>
              <a:cs typeface="Arial" pitchFamily="34" charset="0"/>
            </a:endParaRPr>
          </a:p>
        </p:txBody>
      </p:sp>
      <p:sp>
        <p:nvSpPr>
          <p:cNvPr id="10" name="Rechteck 179">
            <a:extLst>
              <a:ext uri="{FF2B5EF4-FFF2-40B4-BE49-F238E27FC236}">
                <a16:creationId xmlns:a16="http://schemas.microsoft.com/office/drawing/2014/main" id="{BA39985D-7212-7F31-46F9-AA271735F4FB}"/>
              </a:ext>
            </a:extLst>
          </p:cNvPr>
          <p:cNvSpPr/>
          <p:nvPr>
            <p:custDataLst>
              <p:tags r:id="rId60"/>
            </p:custDataLst>
          </p:nvPr>
        </p:nvSpPr>
        <p:spPr bwMode="gray">
          <a:xfrm>
            <a:off x="1313127" y="5829261"/>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en-US" sz="1100" dirty="0">
                <a:solidFill>
                  <a:schemeClr val="tx1">
                    <a:lumMod val="65000"/>
                    <a:lumOff val="35000"/>
                  </a:schemeClr>
                </a:solidFill>
                <a:cs typeface="Arial" pitchFamily="34" charset="0"/>
                <a:sym typeface="Wingdings"/>
              </a:rPr>
              <a:t>&lt; -5</a:t>
            </a:r>
            <a:endParaRPr lang="en-US" sz="1100" dirty="0">
              <a:solidFill>
                <a:schemeClr val="tx1">
                  <a:lumMod val="65000"/>
                  <a:lumOff val="35000"/>
                </a:schemeClr>
              </a:solidFill>
              <a:cs typeface="Arial" pitchFamily="34" charset="0"/>
            </a:endParaRPr>
          </a:p>
        </p:txBody>
      </p:sp>
      <p:grpSp>
        <p:nvGrpSpPr>
          <p:cNvPr id="11" name="Gruppieren 184">
            <a:extLst>
              <a:ext uri="{FF2B5EF4-FFF2-40B4-BE49-F238E27FC236}">
                <a16:creationId xmlns:a16="http://schemas.microsoft.com/office/drawing/2014/main" id="{043466F2-959E-7088-28B6-E838793600A6}"/>
              </a:ext>
            </a:extLst>
          </p:cNvPr>
          <p:cNvGrpSpPr/>
          <p:nvPr>
            <p:custDataLst>
              <p:tags r:id="rId61"/>
            </p:custDataLst>
          </p:nvPr>
        </p:nvGrpSpPr>
        <p:grpSpPr bwMode="gray">
          <a:xfrm>
            <a:off x="1037417" y="4694964"/>
            <a:ext cx="144000" cy="144000"/>
            <a:chOff x="323548" y="3507850"/>
            <a:chExt cx="144000" cy="144000"/>
          </a:xfrm>
          <a:solidFill>
            <a:schemeClr val="bg2">
              <a:lumMod val="90000"/>
            </a:schemeClr>
          </a:solidFill>
        </p:grpSpPr>
        <p:sp>
          <p:nvSpPr>
            <p:cNvPr id="12" name="Ellipse 188">
              <a:extLst>
                <a:ext uri="{FF2B5EF4-FFF2-40B4-BE49-F238E27FC236}">
                  <a16:creationId xmlns:a16="http://schemas.microsoft.com/office/drawing/2014/main" id="{87B8D14A-6028-E789-096F-DB383C71D310}"/>
                </a:ext>
              </a:extLst>
            </p:cNvPr>
            <p:cNvSpPr/>
            <p:nvPr>
              <p:custDataLst>
                <p:tags r:id="rId81"/>
              </p:custDataLst>
            </p:nvPr>
          </p:nvSpPr>
          <p:spPr bwMode="gray">
            <a:xfrm>
              <a:off x="323548" y="3507850"/>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13" name="Ellipse 189">
              <a:extLst>
                <a:ext uri="{FF2B5EF4-FFF2-40B4-BE49-F238E27FC236}">
                  <a16:creationId xmlns:a16="http://schemas.microsoft.com/office/drawing/2014/main" id="{8C97363E-6E62-7994-7E32-37C7BCDFB971}"/>
                </a:ext>
              </a:extLst>
            </p:cNvPr>
            <p:cNvSpPr/>
            <p:nvPr>
              <p:custDataLst>
                <p:tags r:id="rId82"/>
              </p:custDataLst>
            </p:nvPr>
          </p:nvSpPr>
          <p:spPr bwMode="gray">
            <a:xfrm>
              <a:off x="323548" y="3507850"/>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grpSp>
        <p:nvGrpSpPr>
          <p:cNvPr id="15" name="Gruppieren 190">
            <a:extLst>
              <a:ext uri="{FF2B5EF4-FFF2-40B4-BE49-F238E27FC236}">
                <a16:creationId xmlns:a16="http://schemas.microsoft.com/office/drawing/2014/main" id="{5D06B374-CF34-F990-55B1-63BDCFC97A69}"/>
              </a:ext>
            </a:extLst>
          </p:cNvPr>
          <p:cNvGrpSpPr/>
          <p:nvPr>
            <p:custDataLst>
              <p:tags r:id="rId62"/>
            </p:custDataLst>
          </p:nvPr>
        </p:nvGrpSpPr>
        <p:grpSpPr bwMode="gray">
          <a:xfrm>
            <a:off x="1037417" y="5855837"/>
            <a:ext cx="144000" cy="144000"/>
            <a:chOff x="323548" y="4371946"/>
            <a:chExt cx="144000" cy="144000"/>
          </a:xfrm>
          <a:solidFill>
            <a:schemeClr val="bg2">
              <a:lumMod val="90000"/>
            </a:schemeClr>
          </a:solidFill>
        </p:grpSpPr>
        <p:sp>
          <p:nvSpPr>
            <p:cNvPr id="16" name="Ellipse 192">
              <a:extLst>
                <a:ext uri="{FF2B5EF4-FFF2-40B4-BE49-F238E27FC236}">
                  <a16:creationId xmlns:a16="http://schemas.microsoft.com/office/drawing/2014/main" id="{1E74EA4D-84DC-9750-3BEA-37F62201D6F7}"/>
                </a:ext>
              </a:extLst>
            </p:cNvPr>
            <p:cNvSpPr/>
            <p:nvPr>
              <p:custDataLst>
                <p:tags r:id="rId79"/>
              </p:custDataLst>
            </p:nvPr>
          </p:nvSpPr>
          <p:spPr bwMode="gray">
            <a:xfrm>
              <a:off x="323548" y="4371946"/>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17" name="Ellipse 194">
              <a:extLst>
                <a:ext uri="{FF2B5EF4-FFF2-40B4-BE49-F238E27FC236}">
                  <a16:creationId xmlns:a16="http://schemas.microsoft.com/office/drawing/2014/main" id="{E06022A0-B47F-CBB2-3596-BC5E9A5DF7C5}"/>
                </a:ext>
              </a:extLst>
            </p:cNvPr>
            <p:cNvSpPr/>
            <p:nvPr>
              <p:custDataLst>
                <p:tags r:id="rId80"/>
              </p:custDataLst>
            </p:nvPr>
          </p:nvSpPr>
          <p:spPr bwMode="gray">
            <a:xfrm>
              <a:off x="323548" y="4371946"/>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grpSp>
        <p:nvGrpSpPr>
          <p:cNvPr id="18" name="Gruppieren 195">
            <a:extLst>
              <a:ext uri="{FF2B5EF4-FFF2-40B4-BE49-F238E27FC236}">
                <a16:creationId xmlns:a16="http://schemas.microsoft.com/office/drawing/2014/main" id="{06DAA4DA-14B8-A7AD-0525-7A9C5C9182E6}"/>
              </a:ext>
            </a:extLst>
          </p:cNvPr>
          <p:cNvGrpSpPr/>
          <p:nvPr>
            <p:custDataLst>
              <p:tags r:id="rId63"/>
            </p:custDataLst>
          </p:nvPr>
        </p:nvGrpSpPr>
        <p:grpSpPr bwMode="gray">
          <a:xfrm>
            <a:off x="1037417" y="5565618"/>
            <a:ext cx="144000" cy="144000"/>
            <a:chOff x="323548" y="4155922"/>
            <a:chExt cx="144000" cy="144000"/>
          </a:xfrm>
          <a:solidFill>
            <a:schemeClr val="bg2">
              <a:lumMod val="90000"/>
            </a:schemeClr>
          </a:solidFill>
        </p:grpSpPr>
        <p:sp>
          <p:nvSpPr>
            <p:cNvPr id="19" name="Ellipse 206">
              <a:extLst>
                <a:ext uri="{FF2B5EF4-FFF2-40B4-BE49-F238E27FC236}">
                  <a16:creationId xmlns:a16="http://schemas.microsoft.com/office/drawing/2014/main" id="{590B46E2-1762-071B-9C27-9A561CB36ECC}"/>
                </a:ext>
              </a:extLst>
            </p:cNvPr>
            <p:cNvSpPr/>
            <p:nvPr>
              <p:custDataLst>
                <p:tags r:id="rId77"/>
              </p:custDataLst>
            </p:nvPr>
          </p:nvSpPr>
          <p:spPr bwMode="gray">
            <a:xfrm>
              <a:off x="323548" y="4155922"/>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20" name="Ellipse 207">
              <a:extLst>
                <a:ext uri="{FF2B5EF4-FFF2-40B4-BE49-F238E27FC236}">
                  <a16:creationId xmlns:a16="http://schemas.microsoft.com/office/drawing/2014/main" id="{19A5D4BB-524D-5306-7CDA-B064B3044602}"/>
                </a:ext>
              </a:extLst>
            </p:cNvPr>
            <p:cNvSpPr/>
            <p:nvPr>
              <p:custDataLst>
                <p:tags r:id="rId78"/>
              </p:custDataLst>
            </p:nvPr>
          </p:nvSpPr>
          <p:spPr bwMode="gray">
            <a:xfrm>
              <a:off x="323548" y="4155922"/>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grpSp>
        <p:nvGrpSpPr>
          <p:cNvPr id="21" name="Gruppieren 208">
            <a:extLst>
              <a:ext uri="{FF2B5EF4-FFF2-40B4-BE49-F238E27FC236}">
                <a16:creationId xmlns:a16="http://schemas.microsoft.com/office/drawing/2014/main" id="{346F9D46-47BD-FD29-928D-450586CAF90D}"/>
              </a:ext>
            </a:extLst>
          </p:cNvPr>
          <p:cNvGrpSpPr/>
          <p:nvPr>
            <p:custDataLst>
              <p:tags r:id="rId64"/>
            </p:custDataLst>
          </p:nvPr>
        </p:nvGrpSpPr>
        <p:grpSpPr bwMode="gray">
          <a:xfrm>
            <a:off x="1037417" y="5275400"/>
            <a:ext cx="144000" cy="144000"/>
            <a:chOff x="323548" y="3939922"/>
            <a:chExt cx="144000" cy="144000"/>
          </a:xfrm>
          <a:solidFill>
            <a:schemeClr val="bg2">
              <a:lumMod val="90000"/>
            </a:schemeClr>
          </a:solidFill>
        </p:grpSpPr>
        <p:sp>
          <p:nvSpPr>
            <p:cNvPr id="22" name="Ellipse 209">
              <a:extLst>
                <a:ext uri="{FF2B5EF4-FFF2-40B4-BE49-F238E27FC236}">
                  <a16:creationId xmlns:a16="http://schemas.microsoft.com/office/drawing/2014/main" id="{8111FE9A-B407-85EF-585F-D0B10F5BB2C1}"/>
                </a:ext>
              </a:extLst>
            </p:cNvPr>
            <p:cNvSpPr/>
            <p:nvPr>
              <p:custDataLst>
                <p:tags r:id="rId75"/>
              </p:custDataLst>
            </p:nvPr>
          </p:nvSpPr>
          <p:spPr bwMode="gray">
            <a:xfrm>
              <a:off x="323548" y="3939922"/>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23" name="Ellipse 210">
              <a:extLst>
                <a:ext uri="{FF2B5EF4-FFF2-40B4-BE49-F238E27FC236}">
                  <a16:creationId xmlns:a16="http://schemas.microsoft.com/office/drawing/2014/main" id="{AFE43C3A-B629-6DBC-0C4A-7A76337D3573}"/>
                </a:ext>
              </a:extLst>
            </p:cNvPr>
            <p:cNvSpPr/>
            <p:nvPr>
              <p:custDataLst>
                <p:tags r:id="rId76"/>
              </p:custDataLst>
            </p:nvPr>
          </p:nvSpPr>
          <p:spPr bwMode="gray">
            <a:xfrm>
              <a:off x="323548" y="3939922"/>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grpSp>
        <p:nvGrpSpPr>
          <p:cNvPr id="24" name="Gruppieren 211">
            <a:extLst>
              <a:ext uri="{FF2B5EF4-FFF2-40B4-BE49-F238E27FC236}">
                <a16:creationId xmlns:a16="http://schemas.microsoft.com/office/drawing/2014/main" id="{F2EB56B1-7258-B4B7-0354-D69E20944F76}"/>
              </a:ext>
            </a:extLst>
          </p:cNvPr>
          <p:cNvGrpSpPr/>
          <p:nvPr>
            <p:custDataLst>
              <p:tags r:id="rId65"/>
            </p:custDataLst>
          </p:nvPr>
        </p:nvGrpSpPr>
        <p:grpSpPr bwMode="gray">
          <a:xfrm>
            <a:off x="1037417" y="4985182"/>
            <a:ext cx="144000" cy="144000"/>
            <a:chOff x="323548" y="3723874"/>
            <a:chExt cx="144000" cy="144000"/>
          </a:xfrm>
          <a:solidFill>
            <a:schemeClr val="bg2">
              <a:lumMod val="90000"/>
            </a:schemeClr>
          </a:solidFill>
        </p:grpSpPr>
        <p:sp>
          <p:nvSpPr>
            <p:cNvPr id="25" name="Ellipse 212">
              <a:extLst>
                <a:ext uri="{FF2B5EF4-FFF2-40B4-BE49-F238E27FC236}">
                  <a16:creationId xmlns:a16="http://schemas.microsoft.com/office/drawing/2014/main" id="{2E5CFE26-4F79-45B4-E628-ED0C21E58454}"/>
                </a:ext>
              </a:extLst>
            </p:cNvPr>
            <p:cNvSpPr/>
            <p:nvPr>
              <p:custDataLst>
                <p:tags r:id="rId73"/>
              </p:custDataLst>
            </p:nvPr>
          </p:nvSpPr>
          <p:spPr bwMode="gray">
            <a:xfrm>
              <a:off x="323548" y="3723874"/>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26" name="Ellipse 213">
              <a:extLst>
                <a:ext uri="{FF2B5EF4-FFF2-40B4-BE49-F238E27FC236}">
                  <a16:creationId xmlns:a16="http://schemas.microsoft.com/office/drawing/2014/main" id="{97F183FD-18DA-08D3-C96D-E5187201FF42}"/>
                </a:ext>
              </a:extLst>
            </p:cNvPr>
            <p:cNvSpPr/>
            <p:nvPr>
              <p:custDataLst>
                <p:tags r:id="rId74"/>
              </p:custDataLst>
            </p:nvPr>
          </p:nvSpPr>
          <p:spPr bwMode="gray">
            <a:xfrm>
              <a:off x="323548" y="3723874"/>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sp>
        <p:nvSpPr>
          <p:cNvPr id="27" name="Rechteck 236">
            <a:extLst>
              <a:ext uri="{FF2B5EF4-FFF2-40B4-BE49-F238E27FC236}">
                <a16:creationId xmlns:a16="http://schemas.microsoft.com/office/drawing/2014/main" id="{6BB7AD76-5498-C1A7-CC91-26F4516D0F52}"/>
              </a:ext>
            </a:extLst>
          </p:cNvPr>
          <p:cNvSpPr/>
          <p:nvPr>
            <p:custDataLst>
              <p:tags r:id="rId66"/>
            </p:custDataLst>
          </p:nvPr>
        </p:nvSpPr>
        <p:spPr bwMode="gray">
          <a:xfrm>
            <a:off x="984612" y="4118266"/>
            <a:ext cx="1759701" cy="4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s-ES_tradnl" sz="1100" dirty="0">
                <a:solidFill>
                  <a:schemeClr val="tx1"/>
                </a:solidFill>
                <a:cs typeface="Arial" pitchFamily="34" charset="0"/>
                <a:sym typeface="Wingdings"/>
              </a:rPr>
              <a:t>Variación:</a:t>
            </a:r>
          </a:p>
          <a:p>
            <a:r>
              <a:rPr lang="es-ES_tradnl" sz="1100" dirty="0">
                <a:solidFill>
                  <a:schemeClr val="tx1"/>
                </a:solidFill>
                <a:cs typeface="Arial" pitchFamily="34" charset="0"/>
                <a:sym typeface="Wingdings"/>
              </a:rPr>
              <a:t>Diciembre 2023 vs. Noviembre 2023  </a:t>
            </a:r>
            <a:endParaRPr lang="es-ES_tradnl" sz="1100" dirty="0">
              <a:solidFill>
                <a:schemeClr val="tx1"/>
              </a:solidFill>
              <a:cs typeface="Arial" pitchFamily="34" charset="0"/>
            </a:endParaRPr>
          </a:p>
        </p:txBody>
      </p:sp>
      <p:cxnSp>
        <p:nvCxnSpPr>
          <p:cNvPr id="28" name="Gerade Verbindung 907">
            <a:extLst>
              <a:ext uri="{FF2B5EF4-FFF2-40B4-BE49-F238E27FC236}">
                <a16:creationId xmlns:a16="http://schemas.microsoft.com/office/drawing/2014/main" id="{C1E7EC9C-0930-7672-CC9A-353FD1F57DBA}"/>
              </a:ext>
            </a:extLst>
          </p:cNvPr>
          <p:cNvCxnSpPr>
            <a:cxnSpLocks/>
          </p:cNvCxnSpPr>
          <p:nvPr>
            <p:custDataLst>
              <p:tags r:id="rId67"/>
            </p:custDataLst>
          </p:nvPr>
        </p:nvCxnSpPr>
        <p:spPr bwMode="gray">
          <a:xfrm>
            <a:off x="1025138" y="3140968"/>
            <a:ext cx="1486335"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9" name="Rechteck 465">
            <a:extLst>
              <a:ext uri="{FF2B5EF4-FFF2-40B4-BE49-F238E27FC236}">
                <a16:creationId xmlns:a16="http://schemas.microsoft.com/office/drawing/2014/main" id="{63E39219-6277-D68A-3E05-4C6FB066680A}"/>
              </a:ext>
            </a:extLst>
          </p:cNvPr>
          <p:cNvSpPr/>
          <p:nvPr>
            <p:custDataLst>
              <p:tags r:id="rId68"/>
            </p:custDataLst>
          </p:nvPr>
        </p:nvSpPr>
        <p:spPr bwMode="gray">
          <a:xfrm>
            <a:off x="1024935" y="2180872"/>
            <a:ext cx="74317" cy="96000"/>
          </a:xfrm>
          <a:prstGeom prst="rect">
            <a:avLst/>
          </a:prstGeom>
          <a:solidFill>
            <a:srgbClr val="24892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88000" tIns="60960" rIns="0" bIns="60960" numCol="1" spcCol="0" rtlCol="0" fromWordArt="0" anchor="ctr" anchorCtr="0" forceAA="0" compatLnSpc="1">
            <a:prstTxWarp prst="textNoShape">
              <a:avLst/>
            </a:prstTxWarp>
            <a:noAutofit/>
          </a:bodyPr>
          <a:lstStyle/>
          <a:p>
            <a:pPr>
              <a:spcBef>
                <a:spcPts val="400"/>
              </a:spcBef>
            </a:pPr>
            <a:r>
              <a:rPr lang="es-ES_tradnl" sz="1100" dirty="0">
                <a:solidFill>
                  <a:schemeClr val="tx1"/>
                </a:solidFill>
                <a:cs typeface="Arial" pitchFamily="34" charset="0"/>
              </a:rPr>
              <a:t>Indicador &gt; +20</a:t>
            </a:r>
          </a:p>
        </p:txBody>
      </p:sp>
      <p:sp>
        <p:nvSpPr>
          <p:cNvPr id="30" name="Rechteck 466">
            <a:extLst>
              <a:ext uri="{FF2B5EF4-FFF2-40B4-BE49-F238E27FC236}">
                <a16:creationId xmlns:a16="http://schemas.microsoft.com/office/drawing/2014/main" id="{B8FA0D73-F1A2-4CF6-4C6B-ABAAD7EE34A5}"/>
              </a:ext>
            </a:extLst>
          </p:cNvPr>
          <p:cNvSpPr/>
          <p:nvPr>
            <p:custDataLst>
              <p:tags r:id="rId69"/>
            </p:custDataLst>
          </p:nvPr>
        </p:nvSpPr>
        <p:spPr bwMode="gray">
          <a:xfrm>
            <a:off x="1024935" y="2420899"/>
            <a:ext cx="74317" cy="96000"/>
          </a:xfrm>
          <a:prstGeom prst="rect">
            <a:avLst/>
          </a:prstGeom>
          <a:solidFill>
            <a:srgbClr val="73C37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88000" tIns="60960" rIns="0" bIns="60960" numCol="1" spcCol="0" rtlCol="0" fromWordArt="0" anchor="ctr" anchorCtr="0" forceAA="0" compatLnSpc="1">
            <a:prstTxWarp prst="textNoShape">
              <a:avLst/>
            </a:prstTxWarp>
            <a:noAutofit/>
          </a:bodyPr>
          <a:lstStyle/>
          <a:p>
            <a:pPr>
              <a:spcBef>
                <a:spcPts val="400"/>
              </a:spcBef>
            </a:pPr>
            <a:r>
              <a:rPr lang="es-ES_tradnl" sz="1100" dirty="0">
                <a:solidFill>
                  <a:schemeClr val="tx1"/>
                </a:solidFill>
                <a:cs typeface="Arial" pitchFamily="34" charset="0"/>
              </a:rPr>
              <a:t>Indicador 0 a +20</a:t>
            </a:r>
          </a:p>
        </p:txBody>
      </p:sp>
      <p:sp>
        <p:nvSpPr>
          <p:cNvPr id="31" name="Rechteck 467">
            <a:extLst>
              <a:ext uri="{FF2B5EF4-FFF2-40B4-BE49-F238E27FC236}">
                <a16:creationId xmlns:a16="http://schemas.microsoft.com/office/drawing/2014/main" id="{BE78E75B-F150-2CF6-2CEB-3BADB54EC1DC}"/>
              </a:ext>
            </a:extLst>
          </p:cNvPr>
          <p:cNvSpPr/>
          <p:nvPr>
            <p:custDataLst>
              <p:tags r:id="rId70"/>
            </p:custDataLst>
          </p:nvPr>
        </p:nvSpPr>
        <p:spPr bwMode="gray">
          <a:xfrm>
            <a:off x="1024935" y="2660925"/>
            <a:ext cx="74317" cy="96000"/>
          </a:xfrm>
          <a:prstGeom prst="rect">
            <a:avLst/>
          </a:prstGeom>
          <a:solidFill>
            <a:srgbClr val="CBA6A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88000" tIns="60960" rIns="0" bIns="60960" numCol="1" spcCol="0" rtlCol="0" fromWordArt="0" anchor="ctr" anchorCtr="0" forceAA="0" compatLnSpc="1">
            <a:prstTxWarp prst="textNoShape">
              <a:avLst/>
            </a:prstTxWarp>
            <a:noAutofit/>
          </a:bodyPr>
          <a:lstStyle/>
          <a:p>
            <a:pPr>
              <a:spcBef>
                <a:spcPts val="400"/>
              </a:spcBef>
            </a:pPr>
            <a:r>
              <a:rPr lang="es-ES_tradnl" sz="1100">
                <a:solidFill>
                  <a:schemeClr val="tx1"/>
                </a:solidFill>
                <a:cs typeface="Arial" pitchFamily="34" charset="0"/>
              </a:rPr>
              <a:t>Indicador 0 a -20</a:t>
            </a:r>
          </a:p>
        </p:txBody>
      </p:sp>
      <p:sp>
        <p:nvSpPr>
          <p:cNvPr id="32" name="Rechteck 468">
            <a:extLst>
              <a:ext uri="{FF2B5EF4-FFF2-40B4-BE49-F238E27FC236}">
                <a16:creationId xmlns:a16="http://schemas.microsoft.com/office/drawing/2014/main" id="{27148DEB-6920-AE8D-AA79-B7CE8492ADF2}"/>
              </a:ext>
            </a:extLst>
          </p:cNvPr>
          <p:cNvSpPr/>
          <p:nvPr>
            <p:custDataLst>
              <p:tags r:id="rId71"/>
            </p:custDataLst>
          </p:nvPr>
        </p:nvSpPr>
        <p:spPr bwMode="gray">
          <a:xfrm>
            <a:off x="1025229" y="2900941"/>
            <a:ext cx="74317" cy="96000"/>
          </a:xfrm>
          <a:prstGeom prst="rect">
            <a:avLst/>
          </a:prstGeom>
          <a:solidFill>
            <a:srgbClr val="9B000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88000" tIns="60960" rIns="0" bIns="60960" numCol="1" spcCol="0" rtlCol="0" fromWordArt="0" anchor="ctr" anchorCtr="0" forceAA="0" compatLnSpc="1">
            <a:prstTxWarp prst="textNoShape">
              <a:avLst/>
            </a:prstTxWarp>
            <a:noAutofit/>
          </a:bodyPr>
          <a:lstStyle/>
          <a:p>
            <a:pPr>
              <a:spcBef>
                <a:spcPts val="400"/>
              </a:spcBef>
            </a:pPr>
            <a:r>
              <a:rPr lang="es-ES_tradnl" sz="1100">
                <a:solidFill>
                  <a:schemeClr val="tx1"/>
                </a:solidFill>
                <a:cs typeface="Arial" pitchFamily="34" charset="0"/>
              </a:rPr>
              <a:t>Indicador &lt; -20</a:t>
            </a:r>
          </a:p>
        </p:txBody>
      </p:sp>
      <p:sp>
        <p:nvSpPr>
          <p:cNvPr id="33" name="Textfeld 201">
            <a:extLst>
              <a:ext uri="{FF2B5EF4-FFF2-40B4-BE49-F238E27FC236}">
                <a16:creationId xmlns:a16="http://schemas.microsoft.com/office/drawing/2014/main" id="{83CAB9B6-A7AE-14E4-9232-EC120003F24F}"/>
              </a:ext>
            </a:extLst>
          </p:cNvPr>
          <p:cNvSpPr txBox="1"/>
          <p:nvPr/>
        </p:nvSpPr>
        <p:spPr>
          <a:xfrm>
            <a:off x="1022457" y="1810352"/>
            <a:ext cx="914400" cy="284281"/>
          </a:xfrm>
          <a:prstGeom prst="rect">
            <a:avLst/>
          </a:prstGeom>
          <a:noFill/>
        </p:spPr>
        <p:txBody>
          <a:bodyPr wrap="none" lIns="0" tIns="0" rIns="0" bIns="0" rtlCol="0">
            <a:noAutofit/>
          </a:bodyPr>
          <a:lstStyle/>
          <a:p>
            <a:pPr>
              <a:lnSpc>
                <a:spcPct val="125000"/>
              </a:lnSpc>
              <a:buClr>
                <a:schemeClr val="tx2"/>
              </a:buClr>
            </a:pPr>
            <a:r>
              <a:rPr lang="es-ES_tradnl" sz="1100" dirty="0"/>
              <a:t>Nivel del indicador:</a:t>
            </a:r>
          </a:p>
        </p:txBody>
      </p:sp>
      <p:sp>
        <p:nvSpPr>
          <p:cNvPr id="39" name="Titel 1">
            <a:extLst>
              <a:ext uri="{FF2B5EF4-FFF2-40B4-BE49-F238E27FC236}">
                <a16:creationId xmlns:a16="http://schemas.microsoft.com/office/drawing/2014/main" id="{DEEF316A-77F3-1125-C588-ACDDF3C2CAA0}"/>
              </a:ext>
            </a:extLst>
          </p:cNvPr>
          <p:cNvSpPr txBox="1">
            <a:spLocks/>
          </p:cNvSpPr>
          <p:nvPr>
            <p:custDataLst>
              <p:tags r:id="rId72"/>
            </p:custDataLst>
          </p:nvPr>
        </p:nvSpPr>
        <p:spPr bwMode="gray">
          <a:xfrm>
            <a:off x="263352" y="260648"/>
            <a:ext cx="9226674" cy="369332"/>
          </a:xfrm>
          <a:prstGeom prst="rect">
            <a:avLst/>
          </a:prstGeom>
        </p:spPr>
        <p:txBody>
          <a:bodyPr vert="horz" wrap="square" lIns="0" tIns="0" rIns="0" bIns="0" rtlCol="0" anchor="t">
            <a:spAutoFit/>
          </a:bodyPr>
          <a:lstStyle>
            <a:lvl1pPr algn="l" defTabSz="914400" rtl="0" eaLnBrk="1" latinLnBrk="0" hangingPunct="1">
              <a:lnSpc>
                <a:spcPct val="100000"/>
              </a:lnSpc>
              <a:spcBef>
                <a:spcPct val="0"/>
              </a:spcBef>
              <a:buNone/>
              <a:defRPr sz="2400" b="0" kern="1200">
                <a:solidFill>
                  <a:schemeClr val="tx1"/>
                </a:solidFill>
                <a:latin typeface="+mj-lt"/>
                <a:ea typeface="+mj-ea"/>
                <a:cs typeface="+mj-cs"/>
              </a:defRPr>
            </a:lvl1pPr>
          </a:lstStyle>
          <a:p>
            <a:r>
              <a:rPr lang="es-ES_tradnl" b="1" dirty="0"/>
              <a:t>Disposición a comprar | Sin cambios y en niveles muy bajos</a:t>
            </a:r>
          </a:p>
        </p:txBody>
      </p:sp>
    </p:spTree>
    <p:custDataLst>
      <p:tags r:id="rId1"/>
    </p:custDataLst>
    <p:extLst>
      <p:ext uri="{BB962C8B-B14F-4D97-AF65-F5344CB8AC3E}">
        <p14:creationId xmlns:p14="http://schemas.microsoft.com/office/powerpoint/2010/main" val="37000408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Marcador de texto 12">
            <a:extLst>
              <a:ext uri="{FF2B5EF4-FFF2-40B4-BE49-F238E27FC236}">
                <a16:creationId xmlns:a16="http://schemas.microsoft.com/office/drawing/2014/main" id="{5F59DAD2-4B14-3271-7C59-749FAF531CD4}"/>
              </a:ext>
            </a:extLst>
          </p:cNvPr>
          <p:cNvSpPr>
            <a:spLocks noGrp="1"/>
          </p:cNvSpPr>
          <p:nvPr>
            <p:ph type="body" sz="quarter" idx="17"/>
          </p:nvPr>
        </p:nvSpPr>
        <p:spPr/>
        <p:txBody>
          <a:bodyPr/>
          <a:lstStyle/>
          <a:p>
            <a:r>
              <a:rPr lang="es-ES" dirty="0"/>
              <a:t>03</a:t>
            </a:r>
          </a:p>
        </p:txBody>
      </p:sp>
      <p:sp>
        <p:nvSpPr>
          <p:cNvPr id="7" name="Título 6">
            <a:extLst>
              <a:ext uri="{FF2B5EF4-FFF2-40B4-BE49-F238E27FC236}">
                <a16:creationId xmlns:a16="http://schemas.microsoft.com/office/drawing/2014/main" id="{A99230D3-0F66-3C8F-43EB-59B434A81A89}"/>
              </a:ext>
            </a:extLst>
          </p:cNvPr>
          <p:cNvSpPr>
            <a:spLocks noGrp="1"/>
          </p:cNvSpPr>
          <p:nvPr>
            <p:ph type="title"/>
          </p:nvPr>
        </p:nvSpPr>
        <p:spPr/>
        <p:txBody>
          <a:bodyPr/>
          <a:lstStyle/>
          <a:p>
            <a:r>
              <a:rPr lang="es-ES" dirty="0"/>
              <a:t>Metodología</a:t>
            </a:r>
          </a:p>
        </p:txBody>
      </p:sp>
      <p:sp>
        <p:nvSpPr>
          <p:cNvPr id="14" name="Marcador de texto 13">
            <a:extLst>
              <a:ext uri="{FF2B5EF4-FFF2-40B4-BE49-F238E27FC236}">
                <a16:creationId xmlns:a16="http://schemas.microsoft.com/office/drawing/2014/main" id="{E2205D82-92E0-D637-09FC-18E5D1D9EEE7}"/>
              </a:ext>
            </a:extLst>
          </p:cNvPr>
          <p:cNvSpPr>
            <a:spLocks noGrp="1"/>
          </p:cNvSpPr>
          <p:nvPr>
            <p:ph type="body" sz="quarter" idx="21"/>
          </p:nvPr>
        </p:nvSpPr>
        <p:spPr/>
        <p:txBody>
          <a:bodyPr/>
          <a:lstStyle/>
          <a:p>
            <a:endParaRPr lang="es-ES"/>
          </a:p>
        </p:txBody>
      </p:sp>
    </p:spTree>
    <p:extLst>
      <p:ext uri="{BB962C8B-B14F-4D97-AF65-F5344CB8AC3E}">
        <p14:creationId xmlns:p14="http://schemas.microsoft.com/office/powerpoint/2010/main" val="31737383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 name="Objekt 76"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Folie" r:id="rId20" imgW="216" imgH="216" progId="TCLayout.ActiveDocument.1">
                  <p:embed/>
                </p:oleObj>
              </mc:Choice>
              <mc:Fallback>
                <p:oleObj name="think-cell Folie" r:id="rId20" imgW="216" imgH="216" progId="TCLayout.ActiveDocument.1">
                  <p:embed/>
                  <p:pic>
                    <p:nvPicPr>
                      <p:cNvPr id="77" name="Objekt 76" hidden="1"/>
                      <p:cNvPicPr/>
                      <p:nvPr/>
                    </p:nvPicPr>
                    <p:blipFill>
                      <a:blip r:embed="rId21"/>
                      <a:stretch>
                        <a:fillRect/>
                      </a:stretch>
                    </p:blipFill>
                    <p:spPr>
                      <a:xfrm>
                        <a:off x="2118" y="2118"/>
                        <a:ext cx="2116" cy="2116"/>
                      </a:xfrm>
                      <a:prstGeom prst="rect">
                        <a:avLst/>
                      </a:prstGeom>
                    </p:spPr>
                  </p:pic>
                </p:oleObj>
              </mc:Fallback>
            </mc:AlternateContent>
          </a:graphicData>
        </a:graphic>
      </p:graphicFrame>
      <p:pic>
        <p:nvPicPr>
          <p:cNvPr id="72" name="Grafik 71"/>
          <p:cNvPicPr>
            <a:picLocks noChangeAspect="1"/>
          </p:cNvPicPr>
          <p:nvPr/>
        </p:nvPicPr>
        <p:blipFill>
          <a:blip r:embed="rId22" cstate="print">
            <a:extLst>
              <a:ext uri="{28A0092B-C50C-407E-A947-70E740481C1C}">
                <a14:useLocalDpi xmlns:a14="http://schemas.microsoft.com/office/drawing/2010/main" val="0"/>
              </a:ext>
            </a:extLst>
          </a:blip>
          <a:srcRect/>
          <a:stretch/>
        </p:blipFill>
        <p:spPr>
          <a:xfrm>
            <a:off x="308132" y="1889376"/>
            <a:ext cx="2155200" cy="1436630"/>
          </a:xfrm>
          <a:prstGeom prst="rect">
            <a:avLst/>
          </a:prstGeom>
        </p:spPr>
      </p:pic>
      <p:pic>
        <p:nvPicPr>
          <p:cNvPr id="74" name="Grafik 73"/>
          <p:cNvPicPr>
            <a:picLocks noChangeAspect="1"/>
          </p:cNvPicPr>
          <p:nvPr/>
        </p:nvPicPr>
        <p:blipFill>
          <a:blip r:embed="rId23" cstate="print">
            <a:extLst>
              <a:ext uri="{28A0092B-C50C-407E-A947-70E740481C1C}">
                <a14:useLocalDpi xmlns:a14="http://schemas.microsoft.com/office/drawing/2010/main" val="0"/>
              </a:ext>
            </a:extLst>
          </a:blip>
          <a:srcRect/>
          <a:stretch/>
        </p:blipFill>
        <p:spPr>
          <a:xfrm>
            <a:off x="4916721" y="1886322"/>
            <a:ext cx="2155200" cy="1436800"/>
          </a:xfrm>
          <a:prstGeom prst="rect">
            <a:avLst/>
          </a:prstGeom>
        </p:spPr>
      </p:pic>
      <p:pic>
        <p:nvPicPr>
          <p:cNvPr id="75" name="Grafik 74"/>
          <p:cNvPicPr>
            <a:picLocks noChangeAspect="1"/>
          </p:cNvPicPr>
          <p:nvPr/>
        </p:nvPicPr>
        <p:blipFill>
          <a:blip r:embed="rId24" cstate="print">
            <a:extLst>
              <a:ext uri="{28A0092B-C50C-407E-A947-70E740481C1C}">
                <a14:useLocalDpi xmlns:a14="http://schemas.microsoft.com/office/drawing/2010/main" val="0"/>
              </a:ext>
            </a:extLst>
          </a:blip>
          <a:srcRect/>
          <a:stretch/>
        </p:blipFill>
        <p:spPr>
          <a:xfrm>
            <a:off x="2630371" y="1886322"/>
            <a:ext cx="2155200" cy="1436800"/>
          </a:xfrm>
          <a:prstGeom prst="rect">
            <a:avLst/>
          </a:prstGeom>
        </p:spPr>
      </p:pic>
      <p:pic>
        <p:nvPicPr>
          <p:cNvPr id="20" name="Grafik 19">
            <a:extLst>
              <a:ext uri="{FF2B5EF4-FFF2-40B4-BE49-F238E27FC236}">
                <a16:creationId xmlns:a16="http://schemas.microsoft.com/office/drawing/2014/main" id="{05F192C0-6B43-4047-ADC7-93EF85C12BC5}"/>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7296983" y="1886322"/>
            <a:ext cx="2155200" cy="1438237"/>
          </a:xfrm>
          <a:prstGeom prst="rect">
            <a:avLst/>
          </a:prstGeom>
        </p:spPr>
      </p:pic>
      <p:sp>
        <p:nvSpPr>
          <p:cNvPr id="21" name="Rechteck 20">
            <a:extLst>
              <a:ext uri="{FF2B5EF4-FFF2-40B4-BE49-F238E27FC236}">
                <a16:creationId xmlns:a16="http://schemas.microsoft.com/office/drawing/2014/main" id="{CB208310-5765-4731-8215-2BB03EFEA640}"/>
              </a:ext>
            </a:extLst>
          </p:cNvPr>
          <p:cNvSpPr/>
          <p:nvPr>
            <p:custDataLst>
              <p:tags r:id="rId2"/>
            </p:custDataLst>
          </p:nvPr>
        </p:nvSpPr>
        <p:spPr bwMode="gray">
          <a:xfrm>
            <a:off x="7315500" y="3452370"/>
            <a:ext cx="213646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spcBef>
                <a:spcPts val="600"/>
              </a:spcBef>
              <a:spcAft>
                <a:spcPts val="300"/>
              </a:spcAft>
            </a:pPr>
            <a:r>
              <a:rPr lang="en-US" sz="1000" b="1">
                <a:solidFill>
                  <a:schemeClr val="tx1"/>
                </a:solidFill>
                <a:cs typeface="Arial" panose="020B0604020202020204" pitchFamily="34" charset="0"/>
              </a:rPr>
              <a:t>Disposición</a:t>
            </a:r>
            <a:r>
              <a:rPr lang="en-US" sz="1000" b="1" dirty="0">
                <a:solidFill>
                  <a:schemeClr val="tx1"/>
                </a:solidFill>
                <a:cs typeface="Arial" panose="020B0604020202020204" pitchFamily="34" charset="0"/>
              </a:rPr>
              <a:t> </a:t>
            </a:r>
            <a:r>
              <a:rPr lang="en-US" sz="1000" b="1">
                <a:solidFill>
                  <a:schemeClr val="tx1"/>
                </a:solidFill>
                <a:cs typeface="Arial" panose="020B0604020202020204" pitchFamily="34" charset="0"/>
              </a:rPr>
              <a:t>a Ahorrar</a:t>
            </a:r>
            <a:endParaRPr lang="en-US" sz="1000" b="1" dirty="0">
              <a:solidFill>
                <a:schemeClr val="tx1"/>
              </a:solidFill>
              <a:cs typeface="Arial" panose="020B0604020202020204" pitchFamily="34" charset="0"/>
            </a:endParaRPr>
          </a:p>
        </p:txBody>
      </p:sp>
      <p:cxnSp>
        <p:nvCxnSpPr>
          <p:cNvPr id="22" name="Gerade Verbindung 10">
            <a:extLst>
              <a:ext uri="{FF2B5EF4-FFF2-40B4-BE49-F238E27FC236}">
                <a16:creationId xmlns:a16="http://schemas.microsoft.com/office/drawing/2014/main" id="{3F3F658B-D592-471E-AE55-216D823AA1C8}"/>
              </a:ext>
            </a:extLst>
          </p:cNvPr>
          <p:cNvCxnSpPr>
            <a:cxnSpLocks/>
          </p:cNvCxnSpPr>
          <p:nvPr/>
        </p:nvCxnSpPr>
        <p:spPr bwMode="gray">
          <a:xfrm>
            <a:off x="7315500" y="3630171"/>
            <a:ext cx="213646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1">
            <a:extLst>
              <a:ext uri="{FF2B5EF4-FFF2-40B4-BE49-F238E27FC236}">
                <a16:creationId xmlns:a16="http://schemas.microsoft.com/office/drawing/2014/main" id="{1F5A7F31-6DA6-46CD-AA0A-591CB957B5C0}"/>
              </a:ext>
            </a:extLst>
          </p:cNvPr>
          <p:cNvSpPr txBox="1">
            <a:spLocks/>
          </p:cNvSpPr>
          <p:nvPr>
            <p:custDataLst>
              <p:tags r:id="rId3"/>
            </p:custDataLst>
          </p:nvPr>
        </p:nvSpPr>
        <p:spPr bwMode="gray">
          <a:xfrm>
            <a:off x="7315821" y="3699308"/>
            <a:ext cx="2136361" cy="1148540"/>
          </a:xfrm>
          <a:prstGeom prst="rect">
            <a:avLst/>
          </a:prstGeom>
          <a:noFill/>
          <a:ln w="9525">
            <a:noFill/>
          </a:ln>
        </p:spPr>
        <p:txBody>
          <a:bodyPr vert="horz" lIns="0" tIns="0" rIns="0" bIns="0" rtlCol="0">
            <a:noAutofit/>
          </a:bodyPr>
          <a:lstStyle>
            <a:defPPr>
              <a:defRPr lang="en-US"/>
            </a:defPPr>
            <a:lvl1pPr marR="0" indent="0" fontAlgn="auto">
              <a:lnSpc>
                <a:spcPct val="100000"/>
              </a:lnSpc>
              <a:spcBef>
                <a:spcPts val="300"/>
              </a:spcBef>
              <a:spcAft>
                <a:spcPts val="0"/>
              </a:spcAft>
              <a:buClrTx/>
              <a:buSzTx/>
              <a:buFont typeface="Arial" pitchFamily="34" charset="0"/>
              <a:buNone/>
              <a:tabLst/>
              <a:defRPr sz="1600">
                <a:latin typeface="Arial" pitchFamily="34" charset="0"/>
                <a:cs typeface="Arial" pitchFamily="34" charset="0"/>
              </a:defRPr>
            </a:lvl1pPr>
            <a:lvl2pPr marL="0" marR="0" lvl="1" indent="0" fontAlgn="auto">
              <a:lnSpc>
                <a:spcPct val="100000"/>
              </a:lnSpc>
              <a:spcBef>
                <a:spcPts val="300"/>
              </a:spcBef>
              <a:spcAft>
                <a:spcPts val="0"/>
              </a:spcAft>
              <a:buClrTx/>
              <a:buSzTx/>
              <a:buFont typeface="Wingdings" panose="05000000000000000000" pitchFamily="2" charset="2"/>
              <a:buNone/>
              <a:tabLst/>
              <a:defRPr sz="1000">
                <a:cs typeface="Arial" pitchFamily="34" charset="0"/>
              </a:defRPr>
            </a:lvl2pPr>
            <a:lvl3pPr marL="360000" marR="0" indent="-180975" fontAlgn="auto">
              <a:lnSpc>
                <a:spcPct val="100000"/>
              </a:lnSpc>
              <a:spcBef>
                <a:spcPts val="300"/>
              </a:spcBef>
              <a:spcAft>
                <a:spcPts val="0"/>
              </a:spcAft>
              <a:buClrTx/>
              <a:buSzTx/>
              <a:buFont typeface="Wingdings" panose="05000000000000000000" pitchFamily="2" charset="2"/>
              <a:buChar char="§"/>
              <a:tabLst/>
              <a:defRPr sz="1600">
                <a:cs typeface="Arial" pitchFamily="34" charset="0"/>
              </a:defRPr>
            </a:lvl3pPr>
            <a:lvl4pPr marL="540000" marR="0" indent="-180975" fontAlgn="auto">
              <a:lnSpc>
                <a:spcPct val="100000"/>
              </a:lnSpc>
              <a:spcBef>
                <a:spcPts val="300"/>
              </a:spcBef>
              <a:spcAft>
                <a:spcPts val="0"/>
              </a:spcAft>
              <a:buClrTx/>
              <a:buSzTx/>
              <a:buFont typeface="Wingdings" panose="05000000000000000000" pitchFamily="2" charset="2"/>
              <a:buChar char="§"/>
              <a:tabLst/>
              <a:defRPr sz="1600">
                <a:cs typeface="Arial" pitchFamily="34" charset="0"/>
              </a:defRPr>
            </a:lvl4pPr>
            <a:lvl5pPr marL="720000" marR="0" indent="-180975" fontAlgn="auto">
              <a:lnSpc>
                <a:spcPct val="100000"/>
              </a:lnSpc>
              <a:spcBef>
                <a:spcPts val="300"/>
              </a:spcBef>
              <a:spcAft>
                <a:spcPts val="0"/>
              </a:spcAft>
              <a:buClrTx/>
              <a:buSzTx/>
              <a:buFont typeface="Wingdings" panose="05000000000000000000" pitchFamily="2" charset="2"/>
              <a:buChar char="§"/>
              <a:tabLst/>
              <a:defRPr sz="1600" b="0" baseline="0">
                <a:cs typeface="Arial" pitchFamily="34" charset="0"/>
              </a:defRPr>
            </a:lvl5pPr>
            <a:lvl6pPr marL="720000" marR="0" indent="-180975" fontAlgn="auto">
              <a:lnSpc>
                <a:spcPct val="100000"/>
              </a:lnSpc>
              <a:spcBef>
                <a:spcPts val="300"/>
              </a:spcBef>
              <a:spcAft>
                <a:spcPts val="0"/>
              </a:spcAft>
              <a:buClrTx/>
              <a:buSzTx/>
              <a:buFont typeface="Wingdings" panose="05000000000000000000" pitchFamily="2" charset="2"/>
              <a:buChar char="§"/>
              <a:tabLst/>
              <a:defRPr sz="1600">
                <a:cs typeface="Arial" pitchFamily="34" charset="0"/>
              </a:defRPr>
            </a:lvl6pPr>
            <a:lvl7pPr marL="720000" marR="0" indent="-180975" fontAlgn="auto">
              <a:lnSpc>
                <a:spcPct val="100000"/>
              </a:lnSpc>
              <a:spcBef>
                <a:spcPts val="300"/>
              </a:spcBef>
              <a:spcAft>
                <a:spcPts val="0"/>
              </a:spcAft>
              <a:buClrTx/>
              <a:buSzTx/>
              <a:buFont typeface="Wingdings" panose="05000000000000000000" pitchFamily="2" charset="2"/>
              <a:buChar char="§"/>
              <a:tabLst/>
              <a:defRPr sz="1600">
                <a:cs typeface="Arial" pitchFamily="34" charset="0"/>
              </a:defRPr>
            </a:lvl7pPr>
            <a:lvl8pPr marL="539750" indent="-180975">
              <a:spcBef>
                <a:spcPts val="300"/>
              </a:spcBef>
              <a:buFont typeface="Arial" pitchFamily="34" charset="0"/>
              <a:buChar char="•"/>
              <a:defRPr sz="1600"/>
            </a:lvl8pPr>
            <a:lvl9pPr marL="720000" marR="0" indent="-180975" fontAlgn="auto">
              <a:lnSpc>
                <a:spcPct val="100000"/>
              </a:lnSpc>
              <a:spcBef>
                <a:spcPts val="300"/>
              </a:spcBef>
              <a:spcAft>
                <a:spcPts val="0"/>
              </a:spcAft>
              <a:buClrTx/>
              <a:buSzTx/>
              <a:buFont typeface="Wingdings" panose="05000000000000000000" pitchFamily="2" charset="2"/>
              <a:buChar char="§"/>
              <a:tabLst/>
              <a:defRPr sz="1600">
                <a:latin typeface="Arial" pitchFamily="34" charset="0"/>
                <a:cs typeface="Arial" pitchFamily="34" charset="0"/>
              </a:defRPr>
            </a:lvl9pPr>
          </a:lstStyle>
          <a:p>
            <a:pPr lvl="1"/>
            <a:r>
              <a:rPr lang="es-ES_tradnl"/>
              <a:t>En vista de la situación económica general, ¿cree que ahora es…?</a:t>
            </a:r>
          </a:p>
        </p:txBody>
      </p:sp>
      <p:sp>
        <p:nvSpPr>
          <p:cNvPr id="24" name="Text Placeholder 1">
            <a:extLst>
              <a:ext uri="{FF2B5EF4-FFF2-40B4-BE49-F238E27FC236}">
                <a16:creationId xmlns:a16="http://schemas.microsoft.com/office/drawing/2014/main" id="{5DBC9FB0-58C3-471A-97F2-6C13D1121BB6}"/>
              </a:ext>
            </a:extLst>
          </p:cNvPr>
          <p:cNvSpPr txBox="1">
            <a:spLocks/>
          </p:cNvSpPr>
          <p:nvPr>
            <p:custDataLst>
              <p:tags r:id="rId4"/>
            </p:custDataLst>
          </p:nvPr>
        </p:nvSpPr>
        <p:spPr bwMode="gray">
          <a:xfrm>
            <a:off x="7315821" y="4795492"/>
            <a:ext cx="2136361" cy="1389743"/>
          </a:xfrm>
          <a:prstGeom prst="rect">
            <a:avLst/>
          </a:prstGeom>
          <a:noFill/>
          <a:ln w="9525">
            <a:noFill/>
          </a:ln>
        </p:spPr>
        <p:txBody>
          <a:bodyPr vert="horz" lIns="0" tIns="0" rIns="0" bIns="0" rtlCol="0">
            <a:noAutofit/>
          </a:bodyPr>
          <a:lstStyle>
            <a:defPPr>
              <a:defRPr lang="en-US"/>
            </a:defPPr>
            <a:lvl1pPr marR="0" indent="0" fontAlgn="auto">
              <a:lnSpc>
                <a:spcPct val="100000"/>
              </a:lnSpc>
              <a:spcBef>
                <a:spcPts val="300"/>
              </a:spcBef>
              <a:spcAft>
                <a:spcPts val="0"/>
              </a:spcAft>
              <a:buClrTx/>
              <a:buSzTx/>
              <a:buFont typeface="Arial" pitchFamily="34" charset="0"/>
              <a:buNone/>
              <a:tabLst/>
              <a:defRPr sz="1600">
                <a:latin typeface="Arial" pitchFamily="34" charset="0"/>
                <a:cs typeface="Arial" pitchFamily="34" charset="0"/>
              </a:defRPr>
            </a:lvl1pPr>
            <a:lvl2pPr marL="0" marR="0" lvl="1" indent="0" fontAlgn="auto">
              <a:lnSpc>
                <a:spcPct val="100000"/>
              </a:lnSpc>
              <a:spcBef>
                <a:spcPts val="0"/>
              </a:spcBef>
              <a:spcAft>
                <a:spcPts val="0"/>
              </a:spcAft>
              <a:buClrTx/>
              <a:buSzTx/>
              <a:buFont typeface="Wingdings" panose="05000000000000000000" pitchFamily="2" charset="2"/>
              <a:buNone/>
              <a:tabLst/>
              <a:defRPr sz="1000">
                <a:cs typeface="Arial" pitchFamily="34" charset="0"/>
              </a:defRPr>
            </a:lvl2pPr>
            <a:lvl3pPr marL="360000" marR="0" indent="-180975" fontAlgn="auto">
              <a:lnSpc>
                <a:spcPct val="100000"/>
              </a:lnSpc>
              <a:spcBef>
                <a:spcPts val="300"/>
              </a:spcBef>
              <a:spcAft>
                <a:spcPts val="0"/>
              </a:spcAft>
              <a:buClrTx/>
              <a:buSzTx/>
              <a:buFont typeface="Wingdings" panose="05000000000000000000" pitchFamily="2" charset="2"/>
              <a:buChar char="§"/>
              <a:tabLst/>
              <a:defRPr sz="1600">
                <a:cs typeface="Arial" pitchFamily="34" charset="0"/>
              </a:defRPr>
            </a:lvl3pPr>
            <a:lvl4pPr marL="540000" marR="0" indent="-180975" fontAlgn="auto">
              <a:lnSpc>
                <a:spcPct val="100000"/>
              </a:lnSpc>
              <a:spcBef>
                <a:spcPts val="300"/>
              </a:spcBef>
              <a:spcAft>
                <a:spcPts val="0"/>
              </a:spcAft>
              <a:buClrTx/>
              <a:buSzTx/>
              <a:buFont typeface="Wingdings" panose="05000000000000000000" pitchFamily="2" charset="2"/>
              <a:buChar char="§"/>
              <a:tabLst/>
              <a:defRPr sz="1600">
                <a:cs typeface="Arial" pitchFamily="34" charset="0"/>
              </a:defRPr>
            </a:lvl4pPr>
            <a:lvl5pPr marL="720000" marR="0" indent="-180975" fontAlgn="auto">
              <a:lnSpc>
                <a:spcPct val="100000"/>
              </a:lnSpc>
              <a:spcBef>
                <a:spcPts val="300"/>
              </a:spcBef>
              <a:spcAft>
                <a:spcPts val="0"/>
              </a:spcAft>
              <a:buClrTx/>
              <a:buSzTx/>
              <a:buFont typeface="Wingdings" panose="05000000000000000000" pitchFamily="2" charset="2"/>
              <a:buChar char="§"/>
              <a:tabLst/>
              <a:defRPr sz="1600" b="0" baseline="0">
                <a:cs typeface="Arial" pitchFamily="34" charset="0"/>
              </a:defRPr>
            </a:lvl5pPr>
            <a:lvl6pPr marL="720000" marR="0" indent="-180975" fontAlgn="auto">
              <a:lnSpc>
                <a:spcPct val="100000"/>
              </a:lnSpc>
              <a:spcBef>
                <a:spcPts val="300"/>
              </a:spcBef>
              <a:spcAft>
                <a:spcPts val="0"/>
              </a:spcAft>
              <a:buClrTx/>
              <a:buSzTx/>
              <a:buFont typeface="Wingdings" panose="05000000000000000000" pitchFamily="2" charset="2"/>
              <a:buChar char="§"/>
              <a:tabLst/>
              <a:defRPr sz="1600">
                <a:cs typeface="Arial" pitchFamily="34" charset="0"/>
              </a:defRPr>
            </a:lvl6pPr>
            <a:lvl7pPr marL="720000" marR="0" indent="-180975" fontAlgn="auto">
              <a:lnSpc>
                <a:spcPct val="100000"/>
              </a:lnSpc>
              <a:spcBef>
                <a:spcPts val="300"/>
              </a:spcBef>
              <a:spcAft>
                <a:spcPts val="0"/>
              </a:spcAft>
              <a:buClrTx/>
              <a:buSzTx/>
              <a:buFont typeface="Wingdings" panose="05000000000000000000" pitchFamily="2" charset="2"/>
              <a:buChar char="§"/>
              <a:tabLst/>
              <a:defRPr sz="1600">
                <a:cs typeface="Arial" pitchFamily="34" charset="0"/>
              </a:defRPr>
            </a:lvl7pPr>
            <a:lvl8pPr marL="539750" indent="-180975">
              <a:spcBef>
                <a:spcPts val="300"/>
              </a:spcBef>
              <a:buFont typeface="Arial" pitchFamily="34" charset="0"/>
              <a:buChar char="•"/>
              <a:defRPr sz="1600"/>
            </a:lvl8pPr>
            <a:lvl9pPr marL="720000" marR="0" indent="-180975" fontAlgn="auto">
              <a:lnSpc>
                <a:spcPct val="100000"/>
              </a:lnSpc>
              <a:spcBef>
                <a:spcPts val="300"/>
              </a:spcBef>
              <a:spcAft>
                <a:spcPts val="0"/>
              </a:spcAft>
              <a:buClrTx/>
              <a:buSzTx/>
              <a:buFont typeface="Wingdings" panose="05000000000000000000" pitchFamily="2" charset="2"/>
              <a:buChar char="§"/>
              <a:tabLst/>
              <a:defRPr sz="1600">
                <a:latin typeface="Arial" pitchFamily="34" charset="0"/>
                <a:cs typeface="Arial" pitchFamily="34" charset="0"/>
              </a:defRPr>
            </a:lvl9pPr>
          </a:lstStyle>
          <a:p>
            <a:pPr lvl="1"/>
            <a:endParaRPr lang="es-ES_tradnl" dirty="0"/>
          </a:p>
          <a:p>
            <a:pPr marL="180000" lvl="1" indent="-180000">
              <a:buFont typeface="Wingdings" panose="05000000000000000000" pitchFamily="2" charset="2"/>
              <a:buChar char="§"/>
            </a:pPr>
            <a:r>
              <a:rPr lang="es-ES_tradnl" dirty="0"/>
              <a:t>Un muy buen momento para ahorrar</a:t>
            </a:r>
          </a:p>
          <a:p>
            <a:pPr marL="180000" lvl="1" indent="-180000">
              <a:buFont typeface="Wingdings" panose="05000000000000000000" pitchFamily="2" charset="2"/>
              <a:buChar char="§"/>
            </a:pPr>
            <a:r>
              <a:rPr lang="es-ES_tradnl" dirty="0"/>
              <a:t>Es un momento bastante bueno para ahorrar</a:t>
            </a:r>
          </a:p>
          <a:p>
            <a:pPr marL="180000" lvl="1" indent="-180000">
              <a:buFont typeface="Wingdings" panose="05000000000000000000" pitchFamily="2" charset="2"/>
              <a:buChar char="§"/>
            </a:pPr>
            <a:r>
              <a:rPr lang="es-ES_tradnl" dirty="0"/>
              <a:t>No es un buen momento para ahorrar</a:t>
            </a:r>
          </a:p>
          <a:p>
            <a:pPr marL="180000" lvl="1" indent="-180000">
              <a:buFont typeface="Wingdings" panose="05000000000000000000" pitchFamily="2" charset="2"/>
              <a:buChar char="§"/>
            </a:pPr>
            <a:r>
              <a:rPr lang="es-ES_tradnl" dirty="0"/>
              <a:t>Un muy mal momento para ahorrar</a:t>
            </a:r>
          </a:p>
          <a:p>
            <a:pPr marL="180000" lvl="1" indent="-180000">
              <a:buFont typeface="Wingdings" panose="05000000000000000000" pitchFamily="2" charset="2"/>
              <a:buChar char="§"/>
            </a:pPr>
            <a:r>
              <a:rPr lang="es-ES_tradnl" dirty="0"/>
              <a:t>No lo sé</a:t>
            </a:r>
          </a:p>
        </p:txBody>
      </p:sp>
      <p:pic>
        <p:nvPicPr>
          <p:cNvPr id="25" name="Grafik 24">
            <a:extLst>
              <a:ext uri="{FF2B5EF4-FFF2-40B4-BE49-F238E27FC236}">
                <a16:creationId xmlns:a16="http://schemas.microsoft.com/office/drawing/2014/main" id="{77A6BED0-9087-4BAB-A3EA-AEDFD1002736}"/>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9627878" y="1886323"/>
            <a:ext cx="2155200" cy="1438361"/>
          </a:xfrm>
          <a:prstGeom prst="rect">
            <a:avLst/>
          </a:prstGeom>
        </p:spPr>
      </p:pic>
      <p:sp>
        <p:nvSpPr>
          <p:cNvPr id="26" name="Rechteck 25">
            <a:extLst>
              <a:ext uri="{FF2B5EF4-FFF2-40B4-BE49-F238E27FC236}">
                <a16:creationId xmlns:a16="http://schemas.microsoft.com/office/drawing/2014/main" id="{50516DEA-DE59-4479-9F0A-2FA1337D975F}"/>
              </a:ext>
            </a:extLst>
          </p:cNvPr>
          <p:cNvSpPr/>
          <p:nvPr>
            <p:custDataLst>
              <p:tags r:id="rId5"/>
            </p:custDataLst>
          </p:nvPr>
        </p:nvSpPr>
        <p:spPr bwMode="gray">
          <a:xfrm>
            <a:off x="9629110" y="3452371"/>
            <a:ext cx="2155304"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spcBef>
                <a:spcPts val="600"/>
              </a:spcBef>
              <a:spcAft>
                <a:spcPts val="300"/>
              </a:spcAft>
            </a:pPr>
            <a:r>
              <a:rPr lang="en-US" sz="1000" b="1">
                <a:solidFill>
                  <a:schemeClr val="tx1"/>
                </a:solidFill>
                <a:cs typeface="Arial" panose="020B0604020202020204" pitchFamily="34" charset="0"/>
              </a:rPr>
              <a:t>Expectativas</a:t>
            </a:r>
            <a:r>
              <a:rPr lang="en-US" sz="1000" b="1" dirty="0">
                <a:solidFill>
                  <a:schemeClr val="tx1"/>
                </a:solidFill>
                <a:cs typeface="Arial" panose="020B0604020202020204" pitchFamily="34" charset="0"/>
              </a:rPr>
              <a:t> </a:t>
            </a:r>
            <a:r>
              <a:rPr lang="en-US" sz="1000" b="1">
                <a:solidFill>
                  <a:schemeClr val="tx1"/>
                </a:solidFill>
                <a:cs typeface="Arial" panose="020B0604020202020204" pitchFamily="34" charset="0"/>
              </a:rPr>
              <a:t>de Precios</a:t>
            </a:r>
            <a:endParaRPr lang="en-US" sz="1000" b="1" dirty="0">
              <a:solidFill>
                <a:schemeClr val="tx1"/>
              </a:solidFill>
              <a:cs typeface="Arial" panose="020B0604020202020204" pitchFamily="34" charset="0"/>
            </a:endParaRPr>
          </a:p>
        </p:txBody>
      </p:sp>
      <p:cxnSp>
        <p:nvCxnSpPr>
          <p:cNvPr id="27" name="Gerade Verbindung 10">
            <a:extLst>
              <a:ext uri="{FF2B5EF4-FFF2-40B4-BE49-F238E27FC236}">
                <a16:creationId xmlns:a16="http://schemas.microsoft.com/office/drawing/2014/main" id="{491D0297-2434-4FFF-A183-1E4C3617BE08}"/>
              </a:ext>
            </a:extLst>
          </p:cNvPr>
          <p:cNvCxnSpPr>
            <a:cxnSpLocks/>
          </p:cNvCxnSpPr>
          <p:nvPr/>
        </p:nvCxnSpPr>
        <p:spPr bwMode="gray">
          <a:xfrm>
            <a:off x="9629110" y="3630172"/>
            <a:ext cx="215530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Text Placeholder 1">
            <a:extLst>
              <a:ext uri="{FF2B5EF4-FFF2-40B4-BE49-F238E27FC236}">
                <a16:creationId xmlns:a16="http://schemas.microsoft.com/office/drawing/2014/main" id="{AB5266E9-C9A3-4548-BAE9-C9099029DA8C}"/>
              </a:ext>
            </a:extLst>
          </p:cNvPr>
          <p:cNvSpPr txBox="1">
            <a:spLocks/>
          </p:cNvSpPr>
          <p:nvPr>
            <p:custDataLst>
              <p:tags r:id="rId6"/>
            </p:custDataLst>
          </p:nvPr>
        </p:nvSpPr>
        <p:spPr bwMode="gray">
          <a:xfrm>
            <a:off x="9623025" y="3699309"/>
            <a:ext cx="2155200" cy="1148540"/>
          </a:xfrm>
          <a:prstGeom prst="rect">
            <a:avLst/>
          </a:prstGeom>
          <a:noFill/>
          <a:ln w="9525">
            <a:noFill/>
          </a:ln>
        </p:spPr>
        <p:txBody>
          <a:bodyPr vert="horz" lIns="0" tIns="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marL="0" lvl="1" indent="0">
              <a:buNone/>
            </a:pPr>
            <a:r>
              <a:rPr lang="es-ES_tradnl" sz="1000">
                <a:latin typeface="Arial" panose="020B0604020202020204" pitchFamily="34" charset="0"/>
              </a:rPr>
              <a:t>En relación a los últimos 12 meses, ¿cómo espera que evolucionen los </a:t>
            </a:r>
            <a:r>
              <a:rPr lang="es-ES_tradnl" sz="1000" b="1">
                <a:latin typeface="Arial" panose="020B0604020202020204" pitchFamily="34" charset="0"/>
              </a:rPr>
              <a:t>precios</a:t>
            </a:r>
            <a:r>
              <a:rPr lang="es-ES_tradnl" sz="1000">
                <a:latin typeface="Arial" panose="020B0604020202020204" pitchFamily="34" charset="0"/>
              </a:rPr>
              <a:t> en los próximos 12 meses?</a:t>
            </a:r>
          </a:p>
        </p:txBody>
      </p:sp>
      <p:sp>
        <p:nvSpPr>
          <p:cNvPr id="29" name="Text Placeholder 1">
            <a:extLst>
              <a:ext uri="{FF2B5EF4-FFF2-40B4-BE49-F238E27FC236}">
                <a16:creationId xmlns:a16="http://schemas.microsoft.com/office/drawing/2014/main" id="{8D0A4EA8-9670-4598-ACF0-E197109F2541}"/>
              </a:ext>
            </a:extLst>
          </p:cNvPr>
          <p:cNvSpPr txBox="1">
            <a:spLocks/>
          </p:cNvSpPr>
          <p:nvPr>
            <p:custDataLst>
              <p:tags r:id="rId7"/>
            </p:custDataLst>
          </p:nvPr>
        </p:nvSpPr>
        <p:spPr bwMode="gray">
          <a:xfrm>
            <a:off x="9629432" y="4795493"/>
            <a:ext cx="2155200" cy="1389743"/>
          </a:xfrm>
          <a:prstGeom prst="rect">
            <a:avLst/>
          </a:prstGeom>
          <a:noFill/>
          <a:ln w="9525">
            <a:noFill/>
          </a:ln>
        </p:spPr>
        <p:txBody>
          <a:bodyPr vert="horz" lIns="0" tIns="0" rIns="0" bIns="0" rtlCol="0">
            <a:noAutofit/>
          </a:bodyPr>
          <a:lstStyle>
            <a:defPPr>
              <a:defRPr lang="en-US"/>
            </a:defPPr>
            <a:lvl1pPr marR="0" indent="0" fontAlgn="auto">
              <a:lnSpc>
                <a:spcPct val="100000"/>
              </a:lnSpc>
              <a:spcBef>
                <a:spcPts val="300"/>
              </a:spcBef>
              <a:spcAft>
                <a:spcPts val="0"/>
              </a:spcAft>
              <a:buClrTx/>
              <a:buSzTx/>
              <a:buFont typeface="Arial" pitchFamily="34" charset="0"/>
              <a:buNone/>
              <a:tabLst/>
              <a:defRPr sz="1600">
                <a:latin typeface="Arial" pitchFamily="34" charset="0"/>
                <a:cs typeface="Arial" pitchFamily="34" charset="0"/>
              </a:defRPr>
            </a:lvl1pPr>
            <a:lvl2pPr marL="0" marR="0" lvl="1" indent="0" fontAlgn="auto">
              <a:lnSpc>
                <a:spcPct val="100000"/>
              </a:lnSpc>
              <a:spcBef>
                <a:spcPts val="0"/>
              </a:spcBef>
              <a:spcAft>
                <a:spcPts val="0"/>
              </a:spcAft>
              <a:buClrTx/>
              <a:buSzTx/>
              <a:buFont typeface="Wingdings" panose="05000000000000000000" pitchFamily="2" charset="2"/>
              <a:buNone/>
              <a:tabLst/>
              <a:defRPr sz="1000">
                <a:cs typeface="Arial" pitchFamily="34" charset="0"/>
              </a:defRPr>
            </a:lvl2pPr>
            <a:lvl3pPr marL="360000" marR="0" indent="-180975" fontAlgn="auto">
              <a:lnSpc>
                <a:spcPct val="100000"/>
              </a:lnSpc>
              <a:spcBef>
                <a:spcPts val="300"/>
              </a:spcBef>
              <a:spcAft>
                <a:spcPts val="0"/>
              </a:spcAft>
              <a:buClrTx/>
              <a:buSzTx/>
              <a:buFont typeface="Wingdings" panose="05000000000000000000" pitchFamily="2" charset="2"/>
              <a:buChar char="§"/>
              <a:tabLst/>
              <a:defRPr sz="1600">
                <a:cs typeface="Arial" pitchFamily="34" charset="0"/>
              </a:defRPr>
            </a:lvl3pPr>
            <a:lvl4pPr marL="540000" marR="0" indent="-180975" fontAlgn="auto">
              <a:lnSpc>
                <a:spcPct val="100000"/>
              </a:lnSpc>
              <a:spcBef>
                <a:spcPts val="300"/>
              </a:spcBef>
              <a:spcAft>
                <a:spcPts val="0"/>
              </a:spcAft>
              <a:buClrTx/>
              <a:buSzTx/>
              <a:buFont typeface="Wingdings" panose="05000000000000000000" pitchFamily="2" charset="2"/>
              <a:buChar char="§"/>
              <a:tabLst/>
              <a:defRPr sz="1600">
                <a:cs typeface="Arial" pitchFamily="34" charset="0"/>
              </a:defRPr>
            </a:lvl4pPr>
            <a:lvl5pPr marL="720000" marR="0" indent="-180975" fontAlgn="auto">
              <a:lnSpc>
                <a:spcPct val="100000"/>
              </a:lnSpc>
              <a:spcBef>
                <a:spcPts val="300"/>
              </a:spcBef>
              <a:spcAft>
                <a:spcPts val="0"/>
              </a:spcAft>
              <a:buClrTx/>
              <a:buSzTx/>
              <a:buFont typeface="Wingdings" panose="05000000000000000000" pitchFamily="2" charset="2"/>
              <a:buChar char="§"/>
              <a:tabLst/>
              <a:defRPr sz="1600" b="0" baseline="0">
                <a:cs typeface="Arial" pitchFamily="34" charset="0"/>
              </a:defRPr>
            </a:lvl5pPr>
            <a:lvl6pPr marL="720000" marR="0" indent="-180975" fontAlgn="auto">
              <a:lnSpc>
                <a:spcPct val="100000"/>
              </a:lnSpc>
              <a:spcBef>
                <a:spcPts val="300"/>
              </a:spcBef>
              <a:spcAft>
                <a:spcPts val="0"/>
              </a:spcAft>
              <a:buClrTx/>
              <a:buSzTx/>
              <a:buFont typeface="Wingdings" panose="05000000000000000000" pitchFamily="2" charset="2"/>
              <a:buChar char="§"/>
              <a:tabLst/>
              <a:defRPr sz="1600">
                <a:cs typeface="Arial" pitchFamily="34" charset="0"/>
              </a:defRPr>
            </a:lvl6pPr>
            <a:lvl7pPr marL="720000" marR="0" indent="-180975" fontAlgn="auto">
              <a:lnSpc>
                <a:spcPct val="100000"/>
              </a:lnSpc>
              <a:spcBef>
                <a:spcPts val="300"/>
              </a:spcBef>
              <a:spcAft>
                <a:spcPts val="0"/>
              </a:spcAft>
              <a:buClrTx/>
              <a:buSzTx/>
              <a:buFont typeface="Wingdings" panose="05000000000000000000" pitchFamily="2" charset="2"/>
              <a:buChar char="§"/>
              <a:tabLst/>
              <a:defRPr sz="1600">
                <a:cs typeface="Arial" pitchFamily="34" charset="0"/>
              </a:defRPr>
            </a:lvl7pPr>
            <a:lvl8pPr marL="539750" indent="-180975">
              <a:spcBef>
                <a:spcPts val="300"/>
              </a:spcBef>
              <a:buFont typeface="Arial" pitchFamily="34" charset="0"/>
              <a:buChar char="•"/>
              <a:defRPr sz="1600"/>
            </a:lvl8pPr>
            <a:lvl9pPr marL="720000" marR="0" indent="-180975" fontAlgn="auto">
              <a:lnSpc>
                <a:spcPct val="100000"/>
              </a:lnSpc>
              <a:spcBef>
                <a:spcPts val="300"/>
              </a:spcBef>
              <a:spcAft>
                <a:spcPts val="0"/>
              </a:spcAft>
              <a:buClrTx/>
              <a:buSzTx/>
              <a:buFont typeface="Wingdings" panose="05000000000000000000" pitchFamily="2" charset="2"/>
              <a:buChar char="§"/>
              <a:tabLst/>
              <a:defRPr sz="1600">
                <a:latin typeface="Arial" pitchFamily="34" charset="0"/>
                <a:cs typeface="Arial" pitchFamily="34" charset="0"/>
              </a:defRPr>
            </a:lvl9pPr>
          </a:lstStyle>
          <a:p>
            <a:pPr lvl="1"/>
            <a:r>
              <a:rPr lang="es-ES_tradnl" dirty="0"/>
              <a:t>Se:</a:t>
            </a:r>
          </a:p>
          <a:p>
            <a:pPr marL="180000" lvl="1" indent="-180000">
              <a:buFont typeface="Wingdings" panose="05000000000000000000" pitchFamily="2" charset="2"/>
              <a:buChar char="§"/>
            </a:pPr>
            <a:r>
              <a:rPr lang="es-ES_tradnl" dirty="0"/>
              <a:t>Incrementarán rápidamente</a:t>
            </a:r>
          </a:p>
          <a:p>
            <a:pPr marL="180000" lvl="1" indent="-180000">
              <a:buFont typeface="Wingdings" panose="05000000000000000000" pitchFamily="2" charset="2"/>
              <a:buChar char="§"/>
            </a:pPr>
            <a:r>
              <a:rPr lang="es-ES_tradnl" dirty="0"/>
              <a:t>Incrementarán en un porcentaje similar</a:t>
            </a:r>
          </a:p>
          <a:p>
            <a:pPr marL="180000" lvl="1" indent="-180000">
              <a:buFont typeface="Wingdings" panose="05000000000000000000" pitchFamily="2" charset="2"/>
              <a:buChar char="§"/>
            </a:pPr>
            <a:r>
              <a:rPr lang="es-ES_tradnl" dirty="0"/>
              <a:t>Incrementarán en un porcentaje menor</a:t>
            </a:r>
          </a:p>
          <a:p>
            <a:pPr marL="180000" lvl="1" indent="-180000">
              <a:buFont typeface="Wingdings" panose="05000000000000000000" pitchFamily="2" charset="2"/>
              <a:buChar char="§"/>
            </a:pPr>
            <a:r>
              <a:rPr lang="es-ES_tradnl" dirty="0"/>
              <a:t>Mantendrán igual</a:t>
            </a:r>
          </a:p>
          <a:p>
            <a:pPr marL="180000" lvl="1" indent="-180000">
              <a:buFont typeface="Wingdings" panose="05000000000000000000" pitchFamily="2" charset="2"/>
              <a:buChar char="§"/>
            </a:pPr>
            <a:r>
              <a:rPr lang="es-ES_tradnl" dirty="0"/>
              <a:t>Bajarán</a:t>
            </a:r>
          </a:p>
          <a:p>
            <a:pPr marL="180000" lvl="1" indent="-180000">
              <a:buFont typeface="Wingdings" panose="05000000000000000000" pitchFamily="2" charset="2"/>
              <a:buChar char="§"/>
            </a:pPr>
            <a:r>
              <a:rPr lang="es-ES_tradnl" dirty="0"/>
              <a:t>No lo sé</a:t>
            </a:r>
          </a:p>
        </p:txBody>
      </p:sp>
      <p:sp>
        <p:nvSpPr>
          <p:cNvPr id="2" name="Rechteck 29">
            <a:extLst>
              <a:ext uri="{FF2B5EF4-FFF2-40B4-BE49-F238E27FC236}">
                <a16:creationId xmlns:a16="http://schemas.microsoft.com/office/drawing/2014/main" id="{D3418A14-C116-83C1-40B6-B7F8A77AD6C8}"/>
              </a:ext>
            </a:extLst>
          </p:cNvPr>
          <p:cNvSpPr/>
          <p:nvPr>
            <p:custDataLst>
              <p:tags r:id="rId8"/>
            </p:custDataLst>
          </p:nvPr>
        </p:nvSpPr>
        <p:spPr bwMode="gray">
          <a:xfrm>
            <a:off x="275147" y="3452371"/>
            <a:ext cx="2128049"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spcBef>
                <a:spcPts val="600"/>
              </a:spcBef>
              <a:spcAft>
                <a:spcPts val="300"/>
              </a:spcAft>
            </a:pPr>
            <a:r>
              <a:rPr lang="es-ES_tradnl" sz="1000" b="1" dirty="0">
                <a:solidFill>
                  <a:schemeClr val="tx1"/>
                </a:solidFill>
                <a:cs typeface="Arial" panose="020B0604020202020204" pitchFamily="34" charset="0"/>
              </a:rPr>
              <a:t>Expectativas Económicas</a:t>
            </a:r>
          </a:p>
        </p:txBody>
      </p:sp>
      <p:cxnSp>
        <p:nvCxnSpPr>
          <p:cNvPr id="3" name="Gerade Verbindung 10">
            <a:extLst>
              <a:ext uri="{FF2B5EF4-FFF2-40B4-BE49-F238E27FC236}">
                <a16:creationId xmlns:a16="http://schemas.microsoft.com/office/drawing/2014/main" id="{D446C448-B845-19D9-B739-E512C46FE53B}"/>
              </a:ext>
            </a:extLst>
          </p:cNvPr>
          <p:cNvCxnSpPr>
            <a:cxnSpLocks/>
          </p:cNvCxnSpPr>
          <p:nvPr/>
        </p:nvCxnSpPr>
        <p:spPr bwMode="gray">
          <a:xfrm>
            <a:off x="263352" y="3630172"/>
            <a:ext cx="21280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 Placeholder 1">
            <a:extLst>
              <a:ext uri="{FF2B5EF4-FFF2-40B4-BE49-F238E27FC236}">
                <a16:creationId xmlns:a16="http://schemas.microsoft.com/office/drawing/2014/main" id="{4E732477-32FF-998D-49BE-8E402617F497}"/>
              </a:ext>
            </a:extLst>
          </p:cNvPr>
          <p:cNvSpPr txBox="1">
            <a:spLocks/>
          </p:cNvSpPr>
          <p:nvPr>
            <p:custDataLst>
              <p:tags r:id="rId9"/>
            </p:custDataLst>
          </p:nvPr>
        </p:nvSpPr>
        <p:spPr bwMode="gray">
          <a:xfrm>
            <a:off x="275470" y="3699309"/>
            <a:ext cx="2127946" cy="1148540"/>
          </a:xfrm>
          <a:prstGeom prst="rect">
            <a:avLst/>
          </a:prstGeom>
          <a:noFill/>
          <a:ln w="9525">
            <a:noFill/>
          </a:ln>
        </p:spPr>
        <p:txBody>
          <a:bodyPr vert="horz" lIns="0" tIns="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marL="0" lvl="1" indent="0">
              <a:buNone/>
            </a:pPr>
            <a:r>
              <a:rPr lang="es-ES_tradnl" sz="1000" dirty="0"/>
              <a:t>¿Cómo espera que sea la </a:t>
            </a:r>
            <a:r>
              <a:rPr lang="es-ES_tradnl" sz="1000" b="1" dirty="0"/>
              <a:t>situación económica general</a:t>
            </a:r>
            <a:r>
              <a:rPr lang="es-ES_tradnl" sz="1000" dirty="0"/>
              <a:t> de España en los próximos 12 meses?</a:t>
            </a:r>
          </a:p>
        </p:txBody>
      </p:sp>
      <p:sp>
        <p:nvSpPr>
          <p:cNvPr id="5" name="Rechteck 35">
            <a:extLst>
              <a:ext uri="{FF2B5EF4-FFF2-40B4-BE49-F238E27FC236}">
                <a16:creationId xmlns:a16="http://schemas.microsoft.com/office/drawing/2014/main" id="{CE8C6037-A531-8452-4A3A-27CA05DCF982}"/>
              </a:ext>
            </a:extLst>
          </p:cNvPr>
          <p:cNvSpPr/>
          <p:nvPr>
            <p:custDataLst>
              <p:tags r:id="rId10"/>
            </p:custDataLst>
          </p:nvPr>
        </p:nvSpPr>
        <p:spPr bwMode="gray">
          <a:xfrm>
            <a:off x="2647179" y="3452371"/>
            <a:ext cx="2120875"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spcBef>
                <a:spcPts val="600"/>
              </a:spcBef>
              <a:spcAft>
                <a:spcPts val="300"/>
              </a:spcAft>
            </a:pPr>
            <a:r>
              <a:rPr lang="es-ES_tradnl" sz="1000" b="1">
                <a:solidFill>
                  <a:schemeClr val="tx1"/>
                </a:solidFill>
                <a:cs typeface="Arial" panose="020B0604020202020204" pitchFamily="34" charset="0"/>
              </a:rPr>
              <a:t>Expectativas de Ingresos</a:t>
            </a:r>
          </a:p>
        </p:txBody>
      </p:sp>
      <p:cxnSp>
        <p:nvCxnSpPr>
          <p:cNvPr id="6" name="Gerade Verbindung 10">
            <a:extLst>
              <a:ext uri="{FF2B5EF4-FFF2-40B4-BE49-F238E27FC236}">
                <a16:creationId xmlns:a16="http://schemas.microsoft.com/office/drawing/2014/main" id="{21EF5328-D78B-E143-7947-96C06D06E600}"/>
              </a:ext>
            </a:extLst>
          </p:cNvPr>
          <p:cNvCxnSpPr>
            <a:cxnSpLocks/>
          </p:cNvCxnSpPr>
          <p:nvPr/>
        </p:nvCxnSpPr>
        <p:spPr bwMode="gray">
          <a:xfrm>
            <a:off x="2601933" y="3630172"/>
            <a:ext cx="21208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 Placeholder 1">
            <a:extLst>
              <a:ext uri="{FF2B5EF4-FFF2-40B4-BE49-F238E27FC236}">
                <a16:creationId xmlns:a16="http://schemas.microsoft.com/office/drawing/2014/main" id="{9B5468C8-8B9A-D63A-9CA1-D468D227DE58}"/>
              </a:ext>
            </a:extLst>
          </p:cNvPr>
          <p:cNvSpPr txBox="1">
            <a:spLocks/>
          </p:cNvSpPr>
          <p:nvPr>
            <p:custDataLst>
              <p:tags r:id="rId11"/>
            </p:custDataLst>
          </p:nvPr>
        </p:nvSpPr>
        <p:spPr bwMode="gray">
          <a:xfrm>
            <a:off x="2647501" y="3699309"/>
            <a:ext cx="2120773" cy="1148540"/>
          </a:xfrm>
          <a:prstGeom prst="rect">
            <a:avLst/>
          </a:prstGeom>
          <a:noFill/>
          <a:ln w="9525">
            <a:noFill/>
          </a:ln>
        </p:spPr>
        <p:txBody>
          <a:bodyPr vert="horz" lIns="0" tIns="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marL="0" lvl="1" indent="0">
              <a:buNone/>
            </a:pPr>
            <a:r>
              <a:rPr lang="es-ES_tradnl" sz="1000" dirty="0"/>
              <a:t>¿Cómo espera que cambie la </a:t>
            </a:r>
            <a:r>
              <a:rPr lang="es-ES_tradnl" sz="1000" b="1" dirty="0"/>
              <a:t>situación financiera en su hogar</a:t>
            </a:r>
            <a:r>
              <a:rPr lang="es-ES_tradnl" sz="1000" dirty="0"/>
              <a:t> en los próximos 12 meses?</a:t>
            </a:r>
          </a:p>
        </p:txBody>
      </p:sp>
      <p:sp>
        <p:nvSpPr>
          <p:cNvPr id="8" name="Rechteck 38">
            <a:extLst>
              <a:ext uri="{FF2B5EF4-FFF2-40B4-BE49-F238E27FC236}">
                <a16:creationId xmlns:a16="http://schemas.microsoft.com/office/drawing/2014/main" id="{755D48C0-753F-371E-69FA-DBD07BE2FBBB}"/>
              </a:ext>
            </a:extLst>
          </p:cNvPr>
          <p:cNvSpPr/>
          <p:nvPr>
            <p:custDataLst>
              <p:tags r:id="rId12"/>
            </p:custDataLst>
          </p:nvPr>
        </p:nvSpPr>
        <p:spPr bwMode="gray">
          <a:xfrm>
            <a:off x="4905968" y="3452371"/>
            <a:ext cx="2120875" cy="36004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spcBef>
                <a:spcPts val="600"/>
              </a:spcBef>
              <a:spcAft>
                <a:spcPts val="300"/>
              </a:spcAft>
            </a:pPr>
            <a:r>
              <a:rPr lang="es-ES_tradnl" sz="1000" b="1" dirty="0">
                <a:solidFill>
                  <a:schemeClr val="tx1"/>
                </a:solidFill>
                <a:cs typeface="Arial" panose="020B0604020202020204" pitchFamily="34" charset="0"/>
              </a:rPr>
              <a:t>Disposición a Comprar</a:t>
            </a:r>
          </a:p>
        </p:txBody>
      </p:sp>
      <p:cxnSp>
        <p:nvCxnSpPr>
          <p:cNvPr id="9" name="Gerade Verbindung 10">
            <a:extLst>
              <a:ext uri="{FF2B5EF4-FFF2-40B4-BE49-F238E27FC236}">
                <a16:creationId xmlns:a16="http://schemas.microsoft.com/office/drawing/2014/main" id="{2BEBA666-F05A-05E6-EF12-1F9B88373C12}"/>
              </a:ext>
            </a:extLst>
          </p:cNvPr>
          <p:cNvCxnSpPr>
            <a:cxnSpLocks/>
          </p:cNvCxnSpPr>
          <p:nvPr/>
        </p:nvCxnSpPr>
        <p:spPr bwMode="gray">
          <a:xfrm>
            <a:off x="4940293" y="3630172"/>
            <a:ext cx="21208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 Placeholder 1">
            <a:extLst>
              <a:ext uri="{FF2B5EF4-FFF2-40B4-BE49-F238E27FC236}">
                <a16:creationId xmlns:a16="http://schemas.microsoft.com/office/drawing/2014/main" id="{95C4390E-63EB-0425-A54B-CB35261E10B3}"/>
              </a:ext>
            </a:extLst>
          </p:cNvPr>
          <p:cNvSpPr txBox="1">
            <a:spLocks/>
          </p:cNvSpPr>
          <p:nvPr>
            <p:custDataLst>
              <p:tags r:id="rId13"/>
            </p:custDataLst>
          </p:nvPr>
        </p:nvSpPr>
        <p:spPr bwMode="gray">
          <a:xfrm>
            <a:off x="4940394" y="3699309"/>
            <a:ext cx="2120773" cy="1148540"/>
          </a:xfrm>
          <a:prstGeom prst="rect">
            <a:avLst/>
          </a:prstGeom>
          <a:noFill/>
          <a:ln w="9525">
            <a:noFill/>
          </a:ln>
        </p:spPr>
        <p:txBody>
          <a:bodyPr vert="horz" lIns="0" tIns="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marL="0" lvl="1" indent="0">
              <a:buNone/>
            </a:pPr>
            <a:r>
              <a:rPr lang="es-ES_tradnl" sz="1000" dirty="0"/>
              <a:t>En vista de la situación económica general, ¿cree que ahora es el </a:t>
            </a:r>
            <a:r>
              <a:rPr lang="es-ES_tradnl" sz="1000" b="1" dirty="0"/>
              <a:t>momento adecuado </a:t>
            </a:r>
            <a:r>
              <a:rPr lang="es-ES_tradnl" sz="1000" dirty="0"/>
              <a:t>para realizar </a:t>
            </a:r>
            <a:r>
              <a:rPr lang="es-ES_tradnl" sz="1000" b="1" dirty="0"/>
              <a:t>grandes compras </a:t>
            </a:r>
            <a:r>
              <a:rPr lang="es-ES_tradnl" sz="1000" dirty="0"/>
              <a:t>como muebles, dispositivos electrónicos, etc.?</a:t>
            </a:r>
          </a:p>
        </p:txBody>
      </p:sp>
      <p:sp>
        <p:nvSpPr>
          <p:cNvPr id="11" name="Text Placeholder 1">
            <a:extLst>
              <a:ext uri="{FF2B5EF4-FFF2-40B4-BE49-F238E27FC236}">
                <a16:creationId xmlns:a16="http://schemas.microsoft.com/office/drawing/2014/main" id="{135DE8A5-BB37-C53F-70CE-5C4F783D51A4}"/>
              </a:ext>
            </a:extLst>
          </p:cNvPr>
          <p:cNvSpPr txBox="1">
            <a:spLocks/>
          </p:cNvSpPr>
          <p:nvPr>
            <p:custDataLst>
              <p:tags r:id="rId14"/>
            </p:custDataLst>
          </p:nvPr>
        </p:nvSpPr>
        <p:spPr bwMode="gray">
          <a:xfrm>
            <a:off x="275470" y="4795493"/>
            <a:ext cx="2127946" cy="1389743"/>
          </a:xfrm>
          <a:prstGeom prst="rect">
            <a:avLst/>
          </a:prstGeom>
          <a:noFill/>
          <a:ln w="9525">
            <a:noFill/>
          </a:ln>
        </p:spPr>
        <p:txBody>
          <a:bodyPr vert="horz" lIns="0" tIns="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marL="0" lvl="1" indent="0">
              <a:spcBef>
                <a:spcPts val="0"/>
              </a:spcBef>
              <a:buNone/>
            </a:pPr>
            <a:r>
              <a:rPr lang="es-ES_tradnl" sz="1000" dirty="0"/>
              <a:t>Será:</a:t>
            </a:r>
          </a:p>
          <a:p>
            <a:pPr marL="0" lvl="1" indent="0">
              <a:spcBef>
                <a:spcPts val="0"/>
              </a:spcBef>
              <a:buNone/>
            </a:pPr>
            <a:endParaRPr lang="es-ES_tradnl" sz="1000" dirty="0"/>
          </a:p>
          <a:p>
            <a:pPr lvl="1">
              <a:spcBef>
                <a:spcPts val="0"/>
              </a:spcBef>
            </a:pPr>
            <a:r>
              <a:rPr lang="es-ES_tradnl" sz="1000" dirty="0"/>
              <a:t>Mucho mejor</a:t>
            </a:r>
          </a:p>
          <a:p>
            <a:pPr lvl="1">
              <a:spcBef>
                <a:spcPts val="0"/>
              </a:spcBef>
            </a:pPr>
            <a:r>
              <a:rPr lang="es-ES_tradnl" sz="1000" dirty="0"/>
              <a:t>Un poco mejor</a:t>
            </a:r>
          </a:p>
          <a:p>
            <a:pPr lvl="1">
              <a:spcBef>
                <a:spcPts val="0"/>
              </a:spcBef>
            </a:pPr>
            <a:r>
              <a:rPr lang="es-ES_tradnl" sz="1000" dirty="0"/>
              <a:t>Igual</a:t>
            </a:r>
          </a:p>
          <a:p>
            <a:pPr lvl="1">
              <a:spcBef>
                <a:spcPts val="0"/>
              </a:spcBef>
            </a:pPr>
            <a:r>
              <a:rPr lang="es-ES_tradnl" sz="1000" dirty="0"/>
              <a:t>Un poco peor</a:t>
            </a:r>
          </a:p>
          <a:p>
            <a:pPr lvl="1">
              <a:spcBef>
                <a:spcPts val="0"/>
              </a:spcBef>
            </a:pPr>
            <a:r>
              <a:rPr lang="es-ES_tradnl" sz="1000" dirty="0"/>
              <a:t>Mucho peor</a:t>
            </a:r>
          </a:p>
          <a:p>
            <a:pPr lvl="1">
              <a:spcBef>
                <a:spcPts val="0"/>
              </a:spcBef>
            </a:pPr>
            <a:r>
              <a:rPr lang="es-ES_tradnl" sz="1000" dirty="0"/>
              <a:t>No lo sé</a:t>
            </a:r>
          </a:p>
        </p:txBody>
      </p:sp>
      <p:sp>
        <p:nvSpPr>
          <p:cNvPr id="12" name="Text Placeholder 1">
            <a:extLst>
              <a:ext uri="{FF2B5EF4-FFF2-40B4-BE49-F238E27FC236}">
                <a16:creationId xmlns:a16="http://schemas.microsoft.com/office/drawing/2014/main" id="{8305DA7E-B5DB-1947-43DE-01DB2268BAAB}"/>
              </a:ext>
            </a:extLst>
          </p:cNvPr>
          <p:cNvSpPr txBox="1">
            <a:spLocks/>
          </p:cNvSpPr>
          <p:nvPr>
            <p:custDataLst>
              <p:tags r:id="rId15"/>
            </p:custDataLst>
          </p:nvPr>
        </p:nvSpPr>
        <p:spPr bwMode="gray">
          <a:xfrm>
            <a:off x="4932894" y="4795493"/>
            <a:ext cx="2120773" cy="1389743"/>
          </a:xfrm>
          <a:prstGeom prst="rect">
            <a:avLst/>
          </a:prstGeom>
          <a:noFill/>
          <a:ln w="9525">
            <a:noFill/>
          </a:ln>
        </p:spPr>
        <p:txBody>
          <a:bodyPr vert="horz" lIns="0" tIns="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marL="0" lvl="1" indent="0">
              <a:spcBef>
                <a:spcPts val="0"/>
              </a:spcBef>
              <a:buNone/>
            </a:pPr>
            <a:endParaRPr lang="es-ES_tradnl" sz="1000" dirty="0"/>
          </a:p>
          <a:p>
            <a:pPr lvl="1">
              <a:spcBef>
                <a:spcPts val="0"/>
              </a:spcBef>
            </a:pPr>
            <a:r>
              <a:rPr lang="es-ES_tradnl" sz="1000" dirty="0"/>
              <a:t>Sí, es el momento adecuado</a:t>
            </a:r>
          </a:p>
          <a:p>
            <a:pPr lvl="1">
              <a:spcBef>
                <a:spcPts val="0"/>
              </a:spcBef>
            </a:pPr>
            <a:r>
              <a:rPr lang="es-ES_tradnl" sz="1000" dirty="0"/>
              <a:t>No es ni el mejor, ni el peor momento</a:t>
            </a:r>
          </a:p>
          <a:p>
            <a:pPr lvl="1">
              <a:spcBef>
                <a:spcPts val="0"/>
              </a:spcBef>
            </a:pPr>
            <a:r>
              <a:rPr lang="es-ES_tradnl" sz="1000" dirty="0"/>
              <a:t>No, ahora no es el momento adecuado</a:t>
            </a:r>
          </a:p>
        </p:txBody>
      </p:sp>
      <p:sp>
        <p:nvSpPr>
          <p:cNvPr id="13" name="Text Placeholder 1">
            <a:extLst>
              <a:ext uri="{FF2B5EF4-FFF2-40B4-BE49-F238E27FC236}">
                <a16:creationId xmlns:a16="http://schemas.microsoft.com/office/drawing/2014/main" id="{D1D93DF5-9151-505E-FCC9-FA477E59C74F}"/>
              </a:ext>
            </a:extLst>
          </p:cNvPr>
          <p:cNvSpPr txBox="1">
            <a:spLocks/>
          </p:cNvSpPr>
          <p:nvPr>
            <p:custDataLst>
              <p:tags r:id="rId16"/>
            </p:custDataLst>
          </p:nvPr>
        </p:nvSpPr>
        <p:spPr bwMode="gray">
          <a:xfrm>
            <a:off x="2614706" y="4795492"/>
            <a:ext cx="2127946" cy="1389743"/>
          </a:xfrm>
          <a:prstGeom prst="rect">
            <a:avLst/>
          </a:prstGeom>
          <a:noFill/>
          <a:ln w="9525">
            <a:noFill/>
          </a:ln>
        </p:spPr>
        <p:txBody>
          <a:bodyPr vert="horz" lIns="0" tIns="0" rIns="0" bIns="0" rtlCol="0">
            <a:noAutofit/>
          </a:bodyPr>
          <a:lst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a:lstStyle>
          <a:p>
            <a:pPr marL="0" lvl="1" indent="0">
              <a:spcBef>
                <a:spcPts val="0"/>
              </a:spcBef>
              <a:buNone/>
            </a:pPr>
            <a:r>
              <a:rPr lang="es-ES_tradnl" sz="1000" dirty="0"/>
              <a:t>Será:</a:t>
            </a:r>
          </a:p>
          <a:p>
            <a:pPr marL="0" lvl="1" indent="0">
              <a:spcBef>
                <a:spcPts val="0"/>
              </a:spcBef>
              <a:buNone/>
            </a:pPr>
            <a:endParaRPr lang="es-ES_tradnl" sz="1000" dirty="0"/>
          </a:p>
          <a:p>
            <a:pPr lvl="1">
              <a:spcBef>
                <a:spcPts val="0"/>
              </a:spcBef>
            </a:pPr>
            <a:r>
              <a:rPr lang="es-ES_tradnl" sz="1000" dirty="0"/>
              <a:t>Mucho mejor</a:t>
            </a:r>
          </a:p>
          <a:p>
            <a:pPr lvl="1">
              <a:spcBef>
                <a:spcPts val="0"/>
              </a:spcBef>
            </a:pPr>
            <a:r>
              <a:rPr lang="es-ES_tradnl" sz="1000" dirty="0"/>
              <a:t>Un poco mejor</a:t>
            </a:r>
          </a:p>
          <a:p>
            <a:pPr lvl="1">
              <a:spcBef>
                <a:spcPts val="0"/>
              </a:spcBef>
            </a:pPr>
            <a:r>
              <a:rPr lang="es-ES_tradnl" sz="1000" dirty="0"/>
              <a:t>Igual</a:t>
            </a:r>
          </a:p>
          <a:p>
            <a:pPr lvl="1">
              <a:spcBef>
                <a:spcPts val="0"/>
              </a:spcBef>
            </a:pPr>
            <a:r>
              <a:rPr lang="es-ES_tradnl" sz="1000" dirty="0"/>
              <a:t>Un poco peor</a:t>
            </a:r>
          </a:p>
          <a:p>
            <a:pPr lvl="1">
              <a:spcBef>
                <a:spcPts val="0"/>
              </a:spcBef>
            </a:pPr>
            <a:r>
              <a:rPr lang="es-ES_tradnl" sz="1000" dirty="0"/>
              <a:t>Mucho peor</a:t>
            </a:r>
          </a:p>
          <a:p>
            <a:pPr lvl="1">
              <a:spcBef>
                <a:spcPts val="0"/>
              </a:spcBef>
            </a:pPr>
            <a:r>
              <a:rPr lang="es-ES_tradnl" sz="1000" dirty="0"/>
              <a:t>No lo sé</a:t>
            </a:r>
          </a:p>
        </p:txBody>
      </p:sp>
      <p:sp>
        <p:nvSpPr>
          <p:cNvPr id="14" name="Titel 1">
            <a:extLst>
              <a:ext uri="{FF2B5EF4-FFF2-40B4-BE49-F238E27FC236}">
                <a16:creationId xmlns:a16="http://schemas.microsoft.com/office/drawing/2014/main" id="{7F75B819-78D4-1420-8D3F-2A66F3BE66B4}"/>
              </a:ext>
            </a:extLst>
          </p:cNvPr>
          <p:cNvSpPr txBox="1">
            <a:spLocks/>
          </p:cNvSpPr>
          <p:nvPr>
            <p:custDataLst>
              <p:tags r:id="rId17"/>
            </p:custDataLst>
          </p:nvPr>
        </p:nvSpPr>
        <p:spPr bwMode="gray">
          <a:xfrm>
            <a:off x="335360" y="260648"/>
            <a:ext cx="8640959" cy="430887"/>
          </a:xfrm>
          <a:prstGeom prst="rect">
            <a:avLst/>
          </a:prstGeom>
        </p:spPr>
        <p:txBody>
          <a:bodyPr vert="horz" wrap="square" lIns="0" tIns="0" rIns="0" bIns="0" rtlCol="0" anchor="t">
            <a:spAutoFit/>
          </a:bodyPr>
          <a:lstStyle>
            <a:lvl1pPr algn="l" defTabSz="914400" rtl="0" eaLnBrk="1" latinLnBrk="0" hangingPunct="1">
              <a:lnSpc>
                <a:spcPct val="100000"/>
              </a:lnSpc>
              <a:spcBef>
                <a:spcPct val="0"/>
              </a:spcBef>
              <a:buNone/>
              <a:defRPr sz="2400" b="0" kern="1200">
                <a:solidFill>
                  <a:schemeClr val="tx1"/>
                </a:solidFill>
                <a:latin typeface="+mj-lt"/>
                <a:ea typeface="+mj-ea"/>
                <a:cs typeface="+mj-cs"/>
              </a:defRPr>
            </a:lvl1pPr>
          </a:lstStyle>
          <a:p>
            <a:r>
              <a:rPr lang="es-ES_tradnl" sz="2800" b="1" dirty="0">
                <a:cs typeface="Arial" panose="020B0604020202020204" pitchFamily="34" charset="0"/>
              </a:rPr>
              <a:t>Euro Clima de Consumo | Cuestionario en detalle</a:t>
            </a:r>
            <a:endParaRPr lang="es-ES_tradnl" sz="2800" b="1" dirty="0"/>
          </a:p>
        </p:txBody>
      </p:sp>
    </p:spTree>
    <p:extLst>
      <p:ext uri="{BB962C8B-B14F-4D97-AF65-F5344CB8AC3E}">
        <p14:creationId xmlns:p14="http://schemas.microsoft.com/office/powerpoint/2010/main" val="188290697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Inhaltsplatzhalter 5"/>
          <p:cNvSpPr>
            <a:spLocks noGrp="1"/>
          </p:cNvSpPr>
          <p:nvPr>
            <p:ph sz="quarter" idx="12"/>
          </p:nvPr>
        </p:nvSpPr>
        <p:spPr/>
        <p:txBody>
          <a:bodyPr vert="horz" lIns="0" tIns="24000" rIns="0" bIns="0" rtlCol="0" anchor="t" anchorCtr="0">
            <a:noAutofit/>
          </a:bodyPr>
          <a:lstStyle/>
          <a:p>
            <a:pPr marL="285750" indent="-285750">
              <a:spcBef>
                <a:spcPts val="1200"/>
              </a:spcBef>
            </a:pPr>
            <a:r>
              <a:rPr lang="es-ES_tradnl" sz="1600" dirty="0">
                <a:cs typeface="Arial" panose="020B0604020202020204" pitchFamily="34" charset="0"/>
              </a:rPr>
              <a:t>Los indicadores </a:t>
            </a:r>
            <a:r>
              <a:rPr lang="es-ES_tradnl" dirty="0">
                <a:cs typeface="Arial" panose="020B0604020202020204" pitchFamily="34" charset="0"/>
              </a:rPr>
              <a:t>son</a:t>
            </a:r>
            <a:r>
              <a:rPr lang="es-ES_tradnl" sz="1600" dirty="0">
                <a:cs typeface="Arial" panose="020B0604020202020204" pitchFamily="34" charset="0"/>
              </a:rPr>
              <a:t> el balance entre las respuestas positivas y negativas. Además, estos balances “brutos” se </a:t>
            </a:r>
            <a:r>
              <a:rPr lang="es-ES_tradnl" dirty="0">
                <a:cs typeface="Arial" panose="020B0604020202020204" pitchFamily="34" charset="0"/>
              </a:rPr>
              <a:t>tratan</a:t>
            </a:r>
            <a:r>
              <a:rPr lang="es-ES_tradnl" sz="1600" dirty="0">
                <a:cs typeface="Arial" panose="020B0604020202020204" pitchFamily="34" charset="0"/>
              </a:rPr>
              <a:t> con procedimientos estadísticos como el ajuste estacional.</a:t>
            </a:r>
          </a:p>
          <a:p>
            <a:pPr marL="285750" indent="-285750">
              <a:spcBef>
                <a:spcPts val="1200"/>
              </a:spcBef>
            </a:pPr>
            <a:r>
              <a:rPr lang="es-ES_tradnl" sz="1600" dirty="0">
                <a:cs typeface="Arial" panose="020B0604020202020204" pitchFamily="34" charset="0"/>
              </a:rPr>
              <a:t>En una fase posterior, estos balances se estandarizan utilizando métodos estadísticos reconocidos y luego se convierten para obtener un promedio a largo plazo sobre 0 puntos y un rango de valores teóricos de +100 a -100 puntos. Sin embargo, la evidencia empírica muestra que los valores entre +60 y -60 puntos en general son realistas.</a:t>
            </a:r>
          </a:p>
          <a:p>
            <a:pPr marL="285750" indent="-285750">
              <a:spcBef>
                <a:spcPts val="1200"/>
              </a:spcBef>
            </a:pPr>
            <a:r>
              <a:rPr lang="es-ES_tradnl" sz="1600" dirty="0">
                <a:cs typeface="Arial" panose="020B0604020202020204" pitchFamily="34" charset="0"/>
              </a:rPr>
              <a:t>Estandarización</a:t>
            </a:r>
            <a:r>
              <a:rPr lang="es-ES_tradnl" dirty="0">
                <a:cs typeface="Arial" panose="020B0604020202020204" pitchFamily="34" charset="0"/>
              </a:rPr>
              <a:t> </a:t>
            </a:r>
            <a:r>
              <a:rPr lang="es-ES_tradnl" sz="1600" dirty="0">
                <a:cs typeface="Arial" panose="020B0604020202020204" pitchFamily="34" charset="0"/>
              </a:rPr>
              <a:t>= (cifra actual menos media a largo plazo) dividido </a:t>
            </a:r>
            <a:r>
              <a:rPr lang="es-ES_tradnl" dirty="0">
                <a:cs typeface="Arial" panose="020B0604020202020204" pitchFamily="34" charset="0"/>
              </a:rPr>
              <a:t>entre</a:t>
            </a:r>
            <a:r>
              <a:rPr lang="es-ES_tradnl" sz="1600" dirty="0">
                <a:cs typeface="Arial" panose="020B0604020202020204" pitchFamily="34" charset="0"/>
              </a:rPr>
              <a:t> el rango (máximo menos mínimo).</a:t>
            </a:r>
          </a:p>
          <a:p>
            <a:pPr marL="285750" indent="-285750">
              <a:spcBef>
                <a:spcPts val="1200"/>
              </a:spcBef>
            </a:pPr>
            <a:r>
              <a:rPr lang="es-ES_tradnl" sz="1600" dirty="0">
                <a:cs typeface="Arial" panose="020B0604020202020204" pitchFamily="34" charset="0"/>
              </a:rPr>
              <a:t>Si un indicador es positivo, esto muestra que el análisis del consumidor en relación a esta variable está por encima de la media en una comparación a largo plazo, y viceversa para los valores negativos.</a:t>
            </a:r>
          </a:p>
          <a:p>
            <a:pPr marL="285750" indent="-285750">
              <a:spcBef>
                <a:spcPts val="1200"/>
              </a:spcBef>
            </a:pPr>
            <a:r>
              <a:rPr lang="es-ES_tradnl" sz="1600" dirty="0">
                <a:cs typeface="Arial" panose="020B0604020202020204" pitchFamily="34" charset="0"/>
              </a:rPr>
              <a:t>La estandarización facilita comparar los indicadores de países diferentes, ya que se compensan las variaciones resultantes de distintas mentalidades, mientras que la tendencia fundamental del indicador permanece sin cambios.</a:t>
            </a:r>
          </a:p>
          <a:p>
            <a:pPr marL="285750" indent="-285750">
              <a:spcBef>
                <a:spcPts val="1200"/>
              </a:spcBef>
            </a:pPr>
            <a:r>
              <a:rPr lang="es-ES_tradnl" sz="1600" dirty="0">
                <a:cs typeface="Arial" panose="020B0604020202020204" pitchFamily="34" charset="0"/>
              </a:rPr>
              <a:t>En los mapas hay dos vías para entender las cifras: la primera describe el nivel del indicador (señalado por diferentes colores); la segunda, la variación del indicador en comparación con el mes anterior (señalado por diferentes flechas).</a:t>
            </a:r>
          </a:p>
        </p:txBody>
      </p:sp>
      <p:sp>
        <p:nvSpPr>
          <p:cNvPr id="3" name="Titel 2"/>
          <p:cNvSpPr>
            <a:spLocks noGrp="1"/>
          </p:cNvSpPr>
          <p:nvPr>
            <p:ph type="title"/>
          </p:nvPr>
        </p:nvSpPr>
        <p:spPr>
          <a:xfrm>
            <a:off x="335360" y="260648"/>
            <a:ext cx="8640959" cy="430887"/>
          </a:xfrm>
        </p:spPr>
        <p:txBody>
          <a:bodyPr/>
          <a:lstStyle/>
          <a:p>
            <a:r>
              <a:rPr lang="es-ES_tradnl" sz="2800" b="1" dirty="0">
                <a:cs typeface="Arial" panose="020B0604020202020204" pitchFamily="34" charset="0"/>
              </a:rPr>
              <a:t>Cómo se calculan los indicadores</a:t>
            </a:r>
          </a:p>
        </p:txBody>
      </p:sp>
    </p:spTree>
    <p:extLst>
      <p:ext uri="{BB962C8B-B14F-4D97-AF65-F5344CB8AC3E}">
        <p14:creationId xmlns:p14="http://schemas.microsoft.com/office/powerpoint/2010/main" val="22913430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14" descr="A white letter on a black background&#10;&#10;Description automatically generated">
            <a:extLst>
              <a:ext uri="{FF2B5EF4-FFF2-40B4-BE49-F238E27FC236}">
                <a16:creationId xmlns:a16="http://schemas.microsoft.com/office/drawing/2014/main" id="{CE602BF9-DF18-ED23-8A6A-EA66C3902BD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34368" y="5076488"/>
            <a:ext cx="1728208" cy="296728"/>
          </a:xfrm>
          <a:prstGeom prst="rect">
            <a:avLst/>
          </a:prstGeom>
        </p:spPr>
      </p:pic>
      <p:sp>
        <p:nvSpPr>
          <p:cNvPr id="5" name="Título 4">
            <a:extLst>
              <a:ext uri="{FF2B5EF4-FFF2-40B4-BE49-F238E27FC236}">
                <a16:creationId xmlns:a16="http://schemas.microsoft.com/office/drawing/2014/main" id="{F80121CE-CAF4-6242-F8C5-2E6D73FE9F84}"/>
              </a:ext>
            </a:extLst>
          </p:cNvPr>
          <p:cNvSpPr>
            <a:spLocks noGrp="1"/>
          </p:cNvSpPr>
          <p:nvPr>
            <p:ph type="ctrTitle"/>
          </p:nvPr>
        </p:nvSpPr>
        <p:spPr/>
        <p:txBody>
          <a:bodyPr/>
          <a:lstStyle/>
          <a:p>
            <a:endParaRPr lang="es-ES"/>
          </a:p>
        </p:txBody>
      </p:sp>
      <p:sp>
        <p:nvSpPr>
          <p:cNvPr id="7" name="Subtítulo 6">
            <a:extLst>
              <a:ext uri="{FF2B5EF4-FFF2-40B4-BE49-F238E27FC236}">
                <a16:creationId xmlns:a16="http://schemas.microsoft.com/office/drawing/2014/main" id="{8F54EFF7-811C-1823-0E5D-BFF545F40127}"/>
              </a:ext>
            </a:extLst>
          </p:cNvPr>
          <p:cNvSpPr>
            <a:spLocks noGrp="1"/>
          </p:cNvSpPr>
          <p:nvPr>
            <p:ph type="subTitle" idx="13"/>
          </p:nvPr>
        </p:nvSpPr>
        <p:spPr>
          <a:xfrm>
            <a:off x="699494" y="2636912"/>
            <a:ext cx="5544000" cy="1584176"/>
          </a:xfrm>
        </p:spPr>
        <p:txBody>
          <a:bodyPr/>
          <a:lstStyle/>
          <a:p>
            <a:r>
              <a:rPr lang="es-ES" dirty="0"/>
              <a:t>Barcelona – Madrid - Valencia</a:t>
            </a:r>
          </a:p>
        </p:txBody>
      </p:sp>
      <p:sp>
        <p:nvSpPr>
          <p:cNvPr id="6" name="Título 5">
            <a:extLst>
              <a:ext uri="{FF2B5EF4-FFF2-40B4-BE49-F238E27FC236}">
                <a16:creationId xmlns:a16="http://schemas.microsoft.com/office/drawing/2014/main" id="{60FD4F81-706E-57DD-3ED9-FB3342A198F7}"/>
              </a:ext>
            </a:extLst>
          </p:cNvPr>
          <p:cNvSpPr txBox="1">
            <a:spLocks/>
          </p:cNvSpPr>
          <p:nvPr/>
        </p:nvSpPr>
        <p:spPr bwMode="gray">
          <a:xfrm>
            <a:off x="702652" y="1628800"/>
            <a:ext cx="5688632" cy="2298146"/>
          </a:xfrm>
          <a:prstGeom prst="rect">
            <a:avLst/>
          </a:prstGeom>
          <a:solidFill>
            <a:schemeClr val="bg1"/>
          </a:solidFill>
          <a:ln w="127">
            <a:solidFill>
              <a:schemeClr val="bg1"/>
            </a:solidFill>
          </a:ln>
        </p:spPr>
        <p:txBody>
          <a:bodyPr vert="horz" wrap="square" lIns="216000" tIns="90000" rIns="216000" bIns="540000" rtlCol="0" anchor="t">
            <a:spAutoFit/>
          </a:bodyPr>
          <a:lstStyle>
            <a:lvl1pPr algn="l" defTabSz="914400" rtl="0" eaLnBrk="1" latinLnBrk="0" hangingPunct="1">
              <a:lnSpc>
                <a:spcPct val="90000"/>
              </a:lnSpc>
              <a:spcBef>
                <a:spcPct val="0"/>
              </a:spcBef>
              <a:buNone/>
              <a:defRPr sz="3000" b="0" kern="1200" baseline="0">
                <a:solidFill>
                  <a:schemeClr val="tx1"/>
                </a:solidFill>
                <a:latin typeface="+mj-lt"/>
                <a:ea typeface="+mj-ea"/>
                <a:cs typeface="+mj-cs"/>
              </a:defRPr>
            </a:lvl1pPr>
          </a:lstStyle>
          <a:p>
            <a:r>
              <a:rPr lang="es-ES" dirty="0"/>
              <a:t>Si quieres </a:t>
            </a:r>
            <a:br>
              <a:rPr lang="es-ES" dirty="0"/>
            </a:br>
            <a:r>
              <a:rPr lang="es-ES" dirty="0"/>
              <a:t>saber más, </a:t>
            </a:r>
            <a:br>
              <a:rPr lang="es-ES" dirty="0"/>
            </a:br>
            <a:r>
              <a:rPr lang="es-ES" dirty="0">
                <a:hlinkClick r:id="rId4"/>
              </a:rPr>
              <a:t>contáctanos</a:t>
            </a:r>
            <a:r>
              <a:rPr lang="es-ES" dirty="0"/>
              <a:t> </a:t>
            </a:r>
            <a:br>
              <a:rPr lang="es-ES" dirty="0"/>
            </a:br>
            <a:endParaRPr lang="es-ES" dirty="0"/>
          </a:p>
        </p:txBody>
      </p:sp>
    </p:spTree>
    <p:extLst>
      <p:ext uri="{BB962C8B-B14F-4D97-AF65-F5344CB8AC3E}">
        <p14:creationId xmlns:p14="http://schemas.microsoft.com/office/powerpoint/2010/main" val="39351512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FCFE8720-81DA-4F0D-9CF8-8EC5044BAD4F}"/>
              </a:ext>
            </a:extLst>
          </p:cNvPr>
          <p:cNvSpPr/>
          <p:nvPr/>
        </p:nvSpPr>
        <p:spPr>
          <a:xfrm>
            <a:off x="767408" y="1766724"/>
            <a:ext cx="10398984" cy="3323987"/>
          </a:xfrm>
          <a:prstGeom prst="rect">
            <a:avLst/>
          </a:prstGeom>
        </p:spPr>
        <p:txBody>
          <a:bodyPr wrap="square">
            <a:spAutoFit/>
          </a:bodyPr>
          <a:lstStyle/>
          <a:p>
            <a:r>
              <a:rPr lang="es-ES_tradnl" sz="1400" b="1" dirty="0"/>
              <a:t>El Clima de Consumo en Europa </a:t>
            </a:r>
            <a:r>
              <a:rPr lang="es-ES_tradnl" sz="1400" dirty="0"/>
              <a:t>asciende a final de año a su máximo nivel desde mayo 2022.</a:t>
            </a:r>
          </a:p>
          <a:p>
            <a:endParaRPr lang="es-ES_tradnl" sz="1400" dirty="0"/>
          </a:p>
          <a:p>
            <a:r>
              <a:rPr lang="es-ES_tradnl" sz="1400" dirty="0"/>
              <a:t>En diciembre las </a:t>
            </a:r>
            <a:r>
              <a:rPr lang="es-ES_tradnl" sz="1400" b="1" dirty="0"/>
              <a:t>expectativas económicas de los europeos </a:t>
            </a:r>
            <a:r>
              <a:rPr lang="es-ES_tradnl" sz="1400" dirty="0"/>
              <a:t>cerraron 2023 con un moderado incremento. El indicador de la UE (-8) subió 4 puntos en comparación con el mes de noviembre (-12). Lituania, Polonia y Bélgica registraron en diciembre los valores más altos, mientras que en el lado contrario se situaron República Checa, Finlandia, Eslovenia, Austria y Hungría. Los países que mejoraron sus expectativas de forma más destacada fueron Letonia y Suecia.</a:t>
            </a:r>
          </a:p>
          <a:p>
            <a:endParaRPr lang="es-ES_tradnl" sz="1400" b="1" i="1" dirty="0"/>
          </a:p>
          <a:p>
            <a:r>
              <a:rPr lang="es-ES_tradnl" sz="1400" dirty="0"/>
              <a:t>Fruto de unas perspectivas económicas moderadamente crecientes, las </a:t>
            </a:r>
            <a:r>
              <a:rPr lang="es-ES_tradnl" sz="1400" b="1" dirty="0"/>
              <a:t>previsiones de ingresos en Europa </a:t>
            </a:r>
            <a:r>
              <a:rPr lang="es-ES_tradnl" sz="1400" dirty="0"/>
              <a:t>también suben 4 puntos, llegando a -10 puntos. Los niveles más altos este mes se alcanzaron en Eslovenia, Bulgaria y Austria y los más bajos en Estonia, Suecia y Dinamarca. Las mejoras más fuertes en comparación con el mes anterior se dieron en Letonia y Austria y las pérdidas más acusadas en Polonia y República Checa.</a:t>
            </a:r>
          </a:p>
          <a:p>
            <a:endParaRPr lang="es-ES_tradnl" sz="1400" dirty="0"/>
          </a:p>
          <a:p>
            <a:r>
              <a:rPr lang="es-ES_tradnl" sz="1400" dirty="0"/>
              <a:t>La </a:t>
            </a:r>
            <a:r>
              <a:rPr lang="es-ES_tradnl" sz="1400" b="1" dirty="0"/>
              <a:t>disposición europea a comprar </a:t>
            </a:r>
            <a:r>
              <a:rPr lang="es-ES_tradnl" sz="1400" dirty="0"/>
              <a:t>sigue aumentando ligeramente. Esta vez, en 2 puntos, hasta -23. Pero el indicador sigue estando en un valor muy bajo. Suecia, Austria, Finlandia y Francia dejan en diciembre los niveles más negativos. Se observan las mayores ganancias en comparación con noviembre en Grecia y Alemania. En Bélgica, por el contrario, se dan pérdidas importantes.</a:t>
            </a:r>
            <a:endParaRPr lang="es-ES_tradnl" sz="1400" dirty="0">
              <a:effectLst/>
              <a:ea typeface="Arial" panose="020B0604020202020204" pitchFamily="34" charset="0"/>
            </a:endParaRPr>
          </a:p>
        </p:txBody>
      </p:sp>
      <p:sp>
        <p:nvSpPr>
          <p:cNvPr id="11" name="Textplatzhalter 6">
            <a:extLst>
              <a:ext uri="{FF2B5EF4-FFF2-40B4-BE49-F238E27FC236}">
                <a16:creationId xmlns:a16="http://schemas.microsoft.com/office/drawing/2014/main" id="{1F8F4A79-B539-4CB3-BDEB-AC63E8E5DB6C}"/>
              </a:ext>
            </a:extLst>
          </p:cNvPr>
          <p:cNvSpPr txBox="1">
            <a:spLocks/>
          </p:cNvSpPr>
          <p:nvPr>
            <p:custDataLst>
              <p:tags r:id="rId1"/>
            </p:custDataLst>
          </p:nvPr>
        </p:nvSpPr>
        <p:spPr bwMode="gray">
          <a:xfrm>
            <a:off x="431371" y="6404736"/>
            <a:ext cx="11328400" cy="192616"/>
          </a:xfrm>
          <a:prstGeom prst="rect">
            <a:avLst/>
          </a:prstGeom>
        </p:spPr>
        <p:txBody>
          <a:bodyPr/>
          <a:lstStyle>
            <a:lvl1pPr marL="252000" indent="-252000" algn="l" defTabSz="914400" rtl="0" eaLnBrk="1" latinLnBrk="0" hangingPunct="1">
              <a:lnSpc>
                <a:spcPct val="110000"/>
              </a:lnSpc>
              <a:spcBef>
                <a:spcPts val="1000"/>
              </a:spcBef>
              <a:buClr>
                <a:schemeClr val="tx2"/>
              </a:buClr>
              <a:buFont typeface="Wingdings" panose="05000000000000000000" pitchFamily="2" charset="2"/>
              <a:buChar char="§"/>
              <a:defRPr sz="2800" kern="1200">
                <a:solidFill>
                  <a:schemeClr val="tx1"/>
                </a:solidFill>
                <a:latin typeface="+mn-lt"/>
                <a:ea typeface="+mn-ea"/>
                <a:cs typeface="+mn-cs"/>
              </a:defRPr>
            </a:lvl1pPr>
            <a:lvl2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2400" kern="1200">
                <a:solidFill>
                  <a:schemeClr val="tx1"/>
                </a:solidFill>
                <a:latin typeface="+mn-lt"/>
                <a:ea typeface="+mn-ea"/>
                <a:cs typeface="+mn-cs"/>
              </a:defRPr>
            </a:lvl2pPr>
            <a:lvl3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600"/>
              </a:spcBef>
              <a:buClr>
                <a:schemeClr val="tx2"/>
              </a:buClr>
              <a:buFont typeface="Lato" panose="020F0502020204030203" pitchFamily="34" charset="0"/>
              <a:buChar char="​"/>
              <a:defRPr sz="1600" kern="1200">
                <a:solidFill>
                  <a:schemeClr val="tx1"/>
                </a:solidFill>
                <a:latin typeface="+mn-lt"/>
                <a:ea typeface="+mn-ea"/>
                <a:cs typeface="+mn-cs"/>
              </a:defRPr>
            </a:lvl4pPr>
            <a:lvl5pPr marL="25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5pPr>
            <a:lvl6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6pPr>
            <a:lvl7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51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944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9pPr>
          </a:lstStyle>
          <a:p>
            <a:pPr marL="0" indent="0">
              <a:buNone/>
            </a:pPr>
            <a:r>
              <a:rPr lang="de-DE" sz="800" dirty="0"/>
              <a:t>Source: GfK </a:t>
            </a:r>
            <a:r>
              <a:rPr kumimoji="0" lang="fr-FR" sz="800" b="0" i="0" u="none" strike="noStrike" kern="1200" cap="none" spc="0" normalizeH="0" baseline="0" noProof="0" dirty="0">
                <a:ln>
                  <a:noFill/>
                </a:ln>
                <a:effectLst/>
                <a:uLnTx/>
                <a:uFillTx/>
                <a:latin typeface="Arial" pitchFamily="34" charset="0"/>
                <a:ea typeface="+mn-ea"/>
                <a:cs typeface="Arial" pitchFamily="34" charset="0"/>
              </a:rPr>
              <a:t>Euro </a:t>
            </a:r>
            <a:r>
              <a:rPr kumimoji="0" lang="fr-FR" sz="800" b="0" i="0" u="none" strike="noStrike" kern="1200" cap="none" spc="0" normalizeH="0" baseline="0" noProof="0" dirty="0" err="1">
                <a:ln>
                  <a:noFill/>
                </a:ln>
                <a:effectLst/>
                <a:uLnTx/>
                <a:uFillTx/>
                <a:latin typeface="Arial" pitchFamily="34" charset="0"/>
                <a:ea typeface="+mn-ea"/>
                <a:cs typeface="Arial" pitchFamily="34" charset="0"/>
              </a:rPr>
              <a:t>Climate</a:t>
            </a:r>
            <a:r>
              <a:rPr kumimoji="0" lang="fr-FR" sz="800" b="0" i="0" u="none" strike="noStrike" kern="1200" cap="none" spc="0" normalizeH="0" baseline="0" noProof="0" dirty="0">
                <a:ln>
                  <a:noFill/>
                </a:ln>
                <a:effectLst/>
                <a:uLnTx/>
                <a:uFillTx/>
                <a:latin typeface="Arial" pitchFamily="34" charset="0"/>
                <a:ea typeface="+mn-ea"/>
                <a:cs typeface="Arial" pitchFamily="34" charset="0"/>
              </a:rPr>
              <a:t> </a:t>
            </a:r>
            <a:r>
              <a:rPr kumimoji="0" lang="fr-FR" sz="800" b="0" i="1" u="none" strike="noStrike" kern="1200" cap="none" spc="0" normalizeH="0" baseline="0" noProof="0" dirty="0" err="1">
                <a:ln>
                  <a:noFill/>
                </a:ln>
                <a:effectLst/>
                <a:uLnTx/>
                <a:uFillTx/>
                <a:latin typeface="Arial" pitchFamily="34" charset="0"/>
                <a:ea typeface="+mn-ea"/>
                <a:cs typeface="Arial" pitchFamily="34" charset="0"/>
              </a:rPr>
              <a:t>powered</a:t>
            </a:r>
            <a:r>
              <a:rPr kumimoji="0" lang="fr-FR" sz="800" b="0" i="1" u="none" strike="noStrike" kern="1200" cap="none" spc="0" normalizeH="0" baseline="0" noProof="0" dirty="0">
                <a:ln>
                  <a:noFill/>
                </a:ln>
                <a:effectLst/>
                <a:uLnTx/>
                <a:uFillTx/>
                <a:latin typeface="Arial" pitchFamily="34" charset="0"/>
                <a:ea typeface="+mn-ea"/>
                <a:cs typeface="Arial" pitchFamily="34" charset="0"/>
              </a:rPr>
              <a:t> by NIM</a:t>
            </a:r>
            <a:r>
              <a:rPr lang="de-DE" sz="800" dirty="0"/>
              <a:t> | </a:t>
            </a:r>
            <a:r>
              <a:rPr lang="de-DE" sz="800" dirty="0" err="1"/>
              <a:t>December</a:t>
            </a:r>
            <a:r>
              <a:rPr lang="de-DE" sz="800" dirty="0"/>
              <a:t> 2023</a:t>
            </a:r>
          </a:p>
        </p:txBody>
      </p:sp>
      <p:sp>
        <p:nvSpPr>
          <p:cNvPr id="3" name="Titel 2">
            <a:extLst>
              <a:ext uri="{FF2B5EF4-FFF2-40B4-BE49-F238E27FC236}">
                <a16:creationId xmlns:a16="http://schemas.microsoft.com/office/drawing/2014/main" id="{265FE829-2519-4E96-9637-464601364464}"/>
              </a:ext>
            </a:extLst>
          </p:cNvPr>
          <p:cNvSpPr>
            <a:spLocks noGrp="1"/>
          </p:cNvSpPr>
          <p:nvPr>
            <p:ph type="title"/>
          </p:nvPr>
        </p:nvSpPr>
        <p:spPr>
          <a:xfrm>
            <a:off x="431371" y="332656"/>
            <a:ext cx="9769085" cy="369332"/>
          </a:xfrm>
        </p:spPr>
        <p:txBody>
          <a:bodyPr/>
          <a:lstStyle/>
          <a:p>
            <a:r>
              <a:rPr lang="es-ES_tradnl" dirty="0"/>
              <a:t>Población europea | </a:t>
            </a:r>
            <a:r>
              <a:rPr lang="es-ES_tradnl" b="1" dirty="0"/>
              <a:t>La confianza continua su tendencia al alza</a:t>
            </a:r>
          </a:p>
        </p:txBody>
      </p:sp>
      <p:sp>
        <p:nvSpPr>
          <p:cNvPr id="9" name="Subtitle 19">
            <a:extLst>
              <a:ext uri="{FF2B5EF4-FFF2-40B4-BE49-F238E27FC236}">
                <a16:creationId xmlns:a16="http://schemas.microsoft.com/office/drawing/2014/main" id="{89BAF924-35D8-410E-ACF5-C39513AC4B91}"/>
              </a:ext>
            </a:extLst>
          </p:cNvPr>
          <p:cNvSpPr txBox="1">
            <a:spLocks/>
          </p:cNvSpPr>
          <p:nvPr/>
        </p:nvSpPr>
        <p:spPr>
          <a:xfrm>
            <a:off x="334963" y="1196752"/>
            <a:ext cx="8641357" cy="360040"/>
          </a:xfrm>
          <a:prstGeom prst="rect">
            <a:avLst/>
          </a:prstGeom>
        </p:spPr>
        <p:txBody>
          <a:bodyPr/>
          <a:lstStyle>
            <a:lvl1pPr marL="266700" indent="-266700" algn="l" defTabSz="914400" rtl="0" eaLnBrk="1" latinLnBrk="0" hangingPunct="1">
              <a:lnSpc>
                <a:spcPct val="100000"/>
              </a:lnSpc>
              <a:spcBef>
                <a:spcPts val="1000"/>
              </a:spcBef>
              <a:buClrTx/>
              <a:buSzPct val="80000"/>
              <a:buFont typeface="Wingdings" panose="05000000000000000000" pitchFamily="2" charset="2"/>
              <a:buChar char="n"/>
              <a:defRPr sz="1600" kern="1200">
                <a:solidFill>
                  <a:schemeClr val="tx1"/>
                </a:solidFill>
                <a:latin typeface="+mn-lt"/>
                <a:ea typeface="+mn-ea"/>
                <a:cs typeface="+mn-cs"/>
              </a:defRPr>
            </a:lvl1pPr>
            <a:lvl2pPr marL="542925" indent="-276225" algn="l" defTabSz="914400" rtl="0" eaLnBrk="1" latinLnBrk="0" hangingPunct="1">
              <a:lnSpc>
                <a:spcPct val="100000"/>
              </a:lnSpc>
              <a:spcBef>
                <a:spcPts val="1000"/>
              </a:spcBef>
              <a:buClrTx/>
              <a:buSzPct val="80000"/>
              <a:buFont typeface="Wingdings" panose="05000000000000000000" pitchFamily="2" charset="2"/>
              <a:buChar char=""/>
              <a:defRPr sz="1600" kern="1200">
                <a:solidFill>
                  <a:schemeClr val="tx1"/>
                </a:solidFill>
                <a:latin typeface="+mn-lt"/>
                <a:ea typeface="+mn-ea"/>
                <a:cs typeface="+mn-cs"/>
              </a:defRPr>
            </a:lvl2pPr>
            <a:lvl3pPr marL="809625" indent="-266700" algn="l" defTabSz="914400" rtl="0" eaLnBrk="1" latinLnBrk="0" hangingPunct="1">
              <a:lnSpc>
                <a:spcPct val="100000"/>
              </a:lnSpc>
              <a:spcBef>
                <a:spcPts val="1000"/>
              </a:spcBef>
              <a:buClrTx/>
              <a:buSzPct val="100000"/>
              <a:buFont typeface="Courier New" panose="02070309020205020404" pitchFamily="49" charset="0"/>
              <a:buChar char="o"/>
              <a:defRPr sz="1600" kern="1200">
                <a:solidFill>
                  <a:schemeClr val="tx1"/>
                </a:solidFill>
                <a:latin typeface="+mn-lt"/>
                <a:ea typeface="+mn-ea"/>
                <a:cs typeface="+mn-cs"/>
              </a:defRPr>
            </a:lvl3pPr>
            <a:lvl4pPr marL="0" indent="0" algn="l" defTabSz="914400" rtl="0" eaLnBrk="1" latinLnBrk="0" hangingPunct="1">
              <a:lnSpc>
                <a:spcPct val="100000"/>
              </a:lnSpc>
              <a:spcBef>
                <a:spcPts val="1000"/>
              </a:spcBef>
              <a:buClrTx/>
              <a:buSzPct val="80000"/>
              <a:buFont typeface="Wingdings" panose="05000000000000000000" pitchFamily="2" charset="2"/>
              <a:buNone/>
              <a:defRPr sz="1600" kern="1200">
                <a:solidFill>
                  <a:schemeClr val="tx1"/>
                </a:solidFill>
                <a:latin typeface="+mn-lt"/>
                <a:ea typeface="+mn-ea"/>
                <a:cs typeface="+mn-cs"/>
              </a:defRPr>
            </a:lvl4pPr>
            <a:lvl5pPr marL="0" indent="0" algn="l" defTabSz="914400" rtl="0" eaLnBrk="1" latinLnBrk="0" hangingPunct="1">
              <a:lnSpc>
                <a:spcPct val="100000"/>
              </a:lnSpc>
              <a:spcBef>
                <a:spcPts val="1000"/>
              </a:spcBef>
              <a:buClrTx/>
              <a:buFont typeface="Wingdings 2" panose="05020102010507070707" pitchFamily="18" charset="2"/>
              <a:buNone/>
              <a:defRPr sz="1200" b="0" kern="1200">
                <a:solidFill>
                  <a:schemeClr val="tx1"/>
                </a:solidFill>
                <a:latin typeface="+mn-lt"/>
                <a:ea typeface="+mn-ea"/>
                <a:cs typeface="+mn-cs"/>
              </a:defRPr>
            </a:lvl5pPr>
            <a:lvl6pPr marL="266700" indent="-266700" algn="l" defTabSz="914400" rtl="0" eaLnBrk="1" latinLnBrk="0" hangingPunct="1">
              <a:lnSpc>
                <a:spcPct val="100000"/>
              </a:lnSpc>
              <a:spcBef>
                <a:spcPts val="600"/>
              </a:spcBef>
              <a:buClrTx/>
              <a:buSzPct val="80000"/>
              <a:buFont typeface="Wingdings" panose="05000000000000000000" pitchFamily="2" charset="2"/>
              <a:buChar char="n"/>
              <a:defRPr sz="1200" b="0" kern="1200">
                <a:solidFill>
                  <a:schemeClr val="tx1"/>
                </a:solidFill>
                <a:latin typeface="+mn-lt"/>
                <a:ea typeface="+mn-ea"/>
                <a:cs typeface="+mn-cs"/>
              </a:defRPr>
            </a:lvl6pPr>
            <a:lvl7pPr marL="542925" indent="-276225" algn="l" defTabSz="914400" rtl="0" eaLnBrk="1" latinLnBrk="0" hangingPunct="1">
              <a:lnSpc>
                <a:spcPct val="100000"/>
              </a:lnSpc>
              <a:spcBef>
                <a:spcPts val="600"/>
              </a:spcBef>
              <a:buClrTx/>
              <a:buSzPct val="80000"/>
              <a:buFont typeface="Wingdings" panose="05000000000000000000" pitchFamily="2" charset="2"/>
              <a:buChar char="o"/>
              <a:defRPr sz="1200" b="0" kern="1200">
                <a:solidFill>
                  <a:schemeClr val="tx1"/>
                </a:solidFill>
                <a:latin typeface="+mn-lt"/>
                <a:ea typeface="+mn-ea"/>
                <a:cs typeface="+mn-cs"/>
              </a:defRPr>
            </a:lvl7pPr>
            <a:lvl8pPr marL="809625" indent="-266700" algn="l" defTabSz="914400" rtl="0" eaLnBrk="1" latinLnBrk="0" hangingPunct="1">
              <a:lnSpc>
                <a:spcPct val="100000"/>
              </a:lnSpc>
              <a:spcBef>
                <a:spcPts val="600"/>
              </a:spcBef>
              <a:buClrTx/>
              <a:buSzPct val="100000"/>
              <a:buFont typeface="Courier New" panose="02070309020205020404" pitchFamily="49" charset="0"/>
              <a:buChar char="o"/>
              <a:defRPr sz="1200" b="0" kern="1200">
                <a:solidFill>
                  <a:schemeClr val="tx1"/>
                </a:solidFill>
                <a:latin typeface="+mn-lt"/>
                <a:ea typeface="+mn-ea"/>
                <a:cs typeface="+mn-cs"/>
              </a:defRPr>
            </a:lvl8pPr>
            <a:lvl9pPr marL="803275" indent="-268288" algn="l" defTabSz="914400" rtl="0" eaLnBrk="1" latinLnBrk="0" hangingPunct="1">
              <a:lnSpc>
                <a:spcPct val="100000"/>
              </a:lnSpc>
              <a:spcBef>
                <a:spcPts val="600"/>
              </a:spcBef>
              <a:buClrTx/>
              <a:buSzPct val="100000"/>
              <a:buFont typeface="Courier New" panose="02070309020205020404" pitchFamily="49" charset="0"/>
              <a:buChar char="o"/>
              <a:defRPr sz="1200" b="0" kern="1200">
                <a:solidFill>
                  <a:schemeClr val="tx1"/>
                </a:solidFill>
                <a:latin typeface="+mn-lt"/>
                <a:ea typeface="+mn-ea"/>
                <a:cs typeface="+mn-cs"/>
              </a:defRPr>
            </a:lvl9pPr>
          </a:lstStyle>
          <a:p>
            <a:pPr marL="0" indent="0">
              <a:buNone/>
            </a:pPr>
            <a:r>
              <a:rPr lang="es-ES_tradnl" sz="2000">
                <a:latin typeface="Lato Light" panose="020F0502020204030203" pitchFamily="34" charset="0"/>
                <a:ea typeface="Lato Light" panose="020F0502020204030203" pitchFamily="34" charset="0"/>
                <a:cs typeface="Lato Light" panose="020F0502020204030203" pitchFamily="34" charset="0"/>
              </a:rPr>
              <a:t>Principales hallazgos</a:t>
            </a:r>
          </a:p>
        </p:txBody>
      </p:sp>
    </p:spTree>
    <p:extLst>
      <p:ext uri="{BB962C8B-B14F-4D97-AF65-F5344CB8AC3E}">
        <p14:creationId xmlns:p14="http://schemas.microsoft.com/office/powerpoint/2010/main" val="40227291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Folie" r:id="rId22" imgW="270" imgH="270" progId="TCLayout.ActiveDocument.1">
                  <p:embed/>
                </p:oleObj>
              </mc:Choice>
              <mc:Fallback>
                <p:oleObj name="think-cell Folie" r:id="rId22" imgW="270" imgH="270" progId="TCLayout.ActiveDocument.1">
                  <p:embed/>
                  <p:pic>
                    <p:nvPicPr>
                      <p:cNvPr id="11" name="Objekt 10" hidden="1"/>
                      <p:cNvPicPr/>
                      <p:nvPr/>
                    </p:nvPicPr>
                    <p:blipFill>
                      <a:blip r:embed="rId23"/>
                      <a:stretch>
                        <a:fillRect/>
                      </a:stretch>
                    </p:blipFill>
                    <p:spPr>
                      <a:xfrm>
                        <a:off x="2118" y="2118"/>
                        <a:ext cx="2116" cy="2116"/>
                      </a:xfrm>
                      <a:prstGeom prst="rect">
                        <a:avLst/>
                      </a:prstGeom>
                    </p:spPr>
                  </p:pic>
                </p:oleObj>
              </mc:Fallback>
            </mc:AlternateContent>
          </a:graphicData>
        </a:graphic>
      </p:graphicFrame>
      <p:sp>
        <p:nvSpPr>
          <p:cNvPr id="285" name="Rechteck 284"/>
          <p:cNvSpPr/>
          <p:nvPr>
            <p:custDataLst>
              <p:tags r:id="rId3"/>
            </p:custDataLst>
          </p:nvPr>
        </p:nvSpPr>
        <p:spPr bwMode="gray">
          <a:xfrm>
            <a:off x="7088647" y="1701273"/>
            <a:ext cx="1175875" cy="383407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US" sz="2133" b="1" dirty="0">
              <a:solidFill>
                <a:schemeClr val="tx1"/>
              </a:solidFill>
              <a:latin typeface="Arial" pitchFamily="34" charset="0"/>
              <a:cs typeface="Arial" pitchFamily="34" charset="0"/>
            </a:endParaRPr>
          </a:p>
        </p:txBody>
      </p:sp>
      <p:sp>
        <p:nvSpPr>
          <p:cNvPr id="286" name="Rechteck 285"/>
          <p:cNvSpPr/>
          <p:nvPr>
            <p:custDataLst>
              <p:tags r:id="rId4"/>
            </p:custDataLst>
          </p:nvPr>
        </p:nvSpPr>
        <p:spPr bwMode="gray">
          <a:xfrm>
            <a:off x="9425441" y="1701273"/>
            <a:ext cx="1175875" cy="383407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US" sz="2133" b="1" dirty="0">
              <a:solidFill>
                <a:schemeClr val="tx1"/>
              </a:solidFill>
              <a:latin typeface="Arial" pitchFamily="34" charset="0"/>
              <a:cs typeface="Arial" pitchFamily="34" charset="0"/>
            </a:endParaRPr>
          </a:p>
        </p:txBody>
      </p:sp>
      <p:sp>
        <p:nvSpPr>
          <p:cNvPr id="287" name="Rechteck 286"/>
          <p:cNvSpPr/>
          <p:nvPr>
            <p:custDataLst>
              <p:tags r:id="rId5"/>
            </p:custDataLst>
          </p:nvPr>
        </p:nvSpPr>
        <p:spPr bwMode="gray">
          <a:xfrm>
            <a:off x="4811413" y="1701273"/>
            <a:ext cx="1175875" cy="383407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US" sz="2133" b="1" dirty="0">
              <a:solidFill>
                <a:schemeClr val="tx1"/>
              </a:solidFill>
              <a:latin typeface="Arial" pitchFamily="34" charset="0"/>
              <a:cs typeface="Arial" pitchFamily="34" charset="0"/>
            </a:endParaRPr>
          </a:p>
        </p:txBody>
      </p:sp>
      <p:sp>
        <p:nvSpPr>
          <p:cNvPr id="330" name="Rechteck 329"/>
          <p:cNvSpPr/>
          <p:nvPr>
            <p:custDataLst>
              <p:tags r:id="rId6"/>
            </p:custDataLst>
          </p:nvPr>
        </p:nvSpPr>
        <p:spPr bwMode="gray">
          <a:xfrm>
            <a:off x="5920249" y="5554354"/>
            <a:ext cx="1175875" cy="5765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r>
              <a:rPr lang="en-US" sz="1600" b="1" dirty="0">
                <a:solidFill>
                  <a:schemeClr val="tx1"/>
                </a:solidFill>
                <a:cs typeface="Arial" pitchFamily="34" charset="0"/>
              </a:rPr>
              <a:t>2019</a:t>
            </a:r>
          </a:p>
        </p:txBody>
      </p:sp>
      <p:sp>
        <p:nvSpPr>
          <p:cNvPr id="331" name="Rechteck 330"/>
          <p:cNvSpPr/>
          <p:nvPr>
            <p:custDataLst>
              <p:tags r:id="rId7"/>
            </p:custDataLst>
          </p:nvPr>
        </p:nvSpPr>
        <p:spPr bwMode="gray">
          <a:xfrm>
            <a:off x="7088647" y="5554354"/>
            <a:ext cx="1175875" cy="5765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r>
              <a:rPr lang="en-US" sz="1600" b="1" dirty="0">
                <a:solidFill>
                  <a:schemeClr val="tx1"/>
                </a:solidFill>
                <a:cs typeface="Arial" pitchFamily="34" charset="0"/>
              </a:rPr>
              <a:t>2020</a:t>
            </a:r>
          </a:p>
        </p:txBody>
      </p:sp>
      <p:sp>
        <p:nvSpPr>
          <p:cNvPr id="332" name="Rechteck 331"/>
          <p:cNvSpPr/>
          <p:nvPr>
            <p:custDataLst>
              <p:tags r:id="rId8"/>
            </p:custDataLst>
          </p:nvPr>
        </p:nvSpPr>
        <p:spPr bwMode="gray">
          <a:xfrm>
            <a:off x="8257044" y="5554354"/>
            <a:ext cx="1175875" cy="5765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r>
              <a:rPr lang="en-US" sz="1600" b="1" dirty="0">
                <a:solidFill>
                  <a:schemeClr val="tx1"/>
                </a:solidFill>
                <a:cs typeface="Arial" pitchFamily="34" charset="0"/>
              </a:rPr>
              <a:t>2021</a:t>
            </a:r>
          </a:p>
        </p:txBody>
      </p:sp>
      <p:sp>
        <p:nvSpPr>
          <p:cNvPr id="333" name="Rechteck 332"/>
          <p:cNvSpPr/>
          <p:nvPr>
            <p:custDataLst>
              <p:tags r:id="rId9"/>
            </p:custDataLst>
          </p:nvPr>
        </p:nvSpPr>
        <p:spPr bwMode="gray">
          <a:xfrm>
            <a:off x="9425441" y="5554354"/>
            <a:ext cx="1175875" cy="5765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r>
              <a:rPr lang="en-US" sz="1600" b="1" dirty="0">
                <a:solidFill>
                  <a:schemeClr val="tx1"/>
                </a:solidFill>
                <a:cs typeface="Arial" pitchFamily="34" charset="0"/>
              </a:rPr>
              <a:t>2022</a:t>
            </a:r>
          </a:p>
        </p:txBody>
      </p:sp>
      <p:graphicFrame>
        <p:nvGraphicFramePr>
          <p:cNvPr id="298" name="Object 34"/>
          <p:cNvGraphicFramePr>
            <a:graphicFrameLocks noChangeAspect="1"/>
          </p:cNvGraphicFramePr>
          <p:nvPr>
            <p:custDataLst>
              <p:tags r:id="rId10"/>
            </p:custDataLst>
            <p:extLst>
              <p:ext uri="{D42A27DB-BD31-4B8C-83A1-F6EECF244321}">
                <p14:modId xmlns:p14="http://schemas.microsoft.com/office/powerpoint/2010/main" val="1165712239"/>
              </p:ext>
            </p:extLst>
          </p:nvPr>
        </p:nvGraphicFramePr>
        <p:xfrm>
          <a:off x="4078818" y="1508787"/>
          <a:ext cx="8017849" cy="4368485"/>
        </p:xfrm>
        <a:graphic>
          <a:graphicData uri="http://schemas.openxmlformats.org/drawingml/2006/chart">
            <c:chart xmlns:c="http://schemas.openxmlformats.org/drawingml/2006/chart" xmlns:r="http://schemas.openxmlformats.org/officeDocument/2006/relationships" r:id="rId24"/>
          </a:graphicData>
        </a:graphic>
      </p:graphicFrame>
      <p:grpSp>
        <p:nvGrpSpPr>
          <p:cNvPr id="76" name="Gruppieren 75"/>
          <p:cNvGrpSpPr/>
          <p:nvPr>
            <p:custDataLst>
              <p:tags r:id="rId11"/>
            </p:custDataLst>
          </p:nvPr>
        </p:nvGrpSpPr>
        <p:grpSpPr bwMode="gray">
          <a:xfrm>
            <a:off x="146019" y="2204864"/>
            <a:ext cx="4293797" cy="3349490"/>
            <a:chOff x="467544" y="1484784"/>
            <a:chExt cx="5321300" cy="4651375"/>
          </a:xfrm>
          <a:solidFill>
            <a:schemeClr val="accent2"/>
          </a:solidFill>
        </p:grpSpPr>
        <p:grpSp>
          <p:nvGrpSpPr>
            <p:cNvPr id="77" name="Group 206"/>
            <p:cNvGrpSpPr>
              <a:grpSpLocks/>
            </p:cNvGrpSpPr>
            <p:nvPr/>
          </p:nvGrpSpPr>
          <p:grpSpPr bwMode="gray">
            <a:xfrm>
              <a:off x="467544" y="1484784"/>
              <a:ext cx="4625975" cy="4651375"/>
              <a:chOff x="1204" y="1074"/>
              <a:chExt cx="2914" cy="2930"/>
            </a:xfrm>
            <a:grpFill/>
          </p:grpSpPr>
          <p:sp>
            <p:nvSpPr>
              <p:cNvPr id="85" name="Freeform 6"/>
              <p:cNvSpPr>
                <a:spLocks/>
              </p:cNvSpPr>
              <p:nvPr/>
            </p:nvSpPr>
            <p:spPr bwMode="gray">
              <a:xfrm>
                <a:off x="2741" y="2808"/>
                <a:ext cx="841" cy="521"/>
              </a:xfrm>
              <a:custGeom>
                <a:avLst/>
                <a:gdLst>
                  <a:gd name="T0" fmla="*/ 146 w 320"/>
                  <a:gd name="T1" fmla="*/ 9 h 198"/>
                  <a:gd name="T2" fmla="*/ 133 w 320"/>
                  <a:gd name="T3" fmla="*/ 21 h 198"/>
                  <a:gd name="T4" fmla="*/ 112 w 320"/>
                  <a:gd name="T5" fmla="*/ 20 h 198"/>
                  <a:gd name="T6" fmla="*/ 94 w 320"/>
                  <a:gd name="T7" fmla="*/ 18 h 198"/>
                  <a:gd name="T8" fmla="*/ 63 w 320"/>
                  <a:gd name="T9" fmla="*/ 12 h 198"/>
                  <a:gd name="T10" fmla="*/ 26 w 320"/>
                  <a:gd name="T11" fmla="*/ 19 h 198"/>
                  <a:gd name="T12" fmla="*/ 30 w 320"/>
                  <a:gd name="T13" fmla="*/ 45 h 198"/>
                  <a:gd name="T14" fmla="*/ 10 w 320"/>
                  <a:gd name="T15" fmla="*/ 77 h 198"/>
                  <a:gd name="T16" fmla="*/ 0 w 320"/>
                  <a:gd name="T17" fmla="*/ 96 h 198"/>
                  <a:gd name="T18" fmla="*/ 20 w 320"/>
                  <a:gd name="T19" fmla="*/ 104 h 198"/>
                  <a:gd name="T20" fmla="*/ 56 w 320"/>
                  <a:gd name="T21" fmla="*/ 108 h 198"/>
                  <a:gd name="T22" fmla="*/ 88 w 320"/>
                  <a:gd name="T23" fmla="*/ 96 h 198"/>
                  <a:gd name="T24" fmla="*/ 122 w 320"/>
                  <a:gd name="T25" fmla="*/ 104 h 198"/>
                  <a:gd name="T26" fmla="*/ 136 w 320"/>
                  <a:gd name="T27" fmla="*/ 126 h 198"/>
                  <a:gd name="T28" fmla="*/ 141 w 320"/>
                  <a:gd name="T29" fmla="*/ 145 h 198"/>
                  <a:gd name="T30" fmla="*/ 126 w 320"/>
                  <a:gd name="T31" fmla="*/ 146 h 198"/>
                  <a:gd name="T32" fmla="*/ 114 w 320"/>
                  <a:gd name="T33" fmla="*/ 170 h 198"/>
                  <a:gd name="T34" fmla="*/ 142 w 320"/>
                  <a:gd name="T35" fmla="*/ 176 h 198"/>
                  <a:gd name="T36" fmla="*/ 143 w 320"/>
                  <a:gd name="T37" fmla="*/ 165 h 198"/>
                  <a:gd name="T38" fmla="*/ 148 w 320"/>
                  <a:gd name="T39" fmla="*/ 148 h 198"/>
                  <a:gd name="T40" fmla="*/ 161 w 320"/>
                  <a:gd name="T41" fmla="*/ 141 h 198"/>
                  <a:gd name="T42" fmla="*/ 174 w 320"/>
                  <a:gd name="T43" fmla="*/ 140 h 198"/>
                  <a:gd name="T44" fmla="*/ 176 w 320"/>
                  <a:gd name="T45" fmla="*/ 126 h 198"/>
                  <a:gd name="T46" fmla="*/ 184 w 320"/>
                  <a:gd name="T47" fmla="*/ 141 h 198"/>
                  <a:gd name="T48" fmla="*/ 178 w 320"/>
                  <a:gd name="T49" fmla="*/ 143 h 198"/>
                  <a:gd name="T50" fmla="*/ 179 w 320"/>
                  <a:gd name="T51" fmla="*/ 148 h 198"/>
                  <a:gd name="T52" fmla="*/ 204 w 320"/>
                  <a:gd name="T53" fmla="*/ 152 h 198"/>
                  <a:gd name="T54" fmla="*/ 207 w 320"/>
                  <a:gd name="T55" fmla="*/ 161 h 198"/>
                  <a:gd name="T56" fmla="*/ 196 w 320"/>
                  <a:gd name="T57" fmla="*/ 173 h 198"/>
                  <a:gd name="T58" fmla="*/ 214 w 320"/>
                  <a:gd name="T59" fmla="*/ 185 h 198"/>
                  <a:gd name="T60" fmla="*/ 218 w 320"/>
                  <a:gd name="T61" fmla="*/ 198 h 198"/>
                  <a:gd name="T62" fmla="*/ 243 w 320"/>
                  <a:gd name="T63" fmla="*/ 186 h 198"/>
                  <a:gd name="T64" fmla="*/ 263 w 320"/>
                  <a:gd name="T65" fmla="*/ 181 h 198"/>
                  <a:gd name="T66" fmla="*/ 264 w 320"/>
                  <a:gd name="T67" fmla="*/ 170 h 198"/>
                  <a:gd name="T68" fmla="*/ 250 w 320"/>
                  <a:gd name="T69" fmla="*/ 173 h 198"/>
                  <a:gd name="T70" fmla="*/ 238 w 320"/>
                  <a:gd name="T71" fmla="*/ 167 h 198"/>
                  <a:gd name="T72" fmla="*/ 229 w 320"/>
                  <a:gd name="T73" fmla="*/ 159 h 198"/>
                  <a:gd name="T74" fmla="*/ 218 w 320"/>
                  <a:gd name="T75" fmla="*/ 156 h 198"/>
                  <a:gd name="T76" fmla="*/ 222 w 320"/>
                  <a:gd name="T77" fmla="*/ 150 h 198"/>
                  <a:gd name="T78" fmla="*/ 228 w 320"/>
                  <a:gd name="T79" fmla="*/ 157 h 198"/>
                  <a:gd name="T80" fmla="*/ 244 w 320"/>
                  <a:gd name="T81" fmla="*/ 172 h 198"/>
                  <a:gd name="T82" fmla="*/ 236 w 320"/>
                  <a:gd name="T83" fmla="*/ 150 h 198"/>
                  <a:gd name="T84" fmla="*/ 237 w 320"/>
                  <a:gd name="T85" fmla="*/ 154 h 198"/>
                  <a:gd name="T86" fmla="*/ 258 w 320"/>
                  <a:gd name="T87" fmla="*/ 140 h 198"/>
                  <a:gd name="T88" fmla="*/ 277 w 320"/>
                  <a:gd name="T89" fmla="*/ 133 h 198"/>
                  <a:gd name="T90" fmla="*/ 294 w 320"/>
                  <a:gd name="T91" fmla="*/ 116 h 198"/>
                  <a:gd name="T92" fmla="*/ 319 w 320"/>
                  <a:gd name="T93" fmla="*/ 101 h 198"/>
                  <a:gd name="T94" fmla="*/ 316 w 320"/>
                  <a:gd name="T95" fmla="*/ 83 h 198"/>
                  <a:gd name="T96" fmla="*/ 314 w 320"/>
                  <a:gd name="T97" fmla="*/ 66 h 198"/>
                  <a:gd name="T98" fmla="*/ 300 w 320"/>
                  <a:gd name="T99" fmla="*/ 60 h 198"/>
                  <a:gd name="T100" fmla="*/ 280 w 320"/>
                  <a:gd name="T101" fmla="*/ 57 h 198"/>
                  <a:gd name="T102" fmla="*/ 261 w 320"/>
                  <a:gd name="T103" fmla="*/ 48 h 198"/>
                  <a:gd name="T104" fmla="*/ 241 w 320"/>
                  <a:gd name="T105" fmla="*/ 46 h 198"/>
                  <a:gd name="T106" fmla="*/ 227 w 320"/>
                  <a:gd name="T107" fmla="*/ 31 h 198"/>
                  <a:gd name="T108" fmla="*/ 208 w 320"/>
                  <a:gd name="T109" fmla="*/ 24 h 198"/>
                  <a:gd name="T110" fmla="*/ 201 w 320"/>
                  <a:gd name="T111" fmla="*/ 3 h 198"/>
                  <a:gd name="T112" fmla="*/ 183 w 320"/>
                  <a:gd name="T113" fmla="*/ 2 h 198"/>
                  <a:gd name="T114" fmla="*/ 161 w 320"/>
                  <a:gd name="T115" fmla="*/ 5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20" h="198">
                    <a:moveTo>
                      <a:pt x="161" y="5"/>
                    </a:moveTo>
                    <a:cubicBezTo>
                      <a:pt x="161" y="5"/>
                      <a:pt x="157" y="6"/>
                      <a:pt x="156" y="6"/>
                    </a:cubicBezTo>
                    <a:cubicBezTo>
                      <a:pt x="155" y="5"/>
                      <a:pt x="154" y="7"/>
                      <a:pt x="153" y="8"/>
                    </a:cubicBezTo>
                    <a:cubicBezTo>
                      <a:pt x="153" y="9"/>
                      <a:pt x="151" y="7"/>
                      <a:pt x="150" y="7"/>
                    </a:cubicBezTo>
                    <a:cubicBezTo>
                      <a:pt x="149" y="6"/>
                      <a:pt x="148" y="8"/>
                      <a:pt x="146" y="9"/>
                    </a:cubicBezTo>
                    <a:cubicBezTo>
                      <a:pt x="145" y="11"/>
                      <a:pt x="144" y="15"/>
                      <a:pt x="142" y="17"/>
                    </a:cubicBezTo>
                    <a:cubicBezTo>
                      <a:pt x="141" y="19"/>
                      <a:pt x="142" y="20"/>
                      <a:pt x="143" y="22"/>
                    </a:cubicBezTo>
                    <a:cubicBezTo>
                      <a:pt x="145" y="24"/>
                      <a:pt x="145" y="26"/>
                      <a:pt x="143" y="26"/>
                    </a:cubicBezTo>
                    <a:cubicBezTo>
                      <a:pt x="141" y="26"/>
                      <a:pt x="139" y="25"/>
                      <a:pt x="138" y="23"/>
                    </a:cubicBezTo>
                    <a:cubicBezTo>
                      <a:pt x="138" y="21"/>
                      <a:pt x="135" y="21"/>
                      <a:pt x="133" y="21"/>
                    </a:cubicBezTo>
                    <a:cubicBezTo>
                      <a:pt x="131" y="21"/>
                      <a:pt x="129" y="23"/>
                      <a:pt x="128" y="21"/>
                    </a:cubicBezTo>
                    <a:cubicBezTo>
                      <a:pt x="127" y="20"/>
                      <a:pt x="125" y="22"/>
                      <a:pt x="124" y="23"/>
                    </a:cubicBezTo>
                    <a:cubicBezTo>
                      <a:pt x="122" y="24"/>
                      <a:pt x="120" y="23"/>
                      <a:pt x="119" y="21"/>
                    </a:cubicBezTo>
                    <a:cubicBezTo>
                      <a:pt x="119" y="19"/>
                      <a:pt x="119" y="17"/>
                      <a:pt x="117" y="17"/>
                    </a:cubicBezTo>
                    <a:cubicBezTo>
                      <a:pt x="115" y="18"/>
                      <a:pt x="113" y="20"/>
                      <a:pt x="112" y="20"/>
                    </a:cubicBezTo>
                    <a:cubicBezTo>
                      <a:pt x="111" y="21"/>
                      <a:pt x="112" y="24"/>
                      <a:pt x="110" y="22"/>
                    </a:cubicBezTo>
                    <a:cubicBezTo>
                      <a:pt x="109" y="21"/>
                      <a:pt x="109" y="19"/>
                      <a:pt x="107" y="19"/>
                    </a:cubicBezTo>
                    <a:cubicBezTo>
                      <a:pt x="105" y="19"/>
                      <a:pt x="104" y="21"/>
                      <a:pt x="103" y="19"/>
                    </a:cubicBezTo>
                    <a:cubicBezTo>
                      <a:pt x="101" y="17"/>
                      <a:pt x="99" y="18"/>
                      <a:pt x="98" y="19"/>
                    </a:cubicBezTo>
                    <a:cubicBezTo>
                      <a:pt x="97" y="20"/>
                      <a:pt x="95" y="17"/>
                      <a:pt x="94" y="18"/>
                    </a:cubicBezTo>
                    <a:cubicBezTo>
                      <a:pt x="93" y="19"/>
                      <a:pt x="92" y="19"/>
                      <a:pt x="90" y="18"/>
                    </a:cubicBezTo>
                    <a:cubicBezTo>
                      <a:pt x="89" y="17"/>
                      <a:pt x="85" y="20"/>
                      <a:pt x="84" y="18"/>
                    </a:cubicBezTo>
                    <a:cubicBezTo>
                      <a:pt x="84" y="15"/>
                      <a:pt x="82" y="15"/>
                      <a:pt x="79" y="15"/>
                    </a:cubicBezTo>
                    <a:cubicBezTo>
                      <a:pt x="77" y="15"/>
                      <a:pt x="74" y="14"/>
                      <a:pt x="72" y="13"/>
                    </a:cubicBezTo>
                    <a:cubicBezTo>
                      <a:pt x="70" y="13"/>
                      <a:pt x="67" y="12"/>
                      <a:pt x="63" y="12"/>
                    </a:cubicBezTo>
                    <a:cubicBezTo>
                      <a:pt x="60" y="11"/>
                      <a:pt x="54" y="11"/>
                      <a:pt x="52" y="12"/>
                    </a:cubicBezTo>
                    <a:cubicBezTo>
                      <a:pt x="50" y="12"/>
                      <a:pt x="50" y="10"/>
                      <a:pt x="46" y="11"/>
                    </a:cubicBezTo>
                    <a:cubicBezTo>
                      <a:pt x="42" y="12"/>
                      <a:pt x="39" y="12"/>
                      <a:pt x="36" y="12"/>
                    </a:cubicBezTo>
                    <a:cubicBezTo>
                      <a:pt x="33" y="12"/>
                      <a:pt x="31" y="16"/>
                      <a:pt x="31" y="16"/>
                    </a:cubicBezTo>
                    <a:cubicBezTo>
                      <a:pt x="31" y="16"/>
                      <a:pt x="28" y="20"/>
                      <a:pt x="26" y="19"/>
                    </a:cubicBezTo>
                    <a:cubicBezTo>
                      <a:pt x="24" y="18"/>
                      <a:pt x="20" y="18"/>
                      <a:pt x="20" y="19"/>
                    </a:cubicBezTo>
                    <a:cubicBezTo>
                      <a:pt x="20" y="21"/>
                      <a:pt x="25" y="27"/>
                      <a:pt x="26" y="30"/>
                    </a:cubicBezTo>
                    <a:cubicBezTo>
                      <a:pt x="28" y="32"/>
                      <a:pt x="33" y="35"/>
                      <a:pt x="31" y="36"/>
                    </a:cubicBezTo>
                    <a:cubicBezTo>
                      <a:pt x="29" y="36"/>
                      <a:pt x="29" y="37"/>
                      <a:pt x="30" y="39"/>
                    </a:cubicBezTo>
                    <a:cubicBezTo>
                      <a:pt x="31" y="40"/>
                      <a:pt x="31" y="44"/>
                      <a:pt x="30" y="45"/>
                    </a:cubicBezTo>
                    <a:cubicBezTo>
                      <a:pt x="29" y="46"/>
                      <a:pt x="26" y="47"/>
                      <a:pt x="24" y="48"/>
                    </a:cubicBezTo>
                    <a:cubicBezTo>
                      <a:pt x="22" y="50"/>
                      <a:pt x="18" y="54"/>
                      <a:pt x="17" y="56"/>
                    </a:cubicBezTo>
                    <a:cubicBezTo>
                      <a:pt x="16" y="57"/>
                      <a:pt x="10" y="64"/>
                      <a:pt x="9" y="65"/>
                    </a:cubicBezTo>
                    <a:cubicBezTo>
                      <a:pt x="7" y="66"/>
                      <a:pt x="7" y="68"/>
                      <a:pt x="8" y="70"/>
                    </a:cubicBezTo>
                    <a:cubicBezTo>
                      <a:pt x="10" y="73"/>
                      <a:pt x="9" y="75"/>
                      <a:pt x="10" y="77"/>
                    </a:cubicBezTo>
                    <a:cubicBezTo>
                      <a:pt x="12" y="78"/>
                      <a:pt x="14" y="80"/>
                      <a:pt x="12" y="80"/>
                    </a:cubicBezTo>
                    <a:cubicBezTo>
                      <a:pt x="10" y="79"/>
                      <a:pt x="7" y="79"/>
                      <a:pt x="6" y="79"/>
                    </a:cubicBezTo>
                    <a:cubicBezTo>
                      <a:pt x="5" y="79"/>
                      <a:pt x="6" y="80"/>
                      <a:pt x="5" y="83"/>
                    </a:cubicBezTo>
                    <a:cubicBezTo>
                      <a:pt x="4" y="85"/>
                      <a:pt x="3" y="88"/>
                      <a:pt x="1" y="89"/>
                    </a:cubicBezTo>
                    <a:cubicBezTo>
                      <a:pt x="0" y="91"/>
                      <a:pt x="0" y="96"/>
                      <a:pt x="0" y="96"/>
                    </a:cubicBezTo>
                    <a:cubicBezTo>
                      <a:pt x="0" y="96"/>
                      <a:pt x="4" y="96"/>
                      <a:pt x="5" y="98"/>
                    </a:cubicBezTo>
                    <a:cubicBezTo>
                      <a:pt x="6" y="100"/>
                      <a:pt x="6" y="99"/>
                      <a:pt x="8" y="101"/>
                    </a:cubicBezTo>
                    <a:cubicBezTo>
                      <a:pt x="9" y="102"/>
                      <a:pt x="13" y="101"/>
                      <a:pt x="14" y="103"/>
                    </a:cubicBezTo>
                    <a:cubicBezTo>
                      <a:pt x="15" y="105"/>
                      <a:pt x="15" y="105"/>
                      <a:pt x="15" y="105"/>
                    </a:cubicBezTo>
                    <a:cubicBezTo>
                      <a:pt x="15" y="105"/>
                      <a:pt x="18" y="103"/>
                      <a:pt x="20" y="104"/>
                    </a:cubicBezTo>
                    <a:cubicBezTo>
                      <a:pt x="21" y="104"/>
                      <a:pt x="24" y="106"/>
                      <a:pt x="27" y="105"/>
                    </a:cubicBezTo>
                    <a:cubicBezTo>
                      <a:pt x="30" y="105"/>
                      <a:pt x="32" y="106"/>
                      <a:pt x="35" y="106"/>
                    </a:cubicBezTo>
                    <a:cubicBezTo>
                      <a:pt x="37" y="106"/>
                      <a:pt x="42" y="105"/>
                      <a:pt x="45" y="107"/>
                    </a:cubicBezTo>
                    <a:cubicBezTo>
                      <a:pt x="47" y="109"/>
                      <a:pt x="52" y="113"/>
                      <a:pt x="53" y="112"/>
                    </a:cubicBezTo>
                    <a:cubicBezTo>
                      <a:pt x="54" y="112"/>
                      <a:pt x="54" y="109"/>
                      <a:pt x="56" y="108"/>
                    </a:cubicBezTo>
                    <a:cubicBezTo>
                      <a:pt x="59" y="107"/>
                      <a:pt x="62" y="107"/>
                      <a:pt x="67" y="107"/>
                    </a:cubicBezTo>
                    <a:cubicBezTo>
                      <a:pt x="72" y="106"/>
                      <a:pt x="73" y="107"/>
                      <a:pt x="74" y="104"/>
                    </a:cubicBezTo>
                    <a:cubicBezTo>
                      <a:pt x="74" y="102"/>
                      <a:pt x="73" y="100"/>
                      <a:pt x="77" y="100"/>
                    </a:cubicBezTo>
                    <a:cubicBezTo>
                      <a:pt x="81" y="99"/>
                      <a:pt x="82" y="99"/>
                      <a:pt x="83" y="98"/>
                    </a:cubicBezTo>
                    <a:cubicBezTo>
                      <a:pt x="83" y="96"/>
                      <a:pt x="86" y="96"/>
                      <a:pt x="88" y="96"/>
                    </a:cubicBezTo>
                    <a:cubicBezTo>
                      <a:pt x="91" y="95"/>
                      <a:pt x="96" y="93"/>
                      <a:pt x="98" y="94"/>
                    </a:cubicBezTo>
                    <a:cubicBezTo>
                      <a:pt x="101" y="94"/>
                      <a:pt x="104" y="96"/>
                      <a:pt x="106" y="98"/>
                    </a:cubicBezTo>
                    <a:cubicBezTo>
                      <a:pt x="107" y="100"/>
                      <a:pt x="113" y="100"/>
                      <a:pt x="113" y="102"/>
                    </a:cubicBezTo>
                    <a:cubicBezTo>
                      <a:pt x="113" y="105"/>
                      <a:pt x="115" y="104"/>
                      <a:pt x="116" y="102"/>
                    </a:cubicBezTo>
                    <a:cubicBezTo>
                      <a:pt x="117" y="101"/>
                      <a:pt x="120" y="103"/>
                      <a:pt x="122" y="104"/>
                    </a:cubicBezTo>
                    <a:cubicBezTo>
                      <a:pt x="124" y="106"/>
                      <a:pt x="123" y="108"/>
                      <a:pt x="126" y="108"/>
                    </a:cubicBezTo>
                    <a:cubicBezTo>
                      <a:pt x="130" y="109"/>
                      <a:pt x="128" y="111"/>
                      <a:pt x="128" y="113"/>
                    </a:cubicBezTo>
                    <a:cubicBezTo>
                      <a:pt x="127" y="116"/>
                      <a:pt x="126" y="119"/>
                      <a:pt x="129" y="120"/>
                    </a:cubicBezTo>
                    <a:cubicBezTo>
                      <a:pt x="132" y="121"/>
                      <a:pt x="131" y="124"/>
                      <a:pt x="133" y="123"/>
                    </a:cubicBezTo>
                    <a:cubicBezTo>
                      <a:pt x="135" y="122"/>
                      <a:pt x="137" y="124"/>
                      <a:pt x="136" y="126"/>
                    </a:cubicBezTo>
                    <a:cubicBezTo>
                      <a:pt x="136" y="128"/>
                      <a:pt x="137" y="131"/>
                      <a:pt x="139" y="134"/>
                    </a:cubicBezTo>
                    <a:cubicBezTo>
                      <a:pt x="142" y="136"/>
                      <a:pt x="144" y="136"/>
                      <a:pt x="144" y="138"/>
                    </a:cubicBezTo>
                    <a:cubicBezTo>
                      <a:pt x="144" y="140"/>
                      <a:pt x="144" y="141"/>
                      <a:pt x="145" y="143"/>
                    </a:cubicBezTo>
                    <a:cubicBezTo>
                      <a:pt x="147" y="145"/>
                      <a:pt x="147" y="145"/>
                      <a:pt x="146" y="145"/>
                    </a:cubicBezTo>
                    <a:cubicBezTo>
                      <a:pt x="144" y="146"/>
                      <a:pt x="142" y="147"/>
                      <a:pt x="141" y="145"/>
                    </a:cubicBezTo>
                    <a:cubicBezTo>
                      <a:pt x="141" y="144"/>
                      <a:pt x="140" y="146"/>
                      <a:pt x="139" y="146"/>
                    </a:cubicBezTo>
                    <a:cubicBezTo>
                      <a:pt x="138" y="145"/>
                      <a:pt x="136" y="143"/>
                      <a:pt x="135" y="143"/>
                    </a:cubicBezTo>
                    <a:cubicBezTo>
                      <a:pt x="134" y="143"/>
                      <a:pt x="134" y="147"/>
                      <a:pt x="133" y="145"/>
                    </a:cubicBezTo>
                    <a:cubicBezTo>
                      <a:pt x="131" y="144"/>
                      <a:pt x="131" y="142"/>
                      <a:pt x="129" y="143"/>
                    </a:cubicBezTo>
                    <a:cubicBezTo>
                      <a:pt x="127" y="144"/>
                      <a:pt x="125" y="145"/>
                      <a:pt x="126" y="146"/>
                    </a:cubicBezTo>
                    <a:cubicBezTo>
                      <a:pt x="126" y="148"/>
                      <a:pt x="128" y="151"/>
                      <a:pt x="127" y="153"/>
                    </a:cubicBezTo>
                    <a:cubicBezTo>
                      <a:pt x="127" y="154"/>
                      <a:pt x="125" y="158"/>
                      <a:pt x="123" y="160"/>
                    </a:cubicBezTo>
                    <a:cubicBezTo>
                      <a:pt x="122" y="162"/>
                      <a:pt x="120" y="163"/>
                      <a:pt x="120" y="165"/>
                    </a:cubicBezTo>
                    <a:cubicBezTo>
                      <a:pt x="120" y="166"/>
                      <a:pt x="121" y="168"/>
                      <a:pt x="120" y="168"/>
                    </a:cubicBezTo>
                    <a:cubicBezTo>
                      <a:pt x="118" y="168"/>
                      <a:pt x="114" y="170"/>
                      <a:pt x="114" y="170"/>
                    </a:cubicBezTo>
                    <a:cubicBezTo>
                      <a:pt x="114" y="170"/>
                      <a:pt x="118" y="175"/>
                      <a:pt x="119" y="175"/>
                    </a:cubicBezTo>
                    <a:cubicBezTo>
                      <a:pt x="121" y="176"/>
                      <a:pt x="124" y="176"/>
                      <a:pt x="126" y="174"/>
                    </a:cubicBezTo>
                    <a:cubicBezTo>
                      <a:pt x="128" y="173"/>
                      <a:pt x="133" y="172"/>
                      <a:pt x="135" y="171"/>
                    </a:cubicBezTo>
                    <a:cubicBezTo>
                      <a:pt x="137" y="170"/>
                      <a:pt x="139" y="171"/>
                      <a:pt x="140" y="172"/>
                    </a:cubicBezTo>
                    <a:cubicBezTo>
                      <a:pt x="141" y="174"/>
                      <a:pt x="142" y="176"/>
                      <a:pt x="142" y="176"/>
                    </a:cubicBezTo>
                    <a:cubicBezTo>
                      <a:pt x="142" y="175"/>
                      <a:pt x="143" y="172"/>
                      <a:pt x="143" y="171"/>
                    </a:cubicBezTo>
                    <a:cubicBezTo>
                      <a:pt x="142" y="170"/>
                      <a:pt x="140" y="170"/>
                      <a:pt x="141" y="168"/>
                    </a:cubicBezTo>
                    <a:cubicBezTo>
                      <a:pt x="141" y="167"/>
                      <a:pt x="139" y="167"/>
                      <a:pt x="139" y="166"/>
                    </a:cubicBezTo>
                    <a:cubicBezTo>
                      <a:pt x="139" y="165"/>
                      <a:pt x="140" y="163"/>
                      <a:pt x="141" y="163"/>
                    </a:cubicBezTo>
                    <a:cubicBezTo>
                      <a:pt x="141" y="164"/>
                      <a:pt x="142" y="165"/>
                      <a:pt x="143" y="165"/>
                    </a:cubicBezTo>
                    <a:cubicBezTo>
                      <a:pt x="144" y="166"/>
                      <a:pt x="145" y="165"/>
                      <a:pt x="145" y="164"/>
                    </a:cubicBezTo>
                    <a:cubicBezTo>
                      <a:pt x="145" y="163"/>
                      <a:pt x="147" y="161"/>
                      <a:pt x="149" y="161"/>
                    </a:cubicBezTo>
                    <a:cubicBezTo>
                      <a:pt x="150" y="160"/>
                      <a:pt x="151" y="158"/>
                      <a:pt x="152" y="157"/>
                    </a:cubicBezTo>
                    <a:cubicBezTo>
                      <a:pt x="153" y="155"/>
                      <a:pt x="152" y="152"/>
                      <a:pt x="151" y="152"/>
                    </a:cubicBezTo>
                    <a:cubicBezTo>
                      <a:pt x="150" y="151"/>
                      <a:pt x="149" y="149"/>
                      <a:pt x="148" y="148"/>
                    </a:cubicBezTo>
                    <a:cubicBezTo>
                      <a:pt x="148" y="146"/>
                      <a:pt x="149" y="146"/>
                      <a:pt x="150" y="147"/>
                    </a:cubicBezTo>
                    <a:cubicBezTo>
                      <a:pt x="151" y="148"/>
                      <a:pt x="154" y="150"/>
                      <a:pt x="154" y="152"/>
                    </a:cubicBezTo>
                    <a:cubicBezTo>
                      <a:pt x="154" y="153"/>
                      <a:pt x="155" y="154"/>
                      <a:pt x="156" y="152"/>
                    </a:cubicBezTo>
                    <a:cubicBezTo>
                      <a:pt x="157" y="150"/>
                      <a:pt x="157" y="149"/>
                      <a:pt x="157" y="147"/>
                    </a:cubicBezTo>
                    <a:cubicBezTo>
                      <a:pt x="157" y="145"/>
                      <a:pt x="159" y="142"/>
                      <a:pt x="161" y="141"/>
                    </a:cubicBezTo>
                    <a:cubicBezTo>
                      <a:pt x="163" y="141"/>
                      <a:pt x="166" y="140"/>
                      <a:pt x="167" y="140"/>
                    </a:cubicBezTo>
                    <a:cubicBezTo>
                      <a:pt x="169" y="140"/>
                      <a:pt x="170" y="139"/>
                      <a:pt x="170" y="138"/>
                    </a:cubicBezTo>
                    <a:cubicBezTo>
                      <a:pt x="171" y="137"/>
                      <a:pt x="173" y="135"/>
                      <a:pt x="173" y="136"/>
                    </a:cubicBezTo>
                    <a:cubicBezTo>
                      <a:pt x="172" y="137"/>
                      <a:pt x="173" y="138"/>
                      <a:pt x="172" y="139"/>
                    </a:cubicBezTo>
                    <a:cubicBezTo>
                      <a:pt x="172" y="140"/>
                      <a:pt x="173" y="140"/>
                      <a:pt x="174" y="140"/>
                    </a:cubicBezTo>
                    <a:cubicBezTo>
                      <a:pt x="176" y="140"/>
                      <a:pt x="177" y="140"/>
                      <a:pt x="178" y="139"/>
                    </a:cubicBezTo>
                    <a:cubicBezTo>
                      <a:pt x="179" y="139"/>
                      <a:pt x="179" y="138"/>
                      <a:pt x="179" y="137"/>
                    </a:cubicBezTo>
                    <a:cubicBezTo>
                      <a:pt x="178" y="137"/>
                      <a:pt x="178" y="136"/>
                      <a:pt x="178" y="135"/>
                    </a:cubicBezTo>
                    <a:cubicBezTo>
                      <a:pt x="179" y="134"/>
                      <a:pt x="179" y="133"/>
                      <a:pt x="178" y="131"/>
                    </a:cubicBezTo>
                    <a:cubicBezTo>
                      <a:pt x="177" y="129"/>
                      <a:pt x="177" y="129"/>
                      <a:pt x="176" y="126"/>
                    </a:cubicBezTo>
                    <a:cubicBezTo>
                      <a:pt x="175" y="124"/>
                      <a:pt x="176" y="124"/>
                      <a:pt x="176" y="125"/>
                    </a:cubicBezTo>
                    <a:cubicBezTo>
                      <a:pt x="176" y="127"/>
                      <a:pt x="176" y="127"/>
                      <a:pt x="178" y="129"/>
                    </a:cubicBezTo>
                    <a:cubicBezTo>
                      <a:pt x="179" y="131"/>
                      <a:pt x="180" y="133"/>
                      <a:pt x="180" y="134"/>
                    </a:cubicBezTo>
                    <a:cubicBezTo>
                      <a:pt x="179" y="136"/>
                      <a:pt x="178" y="135"/>
                      <a:pt x="180" y="138"/>
                    </a:cubicBezTo>
                    <a:cubicBezTo>
                      <a:pt x="182" y="140"/>
                      <a:pt x="182" y="140"/>
                      <a:pt x="184" y="141"/>
                    </a:cubicBezTo>
                    <a:cubicBezTo>
                      <a:pt x="187" y="142"/>
                      <a:pt x="188" y="142"/>
                      <a:pt x="190" y="141"/>
                    </a:cubicBezTo>
                    <a:cubicBezTo>
                      <a:pt x="192" y="139"/>
                      <a:pt x="193" y="139"/>
                      <a:pt x="192" y="140"/>
                    </a:cubicBezTo>
                    <a:cubicBezTo>
                      <a:pt x="191" y="141"/>
                      <a:pt x="189" y="144"/>
                      <a:pt x="188" y="144"/>
                    </a:cubicBezTo>
                    <a:cubicBezTo>
                      <a:pt x="186" y="144"/>
                      <a:pt x="184" y="143"/>
                      <a:pt x="183" y="143"/>
                    </a:cubicBezTo>
                    <a:cubicBezTo>
                      <a:pt x="181" y="143"/>
                      <a:pt x="180" y="143"/>
                      <a:pt x="178" y="143"/>
                    </a:cubicBezTo>
                    <a:cubicBezTo>
                      <a:pt x="177" y="142"/>
                      <a:pt x="173" y="141"/>
                      <a:pt x="173" y="142"/>
                    </a:cubicBezTo>
                    <a:cubicBezTo>
                      <a:pt x="174" y="144"/>
                      <a:pt x="174" y="143"/>
                      <a:pt x="176" y="144"/>
                    </a:cubicBezTo>
                    <a:cubicBezTo>
                      <a:pt x="178" y="144"/>
                      <a:pt x="181" y="144"/>
                      <a:pt x="181" y="145"/>
                    </a:cubicBezTo>
                    <a:cubicBezTo>
                      <a:pt x="182" y="146"/>
                      <a:pt x="180" y="147"/>
                      <a:pt x="179" y="147"/>
                    </a:cubicBezTo>
                    <a:cubicBezTo>
                      <a:pt x="179" y="147"/>
                      <a:pt x="178" y="148"/>
                      <a:pt x="179" y="148"/>
                    </a:cubicBezTo>
                    <a:cubicBezTo>
                      <a:pt x="180" y="148"/>
                      <a:pt x="184" y="150"/>
                      <a:pt x="183" y="151"/>
                    </a:cubicBezTo>
                    <a:cubicBezTo>
                      <a:pt x="183" y="151"/>
                      <a:pt x="185" y="152"/>
                      <a:pt x="187" y="153"/>
                    </a:cubicBezTo>
                    <a:cubicBezTo>
                      <a:pt x="190" y="154"/>
                      <a:pt x="193" y="154"/>
                      <a:pt x="195" y="153"/>
                    </a:cubicBezTo>
                    <a:cubicBezTo>
                      <a:pt x="197" y="153"/>
                      <a:pt x="197" y="154"/>
                      <a:pt x="199" y="154"/>
                    </a:cubicBezTo>
                    <a:cubicBezTo>
                      <a:pt x="202" y="154"/>
                      <a:pt x="204" y="151"/>
                      <a:pt x="204" y="152"/>
                    </a:cubicBezTo>
                    <a:cubicBezTo>
                      <a:pt x="205" y="153"/>
                      <a:pt x="206" y="154"/>
                      <a:pt x="207" y="155"/>
                    </a:cubicBezTo>
                    <a:cubicBezTo>
                      <a:pt x="209" y="156"/>
                      <a:pt x="211" y="152"/>
                      <a:pt x="211" y="154"/>
                    </a:cubicBezTo>
                    <a:cubicBezTo>
                      <a:pt x="212" y="155"/>
                      <a:pt x="212" y="157"/>
                      <a:pt x="213" y="158"/>
                    </a:cubicBezTo>
                    <a:cubicBezTo>
                      <a:pt x="214" y="159"/>
                      <a:pt x="213" y="159"/>
                      <a:pt x="212" y="160"/>
                    </a:cubicBezTo>
                    <a:cubicBezTo>
                      <a:pt x="211" y="160"/>
                      <a:pt x="209" y="160"/>
                      <a:pt x="207" y="161"/>
                    </a:cubicBezTo>
                    <a:cubicBezTo>
                      <a:pt x="206" y="162"/>
                      <a:pt x="205" y="163"/>
                      <a:pt x="203" y="163"/>
                    </a:cubicBezTo>
                    <a:cubicBezTo>
                      <a:pt x="202" y="163"/>
                      <a:pt x="201" y="164"/>
                      <a:pt x="200" y="166"/>
                    </a:cubicBezTo>
                    <a:cubicBezTo>
                      <a:pt x="198" y="167"/>
                      <a:pt x="198" y="169"/>
                      <a:pt x="197" y="169"/>
                    </a:cubicBezTo>
                    <a:cubicBezTo>
                      <a:pt x="196" y="169"/>
                      <a:pt x="194" y="170"/>
                      <a:pt x="193" y="171"/>
                    </a:cubicBezTo>
                    <a:cubicBezTo>
                      <a:pt x="193" y="173"/>
                      <a:pt x="194" y="173"/>
                      <a:pt x="196" y="173"/>
                    </a:cubicBezTo>
                    <a:cubicBezTo>
                      <a:pt x="197" y="173"/>
                      <a:pt x="199" y="172"/>
                      <a:pt x="201" y="173"/>
                    </a:cubicBezTo>
                    <a:cubicBezTo>
                      <a:pt x="202" y="175"/>
                      <a:pt x="204" y="176"/>
                      <a:pt x="206" y="177"/>
                    </a:cubicBezTo>
                    <a:cubicBezTo>
                      <a:pt x="208" y="178"/>
                      <a:pt x="208" y="177"/>
                      <a:pt x="209" y="177"/>
                    </a:cubicBezTo>
                    <a:cubicBezTo>
                      <a:pt x="211" y="178"/>
                      <a:pt x="212" y="180"/>
                      <a:pt x="213" y="182"/>
                    </a:cubicBezTo>
                    <a:cubicBezTo>
                      <a:pt x="215" y="184"/>
                      <a:pt x="214" y="184"/>
                      <a:pt x="214" y="185"/>
                    </a:cubicBezTo>
                    <a:cubicBezTo>
                      <a:pt x="214" y="186"/>
                      <a:pt x="213" y="187"/>
                      <a:pt x="213" y="188"/>
                    </a:cubicBezTo>
                    <a:cubicBezTo>
                      <a:pt x="213" y="189"/>
                      <a:pt x="214" y="191"/>
                      <a:pt x="213" y="192"/>
                    </a:cubicBezTo>
                    <a:cubicBezTo>
                      <a:pt x="213" y="193"/>
                      <a:pt x="211" y="192"/>
                      <a:pt x="212" y="194"/>
                    </a:cubicBezTo>
                    <a:cubicBezTo>
                      <a:pt x="212" y="195"/>
                      <a:pt x="214" y="195"/>
                      <a:pt x="215" y="195"/>
                    </a:cubicBezTo>
                    <a:cubicBezTo>
                      <a:pt x="216" y="196"/>
                      <a:pt x="216" y="198"/>
                      <a:pt x="218" y="198"/>
                    </a:cubicBezTo>
                    <a:cubicBezTo>
                      <a:pt x="220" y="198"/>
                      <a:pt x="221" y="198"/>
                      <a:pt x="221" y="198"/>
                    </a:cubicBezTo>
                    <a:cubicBezTo>
                      <a:pt x="222" y="198"/>
                      <a:pt x="227" y="195"/>
                      <a:pt x="228" y="194"/>
                    </a:cubicBezTo>
                    <a:cubicBezTo>
                      <a:pt x="229" y="193"/>
                      <a:pt x="229" y="190"/>
                      <a:pt x="231" y="189"/>
                    </a:cubicBezTo>
                    <a:cubicBezTo>
                      <a:pt x="233" y="189"/>
                      <a:pt x="236" y="187"/>
                      <a:pt x="238" y="187"/>
                    </a:cubicBezTo>
                    <a:cubicBezTo>
                      <a:pt x="240" y="187"/>
                      <a:pt x="242" y="188"/>
                      <a:pt x="243" y="186"/>
                    </a:cubicBezTo>
                    <a:cubicBezTo>
                      <a:pt x="243" y="185"/>
                      <a:pt x="244" y="184"/>
                      <a:pt x="246" y="183"/>
                    </a:cubicBezTo>
                    <a:cubicBezTo>
                      <a:pt x="248" y="183"/>
                      <a:pt x="247" y="181"/>
                      <a:pt x="247" y="180"/>
                    </a:cubicBezTo>
                    <a:cubicBezTo>
                      <a:pt x="248" y="179"/>
                      <a:pt x="250" y="179"/>
                      <a:pt x="251" y="179"/>
                    </a:cubicBezTo>
                    <a:cubicBezTo>
                      <a:pt x="253" y="180"/>
                      <a:pt x="254" y="183"/>
                      <a:pt x="256" y="182"/>
                    </a:cubicBezTo>
                    <a:cubicBezTo>
                      <a:pt x="258" y="182"/>
                      <a:pt x="262" y="182"/>
                      <a:pt x="263" y="181"/>
                    </a:cubicBezTo>
                    <a:cubicBezTo>
                      <a:pt x="265" y="180"/>
                      <a:pt x="265" y="180"/>
                      <a:pt x="265" y="178"/>
                    </a:cubicBezTo>
                    <a:cubicBezTo>
                      <a:pt x="265" y="176"/>
                      <a:pt x="265" y="177"/>
                      <a:pt x="265" y="176"/>
                    </a:cubicBezTo>
                    <a:cubicBezTo>
                      <a:pt x="266" y="175"/>
                      <a:pt x="267" y="174"/>
                      <a:pt x="268" y="174"/>
                    </a:cubicBezTo>
                    <a:cubicBezTo>
                      <a:pt x="269" y="173"/>
                      <a:pt x="269" y="172"/>
                      <a:pt x="268" y="172"/>
                    </a:cubicBezTo>
                    <a:cubicBezTo>
                      <a:pt x="267" y="171"/>
                      <a:pt x="266" y="171"/>
                      <a:pt x="264" y="170"/>
                    </a:cubicBezTo>
                    <a:cubicBezTo>
                      <a:pt x="263" y="169"/>
                      <a:pt x="262" y="169"/>
                      <a:pt x="261" y="169"/>
                    </a:cubicBezTo>
                    <a:cubicBezTo>
                      <a:pt x="260" y="169"/>
                      <a:pt x="259" y="170"/>
                      <a:pt x="258" y="172"/>
                    </a:cubicBezTo>
                    <a:cubicBezTo>
                      <a:pt x="257" y="173"/>
                      <a:pt x="256" y="173"/>
                      <a:pt x="255" y="172"/>
                    </a:cubicBezTo>
                    <a:cubicBezTo>
                      <a:pt x="254" y="171"/>
                      <a:pt x="254" y="169"/>
                      <a:pt x="253" y="171"/>
                    </a:cubicBezTo>
                    <a:cubicBezTo>
                      <a:pt x="252" y="172"/>
                      <a:pt x="251" y="173"/>
                      <a:pt x="250" y="173"/>
                    </a:cubicBezTo>
                    <a:cubicBezTo>
                      <a:pt x="249" y="174"/>
                      <a:pt x="248" y="174"/>
                      <a:pt x="248" y="174"/>
                    </a:cubicBezTo>
                    <a:cubicBezTo>
                      <a:pt x="248" y="174"/>
                      <a:pt x="247" y="173"/>
                      <a:pt x="246" y="173"/>
                    </a:cubicBezTo>
                    <a:cubicBezTo>
                      <a:pt x="245" y="173"/>
                      <a:pt x="245" y="175"/>
                      <a:pt x="244" y="175"/>
                    </a:cubicBezTo>
                    <a:cubicBezTo>
                      <a:pt x="243" y="174"/>
                      <a:pt x="239" y="174"/>
                      <a:pt x="240" y="173"/>
                    </a:cubicBezTo>
                    <a:cubicBezTo>
                      <a:pt x="240" y="172"/>
                      <a:pt x="239" y="169"/>
                      <a:pt x="238" y="167"/>
                    </a:cubicBezTo>
                    <a:cubicBezTo>
                      <a:pt x="237" y="166"/>
                      <a:pt x="236" y="164"/>
                      <a:pt x="235" y="163"/>
                    </a:cubicBezTo>
                    <a:cubicBezTo>
                      <a:pt x="233" y="162"/>
                      <a:pt x="232" y="161"/>
                      <a:pt x="231" y="161"/>
                    </a:cubicBezTo>
                    <a:cubicBezTo>
                      <a:pt x="231" y="161"/>
                      <a:pt x="228" y="163"/>
                      <a:pt x="228" y="162"/>
                    </a:cubicBezTo>
                    <a:cubicBezTo>
                      <a:pt x="228" y="161"/>
                      <a:pt x="229" y="160"/>
                      <a:pt x="229" y="160"/>
                    </a:cubicBezTo>
                    <a:cubicBezTo>
                      <a:pt x="229" y="160"/>
                      <a:pt x="229" y="160"/>
                      <a:pt x="229" y="159"/>
                    </a:cubicBezTo>
                    <a:cubicBezTo>
                      <a:pt x="230" y="158"/>
                      <a:pt x="228" y="158"/>
                      <a:pt x="227" y="158"/>
                    </a:cubicBezTo>
                    <a:cubicBezTo>
                      <a:pt x="226" y="157"/>
                      <a:pt x="226" y="156"/>
                      <a:pt x="225" y="156"/>
                    </a:cubicBezTo>
                    <a:cubicBezTo>
                      <a:pt x="224" y="156"/>
                      <a:pt x="222" y="156"/>
                      <a:pt x="221" y="156"/>
                    </a:cubicBezTo>
                    <a:cubicBezTo>
                      <a:pt x="221" y="157"/>
                      <a:pt x="220" y="157"/>
                      <a:pt x="220" y="156"/>
                    </a:cubicBezTo>
                    <a:cubicBezTo>
                      <a:pt x="219" y="155"/>
                      <a:pt x="219" y="155"/>
                      <a:pt x="218" y="156"/>
                    </a:cubicBezTo>
                    <a:cubicBezTo>
                      <a:pt x="217" y="156"/>
                      <a:pt x="216" y="154"/>
                      <a:pt x="215" y="153"/>
                    </a:cubicBezTo>
                    <a:cubicBezTo>
                      <a:pt x="214" y="152"/>
                      <a:pt x="212" y="149"/>
                      <a:pt x="213" y="149"/>
                    </a:cubicBezTo>
                    <a:cubicBezTo>
                      <a:pt x="214" y="150"/>
                      <a:pt x="216" y="149"/>
                      <a:pt x="217" y="150"/>
                    </a:cubicBezTo>
                    <a:cubicBezTo>
                      <a:pt x="218" y="152"/>
                      <a:pt x="219" y="153"/>
                      <a:pt x="220" y="152"/>
                    </a:cubicBezTo>
                    <a:cubicBezTo>
                      <a:pt x="221" y="151"/>
                      <a:pt x="221" y="149"/>
                      <a:pt x="222" y="150"/>
                    </a:cubicBezTo>
                    <a:cubicBezTo>
                      <a:pt x="222" y="151"/>
                      <a:pt x="223" y="153"/>
                      <a:pt x="224" y="152"/>
                    </a:cubicBezTo>
                    <a:cubicBezTo>
                      <a:pt x="224" y="152"/>
                      <a:pt x="226" y="152"/>
                      <a:pt x="227" y="152"/>
                    </a:cubicBezTo>
                    <a:cubicBezTo>
                      <a:pt x="228" y="152"/>
                      <a:pt x="228" y="152"/>
                      <a:pt x="228" y="153"/>
                    </a:cubicBezTo>
                    <a:cubicBezTo>
                      <a:pt x="228" y="154"/>
                      <a:pt x="226" y="154"/>
                      <a:pt x="226" y="155"/>
                    </a:cubicBezTo>
                    <a:cubicBezTo>
                      <a:pt x="227" y="156"/>
                      <a:pt x="227" y="158"/>
                      <a:pt x="228" y="157"/>
                    </a:cubicBezTo>
                    <a:cubicBezTo>
                      <a:pt x="229" y="156"/>
                      <a:pt x="230" y="155"/>
                      <a:pt x="230" y="154"/>
                    </a:cubicBezTo>
                    <a:cubicBezTo>
                      <a:pt x="230" y="152"/>
                      <a:pt x="232" y="151"/>
                      <a:pt x="232" y="152"/>
                    </a:cubicBezTo>
                    <a:cubicBezTo>
                      <a:pt x="232" y="153"/>
                      <a:pt x="232" y="154"/>
                      <a:pt x="233" y="156"/>
                    </a:cubicBezTo>
                    <a:cubicBezTo>
                      <a:pt x="234" y="158"/>
                      <a:pt x="236" y="162"/>
                      <a:pt x="238" y="165"/>
                    </a:cubicBezTo>
                    <a:cubicBezTo>
                      <a:pt x="241" y="168"/>
                      <a:pt x="243" y="171"/>
                      <a:pt x="244" y="172"/>
                    </a:cubicBezTo>
                    <a:cubicBezTo>
                      <a:pt x="245" y="173"/>
                      <a:pt x="245" y="174"/>
                      <a:pt x="245" y="174"/>
                    </a:cubicBezTo>
                    <a:cubicBezTo>
                      <a:pt x="246" y="173"/>
                      <a:pt x="246" y="173"/>
                      <a:pt x="246" y="173"/>
                    </a:cubicBezTo>
                    <a:cubicBezTo>
                      <a:pt x="246" y="173"/>
                      <a:pt x="239" y="166"/>
                      <a:pt x="236" y="161"/>
                    </a:cubicBezTo>
                    <a:cubicBezTo>
                      <a:pt x="233" y="155"/>
                      <a:pt x="233" y="153"/>
                      <a:pt x="233" y="152"/>
                    </a:cubicBezTo>
                    <a:cubicBezTo>
                      <a:pt x="233" y="151"/>
                      <a:pt x="234" y="150"/>
                      <a:pt x="236" y="150"/>
                    </a:cubicBezTo>
                    <a:cubicBezTo>
                      <a:pt x="237" y="150"/>
                      <a:pt x="239" y="149"/>
                      <a:pt x="239" y="147"/>
                    </a:cubicBezTo>
                    <a:cubicBezTo>
                      <a:pt x="239" y="146"/>
                      <a:pt x="238" y="145"/>
                      <a:pt x="239" y="144"/>
                    </a:cubicBezTo>
                    <a:cubicBezTo>
                      <a:pt x="240" y="144"/>
                      <a:pt x="240" y="144"/>
                      <a:pt x="240" y="146"/>
                    </a:cubicBezTo>
                    <a:cubicBezTo>
                      <a:pt x="241" y="147"/>
                      <a:pt x="241" y="150"/>
                      <a:pt x="240" y="150"/>
                    </a:cubicBezTo>
                    <a:cubicBezTo>
                      <a:pt x="239" y="151"/>
                      <a:pt x="236" y="154"/>
                      <a:pt x="237" y="154"/>
                    </a:cubicBezTo>
                    <a:cubicBezTo>
                      <a:pt x="238" y="154"/>
                      <a:pt x="240" y="153"/>
                      <a:pt x="241" y="152"/>
                    </a:cubicBezTo>
                    <a:cubicBezTo>
                      <a:pt x="241" y="150"/>
                      <a:pt x="244" y="145"/>
                      <a:pt x="245" y="144"/>
                    </a:cubicBezTo>
                    <a:cubicBezTo>
                      <a:pt x="246" y="143"/>
                      <a:pt x="249" y="141"/>
                      <a:pt x="250" y="140"/>
                    </a:cubicBezTo>
                    <a:cubicBezTo>
                      <a:pt x="252" y="139"/>
                      <a:pt x="255" y="138"/>
                      <a:pt x="256" y="139"/>
                    </a:cubicBezTo>
                    <a:cubicBezTo>
                      <a:pt x="257" y="139"/>
                      <a:pt x="256" y="142"/>
                      <a:pt x="258" y="140"/>
                    </a:cubicBezTo>
                    <a:cubicBezTo>
                      <a:pt x="259" y="139"/>
                      <a:pt x="261" y="136"/>
                      <a:pt x="263" y="136"/>
                    </a:cubicBezTo>
                    <a:cubicBezTo>
                      <a:pt x="264" y="136"/>
                      <a:pt x="266" y="136"/>
                      <a:pt x="267" y="138"/>
                    </a:cubicBezTo>
                    <a:cubicBezTo>
                      <a:pt x="267" y="139"/>
                      <a:pt x="268" y="139"/>
                      <a:pt x="268" y="138"/>
                    </a:cubicBezTo>
                    <a:cubicBezTo>
                      <a:pt x="268" y="137"/>
                      <a:pt x="270" y="134"/>
                      <a:pt x="272" y="133"/>
                    </a:cubicBezTo>
                    <a:cubicBezTo>
                      <a:pt x="274" y="132"/>
                      <a:pt x="276" y="133"/>
                      <a:pt x="277" y="133"/>
                    </a:cubicBezTo>
                    <a:cubicBezTo>
                      <a:pt x="278" y="132"/>
                      <a:pt x="278" y="130"/>
                      <a:pt x="279" y="129"/>
                    </a:cubicBezTo>
                    <a:cubicBezTo>
                      <a:pt x="280" y="128"/>
                      <a:pt x="284" y="129"/>
                      <a:pt x="286" y="129"/>
                    </a:cubicBezTo>
                    <a:cubicBezTo>
                      <a:pt x="288" y="129"/>
                      <a:pt x="292" y="128"/>
                      <a:pt x="292" y="128"/>
                    </a:cubicBezTo>
                    <a:cubicBezTo>
                      <a:pt x="291" y="128"/>
                      <a:pt x="292" y="123"/>
                      <a:pt x="292" y="121"/>
                    </a:cubicBezTo>
                    <a:cubicBezTo>
                      <a:pt x="292" y="119"/>
                      <a:pt x="292" y="116"/>
                      <a:pt x="294" y="116"/>
                    </a:cubicBezTo>
                    <a:cubicBezTo>
                      <a:pt x="296" y="115"/>
                      <a:pt x="298" y="114"/>
                      <a:pt x="299" y="112"/>
                    </a:cubicBezTo>
                    <a:cubicBezTo>
                      <a:pt x="300" y="111"/>
                      <a:pt x="301" y="109"/>
                      <a:pt x="303" y="109"/>
                    </a:cubicBezTo>
                    <a:cubicBezTo>
                      <a:pt x="305" y="109"/>
                      <a:pt x="310" y="109"/>
                      <a:pt x="313" y="109"/>
                    </a:cubicBezTo>
                    <a:cubicBezTo>
                      <a:pt x="316" y="109"/>
                      <a:pt x="317" y="109"/>
                      <a:pt x="317" y="108"/>
                    </a:cubicBezTo>
                    <a:cubicBezTo>
                      <a:pt x="317" y="106"/>
                      <a:pt x="317" y="103"/>
                      <a:pt x="319" y="101"/>
                    </a:cubicBezTo>
                    <a:cubicBezTo>
                      <a:pt x="320" y="99"/>
                      <a:pt x="318" y="98"/>
                      <a:pt x="318" y="97"/>
                    </a:cubicBezTo>
                    <a:cubicBezTo>
                      <a:pt x="317" y="95"/>
                      <a:pt x="317" y="93"/>
                      <a:pt x="316" y="92"/>
                    </a:cubicBezTo>
                    <a:cubicBezTo>
                      <a:pt x="315" y="91"/>
                      <a:pt x="314" y="92"/>
                      <a:pt x="313" y="91"/>
                    </a:cubicBezTo>
                    <a:cubicBezTo>
                      <a:pt x="312" y="89"/>
                      <a:pt x="313" y="86"/>
                      <a:pt x="314" y="86"/>
                    </a:cubicBezTo>
                    <a:cubicBezTo>
                      <a:pt x="316" y="85"/>
                      <a:pt x="317" y="85"/>
                      <a:pt x="316" y="83"/>
                    </a:cubicBezTo>
                    <a:cubicBezTo>
                      <a:pt x="315" y="82"/>
                      <a:pt x="312" y="82"/>
                      <a:pt x="313" y="80"/>
                    </a:cubicBezTo>
                    <a:cubicBezTo>
                      <a:pt x="314" y="78"/>
                      <a:pt x="317" y="77"/>
                      <a:pt x="318" y="76"/>
                    </a:cubicBezTo>
                    <a:cubicBezTo>
                      <a:pt x="318" y="74"/>
                      <a:pt x="318" y="74"/>
                      <a:pt x="318" y="71"/>
                    </a:cubicBezTo>
                    <a:cubicBezTo>
                      <a:pt x="317" y="69"/>
                      <a:pt x="317" y="68"/>
                      <a:pt x="317" y="67"/>
                    </a:cubicBezTo>
                    <a:cubicBezTo>
                      <a:pt x="317" y="65"/>
                      <a:pt x="315" y="66"/>
                      <a:pt x="314" y="66"/>
                    </a:cubicBezTo>
                    <a:cubicBezTo>
                      <a:pt x="313" y="67"/>
                      <a:pt x="312" y="67"/>
                      <a:pt x="311" y="66"/>
                    </a:cubicBezTo>
                    <a:cubicBezTo>
                      <a:pt x="310" y="66"/>
                      <a:pt x="308" y="64"/>
                      <a:pt x="307" y="63"/>
                    </a:cubicBezTo>
                    <a:cubicBezTo>
                      <a:pt x="306" y="62"/>
                      <a:pt x="305" y="62"/>
                      <a:pt x="304" y="62"/>
                    </a:cubicBezTo>
                    <a:cubicBezTo>
                      <a:pt x="303" y="62"/>
                      <a:pt x="301" y="62"/>
                      <a:pt x="301" y="61"/>
                    </a:cubicBezTo>
                    <a:cubicBezTo>
                      <a:pt x="300" y="61"/>
                      <a:pt x="300" y="60"/>
                      <a:pt x="300" y="60"/>
                    </a:cubicBezTo>
                    <a:cubicBezTo>
                      <a:pt x="300" y="60"/>
                      <a:pt x="299" y="60"/>
                      <a:pt x="298" y="60"/>
                    </a:cubicBezTo>
                    <a:cubicBezTo>
                      <a:pt x="297" y="60"/>
                      <a:pt x="295" y="60"/>
                      <a:pt x="293" y="59"/>
                    </a:cubicBezTo>
                    <a:cubicBezTo>
                      <a:pt x="292" y="59"/>
                      <a:pt x="288" y="56"/>
                      <a:pt x="286" y="56"/>
                    </a:cubicBezTo>
                    <a:cubicBezTo>
                      <a:pt x="284" y="56"/>
                      <a:pt x="284" y="56"/>
                      <a:pt x="283" y="55"/>
                    </a:cubicBezTo>
                    <a:cubicBezTo>
                      <a:pt x="282" y="54"/>
                      <a:pt x="282" y="56"/>
                      <a:pt x="280" y="57"/>
                    </a:cubicBezTo>
                    <a:cubicBezTo>
                      <a:pt x="279" y="58"/>
                      <a:pt x="278" y="57"/>
                      <a:pt x="277" y="56"/>
                    </a:cubicBezTo>
                    <a:cubicBezTo>
                      <a:pt x="276" y="55"/>
                      <a:pt x="275" y="55"/>
                      <a:pt x="273" y="53"/>
                    </a:cubicBezTo>
                    <a:cubicBezTo>
                      <a:pt x="272" y="52"/>
                      <a:pt x="271" y="49"/>
                      <a:pt x="269" y="48"/>
                    </a:cubicBezTo>
                    <a:cubicBezTo>
                      <a:pt x="267" y="47"/>
                      <a:pt x="268" y="45"/>
                      <a:pt x="266" y="46"/>
                    </a:cubicBezTo>
                    <a:cubicBezTo>
                      <a:pt x="263" y="47"/>
                      <a:pt x="263" y="48"/>
                      <a:pt x="261" y="48"/>
                    </a:cubicBezTo>
                    <a:cubicBezTo>
                      <a:pt x="259" y="48"/>
                      <a:pt x="258" y="47"/>
                      <a:pt x="256" y="49"/>
                    </a:cubicBezTo>
                    <a:cubicBezTo>
                      <a:pt x="255" y="50"/>
                      <a:pt x="254" y="52"/>
                      <a:pt x="252" y="51"/>
                    </a:cubicBezTo>
                    <a:cubicBezTo>
                      <a:pt x="251" y="50"/>
                      <a:pt x="249" y="49"/>
                      <a:pt x="248" y="49"/>
                    </a:cubicBezTo>
                    <a:cubicBezTo>
                      <a:pt x="247" y="49"/>
                      <a:pt x="245" y="48"/>
                      <a:pt x="244" y="48"/>
                    </a:cubicBezTo>
                    <a:cubicBezTo>
                      <a:pt x="244" y="47"/>
                      <a:pt x="242" y="46"/>
                      <a:pt x="241" y="46"/>
                    </a:cubicBezTo>
                    <a:cubicBezTo>
                      <a:pt x="240" y="46"/>
                      <a:pt x="239" y="46"/>
                      <a:pt x="238" y="47"/>
                    </a:cubicBezTo>
                    <a:cubicBezTo>
                      <a:pt x="236" y="48"/>
                      <a:pt x="236" y="48"/>
                      <a:pt x="235" y="47"/>
                    </a:cubicBezTo>
                    <a:cubicBezTo>
                      <a:pt x="233" y="45"/>
                      <a:pt x="232" y="45"/>
                      <a:pt x="231" y="43"/>
                    </a:cubicBezTo>
                    <a:cubicBezTo>
                      <a:pt x="231" y="40"/>
                      <a:pt x="231" y="37"/>
                      <a:pt x="230" y="36"/>
                    </a:cubicBezTo>
                    <a:cubicBezTo>
                      <a:pt x="229" y="35"/>
                      <a:pt x="229" y="32"/>
                      <a:pt x="227" y="31"/>
                    </a:cubicBezTo>
                    <a:cubicBezTo>
                      <a:pt x="226" y="30"/>
                      <a:pt x="225" y="29"/>
                      <a:pt x="223" y="28"/>
                    </a:cubicBezTo>
                    <a:cubicBezTo>
                      <a:pt x="222" y="27"/>
                      <a:pt x="222" y="27"/>
                      <a:pt x="220" y="27"/>
                    </a:cubicBezTo>
                    <a:cubicBezTo>
                      <a:pt x="218" y="28"/>
                      <a:pt x="218" y="28"/>
                      <a:pt x="216" y="27"/>
                    </a:cubicBezTo>
                    <a:cubicBezTo>
                      <a:pt x="214" y="26"/>
                      <a:pt x="212" y="26"/>
                      <a:pt x="211" y="26"/>
                    </a:cubicBezTo>
                    <a:cubicBezTo>
                      <a:pt x="209" y="26"/>
                      <a:pt x="208" y="27"/>
                      <a:pt x="208" y="24"/>
                    </a:cubicBezTo>
                    <a:cubicBezTo>
                      <a:pt x="207" y="21"/>
                      <a:pt x="205" y="17"/>
                      <a:pt x="205" y="17"/>
                    </a:cubicBezTo>
                    <a:cubicBezTo>
                      <a:pt x="205" y="17"/>
                      <a:pt x="205" y="16"/>
                      <a:pt x="208" y="16"/>
                    </a:cubicBezTo>
                    <a:cubicBezTo>
                      <a:pt x="210" y="15"/>
                      <a:pt x="209" y="14"/>
                      <a:pt x="208" y="13"/>
                    </a:cubicBezTo>
                    <a:cubicBezTo>
                      <a:pt x="207" y="12"/>
                      <a:pt x="205" y="11"/>
                      <a:pt x="204" y="9"/>
                    </a:cubicBezTo>
                    <a:cubicBezTo>
                      <a:pt x="203" y="8"/>
                      <a:pt x="202" y="4"/>
                      <a:pt x="201" y="3"/>
                    </a:cubicBezTo>
                    <a:cubicBezTo>
                      <a:pt x="199" y="2"/>
                      <a:pt x="198" y="1"/>
                      <a:pt x="197" y="0"/>
                    </a:cubicBezTo>
                    <a:cubicBezTo>
                      <a:pt x="195" y="0"/>
                      <a:pt x="195" y="0"/>
                      <a:pt x="194" y="1"/>
                    </a:cubicBezTo>
                    <a:cubicBezTo>
                      <a:pt x="192" y="2"/>
                      <a:pt x="193" y="2"/>
                      <a:pt x="192" y="1"/>
                    </a:cubicBezTo>
                    <a:cubicBezTo>
                      <a:pt x="191" y="0"/>
                      <a:pt x="190" y="0"/>
                      <a:pt x="188" y="0"/>
                    </a:cubicBezTo>
                    <a:cubicBezTo>
                      <a:pt x="186" y="1"/>
                      <a:pt x="185" y="1"/>
                      <a:pt x="183" y="2"/>
                    </a:cubicBezTo>
                    <a:cubicBezTo>
                      <a:pt x="182" y="4"/>
                      <a:pt x="180" y="3"/>
                      <a:pt x="179" y="3"/>
                    </a:cubicBezTo>
                    <a:cubicBezTo>
                      <a:pt x="177" y="2"/>
                      <a:pt x="174" y="1"/>
                      <a:pt x="173" y="2"/>
                    </a:cubicBezTo>
                    <a:cubicBezTo>
                      <a:pt x="172" y="2"/>
                      <a:pt x="172" y="4"/>
                      <a:pt x="171" y="6"/>
                    </a:cubicBezTo>
                    <a:cubicBezTo>
                      <a:pt x="170" y="8"/>
                      <a:pt x="169" y="7"/>
                      <a:pt x="167" y="7"/>
                    </a:cubicBezTo>
                    <a:cubicBezTo>
                      <a:pt x="165" y="7"/>
                      <a:pt x="161" y="5"/>
                      <a:pt x="161" y="5"/>
                    </a:cubicBezTo>
                    <a:close/>
                  </a:path>
                </a:pathLst>
              </a:custGeom>
              <a:solidFill>
                <a:srgbClr val="8D8F92"/>
              </a:solid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86" name="Freeform 7"/>
              <p:cNvSpPr>
                <a:spLocks/>
              </p:cNvSpPr>
              <p:nvPr/>
            </p:nvSpPr>
            <p:spPr bwMode="gray">
              <a:xfrm>
                <a:off x="2552" y="1176"/>
                <a:ext cx="509" cy="1044"/>
              </a:xfrm>
              <a:custGeom>
                <a:avLst/>
                <a:gdLst>
                  <a:gd name="T0" fmla="*/ 124 w 194"/>
                  <a:gd name="T1" fmla="*/ 15 h 397"/>
                  <a:gd name="T2" fmla="*/ 97 w 194"/>
                  <a:gd name="T3" fmla="*/ 7 h 397"/>
                  <a:gd name="T4" fmla="*/ 78 w 194"/>
                  <a:gd name="T5" fmla="*/ 26 h 397"/>
                  <a:gd name="T6" fmla="*/ 72 w 194"/>
                  <a:gd name="T7" fmla="*/ 50 h 397"/>
                  <a:gd name="T8" fmla="*/ 52 w 194"/>
                  <a:gd name="T9" fmla="*/ 53 h 397"/>
                  <a:gd name="T10" fmla="*/ 27 w 194"/>
                  <a:gd name="T11" fmla="*/ 52 h 397"/>
                  <a:gd name="T12" fmla="*/ 4 w 194"/>
                  <a:gd name="T13" fmla="*/ 37 h 397"/>
                  <a:gd name="T14" fmla="*/ 25 w 194"/>
                  <a:gd name="T15" fmla="*/ 64 h 397"/>
                  <a:gd name="T16" fmla="*/ 49 w 194"/>
                  <a:gd name="T17" fmla="*/ 85 h 397"/>
                  <a:gd name="T18" fmla="*/ 53 w 194"/>
                  <a:gd name="T19" fmla="*/ 108 h 397"/>
                  <a:gd name="T20" fmla="*/ 58 w 194"/>
                  <a:gd name="T21" fmla="*/ 130 h 397"/>
                  <a:gd name="T22" fmla="*/ 61 w 194"/>
                  <a:gd name="T23" fmla="*/ 159 h 397"/>
                  <a:gd name="T24" fmla="*/ 74 w 194"/>
                  <a:gd name="T25" fmla="*/ 175 h 397"/>
                  <a:gd name="T26" fmla="*/ 85 w 194"/>
                  <a:gd name="T27" fmla="*/ 195 h 397"/>
                  <a:gd name="T28" fmla="*/ 83 w 194"/>
                  <a:gd name="T29" fmla="*/ 205 h 397"/>
                  <a:gd name="T30" fmla="*/ 69 w 194"/>
                  <a:gd name="T31" fmla="*/ 221 h 397"/>
                  <a:gd name="T32" fmla="*/ 59 w 194"/>
                  <a:gd name="T33" fmla="*/ 239 h 397"/>
                  <a:gd name="T34" fmla="*/ 49 w 194"/>
                  <a:gd name="T35" fmla="*/ 246 h 397"/>
                  <a:gd name="T36" fmla="*/ 45 w 194"/>
                  <a:gd name="T37" fmla="*/ 255 h 397"/>
                  <a:gd name="T38" fmla="*/ 44 w 194"/>
                  <a:gd name="T39" fmla="*/ 267 h 397"/>
                  <a:gd name="T40" fmla="*/ 35 w 194"/>
                  <a:gd name="T41" fmla="*/ 269 h 397"/>
                  <a:gd name="T42" fmla="*/ 33 w 194"/>
                  <a:gd name="T43" fmla="*/ 276 h 397"/>
                  <a:gd name="T44" fmla="*/ 26 w 194"/>
                  <a:gd name="T45" fmla="*/ 291 h 397"/>
                  <a:gd name="T46" fmla="*/ 31 w 194"/>
                  <a:gd name="T47" fmla="*/ 312 h 397"/>
                  <a:gd name="T48" fmla="*/ 38 w 194"/>
                  <a:gd name="T49" fmla="*/ 333 h 397"/>
                  <a:gd name="T50" fmla="*/ 35 w 194"/>
                  <a:gd name="T51" fmla="*/ 347 h 397"/>
                  <a:gd name="T52" fmla="*/ 36 w 194"/>
                  <a:gd name="T53" fmla="*/ 365 h 397"/>
                  <a:gd name="T54" fmla="*/ 41 w 194"/>
                  <a:gd name="T55" fmla="*/ 371 h 397"/>
                  <a:gd name="T56" fmla="*/ 46 w 194"/>
                  <a:gd name="T57" fmla="*/ 378 h 397"/>
                  <a:gd name="T58" fmla="*/ 51 w 194"/>
                  <a:gd name="T59" fmla="*/ 381 h 397"/>
                  <a:gd name="T60" fmla="*/ 56 w 194"/>
                  <a:gd name="T61" fmla="*/ 382 h 397"/>
                  <a:gd name="T62" fmla="*/ 62 w 194"/>
                  <a:gd name="T63" fmla="*/ 392 h 397"/>
                  <a:gd name="T64" fmla="*/ 67 w 194"/>
                  <a:gd name="T65" fmla="*/ 395 h 397"/>
                  <a:gd name="T66" fmla="*/ 82 w 194"/>
                  <a:gd name="T67" fmla="*/ 390 h 397"/>
                  <a:gd name="T68" fmla="*/ 96 w 194"/>
                  <a:gd name="T69" fmla="*/ 384 h 397"/>
                  <a:gd name="T70" fmla="*/ 108 w 194"/>
                  <a:gd name="T71" fmla="*/ 381 h 397"/>
                  <a:gd name="T72" fmla="*/ 112 w 194"/>
                  <a:gd name="T73" fmla="*/ 377 h 397"/>
                  <a:gd name="T74" fmla="*/ 120 w 194"/>
                  <a:gd name="T75" fmla="*/ 377 h 397"/>
                  <a:gd name="T76" fmla="*/ 130 w 194"/>
                  <a:gd name="T77" fmla="*/ 374 h 397"/>
                  <a:gd name="T78" fmla="*/ 152 w 194"/>
                  <a:gd name="T79" fmla="*/ 356 h 397"/>
                  <a:gd name="T80" fmla="*/ 183 w 194"/>
                  <a:gd name="T81" fmla="*/ 309 h 397"/>
                  <a:gd name="T82" fmla="*/ 192 w 194"/>
                  <a:gd name="T83" fmla="*/ 278 h 397"/>
                  <a:gd name="T84" fmla="*/ 169 w 194"/>
                  <a:gd name="T85" fmla="*/ 253 h 397"/>
                  <a:gd name="T86" fmla="*/ 170 w 194"/>
                  <a:gd name="T87" fmla="*/ 227 h 397"/>
                  <a:gd name="T88" fmla="*/ 159 w 194"/>
                  <a:gd name="T89" fmla="*/ 209 h 397"/>
                  <a:gd name="T90" fmla="*/ 154 w 194"/>
                  <a:gd name="T91" fmla="*/ 188 h 397"/>
                  <a:gd name="T92" fmla="*/ 159 w 194"/>
                  <a:gd name="T93" fmla="*/ 170 h 397"/>
                  <a:gd name="T94" fmla="*/ 139 w 194"/>
                  <a:gd name="T95" fmla="*/ 122 h 397"/>
                  <a:gd name="T96" fmla="*/ 142 w 194"/>
                  <a:gd name="T97" fmla="*/ 87 h 397"/>
                  <a:gd name="T98" fmla="*/ 123 w 194"/>
                  <a:gd name="T99" fmla="*/ 63 h 397"/>
                  <a:gd name="T100" fmla="*/ 129 w 194"/>
                  <a:gd name="T101" fmla="*/ 43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4" h="397">
                    <a:moveTo>
                      <a:pt x="126" y="35"/>
                    </a:moveTo>
                    <a:cubicBezTo>
                      <a:pt x="128" y="31"/>
                      <a:pt x="131" y="32"/>
                      <a:pt x="131" y="25"/>
                    </a:cubicBezTo>
                    <a:cubicBezTo>
                      <a:pt x="130" y="18"/>
                      <a:pt x="128" y="18"/>
                      <a:pt x="124" y="15"/>
                    </a:cubicBezTo>
                    <a:cubicBezTo>
                      <a:pt x="121" y="13"/>
                      <a:pt x="115" y="13"/>
                      <a:pt x="112" y="8"/>
                    </a:cubicBezTo>
                    <a:cubicBezTo>
                      <a:pt x="110" y="3"/>
                      <a:pt x="107" y="0"/>
                      <a:pt x="105" y="1"/>
                    </a:cubicBezTo>
                    <a:cubicBezTo>
                      <a:pt x="103" y="1"/>
                      <a:pt x="100" y="6"/>
                      <a:pt x="97" y="7"/>
                    </a:cubicBezTo>
                    <a:cubicBezTo>
                      <a:pt x="94" y="8"/>
                      <a:pt x="92" y="6"/>
                      <a:pt x="89" y="8"/>
                    </a:cubicBezTo>
                    <a:cubicBezTo>
                      <a:pt x="86" y="9"/>
                      <a:pt x="84" y="14"/>
                      <a:pt x="82" y="18"/>
                    </a:cubicBezTo>
                    <a:cubicBezTo>
                      <a:pt x="79" y="21"/>
                      <a:pt x="78" y="22"/>
                      <a:pt x="78" y="26"/>
                    </a:cubicBezTo>
                    <a:cubicBezTo>
                      <a:pt x="77" y="30"/>
                      <a:pt x="77" y="34"/>
                      <a:pt x="77" y="39"/>
                    </a:cubicBezTo>
                    <a:cubicBezTo>
                      <a:pt x="78" y="43"/>
                      <a:pt x="79" y="47"/>
                      <a:pt x="77" y="48"/>
                    </a:cubicBezTo>
                    <a:cubicBezTo>
                      <a:pt x="75" y="48"/>
                      <a:pt x="73" y="45"/>
                      <a:pt x="72" y="50"/>
                    </a:cubicBezTo>
                    <a:cubicBezTo>
                      <a:pt x="70" y="55"/>
                      <a:pt x="70" y="56"/>
                      <a:pt x="68" y="58"/>
                    </a:cubicBezTo>
                    <a:cubicBezTo>
                      <a:pt x="65" y="61"/>
                      <a:pt x="64" y="55"/>
                      <a:pt x="61" y="55"/>
                    </a:cubicBezTo>
                    <a:cubicBezTo>
                      <a:pt x="57" y="54"/>
                      <a:pt x="54" y="54"/>
                      <a:pt x="52" y="53"/>
                    </a:cubicBezTo>
                    <a:cubicBezTo>
                      <a:pt x="49" y="51"/>
                      <a:pt x="47" y="57"/>
                      <a:pt x="44" y="58"/>
                    </a:cubicBezTo>
                    <a:cubicBezTo>
                      <a:pt x="41" y="59"/>
                      <a:pt x="37" y="57"/>
                      <a:pt x="33" y="57"/>
                    </a:cubicBezTo>
                    <a:cubicBezTo>
                      <a:pt x="30" y="56"/>
                      <a:pt x="28" y="56"/>
                      <a:pt x="27" y="52"/>
                    </a:cubicBezTo>
                    <a:cubicBezTo>
                      <a:pt x="25" y="47"/>
                      <a:pt x="21" y="43"/>
                      <a:pt x="19" y="40"/>
                    </a:cubicBezTo>
                    <a:cubicBezTo>
                      <a:pt x="17" y="37"/>
                      <a:pt x="16" y="31"/>
                      <a:pt x="11" y="32"/>
                    </a:cubicBezTo>
                    <a:cubicBezTo>
                      <a:pt x="6" y="32"/>
                      <a:pt x="6" y="33"/>
                      <a:pt x="4" y="37"/>
                    </a:cubicBezTo>
                    <a:cubicBezTo>
                      <a:pt x="3" y="41"/>
                      <a:pt x="1" y="40"/>
                      <a:pt x="0" y="40"/>
                    </a:cubicBezTo>
                    <a:cubicBezTo>
                      <a:pt x="0" y="40"/>
                      <a:pt x="3" y="49"/>
                      <a:pt x="7" y="51"/>
                    </a:cubicBezTo>
                    <a:cubicBezTo>
                      <a:pt x="11" y="53"/>
                      <a:pt x="22" y="63"/>
                      <a:pt x="25" y="64"/>
                    </a:cubicBezTo>
                    <a:cubicBezTo>
                      <a:pt x="28" y="65"/>
                      <a:pt x="34" y="68"/>
                      <a:pt x="37" y="71"/>
                    </a:cubicBezTo>
                    <a:cubicBezTo>
                      <a:pt x="40" y="73"/>
                      <a:pt x="40" y="80"/>
                      <a:pt x="43" y="79"/>
                    </a:cubicBezTo>
                    <a:cubicBezTo>
                      <a:pt x="45" y="78"/>
                      <a:pt x="51" y="82"/>
                      <a:pt x="49" y="85"/>
                    </a:cubicBezTo>
                    <a:cubicBezTo>
                      <a:pt x="47" y="88"/>
                      <a:pt x="47" y="92"/>
                      <a:pt x="47" y="95"/>
                    </a:cubicBezTo>
                    <a:cubicBezTo>
                      <a:pt x="47" y="99"/>
                      <a:pt x="47" y="106"/>
                      <a:pt x="49" y="105"/>
                    </a:cubicBezTo>
                    <a:cubicBezTo>
                      <a:pt x="51" y="103"/>
                      <a:pt x="54" y="105"/>
                      <a:pt x="53" y="108"/>
                    </a:cubicBezTo>
                    <a:cubicBezTo>
                      <a:pt x="52" y="110"/>
                      <a:pt x="50" y="113"/>
                      <a:pt x="50" y="116"/>
                    </a:cubicBezTo>
                    <a:cubicBezTo>
                      <a:pt x="51" y="119"/>
                      <a:pt x="54" y="122"/>
                      <a:pt x="56" y="124"/>
                    </a:cubicBezTo>
                    <a:cubicBezTo>
                      <a:pt x="58" y="126"/>
                      <a:pt x="59" y="128"/>
                      <a:pt x="58" y="130"/>
                    </a:cubicBezTo>
                    <a:cubicBezTo>
                      <a:pt x="57" y="132"/>
                      <a:pt x="58" y="136"/>
                      <a:pt x="57" y="139"/>
                    </a:cubicBezTo>
                    <a:cubicBezTo>
                      <a:pt x="56" y="142"/>
                      <a:pt x="53" y="145"/>
                      <a:pt x="55" y="149"/>
                    </a:cubicBezTo>
                    <a:cubicBezTo>
                      <a:pt x="57" y="152"/>
                      <a:pt x="60" y="155"/>
                      <a:pt x="61" y="159"/>
                    </a:cubicBezTo>
                    <a:cubicBezTo>
                      <a:pt x="63" y="164"/>
                      <a:pt x="65" y="169"/>
                      <a:pt x="65" y="169"/>
                    </a:cubicBezTo>
                    <a:cubicBezTo>
                      <a:pt x="65" y="169"/>
                      <a:pt x="67" y="170"/>
                      <a:pt x="70" y="171"/>
                    </a:cubicBezTo>
                    <a:cubicBezTo>
                      <a:pt x="72" y="171"/>
                      <a:pt x="73" y="172"/>
                      <a:pt x="74" y="175"/>
                    </a:cubicBezTo>
                    <a:cubicBezTo>
                      <a:pt x="75" y="178"/>
                      <a:pt x="77" y="176"/>
                      <a:pt x="79" y="176"/>
                    </a:cubicBezTo>
                    <a:cubicBezTo>
                      <a:pt x="81" y="177"/>
                      <a:pt x="82" y="181"/>
                      <a:pt x="84" y="183"/>
                    </a:cubicBezTo>
                    <a:cubicBezTo>
                      <a:pt x="85" y="185"/>
                      <a:pt x="83" y="194"/>
                      <a:pt x="85" y="195"/>
                    </a:cubicBezTo>
                    <a:cubicBezTo>
                      <a:pt x="87" y="196"/>
                      <a:pt x="87" y="202"/>
                      <a:pt x="87" y="202"/>
                    </a:cubicBezTo>
                    <a:cubicBezTo>
                      <a:pt x="87" y="203"/>
                      <a:pt x="87" y="204"/>
                      <a:pt x="86" y="206"/>
                    </a:cubicBezTo>
                    <a:cubicBezTo>
                      <a:pt x="86" y="206"/>
                      <a:pt x="85" y="205"/>
                      <a:pt x="83" y="205"/>
                    </a:cubicBezTo>
                    <a:cubicBezTo>
                      <a:pt x="80" y="204"/>
                      <a:pt x="77" y="205"/>
                      <a:pt x="76" y="208"/>
                    </a:cubicBezTo>
                    <a:cubicBezTo>
                      <a:pt x="75" y="211"/>
                      <a:pt x="72" y="211"/>
                      <a:pt x="72" y="216"/>
                    </a:cubicBezTo>
                    <a:cubicBezTo>
                      <a:pt x="72" y="221"/>
                      <a:pt x="70" y="220"/>
                      <a:pt x="69" y="221"/>
                    </a:cubicBezTo>
                    <a:cubicBezTo>
                      <a:pt x="68" y="222"/>
                      <a:pt x="67" y="227"/>
                      <a:pt x="66" y="230"/>
                    </a:cubicBezTo>
                    <a:cubicBezTo>
                      <a:pt x="64" y="233"/>
                      <a:pt x="64" y="234"/>
                      <a:pt x="62" y="236"/>
                    </a:cubicBezTo>
                    <a:cubicBezTo>
                      <a:pt x="60" y="239"/>
                      <a:pt x="59" y="236"/>
                      <a:pt x="59" y="239"/>
                    </a:cubicBezTo>
                    <a:cubicBezTo>
                      <a:pt x="59" y="242"/>
                      <a:pt x="58" y="242"/>
                      <a:pt x="56" y="243"/>
                    </a:cubicBezTo>
                    <a:cubicBezTo>
                      <a:pt x="55" y="243"/>
                      <a:pt x="55" y="245"/>
                      <a:pt x="53" y="247"/>
                    </a:cubicBezTo>
                    <a:cubicBezTo>
                      <a:pt x="52" y="249"/>
                      <a:pt x="50" y="246"/>
                      <a:pt x="49" y="246"/>
                    </a:cubicBezTo>
                    <a:cubicBezTo>
                      <a:pt x="48" y="246"/>
                      <a:pt x="51" y="247"/>
                      <a:pt x="51" y="252"/>
                    </a:cubicBezTo>
                    <a:cubicBezTo>
                      <a:pt x="50" y="256"/>
                      <a:pt x="49" y="253"/>
                      <a:pt x="48" y="251"/>
                    </a:cubicBezTo>
                    <a:cubicBezTo>
                      <a:pt x="47" y="249"/>
                      <a:pt x="46" y="253"/>
                      <a:pt x="45" y="255"/>
                    </a:cubicBezTo>
                    <a:cubicBezTo>
                      <a:pt x="45" y="258"/>
                      <a:pt x="44" y="261"/>
                      <a:pt x="44" y="258"/>
                    </a:cubicBezTo>
                    <a:cubicBezTo>
                      <a:pt x="43" y="256"/>
                      <a:pt x="42" y="259"/>
                      <a:pt x="43" y="262"/>
                    </a:cubicBezTo>
                    <a:cubicBezTo>
                      <a:pt x="45" y="264"/>
                      <a:pt x="45" y="266"/>
                      <a:pt x="44" y="267"/>
                    </a:cubicBezTo>
                    <a:cubicBezTo>
                      <a:pt x="42" y="267"/>
                      <a:pt x="42" y="265"/>
                      <a:pt x="41" y="265"/>
                    </a:cubicBezTo>
                    <a:cubicBezTo>
                      <a:pt x="40" y="265"/>
                      <a:pt x="42" y="267"/>
                      <a:pt x="40" y="268"/>
                    </a:cubicBezTo>
                    <a:cubicBezTo>
                      <a:pt x="38" y="269"/>
                      <a:pt x="37" y="268"/>
                      <a:pt x="35" y="269"/>
                    </a:cubicBezTo>
                    <a:cubicBezTo>
                      <a:pt x="34" y="269"/>
                      <a:pt x="33" y="269"/>
                      <a:pt x="32" y="267"/>
                    </a:cubicBezTo>
                    <a:cubicBezTo>
                      <a:pt x="31" y="265"/>
                      <a:pt x="30" y="268"/>
                      <a:pt x="31" y="271"/>
                    </a:cubicBezTo>
                    <a:cubicBezTo>
                      <a:pt x="32" y="273"/>
                      <a:pt x="34" y="276"/>
                      <a:pt x="33" y="276"/>
                    </a:cubicBezTo>
                    <a:cubicBezTo>
                      <a:pt x="32" y="276"/>
                      <a:pt x="31" y="277"/>
                      <a:pt x="30" y="280"/>
                    </a:cubicBezTo>
                    <a:cubicBezTo>
                      <a:pt x="29" y="284"/>
                      <a:pt x="28" y="284"/>
                      <a:pt x="27" y="286"/>
                    </a:cubicBezTo>
                    <a:cubicBezTo>
                      <a:pt x="26" y="287"/>
                      <a:pt x="26" y="290"/>
                      <a:pt x="26" y="291"/>
                    </a:cubicBezTo>
                    <a:cubicBezTo>
                      <a:pt x="26" y="293"/>
                      <a:pt x="28" y="292"/>
                      <a:pt x="28" y="295"/>
                    </a:cubicBezTo>
                    <a:cubicBezTo>
                      <a:pt x="27" y="298"/>
                      <a:pt x="27" y="300"/>
                      <a:pt x="29" y="303"/>
                    </a:cubicBezTo>
                    <a:cubicBezTo>
                      <a:pt x="31" y="306"/>
                      <a:pt x="32" y="307"/>
                      <a:pt x="31" y="312"/>
                    </a:cubicBezTo>
                    <a:cubicBezTo>
                      <a:pt x="30" y="318"/>
                      <a:pt x="31" y="321"/>
                      <a:pt x="33" y="322"/>
                    </a:cubicBezTo>
                    <a:cubicBezTo>
                      <a:pt x="35" y="322"/>
                      <a:pt x="36" y="327"/>
                      <a:pt x="37" y="329"/>
                    </a:cubicBezTo>
                    <a:cubicBezTo>
                      <a:pt x="37" y="331"/>
                      <a:pt x="39" y="334"/>
                      <a:pt x="38" y="333"/>
                    </a:cubicBezTo>
                    <a:cubicBezTo>
                      <a:pt x="37" y="333"/>
                      <a:pt x="34" y="332"/>
                      <a:pt x="35" y="335"/>
                    </a:cubicBezTo>
                    <a:cubicBezTo>
                      <a:pt x="36" y="338"/>
                      <a:pt x="37" y="342"/>
                      <a:pt x="37" y="344"/>
                    </a:cubicBezTo>
                    <a:cubicBezTo>
                      <a:pt x="36" y="346"/>
                      <a:pt x="35" y="345"/>
                      <a:pt x="35" y="347"/>
                    </a:cubicBezTo>
                    <a:cubicBezTo>
                      <a:pt x="36" y="349"/>
                      <a:pt x="36" y="349"/>
                      <a:pt x="34" y="350"/>
                    </a:cubicBezTo>
                    <a:cubicBezTo>
                      <a:pt x="33" y="352"/>
                      <a:pt x="34" y="355"/>
                      <a:pt x="35" y="357"/>
                    </a:cubicBezTo>
                    <a:cubicBezTo>
                      <a:pt x="36" y="358"/>
                      <a:pt x="36" y="363"/>
                      <a:pt x="36" y="365"/>
                    </a:cubicBezTo>
                    <a:cubicBezTo>
                      <a:pt x="37" y="367"/>
                      <a:pt x="35" y="370"/>
                      <a:pt x="36" y="370"/>
                    </a:cubicBezTo>
                    <a:cubicBezTo>
                      <a:pt x="36" y="370"/>
                      <a:pt x="38" y="368"/>
                      <a:pt x="39" y="369"/>
                    </a:cubicBezTo>
                    <a:cubicBezTo>
                      <a:pt x="39" y="370"/>
                      <a:pt x="41" y="373"/>
                      <a:pt x="41" y="371"/>
                    </a:cubicBezTo>
                    <a:cubicBezTo>
                      <a:pt x="41" y="368"/>
                      <a:pt x="43" y="366"/>
                      <a:pt x="43" y="368"/>
                    </a:cubicBezTo>
                    <a:cubicBezTo>
                      <a:pt x="44" y="370"/>
                      <a:pt x="44" y="374"/>
                      <a:pt x="44" y="374"/>
                    </a:cubicBezTo>
                    <a:cubicBezTo>
                      <a:pt x="44" y="374"/>
                      <a:pt x="44" y="378"/>
                      <a:pt x="46" y="378"/>
                    </a:cubicBezTo>
                    <a:cubicBezTo>
                      <a:pt x="47" y="377"/>
                      <a:pt x="45" y="378"/>
                      <a:pt x="47" y="376"/>
                    </a:cubicBezTo>
                    <a:cubicBezTo>
                      <a:pt x="50" y="375"/>
                      <a:pt x="51" y="376"/>
                      <a:pt x="51" y="378"/>
                    </a:cubicBezTo>
                    <a:cubicBezTo>
                      <a:pt x="50" y="379"/>
                      <a:pt x="50" y="381"/>
                      <a:pt x="51" y="381"/>
                    </a:cubicBezTo>
                    <a:cubicBezTo>
                      <a:pt x="53" y="381"/>
                      <a:pt x="51" y="387"/>
                      <a:pt x="52" y="384"/>
                    </a:cubicBezTo>
                    <a:cubicBezTo>
                      <a:pt x="53" y="381"/>
                      <a:pt x="52" y="382"/>
                      <a:pt x="54" y="380"/>
                    </a:cubicBezTo>
                    <a:cubicBezTo>
                      <a:pt x="56" y="378"/>
                      <a:pt x="57" y="380"/>
                      <a:pt x="56" y="382"/>
                    </a:cubicBezTo>
                    <a:cubicBezTo>
                      <a:pt x="55" y="384"/>
                      <a:pt x="50" y="393"/>
                      <a:pt x="53" y="391"/>
                    </a:cubicBezTo>
                    <a:cubicBezTo>
                      <a:pt x="57" y="389"/>
                      <a:pt x="58" y="391"/>
                      <a:pt x="60" y="389"/>
                    </a:cubicBezTo>
                    <a:cubicBezTo>
                      <a:pt x="62" y="387"/>
                      <a:pt x="60" y="393"/>
                      <a:pt x="62" y="392"/>
                    </a:cubicBezTo>
                    <a:cubicBezTo>
                      <a:pt x="64" y="390"/>
                      <a:pt x="66" y="390"/>
                      <a:pt x="65" y="391"/>
                    </a:cubicBezTo>
                    <a:cubicBezTo>
                      <a:pt x="64" y="391"/>
                      <a:pt x="61" y="395"/>
                      <a:pt x="63" y="395"/>
                    </a:cubicBezTo>
                    <a:cubicBezTo>
                      <a:pt x="65" y="395"/>
                      <a:pt x="65" y="397"/>
                      <a:pt x="67" y="395"/>
                    </a:cubicBezTo>
                    <a:cubicBezTo>
                      <a:pt x="70" y="393"/>
                      <a:pt x="69" y="395"/>
                      <a:pt x="72" y="394"/>
                    </a:cubicBezTo>
                    <a:cubicBezTo>
                      <a:pt x="74" y="393"/>
                      <a:pt x="73" y="395"/>
                      <a:pt x="76" y="393"/>
                    </a:cubicBezTo>
                    <a:cubicBezTo>
                      <a:pt x="79" y="391"/>
                      <a:pt x="80" y="391"/>
                      <a:pt x="82" y="390"/>
                    </a:cubicBezTo>
                    <a:cubicBezTo>
                      <a:pt x="85" y="388"/>
                      <a:pt x="85" y="392"/>
                      <a:pt x="87" y="391"/>
                    </a:cubicBezTo>
                    <a:cubicBezTo>
                      <a:pt x="90" y="390"/>
                      <a:pt x="89" y="389"/>
                      <a:pt x="91" y="387"/>
                    </a:cubicBezTo>
                    <a:cubicBezTo>
                      <a:pt x="92" y="384"/>
                      <a:pt x="93" y="383"/>
                      <a:pt x="96" y="384"/>
                    </a:cubicBezTo>
                    <a:cubicBezTo>
                      <a:pt x="99" y="384"/>
                      <a:pt x="101" y="384"/>
                      <a:pt x="102" y="382"/>
                    </a:cubicBezTo>
                    <a:cubicBezTo>
                      <a:pt x="104" y="381"/>
                      <a:pt x="105" y="383"/>
                      <a:pt x="106" y="381"/>
                    </a:cubicBezTo>
                    <a:cubicBezTo>
                      <a:pt x="107" y="379"/>
                      <a:pt x="108" y="378"/>
                      <a:pt x="108" y="381"/>
                    </a:cubicBezTo>
                    <a:cubicBezTo>
                      <a:pt x="107" y="384"/>
                      <a:pt x="107" y="386"/>
                      <a:pt x="108" y="384"/>
                    </a:cubicBezTo>
                    <a:cubicBezTo>
                      <a:pt x="110" y="382"/>
                      <a:pt x="112" y="385"/>
                      <a:pt x="112" y="383"/>
                    </a:cubicBezTo>
                    <a:cubicBezTo>
                      <a:pt x="112" y="380"/>
                      <a:pt x="111" y="374"/>
                      <a:pt x="112" y="377"/>
                    </a:cubicBezTo>
                    <a:cubicBezTo>
                      <a:pt x="114" y="379"/>
                      <a:pt x="115" y="384"/>
                      <a:pt x="115" y="381"/>
                    </a:cubicBezTo>
                    <a:cubicBezTo>
                      <a:pt x="115" y="378"/>
                      <a:pt x="112" y="375"/>
                      <a:pt x="115" y="376"/>
                    </a:cubicBezTo>
                    <a:cubicBezTo>
                      <a:pt x="118" y="376"/>
                      <a:pt x="120" y="379"/>
                      <a:pt x="120" y="377"/>
                    </a:cubicBezTo>
                    <a:cubicBezTo>
                      <a:pt x="120" y="376"/>
                      <a:pt x="121" y="374"/>
                      <a:pt x="121" y="376"/>
                    </a:cubicBezTo>
                    <a:cubicBezTo>
                      <a:pt x="122" y="377"/>
                      <a:pt x="124" y="376"/>
                      <a:pt x="124" y="374"/>
                    </a:cubicBezTo>
                    <a:cubicBezTo>
                      <a:pt x="125" y="372"/>
                      <a:pt x="128" y="376"/>
                      <a:pt x="130" y="374"/>
                    </a:cubicBezTo>
                    <a:cubicBezTo>
                      <a:pt x="131" y="372"/>
                      <a:pt x="130" y="372"/>
                      <a:pt x="133" y="372"/>
                    </a:cubicBezTo>
                    <a:cubicBezTo>
                      <a:pt x="136" y="373"/>
                      <a:pt x="139" y="375"/>
                      <a:pt x="140" y="373"/>
                    </a:cubicBezTo>
                    <a:cubicBezTo>
                      <a:pt x="140" y="373"/>
                      <a:pt x="148" y="360"/>
                      <a:pt x="152" y="356"/>
                    </a:cubicBezTo>
                    <a:cubicBezTo>
                      <a:pt x="156" y="351"/>
                      <a:pt x="161" y="347"/>
                      <a:pt x="163" y="343"/>
                    </a:cubicBezTo>
                    <a:cubicBezTo>
                      <a:pt x="165" y="339"/>
                      <a:pt x="169" y="335"/>
                      <a:pt x="171" y="330"/>
                    </a:cubicBezTo>
                    <a:cubicBezTo>
                      <a:pt x="173" y="326"/>
                      <a:pt x="180" y="313"/>
                      <a:pt x="183" y="309"/>
                    </a:cubicBezTo>
                    <a:cubicBezTo>
                      <a:pt x="185" y="305"/>
                      <a:pt x="190" y="302"/>
                      <a:pt x="191" y="296"/>
                    </a:cubicBezTo>
                    <a:cubicBezTo>
                      <a:pt x="192" y="291"/>
                      <a:pt x="191" y="289"/>
                      <a:pt x="192" y="286"/>
                    </a:cubicBezTo>
                    <a:cubicBezTo>
                      <a:pt x="194" y="283"/>
                      <a:pt x="194" y="282"/>
                      <a:pt x="192" y="278"/>
                    </a:cubicBezTo>
                    <a:cubicBezTo>
                      <a:pt x="191" y="275"/>
                      <a:pt x="188" y="269"/>
                      <a:pt x="185" y="267"/>
                    </a:cubicBezTo>
                    <a:cubicBezTo>
                      <a:pt x="183" y="266"/>
                      <a:pt x="177" y="262"/>
                      <a:pt x="175" y="260"/>
                    </a:cubicBezTo>
                    <a:cubicBezTo>
                      <a:pt x="173" y="258"/>
                      <a:pt x="172" y="256"/>
                      <a:pt x="169" y="253"/>
                    </a:cubicBezTo>
                    <a:cubicBezTo>
                      <a:pt x="166" y="250"/>
                      <a:pt x="166" y="249"/>
                      <a:pt x="169" y="246"/>
                    </a:cubicBezTo>
                    <a:cubicBezTo>
                      <a:pt x="172" y="242"/>
                      <a:pt x="173" y="238"/>
                      <a:pt x="173" y="235"/>
                    </a:cubicBezTo>
                    <a:cubicBezTo>
                      <a:pt x="173" y="232"/>
                      <a:pt x="173" y="229"/>
                      <a:pt x="170" y="227"/>
                    </a:cubicBezTo>
                    <a:cubicBezTo>
                      <a:pt x="167" y="225"/>
                      <a:pt x="165" y="225"/>
                      <a:pt x="163" y="221"/>
                    </a:cubicBezTo>
                    <a:cubicBezTo>
                      <a:pt x="162" y="216"/>
                      <a:pt x="166" y="214"/>
                      <a:pt x="164" y="211"/>
                    </a:cubicBezTo>
                    <a:cubicBezTo>
                      <a:pt x="163" y="209"/>
                      <a:pt x="160" y="209"/>
                      <a:pt x="159" y="209"/>
                    </a:cubicBezTo>
                    <a:cubicBezTo>
                      <a:pt x="157" y="208"/>
                      <a:pt x="155" y="205"/>
                      <a:pt x="155" y="202"/>
                    </a:cubicBezTo>
                    <a:cubicBezTo>
                      <a:pt x="155" y="198"/>
                      <a:pt x="159" y="197"/>
                      <a:pt x="157" y="194"/>
                    </a:cubicBezTo>
                    <a:cubicBezTo>
                      <a:pt x="155" y="192"/>
                      <a:pt x="154" y="191"/>
                      <a:pt x="154" y="188"/>
                    </a:cubicBezTo>
                    <a:cubicBezTo>
                      <a:pt x="155" y="185"/>
                      <a:pt x="155" y="182"/>
                      <a:pt x="155" y="179"/>
                    </a:cubicBezTo>
                    <a:cubicBezTo>
                      <a:pt x="154" y="175"/>
                      <a:pt x="154" y="174"/>
                      <a:pt x="156" y="173"/>
                    </a:cubicBezTo>
                    <a:cubicBezTo>
                      <a:pt x="158" y="172"/>
                      <a:pt x="160" y="174"/>
                      <a:pt x="159" y="170"/>
                    </a:cubicBezTo>
                    <a:cubicBezTo>
                      <a:pt x="157" y="166"/>
                      <a:pt x="153" y="154"/>
                      <a:pt x="150" y="150"/>
                    </a:cubicBezTo>
                    <a:cubicBezTo>
                      <a:pt x="148" y="145"/>
                      <a:pt x="143" y="137"/>
                      <a:pt x="142" y="133"/>
                    </a:cubicBezTo>
                    <a:cubicBezTo>
                      <a:pt x="140" y="129"/>
                      <a:pt x="137" y="128"/>
                      <a:pt x="139" y="122"/>
                    </a:cubicBezTo>
                    <a:cubicBezTo>
                      <a:pt x="142" y="116"/>
                      <a:pt x="148" y="107"/>
                      <a:pt x="149" y="103"/>
                    </a:cubicBezTo>
                    <a:cubicBezTo>
                      <a:pt x="150" y="100"/>
                      <a:pt x="150" y="95"/>
                      <a:pt x="148" y="94"/>
                    </a:cubicBezTo>
                    <a:cubicBezTo>
                      <a:pt x="146" y="93"/>
                      <a:pt x="144" y="90"/>
                      <a:pt x="142" y="87"/>
                    </a:cubicBezTo>
                    <a:cubicBezTo>
                      <a:pt x="140" y="84"/>
                      <a:pt x="136" y="78"/>
                      <a:pt x="134" y="78"/>
                    </a:cubicBezTo>
                    <a:cubicBezTo>
                      <a:pt x="133" y="78"/>
                      <a:pt x="129" y="76"/>
                      <a:pt x="127" y="74"/>
                    </a:cubicBezTo>
                    <a:cubicBezTo>
                      <a:pt x="124" y="71"/>
                      <a:pt x="122" y="68"/>
                      <a:pt x="123" y="63"/>
                    </a:cubicBezTo>
                    <a:cubicBezTo>
                      <a:pt x="123" y="59"/>
                      <a:pt x="126" y="55"/>
                      <a:pt x="125" y="52"/>
                    </a:cubicBezTo>
                    <a:cubicBezTo>
                      <a:pt x="124" y="49"/>
                      <a:pt x="121" y="50"/>
                      <a:pt x="123" y="47"/>
                    </a:cubicBezTo>
                    <a:cubicBezTo>
                      <a:pt x="125" y="44"/>
                      <a:pt x="129" y="43"/>
                      <a:pt x="129" y="43"/>
                    </a:cubicBezTo>
                    <a:cubicBezTo>
                      <a:pt x="129" y="43"/>
                      <a:pt x="124" y="40"/>
                      <a:pt x="126" y="35"/>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7" name="Freeform 8"/>
              <p:cNvSpPr>
                <a:spLocks/>
              </p:cNvSpPr>
              <p:nvPr/>
            </p:nvSpPr>
            <p:spPr bwMode="gray">
              <a:xfrm>
                <a:off x="2919" y="2151"/>
                <a:ext cx="8" cy="6"/>
              </a:xfrm>
              <a:custGeom>
                <a:avLst/>
                <a:gdLst>
                  <a:gd name="T0" fmla="*/ 0 w 3"/>
                  <a:gd name="T1" fmla="*/ 2 h 2"/>
                  <a:gd name="T2" fmla="*/ 3 w 3"/>
                  <a:gd name="T3" fmla="*/ 0 h 2"/>
                  <a:gd name="T4" fmla="*/ 2 w 3"/>
                  <a:gd name="T5" fmla="*/ 0 h 2"/>
                  <a:gd name="T6" fmla="*/ 0 w 3"/>
                  <a:gd name="T7" fmla="*/ 2 h 2"/>
                </a:gdLst>
                <a:ahLst/>
                <a:cxnLst>
                  <a:cxn ang="0">
                    <a:pos x="T0" y="T1"/>
                  </a:cxn>
                  <a:cxn ang="0">
                    <a:pos x="T2" y="T3"/>
                  </a:cxn>
                  <a:cxn ang="0">
                    <a:pos x="T4" y="T5"/>
                  </a:cxn>
                  <a:cxn ang="0">
                    <a:pos x="T6" y="T7"/>
                  </a:cxn>
                </a:cxnLst>
                <a:rect l="0" t="0" r="r" b="b"/>
                <a:pathLst>
                  <a:path w="3" h="2">
                    <a:moveTo>
                      <a:pt x="0" y="2"/>
                    </a:moveTo>
                    <a:cubicBezTo>
                      <a:pt x="1" y="2"/>
                      <a:pt x="3" y="0"/>
                      <a:pt x="3" y="0"/>
                    </a:cubicBezTo>
                    <a:cubicBezTo>
                      <a:pt x="3" y="0"/>
                      <a:pt x="2" y="0"/>
                      <a:pt x="2" y="0"/>
                    </a:cubicBezTo>
                    <a:cubicBezTo>
                      <a:pt x="1" y="1"/>
                      <a:pt x="0" y="2"/>
                      <a:pt x="0" y="2"/>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8" name="Freeform 9"/>
              <p:cNvSpPr>
                <a:spLocks/>
              </p:cNvSpPr>
              <p:nvPr/>
            </p:nvSpPr>
            <p:spPr bwMode="gray">
              <a:xfrm>
                <a:off x="2743" y="2235"/>
                <a:ext cx="205" cy="200"/>
              </a:xfrm>
              <a:custGeom>
                <a:avLst/>
                <a:gdLst>
                  <a:gd name="T0" fmla="*/ 76 w 78"/>
                  <a:gd name="T1" fmla="*/ 3 h 76"/>
                  <a:gd name="T2" fmla="*/ 74 w 78"/>
                  <a:gd name="T3" fmla="*/ 9 h 76"/>
                  <a:gd name="T4" fmla="*/ 68 w 78"/>
                  <a:gd name="T5" fmla="*/ 8 h 76"/>
                  <a:gd name="T6" fmla="*/ 61 w 78"/>
                  <a:gd name="T7" fmla="*/ 8 h 76"/>
                  <a:gd name="T8" fmla="*/ 56 w 78"/>
                  <a:gd name="T9" fmla="*/ 6 h 76"/>
                  <a:gd name="T10" fmla="*/ 51 w 78"/>
                  <a:gd name="T11" fmla="*/ 5 h 76"/>
                  <a:gd name="T12" fmla="*/ 46 w 78"/>
                  <a:gd name="T13" fmla="*/ 2 h 76"/>
                  <a:gd name="T14" fmla="*/ 39 w 78"/>
                  <a:gd name="T15" fmla="*/ 3 h 76"/>
                  <a:gd name="T16" fmla="*/ 35 w 78"/>
                  <a:gd name="T17" fmla="*/ 2 h 76"/>
                  <a:gd name="T18" fmla="*/ 33 w 78"/>
                  <a:gd name="T19" fmla="*/ 5 h 76"/>
                  <a:gd name="T20" fmla="*/ 27 w 78"/>
                  <a:gd name="T21" fmla="*/ 6 h 76"/>
                  <a:gd name="T22" fmla="*/ 18 w 78"/>
                  <a:gd name="T23" fmla="*/ 6 h 76"/>
                  <a:gd name="T24" fmla="*/ 13 w 78"/>
                  <a:gd name="T25" fmla="*/ 9 h 76"/>
                  <a:gd name="T26" fmla="*/ 10 w 78"/>
                  <a:gd name="T27" fmla="*/ 12 h 76"/>
                  <a:gd name="T28" fmla="*/ 9 w 78"/>
                  <a:gd name="T29" fmla="*/ 14 h 76"/>
                  <a:gd name="T30" fmla="*/ 6 w 78"/>
                  <a:gd name="T31" fmla="*/ 15 h 76"/>
                  <a:gd name="T32" fmla="*/ 2 w 78"/>
                  <a:gd name="T33" fmla="*/ 16 h 76"/>
                  <a:gd name="T34" fmla="*/ 2 w 78"/>
                  <a:gd name="T35" fmla="*/ 21 h 76"/>
                  <a:gd name="T36" fmla="*/ 4 w 78"/>
                  <a:gd name="T37" fmla="*/ 24 h 76"/>
                  <a:gd name="T38" fmla="*/ 2 w 78"/>
                  <a:gd name="T39" fmla="*/ 30 h 76"/>
                  <a:gd name="T40" fmla="*/ 7 w 78"/>
                  <a:gd name="T41" fmla="*/ 32 h 76"/>
                  <a:gd name="T42" fmla="*/ 8 w 78"/>
                  <a:gd name="T43" fmla="*/ 33 h 76"/>
                  <a:gd name="T44" fmla="*/ 4 w 78"/>
                  <a:gd name="T45" fmla="*/ 35 h 76"/>
                  <a:gd name="T46" fmla="*/ 4 w 78"/>
                  <a:gd name="T47" fmla="*/ 39 h 76"/>
                  <a:gd name="T48" fmla="*/ 7 w 78"/>
                  <a:gd name="T49" fmla="*/ 42 h 76"/>
                  <a:gd name="T50" fmla="*/ 10 w 78"/>
                  <a:gd name="T51" fmla="*/ 48 h 76"/>
                  <a:gd name="T52" fmla="*/ 16 w 78"/>
                  <a:gd name="T53" fmla="*/ 50 h 76"/>
                  <a:gd name="T54" fmla="*/ 20 w 78"/>
                  <a:gd name="T55" fmla="*/ 45 h 76"/>
                  <a:gd name="T56" fmla="*/ 21 w 78"/>
                  <a:gd name="T57" fmla="*/ 48 h 76"/>
                  <a:gd name="T58" fmla="*/ 20 w 78"/>
                  <a:gd name="T59" fmla="*/ 59 h 76"/>
                  <a:gd name="T60" fmla="*/ 19 w 78"/>
                  <a:gd name="T61" fmla="*/ 63 h 76"/>
                  <a:gd name="T62" fmla="*/ 26 w 78"/>
                  <a:gd name="T63" fmla="*/ 59 h 76"/>
                  <a:gd name="T64" fmla="*/ 32 w 78"/>
                  <a:gd name="T65" fmla="*/ 56 h 76"/>
                  <a:gd name="T66" fmla="*/ 36 w 78"/>
                  <a:gd name="T67" fmla="*/ 58 h 76"/>
                  <a:gd name="T68" fmla="*/ 39 w 78"/>
                  <a:gd name="T69" fmla="*/ 59 h 76"/>
                  <a:gd name="T70" fmla="*/ 45 w 78"/>
                  <a:gd name="T71" fmla="*/ 64 h 76"/>
                  <a:gd name="T72" fmla="*/ 53 w 78"/>
                  <a:gd name="T73" fmla="*/ 71 h 76"/>
                  <a:gd name="T74" fmla="*/ 59 w 78"/>
                  <a:gd name="T75" fmla="*/ 74 h 76"/>
                  <a:gd name="T76" fmla="*/ 65 w 78"/>
                  <a:gd name="T77" fmla="*/ 72 h 76"/>
                  <a:gd name="T78" fmla="*/ 72 w 78"/>
                  <a:gd name="T79" fmla="*/ 74 h 76"/>
                  <a:gd name="T80" fmla="*/ 72 w 78"/>
                  <a:gd name="T81" fmla="*/ 68 h 76"/>
                  <a:gd name="T82" fmla="*/ 77 w 78"/>
                  <a:gd name="T83" fmla="*/ 61 h 76"/>
                  <a:gd name="T84" fmla="*/ 74 w 78"/>
                  <a:gd name="T85" fmla="*/ 57 h 76"/>
                  <a:gd name="T86" fmla="*/ 72 w 78"/>
                  <a:gd name="T87" fmla="*/ 53 h 76"/>
                  <a:gd name="T88" fmla="*/ 71 w 78"/>
                  <a:gd name="T89" fmla="*/ 46 h 76"/>
                  <a:gd name="T90" fmla="*/ 70 w 78"/>
                  <a:gd name="T91" fmla="*/ 37 h 76"/>
                  <a:gd name="T92" fmla="*/ 69 w 78"/>
                  <a:gd name="T93" fmla="*/ 27 h 76"/>
                  <a:gd name="T94" fmla="*/ 74 w 78"/>
                  <a:gd name="T95" fmla="*/ 20 h 76"/>
                  <a:gd name="T96" fmla="*/ 77 w 78"/>
                  <a:gd name="T97" fmla="*/ 11 h 76"/>
                  <a:gd name="T98" fmla="*/ 77 w 78"/>
                  <a:gd name="T99" fmla="*/ 8 h 76"/>
                  <a:gd name="T100" fmla="*/ 76 w 78"/>
                  <a:gd name="T101" fmla="*/ 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8" h="76">
                    <a:moveTo>
                      <a:pt x="76" y="3"/>
                    </a:moveTo>
                    <a:cubicBezTo>
                      <a:pt x="76" y="3"/>
                      <a:pt x="75" y="8"/>
                      <a:pt x="74" y="9"/>
                    </a:cubicBezTo>
                    <a:cubicBezTo>
                      <a:pt x="73" y="10"/>
                      <a:pt x="70" y="9"/>
                      <a:pt x="68" y="8"/>
                    </a:cubicBezTo>
                    <a:cubicBezTo>
                      <a:pt x="67" y="7"/>
                      <a:pt x="63" y="8"/>
                      <a:pt x="61" y="8"/>
                    </a:cubicBezTo>
                    <a:cubicBezTo>
                      <a:pt x="59" y="8"/>
                      <a:pt x="58" y="8"/>
                      <a:pt x="56" y="6"/>
                    </a:cubicBezTo>
                    <a:cubicBezTo>
                      <a:pt x="55" y="4"/>
                      <a:pt x="53" y="4"/>
                      <a:pt x="51" y="5"/>
                    </a:cubicBezTo>
                    <a:cubicBezTo>
                      <a:pt x="49" y="5"/>
                      <a:pt x="47" y="2"/>
                      <a:pt x="46" y="2"/>
                    </a:cubicBezTo>
                    <a:cubicBezTo>
                      <a:pt x="44" y="2"/>
                      <a:pt x="40" y="3"/>
                      <a:pt x="39" y="3"/>
                    </a:cubicBezTo>
                    <a:cubicBezTo>
                      <a:pt x="38" y="3"/>
                      <a:pt x="37" y="4"/>
                      <a:pt x="35" y="2"/>
                    </a:cubicBezTo>
                    <a:cubicBezTo>
                      <a:pt x="33" y="0"/>
                      <a:pt x="33" y="4"/>
                      <a:pt x="33" y="5"/>
                    </a:cubicBezTo>
                    <a:cubicBezTo>
                      <a:pt x="32" y="7"/>
                      <a:pt x="30" y="6"/>
                      <a:pt x="27" y="6"/>
                    </a:cubicBezTo>
                    <a:cubicBezTo>
                      <a:pt x="25" y="5"/>
                      <a:pt x="20" y="6"/>
                      <a:pt x="18" y="6"/>
                    </a:cubicBezTo>
                    <a:cubicBezTo>
                      <a:pt x="17" y="7"/>
                      <a:pt x="15" y="7"/>
                      <a:pt x="13" y="9"/>
                    </a:cubicBezTo>
                    <a:cubicBezTo>
                      <a:pt x="12" y="11"/>
                      <a:pt x="9" y="11"/>
                      <a:pt x="10" y="12"/>
                    </a:cubicBezTo>
                    <a:cubicBezTo>
                      <a:pt x="11" y="13"/>
                      <a:pt x="11" y="14"/>
                      <a:pt x="9" y="14"/>
                    </a:cubicBezTo>
                    <a:cubicBezTo>
                      <a:pt x="8" y="14"/>
                      <a:pt x="7" y="14"/>
                      <a:pt x="6" y="15"/>
                    </a:cubicBezTo>
                    <a:cubicBezTo>
                      <a:pt x="4" y="16"/>
                      <a:pt x="3" y="15"/>
                      <a:pt x="2" y="16"/>
                    </a:cubicBezTo>
                    <a:cubicBezTo>
                      <a:pt x="0" y="17"/>
                      <a:pt x="0" y="20"/>
                      <a:pt x="2" y="21"/>
                    </a:cubicBezTo>
                    <a:cubicBezTo>
                      <a:pt x="3" y="21"/>
                      <a:pt x="6" y="22"/>
                      <a:pt x="4" y="24"/>
                    </a:cubicBezTo>
                    <a:cubicBezTo>
                      <a:pt x="2" y="26"/>
                      <a:pt x="1" y="29"/>
                      <a:pt x="2" y="30"/>
                    </a:cubicBezTo>
                    <a:cubicBezTo>
                      <a:pt x="3" y="31"/>
                      <a:pt x="5" y="33"/>
                      <a:pt x="7" y="32"/>
                    </a:cubicBezTo>
                    <a:cubicBezTo>
                      <a:pt x="8" y="31"/>
                      <a:pt x="9" y="31"/>
                      <a:pt x="8" y="33"/>
                    </a:cubicBezTo>
                    <a:cubicBezTo>
                      <a:pt x="7" y="34"/>
                      <a:pt x="4" y="34"/>
                      <a:pt x="4" y="35"/>
                    </a:cubicBezTo>
                    <a:cubicBezTo>
                      <a:pt x="3" y="37"/>
                      <a:pt x="2" y="38"/>
                      <a:pt x="4" y="39"/>
                    </a:cubicBezTo>
                    <a:cubicBezTo>
                      <a:pt x="6" y="39"/>
                      <a:pt x="6" y="40"/>
                      <a:pt x="7" y="42"/>
                    </a:cubicBezTo>
                    <a:cubicBezTo>
                      <a:pt x="7" y="45"/>
                      <a:pt x="8" y="47"/>
                      <a:pt x="10" y="48"/>
                    </a:cubicBezTo>
                    <a:cubicBezTo>
                      <a:pt x="13" y="49"/>
                      <a:pt x="14" y="52"/>
                      <a:pt x="16" y="50"/>
                    </a:cubicBezTo>
                    <a:cubicBezTo>
                      <a:pt x="17" y="47"/>
                      <a:pt x="18" y="44"/>
                      <a:pt x="20" y="45"/>
                    </a:cubicBezTo>
                    <a:cubicBezTo>
                      <a:pt x="22" y="46"/>
                      <a:pt x="22" y="46"/>
                      <a:pt x="21" y="48"/>
                    </a:cubicBezTo>
                    <a:cubicBezTo>
                      <a:pt x="20" y="51"/>
                      <a:pt x="21" y="57"/>
                      <a:pt x="20" y="59"/>
                    </a:cubicBezTo>
                    <a:cubicBezTo>
                      <a:pt x="20" y="60"/>
                      <a:pt x="18" y="64"/>
                      <a:pt x="19" y="63"/>
                    </a:cubicBezTo>
                    <a:cubicBezTo>
                      <a:pt x="21" y="62"/>
                      <a:pt x="24" y="60"/>
                      <a:pt x="26" y="59"/>
                    </a:cubicBezTo>
                    <a:cubicBezTo>
                      <a:pt x="29" y="58"/>
                      <a:pt x="31" y="54"/>
                      <a:pt x="32" y="56"/>
                    </a:cubicBezTo>
                    <a:cubicBezTo>
                      <a:pt x="33" y="58"/>
                      <a:pt x="35" y="60"/>
                      <a:pt x="36" y="58"/>
                    </a:cubicBezTo>
                    <a:cubicBezTo>
                      <a:pt x="37" y="55"/>
                      <a:pt x="37" y="58"/>
                      <a:pt x="39" y="59"/>
                    </a:cubicBezTo>
                    <a:cubicBezTo>
                      <a:pt x="41" y="61"/>
                      <a:pt x="42" y="62"/>
                      <a:pt x="45" y="64"/>
                    </a:cubicBezTo>
                    <a:cubicBezTo>
                      <a:pt x="48" y="65"/>
                      <a:pt x="50" y="69"/>
                      <a:pt x="53" y="71"/>
                    </a:cubicBezTo>
                    <a:cubicBezTo>
                      <a:pt x="55" y="73"/>
                      <a:pt x="58" y="76"/>
                      <a:pt x="59" y="74"/>
                    </a:cubicBezTo>
                    <a:cubicBezTo>
                      <a:pt x="61" y="71"/>
                      <a:pt x="62" y="70"/>
                      <a:pt x="65" y="72"/>
                    </a:cubicBezTo>
                    <a:cubicBezTo>
                      <a:pt x="68" y="74"/>
                      <a:pt x="72" y="74"/>
                      <a:pt x="72" y="74"/>
                    </a:cubicBezTo>
                    <a:cubicBezTo>
                      <a:pt x="72" y="73"/>
                      <a:pt x="71" y="70"/>
                      <a:pt x="72" y="68"/>
                    </a:cubicBezTo>
                    <a:cubicBezTo>
                      <a:pt x="74" y="66"/>
                      <a:pt x="78" y="63"/>
                      <a:pt x="77" y="61"/>
                    </a:cubicBezTo>
                    <a:cubicBezTo>
                      <a:pt x="76" y="60"/>
                      <a:pt x="74" y="58"/>
                      <a:pt x="74" y="57"/>
                    </a:cubicBezTo>
                    <a:cubicBezTo>
                      <a:pt x="74" y="55"/>
                      <a:pt x="72" y="55"/>
                      <a:pt x="72" y="53"/>
                    </a:cubicBezTo>
                    <a:cubicBezTo>
                      <a:pt x="71" y="52"/>
                      <a:pt x="70" y="49"/>
                      <a:pt x="71" y="46"/>
                    </a:cubicBezTo>
                    <a:cubicBezTo>
                      <a:pt x="71" y="43"/>
                      <a:pt x="70" y="39"/>
                      <a:pt x="70" y="37"/>
                    </a:cubicBezTo>
                    <a:cubicBezTo>
                      <a:pt x="69" y="35"/>
                      <a:pt x="67" y="30"/>
                      <a:pt x="69" y="27"/>
                    </a:cubicBezTo>
                    <a:cubicBezTo>
                      <a:pt x="70" y="25"/>
                      <a:pt x="73" y="23"/>
                      <a:pt x="74" y="20"/>
                    </a:cubicBezTo>
                    <a:cubicBezTo>
                      <a:pt x="74" y="16"/>
                      <a:pt x="76" y="12"/>
                      <a:pt x="77" y="11"/>
                    </a:cubicBezTo>
                    <a:cubicBezTo>
                      <a:pt x="78" y="11"/>
                      <a:pt x="78" y="9"/>
                      <a:pt x="77" y="8"/>
                    </a:cubicBezTo>
                    <a:cubicBezTo>
                      <a:pt x="76" y="6"/>
                      <a:pt x="77" y="5"/>
                      <a:pt x="76" y="3"/>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9" name="Freeform 10"/>
              <p:cNvSpPr>
                <a:spLocks/>
              </p:cNvSpPr>
              <p:nvPr/>
            </p:nvSpPr>
            <p:spPr bwMode="gray">
              <a:xfrm>
                <a:off x="2683" y="2325"/>
                <a:ext cx="66" cy="68"/>
              </a:xfrm>
              <a:custGeom>
                <a:avLst/>
                <a:gdLst>
                  <a:gd name="T0" fmla="*/ 22 w 25"/>
                  <a:gd name="T1" fmla="*/ 6 h 26"/>
                  <a:gd name="T2" fmla="*/ 23 w 25"/>
                  <a:gd name="T3" fmla="*/ 1 h 26"/>
                  <a:gd name="T4" fmla="*/ 20 w 25"/>
                  <a:gd name="T5" fmla="*/ 3 h 26"/>
                  <a:gd name="T6" fmla="*/ 18 w 25"/>
                  <a:gd name="T7" fmla="*/ 4 h 26"/>
                  <a:gd name="T8" fmla="*/ 15 w 25"/>
                  <a:gd name="T9" fmla="*/ 4 h 26"/>
                  <a:gd name="T10" fmla="*/ 11 w 25"/>
                  <a:gd name="T11" fmla="*/ 4 h 26"/>
                  <a:gd name="T12" fmla="*/ 7 w 25"/>
                  <a:gd name="T13" fmla="*/ 6 h 26"/>
                  <a:gd name="T14" fmla="*/ 3 w 25"/>
                  <a:gd name="T15" fmla="*/ 8 h 26"/>
                  <a:gd name="T16" fmla="*/ 0 w 25"/>
                  <a:gd name="T17" fmla="*/ 9 h 26"/>
                  <a:gd name="T18" fmla="*/ 2 w 25"/>
                  <a:gd name="T19" fmla="*/ 15 h 26"/>
                  <a:gd name="T20" fmla="*/ 4 w 25"/>
                  <a:gd name="T21" fmla="*/ 20 h 26"/>
                  <a:gd name="T22" fmla="*/ 4 w 25"/>
                  <a:gd name="T23" fmla="*/ 25 h 26"/>
                  <a:gd name="T24" fmla="*/ 7 w 25"/>
                  <a:gd name="T25" fmla="*/ 21 h 26"/>
                  <a:gd name="T26" fmla="*/ 10 w 25"/>
                  <a:gd name="T27" fmla="*/ 16 h 26"/>
                  <a:gd name="T28" fmla="*/ 16 w 25"/>
                  <a:gd name="T29" fmla="*/ 16 h 26"/>
                  <a:gd name="T30" fmla="*/ 21 w 25"/>
                  <a:gd name="T31" fmla="*/ 10 h 26"/>
                  <a:gd name="T32" fmla="*/ 22 w 25"/>
                  <a:gd name="T33"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26">
                    <a:moveTo>
                      <a:pt x="22" y="6"/>
                    </a:moveTo>
                    <a:cubicBezTo>
                      <a:pt x="24" y="4"/>
                      <a:pt x="25" y="3"/>
                      <a:pt x="23" y="1"/>
                    </a:cubicBezTo>
                    <a:cubicBezTo>
                      <a:pt x="21" y="0"/>
                      <a:pt x="19" y="0"/>
                      <a:pt x="20" y="3"/>
                    </a:cubicBezTo>
                    <a:cubicBezTo>
                      <a:pt x="20" y="6"/>
                      <a:pt x="19" y="7"/>
                      <a:pt x="18" y="4"/>
                    </a:cubicBezTo>
                    <a:cubicBezTo>
                      <a:pt x="17" y="2"/>
                      <a:pt x="16" y="3"/>
                      <a:pt x="15" y="4"/>
                    </a:cubicBezTo>
                    <a:cubicBezTo>
                      <a:pt x="14" y="5"/>
                      <a:pt x="13" y="5"/>
                      <a:pt x="11" y="4"/>
                    </a:cubicBezTo>
                    <a:cubicBezTo>
                      <a:pt x="10" y="3"/>
                      <a:pt x="8" y="5"/>
                      <a:pt x="7" y="6"/>
                    </a:cubicBezTo>
                    <a:cubicBezTo>
                      <a:pt x="6" y="7"/>
                      <a:pt x="5" y="8"/>
                      <a:pt x="3" y="8"/>
                    </a:cubicBezTo>
                    <a:cubicBezTo>
                      <a:pt x="2" y="8"/>
                      <a:pt x="0" y="7"/>
                      <a:pt x="0" y="9"/>
                    </a:cubicBezTo>
                    <a:cubicBezTo>
                      <a:pt x="1" y="12"/>
                      <a:pt x="1" y="13"/>
                      <a:pt x="2" y="15"/>
                    </a:cubicBezTo>
                    <a:cubicBezTo>
                      <a:pt x="3" y="17"/>
                      <a:pt x="5" y="19"/>
                      <a:pt x="4" y="20"/>
                    </a:cubicBezTo>
                    <a:cubicBezTo>
                      <a:pt x="4" y="22"/>
                      <a:pt x="2" y="26"/>
                      <a:pt x="4" y="25"/>
                    </a:cubicBezTo>
                    <a:cubicBezTo>
                      <a:pt x="6" y="25"/>
                      <a:pt x="7" y="25"/>
                      <a:pt x="7" y="21"/>
                    </a:cubicBezTo>
                    <a:cubicBezTo>
                      <a:pt x="8" y="16"/>
                      <a:pt x="8" y="15"/>
                      <a:pt x="10" y="16"/>
                    </a:cubicBezTo>
                    <a:cubicBezTo>
                      <a:pt x="12" y="16"/>
                      <a:pt x="15" y="18"/>
                      <a:pt x="16" y="16"/>
                    </a:cubicBezTo>
                    <a:cubicBezTo>
                      <a:pt x="18" y="14"/>
                      <a:pt x="19" y="11"/>
                      <a:pt x="21" y="10"/>
                    </a:cubicBezTo>
                    <a:cubicBezTo>
                      <a:pt x="22" y="10"/>
                      <a:pt x="23" y="8"/>
                      <a:pt x="22" y="6"/>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90" name="Freeform 11"/>
              <p:cNvSpPr>
                <a:spLocks/>
              </p:cNvSpPr>
              <p:nvPr/>
            </p:nvSpPr>
            <p:spPr bwMode="gray">
              <a:xfrm>
                <a:off x="2688" y="2291"/>
                <a:ext cx="40" cy="34"/>
              </a:xfrm>
              <a:custGeom>
                <a:avLst/>
                <a:gdLst>
                  <a:gd name="T0" fmla="*/ 13 w 15"/>
                  <a:gd name="T1" fmla="*/ 5 h 13"/>
                  <a:gd name="T2" fmla="*/ 10 w 15"/>
                  <a:gd name="T3" fmla="*/ 2 h 13"/>
                  <a:gd name="T4" fmla="*/ 7 w 15"/>
                  <a:gd name="T5" fmla="*/ 2 h 13"/>
                  <a:gd name="T6" fmla="*/ 2 w 15"/>
                  <a:gd name="T7" fmla="*/ 5 h 13"/>
                  <a:gd name="T8" fmla="*/ 3 w 15"/>
                  <a:gd name="T9" fmla="*/ 7 h 13"/>
                  <a:gd name="T10" fmla="*/ 7 w 15"/>
                  <a:gd name="T11" fmla="*/ 11 h 13"/>
                  <a:gd name="T12" fmla="*/ 9 w 15"/>
                  <a:gd name="T13" fmla="*/ 13 h 13"/>
                  <a:gd name="T14" fmla="*/ 14 w 15"/>
                  <a:gd name="T15" fmla="*/ 9 h 13"/>
                  <a:gd name="T16" fmla="*/ 13 w 15"/>
                  <a:gd name="T17"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3">
                    <a:moveTo>
                      <a:pt x="13" y="5"/>
                    </a:moveTo>
                    <a:cubicBezTo>
                      <a:pt x="12" y="2"/>
                      <a:pt x="11" y="4"/>
                      <a:pt x="10" y="2"/>
                    </a:cubicBezTo>
                    <a:cubicBezTo>
                      <a:pt x="9" y="0"/>
                      <a:pt x="8" y="0"/>
                      <a:pt x="7" y="2"/>
                    </a:cubicBezTo>
                    <a:cubicBezTo>
                      <a:pt x="5" y="3"/>
                      <a:pt x="4" y="5"/>
                      <a:pt x="2" y="5"/>
                    </a:cubicBezTo>
                    <a:cubicBezTo>
                      <a:pt x="0" y="5"/>
                      <a:pt x="1" y="6"/>
                      <a:pt x="3" y="7"/>
                    </a:cubicBezTo>
                    <a:cubicBezTo>
                      <a:pt x="5" y="8"/>
                      <a:pt x="6" y="9"/>
                      <a:pt x="7" y="11"/>
                    </a:cubicBezTo>
                    <a:cubicBezTo>
                      <a:pt x="7" y="13"/>
                      <a:pt x="8" y="13"/>
                      <a:pt x="9" y="13"/>
                    </a:cubicBezTo>
                    <a:cubicBezTo>
                      <a:pt x="11" y="13"/>
                      <a:pt x="13" y="11"/>
                      <a:pt x="14" y="9"/>
                    </a:cubicBezTo>
                    <a:cubicBezTo>
                      <a:pt x="15" y="7"/>
                      <a:pt x="13" y="5"/>
                      <a:pt x="13" y="5"/>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91" name="Freeform 12"/>
              <p:cNvSpPr>
                <a:spLocks/>
              </p:cNvSpPr>
              <p:nvPr/>
            </p:nvSpPr>
            <p:spPr bwMode="gray">
              <a:xfrm>
                <a:off x="2728" y="2285"/>
                <a:ext cx="10" cy="19"/>
              </a:xfrm>
              <a:custGeom>
                <a:avLst/>
                <a:gdLst>
                  <a:gd name="T0" fmla="*/ 2 w 4"/>
                  <a:gd name="T1" fmla="*/ 1 h 7"/>
                  <a:gd name="T2" fmla="*/ 2 w 4"/>
                  <a:gd name="T3" fmla="*/ 6 h 7"/>
                  <a:gd name="T4" fmla="*/ 4 w 4"/>
                  <a:gd name="T5" fmla="*/ 3 h 7"/>
                  <a:gd name="T6" fmla="*/ 2 w 4"/>
                  <a:gd name="T7" fmla="*/ 1 h 7"/>
                </a:gdLst>
                <a:ahLst/>
                <a:cxnLst>
                  <a:cxn ang="0">
                    <a:pos x="T0" y="T1"/>
                  </a:cxn>
                  <a:cxn ang="0">
                    <a:pos x="T2" y="T3"/>
                  </a:cxn>
                  <a:cxn ang="0">
                    <a:pos x="T4" y="T5"/>
                  </a:cxn>
                  <a:cxn ang="0">
                    <a:pos x="T6" y="T7"/>
                  </a:cxn>
                </a:cxnLst>
                <a:rect l="0" t="0" r="r" b="b"/>
                <a:pathLst>
                  <a:path w="4" h="7">
                    <a:moveTo>
                      <a:pt x="2" y="1"/>
                    </a:moveTo>
                    <a:cubicBezTo>
                      <a:pt x="1" y="1"/>
                      <a:pt x="0" y="4"/>
                      <a:pt x="2" y="6"/>
                    </a:cubicBezTo>
                    <a:cubicBezTo>
                      <a:pt x="4" y="7"/>
                      <a:pt x="4" y="5"/>
                      <a:pt x="4" y="3"/>
                    </a:cubicBezTo>
                    <a:cubicBezTo>
                      <a:pt x="4" y="1"/>
                      <a:pt x="4" y="0"/>
                      <a:pt x="2"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92" name="Freeform 13"/>
              <p:cNvSpPr>
                <a:spLocks/>
              </p:cNvSpPr>
              <p:nvPr/>
            </p:nvSpPr>
            <p:spPr bwMode="gray">
              <a:xfrm>
                <a:off x="2654" y="2377"/>
                <a:ext cx="326" cy="205"/>
              </a:xfrm>
              <a:custGeom>
                <a:avLst/>
                <a:gdLst>
                  <a:gd name="T0" fmla="*/ 53 w 124"/>
                  <a:gd name="T1" fmla="*/ 9 h 78"/>
                  <a:gd name="T2" fmla="*/ 54 w 124"/>
                  <a:gd name="T3" fmla="*/ 15 h 78"/>
                  <a:gd name="T4" fmla="*/ 56 w 124"/>
                  <a:gd name="T5" fmla="*/ 23 h 78"/>
                  <a:gd name="T6" fmla="*/ 55 w 124"/>
                  <a:gd name="T7" fmla="*/ 29 h 78"/>
                  <a:gd name="T8" fmla="*/ 51 w 124"/>
                  <a:gd name="T9" fmla="*/ 36 h 78"/>
                  <a:gd name="T10" fmla="*/ 44 w 124"/>
                  <a:gd name="T11" fmla="*/ 38 h 78"/>
                  <a:gd name="T12" fmla="*/ 41 w 124"/>
                  <a:gd name="T13" fmla="*/ 36 h 78"/>
                  <a:gd name="T14" fmla="*/ 37 w 124"/>
                  <a:gd name="T15" fmla="*/ 32 h 78"/>
                  <a:gd name="T16" fmla="*/ 34 w 124"/>
                  <a:gd name="T17" fmla="*/ 25 h 78"/>
                  <a:gd name="T18" fmla="*/ 29 w 124"/>
                  <a:gd name="T19" fmla="*/ 21 h 78"/>
                  <a:gd name="T20" fmla="*/ 25 w 124"/>
                  <a:gd name="T21" fmla="*/ 14 h 78"/>
                  <a:gd name="T22" fmla="*/ 21 w 124"/>
                  <a:gd name="T23" fmla="*/ 14 h 78"/>
                  <a:gd name="T24" fmla="*/ 15 w 124"/>
                  <a:gd name="T25" fmla="*/ 17 h 78"/>
                  <a:gd name="T26" fmla="*/ 10 w 124"/>
                  <a:gd name="T27" fmla="*/ 19 h 78"/>
                  <a:gd name="T28" fmla="*/ 7 w 124"/>
                  <a:gd name="T29" fmla="*/ 26 h 78"/>
                  <a:gd name="T30" fmla="*/ 5 w 124"/>
                  <a:gd name="T31" fmla="*/ 32 h 78"/>
                  <a:gd name="T32" fmla="*/ 5 w 124"/>
                  <a:gd name="T33" fmla="*/ 37 h 78"/>
                  <a:gd name="T34" fmla="*/ 2 w 124"/>
                  <a:gd name="T35" fmla="*/ 42 h 78"/>
                  <a:gd name="T36" fmla="*/ 0 w 124"/>
                  <a:gd name="T37" fmla="*/ 46 h 78"/>
                  <a:gd name="T38" fmla="*/ 0 w 124"/>
                  <a:gd name="T39" fmla="*/ 53 h 78"/>
                  <a:gd name="T40" fmla="*/ 1 w 124"/>
                  <a:gd name="T41" fmla="*/ 60 h 78"/>
                  <a:gd name="T42" fmla="*/ 2 w 124"/>
                  <a:gd name="T43" fmla="*/ 65 h 78"/>
                  <a:gd name="T44" fmla="*/ 5 w 124"/>
                  <a:gd name="T45" fmla="*/ 65 h 78"/>
                  <a:gd name="T46" fmla="*/ 10 w 124"/>
                  <a:gd name="T47" fmla="*/ 59 h 78"/>
                  <a:gd name="T48" fmla="*/ 19 w 124"/>
                  <a:gd name="T49" fmla="*/ 56 h 78"/>
                  <a:gd name="T50" fmla="*/ 27 w 124"/>
                  <a:gd name="T51" fmla="*/ 56 h 78"/>
                  <a:gd name="T52" fmla="*/ 35 w 124"/>
                  <a:gd name="T53" fmla="*/ 57 h 78"/>
                  <a:gd name="T54" fmla="*/ 39 w 124"/>
                  <a:gd name="T55" fmla="*/ 59 h 78"/>
                  <a:gd name="T56" fmla="*/ 44 w 124"/>
                  <a:gd name="T57" fmla="*/ 58 h 78"/>
                  <a:gd name="T58" fmla="*/ 52 w 124"/>
                  <a:gd name="T59" fmla="*/ 59 h 78"/>
                  <a:gd name="T60" fmla="*/ 61 w 124"/>
                  <a:gd name="T61" fmla="*/ 60 h 78"/>
                  <a:gd name="T62" fmla="*/ 66 w 124"/>
                  <a:gd name="T63" fmla="*/ 56 h 78"/>
                  <a:gd name="T64" fmla="*/ 69 w 124"/>
                  <a:gd name="T65" fmla="*/ 60 h 78"/>
                  <a:gd name="T66" fmla="*/ 74 w 124"/>
                  <a:gd name="T67" fmla="*/ 63 h 78"/>
                  <a:gd name="T68" fmla="*/ 81 w 124"/>
                  <a:gd name="T69" fmla="*/ 65 h 78"/>
                  <a:gd name="T70" fmla="*/ 88 w 124"/>
                  <a:gd name="T71" fmla="*/ 71 h 78"/>
                  <a:gd name="T72" fmla="*/ 94 w 124"/>
                  <a:gd name="T73" fmla="*/ 77 h 78"/>
                  <a:gd name="T74" fmla="*/ 99 w 124"/>
                  <a:gd name="T75" fmla="*/ 78 h 78"/>
                  <a:gd name="T76" fmla="*/ 105 w 124"/>
                  <a:gd name="T77" fmla="*/ 73 h 78"/>
                  <a:gd name="T78" fmla="*/ 111 w 124"/>
                  <a:gd name="T79" fmla="*/ 75 h 78"/>
                  <a:gd name="T80" fmla="*/ 115 w 124"/>
                  <a:gd name="T81" fmla="*/ 72 h 78"/>
                  <a:gd name="T82" fmla="*/ 120 w 124"/>
                  <a:gd name="T83" fmla="*/ 66 h 78"/>
                  <a:gd name="T84" fmla="*/ 124 w 124"/>
                  <a:gd name="T85" fmla="*/ 66 h 78"/>
                  <a:gd name="T86" fmla="*/ 124 w 124"/>
                  <a:gd name="T87" fmla="*/ 66 h 78"/>
                  <a:gd name="T88" fmla="*/ 124 w 124"/>
                  <a:gd name="T89" fmla="*/ 65 h 78"/>
                  <a:gd name="T90" fmla="*/ 123 w 124"/>
                  <a:gd name="T91" fmla="*/ 59 h 78"/>
                  <a:gd name="T92" fmla="*/ 120 w 124"/>
                  <a:gd name="T93" fmla="*/ 50 h 78"/>
                  <a:gd name="T94" fmla="*/ 116 w 124"/>
                  <a:gd name="T95" fmla="*/ 43 h 78"/>
                  <a:gd name="T96" fmla="*/ 114 w 124"/>
                  <a:gd name="T97" fmla="*/ 40 h 78"/>
                  <a:gd name="T98" fmla="*/ 114 w 124"/>
                  <a:gd name="T99" fmla="*/ 29 h 78"/>
                  <a:gd name="T100" fmla="*/ 112 w 124"/>
                  <a:gd name="T101" fmla="*/ 26 h 78"/>
                  <a:gd name="T102" fmla="*/ 106 w 124"/>
                  <a:gd name="T103" fmla="*/ 20 h 78"/>
                  <a:gd name="T104" fmla="*/ 99 w 124"/>
                  <a:gd name="T105" fmla="*/ 18 h 78"/>
                  <a:gd name="T106" fmla="*/ 93 w 124"/>
                  <a:gd name="T107" fmla="*/ 20 h 78"/>
                  <a:gd name="T108" fmla="*/ 87 w 124"/>
                  <a:gd name="T109" fmla="*/ 17 h 78"/>
                  <a:gd name="T110" fmla="*/ 79 w 124"/>
                  <a:gd name="T111" fmla="*/ 10 h 78"/>
                  <a:gd name="T112" fmla="*/ 73 w 124"/>
                  <a:gd name="T113" fmla="*/ 5 h 78"/>
                  <a:gd name="T114" fmla="*/ 70 w 124"/>
                  <a:gd name="T115" fmla="*/ 4 h 78"/>
                  <a:gd name="T116" fmla="*/ 66 w 124"/>
                  <a:gd name="T117" fmla="*/ 2 h 78"/>
                  <a:gd name="T118" fmla="*/ 60 w 124"/>
                  <a:gd name="T119" fmla="*/ 5 h 78"/>
                  <a:gd name="T120" fmla="*/ 53 w 124"/>
                  <a:gd name="T121" fmla="*/ 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4" h="78">
                    <a:moveTo>
                      <a:pt x="53" y="9"/>
                    </a:moveTo>
                    <a:cubicBezTo>
                      <a:pt x="53" y="9"/>
                      <a:pt x="53" y="12"/>
                      <a:pt x="54" y="15"/>
                    </a:cubicBezTo>
                    <a:cubicBezTo>
                      <a:pt x="55" y="18"/>
                      <a:pt x="55" y="21"/>
                      <a:pt x="56" y="23"/>
                    </a:cubicBezTo>
                    <a:cubicBezTo>
                      <a:pt x="56" y="26"/>
                      <a:pt x="56" y="28"/>
                      <a:pt x="55" y="29"/>
                    </a:cubicBezTo>
                    <a:cubicBezTo>
                      <a:pt x="54" y="30"/>
                      <a:pt x="53" y="34"/>
                      <a:pt x="51" y="36"/>
                    </a:cubicBezTo>
                    <a:cubicBezTo>
                      <a:pt x="49" y="37"/>
                      <a:pt x="46" y="38"/>
                      <a:pt x="44" y="38"/>
                    </a:cubicBezTo>
                    <a:cubicBezTo>
                      <a:pt x="42" y="38"/>
                      <a:pt x="42" y="37"/>
                      <a:pt x="41" y="36"/>
                    </a:cubicBezTo>
                    <a:cubicBezTo>
                      <a:pt x="39" y="34"/>
                      <a:pt x="37" y="35"/>
                      <a:pt x="37" y="32"/>
                    </a:cubicBezTo>
                    <a:cubicBezTo>
                      <a:pt x="36" y="30"/>
                      <a:pt x="35" y="27"/>
                      <a:pt x="34" y="25"/>
                    </a:cubicBezTo>
                    <a:cubicBezTo>
                      <a:pt x="33" y="23"/>
                      <a:pt x="30" y="23"/>
                      <a:pt x="29" y="21"/>
                    </a:cubicBezTo>
                    <a:cubicBezTo>
                      <a:pt x="27" y="18"/>
                      <a:pt x="26" y="17"/>
                      <a:pt x="25" y="14"/>
                    </a:cubicBezTo>
                    <a:cubicBezTo>
                      <a:pt x="23" y="11"/>
                      <a:pt x="24" y="13"/>
                      <a:pt x="21" y="14"/>
                    </a:cubicBezTo>
                    <a:cubicBezTo>
                      <a:pt x="19" y="16"/>
                      <a:pt x="16" y="16"/>
                      <a:pt x="15" y="17"/>
                    </a:cubicBezTo>
                    <a:cubicBezTo>
                      <a:pt x="14" y="18"/>
                      <a:pt x="12" y="17"/>
                      <a:pt x="10" y="19"/>
                    </a:cubicBezTo>
                    <a:cubicBezTo>
                      <a:pt x="8" y="20"/>
                      <a:pt x="9" y="23"/>
                      <a:pt x="7" y="26"/>
                    </a:cubicBezTo>
                    <a:cubicBezTo>
                      <a:pt x="6" y="28"/>
                      <a:pt x="5" y="29"/>
                      <a:pt x="5" y="32"/>
                    </a:cubicBezTo>
                    <a:cubicBezTo>
                      <a:pt x="6" y="35"/>
                      <a:pt x="7" y="34"/>
                      <a:pt x="5" y="37"/>
                    </a:cubicBezTo>
                    <a:cubicBezTo>
                      <a:pt x="3" y="39"/>
                      <a:pt x="3" y="40"/>
                      <a:pt x="2" y="42"/>
                    </a:cubicBezTo>
                    <a:cubicBezTo>
                      <a:pt x="0" y="43"/>
                      <a:pt x="0" y="44"/>
                      <a:pt x="0" y="46"/>
                    </a:cubicBezTo>
                    <a:cubicBezTo>
                      <a:pt x="1" y="48"/>
                      <a:pt x="1" y="51"/>
                      <a:pt x="0" y="53"/>
                    </a:cubicBezTo>
                    <a:cubicBezTo>
                      <a:pt x="0" y="55"/>
                      <a:pt x="0" y="58"/>
                      <a:pt x="1" y="60"/>
                    </a:cubicBezTo>
                    <a:cubicBezTo>
                      <a:pt x="1" y="62"/>
                      <a:pt x="2" y="63"/>
                      <a:pt x="2" y="65"/>
                    </a:cubicBezTo>
                    <a:cubicBezTo>
                      <a:pt x="2" y="67"/>
                      <a:pt x="4" y="66"/>
                      <a:pt x="5" y="65"/>
                    </a:cubicBezTo>
                    <a:cubicBezTo>
                      <a:pt x="5" y="64"/>
                      <a:pt x="7" y="60"/>
                      <a:pt x="10" y="59"/>
                    </a:cubicBezTo>
                    <a:cubicBezTo>
                      <a:pt x="13" y="58"/>
                      <a:pt x="16" y="57"/>
                      <a:pt x="19" y="56"/>
                    </a:cubicBezTo>
                    <a:cubicBezTo>
                      <a:pt x="21" y="54"/>
                      <a:pt x="24" y="55"/>
                      <a:pt x="27" y="56"/>
                    </a:cubicBezTo>
                    <a:cubicBezTo>
                      <a:pt x="30" y="56"/>
                      <a:pt x="34" y="55"/>
                      <a:pt x="35" y="57"/>
                    </a:cubicBezTo>
                    <a:cubicBezTo>
                      <a:pt x="36" y="59"/>
                      <a:pt x="37" y="60"/>
                      <a:pt x="39" y="59"/>
                    </a:cubicBezTo>
                    <a:cubicBezTo>
                      <a:pt x="41" y="57"/>
                      <a:pt x="42" y="57"/>
                      <a:pt x="44" y="58"/>
                    </a:cubicBezTo>
                    <a:cubicBezTo>
                      <a:pt x="46" y="60"/>
                      <a:pt x="50" y="58"/>
                      <a:pt x="52" y="59"/>
                    </a:cubicBezTo>
                    <a:cubicBezTo>
                      <a:pt x="55" y="60"/>
                      <a:pt x="60" y="61"/>
                      <a:pt x="61" y="60"/>
                    </a:cubicBezTo>
                    <a:cubicBezTo>
                      <a:pt x="62" y="59"/>
                      <a:pt x="64" y="55"/>
                      <a:pt x="66" y="56"/>
                    </a:cubicBezTo>
                    <a:cubicBezTo>
                      <a:pt x="67" y="56"/>
                      <a:pt x="69" y="58"/>
                      <a:pt x="69" y="60"/>
                    </a:cubicBezTo>
                    <a:cubicBezTo>
                      <a:pt x="70" y="63"/>
                      <a:pt x="71" y="62"/>
                      <a:pt x="74" y="63"/>
                    </a:cubicBezTo>
                    <a:cubicBezTo>
                      <a:pt x="76" y="63"/>
                      <a:pt x="80" y="63"/>
                      <a:pt x="81" y="65"/>
                    </a:cubicBezTo>
                    <a:cubicBezTo>
                      <a:pt x="82" y="67"/>
                      <a:pt x="86" y="68"/>
                      <a:pt x="88" y="71"/>
                    </a:cubicBezTo>
                    <a:cubicBezTo>
                      <a:pt x="89" y="73"/>
                      <a:pt x="92" y="75"/>
                      <a:pt x="94" y="77"/>
                    </a:cubicBezTo>
                    <a:cubicBezTo>
                      <a:pt x="96" y="78"/>
                      <a:pt x="99" y="78"/>
                      <a:pt x="99" y="78"/>
                    </a:cubicBezTo>
                    <a:cubicBezTo>
                      <a:pt x="99" y="78"/>
                      <a:pt x="103" y="73"/>
                      <a:pt x="105" y="73"/>
                    </a:cubicBezTo>
                    <a:cubicBezTo>
                      <a:pt x="107" y="72"/>
                      <a:pt x="110" y="75"/>
                      <a:pt x="111" y="75"/>
                    </a:cubicBezTo>
                    <a:cubicBezTo>
                      <a:pt x="113" y="76"/>
                      <a:pt x="114" y="76"/>
                      <a:pt x="115" y="72"/>
                    </a:cubicBezTo>
                    <a:cubicBezTo>
                      <a:pt x="116" y="68"/>
                      <a:pt x="117" y="65"/>
                      <a:pt x="120" y="66"/>
                    </a:cubicBezTo>
                    <a:cubicBezTo>
                      <a:pt x="123" y="66"/>
                      <a:pt x="124" y="66"/>
                      <a:pt x="124" y="66"/>
                    </a:cubicBezTo>
                    <a:cubicBezTo>
                      <a:pt x="124" y="66"/>
                      <a:pt x="124" y="66"/>
                      <a:pt x="124" y="66"/>
                    </a:cubicBezTo>
                    <a:cubicBezTo>
                      <a:pt x="124" y="66"/>
                      <a:pt x="124" y="65"/>
                      <a:pt x="124" y="65"/>
                    </a:cubicBezTo>
                    <a:cubicBezTo>
                      <a:pt x="123" y="64"/>
                      <a:pt x="123" y="63"/>
                      <a:pt x="123" y="59"/>
                    </a:cubicBezTo>
                    <a:cubicBezTo>
                      <a:pt x="122" y="56"/>
                      <a:pt x="121" y="52"/>
                      <a:pt x="120" y="50"/>
                    </a:cubicBezTo>
                    <a:cubicBezTo>
                      <a:pt x="118" y="47"/>
                      <a:pt x="117" y="45"/>
                      <a:pt x="116" y="43"/>
                    </a:cubicBezTo>
                    <a:cubicBezTo>
                      <a:pt x="116" y="41"/>
                      <a:pt x="115" y="43"/>
                      <a:pt x="114" y="40"/>
                    </a:cubicBezTo>
                    <a:cubicBezTo>
                      <a:pt x="113" y="38"/>
                      <a:pt x="114" y="32"/>
                      <a:pt x="114" y="29"/>
                    </a:cubicBezTo>
                    <a:cubicBezTo>
                      <a:pt x="114" y="27"/>
                      <a:pt x="114" y="27"/>
                      <a:pt x="112" y="26"/>
                    </a:cubicBezTo>
                    <a:cubicBezTo>
                      <a:pt x="110" y="25"/>
                      <a:pt x="107" y="20"/>
                      <a:pt x="106" y="20"/>
                    </a:cubicBezTo>
                    <a:cubicBezTo>
                      <a:pt x="105" y="19"/>
                      <a:pt x="102" y="20"/>
                      <a:pt x="99" y="18"/>
                    </a:cubicBezTo>
                    <a:cubicBezTo>
                      <a:pt x="96" y="16"/>
                      <a:pt x="95" y="17"/>
                      <a:pt x="93" y="20"/>
                    </a:cubicBezTo>
                    <a:cubicBezTo>
                      <a:pt x="91" y="22"/>
                      <a:pt x="89" y="19"/>
                      <a:pt x="87" y="17"/>
                    </a:cubicBezTo>
                    <a:cubicBezTo>
                      <a:pt x="84" y="15"/>
                      <a:pt x="82" y="11"/>
                      <a:pt x="79" y="10"/>
                    </a:cubicBezTo>
                    <a:cubicBezTo>
                      <a:pt x="76" y="8"/>
                      <a:pt x="75" y="7"/>
                      <a:pt x="73" y="5"/>
                    </a:cubicBezTo>
                    <a:cubicBezTo>
                      <a:pt x="71" y="4"/>
                      <a:pt x="71" y="1"/>
                      <a:pt x="70" y="4"/>
                    </a:cubicBezTo>
                    <a:cubicBezTo>
                      <a:pt x="69" y="6"/>
                      <a:pt x="67" y="4"/>
                      <a:pt x="66" y="2"/>
                    </a:cubicBezTo>
                    <a:cubicBezTo>
                      <a:pt x="65" y="0"/>
                      <a:pt x="63" y="4"/>
                      <a:pt x="60" y="5"/>
                    </a:cubicBezTo>
                    <a:cubicBezTo>
                      <a:pt x="57" y="6"/>
                      <a:pt x="55" y="8"/>
                      <a:pt x="53" y="9"/>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93" name="Freeform 14"/>
              <p:cNvSpPr>
                <a:spLocks/>
              </p:cNvSpPr>
              <p:nvPr/>
            </p:nvSpPr>
            <p:spPr bwMode="gray">
              <a:xfrm>
                <a:off x="2659" y="2519"/>
                <a:ext cx="260" cy="197"/>
              </a:xfrm>
              <a:custGeom>
                <a:avLst/>
                <a:gdLst>
                  <a:gd name="T0" fmla="*/ 0 w 99"/>
                  <a:gd name="T1" fmla="*/ 12 h 75"/>
                  <a:gd name="T2" fmla="*/ 1 w 99"/>
                  <a:gd name="T3" fmla="*/ 16 h 75"/>
                  <a:gd name="T4" fmla="*/ 1 w 99"/>
                  <a:gd name="T5" fmla="*/ 21 h 75"/>
                  <a:gd name="T6" fmla="*/ 4 w 99"/>
                  <a:gd name="T7" fmla="*/ 28 h 75"/>
                  <a:gd name="T8" fmla="*/ 5 w 99"/>
                  <a:gd name="T9" fmla="*/ 34 h 75"/>
                  <a:gd name="T10" fmla="*/ 5 w 99"/>
                  <a:gd name="T11" fmla="*/ 38 h 75"/>
                  <a:gd name="T12" fmla="*/ 10 w 99"/>
                  <a:gd name="T13" fmla="*/ 38 h 75"/>
                  <a:gd name="T14" fmla="*/ 16 w 99"/>
                  <a:gd name="T15" fmla="*/ 42 h 75"/>
                  <a:gd name="T16" fmla="*/ 23 w 99"/>
                  <a:gd name="T17" fmla="*/ 42 h 75"/>
                  <a:gd name="T18" fmla="*/ 30 w 99"/>
                  <a:gd name="T19" fmla="*/ 43 h 75"/>
                  <a:gd name="T20" fmla="*/ 32 w 99"/>
                  <a:gd name="T21" fmla="*/ 48 h 75"/>
                  <a:gd name="T22" fmla="*/ 31 w 99"/>
                  <a:gd name="T23" fmla="*/ 55 h 75"/>
                  <a:gd name="T24" fmla="*/ 31 w 99"/>
                  <a:gd name="T25" fmla="*/ 60 h 75"/>
                  <a:gd name="T26" fmla="*/ 36 w 99"/>
                  <a:gd name="T27" fmla="*/ 60 h 75"/>
                  <a:gd name="T28" fmla="*/ 41 w 99"/>
                  <a:gd name="T29" fmla="*/ 64 h 75"/>
                  <a:gd name="T30" fmla="*/ 46 w 99"/>
                  <a:gd name="T31" fmla="*/ 68 h 75"/>
                  <a:gd name="T32" fmla="*/ 47 w 99"/>
                  <a:gd name="T33" fmla="*/ 73 h 75"/>
                  <a:gd name="T34" fmla="*/ 54 w 99"/>
                  <a:gd name="T35" fmla="*/ 72 h 75"/>
                  <a:gd name="T36" fmla="*/ 59 w 99"/>
                  <a:gd name="T37" fmla="*/ 72 h 75"/>
                  <a:gd name="T38" fmla="*/ 64 w 99"/>
                  <a:gd name="T39" fmla="*/ 72 h 75"/>
                  <a:gd name="T40" fmla="*/ 68 w 99"/>
                  <a:gd name="T41" fmla="*/ 70 h 75"/>
                  <a:gd name="T42" fmla="*/ 70 w 99"/>
                  <a:gd name="T43" fmla="*/ 67 h 75"/>
                  <a:gd name="T44" fmla="*/ 74 w 99"/>
                  <a:gd name="T45" fmla="*/ 66 h 75"/>
                  <a:gd name="T46" fmla="*/ 77 w 99"/>
                  <a:gd name="T47" fmla="*/ 64 h 75"/>
                  <a:gd name="T48" fmla="*/ 80 w 99"/>
                  <a:gd name="T49" fmla="*/ 63 h 75"/>
                  <a:gd name="T50" fmla="*/ 82 w 99"/>
                  <a:gd name="T51" fmla="*/ 67 h 75"/>
                  <a:gd name="T52" fmla="*/ 85 w 99"/>
                  <a:gd name="T53" fmla="*/ 63 h 75"/>
                  <a:gd name="T54" fmla="*/ 82 w 99"/>
                  <a:gd name="T55" fmla="*/ 58 h 75"/>
                  <a:gd name="T56" fmla="*/ 83 w 99"/>
                  <a:gd name="T57" fmla="*/ 50 h 75"/>
                  <a:gd name="T58" fmla="*/ 86 w 99"/>
                  <a:gd name="T59" fmla="*/ 45 h 75"/>
                  <a:gd name="T60" fmla="*/ 91 w 99"/>
                  <a:gd name="T61" fmla="*/ 40 h 75"/>
                  <a:gd name="T62" fmla="*/ 96 w 99"/>
                  <a:gd name="T63" fmla="*/ 39 h 75"/>
                  <a:gd name="T64" fmla="*/ 98 w 99"/>
                  <a:gd name="T65" fmla="*/ 36 h 75"/>
                  <a:gd name="T66" fmla="*/ 96 w 99"/>
                  <a:gd name="T67" fmla="*/ 34 h 75"/>
                  <a:gd name="T68" fmla="*/ 94 w 99"/>
                  <a:gd name="T69" fmla="*/ 31 h 75"/>
                  <a:gd name="T70" fmla="*/ 97 w 99"/>
                  <a:gd name="T71" fmla="*/ 24 h 75"/>
                  <a:gd name="T72" fmla="*/ 92 w 99"/>
                  <a:gd name="T73" fmla="*/ 23 h 75"/>
                  <a:gd name="T74" fmla="*/ 86 w 99"/>
                  <a:gd name="T75" fmla="*/ 17 h 75"/>
                  <a:gd name="T76" fmla="*/ 79 w 99"/>
                  <a:gd name="T77" fmla="*/ 11 h 75"/>
                  <a:gd name="T78" fmla="*/ 72 w 99"/>
                  <a:gd name="T79" fmla="*/ 9 h 75"/>
                  <a:gd name="T80" fmla="*/ 67 w 99"/>
                  <a:gd name="T81" fmla="*/ 6 h 75"/>
                  <a:gd name="T82" fmla="*/ 64 w 99"/>
                  <a:gd name="T83" fmla="*/ 2 h 75"/>
                  <a:gd name="T84" fmla="*/ 59 w 99"/>
                  <a:gd name="T85" fmla="*/ 6 h 75"/>
                  <a:gd name="T86" fmla="*/ 50 w 99"/>
                  <a:gd name="T87" fmla="*/ 5 h 75"/>
                  <a:gd name="T88" fmla="*/ 42 w 99"/>
                  <a:gd name="T89" fmla="*/ 4 h 75"/>
                  <a:gd name="T90" fmla="*/ 37 w 99"/>
                  <a:gd name="T91" fmla="*/ 5 h 75"/>
                  <a:gd name="T92" fmla="*/ 33 w 99"/>
                  <a:gd name="T93" fmla="*/ 3 h 75"/>
                  <a:gd name="T94" fmla="*/ 25 w 99"/>
                  <a:gd name="T95" fmla="*/ 2 h 75"/>
                  <a:gd name="T96" fmla="*/ 17 w 99"/>
                  <a:gd name="T97" fmla="*/ 2 h 75"/>
                  <a:gd name="T98" fmla="*/ 8 w 99"/>
                  <a:gd name="T99" fmla="*/ 5 h 75"/>
                  <a:gd name="T100" fmla="*/ 3 w 99"/>
                  <a:gd name="T101" fmla="*/ 11 h 75"/>
                  <a:gd name="T102" fmla="*/ 0 w 99"/>
                  <a:gd name="T103"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9" h="75">
                    <a:moveTo>
                      <a:pt x="0" y="12"/>
                    </a:moveTo>
                    <a:cubicBezTo>
                      <a:pt x="0" y="12"/>
                      <a:pt x="0" y="14"/>
                      <a:pt x="1" y="16"/>
                    </a:cubicBezTo>
                    <a:cubicBezTo>
                      <a:pt x="1" y="18"/>
                      <a:pt x="0" y="19"/>
                      <a:pt x="1" y="21"/>
                    </a:cubicBezTo>
                    <a:cubicBezTo>
                      <a:pt x="2" y="24"/>
                      <a:pt x="3" y="26"/>
                      <a:pt x="4" y="28"/>
                    </a:cubicBezTo>
                    <a:cubicBezTo>
                      <a:pt x="4" y="29"/>
                      <a:pt x="5" y="32"/>
                      <a:pt x="5" y="34"/>
                    </a:cubicBezTo>
                    <a:cubicBezTo>
                      <a:pt x="5" y="35"/>
                      <a:pt x="5" y="38"/>
                      <a:pt x="5" y="38"/>
                    </a:cubicBezTo>
                    <a:cubicBezTo>
                      <a:pt x="5" y="38"/>
                      <a:pt x="8" y="37"/>
                      <a:pt x="10" y="38"/>
                    </a:cubicBezTo>
                    <a:cubicBezTo>
                      <a:pt x="13" y="38"/>
                      <a:pt x="13" y="40"/>
                      <a:pt x="16" y="42"/>
                    </a:cubicBezTo>
                    <a:cubicBezTo>
                      <a:pt x="19" y="43"/>
                      <a:pt x="20" y="42"/>
                      <a:pt x="23" y="42"/>
                    </a:cubicBezTo>
                    <a:cubicBezTo>
                      <a:pt x="25" y="41"/>
                      <a:pt x="27" y="41"/>
                      <a:pt x="30" y="43"/>
                    </a:cubicBezTo>
                    <a:cubicBezTo>
                      <a:pt x="32" y="45"/>
                      <a:pt x="33" y="47"/>
                      <a:pt x="32" y="48"/>
                    </a:cubicBezTo>
                    <a:cubicBezTo>
                      <a:pt x="32" y="49"/>
                      <a:pt x="31" y="53"/>
                      <a:pt x="31" y="55"/>
                    </a:cubicBezTo>
                    <a:cubicBezTo>
                      <a:pt x="31" y="57"/>
                      <a:pt x="31" y="60"/>
                      <a:pt x="31" y="60"/>
                    </a:cubicBezTo>
                    <a:cubicBezTo>
                      <a:pt x="31" y="60"/>
                      <a:pt x="35" y="60"/>
                      <a:pt x="36" y="60"/>
                    </a:cubicBezTo>
                    <a:cubicBezTo>
                      <a:pt x="38" y="61"/>
                      <a:pt x="39" y="63"/>
                      <a:pt x="41" y="64"/>
                    </a:cubicBezTo>
                    <a:cubicBezTo>
                      <a:pt x="44" y="66"/>
                      <a:pt x="46" y="66"/>
                      <a:pt x="46" y="68"/>
                    </a:cubicBezTo>
                    <a:cubicBezTo>
                      <a:pt x="46" y="69"/>
                      <a:pt x="47" y="73"/>
                      <a:pt x="47" y="73"/>
                    </a:cubicBezTo>
                    <a:cubicBezTo>
                      <a:pt x="47" y="73"/>
                      <a:pt x="52" y="72"/>
                      <a:pt x="54" y="72"/>
                    </a:cubicBezTo>
                    <a:cubicBezTo>
                      <a:pt x="56" y="72"/>
                      <a:pt x="59" y="71"/>
                      <a:pt x="59" y="72"/>
                    </a:cubicBezTo>
                    <a:cubicBezTo>
                      <a:pt x="60" y="74"/>
                      <a:pt x="62" y="75"/>
                      <a:pt x="64" y="72"/>
                    </a:cubicBezTo>
                    <a:cubicBezTo>
                      <a:pt x="65" y="70"/>
                      <a:pt x="67" y="72"/>
                      <a:pt x="68" y="70"/>
                    </a:cubicBezTo>
                    <a:cubicBezTo>
                      <a:pt x="69" y="68"/>
                      <a:pt x="68" y="67"/>
                      <a:pt x="70" y="67"/>
                    </a:cubicBezTo>
                    <a:cubicBezTo>
                      <a:pt x="72" y="67"/>
                      <a:pt x="74" y="67"/>
                      <a:pt x="74" y="66"/>
                    </a:cubicBezTo>
                    <a:cubicBezTo>
                      <a:pt x="75" y="64"/>
                      <a:pt x="76" y="64"/>
                      <a:pt x="77" y="64"/>
                    </a:cubicBezTo>
                    <a:cubicBezTo>
                      <a:pt x="78" y="64"/>
                      <a:pt x="80" y="62"/>
                      <a:pt x="80" y="63"/>
                    </a:cubicBezTo>
                    <a:cubicBezTo>
                      <a:pt x="80" y="65"/>
                      <a:pt x="80" y="67"/>
                      <a:pt x="82" y="67"/>
                    </a:cubicBezTo>
                    <a:cubicBezTo>
                      <a:pt x="85" y="67"/>
                      <a:pt x="86" y="64"/>
                      <a:pt x="85" y="63"/>
                    </a:cubicBezTo>
                    <a:cubicBezTo>
                      <a:pt x="83" y="62"/>
                      <a:pt x="80" y="61"/>
                      <a:pt x="82" y="58"/>
                    </a:cubicBezTo>
                    <a:cubicBezTo>
                      <a:pt x="84" y="54"/>
                      <a:pt x="83" y="54"/>
                      <a:pt x="83" y="50"/>
                    </a:cubicBezTo>
                    <a:cubicBezTo>
                      <a:pt x="82" y="45"/>
                      <a:pt x="83" y="44"/>
                      <a:pt x="86" y="45"/>
                    </a:cubicBezTo>
                    <a:cubicBezTo>
                      <a:pt x="90" y="46"/>
                      <a:pt x="89" y="42"/>
                      <a:pt x="91" y="40"/>
                    </a:cubicBezTo>
                    <a:cubicBezTo>
                      <a:pt x="92" y="38"/>
                      <a:pt x="94" y="39"/>
                      <a:pt x="96" y="39"/>
                    </a:cubicBezTo>
                    <a:cubicBezTo>
                      <a:pt x="98" y="40"/>
                      <a:pt x="96" y="38"/>
                      <a:pt x="98" y="36"/>
                    </a:cubicBezTo>
                    <a:cubicBezTo>
                      <a:pt x="99" y="35"/>
                      <a:pt x="99" y="34"/>
                      <a:pt x="96" y="34"/>
                    </a:cubicBezTo>
                    <a:cubicBezTo>
                      <a:pt x="94" y="34"/>
                      <a:pt x="93" y="33"/>
                      <a:pt x="94" y="31"/>
                    </a:cubicBezTo>
                    <a:cubicBezTo>
                      <a:pt x="95" y="28"/>
                      <a:pt x="97" y="24"/>
                      <a:pt x="97" y="24"/>
                    </a:cubicBezTo>
                    <a:cubicBezTo>
                      <a:pt x="97" y="24"/>
                      <a:pt x="94" y="24"/>
                      <a:pt x="92" y="23"/>
                    </a:cubicBezTo>
                    <a:cubicBezTo>
                      <a:pt x="90" y="21"/>
                      <a:pt x="87" y="19"/>
                      <a:pt x="86" y="17"/>
                    </a:cubicBezTo>
                    <a:cubicBezTo>
                      <a:pt x="84" y="14"/>
                      <a:pt x="80" y="13"/>
                      <a:pt x="79" y="11"/>
                    </a:cubicBezTo>
                    <a:cubicBezTo>
                      <a:pt x="78" y="9"/>
                      <a:pt x="74" y="9"/>
                      <a:pt x="72" y="9"/>
                    </a:cubicBezTo>
                    <a:cubicBezTo>
                      <a:pt x="69" y="8"/>
                      <a:pt x="68" y="9"/>
                      <a:pt x="67" y="6"/>
                    </a:cubicBezTo>
                    <a:cubicBezTo>
                      <a:pt x="67" y="4"/>
                      <a:pt x="65" y="2"/>
                      <a:pt x="64" y="2"/>
                    </a:cubicBezTo>
                    <a:cubicBezTo>
                      <a:pt x="62" y="1"/>
                      <a:pt x="60" y="5"/>
                      <a:pt x="59" y="6"/>
                    </a:cubicBezTo>
                    <a:cubicBezTo>
                      <a:pt x="58" y="7"/>
                      <a:pt x="53" y="6"/>
                      <a:pt x="50" y="5"/>
                    </a:cubicBezTo>
                    <a:cubicBezTo>
                      <a:pt x="48" y="4"/>
                      <a:pt x="44" y="6"/>
                      <a:pt x="42" y="4"/>
                    </a:cubicBezTo>
                    <a:cubicBezTo>
                      <a:pt x="40" y="3"/>
                      <a:pt x="39" y="3"/>
                      <a:pt x="37" y="5"/>
                    </a:cubicBezTo>
                    <a:cubicBezTo>
                      <a:pt x="35" y="6"/>
                      <a:pt x="34" y="5"/>
                      <a:pt x="33" y="3"/>
                    </a:cubicBezTo>
                    <a:cubicBezTo>
                      <a:pt x="32" y="1"/>
                      <a:pt x="28" y="2"/>
                      <a:pt x="25" y="2"/>
                    </a:cubicBezTo>
                    <a:cubicBezTo>
                      <a:pt x="22" y="1"/>
                      <a:pt x="19" y="0"/>
                      <a:pt x="17" y="2"/>
                    </a:cubicBezTo>
                    <a:cubicBezTo>
                      <a:pt x="14" y="3"/>
                      <a:pt x="11" y="4"/>
                      <a:pt x="8" y="5"/>
                    </a:cubicBezTo>
                    <a:cubicBezTo>
                      <a:pt x="5" y="6"/>
                      <a:pt x="3" y="10"/>
                      <a:pt x="3" y="11"/>
                    </a:cubicBezTo>
                    <a:cubicBezTo>
                      <a:pt x="2" y="12"/>
                      <a:pt x="0" y="13"/>
                      <a:pt x="0" y="12"/>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94" name="Freeform 15"/>
              <p:cNvSpPr>
                <a:spLocks/>
              </p:cNvSpPr>
              <p:nvPr/>
            </p:nvSpPr>
            <p:spPr bwMode="gray">
              <a:xfrm>
                <a:off x="2770" y="2548"/>
                <a:ext cx="433" cy="329"/>
              </a:xfrm>
              <a:custGeom>
                <a:avLst/>
                <a:gdLst>
                  <a:gd name="T0" fmla="*/ 6 w 165"/>
                  <a:gd name="T1" fmla="*/ 68 h 125"/>
                  <a:gd name="T2" fmla="*/ 13 w 165"/>
                  <a:gd name="T3" fmla="*/ 89 h 125"/>
                  <a:gd name="T4" fmla="*/ 4 w 165"/>
                  <a:gd name="T5" fmla="*/ 96 h 125"/>
                  <a:gd name="T6" fmla="*/ 10 w 165"/>
                  <a:gd name="T7" fmla="*/ 106 h 125"/>
                  <a:gd name="T8" fmla="*/ 9 w 165"/>
                  <a:gd name="T9" fmla="*/ 118 h 125"/>
                  <a:gd name="T10" fmla="*/ 20 w 165"/>
                  <a:gd name="T11" fmla="*/ 115 h 125"/>
                  <a:gd name="T12" fmla="*/ 35 w 165"/>
                  <a:gd name="T13" fmla="*/ 110 h 125"/>
                  <a:gd name="T14" fmla="*/ 52 w 165"/>
                  <a:gd name="T15" fmla="*/ 111 h 125"/>
                  <a:gd name="T16" fmla="*/ 68 w 165"/>
                  <a:gd name="T17" fmla="*/ 114 h 125"/>
                  <a:gd name="T18" fmla="*/ 79 w 165"/>
                  <a:gd name="T19" fmla="*/ 117 h 125"/>
                  <a:gd name="T20" fmla="*/ 87 w 165"/>
                  <a:gd name="T21" fmla="*/ 118 h 125"/>
                  <a:gd name="T22" fmla="*/ 96 w 165"/>
                  <a:gd name="T23" fmla="*/ 118 h 125"/>
                  <a:gd name="T24" fmla="*/ 101 w 165"/>
                  <a:gd name="T25" fmla="*/ 119 h 125"/>
                  <a:gd name="T26" fmla="*/ 108 w 165"/>
                  <a:gd name="T27" fmla="*/ 120 h 125"/>
                  <a:gd name="T28" fmla="*/ 117 w 165"/>
                  <a:gd name="T29" fmla="*/ 120 h 125"/>
                  <a:gd name="T30" fmla="*/ 127 w 165"/>
                  <a:gd name="T31" fmla="*/ 122 h 125"/>
                  <a:gd name="T32" fmla="*/ 132 w 165"/>
                  <a:gd name="T33" fmla="*/ 121 h 125"/>
                  <a:gd name="T34" fmla="*/ 135 w 165"/>
                  <a:gd name="T35" fmla="*/ 108 h 125"/>
                  <a:gd name="T36" fmla="*/ 142 w 165"/>
                  <a:gd name="T37" fmla="*/ 107 h 125"/>
                  <a:gd name="T38" fmla="*/ 150 w 165"/>
                  <a:gd name="T39" fmla="*/ 104 h 125"/>
                  <a:gd name="T40" fmla="*/ 146 w 165"/>
                  <a:gd name="T41" fmla="*/ 89 h 125"/>
                  <a:gd name="T42" fmla="*/ 143 w 165"/>
                  <a:gd name="T43" fmla="*/ 80 h 125"/>
                  <a:gd name="T44" fmla="*/ 156 w 165"/>
                  <a:gd name="T45" fmla="*/ 82 h 125"/>
                  <a:gd name="T46" fmla="*/ 163 w 165"/>
                  <a:gd name="T47" fmla="*/ 73 h 125"/>
                  <a:gd name="T48" fmla="*/ 156 w 165"/>
                  <a:gd name="T49" fmla="*/ 66 h 125"/>
                  <a:gd name="T50" fmla="*/ 146 w 165"/>
                  <a:gd name="T51" fmla="*/ 66 h 125"/>
                  <a:gd name="T52" fmla="*/ 143 w 165"/>
                  <a:gd name="T53" fmla="*/ 57 h 125"/>
                  <a:gd name="T54" fmla="*/ 130 w 165"/>
                  <a:gd name="T55" fmla="*/ 41 h 125"/>
                  <a:gd name="T56" fmla="*/ 129 w 165"/>
                  <a:gd name="T57" fmla="*/ 31 h 125"/>
                  <a:gd name="T58" fmla="*/ 127 w 165"/>
                  <a:gd name="T59" fmla="*/ 17 h 125"/>
                  <a:gd name="T60" fmla="*/ 118 w 165"/>
                  <a:gd name="T61" fmla="*/ 9 h 125"/>
                  <a:gd name="T62" fmla="*/ 105 w 165"/>
                  <a:gd name="T63" fmla="*/ 10 h 125"/>
                  <a:gd name="T64" fmla="*/ 100 w 165"/>
                  <a:gd name="T65" fmla="*/ 8 h 125"/>
                  <a:gd name="T66" fmla="*/ 96 w 165"/>
                  <a:gd name="T67" fmla="*/ 3 h 125"/>
                  <a:gd name="T68" fmla="*/ 88 w 165"/>
                  <a:gd name="T69" fmla="*/ 4 h 125"/>
                  <a:gd name="T70" fmla="*/ 80 w 165"/>
                  <a:gd name="T71" fmla="*/ 1 h 125"/>
                  <a:gd name="T72" fmla="*/ 76 w 165"/>
                  <a:gd name="T73" fmla="*/ 1 h 125"/>
                  <a:gd name="T74" fmla="*/ 67 w 165"/>
                  <a:gd name="T75" fmla="*/ 10 h 125"/>
                  <a:gd name="T76" fmla="*/ 55 w 165"/>
                  <a:gd name="T77" fmla="*/ 13 h 125"/>
                  <a:gd name="T78" fmla="*/ 54 w 165"/>
                  <a:gd name="T79" fmla="*/ 23 h 125"/>
                  <a:gd name="T80" fmla="*/ 54 w 165"/>
                  <a:gd name="T81" fmla="*/ 28 h 125"/>
                  <a:gd name="T82" fmla="*/ 44 w 165"/>
                  <a:gd name="T83" fmla="*/ 34 h 125"/>
                  <a:gd name="T84" fmla="*/ 40 w 165"/>
                  <a:gd name="T85" fmla="*/ 47 h 125"/>
                  <a:gd name="T86" fmla="*/ 40 w 165"/>
                  <a:gd name="T87" fmla="*/ 56 h 125"/>
                  <a:gd name="T88" fmla="*/ 35 w 165"/>
                  <a:gd name="T89" fmla="*/ 53 h 125"/>
                  <a:gd name="T90" fmla="*/ 28 w 165"/>
                  <a:gd name="T91" fmla="*/ 56 h 125"/>
                  <a:gd name="T92" fmla="*/ 22 w 165"/>
                  <a:gd name="T93" fmla="*/ 61 h 125"/>
                  <a:gd name="T94" fmla="*/ 12 w 165"/>
                  <a:gd name="T95" fmla="*/ 6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5" h="125">
                    <a:moveTo>
                      <a:pt x="5" y="62"/>
                    </a:moveTo>
                    <a:cubicBezTo>
                      <a:pt x="5" y="62"/>
                      <a:pt x="5" y="65"/>
                      <a:pt x="6" y="68"/>
                    </a:cubicBezTo>
                    <a:cubicBezTo>
                      <a:pt x="7" y="70"/>
                      <a:pt x="11" y="78"/>
                      <a:pt x="12" y="81"/>
                    </a:cubicBezTo>
                    <a:cubicBezTo>
                      <a:pt x="13" y="83"/>
                      <a:pt x="13" y="86"/>
                      <a:pt x="13" y="89"/>
                    </a:cubicBezTo>
                    <a:cubicBezTo>
                      <a:pt x="13" y="92"/>
                      <a:pt x="14" y="92"/>
                      <a:pt x="11" y="93"/>
                    </a:cubicBezTo>
                    <a:cubicBezTo>
                      <a:pt x="8" y="94"/>
                      <a:pt x="7" y="93"/>
                      <a:pt x="4" y="96"/>
                    </a:cubicBezTo>
                    <a:cubicBezTo>
                      <a:pt x="2" y="99"/>
                      <a:pt x="0" y="102"/>
                      <a:pt x="1" y="102"/>
                    </a:cubicBezTo>
                    <a:cubicBezTo>
                      <a:pt x="3" y="103"/>
                      <a:pt x="9" y="104"/>
                      <a:pt x="10" y="106"/>
                    </a:cubicBezTo>
                    <a:cubicBezTo>
                      <a:pt x="10" y="108"/>
                      <a:pt x="10" y="113"/>
                      <a:pt x="9" y="114"/>
                    </a:cubicBezTo>
                    <a:cubicBezTo>
                      <a:pt x="9" y="116"/>
                      <a:pt x="9" y="118"/>
                      <a:pt x="9" y="118"/>
                    </a:cubicBezTo>
                    <a:cubicBezTo>
                      <a:pt x="9" y="118"/>
                      <a:pt x="13" y="117"/>
                      <a:pt x="15" y="118"/>
                    </a:cubicBezTo>
                    <a:cubicBezTo>
                      <a:pt x="17" y="119"/>
                      <a:pt x="20" y="115"/>
                      <a:pt x="20" y="115"/>
                    </a:cubicBezTo>
                    <a:cubicBezTo>
                      <a:pt x="20" y="115"/>
                      <a:pt x="22" y="111"/>
                      <a:pt x="25" y="111"/>
                    </a:cubicBezTo>
                    <a:cubicBezTo>
                      <a:pt x="28" y="111"/>
                      <a:pt x="31" y="111"/>
                      <a:pt x="35" y="110"/>
                    </a:cubicBezTo>
                    <a:cubicBezTo>
                      <a:pt x="39" y="109"/>
                      <a:pt x="39" y="111"/>
                      <a:pt x="41" y="111"/>
                    </a:cubicBezTo>
                    <a:cubicBezTo>
                      <a:pt x="43" y="110"/>
                      <a:pt x="48" y="110"/>
                      <a:pt x="52" y="111"/>
                    </a:cubicBezTo>
                    <a:cubicBezTo>
                      <a:pt x="56" y="111"/>
                      <a:pt x="59" y="112"/>
                      <a:pt x="61" y="112"/>
                    </a:cubicBezTo>
                    <a:cubicBezTo>
                      <a:pt x="63" y="113"/>
                      <a:pt x="66" y="114"/>
                      <a:pt x="68" y="114"/>
                    </a:cubicBezTo>
                    <a:cubicBezTo>
                      <a:pt x="71" y="114"/>
                      <a:pt x="73" y="114"/>
                      <a:pt x="73" y="117"/>
                    </a:cubicBezTo>
                    <a:cubicBezTo>
                      <a:pt x="74" y="119"/>
                      <a:pt x="78" y="116"/>
                      <a:pt x="79" y="117"/>
                    </a:cubicBezTo>
                    <a:cubicBezTo>
                      <a:pt x="81" y="118"/>
                      <a:pt x="82" y="118"/>
                      <a:pt x="83" y="117"/>
                    </a:cubicBezTo>
                    <a:cubicBezTo>
                      <a:pt x="84" y="116"/>
                      <a:pt x="86" y="119"/>
                      <a:pt x="87" y="118"/>
                    </a:cubicBezTo>
                    <a:cubicBezTo>
                      <a:pt x="88" y="117"/>
                      <a:pt x="90" y="116"/>
                      <a:pt x="92" y="118"/>
                    </a:cubicBezTo>
                    <a:cubicBezTo>
                      <a:pt x="93" y="120"/>
                      <a:pt x="94" y="118"/>
                      <a:pt x="96" y="118"/>
                    </a:cubicBezTo>
                    <a:cubicBezTo>
                      <a:pt x="98" y="118"/>
                      <a:pt x="98" y="120"/>
                      <a:pt x="99" y="121"/>
                    </a:cubicBezTo>
                    <a:cubicBezTo>
                      <a:pt x="101" y="123"/>
                      <a:pt x="100" y="120"/>
                      <a:pt x="101" y="119"/>
                    </a:cubicBezTo>
                    <a:cubicBezTo>
                      <a:pt x="102" y="119"/>
                      <a:pt x="104" y="117"/>
                      <a:pt x="106" y="116"/>
                    </a:cubicBezTo>
                    <a:cubicBezTo>
                      <a:pt x="108" y="116"/>
                      <a:pt x="108" y="118"/>
                      <a:pt x="108" y="120"/>
                    </a:cubicBezTo>
                    <a:cubicBezTo>
                      <a:pt x="109" y="122"/>
                      <a:pt x="111" y="123"/>
                      <a:pt x="113" y="122"/>
                    </a:cubicBezTo>
                    <a:cubicBezTo>
                      <a:pt x="114" y="121"/>
                      <a:pt x="116" y="119"/>
                      <a:pt x="117" y="120"/>
                    </a:cubicBezTo>
                    <a:cubicBezTo>
                      <a:pt x="118" y="122"/>
                      <a:pt x="120" y="120"/>
                      <a:pt x="122" y="120"/>
                    </a:cubicBezTo>
                    <a:cubicBezTo>
                      <a:pt x="124" y="120"/>
                      <a:pt x="127" y="120"/>
                      <a:pt x="127" y="122"/>
                    </a:cubicBezTo>
                    <a:cubicBezTo>
                      <a:pt x="128" y="124"/>
                      <a:pt x="130" y="125"/>
                      <a:pt x="132" y="125"/>
                    </a:cubicBezTo>
                    <a:cubicBezTo>
                      <a:pt x="134" y="125"/>
                      <a:pt x="134" y="123"/>
                      <a:pt x="132" y="121"/>
                    </a:cubicBezTo>
                    <a:cubicBezTo>
                      <a:pt x="131" y="119"/>
                      <a:pt x="130" y="118"/>
                      <a:pt x="131" y="116"/>
                    </a:cubicBezTo>
                    <a:cubicBezTo>
                      <a:pt x="133" y="114"/>
                      <a:pt x="134" y="110"/>
                      <a:pt x="135" y="108"/>
                    </a:cubicBezTo>
                    <a:cubicBezTo>
                      <a:pt x="137" y="107"/>
                      <a:pt x="138" y="105"/>
                      <a:pt x="139" y="106"/>
                    </a:cubicBezTo>
                    <a:cubicBezTo>
                      <a:pt x="140" y="106"/>
                      <a:pt x="142" y="108"/>
                      <a:pt x="142" y="107"/>
                    </a:cubicBezTo>
                    <a:cubicBezTo>
                      <a:pt x="143" y="106"/>
                      <a:pt x="144" y="104"/>
                      <a:pt x="145" y="105"/>
                    </a:cubicBezTo>
                    <a:cubicBezTo>
                      <a:pt x="146" y="105"/>
                      <a:pt x="150" y="104"/>
                      <a:pt x="150" y="104"/>
                    </a:cubicBezTo>
                    <a:cubicBezTo>
                      <a:pt x="150" y="104"/>
                      <a:pt x="147" y="99"/>
                      <a:pt x="147" y="97"/>
                    </a:cubicBezTo>
                    <a:cubicBezTo>
                      <a:pt x="147" y="95"/>
                      <a:pt x="147" y="90"/>
                      <a:pt x="146" y="89"/>
                    </a:cubicBezTo>
                    <a:cubicBezTo>
                      <a:pt x="144" y="88"/>
                      <a:pt x="142" y="87"/>
                      <a:pt x="141" y="85"/>
                    </a:cubicBezTo>
                    <a:cubicBezTo>
                      <a:pt x="141" y="82"/>
                      <a:pt x="142" y="80"/>
                      <a:pt x="143" y="80"/>
                    </a:cubicBezTo>
                    <a:cubicBezTo>
                      <a:pt x="145" y="79"/>
                      <a:pt x="147" y="79"/>
                      <a:pt x="149" y="80"/>
                    </a:cubicBezTo>
                    <a:cubicBezTo>
                      <a:pt x="151" y="81"/>
                      <a:pt x="155" y="83"/>
                      <a:pt x="156" y="82"/>
                    </a:cubicBezTo>
                    <a:cubicBezTo>
                      <a:pt x="157" y="80"/>
                      <a:pt x="160" y="78"/>
                      <a:pt x="162" y="77"/>
                    </a:cubicBezTo>
                    <a:cubicBezTo>
                      <a:pt x="165" y="76"/>
                      <a:pt x="165" y="74"/>
                      <a:pt x="163" y="73"/>
                    </a:cubicBezTo>
                    <a:cubicBezTo>
                      <a:pt x="161" y="72"/>
                      <a:pt x="160" y="72"/>
                      <a:pt x="159" y="70"/>
                    </a:cubicBezTo>
                    <a:cubicBezTo>
                      <a:pt x="158" y="68"/>
                      <a:pt x="158" y="67"/>
                      <a:pt x="156" y="66"/>
                    </a:cubicBezTo>
                    <a:cubicBezTo>
                      <a:pt x="155" y="66"/>
                      <a:pt x="153" y="65"/>
                      <a:pt x="151" y="65"/>
                    </a:cubicBezTo>
                    <a:cubicBezTo>
                      <a:pt x="150" y="65"/>
                      <a:pt x="147" y="67"/>
                      <a:pt x="146" y="66"/>
                    </a:cubicBezTo>
                    <a:cubicBezTo>
                      <a:pt x="146" y="64"/>
                      <a:pt x="148" y="62"/>
                      <a:pt x="147" y="60"/>
                    </a:cubicBezTo>
                    <a:cubicBezTo>
                      <a:pt x="147" y="59"/>
                      <a:pt x="145" y="57"/>
                      <a:pt x="143" y="57"/>
                    </a:cubicBezTo>
                    <a:cubicBezTo>
                      <a:pt x="141" y="56"/>
                      <a:pt x="138" y="54"/>
                      <a:pt x="137" y="52"/>
                    </a:cubicBezTo>
                    <a:cubicBezTo>
                      <a:pt x="136" y="51"/>
                      <a:pt x="131" y="43"/>
                      <a:pt x="130" y="41"/>
                    </a:cubicBezTo>
                    <a:cubicBezTo>
                      <a:pt x="129" y="39"/>
                      <a:pt x="126" y="38"/>
                      <a:pt x="127" y="36"/>
                    </a:cubicBezTo>
                    <a:cubicBezTo>
                      <a:pt x="127" y="34"/>
                      <a:pt x="129" y="33"/>
                      <a:pt x="129" y="31"/>
                    </a:cubicBezTo>
                    <a:cubicBezTo>
                      <a:pt x="130" y="28"/>
                      <a:pt x="128" y="27"/>
                      <a:pt x="127" y="25"/>
                    </a:cubicBezTo>
                    <a:cubicBezTo>
                      <a:pt x="126" y="22"/>
                      <a:pt x="127" y="20"/>
                      <a:pt x="127" y="17"/>
                    </a:cubicBezTo>
                    <a:cubicBezTo>
                      <a:pt x="126" y="15"/>
                      <a:pt x="125" y="15"/>
                      <a:pt x="123" y="14"/>
                    </a:cubicBezTo>
                    <a:cubicBezTo>
                      <a:pt x="121" y="12"/>
                      <a:pt x="119" y="10"/>
                      <a:pt x="118" y="9"/>
                    </a:cubicBezTo>
                    <a:cubicBezTo>
                      <a:pt x="116" y="8"/>
                      <a:pt x="112" y="8"/>
                      <a:pt x="110" y="8"/>
                    </a:cubicBezTo>
                    <a:cubicBezTo>
                      <a:pt x="107" y="9"/>
                      <a:pt x="106" y="10"/>
                      <a:pt x="105" y="10"/>
                    </a:cubicBezTo>
                    <a:cubicBezTo>
                      <a:pt x="103" y="10"/>
                      <a:pt x="102" y="14"/>
                      <a:pt x="101" y="12"/>
                    </a:cubicBezTo>
                    <a:cubicBezTo>
                      <a:pt x="100" y="11"/>
                      <a:pt x="100" y="9"/>
                      <a:pt x="100" y="8"/>
                    </a:cubicBezTo>
                    <a:cubicBezTo>
                      <a:pt x="100" y="7"/>
                      <a:pt x="100" y="6"/>
                      <a:pt x="100" y="5"/>
                    </a:cubicBezTo>
                    <a:cubicBezTo>
                      <a:pt x="99" y="3"/>
                      <a:pt x="97" y="4"/>
                      <a:pt x="96" y="3"/>
                    </a:cubicBezTo>
                    <a:cubicBezTo>
                      <a:pt x="95" y="2"/>
                      <a:pt x="94" y="2"/>
                      <a:pt x="92" y="3"/>
                    </a:cubicBezTo>
                    <a:cubicBezTo>
                      <a:pt x="91" y="4"/>
                      <a:pt x="89" y="5"/>
                      <a:pt x="88" y="4"/>
                    </a:cubicBezTo>
                    <a:cubicBezTo>
                      <a:pt x="88" y="3"/>
                      <a:pt x="87" y="0"/>
                      <a:pt x="85" y="0"/>
                    </a:cubicBezTo>
                    <a:cubicBezTo>
                      <a:pt x="83" y="1"/>
                      <a:pt x="81" y="1"/>
                      <a:pt x="80" y="1"/>
                    </a:cubicBezTo>
                    <a:cubicBezTo>
                      <a:pt x="80" y="1"/>
                      <a:pt x="80" y="1"/>
                      <a:pt x="80" y="1"/>
                    </a:cubicBezTo>
                    <a:cubicBezTo>
                      <a:pt x="80" y="1"/>
                      <a:pt x="79" y="1"/>
                      <a:pt x="76" y="1"/>
                    </a:cubicBezTo>
                    <a:cubicBezTo>
                      <a:pt x="73" y="0"/>
                      <a:pt x="72" y="3"/>
                      <a:pt x="71" y="7"/>
                    </a:cubicBezTo>
                    <a:cubicBezTo>
                      <a:pt x="70" y="11"/>
                      <a:pt x="69" y="11"/>
                      <a:pt x="67" y="10"/>
                    </a:cubicBezTo>
                    <a:cubicBezTo>
                      <a:pt x="66" y="10"/>
                      <a:pt x="63" y="7"/>
                      <a:pt x="61" y="8"/>
                    </a:cubicBezTo>
                    <a:cubicBezTo>
                      <a:pt x="59" y="8"/>
                      <a:pt x="55" y="13"/>
                      <a:pt x="55" y="13"/>
                    </a:cubicBezTo>
                    <a:cubicBezTo>
                      <a:pt x="55" y="13"/>
                      <a:pt x="53" y="17"/>
                      <a:pt x="52" y="20"/>
                    </a:cubicBezTo>
                    <a:cubicBezTo>
                      <a:pt x="51" y="22"/>
                      <a:pt x="52" y="23"/>
                      <a:pt x="54" y="23"/>
                    </a:cubicBezTo>
                    <a:cubicBezTo>
                      <a:pt x="57" y="23"/>
                      <a:pt x="57" y="24"/>
                      <a:pt x="56" y="25"/>
                    </a:cubicBezTo>
                    <a:cubicBezTo>
                      <a:pt x="54" y="27"/>
                      <a:pt x="56" y="29"/>
                      <a:pt x="54" y="28"/>
                    </a:cubicBezTo>
                    <a:cubicBezTo>
                      <a:pt x="52" y="28"/>
                      <a:pt x="50" y="27"/>
                      <a:pt x="49" y="29"/>
                    </a:cubicBezTo>
                    <a:cubicBezTo>
                      <a:pt x="47" y="31"/>
                      <a:pt x="48" y="35"/>
                      <a:pt x="44" y="34"/>
                    </a:cubicBezTo>
                    <a:cubicBezTo>
                      <a:pt x="41" y="33"/>
                      <a:pt x="40" y="34"/>
                      <a:pt x="41" y="39"/>
                    </a:cubicBezTo>
                    <a:cubicBezTo>
                      <a:pt x="41" y="43"/>
                      <a:pt x="42" y="43"/>
                      <a:pt x="40" y="47"/>
                    </a:cubicBezTo>
                    <a:cubicBezTo>
                      <a:pt x="38" y="50"/>
                      <a:pt x="41" y="51"/>
                      <a:pt x="43" y="52"/>
                    </a:cubicBezTo>
                    <a:cubicBezTo>
                      <a:pt x="44" y="53"/>
                      <a:pt x="43" y="56"/>
                      <a:pt x="40" y="56"/>
                    </a:cubicBezTo>
                    <a:cubicBezTo>
                      <a:pt x="38" y="56"/>
                      <a:pt x="38" y="54"/>
                      <a:pt x="38" y="52"/>
                    </a:cubicBezTo>
                    <a:cubicBezTo>
                      <a:pt x="38" y="51"/>
                      <a:pt x="36" y="53"/>
                      <a:pt x="35" y="53"/>
                    </a:cubicBezTo>
                    <a:cubicBezTo>
                      <a:pt x="34" y="53"/>
                      <a:pt x="33" y="53"/>
                      <a:pt x="32" y="55"/>
                    </a:cubicBezTo>
                    <a:cubicBezTo>
                      <a:pt x="32" y="56"/>
                      <a:pt x="30" y="56"/>
                      <a:pt x="28" y="56"/>
                    </a:cubicBezTo>
                    <a:cubicBezTo>
                      <a:pt x="26" y="56"/>
                      <a:pt x="27" y="57"/>
                      <a:pt x="26" y="59"/>
                    </a:cubicBezTo>
                    <a:cubicBezTo>
                      <a:pt x="25" y="61"/>
                      <a:pt x="23" y="59"/>
                      <a:pt x="22" y="61"/>
                    </a:cubicBezTo>
                    <a:cubicBezTo>
                      <a:pt x="20" y="64"/>
                      <a:pt x="18" y="63"/>
                      <a:pt x="17" y="61"/>
                    </a:cubicBezTo>
                    <a:cubicBezTo>
                      <a:pt x="17" y="60"/>
                      <a:pt x="14" y="61"/>
                      <a:pt x="12" y="61"/>
                    </a:cubicBezTo>
                    <a:cubicBezTo>
                      <a:pt x="10" y="61"/>
                      <a:pt x="5" y="62"/>
                      <a:pt x="5" y="62"/>
                    </a:cubicBezTo>
                    <a:close/>
                  </a:path>
                </a:pathLst>
              </a:custGeom>
              <a:solidFill>
                <a:schemeClr val="bg2">
                  <a:lumMod val="40000"/>
                  <a:lumOff val="60000"/>
                </a:schemeClr>
              </a:solid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95" name="Freeform 16"/>
              <p:cNvSpPr>
                <a:spLocks/>
              </p:cNvSpPr>
              <p:nvPr/>
            </p:nvSpPr>
            <p:spPr bwMode="gray">
              <a:xfrm>
                <a:off x="2609" y="2616"/>
                <a:ext cx="137" cy="64"/>
              </a:xfrm>
              <a:custGeom>
                <a:avLst/>
                <a:gdLst>
                  <a:gd name="T0" fmla="*/ 24 w 52"/>
                  <a:gd name="T1" fmla="*/ 1 h 24"/>
                  <a:gd name="T2" fmla="*/ 24 w 52"/>
                  <a:gd name="T3" fmla="*/ 5 h 24"/>
                  <a:gd name="T4" fmla="*/ 20 w 52"/>
                  <a:gd name="T5" fmla="*/ 9 h 24"/>
                  <a:gd name="T6" fmla="*/ 14 w 52"/>
                  <a:gd name="T7" fmla="*/ 8 h 24"/>
                  <a:gd name="T8" fmla="*/ 4 w 52"/>
                  <a:gd name="T9" fmla="*/ 8 h 24"/>
                  <a:gd name="T10" fmla="*/ 3 w 52"/>
                  <a:gd name="T11" fmla="*/ 14 h 24"/>
                  <a:gd name="T12" fmla="*/ 8 w 52"/>
                  <a:gd name="T13" fmla="*/ 16 h 24"/>
                  <a:gd name="T14" fmla="*/ 7 w 52"/>
                  <a:gd name="T15" fmla="*/ 18 h 24"/>
                  <a:gd name="T16" fmla="*/ 2 w 52"/>
                  <a:gd name="T17" fmla="*/ 20 h 24"/>
                  <a:gd name="T18" fmla="*/ 0 w 52"/>
                  <a:gd name="T19" fmla="*/ 22 h 24"/>
                  <a:gd name="T20" fmla="*/ 28 w 52"/>
                  <a:gd name="T21" fmla="*/ 24 h 24"/>
                  <a:gd name="T22" fmla="*/ 50 w 52"/>
                  <a:gd name="T23" fmla="*/ 23 h 24"/>
                  <a:gd name="T24" fmla="*/ 50 w 52"/>
                  <a:gd name="T25" fmla="*/ 18 h 24"/>
                  <a:gd name="T26" fmla="*/ 51 w 52"/>
                  <a:gd name="T27" fmla="*/ 11 h 24"/>
                  <a:gd name="T28" fmla="*/ 49 w 52"/>
                  <a:gd name="T29" fmla="*/ 6 h 24"/>
                  <a:gd name="T30" fmla="*/ 42 w 52"/>
                  <a:gd name="T31" fmla="*/ 5 h 24"/>
                  <a:gd name="T32" fmla="*/ 35 w 52"/>
                  <a:gd name="T33" fmla="*/ 5 h 24"/>
                  <a:gd name="T34" fmla="*/ 29 w 52"/>
                  <a:gd name="T35" fmla="*/ 1 h 24"/>
                  <a:gd name="T36" fmla="*/ 24 w 52"/>
                  <a:gd name="T37"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 h="24">
                    <a:moveTo>
                      <a:pt x="24" y="1"/>
                    </a:moveTo>
                    <a:cubicBezTo>
                      <a:pt x="24" y="1"/>
                      <a:pt x="24" y="2"/>
                      <a:pt x="24" y="5"/>
                    </a:cubicBezTo>
                    <a:cubicBezTo>
                      <a:pt x="24" y="7"/>
                      <a:pt x="22" y="9"/>
                      <a:pt x="20" y="9"/>
                    </a:cubicBezTo>
                    <a:cubicBezTo>
                      <a:pt x="17" y="9"/>
                      <a:pt x="16" y="8"/>
                      <a:pt x="14" y="8"/>
                    </a:cubicBezTo>
                    <a:cubicBezTo>
                      <a:pt x="12" y="7"/>
                      <a:pt x="6" y="8"/>
                      <a:pt x="4" y="8"/>
                    </a:cubicBezTo>
                    <a:cubicBezTo>
                      <a:pt x="2" y="8"/>
                      <a:pt x="3" y="13"/>
                      <a:pt x="3" y="14"/>
                    </a:cubicBezTo>
                    <a:cubicBezTo>
                      <a:pt x="4" y="16"/>
                      <a:pt x="6" y="16"/>
                      <a:pt x="8" y="16"/>
                    </a:cubicBezTo>
                    <a:cubicBezTo>
                      <a:pt x="10" y="16"/>
                      <a:pt x="9" y="18"/>
                      <a:pt x="7" y="18"/>
                    </a:cubicBezTo>
                    <a:cubicBezTo>
                      <a:pt x="5" y="19"/>
                      <a:pt x="3" y="19"/>
                      <a:pt x="2" y="20"/>
                    </a:cubicBezTo>
                    <a:cubicBezTo>
                      <a:pt x="2" y="22"/>
                      <a:pt x="0" y="22"/>
                      <a:pt x="0" y="22"/>
                    </a:cubicBezTo>
                    <a:cubicBezTo>
                      <a:pt x="0" y="22"/>
                      <a:pt x="17" y="24"/>
                      <a:pt x="28" y="24"/>
                    </a:cubicBezTo>
                    <a:cubicBezTo>
                      <a:pt x="38" y="24"/>
                      <a:pt x="50" y="23"/>
                      <a:pt x="50" y="23"/>
                    </a:cubicBezTo>
                    <a:cubicBezTo>
                      <a:pt x="50" y="22"/>
                      <a:pt x="50" y="20"/>
                      <a:pt x="50" y="18"/>
                    </a:cubicBezTo>
                    <a:cubicBezTo>
                      <a:pt x="50" y="16"/>
                      <a:pt x="51" y="12"/>
                      <a:pt x="51" y="11"/>
                    </a:cubicBezTo>
                    <a:cubicBezTo>
                      <a:pt x="52" y="10"/>
                      <a:pt x="51" y="8"/>
                      <a:pt x="49" y="6"/>
                    </a:cubicBezTo>
                    <a:cubicBezTo>
                      <a:pt x="47" y="4"/>
                      <a:pt x="44" y="4"/>
                      <a:pt x="42" y="5"/>
                    </a:cubicBezTo>
                    <a:cubicBezTo>
                      <a:pt x="39" y="5"/>
                      <a:pt x="38" y="6"/>
                      <a:pt x="35" y="5"/>
                    </a:cubicBezTo>
                    <a:cubicBezTo>
                      <a:pt x="32" y="3"/>
                      <a:pt x="32" y="1"/>
                      <a:pt x="29" y="1"/>
                    </a:cubicBezTo>
                    <a:cubicBezTo>
                      <a:pt x="27" y="0"/>
                      <a:pt x="24" y="1"/>
                      <a:pt x="24" y="1"/>
                    </a:cubicBezTo>
                    <a:close/>
                  </a:path>
                </a:pathLst>
              </a:custGeom>
              <a:solidFill>
                <a:srgbClr val="8D8F92"/>
              </a:solid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96" name="Freeform 17"/>
              <p:cNvSpPr>
                <a:spLocks/>
              </p:cNvSpPr>
              <p:nvPr/>
            </p:nvSpPr>
            <p:spPr bwMode="gray">
              <a:xfrm>
                <a:off x="2210" y="1284"/>
                <a:ext cx="512" cy="1327"/>
              </a:xfrm>
              <a:custGeom>
                <a:avLst/>
                <a:gdLst>
                  <a:gd name="T0" fmla="*/ 124 w 195"/>
                  <a:gd name="T1" fmla="*/ 11 h 505"/>
                  <a:gd name="T2" fmla="*/ 106 w 195"/>
                  <a:gd name="T3" fmla="*/ 23 h 505"/>
                  <a:gd name="T4" fmla="*/ 93 w 195"/>
                  <a:gd name="T5" fmla="*/ 38 h 505"/>
                  <a:gd name="T6" fmla="*/ 70 w 195"/>
                  <a:gd name="T7" fmla="*/ 55 h 505"/>
                  <a:gd name="T8" fmla="*/ 66 w 195"/>
                  <a:gd name="T9" fmla="*/ 82 h 505"/>
                  <a:gd name="T10" fmla="*/ 45 w 195"/>
                  <a:gd name="T11" fmla="*/ 115 h 505"/>
                  <a:gd name="T12" fmla="*/ 41 w 195"/>
                  <a:gd name="T13" fmla="*/ 149 h 505"/>
                  <a:gd name="T14" fmla="*/ 37 w 195"/>
                  <a:gd name="T15" fmla="*/ 180 h 505"/>
                  <a:gd name="T16" fmla="*/ 15 w 195"/>
                  <a:gd name="T17" fmla="*/ 201 h 505"/>
                  <a:gd name="T18" fmla="*/ 10 w 195"/>
                  <a:gd name="T19" fmla="*/ 235 h 505"/>
                  <a:gd name="T20" fmla="*/ 13 w 195"/>
                  <a:gd name="T21" fmla="*/ 277 h 505"/>
                  <a:gd name="T22" fmla="*/ 25 w 195"/>
                  <a:gd name="T23" fmla="*/ 303 h 505"/>
                  <a:gd name="T24" fmla="*/ 21 w 195"/>
                  <a:gd name="T25" fmla="*/ 329 h 505"/>
                  <a:gd name="T26" fmla="*/ 11 w 195"/>
                  <a:gd name="T27" fmla="*/ 354 h 505"/>
                  <a:gd name="T28" fmla="*/ 10 w 195"/>
                  <a:gd name="T29" fmla="*/ 381 h 505"/>
                  <a:gd name="T30" fmla="*/ 1 w 195"/>
                  <a:gd name="T31" fmla="*/ 385 h 505"/>
                  <a:gd name="T32" fmla="*/ 6 w 195"/>
                  <a:gd name="T33" fmla="*/ 408 h 505"/>
                  <a:gd name="T34" fmla="*/ 8 w 195"/>
                  <a:gd name="T35" fmla="*/ 411 h 505"/>
                  <a:gd name="T36" fmla="*/ 8 w 195"/>
                  <a:gd name="T37" fmla="*/ 417 h 505"/>
                  <a:gd name="T38" fmla="*/ 12 w 195"/>
                  <a:gd name="T39" fmla="*/ 428 h 505"/>
                  <a:gd name="T40" fmla="*/ 19 w 195"/>
                  <a:gd name="T41" fmla="*/ 445 h 505"/>
                  <a:gd name="T42" fmla="*/ 31 w 195"/>
                  <a:gd name="T43" fmla="*/ 464 h 505"/>
                  <a:gd name="T44" fmla="*/ 32 w 195"/>
                  <a:gd name="T45" fmla="*/ 477 h 505"/>
                  <a:gd name="T46" fmla="*/ 35 w 195"/>
                  <a:gd name="T47" fmla="*/ 492 h 505"/>
                  <a:gd name="T48" fmla="*/ 35 w 195"/>
                  <a:gd name="T49" fmla="*/ 503 h 505"/>
                  <a:gd name="T50" fmla="*/ 57 w 195"/>
                  <a:gd name="T51" fmla="*/ 501 h 505"/>
                  <a:gd name="T52" fmla="*/ 65 w 195"/>
                  <a:gd name="T53" fmla="*/ 483 h 505"/>
                  <a:gd name="T54" fmla="*/ 85 w 195"/>
                  <a:gd name="T55" fmla="*/ 478 h 505"/>
                  <a:gd name="T56" fmla="*/ 92 w 195"/>
                  <a:gd name="T57" fmla="*/ 446 h 505"/>
                  <a:gd name="T58" fmla="*/ 92 w 195"/>
                  <a:gd name="T59" fmla="*/ 426 h 505"/>
                  <a:gd name="T60" fmla="*/ 94 w 195"/>
                  <a:gd name="T61" fmla="*/ 410 h 505"/>
                  <a:gd name="T62" fmla="*/ 88 w 195"/>
                  <a:gd name="T63" fmla="*/ 399 h 505"/>
                  <a:gd name="T64" fmla="*/ 106 w 195"/>
                  <a:gd name="T65" fmla="*/ 392 h 505"/>
                  <a:gd name="T66" fmla="*/ 112 w 195"/>
                  <a:gd name="T67" fmla="*/ 391 h 505"/>
                  <a:gd name="T68" fmla="*/ 120 w 195"/>
                  <a:gd name="T69" fmla="*/ 385 h 505"/>
                  <a:gd name="T70" fmla="*/ 124 w 195"/>
                  <a:gd name="T71" fmla="*/ 363 h 505"/>
                  <a:gd name="T72" fmla="*/ 120 w 195"/>
                  <a:gd name="T73" fmla="*/ 342 h 505"/>
                  <a:gd name="T74" fmla="*/ 115 w 195"/>
                  <a:gd name="T75" fmla="*/ 337 h 505"/>
                  <a:gd name="T76" fmla="*/ 104 w 195"/>
                  <a:gd name="T77" fmla="*/ 328 h 505"/>
                  <a:gd name="T78" fmla="*/ 95 w 195"/>
                  <a:gd name="T79" fmla="*/ 311 h 505"/>
                  <a:gd name="T80" fmla="*/ 94 w 195"/>
                  <a:gd name="T81" fmla="*/ 285 h 505"/>
                  <a:gd name="T82" fmla="*/ 98 w 195"/>
                  <a:gd name="T83" fmla="*/ 272 h 505"/>
                  <a:gd name="T84" fmla="*/ 98 w 195"/>
                  <a:gd name="T85" fmla="*/ 256 h 505"/>
                  <a:gd name="T86" fmla="*/ 101 w 195"/>
                  <a:gd name="T87" fmla="*/ 237 h 505"/>
                  <a:gd name="T88" fmla="*/ 109 w 195"/>
                  <a:gd name="T89" fmla="*/ 242 h 505"/>
                  <a:gd name="T90" fmla="*/ 115 w 195"/>
                  <a:gd name="T91" fmla="*/ 229 h 505"/>
                  <a:gd name="T92" fmla="*/ 126 w 195"/>
                  <a:gd name="T93" fmla="*/ 219 h 505"/>
                  <a:gd name="T94" fmla="*/ 139 w 195"/>
                  <a:gd name="T95" fmla="*/ 210 h 505"/>
                  <a:gd name="T96" fmla="*/ 151 w 195"/>
                  <a:gd name="T97" fmla="*/ 190 h 505"/>
                  <a:gd name="T98" fmla="*/ 151 w 195"/>
                  <a:gd name="T99" fmla="*/ 171 h 505"/>
                  <a:gd name="T100" fmla="*/ 156 w 195"/>
                  <a:gd name="T101" fmla="*/ 151 h 505"/>
                  <a:gd name="T102" fmla="*/ 160 w 195"/>
                  <a:gd name="T103" fmla="*/ 140 h 505"/>
                  <a:gd name="T104" fmla="*/ 166 w 195"/>
                  <a:gd name="T105" fmla="*/ 129 h 505"/>
                  <a:gd name="T106" fmla="*/ 178 w 195"/>
                  <a:gd name="T107" fmla="*/ 129 h 505"/>
                  <a:gd name="T108" fmla="*/ 191 w 195"/>
                  <a:gd name="T109" fmla="*/ 129 h 505"/>
                  <a:gd name="T110" fmla="*/ 187 w 195"/>
                  <a:gd name="T111" fmla="*/ 98 h 505"/>
                  <a:gd name="T112" fmla="*/ 183 w 195"/>
                  <a:gd name="T113" fmla="*/ 67 h 505"/>
                  <a:gd name="T114" fmla="*/ 173 w 195"/>
                  <a:gd name="T115" fmla="*/ 38 h 505"/>
                  <a:gd name="T116" fmla="*/ 131 w 195"/>
                  <a:gd name="T117" fmla="*/ 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5" h="505">
                    <a:moveTo>
                      <a:pt x="131" y="0"/>
                    </a:moveTo>
                    <a:cubicBezTo>
                      <a:pt x="131" y="0"/>
                      <a:pt x="127" y="0"/>
                      <a:pt x="125" y="1"/>
                    </a:cubicBezTo>
                    <a:cubicBezTo>
                      <a:pt x="123" y="2"/>
                      <a:pt x="122" y="2"/>
                      <a:pt x="123" y="5"/>
                    </a:cubicBezTo>
                    <a:cubicBezTo>
                      <a:pt x="125" y="8"/>
                      <a:pt x="126" y="7"/>
                      <a:pt x="124" y="11"/>
                    </a:cubicBezTo>
                    <a:cubicBezTo>
                      <a:pt x="123" y="15"/>
                      <a:pt x="120" y="20"/>
                      <a:pt x="122" y="22"/>
                    </a:cubicBezTo>
                    <a:cubicBezTo>
                      <a:pt x="124" y="23"/>
                      <a:pt x="123" y="24"/>
                      <a:pt x="122" y="26"/>
                    </a:cubicBezTo>
                    <a:cubicBezTo>
                      <a:pt x="121" y="28"/>
                      <a:pt x="119" y="27"/>
                      <a:pt x="116" y="26"/>
                    </a:cubicBezTo>
                    <a:cubicBezTo>
                      <a:pt x="113" y="24"/>
                      <a:pt x="109" y="23"/>
                      <a:pt x="106" y="23"/>
                    </a:cubicBezTo>
                    <a:cubicBezTo>
                      <a:pt x="103" y="22"/>
                      <a:pt x="103" y="23"/>
                      <a:pt x="101" y="23"/>
                    </a:cubicBezTo>
                    <a:cubicBezTo>
                      <a:pt x="99" y="22"/>
                      <a:pt x="97" y="19"/>
                      <a:pt x="95" y="20"/>
                    </a:cubicBezTo>
                    <a:cubicBezTo>
                      <a:pt x="93" y="20"/>
                      <a:pt x="91" y="19"/>
                      <a:pt x="92" y="25"/>
                    </a:cubicBezTo>
                    <a:cubicBezTo>
                      <a:pt x="93" y="31"/>
                      <a:pt x="94" y="34"/>
                      <a:pt x="93" y="38"/>
                    </a:cubicBezTo>
                    <a:cubicBezTo>
                      <a:pt x="91" y="41"/>
                      <a:pt x="91" y="43"/>
                      <a:pt x="88" y="41"/>
                    </a:cubicBezTo>
                    <a:cubicBezTo>
                      <a:pt x="84" y="40"/>
                      <a:pt x="84" y="38"/>
                      <a:pt x="81" y="39"/>
                    </a:cubicBezTo>
                    <a:cubicBezTo>
                      <a:pt x="78" y="40"/>
                      <a:pt x="76" y="44"/>
                      <a:pt x="73" y="47"/>
                    </a:cubicBezTo>
                    <a:cubicBezTo>
                      <a:pt x="71" y="50"/>
                      <a:pt x="71" y="51"/>
                      <a:pt x="70" y="55"/>
                    </a:cubicBezTo>
                    <a:cubicBezTo>
                      <a:pt x="69" y="59"/>
                      <a:pt x="68" y="61"/>
                      <a:pt x="65" y="63"/>
                    </a:cubicBezTo>
                    <a:cubicBezTo>
                      <a:pt x="63" y="66"/>
                      <a:pt x="63" y="65"/>
                      <a:pt x="65" y="68"/>
                    </a:cubicBezTo>
                    <a:cubicBezTo>
                      <a:pt x="67" y="71"/>
                      <a:pt x="69" y="73"/>
                      <a:pt x="69" y="77"/>
                    </a:cubicBezTo>
                    <a:cubicBezTo>
                      <a:pt x="69" y="80"/>
                      <a:pt x="68" y="79"/>
                      <a:pt x="66" y="82"/>
                    </a:cubicBezTo>
                    <a:cubicBezTo>
                      <a:pt x="64" y="85"/>
                      <a:pt x="61" y="89"/>
                      <a:pt x="59" y="94"/>
                    </a:cubicBezTo>
                    <a:cubicBezTo>
                      <a:pt x="57" y="99"/>
                      <a:pt x="53" y="99"/>
                      <a:pt x="54" y="103"/>
                    </a:cubicBezTo>
                    <a:cubicBezTo>
                      <a:pt x="56" y="107"/>
                      <a:pt x="57" y="108"/>
                      <a:pt x="55" y="109"/>
                    </a:cubicBezTo>
                    <a:cubicBezTo>
                      <a:pt x="54" y="111"/>
                      <a:pt x="47" y="115"/>
                      <a:pt x="45" y="115"/>
                    </a:cubicBezTo>
                    <a:cubicBezTo>
                      <a:pt x="43" y="115"/>
                      <a:pt x="41" y="116"/>
                      <a:pt x="42" y="120"/>
                    </a:cubicBezTo>
                    <a:cubicBezTo>
                      <a:pt x="43" y="125"/>
                      <a:pt x="44" y="128"/>
                      <a:pt x="43" y="131"/>
                    </a:cubicBezTo>
                    <a:cubicBezTo>
                      <a:pt x="42" y="134"/>
                      <a:pt x="42" y="136"/>
                      <a:pt x="43" y="140"/>
                    </a:cubicBezTo>
                    <a:cubicBezTo>
                      <a:pt x="43" y="145"/>
                      <a:pt x="42" y="148"/>
                      <a:pt x="41" y="149"/>
                    </a:cubicBezTo>
                    <a:cubicBezTo>
                      <a:pt x="40" y="149"/>
                      <a:pt x="40" y="150"/>
                      <a:pt x="40" y="154"/>
                    </a:cubicBezTo>
                    <a:cubicBezTo>
                      <a:pt x="40" y="157"/>
                      <a:pt x="38" y="160"/>
                      <a:pt x="35" y="165"/>
                    </a:cubicBezTo>
                    <a:cubicBezTo>
                      <a:pt x="33" y="170"/>
                      <a:pt x="30" y="173"/>
                      <a:pt x="31" y="175"/>
                    </a:cubicBezTo>
                    <a:cubicBezTo>
                      <a:pt x="33" y="177"/>
                      <a:pt x="35" y="180"/>
                      <a:pt x="37" y="180"/>
                    </a:cubicBezTo>
                    <a:cubicBezTo>
                      <a:pt x="38" y="180"/>
                      <a:pt x="38" y="181"/>
                      <a:pt x="39" y="186"/>
                    </a:cubicBezTo>
                    <a:cubicBezTo>
                      <a:pt x="39" y="190"/>
                      <a:pt x="41" y="194"/>
                      <a:pt x="37" y="195"/>
                    </a:cubicBezTo>
                    <a:cubicBezTo>
                      <a:pt x="33" y="196"/>
                      <a:pt x="27" y="195"/>
                      <a:pt x="26" y="194"/>
                    </a:cubicBezTo>
                    <a:cubicBezTo>
                      <a:pt x="24" y="193"/>
                      <a:pt x="18" y="197"/>
                      <a:pt x="15" y="201"/>
                    </a:cubicBezTo>
                    <a:cubicBezTo>
                      <a:pt x="13" y="204"/>
                      <a:pt x="9" y="212"/>
                      <a:pt x="9" y="214"/>
                    </a:cubicBezTo>
                    <a:cubicBezTo>
                      <a:pt x="9" y="216"/>
                      <a:pt x="10" y="217"/>
                      <a:pt x="9" y="220"/>
                    </a:cubicBezTo>
                    <a:cubicBezTo>
                      <a:pt x="8" y="222"/>
                      <a:pt x="7" y="225"/>
                      <a:pt x="8" y="228"/>
                    </a:cubicBezTo>
                    <a:cubicBezTo>
                      <a:pt x="9" y="231"/>
                      <a:pt x="11" y="233"/>
                      <a:pt x="10" y="235"/>
                    </a:cubicBezTo>
                    <a:cubicBezTo>
                      <a:pt x="9" y="238"/>
                      <a:pt x="9" y="240"/>
                      <a:pt x="10" y="245"/>
                    </a:cubicBezTo>
                    <a:cubicBezTo>
                      <a:pt x="10" y="250"/>
                      <a:pt x="9" y="253"/>
                      <a:pt x="11" y="258"/>
                    </a:cubicBezTo>
                    <a:cubicBezTo>
                      <a:pt x="13" y="262"/>
                      <a:pt x="14" y="261"/>
                      <a:pt x="13" y="265"/>
                    </a:cubicBezTo>
                    <a:cubicBezTo>
                      <a:pt x="13" y="269"/>
                      <a:pt x="13" y="271"/>
                      <a:pt x="13" y="277"/>
                    </a:cubicBezTo>
                    <a:cubicBezTo>
                      <a:pt x="12" y="284"/>
                      <a:pt x="11" y="285"/>
                      <a:pt x="13" y="287"/>
                    </a:cubicBezTo>
                    <a:cubicBezTo>
                      <a:pt x="14" y="288"/>
                      <a:pt x="17" y="292"/>
                      <a:pt x="18" y="292"/>
                    </a:cubicBezTo>
                    <a:cubicBezTo>
                      <a:pt x="19" y="293"/>
                      <a:pt x="23" y="295"/>
                      <a:pt x="23" y="297"/>
                    </a:cubicBezTo>
                    <a:cubicBezTo>
                      <a:pt x="24" y="300"/>
                      <a:pt x="25" y="299"/>
                      <a:pt x="25" y="303"/>
                    </a:cubicBezTo>
                    <a:cubicBezTo>
                      <a:pt x="24" y="307"/>
                      <a:pt x="23" y="311"/>
                      <a:pt x="22" y="311"/>
                    </a:cubicBezTo>
                    <a:cubicBezTo>
                      <a:pt x="20" y="312"/>
                      <a:pt x="16" y="311"/>
                      <a:pt x="16" y="313"/>
                    </a:cubicBezTo>
                    <a:cubicBezTo>
                      <a:pt x="16" y="315"/>
                      <a:pt x="16" y="317"/>
                      <a:pt x="17" y="320"/>
                    </a:cubicBezTo>
                    <a:cubicBezTo>
                      <a:pt x="17" y="323"/>
                      <a:pt x="20" y="327"/>
                      <a:pt x="21" y="329"/>
                    </a:cubicBezTo>
                    <a:cubicBezTo>
                      <a:pt x="22" y="332"/>
                      <a:pt x="21" y="336"/>
                      <a:pt x="21" y="338"/>
                    </a:cubicBezTo>
                    <a:cubicBezTo>
                      <a:pt x="20" y="340"/>
                      <a:pt x="21" y="342"/>
                      <a:pt x="21" y="344"/>
                    </a:cubicBezTo>
                    <a:cubicBezTo>
                      <a:pt x="20" y="347"/>
                      <a:pt x="18" y="352"/>
                      <a:pt x="17" y="353"/>
                    </a:cubicBezTo>
                    <a:cubicBezTo>
                      <a:pt x="15" y="354"/>
                      <a:pt x="12" y="353"/>
                      <a:pt x="11" y="354"/>
                    </a:cubicBezTo>
                    <a:cubicBezTo>
                      <a:pt x="10" y="354"/>
                      <a:pt x="11" y="356"/>
                      <a:pt x="11" y="359"/>
                    </a:cubicBezTo>
                    <a:cubicBezTo>
                      <a:pt x="11" y="361"/>
                      <a:pt x="8" y="363"/>
                      <a:pt x="8" y="365"/>
                    </a:cubicBezTo>
                    <a:cubicBezTo>
                      <a:pt x="9" y="367"/>
                      <a:pt x="9" y="372"/>
                      <a:pt x="10" y="374"/>
                    </a:cubicBezTo>
                    <a:cubicBezTo>
                      <a:pt x="11" y="376"/>
                      <a:pt x="10" y="378"/>
                      <a:pt x="10" y="381"/>
                    </a:cubicBezTo>
                    <a:cubicBezTo>
                      <a:pt x="9" y="385"/>
                      <a:pt x="9" y="390"/>
                      <a:pt x="8" y="390"/>
                    </a:cubicBezTo>
                    <a:cubicBezTo>
                      <a:pt x="7" y="390"/>
                      <a:pt x="5" y="386"/>
                      <a:pt x="4" y="384"/>
                    </a:cubicBezTo>
                    <a:cubicBezTo>
                      <a:pt x="3" y="382"/>
                      <a:pt x="1" y="381"/>
                      <a:pt x="1" y="381"/>
                    </a:cubicBezTo>
                    <a:cubicBezTo>
                      <a:pt x="1" y="381"/>
                      <a:pt x="1" y="383"/>
                      <a:pt x="1" y="385"/>
                    </a:cubicBezTo>
                    <a:cubicBezTo>
                      <a:pt x="0" y="386"/>
                      <a:pt x="1" y="387"/>
                      <a:pt x="1" y="389"/>
                    </a:cubicBezTo>
                    <a:cubicBezTo>
                      <a:pt x="2" y="392"/>
                      <a:pt x="3" y="396"/>
                      <a:pt x="3" y="399"/>
                    </a:cubicBezTo>
                    <a:cubicBezTo>
                      <a:pt x="3" y="403"/>
                      <a:pt x="2" y="407"/>
                      <a:pt x="4" y="407"/>
                    </a:cubicBezTo>
                    <a:cubicBezTo>
                      <a:pt x="5" y="407"/>
                      <a:pt x="5" y="407"/>
                      <a:pt x="6" y="408"/>
                    </a:cubicBezTo>
                    <a:cubicBezTo>
                      <a:pt x="6" y="410"/>
                      <a:pt x="7" y="412"/>
                      <a:pt x="7" y="410"/>
                    </a:cubicBezTo>
                    <a:cubicBezTo>
                      <a:pt x="8" y="409"/>
                      <a:pt x="7" y="406"/>
                      <a:pt x="8" y="405"/>
                    </a:cubicBezTo>
                    <a:cubicBezTo>
                      <a:pt x="9" y="405"/>
                      <a:pt x="10" y="406"/>
                      <a:pt x="9" y="408"/>
                    </a:cubicBezTo>
                    <a:cubicBezTo>
                      <a:pt x="8" y="409"/>
                      <a:pt x="7" y="412"/>
                      <a:pt x="8" y="411"/>
                    </a:cubicBezTo>
                    <a:cubicBezTo>
                      <a:pt x="10" y="411"/>
                      <a:pt x="11" y="407"/>
                      <a:pt x="13" y="408"/>
                    </a:cubicBezTo>
                    <a:cubicBezTo>
                      <a:pt x="14" y="409"/>
                      <a:pt x="14" y="410"/>
                      <a:pt x="13" y="411"/>
                    </a:cubicBezTo>
                    <a:cubicBezTo>
                      <a:pt x="11" y="412"/>
                      <a:pt x="8" y="413"/>
                      <a:pt x="7" y="415"/>
                    </a:cubicBezTo>
                    <a:cubicBezTo>
                      <a:pt x="6" y="416"/>
                      <a:pt x="7" y="417"/>
                      <a:pt x="8" y="417"/>
                    </a:cubicBezTo>
                    <a:cubicBezTo>
                      <a:pt x="10" y="418"/>
                      <a:pt x="11" y="415"/>
                      <a:pt x="11" y="418"/>
                    </a:cubicBezTo>
                    <a:cubicBezTo>
                      <a:pt x="12" y="420"/>
                      <a:pt x="12" y="416"/>
                      <a:pt x="13" y="414"/>
                    </a:cubicBezTo>
                    <a:cubicBezTo>
                      <a:pt x="13" y="413"/>
                      <a:pt x="12" y="419"/>
                      <a:pt x="12" y="421"/>
                    </a:cubicBezTo>
                    <a:cubicBezTo>
                      <a:pt x="11" y="424"/>
                      <a:pt x="11" y="426"/>
                      <a:pt x="12" y="428"/>
                    </a:cubicBezTo>
                    <a:cubicBezTo>
                      <a:pt x="13" y="429"/>
                      <a:pt x="14" y="429"/>
                      <a:pt x="14" y="431"/>
                    </a:cubicBezTo>
                    <a:cubicBezTo>
                      <a:pt x="14" y="433"/>
                      <a:pt x="15" y="432"/>
                      <a:pt x="15" y="437"/>
                    </a:cubicBezTo>
                    <a:cubicBezTo>
                      <a:pt x="15" y="441"/>
                      <a:pt x="15" y="441"/>
                      <a:pt x="17" y="440"/>
                    </a:cubicBezTo>
                    <a:cubicBezTo>
                      <a:pt x="18" y="440"/>
                      <a:pt x="19" y="442"/>
                      <a:pt x="19" y="445"/>
                    </a:cubicBezTo>
                    <a:cubicBezTo>
                      <a:pt x="20" y="448"/>
                      <a:pt x="21" y="449"/>
                      <a:pt x="22" y="452"/>
                    </a:cubicBezTo>
                    <a:cubicBezTo>
                      <a:pt x="23" y="454"/>
                      <a:pt x="24" y="454"/>
                      <a:pt x="25" y="456"/>
                    </a:cubicBezTo>
                    <a:cubicBezTo>
                      <a:pt x="26" y="458"/>
                      <a:pt x="26" y="457"/>
                      <a:pt x="28" y="460"/>
                    </a:cubicBezTo>
                    <a:cubicBezTo>
                      <a:pt x="29" y="463"/>
                      <a:pt x="29" y="463"/>
                      <a:pt x="31" y="464"/>
                    </a:cubicBezTo>
                    <a:cubicBezTo>
                      <a:pt x="33" y="464"/>
                      <a:pt x="33" y="464"/>
                      <a:pt x="34" y="467"/>
                    </a:cubicBezTo>
                    <a:cubicBezTo>
                      <a:pt x="34" y="470"/>
                      <a:pt x="34" y="470"/>
                      <a:pt x="32" y="470"/>
                    </a:cubicBezTo>
                    <a:cubicBezTo>
                      <a:pt x="31" y="471"/>
                      <a:pt x="29" y="469"/>
                      <a:pt x="30" y="472"/>
                    </a:cubicBezTo>
                    <a:cubicBezTo>
                      <a:pt x="30" y="474"/>
                      <a:pt x="33" y="476"/>
                      <a:pt x="32" y="477"/>
                    </a:cubicBezTo>
                    <a:cubicBezTo>
                      <a:pt x="30" y="477"/>
                      <a:pt x="29" y="477"/>
                      <a:pt x="28" y="477"/>
                    </a:cubicBezTo>
                    <a:cubicBezTo>
                      <a:pt x="27" y="477"/>
                      <a:pt x="28" y="480"/>
                      <a:pt x="30" y="483"/>
                    </a:cubicBezTo>
                    <a:cubicBezTo>
                      <a:pt x="32" y="486"/>
                      <a:pt x="33" y="488"/>
                      <a:pt x="34" y="490"/>
                    </a:cubicBezTo>
                    <a:cubicBezTo>
                      <a:pt x="34" y="492"/>
                      <a:pt x="35" y="492"/>
                      <a:pt x="35" y="492"/>
                    </a:cubicBezTo>
                    <a:cubicBezTo>
                      <a:pt x="36" y="493"/>
                      <a:pt x="36" y="494"/>
                      <a:pt x="36" y="495"/>
                    </a:cubicBezTo>
                    <a:cubicBezTo>
                      <a:pt x="35" y="497"/>
                      <a:pt x="33" y="498"/>
                      <a:pt x="34" y="500"/>
                    </a:cubicBezTo>
                    <a:cubicBezTo>
                      <a:pt x="35" y="502"/>
                      <a:pt x="35" y="501"/>
                      <a:pt x="34" y="502"/>
                    </a:cubicBezTo>
                    <a:cubicBezTo>
                      <a:pt x="33" y="503"/>
                      <a:pt x="34" y="503"/>
                      <a:pt x="35" y="503"/>
                    </a:cubicBezTo>
                    <a:cubicBezTo>
                      <a:pt x="37" y="503"/>
                      <a:pt x="37" y="502"/>
                      <a:pt x="40" y="504"/>
                    </a:cubicBezTo>
                    <a:cubicBezTo>
                      <a:pt x="42" y="505"/>
                      <a:pt x="42" y="505"/>
                      <a:pt x="44" y="503"/>
                    </a:cubicBezTo>
                    <a:cubicBezTo>
                      <a:pt x="46" y="501"/>
                      <a:pt x="49" y="501"/>
                      <a:pt x="52" y="501"/>
                    </a:cubicBezTo>
                    <a:cubicBezTo>
                      <a:pt x="55" y="502"/>
                      <a:pt x="56" y="502"/>
                      <a:pt x="57" y="501"/>
                    </a:cubicBezTo>
                    <a:cubicBezTo>
                      <a:pt x="59" y="500"/>
                      <a:pt x="59" y="498"/>
                      <a:pt x="58" y="495"/>
                    </a:cubicBezTo>
                    <a:cubicBezTo>
                      <a:pt x="57" y="493"/>
                      <a:pt x="55" y="490"/>
                      <a:pt x="57" y="487"/>
                    </a:cubicBezTo>
                    <a:cubicBezTo>
                      <a:pt x="59" y="484"/>
                      <a:pt x="61" y="482"/>
                      <a:pt x="62" y="483"/>
                    </a:cubicBezTo>
                    <a:cubicBezTo>
                      <a:pt x="63" y="485"/>
                      <a:pt x="65" y="484"/>
                      <a:pt x="65" y="483"/>
                    </a:cubicBezTo>
                    <a:cubicBezTo>
                      <a:pt x="65" y="482"/>
                      <a:pt x="64" y="480"/>
                      <a:pt x="66" y="479"/>
                    </a:cubicBezTo>
                    <a:cubicBezTo>
                      <a:pt x="68" y="479"/>
                      <a:pt x="71" y="480"/>
                      <a:pt x="74" y="480"/>
                    </a:cubicBezTo>
                    <a:cubicBezTo>
                      <a:pt x="77" y="479"/>
                      <a:pt x="78" y="478"/>
                      <a:pt x="81" y="479"/>
                    </a:cubicBezTo>
                    <a:cubicBezTo>
                      <a:pt x="83" y="480"/>
                      <a:pt x="83" y="480"/>
                      <a:pt x="85" y="478"/>
                    </a:cubicBezTo>
                    <a:cubicBezTo>
                      <a:pt x="86" y="477"/>
                      <a:pt x="88" y="469"/>
                      <a:pt x="88" y="467"/>
                    </a:cubicBezTo>
                    <a:cubicBezTo>
                      <a:pt x="89" y="465"/>
                      <a:pt x="92" y="462"/>
                      <a:pt x="92" y="459"/>
                    </a:cubicBezTo>
                    <a:cubicBezTo>
                      <a:pt x="92" y="456"/>
                      <a:pt x="91" y="454"/>
                      <a:pt x="93" y="453"/>
                    </a:cubicBezTo>
                    <a:cubicBezTo>
                      <a:pt x="95" y="452"/>
                      <a:pt x="92" y="449"/>
                      <a:pt x="92" y="446"/>
                    </a:cubicBezTo>
                    <a:cubicBezTo>
                      <a:pt x="91" y="443"/>
                      <a:pt x="92" y="443"/>
                      <a:pt x="94" y="441"/>
                    </a:cubicBezTo>
                    <a:cubicBezTo>
                      <a:pt x="96" y="438"/>
                      <a:pt x="94" y="438"/>
                      <a:pt x="93" y="436"/>
                    </a:cubicBezTo>
                    <a:cubicBezTo>
                      <a:pt x="92" y="434"/>
                      <a:pt x="92" y="432"/>
                      <a:pt x="94" y="431"/>
                    </a:cubicBezTo>
                    <a:cubicBezTo>
                      <a:pt x="96" y="430"/>
                      <a:pt x="93" y="428"/>
                      <a:pt x="92" y="426"/>
                    </a:cubicBezTo>
                    <a:cubicBezTo>
                      <a:pt x="92" y="424"/>
                      <a:pt x="91" y="423"/>
                      <a:pt x="94" y="423"/>
                    </a:cubicBezTo>
                    <a:cubicBezTo>
                      <a:pt x="96" y="424"/>
                      <a:pt x="95" y="423"/>
                      <a:pt x="95" y="421"/>
                    </a:cubicBezTo>
                    <a:cubicBezTo>
                      <a:pt x="95" y="418"/>
                      <a:pt x="95" y="419"/>
                      <a:pt x="96" y="417"/>
                    </a:cubicBezTo>
                    <a:cubicBezTo>
                      <a:pt x="97" y="415"/>
                      <a:pt x="97" y="413"/>
                      <a:pt x="94" y="410"/>
                    </a:cubicBezTo>
                    <a:cubicBezTo>
                      <a:pt x="92" y="406"/>
                      <a:pt x="88" y="403"/>
                      <a:pt x="90" y="404"/>
                    </a:cubicBezTo>
                    <a:cubicBezTo>
                      <a:pt x="92" y="405"/>
                      <a:pt x="96" y="407"/>
                      <a:pt x="96" y="404"/>
                    </a:cubicBezTo>
                    <a:cubicBezTo>
                      <a:pt x="96" y="401"/>
                      <a:pt x="93" y="399"/>
                      <a:pt x="91" y="399"/>
                    </a:cubicBezTo>
                    <a:cubicBezTo>
                      <a:pt x="89" y="399"/>
                      <a:pt x="86" y="401"/>
                      <a:pt x="88" y="399"/>
                    </a:cubicBezTo>
                    <a:cubicBezTo>
                      <a:pt x="89" y="398"/>
                      <a:pt x="92" y="398"/>
                      <a:pt x="95" y="399"/>
                    </a:cubicBezTo>
                    <a:cubicBezTo>
                      <a:pt x="98" y="399"/>
                      <a:pt x="101" y="400"/>
                      <a:pt x="100" y="398"/>
                    </a:cubicBezTo>
                    <a:cubicBezTo>
                      <a:pt x="100" y="396"/>
                      <a:pt x="99" y="395"/>
                      <a:pt x="102" y="395"/>
                    </a:cubicBezTo>
                    <a:cubicBezTo>
                      <a:pt x="105" y="395"/>
                      <a:pt x="107" y="394"/>
                      <a:pt x="106" y="392"/>
                    </a:cubicBezTo>
                    <a:cubicBezTo>
                      <a:pt x="106" y="389"/>
                      <a:pt x="106" y="390"/>
                      <a:pt x="108" y="389"/>
                    </a:cubicBezTo>
                    <a:cubicBezTo>
                      <a:pt x="109" y="388"/>
                      <a:pt x="109" y="387"/>
                      <a:pt x="109" y="385"/>
                    </a:cubicBezTo>
                    <a:cubicBezTo>
                      <a:pt x="108" y="382"/>
                      <a:pt x="110" y="383"/>
                      <a:pt x="110" y="386"/>
                    </a:cubicBezTo>
                    <a:cubicBezTo>
                      <a:pt x="110" y="390"/>
                      <a:pt x="110" y="393"/>
                      <a:pt x="112" y="391"/>
                    </a:cubicBezTo>
                    <a:cubicBezTo>
                      <a:pt x="114" y="389"/>
                      <a:pt x="113" y="386"/>
                      <a:pt x="115" y="385"/>
                    </a:cubicBezTo>
                    <a:cubicBezTo>
                      <a:pt x="116" y="384"/>
                      <a:pt x="116" y="388"/>
                      <a:pt x="116" y="386"/>
                    </a:cubicBezTo>
                    <a:cubicBezTo>
                      <a:pt x="117" y="383"/>
                      <a:pt x="116" y="382"/>
                      <a:pt x="119" y="382"/>
                    </a:cubicBezTo>
                    <a:cubicBezTo>
                      <a:pt x="121" y="381"/>
                      <a:pt x="119" y="387"/>
                      <a:pt x="120" y="385"/>
                    </a:cubicBezTo>
                    <a:cubicBezTo>
                      <a:pt x="122" y="383"/>
                      <a:pt x="121" y="381"/>
                      <a:pt x="120" y="379"/>
                    </a:cubicBezTo>
                    <a:cubicBezTo>
                      <a:pt x="119" y="377"/>
                      <a:pt x="118" y="376"/>
                      <a:pt x="117" y="373"/>
                    </a:cubicBezTo>
                    <a:cubicBezTo>
                      <a:pt x="116" y="371"/>
                      <a:pt x="119" y="370"/>
                      <a:pt x="120" y="368"/>
                    </a:cubicBezTo>
                    <a:cubicBezTo>
                      <a:pt x="121" y="367"/>
                      <a:pt x="123" y="366"/>
                      <a:pt x="124" y="363"/>
                    </a:cubicBezTo>
                    <a:cubicBezTo>
                      <a:pt x="125" y="360"/>
                      <a:pt x="127" y="361"/>
                      <a:pt x="129" y="360"/>
                    </a:cubicBezTo>
                    <a:cubicBezTo>
                      <a:pt x="131" y="359"/>
                      <a:pt x="128" y="358"/>
                      <a:pt x="127" y="355"/>
                    </a:cubicBezTo>
                    <a:cubicBezTo>
                      <a:pt x="126" y="352"/>
                      <a:pt x="127" y="347"/>
                      <a:pt x="125" y="346"/>
                    </a:cubicBezTo>
                    <a:cubicBezTo>
                      <a:pt x="122" y="346"/>
                      <a:pt x="120" y="346"/>
                      <a:pt x="120" y="342"/>
                    </a:cubicBezTo>
                    <a:cubicBezTo>
                      <a:pt x="119" y="338"/>
                      <a:pt x="120" y="340"/>
                      <a:pt x="120" y="337"/>
                    </a:cubicBezTo>
                    <a:cubicBezTo>
                      <a:pt x="120" y="334"/>
                      <a:pt x="118" y="331"/>
                      <a:pt x="118" y="332"/>
                    </a:cubicBezTo>
                    <a:cubicBezTo>
                      <a:pt x="117" y="333"/>
                      <a:pt x="117" y="334"/>
                      <a:pt x="117" y="336"/>
                    </a:cubicBezTo>
                    <a:cubicBezTo>
                      <a:pt x="117" y="337"/>
                      <a:pt x="116" y="337"/>
                      <a:pt x="115" y="337"/>
                    </a:cubicBezTo>
                    <a:cubicBezTo>
                      <a:pt x="114" y="337"/>
                      <a:pt x="112" y="333"/>
                      <a:pt x="111" y="332"/>
                    </a:cubicBezTo>
                    <a:cubicBezTo>
                      <a:pt x="111" y="331"/>
                      <a:pt x="111" y="327"/>
                      <a:pt x="110" y="327"/>
                    </a:cubicBezTo>
                    <a:cubicBezTo>
                      <a:pt x="109" y="328"/>
                      <a:pt x="107" y="329"/>
                      <a:pt x="106" y="330"/>
                    </a:cubicBezTo>
                    <a:cubicBezTo>
                      <a:pt x="106" y="331"/>
                      <a:pt x="104" y="330"/>
                      <a:pt x="104" y="328"/>
                    </a:cubicBezTo>
                    <a:cubicBezTo>
                      <a:pt x="104" y="325"/>
                      <a:pt x="103" y="325"/>
                      <a:pt x="101" y="326"/>
                    </a:cubicBezTo>
                    <a:cubicBezTo>
                      <a:pt x="99" y="327"/>
                      <a:pt x="96" y="326"/>
                      <a:pt x="98" y="324"/>
                    </a:cubicBezTo>
                    <a:cubicBezTo>
                      <a:pt x="99" y="322"/>
                      <a:pt x="99" y="322"/>
                      <a:pt x="97" y="319"/>
                    </a:cubicBezTo>
                    <a:cubicBezTo>
                      <a:pt x="96" y="315"/>
                      <a:pt x="95" y="315"/>
                      <a:pt x="95" y="311"/>
                    </a:cubicBezTo>
                    <a:cubicBezTo>
                      <a:pt x="95" y="306"/>
                      <a:pt x="95" y="301"/>
                      <a:pt x="95" y="299"/>
                    </a:cubicBezTo>
                    <a:cubicBezTo>
                      <a:pt x="94" y="297"/>
                      <a:pt x="94" y="297"/>
                      <a:pt x="94" y="294"/>
                    </a:cubicBezTo>
                    <a:cubicBezTo>
                      <a:pt x="94" y="292"/>
                      <a:pt x="93" y="292"/>
                      <a:pt x="94" y="290"/>
                    </a:cubicBezTo>
                    <a:cubicBezTo>
                      <a:pt x="94" y="288"/>
                      <a:pt x="93" y="285"/>
                      <a:pt x="94" y="285"/>
                    </a:cubicBezTo>
                    <a:cubicBezTo>
                      <a:pt x="96" y="285"/>
                      <a:pt x="97" y="285"/>
                      <a:pt x="98" y="287"/>
                    </a:cubicBezTo>
                    <a:cubicBezTo>
                      <a:pt x="99" y="289"/>
                      <a:pt x="99" y="288"/>
                      <a:pt x="99" y="286"/>
                    </a:cubicBezTo>
                    <a:cubicBezTo>
                      <a:pt x="99" y="284"/>
                      <a:pt x="96" y="285"/>
                      <a:pt x="96" y="281"/>
                    </a:cubicBezTo>
                    <a:cubicBezTo>
                      <a:pt x="97" y="278"/>
                      <a:pt x="97" y="275"/>
                      <a:pt x="98" y="272"/>
                    </a:cubicBezTo>
                    <a:cubicBezTo>
                      <a:pt x="99" y="269"/>
                      <a:pt x="98" y="268"/>
                      <a:pt x="99" y="267"/>
                    </a:cubicBezTo>
                    <a:cubicBezTo>
                      <a:pt x="101" y="266"/>
                      <a:pt x="99" y="265"/>
                      <a:pt x="98" y="264"/>
                    </a:cubicBezTo>
                    <a:cubicBezTo>
                      <a:pt x="96" y="262"/>
                      <a:pt x="95" y="262"/>
                      <a:pt x="96" y="259"/>
                    </a:cubicBezTo>
                    <a:cubicBezTo>
                      <a:pt x="97" y="256"/>
                      <a:pt x="97" y="255"/>
                      <a:pt x="98" y="256"/>
                    </a:cubicBezTo>
                    <a:cubicBezTo>
                      <a:pt x="99" y="258"/>
                      <a:pt x="100" y="258"/>
                      <a:pt x="102" y="256"/>
                    </a:cubicBezTo>
                    <a:cubicBezTo>
                      <a:pt x="103" y="255"/>
                      <a:pt x="104" y="251"/>
                      <a:pt x="104" y="251"/>
                    </a:cubicBezTo>
                    <a:cubicBezTo>
                      <a:pt x="104" y="251"/>
                      <a:pt x="105" y="246"/>
                      <a:pt x="103" y="243"/>
                    </a:cubicBezTo>
                    <a:cubicBezTo>
                      <a:pt x="102" y="240"/>
                      <a:pt x="101" y="239"/>
                      <a:pt x="101" y="237"/>
                    </a:cubicBezTo>
                    <a:cubicBezTo>
                      <a:pt x="101" y="235"/>
                      <a:pt x="101" y="234"/>
                      <a:pt x="101" y="234"/>
                    </a:cubicBezTo>
                    <a:cubicBezTo>
                      <a:pt x="101" y="234"/>
                      <a:pt x="101" y="237"/>
                      <a:pt x="103" y="241"/>
                    </a:cubicBezTo>
                    <a:cubicBezTo>
                      <a:pt x="106" y="244"/>
                      <a:pt x="105" y="248"/>
                      <a:pt x="106" y="247"/>
                    </a:cubicBezTo>
                    <a:cubicBezTo>
                      <a:pt x="108" y="245"/>
                      <a:pt x="107" y="240"/>
                      <a:pt x="109" y="242"/>
                    </a:cubicBezTo>
                    <a:cubicBezTo>
                      <a:pt x="110" y="243"/>
                      <a:pt x="112" y="242"/>
                      <a:pt x="113" y="240"/>
                    </a:cubicBezTo>
                    <a:cubicBezTo>
                      <a:pt x="113" y="239"/>
                      <a:pt x="111" y="239"/>
                      <a:pt x="110" y="237"/>
                    </a:cubicBezTo>
                    <a:cubicBezTo>
                      <a:pt x="109" y="236"/>
                      <a:pt x="111" y="234"/>
                      <a:pt x="112" y="233"/>
                    </a:cubicBezTo>
                    <a:cubicBezTo>
                      <a:pt x="114" y="232"/>
                      <a:pt x="115" y="230"/>
                      <a:pt x="115" y="229"/>
                    </a:cubicBezTo>
                    <a:cubicBezTo>
                      <a:pt x="116" y="227"/>
                      <a:pt x="117" y="227"/>
                      <a:pt x="119" y="228"/>
                    </a:cubicBezTo>
                    <a:cubicBezTo>
                      <a:pt x="121" y="230"/>
                      <a:pt x="121" y="230"/>
                      <a:pt x="122" y="228"/>
                    </a:cubicBezTo>
                    <a:cubicBezTo>
                      <a:pt x="123" y="225"/>
                      <a:pt x="122" y="226"/>
                      <a:pt x="124" y="224"/>
                    </a:cubicBezTo>
                    <a:cubicBezTo>
                      <a:pt x="125" y="222"/>
                      <a:pt x="124" y="219"/>
                      <a:pt x="126" y="219"/>
                    </a:cubicBezTo>
                    <a:cubicBezTo>
                      <a:pt x="128" y="218"/>
                      <a:pt x="127" y="217"/>
                      <a:pt x="128" y="216"/>
                    </a:cubicBezTo>
                    <a:cubicBezTo>
                      <a:pt x="129" y="214"/>
                      <a:pt x="128" y="222"/>
                      <a:pt x="130" y="219"/>
                    </a:cubicBezTo>
                    <a:cubicBezTo>
                      <a:pt x="133" y="217"/>
                      <a:pt x="133" y="214"/>
                      <a:pt x="135" y="214"/>
                    </a:cubicBezTo>
                    <a:cubicBezTo>
                      <a:pt x="137" y="213"/>
                      <a:pt x="138" y="212"/>
                      <a:pt x="139" y="210"/>
                    </a:cubicBezTo>
                    <a:cubicBezTo>
                      <a:pt x="140" y="207"/>
                      <a:pt x="140" y="207"/>
                      <a:pt x="141" y="209"/>
                    </a:cubicBezTo>
                    <a:cubicBezTo>
                      <a:pt x="141" y="211"/>
                      <a:pt x="143" y="208"/>
                      <a:pt x="144" y="206"/>
                    </a:cubicBezTo>
                    <a:cubicBezTo>
                      <a:pt x="146" y="204"/>
                      <a:pt x="147" y="203"/>
                      <a:pt x="148" y="199"/>
                    </a:cubicBezTo>
                    <a:cubicBezTo>
                      <a:pt x="149" y="195"/>
                      <a:pt x="149" y="192"/>
                      <a:pt x="151" y="190"/>
                    </a:cubicBezTo>
                    <a:cubicBezTo>
                      <a:pt x="153" y="187"/>
                      <a:pt x="156" y="185"/>
                      <a:pt x="157" y="183"/>
                    </a:cubicBezTo>
                    <a:cubicBezTo>
                      <a:pt x="158" y="182"/>
                      <a:pt x="159" y="181"/>
                      <a:pt x="157" y="178"/>
                    </a:cubicBezTo>
                    <a:cubicBezTo>
                      <a:pt x="155" y="175"/>
                      <a:pt x="155" y="175"/>
                      <a:pt x="153" y="174"/>
                    </a:cubicBezTo>
                    <a:cubicBezTo>
                      <a:pt x="151" y="173"/>
                      <a:pt x="150" y="173"/>
                      <a:pt x="151" y="171"/>
                    </a:cubicBezTo>
                    <a:cubicBezTo>
                      <a:pt x="152" y="169"/>
                      <a:pt x="152" y="169"/>
                      <a:pt x="150" y="168"/>
                    </a:cubicBezTo>
                    <a:cubicBezTo>
                      <a:pt x="149" y="167"/>
                      <a:pt x="148" y="166"/>
                      <a:pt x="150" y="164"/>
                    </a:cubicBezTo>
                    <a:cubicBezTo>
                      <a:pt x="152" y="161"/>
                      <a:pt x="153" y="160"/>
                      <a:pt x="155" y="157"/>
                    </a:cubicBezTo>
                    <a:cubicBezTo>
                      <a:pt x="157" y="154"/>
                      <a:pt x="157" y="154"/>
                      <a:pt x="156" y="151"/>
                    </a:cubicBezTo>
                    <a:cubicBezTo>
                      <a:pt x="156" y="147"/>
                      <a:pt x="155" y="149"/>
                      <a:pt x="154" y="146"/>
                    </a:cubicBezTo>
                    <a:cubicBezTo>
                      <a:pt x="154" y="143"/>
                      <a:pt x="154" y="145"/>
                      <a:pt x="156" y="145"/>
                    </a:cubicBezTo>
                    <a:cubicBezTo>
                      <a:pt x="159" y="145"/>
                      <a:pt x="160" y="145"/>
                      <a:pt x="161" y="142"/>
                    </a:cubicBezTo>
                    <a:cubicBezTo>
                      <a:pt x="162" y="140"/>
                      <a:pt x="160" y="141"/>
                      <a:pt x="160" y="140"/>
                    </a:cubicBezTo>
                    <a:cubicBezTo>
                      <a:pt x="160" y="138"/>
                      <a:pt x="162" y="141"/>
                      <a:pt x="163" y="138"/>
                    </a:cubicBezTo>
                    <a:cubicBezTo>
                      <a:pt x="163" y="136"/>
                      <a:pt x="163" y="135"/>
                      <a:pt x="164" y="137"/>
                    </a:cubicBezTo>
                    <a:cubicBezTo>
                      <a:pt x="166" y="139"/>
                      <a:pt x="169" y="141"/>
                      <a:pt x="168" y="138"/>
                    </a:cubicBezTo>
                    <a:cubicBezTo>
                      <a:pt x="167" y="134"/>
                      <a:pt x="166" y="133"/>
                      <a:pt x="166" y="129"/>
                    </a:cubicBezTo>
                    <a:cubicBezTo>
                      <a:pt x="166" y="125"/>
                      <a:pt x="165" y="124"/>
                      <a:pt x="168" y="126"/>
                    </a:cubicBezTo>
                    <a:cubicBezTo>
                      <a:pt x="171" y="128"/>
                      <a:pt x="172" y="131"/>
                      <a:pt x="172" y="128"/>
                    </a:cubicBezTo>
                    <a:cubicBezTo>
                      <a:pt x="172" y="126"/>
                      <a:pt x="173" y="124"/>
                      <a:pt x="174" y="126"/>
                    </a:cubicBezTo>
                    <a:cubicBezTo>
                      <a:pt x="176" y="127"/>
                      <a:pt x="176" y="129"/>
                      <a:pt x="178" y="129"/>
                    </a:cubicBezTo>
                    <a:cubicBezTo>
                      <a:pt x="180" y="130"/>
                      <a:pt x="178" y="127"/>
                      <a:pt x="179" y="126"/>
                    </a:cubicBezTo>
                    <a:cubicBezTo>
                      <a:pt x="180" y="125"/>
                      <a:pt x="181" y="129"/>
                      <a:pt x="182" y="129"/>
                    </a:cubicBezTo>
                    <a:cubicBezTo>
                      <a:pt x="184" y="129"/>
                      <a:pt x="183" y="127"/>
                      <a:pt x="185" y="128"/>
                    </a:cubicBezTo>
                    <a:cubicBezTo>
                      <a:pt x="188" y="130"/>
                      <a:pt x="188" y="129"/>
                      <a:pt x="191" y="129"/>
                    </a:cubicBezTo>
                    <a:cubicBezTo>
                      <a:pt x="193" y="128"/>
                      <a:pt x="195" y="128"/>
                      <a:pt x="195" y="128"/>
                    </a:cubicBezTo>
                    <a:cubicBezTo>
                      <a:pt x="195" y="128"/>
                      <a:pt x="193" y="123"/>
                      <a:pt x="191" y="118"/>
                    </a:cubicBezTo>
                    <a:cubicBezTo>
                      <a:pt x="190" y="114"/>
                      <a:pt x="187" y="111"/>
                      <a:pt x="185" y="108"/>
                    </a:cubicBezTo>
                    <a:cubicBezTo>
                      <a:pt x="183" y="104"/>
                      <a:pt x="186" y="101"/>
                      <a:pt x="187" y="98"/>
                    </a:cubicBezTo>
                    <a:cubicBezTo>
                      <a:pt x="188" y="95"/>
                      <a:pt x="187" y="91"/>
                      <a:pt x="188" y="89"/>
                    </a:cubicBezTo>
                    <a:cubicBezTo>
                      <a:pt x="189" y="87"/>
                      <a:pt x="188" y="85"/>
                      <a:pt x="186" y="83"/>
                    </a:cubicBezTo>
                    <a:cubicBezTo>
                      <a:pt x="184" y="81"/>
                      <a:pt x="181" y="78"/>
                      <a:pt x="180" y="75"/>
                    </a:cubicBezTo>
                    <a:cubicBezTo>
                      <a:pt x="180" y="72"/>
                      <a:pt x="182" y="69"/>
                      <a:pt x="183" y="67"/>
                    </a:cubicBezTo>
                    <a:cubicBezTo>
                      <a:pt x="184" y="64"/>
                      <a:pt x="181" y="62"/>
                      <a:pt x="179" y="64"/>
                    </a:cubicBezTo>
                    <a:cubicBezTo>
                      <a:pt x="177" y="65"/>
                      <a:pt x="177" y="58"/>
                      <a:pt x="177" y="54"/>
                    </a:cubicBezTo>
                    <a:cubicBezTo>
                      <a:pt x="177" y="51"/>
                      <a:pt x="177" y="47"/>
                      <a:pt x="179" y="44"/>
                    </a:cubicBezTo>
                    <a:cubicBezTo>
                      <a:pt x="181" y="41"/>
                      <a:pt x="175" y="37"/>
                      <a:pt x="173" y="38"/>
                    </a:cubicBezTo>
                    <a:cubicBezTo>
                      <a:pt x="170" y="39"/>
                      <a:pt x="170" y="32"/>
                      <a:pt x="167" y="30"/>
                    </a:cubicBezTo>
                    <a:cubicBezTo>
                      <a:pt x="164" y="27"/>
                      <a:pt x="158" y="24"/>
                      <a:pt x="155" y="23"/>
                    </a:cubicBezTo>
                    <a:cubicBezTo>
                      <a:pt x="152" y="22"/>
                      <a:pt x="141" y="12"/>
                      <a:pt x="137" y="10"/>
                    </a:cubicBezTo>
                    <a:cubicBezTo>
                      <a:pt x="134" y="9"/>
                      <a:pt x="131" y="3"/>
                      <a:pt x="131"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97" name="Freeform 18"/>
              <p:cNvSpPr>
                <a:spLocks/>
              </p:cNvSpPr>
              <p:nvPr/>
            </p:nvSpPr>
            <p:spPr bwMode="gray">
              <a:xfrm>
                <a:off x="1929" y="1074"/>
                <a:ext cx="1032" cy="1316"/>
              </a:xfrm>
              <a:custGeom>
                <a:avLst/>
                <a:gdLst>
                  <a:gd name="T0" fmla="*/ 370 w 393"/>
                  <a:gd name="T1" fmla="*/ 47 h 501"/>
                  <a:gd name="T2" fmla="*/ 383 w 393"/>
                  <a:gd name="T3" fmla="*/ 23 h 501"/>
                  <a:gd name="T4" fmla="*/ 352 w 393"/>
                  <a:gd name="T5" fmla="*/ 23 h 501"/>
                  <a:gd name="T6" fmla="*/ 350 w 393"/>
                  <a:gd name="T7" fmla="*/ 12 h 501"/>
                  <a:gd name="T8" fmla="*/ 331 w 393"/>
                  <a:gd name="T9" fmla="*/ 22 h 501"/>
                  <a:gd name="T10" fmla="*/ 306 w 393"/>
                  <a:gd name="T11" fmla="*/ 29 h 501"/>
                  <a:gd name="T12" fmla="*/ 311 w 393"/>
                  <a:gd name="T13" fmla="*/ 8 h 501"/>
                  <a:gd name="T14" fmla="*/ 291 w 393"/>
                  <a:gd name="T15" fmla="*/ 13 h 501"/>
                  <a:gd name="T16" fmla="*/ 272 w 393"/>
                  <a:gd name="T17" fmla="*/ 46 h 501"/>
                  <a:gd name="T18" fmla="*/ 246 w 393"/>
                  <a:gd name="T19" fmla="*/ 33 h 501"/>
                  <a:gd name="T20" fmla="*/ 251 w 393"/>
                  <a:gd name="T21" fmla="*/ 48 h 501"/>
                  <a:gd name="T22" fmla="*/ 233 w 393"/>
                  <a:gd name="T23" fmla="*/ 58 h 501"/>
                  <a:gd name="T24" fmla="*/ 228 w 393"/>
                  <a:gd name="T25" fmla="*/ 48 h 501"/>
                  <a:gd name="T26" fmla="*/ 220 w 393"/>
                  <a:gd name="T27" fmla="*/ 43 h 501"/>
                  <a:gd name="T28" fmla="*/ 212 w 393"/>
                  <a:gd name="T29" fmla="*/ 52 h 501"/>
                  <a:gd name="T30" fmla="*/ 206 w 393"/>
                  <a:gd name="T31" fmla="*/ 61 h 501"/>
                  <a:gd name="T32" fmla="*/ 192 w 393"/>
                  <a:gd name="T33" fmla="*/ 77 h 501"/>
                  <a:gd name="T34" fmla="*/ 179 w 393"/>
                  <a:gd name="T35" fmla="*/ 90 h 501"/>
                  <a:gd name="T36" fmla="*/ 181 w 393"/>
                  <a:gd name="T37" fmla="*/ 107 h 501"/>
                  <a:gd name="T38" fmla="*/ 164 w 393"/>
                  <a:gd name="T39" fmla="*/ 118 h 501"/>
                  <a:gd name="T40" fmla="*/ 165 w 393"/>
                  <a:gd name="T41" fmla="*/ 133 h 501"/>
                  <a:gd name="T42" fmla="*/ 155 w 393"/>
                  <a:gd name="T43" fmla="*/ 142 h 501"/>
                  <a:gd name="T44" fmla="*/ 157 w 393"/>
                  <a:gd name="T45" fmla="*/ 154 h 501"/>
                  <a:gd name="T46" fmla="*/ 130 w 393"/>
                  <a:gd name="T47" fmla="*/ 168 h 501"/>
                  <a:gd name="T48" fmla="*/ 134 w 393"/>
                  <a:gd name="T49" fmla="*/ 191 h 501"/>
                  <a:gd name="T50" fmla="*/ 124 w 393"/>
                  <a:gd name="T51" fmla="*/ 202 h 501"/>
                  <a:gd name="T52" fmla="*/ 117 w 393"/>
                  <a:gd name="T53" fmla="*/ 222 h 501"/>
                  <a:gd name="T54" fmla="*/ 114 w 393"/>
                  <a:gd name="T55" fmla="*/ 232 h 501"/>
                  <a:gd name="T56" fmla="*/ 108 w 393"/>
                  <a:gd name="T57" fmla="*/ 244 h 501"/>
                  <a:gd name="T58" fmla="*/ 104 w 393"/>
                  <a:gd name="T59" fmla="*/ 261 h 501"/>
                  <a:gd name="T60" fmla="*/ 84 w 393"/>
                  <a:gd name="T61" fmla="*/ 281 h 501"/>
                  <a:gd name="T62" fmla="*/ 99 w 393"/>
                  <a:gd name="T63" fmla="*/ 277 h 501"/>
                  <a:gd name="T64" fmla="*/ 85 w 393"/>
                  <a:gd name="T65" fmla="*/ 300 h 501"/>
                  <a:gd name="T66" fmla="*/ 64 w 393"/>
                  <a:gd name="T67" fmla="*/ 300 h 501"/>
                  <a:gd name="T68" fmla="*/ 55 w 393"/>
                  <a:gd name="T69" fmla="*/ 315 h 501"/>
                  <a:gd name="T70" fmla="*/ 58 w 393"/>
                  <a:gd name="T71" fmla="*/ 329 h 501"/>
                  <a:gd name="T72" fmla="*/ 36 w 393"/>
                  <a:gd name="T73" fmla="*/ 328 h 501"/>
                  <a:gd name="T74" fmla="*/ 34 w 393"/>
                  <a:gd name="T75" fmla="*/ 331 h 501"/>
                  <a:gd name="T76" fmla="*/ 35 w 393"/>
                  <a:gd name="T77" fmla="*/ 352 h 501"/>
                  <a:gd name="T78" fmla="*/ 17 w 393"/>
                  <a:gd name="T79" fmla="*/ 348 h 501"/>
                  <a:gd name="T80" fmla="*/ 14 w 393"/>
                  <a:gd name="T81" fmla="*/ 358 h 501"/>
                  <a:gd name="T82" fmla="*/ 7 w 393"/>
                  <a:gd name="T83" fmla="*/ 360 h 501"/>
                  <a:gd name="T84" fmla="*/ 10 w 393"/>
                  <a:gd name="T85" fmla="*/ 375 h 501"/>
                  <a:gd name="T86" fmla="*/ 31 w 393"/>
                  <a:gd name="T87" fmla="*/ 381 h 501"/>
                  <a:gd name="T88" fmla="*/ 46 w 393"/>
                  <a:gd name="T89" fmla="*/ 385 h 501"/>
                  <a:gd name="T90" fmla="*/ 8 w 393"/>
                  <a:gd name="T91" fmla="*/ 391 h 501"/>
                  <a:gd name="T92" fmla="*/ 5 w 393"/>
                  <a:gd name="T93" fmla="*/ 401 h 501"/>
                  <a:gd name="T94" fmla="*/ 21 w 393"/>
                  <a:gd name="T95" fmla="*/ 423 h 501"/>
                  <a:gd name="T96" fmla="*/ 22 w 393"/>
                  <a:gd name="T97" fmla="*/ 428 h 501"/>
                  <a:gd name="T98" fmla="*/ 20 w 393"/>
                  <a:gd name="T99" fmla="*/ 450 h 501"/>
                  <a:gd name="T100" fmla="*/ 24 w 393"/>
                  <a:gd name="T101" fmla="*/ 457 h 501"/>
                  <a:gd name="T102" fmla="*/ 17 w 393"/>
                  <a:gd name="T103" fmla="*/ 466 h 501"/>
                  <a:gd name="T104" fmla="*/ 40 w 393"/>
                  <a:gd name="T105" fmla="*/ 499 h 501"/>
                  <a:gd name="T106" fmla="*/ 82 w 393"/>
                  <a:gd name="T107" fmla="*/ 463 h 501"/>
                  <a:gd name="T108" fmla="*/ 97 w 393"/>
                  <a:gd name="T109" fmla="*/ 444 h 501"/>
                  <a:gd name="T110" fmla="*/ 115 w 393"/>
                  <a:gd name="T111" fmla="*/ 445 h 501"/>
                  <a:gd name="T112" fmla="*/ 130 w 393"/>
                  <a:gd name="T113" fmla="*/ 377 h 501"/>
                  <a:gd name="T114" fmla="*/ 122 w 393"/>
                  <a:gd name="T115" fmla="*/ 281 h 501"/>
                  <a:gd name="T116" fmla="*/ 149 w 393"/>
                  <a:gd name="T117" fmla="*/ 200 h 501"/>
                  <a:gd name="T118" fmla="*/ 188 w 393"/>
                  <a:gd name="T119" fmla="*/ 119 h 501"/>
                  <a:gd name="T120" fmla="*/ 230 w 393"/>
                  <a:gd name="T121" fmla="*/ 85 h 501"/>
                  <a:gd name="T122" fmla="*/ 298 w 393"/>
                  <a:gd name="T123" fmla="*/ 94 h 501"/>
                  <a:gd name="T124" fmla="*/ 361 w 393"/>
                  <a:gd name="T125" fmla="*/ 54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3" h="501">
                    <a:moveTo>
                      <a:pt x="393" y="53"/>
                    </a:moveTo>
                    <a:cubicBezTo>
                      <a:pt x="393" y="53"/>
                      <a:pt x="393" y="52"/>
                      <a:pt x="391" y="51"/>
                    </a:cubicBezTo>
                    <a:cubicBezTo>
                      <a:pt x="389" y="51"/>
                      <a:pt x="387" y="50"/>
                      <a:pt x="386" y="51"/>
                    </a:cubicBezTo>
                    <a:cubicBezTo>
                      <a:pt x="386" y="53"/>
                      <a:pt x="387" y="56"/>
                      <a:pt x="386" y="54"/>
                    </a:cubicBezTo>
                    <a:cubicBezTo>
                      <a:pt x="384" y="53"/>
                      <a:pt x="381" y="49"/>
                      <a:pt x="381" y="49"/>
                    </a:cubicBezTo>
                    <a:cubicBezTo>
                      <a:pt x="380" y="50"/>
                      <a:pt x="381" y="51"/>
                      <a:pt x="380" y="53"/>
                    </a:cubicBezTo>
                    <a:cubicBezTo>
                      <a:pt x="379" y="56"/>
                      <a:pt x="378" y="57"/>
                      <a:pt x="377" y="55"/>
                    </a:cubicBezTo>
                    <a:cubicBezTo>
                      <a:pt x="377" y="54"/>
                      <a:pt x="377" y="54"/>
                      <a:pt x="375" y="54"/>
                    </a:cubicBezTo>
                    <a:cubicBezTo>
                      <a:pt x="373" y="55"/>
                      <a:pt x="372" y="52"/>
                      <a:pt x="374" y="51"/>
                    </a:cubicBezTo>
                    <a:cubicBezTo>
                      <a:pt x="375" y="50"/>
                      <a:pt x="376" y="47"/>
                      <a:pt x="375" y="48"/>
                    </a:cubicBezTo>
                    <a:cubicBezTo>
                      <a:pt x="373" y="48"/>
                      <a:pt x="371" y="48"/>
                      <a:pt x="370" y="47"/>
                    </a:cubicBezTo>
                    <a:cubicBezTo>
                      <a:pt x="369" y="46"/>
                      <a:pt x="371" y="45"/>
                      <a:pt x="369" y="44"/>
                    </a:cubicBezTo>
                    <a:cubicBezTo>
                      <a:pt x="367" y="44"/>
                      <a:pt x="363" y="42"/>
                      <a:pt x="362" y="42"/>
                    </a:cubicBezTo>
                    <a:cubicBezTo>
                      <a:pt x="360" y="42"/>
                      <a:pt x="358" y="42"/>
                      <a:pt x="357" y="40"/>
                    </a:cubicBezTo>
                    <a:cubicBezTo>
                      <a:pt x="357" y="38"/>
                      <a:pt x="358" y="38"/>
                      <a:pt x="360" y="38"/>
                    </a:cubicBezTo>
                    <a:cubicBezTo>
                      <a:pt x="362" y="38"/>
                      <a:pt x="366" y="40"/>
                      <a:pt x="368" y="40"/>
                    </a:cubicBezTo>
                    <a:cubicBezTo>
                      <a:pt x="369" y="40"/>
                      <a:pt x="374" y="42"/>
                      <a:pt x="376" y="41"/>
                    </a:cubicBezTo>
                    <a:cubicBezTo>
                      <a:pt x="379" y="41"/>
                      <a:pt x="381" y="41"/>
                      <a:pt x="382" y="39"/>
                    </a:cubicBezTo>
                    <a:cubicBezTo>
                      <a:pt x="382" y="36"/>
                      <a:pt x="384" y="36"/>
                      <a:pt x="388" y="35"/>
                    </a:cubicBezTo>
                    <a:cubicBezTo>
                      <a:pt x="391" y="34"/>
                      <a:pt x="392" y="31"/>
                      <a:pt x="391" y="28"/>
                    </a:cubicBezTo>
                    <a:cubicBezTo>
                      <a:pt x="389" y="26"/>
                      <a:pt x="389" y="27"/>
                      <a:pt x="387" y="27"/>
                    </a:cubicBezTo>
                    <a:cubicBezTo>
                      <a:pt x="385" y="27"/>
                      <a:pt x="386" y="24"/>
                      <a:pt x="383" y="23"/>
                    </a:cubicBezTo>
                    <a:cubicBezTo>
                      <a:pt x="381" y="22"/>
                      <a:pt x="380" y="24"/>
                      <a:pt x="378" y="24"/>
                    </a:cubicBezTo>
                    <a:cubicBezTo>
                      <a:pt x="377" y="25"/>
                      <a:pt x="377" y="24"/>
                      <a:pt x="377" y="21"/>
                    </a:cubicBezTo>
                    <a:cubicBezTo>
                      <a:pt x="378" y="19"/>
                      <a:pt x="376" y="17"/>
                      <a:pt x="373" y="18"/>
                    </a:cubicBezTo>
                    <a:cubicBezTo>
                      <a:pt x="371" y="18"/>
                      <a:pt x="372" y="22"/>
                      <a:pt x="371" y="20"/>
                    </a:cubicBezTo>
                    <a:cubicBezTo>
                      <a:pt x="369" y="19"/>
                      <a:pt x="371" y="17"/>
                      <a:pt x="369" y="18"/>
                    </a:cubicBezTo>
                    <a:cubicBezTo>
                      <a:pt x="368" y="18"/>
                      <a:pt x="367" y="18"/>
                      <a:pt x="365" y="19"/>
                    </a:cubicBezTo>
                    <a:cubicBezTo>
                      <a:pt x="364" y="20"/>
                      <a:pt x="364" y="18"/>
                      <a:pt x="364" y="16"/>
                    </a:cubicBezTo>
                    <a:cubicBezTo>
                      <a:pt x="364" y="14"/>
                      <a:pt x="363" y="12"/>
                      <a:pt x="361" y="13"/>
                    </a:cubicBezTo>
                    <a:cubicBezTo>
                      <a:pt x="360" y="13"/>
                      <a:pt x="358" y="11"/>
                      <a:pt x="357" y="12"/>
                    </a:cubicBezTo>
                    <a:cubicBezTo>
                      <a:pt x="356" y="13"/>
                      <a:pt x="354" y="15"/>
                      <a:pt x="353" y="17"/>
                    </a:cubicBezTo>
                    <a:cubicBezTo>
                      <a:pt x="352" y="19"/>
                      <a:pt x="351" y="21"/>
                      <a:pt x="352" y="23"/>
                    </a:cubicBezTo>
                    <a:cubicBezTo>
                      <a:pt x="352" y="25"/>
                      <a:pt x="351" y="26"/>
                      <a:pt x="351" y="27"/>
                    </a:cubicBezTo>
                    <a:cubicBezTo>
                      <a:pt x="350" y="28"/>
                      <a:pt x="350" y="28"/>
                      <a:pt x="349" y="32"/>
                    </a:cubicBezTo>
                    <a:cubicBezTo>
                      <a:pt x="348" y="35"/>
                      <a:pt x="347" y="36"/>
                      <a:pt x="348" y="31"/>
                    </a:cubicBezTo>
                    <a:cubicBezTo>
                      <a:pt x="348" y="27"/>
                      <a:pt x="349" y="25"/>
                      <a:pt x="348" y="26"/>
                    </a:cubicBezTo>
                    <a:cubicBezTo>
                      <a:pt x="346" y="27"/>
                      <a:pt x="347" y="28"/>
                      <a:pt x="345" y="28"/>
                    </a:cubicBezTo>
                    <a:cubicBezTo>
                      <a:pt x="343" y="27"/>
                      <a:pt x="340" y="29"/>
                      <a:pt x="341" y="27"/>
                    </a:cubicBezTo>
                    <a:cubicBezTo>
                      <a:pt x="343" y="24"/>
                      <a:pt x="347" y="24"/>
                      <a:pt x="348" y="21"/>
                    </a:cubicBezTo>
                    <a:cubicBezTo>
                      <a:pt x="349" y="19"/>
                      <a:pt x="348" y="17"/>
                      <a:pt x="346" y="19"/>
                    </a:cubicBezTo>
                    <a:cubicBezTo>
                      <a:pt x="344" y="20"/>
                      <a:pt x="346" y="17"/>
                      <a:pt x="345" y="16"/>
                    </a:cubicBezTo>
                    <a:cubicBezTo>
                      <a:pt x="345" y="15"/>
                      <a:pt x="342" y="15"/>
                      <a:pt x="342" y="14"/>
                    </a:cubicBezTo>
                    <a:cubicBezTo>
                      <a:pt x="343" y="12"/>
                      <a:pt x="348" y="14"/>
                      <a:pt x="350" y="12"/>
                    </a:cubicBezTo>
                    <a:cubicBezTo>
                      <a:pt x="351" y="10"/>
                      <a:pt x="351" y="8"/>
                      <a:pt x="350" y="7"/>
                    </a:cubicBezTo>
                    <a:cubicBezTo>
                      <a:pt x="349" y="6"/>
                      <a:pt x="346" y="9"/>
                      <a:pt x="345" y="7"/>
                    </a:cubicBezTo>
                    <a:cubicBezTo>
                      <a:pt x="344" y="6"/>
                      <a:pt x="346" y="4"/>
                      <a:pt x="345" y="3"/>
                    </a:cubicBezTo>
                    <a:cubicBezTo>
                      <a:pt x="344" y="2"/>
                      <a:pt x="342" y="3"/>
                      <a:pt x="341" y="5"/>
                    </a:cubicBezTo>
                    <a:cubicBezTo>
                      <a:pt x="340" y="7"/>
                      <a:pt x="338" y="4"/>
                      <a:pt x="336" y="4"/>
                    </a:cubicBezTo>
                    <a:cubicBezTo>
                      <a:pt x="335" y="3"/>
                      <a:pt x="335" y="6"/>
                      <a:pt x="333" y="7"/>
                    </a:cubicBezTo>
                    <a:cubicBezTo>
                      <a:pt x="332" y="9"/>
                      <a:pt x="329" y="10"/>
                      <a:pt x="330" y="10"/>
                    </a:cubicBezTo>
                    <a:cubicBezTo>
                      <a:pt x="331" y="11"/>
                      <a:pt x="335" y="11"/>
                      <a:pt x="335" y="13"/>
                    </a:cubicBezTo>
                    <a:cubicBezTo>
                      <a:pt x="335" y="14"/>
                      <a:pt x="334" y="16"/>
                      <a:pt x="332" y="16"/>
                    </a:cubicBezTo>
                    <a:cubicBezTo>
                      <a:pt x="331" y="17"/>
                      <a:pt x="330" y="16"/>
                      <a:pt x="331" y="19"/>
                    </a:cubicBezTo>
                    <a:cubicBezTo>
                      <a:pt x="332" y="22"/>
                      <a:pt x="332" y="23"/>
                      <a:pt x="331" y="22"/>
                    </a:cubicBezTo>
                    <a:cubicBezTo>
                      <a:pt x="330" y="21"/>
                      <a:pt x="329" y="21"/>
                      <a:pt x="329" y="23"/>
                    </a:cubicBezTo>
                    <a:cubicBezTo>
                      <a:pt x="329" y="25"/>
                      <a:pt x="330" y="26"/>
                      <a:pt x="328" y="26"/>
                    </a:cubicBezTo>
                    <a:cubicBezTo>
                      <a:pt x="327" y="26"/>
                      <a:pt x="327" y="24"/>
                      <a:pt x="325" y="27"/>
                    </a:cubicBezTo>
                    <a:cubicBezTo>
                      <a:pt x="324" y="30"/>
                      <a:pt x="323" y="32"/>
                      <a:pt x="323" y="30"/>
                    </a:cubicBezTo>
                    <a:cubicBezTo>
                      <a:pt x="322" y="28"/>
                      <a:pt x="324" y="23"/>
                      <a:pt x="322" y="21"/>
                    </a:cubicBezTo>
                    <a:cubicBezTo>
                      <a:pt x="321" y="20"/>
                      <a:pt x="321" y="18"/>
                      <a:pt x="322" y="17"/>
                    </a:cubicBezTo>
                    <a:cubicBezTo>
                      <a:pt x="323" y="16"/>
                      <a:pt x="324" y="15"/>
                      <a:pt x="323" y="12"/>
                    </a:cubicBezTo>
                    <a:cubicBezTo>
                      <a:pt x="322" y="9"/>
                      <a:pt x="323" y="7"/>
                      <a:pt x="321" y="7"/>
                    </a:cubicBezTo>
                    <a:cubicBezTo>
                      <a:pt x="320" y="8"/>
                      <a:pt x="317" y="13"/>
                      <a:pt x="316" y="15"/>
                    </a:cubicBezTo>
                    <a:cubicBezTo>
                      <a:pt x="314" y="18"/>
                      <a:pt x="312" y="21"/>
                      <a:pt x="311" y="23"/>
                    </a:cubicBezTo>
                    <a:cubicBezTo>
                      <a:pt x="310" y="26"/>
                      <a:pt x="307" y="28"/>
                      <a:pt x="306" y="29"/>
                    </a:cubicBezTo>
                    <a:cubicBezTo>
                      <a:pt x="306" y="31"/>
                      <a:pt x="306" y="31"/>
                      <a:pt x="306" y="33"/>
                    </a:cubicBezTo>
                    <a:cubicBezTo>
                      <a:pt x="306" y="35"/>
                      <a:pt x="305" y="35"/>
                      <a:pt x="304" y="37"/>
                    </a:cubicBezTo>
                    <a:cubicBezTo>
                      <a:pt x="303" y="40"/>
                      <a:pt x="303" y="41"/>
                      <a:pt x="302" y="39"/>
                    </a:cubicBezTo>
                    <a:cubicBezTo>
                      <a:pt x="301" y="37"/>
                      <a:pt x="302" y="39"/>
                      <a:pt x="300" y="38"/>
                    </a:cubicBezTo>
                    <a:cubicBezTo>
                      <a:pt x="299" y="38"/>
                      <a:pt x="299" y="36"/>
                      <a:pt x="300" y="34"/>
                    </a:cubicBezTo>
                    <a:cubicBezTo>
                      <a:pt x="301" y="32"/>
                      <a:pt x="302" y="32"/>
                      <a:pt x="302" y="29"/>
                    </a:cubicBezTo>
                    <a:cubicBezTo>
                      <a:pt x="302" y="26"/>
                      <a:pt x="300" y="26"/>
                      <a:pt x="301" y="24"/>
                    </a:cubicBezTo>
                    <a:cubicBezTo>
                      <a:pt x="301" y="23"/>
                      <a:pt x="305" y="17"/>
                      <a:pt x="307" y="16"/>
                    </a:cubicBezTo>
                    <a:cubicBezTo>
                      <a:pt x="310" y="15"/>
                      <a:pt x="311" y="11"/>
                      <a:pt x="310" y="11"/>
                    </a:cubicBezTo>
                    <a:cubicBezTo>
                      <a:pt x="309" y="12"/>
                      <a:pt x="307" y="11"/>
                      <a:pt x="307" y="10"/>
                    </a:cubicBezTo>
                    <a:cubicBezTo>
                      <a:pt x="308" y="9"/>
                      <a:pt x="309" y="9"/>
                      <a:pt x="311" y="8"/>
                    </a:cubicBezTo>
                    <a:cubicBezTo>
                      <a:pt x="313" y="7"/>
                      <a:pt x="313" y="4"/>
                      <a:pt x="312" y="2"/>
                    </a:cubicBezTo>
                    <a:cubicBezTo>
                      <a:pt x="310" y="0"/>
                      <a:pt x="308" y="1"/>
                      <a:pt x="306" y="1"/>
                    </a:cubicBezTo>
                    <a:cubicBezTo>
                      <a:pt x="304" y="1"/>
                      <a:pt x="303" y="3"/>
                      <a:pt x="303" y="5"/>
                    </a:cubicBezTo>
                    <a:cubicBezTo>
                      <a:pt x="304" y="6"/>
                      <a:pt x="307" y="9"/>
                      <a:pt x="306" y="9"/>
                    </a:cubicBezTo>
                    <a:cubicBezTo>
                      <a:pt x="304" y="9"/>
                      <a:pt x="302" y="8"/>
                      <a:pt x="303" y="10"/>
                    </a:cubicBezTo>
                    <a:cubicBezTo>
                      <a:pt x="303" y="12"/>
                      <a:pt x="302" y="14"/>
                      <a:pt x="301" y="14"/>
                    </a:cubicBezTo>
                    <a:cubicBezTo>
                      <a:pt x="300" y="14"/>
                      <a:pt x="300" y="9"/>
                      <a:pt x="298" y="8"/>
                    </a:cubicBezTo>
                    <a:cubicBezTo>
                      <a:pt x="296" y="8"/>
                      <a:pt x="296" y="11"/>
                      <a:pt x="295" y="10"/>
                    </a:cubicBezTo>
                    <a:cubicBezTo>
                      <a:pt x="294" y="9"/>
                      <a:pt x="292" y="4"/>
                      <a:pt x="291" y="3"/>
                    </a:cubicBezTo>
                    <a:cubicBezTo>
                      <a:pt x="290" y="3"/>
                      <a:pt x="291" y="7"/>
                      <a:pt x="291" y="10"/>
                    </a:cubicBezTo>
                    <a:cubicBezTo>
                      <a:pt x="291" y="13"/>
                      <a:pt x="292" y="14"/>
                      <a:pt x="291" y="13"/>
                    </a:cubicBezTo>
                    <a:cubicBezTo>
                      <a:pt x="289" y="12"/>
                      <a:pt x="289" y="9"/>
                      <a:pt x="288" y="11"/>
                    </a:cubicBezTo>
                    <a:cubicBezTo>
                      <a:pt x="287" y="12"/>
                      <a:pt x="285" y="14"/>
                      <a:pt x="287" y="15"/>
                    </a:cubicBezTo>
                    <a:cubicBezTo>
                      <a:pt x="288" y="16"/>
                      <a:pt x="291" y="15"/>
                      <a:pt x="291" y="17"/>
                    </a:cubicBezTo>
                    <a:cubicBezTo>
                      <a:pt x="292" y="19"/>
                      <a:pt x="290" y="19"/>
                      <a:pt x="289" y="19"/>
                    </a:cubicBezTo>
                    <a:cubicBezTo>
                      <a:pt x="287" y="20"/>
                      <a:pt x="286" y="22"/>
                      <a:pt x="287" y="24"/>
                    </a:cubicBezTo>
                    <a:cubicBezTo>
                      <a:pt x="287" y="25"/>
                      <a:pt x="285" y="25"/>
                      <a:pt x="284" y="24"/>
                    </a:cubicBezTo>
                    <a:cubicBezTo>
                      <a:pt x="283" y="24"/>
                      <a:pt x="280" y="24"/>
                      <a:pt x="279" y="28"/>
                    </a:cubicBezTo>
                    <a:cubicBezTo>
                      <a:pt x="277" y="32"/>
                      <a:pt x="276" y="34"/>
                      <a:pt x="275" y="35"/>
                    </a:cubicBezTo>
                    <a:cubicBezTo>
                      <a:pt x="273" y="37"/>
                      <a:pt x="273" y="41"/>
                      <a:pt x="274" y="42"/>
                    </a:cubicBezTo>
                    <a:cubicBezTo>
                      <a:pt x="275" y="44"/>
                      <a:pt x="277" y="43"/>
                      <a:pt x="276" y="44"/>
                    </a:cubicBezTo>
                    <a:cubicBezTo>
                      <a:pt x="276" y="46"/>
                      <a:pt x="273" y="48"/>
                      <a:pt x="272" y="46"/>
                    </a:cubicBezTo>
                    <a:cubicBezTo>
                      <a:pt x="271" y="45"/>
                      <a:pt x="269" y="40"/>
                      <a:pt x="269" y="39"/>
                    </a:cubicBezTo>
                    <a:cubicBezTo>
                      <a:pt x="268" y="38"/>
                      <a:pt x="266" y="37"/>
                      <a:pt x="267" y="35"/>
                    </a:cubicBezTo>
                    <a:cubicBezTo>
                      <a:pt x="268" y="34"/>
                      <a:pt x="267" y="30"/>
                      <a:pt x="265" y="31"/>
                    </a:cubicBezTo>
                    <a:cubicBezTo>
                      <a:pt x="264" y="32"/>
                      <a:pt x="263" y="32"/>
                      <a:pt x="262" y="30"/>
                    </a:cubicBezTo>
                    <a:cubicBezTo>
                      <a:pt x="262" y="28"/>
                      <a:pt x="259" y="29"/>
                      <a:pt x="260" y="31"/>
                    </a:cubicBezTo>
                    <a:cubicBezTo>
                      <a:pt x="260" y="33"/>
                      <a:pt x="260" y="34"/>
                      <a:pt x="259" y="34"/>
                    </a:cubicBezTo>
                    <a:cubicBezTo>
                      <a:pt x="258" y="34"/>
                      <a:pt x="257" y="34"/>
                      <a:pt x="256" y="34"/>
                    </a:cubicBezTo>
                    <a:cubicBezTo>
                      <a:pt x="255" y="34"/>
                      <a:pt x="254" y="32"/>
                      <a:pt x="253" y="32"/>
                    </a:cubicBezTo>
                    <a:cubicBezTo>
                      <a:pt x="252" y="31"/>
                      <a:pt x="251" y="33"/>
                      <a:pt x="251" y="35"/>
                    </a:cubicBezTo>
                    <a:cubicBezTo>
                      <a:pt x="250" y="37"/>
                      <a:pt x="249" y="36"/>
                      <a:pt x="249" y="34"/>
                    </a:cubicBezTo>
                    <a:cubicBezTo>
                      <a:pt x="248" y="33"/>
                      <a:pt x="247" y="31"/>
                      <a:pt x="246" y="33"/>
                    </a:cubicBezTo>
                    <a:cubicBezTo>
                      <a:pt x="245" y="34"/>
                      <a:pt x="246" y="37"/>
                      <a:pt x="245" y="36"/>
                    </a:cubicBezTo>
                    <a:cubicBezTo>
                      <a:pt x="244" y="35"/>
                      <a:pt x="242" y="34"/>
                      <a:pt x="242" y="36"/>
                    </a:cubicBezTo>
                    <a:cubicBezTo>
                      <a:pt x="241" y="38"/>
                      <a:pt x="245" y="39"/>
                      <a:pt x="246" y="40"/>
                    </a:cubicBezTo>
                    <a:cubicBezTo>
                      <a:pt x="246" y="40"/>
                      <a:pt x="248" y="39"/>
                      <a:pt x="248" y="42"/>
                    </a:cubicBezTo>
                    <a:cubicBezTo>
                      <a:pt x="249" y="44"/>
                      <a:pt x="249" y="45"/>
                      <a:pt x="250" y="43"/>
                    </a:cubicBezTo>
                    <a:cubicBezTo>
                      <a:pt x="251" y="41"/>
                      <a:pt x="251" y="41"/>
                      <a:pt x="253" y="41"/>
                    </a:cubicBezTo>
                    <a:cubicBezTo>
                      <a:pt x="255" y="42"/>
                      <a:pt x="253" y="46"/>
                      <a:pt x="254" y="46"/>
                    </a:cubicBezTo>
                    <a:cubicBezTo>
                      <a:pt x="256" y="46"/>
                      <a:pt x="256" y="47"/>
                      <a:pt x="255" y="49"/>
                    </a:cubicBezTo>
                    <a:cubicBezTo>
                      <a:pt x="254" y="50"/>
                      <a:pt x="255" y="51"/>
                      <a:pt x="256" y="53"/>
                    </a:cubicBezTo>
                    <a:cubicBezTo>
                      <a:pt x="257" y="55"/>
                      <a:pt x="256" y="55"/>
                      <a:pt x="255" y="53"/>
                    </a:cubicBezTo>
                    <a:cubicBezTo>
                      <a:pt x="253" y="51"/>
                      <a:pt x="252" y="49"/>
                      <a:pt x="251" y="48"/>
                    </a:cubicBezTo>
                    <a:cubicBezTo>
                      <a:pt x="249" y="47"/>
                      <a:pt x="248" y="47"/>
                      <a:pt x="247" y="45"/>
                    </a:cubicBezTo>
                    <a:cubicBezTo>
                      <a:pt x="246" y="43"/>
                      <a:pt x="246" y="43"/>
                      <a:pt x="244" y="44"/>
                    </a:cubicBezTo>
                    <a:cubicBezTo>
                      <a:pt x="243" y="44"/>
                      <a:pt x="244" y="50"/>
                      <a:pt x="243" y="50"/>
                    </a:cubicBezTo>
                    <a:cubicBezTo>
                      <a:pt x="242" y="50"/>
                      <a:pt x="241" y="49"/>
                      <a:pt x="240" y="51"/>
                    </a:cubicBezTo>
                    <a:cubicBezTo>
                      <a:pt x="240" y="53"/>
                      <a:pt x="239" y="51"/>
                      <a:pt x="239" y="50"/>
                    </a:cubicBezTo>
                    <a:cubicBezTo>
                      <a:pt x="238" y="49"/>
                      <a:pt x="239" y="47"/>
                      <a:pt x="240" y="46"/>
                    </a:cubicBezTo>
                    <a:cubicBezTo>
                      <a:pt x="240" y="44"/>
                      <a:pt x="239" y="44"/>
                      <a:pt x="238" y="44"/>
                    </a:cubicBezTo>
                    <a:cubicBezTo>
                      <a:pt x="237" y="44"/>
                      <a:pt x="235" y="40"/>
                      <a:pt x="235" y="43"/>
                    </a:cubicBezTo>
                    <a:cubicBezTo>
                      <a:pt x="236" y="45"/>
                      <a:pt x="237" y="47"/>
                      <a:pt x="236" y="48"/>
                    </a:cubicBezTo>
                    <a:cubicBezTo>
                      <a:pt x="236" y="49"/>
                      <a:pt x="235" y="51"/>
                      <a:pt x="235" y="52"/>
                    </a:cubicBezTo>
                    <a:cubicBezTo>
                      <a:pt x="234" y="53"/>
                      <a:pt x="233" y="56"/>
                      <a:pt x="233" y="58"/>
                    </a:cubicBezTo>
                    <a:cubicBezTo>
                      <a:pt x="234" y="60"/>
                      <a:pt x="236" y="61"/>
                      <a:pt x="237" y="63"/>
                    </a:cubicBezTo>
                    <a:cubicBezTo>
                      <a:pt x="238" y="65"/>
                      <a:pt x="237" y="63"/>
                      <a:pt x="235" y="62"/>
                    </a:cubicBezTo>
                    <a:cubicBezTo>
                      <a:pt x="234" y="60"/>
                      <a:pt x="233" y="59"/>
                      <a:pt x="232" y="60"/>
                    </a:cubicBezTo>
                    <a:cubicBezTo>
                      <a:pt x="231" y="61"/>
                      <a:pt x="230" y="63"/>
                      <a:pt x="230" y="65"/>
                    </a:cubicBezTo>
                    <a:cubicBezTo>
                      <a:pt x="230" y="67"/>
                      <a:pt x="229" y="67"/>
                      <a:pt x="228" y="69"/>
                    </a:cubicBezTo>
                    <a:cubicBezTo>
                      <a:pt x="226" y="70"/>
                      <a:pt x="225" y="74"/>
                      <a:pt x="225" y="72"/>
                    </a:cubicBezTo>
                    <a:cubicBezTo>
                      <a:pt x="226" y="70"/>
                      <a:pt x="227" y="68"/>
                      <a:pt x="229" y="65"/>
                    </a:cubicBezTo>
                    <a:cubicBezTo>
                      <a:pt x="230" y="63"/>
                      <a:pt x="230" y="61"/>
                      <a:pt x="229" y="59"/>
                    </a:cubicBezTo>
                    <a:cubicBezTo>
                      <a:pt x="229" y="57"/>
                      <a:pt x="229" y="55"/>
                      <a:pt x="230" y="52"/>
                    </a:cubicBezTo>
                    <a:cubicBezTo>
                      <a:pt x="231" y="49"/>
                      <a:pt x="230" y="46"/>
                      <a:pt x="229" y="45"/>
                    </a:cubicBezTo>
                    <a:cubicBezTo>
                      <a:pt x="228" y="44"/>
                      <a:pt x="228" y="46"/>
                      <a:pt x="228" y="48"/>
                    </a:cubicBezTo>
                    <a:cubicBezTo>
                      <a:pt x="227" y="50"/>
                      <a:pt x="226" y="49"/>
                      <a:pt x="225" y="49"/>
                    </a:cubicBezTo>
                    <a:cubicBezTo>
                      <a:pt x="224" y="50"/>
                      <a:pt x="222" y="52"/>
                      <a:pt x="222" y="55"/>
                    </a:cubicBezTo>
                    <a:cubicBezTo>
                      <a:pt x="222" y="57"/>
                      <a:pt x="222" y="57"/>
                      <a:pt x="223" y="58"/>
                    </a:cubicBezTo>
                    <a:cubicBezTo>
                      <a:pt x="224" y="59"/>
                      <a:pt x="226" y="60"/>
                      <a:pt x="225" y="60"/>
                    </a:cubicBezTo>
                    <a:cubicBezTo>
                      <a:pt x="224" y="61"/>
                      <a:pt x="223" y="59"/>
                      <a:pt x="222" y="59"/>
                    </a:cubicBezTo>
                    <a:cubicBezTo>
                      <a:pt x="221" y="59"/>
                      <a:pt x="221" y="60"/>
                      <a:pt x="220" y="63"/>
                    </a:cubicBezTo>
                    <a:cubicBezTo>
                      <a:pt x="220" y="65"/>
                      <a:pt x="218" y="67"/>
                      <a:pt x="219" y="66"/>
                    </a:cubicBezTo>
                    <a:cubicBezTo>
                      <a:pt x="219" y="65"/>
                      <a:pt x="221" y="62"/>
                      <a:pt x="220" y="59"/>
                    </a:cubicBezTo>
                    <a:cubicBezTo>
                      <a:pt x="220" y="56"/>
                      <a:pt x="220" y="53"/>
                      <a:pt x="219" y="52"/>
                    </a:cubicBezTo>
                    <a:cubicBezTo>
                      <a:pt x="219" y="50"/>
                      <a:pt x="220" y="49"/>
                      <a:pt x="221" y="47"/>
                    </a:cubicBezTo>
                    <a:cubicBezTo>
                      <a:pt x="222" y="46"/>
                      <a:pt x="221" y="43"/>
                      <a:pt x="220" y="43"/>
                    </a:cubicBezTo>
                    <a:cubicBezTo>
                      <a:pt x="219" y="43"/>
                      <a:pt x="217" y="46"/>
                      <a:pt x="217" y="48"/>
                    </a:cubicBezTo>
                    <a:cubicBezTo>
                      <a:pt x="217" y="50"/>
                      <a:pt x="219" y="50"/>
                      <a:pt x="218" y="51"/>
                    </a:cubicBezTo>
                    <a:cubicBezTo>
                      <a:pt x="217" y="52"/>
                      <a:pt x="216" y="52"/>
                      <a:pt x="215" y="52"/>
                    </a:cubicBezTo>
                    <a:cubicBezTo>
                      <a:pt x="213" y="53"/>
                      <a:pt x="212" y="53"/>
                      <a:pt x="214" y="50"/>
                    </a:cubicBezTo>
                    <a:cubicBezTo>
                      <a:pt x="216" y="48"/>
                      <a:pt x="217" y="44"/>
                      <a:pt x="216" y="44"/>
                    </a:cubicBezTo>
                    <a:cubicBezTo>
                      <a:pt x="215" y="43"/>
                      <a:pt x="214" y="44"/>
                      <a:pt x="213" y="43"/>
                    </a:cubicBezTo>
                    <a:cubicBezTo>
                      <a:pt x="212" y="41"/>
                      <a:pt x="212" y="40"/>
                      <a:pt x="210" y="41"/>
                    </a:cubicBezTo>
                    <a:cubicBezTo>
                      <a:pt x="209" y="42"/>
                      <a:pt x="208" y="43"/>
                      <a:pt x="207" y="44"/>
                    </a:cubicBezTo>
                    <a:cubicBezTo>
                      <a:pt x="206" y="45"/>
                      <a:pt x="205" y="46"/>
                      <a:pt x="206" y="48"/>
                    </a:cubicBezTo>
                    <a:cubicBezTo>
                      <a:pt x="207" y="50"/>
                      <a:pt x="209" y="51"/>
                      <a:pt x="210" y="52"/>
                    </a:cubicBezTo>
                    <a:cubicBezTo>
                      <a:pt x="211" y="53"/>
                      <a:pt x="212" y="51"/>
                      <a:pt x="212" y="52"/>
                    </a:cubicBezTo>
                    <a:cubicBezTo>
                      <a:pt x="211" y="54"/>
                      <a:pt x="211" y="56"/>
                      <a:pt x="210" y="57"/>
                    </a:cubicBezTo>
                    <a:cubicBezTo>
                      <a:pt x="209" y="59"/>
                      <a:pt x="209" y="61"/>
                      <a:pt x="209" y="61"/>
                    </a:cubicBezTo>
                    <a:cubicBezTo>
                      <a:pt x="210" y="61"/>
                      <a:pt x="214" y="61"/>
                      <a:pt x="213" y="62"/>
                    </a:cubicBezTo>
                    <a:cubicBezTo>
                      <a:pt x="211" y="63"/>
                      <a:pt x="209" y="65"/>
                      <a:pt x="210" y="66"/>
                    </a:cubicBezTo>
                    <a:cubicBezTo>
                      <a:pt x="210" y="67"/>
                      <a:pt x="211" y="67"/>
                      <a:pt x="213" y="68"/>
                    </a:cubicBezTo>
                    <a:cubicBezTo>
                      <a:pt x="215" y="68"/>
                      <a:pt x="216" y="68"/>
                      <a:pt x="217" y="70"/>
                    </a:cubicBezTo>
                    <a:cubicBezTo>
                      <a:pt x="217" y="72"/>
                      <a:pt x="217" y="73"/>
                      <a:pt x="216" y="73"/>
                    </a:cubicBezTo>
                    <a:cubicBezTo>
                      <a:pt x="216" y="74"/>
                      <a:pt x="216" y="72"/>
                      <a:pt x="215" y="71"/>
                    </a:cubicBezTo>
                    <a:cubicBezTo>
                      <a:pt x="214" y="69"/>
                      <a:pt x="213" y="70"/>
                      <a:pt x="212" y="69"/>
                    </a:cubicBezTo>
                    <a:cubicBezTo>
                      <a:pt x="211" y="69"/>
                      <a:pt x="210" y="68"/>
                      <a:pt x="208" y="66"/>
                    </a:cubicBezTo>
                    <a:cubicBezTo>
                      <a:pt x="207" y="63"/>
                      <a:pt x="208" y="62"/>
                      <a:pt x="206" y="61"/>
                    </a:cubicBezTo>
                    <a:cubicBezTo>
                      <a:pt x="204" y="61"/>
                      <a:pt x="201" y="62"/>
                      <a:pt x="202" y="65"/>
                    </a:cubicBezTo>
                    <a:cubicBezTo>
                      <a:pt x="203" y="67"/>
                      <a:pt x="207" y="69"/>
                      <a:pt x="208" y="70"/>
                    </a:cubicBezTo>
                    <a:cubicBezTo>
                      <a:pt x="210" y="70"/>
                      <a:pt x="211" y="71"/>
                      <a:pt x="210" y="71"/>
                    </a:cubicBezTo>
                    <a:cubicBezTo>
                      <a:pt x="209" y="72"/>
                      <a:pt x="206" y="70"/>
                      <a:pt x="204" y="69"/>
                    </a:cubicBezTo>
                    <a:cubicBezTo>
                      <a:pt x="202" y="67"/>
                      <a:pt x="203" y="68"/>
                      <a:pt x="203" y="70"/>
                    </a:cubicBezTo>
                    <a:cubicBezTo>
                      <a:pt x="203" y="72"/>
                      <a:pt x="203" y="76"/>
                      <a:pt x="203" y="74"/>
                    </a:cubicBezTo>
                    <a:cubicBezTo>
                      <a:pt x="202" y="71"/>
                      <a:pt x="202" y="69"/>
                      <a:pt x="201" y="67"/>
                    </a:cubicBezTo>
                    <a:cubicBezTo>
                      <a:pt x="199" y="64"/>
                      <a:pt x="199" y="63"/>
                      <a:pt x="197" y="65"/>
                    </a:cubicBezTo>
                    <a:cubicBezTo>
                      <a:pt x="196" y="66"/>
                      <a:pt x="196" y="70"/>
                      <a:pt x="195" y="72"/>
                    </a:cubicBezTo>
                    <a:cubicBezTo>
                      <a:pt x="195" y="74"/>
                      <a:pt x="198" y="76"/>
                      <a:pt x="196" y="77"/>
                    </a:cubicBezTo>
                    <a:cubicBezTo>
                      <a:pt x="195" y="78"/>
                      <a:pt x="193" y="77"/>
                      <a:pt x="192" y="77"/>
                    </a:cubicBezTo>
                    <a:cubicBezTo>
                      <a:pt x="190" y="78"/>
                      <a:pt x="190" y="79"/>
                      <a:pt x="189" y="80"/>
                    </a:cubicBezTo>
                    <a:cubicBezTo>
                      <a:pt x="188" y="81"/>
                      <a:pt x="188" y="85"/>
                      <a:pt x="189" y="86"/>
                    </a:cubicBezTo>
                    <a:cubicBezTo>
                      <a:pt x="190" y="88"/>
                      <a:pt x="191" y="87"/>
                      <a:pt x="191" y="89"/>
                    </a:cubicBezTo>
                    <a:cubicBezTo>
                      <a:pt x="190" y="91"/>
                      <a:pt x="190" y="91"/>
                      <a:pt x="188" y="90"/>
                    </a:cubicBezTo>
                    <a:cubicBezTo>
                      <a:pt x="187" y="89"/>
                      <a:pt x="186" y="85"/>
                      <a:pt x="184" y="85"/>
                    </a:cubicBezTo>
                    <a:cubicBezTo>
                      <a:pt x="183" y="85"/>
                      <a:pt x="182" y="86"/>
                      <a:pt x="183" y="88"/>
                    </a:cubicBezTo>
                    <a:cubicBezTo>
                      <a:pt x="185" y="90"/>
                      <a:pt x="191" y="96"/>
                      <a:pt x="189" y="95"/>
                    </a:cubicBezTo>
                    <a:cubicBezTo>
                      <a:pt x="187" y="94"/>
                      <a:pt x="186" y="94"/>
                      <a:pt x="184" y="94"/>
                    </a:cubicBezTo>
                    <a:cubicBezTo>
                      <a:pt x="183" y="94"/>
                      <a:pt x="182" y="95"/>
                      <a:pt x="182" y="93"/>
                    </a:cubicBezTo>
                    <a:cubicBezTo>
                      <a:pt x="182" y="92"/>
                      <a:pt x="183" y="90"/>
                      <a:pt x="182" y="89"/>
                    </a:cubicBezTo>
                    <a:cubicBezTo>
                      <a:pt x="181" y="88"/>
                      <a:pt x="179" y="88"/>
                      <a:pt x="179" y="90"/>
                    </a:cubicBezTo>
                    <a:cubicBezTo>
                      <a:pt x="179" y="93"/>
                      <a:pt x="180" y="94"/>
                      <a:pt x="178" y="95"/>
                    </a:cubicBezTo>
                    <a:cubicBezTo>
                      <a:pt x="177" y="96"/>
                      <a:pt x="176" y="96"/>
                      <a:pt x="176" y="98"/>
                    </a:cubicBezTo>
                    <a:cubicBezTo>
                      <a:pt x="175" y="99"/>
                      <a:pt x="175" y="101"/>
                      <a:pt x="175" y="102"/>
                    </a:cubicBezTo>
                    <a:cubicBezTo>
                      <a:pt x="175" y="103"/>
                      <a:pt x="178" y="105"/>
                      <a:pt x="179" y="105"/>
                    </a:cubicBezTo>
                    <a:cubicBezTo>
                      <a:pt x="181" y="105"/>
                      <a:pt x="184" y="105"/>
                      <a:pt x="185" y="105"/>
                    </a:cubicBezTo>
                    <a:cubicBezTo>
                      <a:pt x="187" y="104"/>
                      <a:pt x="187" y="101"/>
                      <a:pt x="189" y="102"/>
                    </a:cubicBezTo>
                    <a:cubicBezTo>
                      <a:pt x="191" y="103"/>
                      <a:pt x="196" y="104"/>
                      <a:pt x="195" y="106"/>
                    </a:cubicBezTo>
                    <a:cubicBezTo>
                      <a:pt x="194" y="107"/>
                      <a:pt x="190" y="104"/>
                      <a:pt x="188" y="106"/>
                    </a:cubicBezTo>
                    <a:cubicBezTo>
                      <a:pt x="187" y="109"/>
                      <a:pt x="187" y="109"/>
                      <a:pt x="187" y="110"/>
                    </a:cubicBezTo>
                    <a:cubicBezTo>
                      <a:pt x="188" y="112"/>
                      <a:pt x="186" y="112"/>
                      <a:pt x="186" y="111"/>
                    </a:cubicBezTo>
                    <a:cubicBezTo>
                      <a:pt x="185" y="110"/>
                      <a:pt x="184" y="108"/>
                      <a:pt x="181" y="107"/>
                    </a:cubicBezTo>
                    <a:cubicBezTo>
                      <a:pt x="179" y="107"/>
                      <a:pt x="176" y="106"/>
                      <a:pt x="174" y="106"/>
                    </a:cubicBezTo>
                    <a:cubicBezTo>
                      <a:pt x="173" y="106"/>
                      <a:pt x="171" y="108"/>
                      <a:pt x="172" y="109"/>
                    </a:cubicBezTo>
                    <a:cubicBezTo>
                      <a:pt x="174" y="110"/>
                      <a:pt x="179" y="116"/>
                      <a:pt x="178" y="116"/>
                    </a:cubicBezTo>
                    <a:cubicBezTo>
                      <a:pt x="177" y="115"/>
                      <a:pt x="175" y="113"/>
                      <a:pt x="173" y="112"/>
                    </a:cubicBezTo>
                    <a:cubicBezTo>
                      <a:pt x="171" y="111"/>
                      <a:pt x="169" y="112"/>
                      <a:pt x="170" y="114"/>
                    </a:cubicBezTo>
                    <a:cubicBezTo>
                      <a:pt x="170" y="115"/>
                      <a:pt x="172" y="118"/>
                      <a:pt x="174" y="119"/>
                    </a:cubicBezTo>
                    <a:cubicBezTo>
                      <a:pt x="175" y="119"/>
                      <a:pt x="174" y="122"/>
                      <a:pt x="173" y="124"/>
                    </a:cubicBezTo>
                    <a:cubicBezTo>
                      <a:pt x="173" y="126"/>
                      <a:pt x="173" y="129"/>
                      <a:pt x="172" y="127"/>
                    </a:cubicBezTo>
                    <a:cubicBezTo>
                      <a:pt x="171" y="125"/>
                      <a:pt x="169" y="122"/>
                      <a:pt x="169" y="119"/>
                    </a:cubicBezTo>
                    <a:cubicBezTo>
                      <a:pt x="168" y="117"/>
                      <a:pt x="167" y="112"/>
                      <a:pt x="166" y="112"/>
                    </a:cubicBezTo>
                    <a:cubicBezTo>
                      <a:pt x="165" y="112"/>
                      <a:pt x="164" y="116"/>
                      <a:pt x="164" y="118"/>
                    </a:cubicBezTo>
                    <a:cubicBezTo>
                      <a:pt x="164" y="120"/>
                      <a:pt x="167" y="121"/>
                      <a:pt x="166" y="123"/>
                    </a:cubicBezTo>
                    <a:cubicBezTo>
                      <a:pt x="166" y="125"/>
                      <a:pt x="165" y="125"/>
                      <a:pt x="163" y="125"/>
                    </a:cubicBezTo>
                    <a:cubicBezTo>
                      <a:pt x="162" y="124"/>
                      <a:pt x="160" y="124"/>
                      <a:pt x="159" y="125"/>
                    </a:cubicBezTo>
                    <a:cubicBezTo>
                      <a:pt x="158" y="126"/>
                      <a:pt x="157" y="126"/>
                      <a:pt x="155" y="126"/>
                    </a:cubicBezTo>
                    <a:cubicBezTo>
                      <a:pt x="153" y="126"/>
                      <a:pt x="154" y="123"/>
                      <a:pt x="152" y="123"/>
                    </a:cubicBezTo>
                    <a:cubicBezTo>
                      <a:pt x="150" y="123"/>
                      <a:pt x="150" y="126"/>
                      <a:pt x="151" y="127"/>
                    </a:cubicBezTo>
                    <a:cubicBezTo>
                      <a:pt x="151" y="129"/>
                      <a:pt x="151" y="130"/>
                      <a:pt x="150" y="132"/>
                    </a:cubicBezTo>
                    <a:cubicBezTo>
                      <a:pt x="149" y="134"/>
                      <a:pt x="150" y="137"/>
                      <a:pt x="151" y="135"/>
                    </a:cubicBezTo>
                    <a:cubicBezTo>
                      <a:pt x="152" y="134"/>
                      <a:pt x="154" y="136"/>
                      <a:pt x="155" y="133"/>
                    </a:cubicBezTo>
                    <a:cubicBezTo>
                      <a:pt x="156" y="131"/>
                      <a:pt x="157" y="130"/>
                      <a:pt x="159" y="130"/>
                    </a:cubicBezTo>
                    <a:cubicBezTo>
                      <a:pt x="161" y="130"/>
                      <a:pt x="164" y="132"/>
                      <a:pt x="165" y="133"/>
                    </a:cubicBezTo>
                    <a:cubicBezTo>
                      <a:pt x="166" y="134"/>
                      <a:pt x="166" y="136"/>
                      <a:pt x="165" y="135"/>
                    </a:cubicBezTo>
                    <a:cubicBezTo>
                      <a:pt x="163" y="134"/>
                      <a:pt x="162" y="132"/>
                      <a:pt x="161" y="133"/>
                    </a:cubicBezTo>
                    <a:cubicBezTo>
                      <a:pt x="159" y="134"/>
                      <a:pt x="156" y="133"/>
                      <a:pt x="157" y="136"/>
                    </a:cubicBezTo>
                    <a:cubicBezTo>
                      <a:pt x="157" y="139"/>
                      <a:pt x="158" y="141"/>
                      <a:pt x="160" y="141"/>
                    </a:cubicBezTo>
                    <a:cubicBezTo>
                      <a:pt x="161" y="140"/>
                      <a:pt x="162" y="140"/>
                      <a:pt x="164" y="139"/>
                    </a:cubicBezTo>
                    <a:cubicBezTo>
                      <a:pt x="165" y="138"/>
                      <a:pt x="166" y="139"/>
                      <a:pt x="166" y="139"/>
                    </a:cubicBezTo>
                    <a:cubicBezTo>
                      <a:pt x="165" y="140"/>
                      <a:pt x="163" y="141"/>
                      <a:pt x="162" y="142"/>
                    </a:cubicBezTo>
                    <a:cubicBezTo>
                      <a:pt x="162" y="142"/>
                      <a:pt x="162" y="143"/>
                      <a:pt x="162" y="145"/>
                    </a:cubicBezTo>
                    <a:cubicBezTo>
                      <a:pt x="163" y="147"/>
                      <a:pt x="164" y="149"/>
                      <a:pt x="163" y="148"/>
                    </a:cubicBezTo>
                    <a:cubicBezTo>
                      <a:pt x="162" y="147"/>
                      <a:pt x="160" y="145"/>
                      <a:pt x="158" y="144"/>
                    </a:cubicBezTo>
                    <a:cubicBezTo>
                      <a:pt x="157" y="143"/>
                      <a:pt x="155" y="143"/>
                      <a:pt x="155" y="142"/>
                    </a:cubicBezTo>
                    <a:cubicBezTo>
                      <a:pt x="154" y="142"/>
                      <a:pt x="154" y="139"/>
                      <a:pt x="152" y="139"/>
                    </a:cubicBezTo>
                    <a:cubicBezTo>
                      <a:pt x="151" y="139"/>
                      <a:pt x="148" y="141"/>
                      <a:pt x="148" y="142"/>
                    </a:cubicBezTo>
                    <a:cubicBezTo>
                      <a:pt x="148" y="144"/>
                      <a:pt x="150" y="145"/>
                      <a:pt x="149" y="145"/>
                    </a:cubicBezTo>
                    <a:cubicBezTo>
                      <a:pt x="147" y="146"/>
                      <a:pt x="146" y="148"/>
                      <a:pt x="145" y="150"/>
                    </a:cubicBezTo>
                    <a:cubicBezTo>
                      <a:pt x="145" y="151"/>
                      <a:pt x="146" y="151"/>
                      <a:pt x="148" y="151"/>
                    </a:cubicBezTo>
                    <a:cubicBezTo>
                      <a:pt x="150" y="151"/>
                      <a:pt x="152" y="151"/>
                      <a:pt x="153" y="150"/>
                    </a:cubicBezTo>
                    <a:cubicBezTo>
                      <a:pt x="155" y="149"/>
                      <a:pt x="156" y="151"/>
                      <a:pt x="157" y="151"/>
                    </a:cubicBezTo>
                    <a:cubicBezTo>
                      <a:pt x="158" y="152"/>
                      <a:pt x="159" y="151"/>
                      <a:pt x="161" y="152"/>
                    </a:cubicBezTo>
                    <a:cubicBezTo>
                      <a:pt x="163" y="152"/>
                      <a:pt x="163" y="154"/>
                      <a:pt x="162" y="154"/>
                    </a:cubicBezTo>
                    <a:cubicBezTo>
                      <a:pt x="161" y="154"/>
                      <a:pt x="161" y="156"/>
                      <a:pt x="160" y="157"/>
                    </a:cubicBezTo>
                    <a:cubicBezTo>
                      <a:pt x="159" y="157"/>
                      <a:pt x="158" y="155"/>
                      <a:pt x="157" y="154"/>
                    </a:cubicBezTo>
                    <a:cubicBezTo>
                      <a:pt x="156" y="153"/>
                      <a:pt x="154" y="153"/>
                      <a:pt x="150" y="153"/>
                    </a:cubicBezTo>
                    <a:cubicBezTo>
                      <a:pt x="147" y="153"/>
                      <a:pt x="144" y="152"/>
                      <a:pt x="143" y="155"/>
                    </a:cubicBezTo>
                    <a:cubicBezTo>
                      <a:pt x="143" y="157"/>
                      <a:pt x="144" y="157"/>
                      <a:pt x="145" y="158"/>
                    </a:cubicBezTo>
                    <a:cubicBezTo>
                      <a:pt x="147" y="160"/>
                      <a:pt x="148" y="161"/>
                      <a:pt x="147" y="161"/>
                    </a:cubicBezTo>
                    <a:cubicBezTo>
                      <a:pt x="146" y="161"/>
                      <a:pt x="145" y="158"/>
                      <a:pt x="143" y="159"/>
                    </a:cubicBezTo>
                    <a:cubicBezTo>
                      <a:pt x="142" y="159"/>
                      <a:pt x="141" y="162"/>
                      <a:pt x="140" y="162"/>
                    </a:cubicBezTo>
                    <a:cubicBezTo>
                      <a:pt x="139" y="162"/>
                      <a:pt x="137" y="161"/>
                      <a:pt x="135" y="162"/>
                    </a:cubicBezTo>
                    <a:cubicBezTo>
                      <a:pt x="133" y="163"/>
                      <a:pt x="131" y="163"/>
                      <a:pt x="132" y="165"/>
                    </a:cubicBezTo>
                    <a:cubicBezTo>
                      <a:pt x="133" y="167"/>
                      <a:pt x="138" y="168"/>
                      <a:pt x="137" y="169"/>
                    </a:cubicBezTo>
                    <a:cubicBezTo>
                      <a:pt x="137" y="171"/>
                      <a:pt x="134" y="169"/>
                      <a:pt x="133" y="170"/>
                    </a:cubicBezTo>
                    <a:cubicBezTo>
                      <a:pt x="132" y="170"/>
                      <a:pt x="131" y="168"/>
                      <a:pt x="130" y="168"/>
                    </a:cubicBezTo>
                    <a:cubicBezTo>
                      <a:pt x="129" y="169"/>
                      <a:pt x="130" y="171"/>
                      <a:pt x="129" y="172"/>
                    </a:cubicBezTo>
                    <a:cubicBezTo>
                      <a:pt x="128" y="173"/>
                      <a:pt x="127" y="174"/>
                      <a:pt x="127" y="176"/>
                    </a:cubicBezTo>
                    <a:cubicBezTo>
                      <a:pt x="127" y="178"/>
                      <a:pt x="129" y="179"/>
                      <a:pt x="130" y="179"/>
                    </a:cubicBezTo>
                    <a:cubicBezTo>
                      <a:pt x="131" y="179"/>
                      <a:pt x="132" y="178"/>
                      <a:pt x="134" y="178"/>
                    </a:cubicBezTo>
                    <a:cubicBezTo>
                      <a:pt x="135" y="178"/>
                      <a:pt x="133" y="179"/>
                      <a:pt x="131" y="180"/>
                    </a:cubicBezTo>
                    <a:cubicBezTo>
                      <a:pt x="130" y="181"/>
                      <a:pt x="130" y="185"/>
                      <a:pt x="129" y="183"/>
                    </a:cubicBezTo>
                    <a:cubicBezTo>
                      <a:pt x="128" y="181"/>
                      <a:pt x="125" y="179"/>
                      <a:pt x="124" y="180"/>
                    </a:cubicBezTo>
                    <a:cubicBezTo>
                      <a:pt x="123" y="180"/>
                      <a:pt x="125" y="183"/>
                      <a:pt x="125" y="184"/>
                    </a:cubicBezTo>
                    <a:cubicBezTo>
                      <a:pt x="126" y="185"/>
                      <a:pt x="124" y="191"/>
                      <a:pt x="124" y="190"/>
                    </a:cubicBezTo>
                    <a:cubicBezTo>
                      <a:pt x="125" y="189"/>
                      <a:pt x="128" y="187"/>
                      <a:pt x="129" y="188"/>
                    </a:cubicBezTo>
                    <a:cubicBezTo>
                      <a:pt x="131" y="189"/>
                      <a:pt x="132" y="191"/>
                      <a:pt x="134" y="191"/>
                    </a:cubicBezTo>
                    <a:cubicBezTo>
                      <a:pt x="135" y="190"/>
                      <a:pt x="139" y="188"/>
                      <a:pt x="141" y="188"/>
                    </a:cubicBezTo>
                    <a:cubicBezTo>
                      <a:pt x="142" y="187"/>
                      <a:pt x="143" y="188"/>
                      <a:pt x="140" y="190"/>
                    </a:cubicBezTo>
                    <a:cubicBezTo>
                      <a:pt x="137" y="191"/>
                      <a:pt x="136" y="192"/>
                      <a:pt x="135" y="194"/>
                    </a:cubicBezTo>
                    <a:cubicBezTo>
                      <a:pt x="134" y="195"/>
                      <a:pt x="133" y="196"/>
                      <a:pt x="132" y="194"/>
                    </a:cubicBezTo>
                    <a:cubicBezTo>
                      <a:pt x="131" y="192"/>
                      <a:pt x="131" y="191"/>
                      <a:pt x="129" y="191"/>
                    </a:cubicBezTo>
                    <a:cubicBezTo>
                      <a:pt x="127" y="191"/>
                      <a:pt x="126" y="195"/>
                      <a:pt x="125" y="195"/>
                    </a:cubicBezTo>
                    <a:cubicBezTo>
                      <a:pt x="124" y="194"/>
                      <a:pt x="123" y="190"/>
                      <a:pt x="122" y="192"/>
                    </a:cubicBezTo>
                    <a:cubicBezTo>
                      <a:pt x="122" y="194"/>
                      <a:pt x="121" y="195"/>
                      <a:pt x="122" y="197"/>
                    </a:cubicBezTo>
                    <a:cubicBezTo>
                      <a:pt x="123" y="199"/>
                      <a:pt x="126" y="201"/>
                      <a:pt x="127" y="203"/>
                    </a:cubicBezTo>
                    <a:cubicBezTo>
                      <a:pt x="128" y="205"/>
                      <a:pt x="128" y="209"/>
                      <a:pt x="127" y="207"/>
                    </a:cubicBezTo>
                    <a:cubicBezTo>
                      <a:pt x="127" y="205"/>
                      <a:pt x="124" y="203"/>
                      <a:pt x="124" y="202"/>
                    </a:cubicBezTo>
                    <a:cubicBezTo>
                      <a:pt x="123" y="201"/>
                      <a:pt x="122" y="201"/>
                      <a:pt x="121" y="202"/>
                    </a:cubicBezTo>
                    <a:cubicBezTo>
                      <a:pt x="120" y="203"/>
                      <a:pt x="119" y="205"/>
                      <a:pt x="119" y="206"/>
                    </a:cubicBezTo>
                    <a:cubicBezTo>
                      <a:pt x="119" y="208"/>
                      <a:pt x="119" y="210"/>
                      <a:pt x="119" y="211"/>
                    </a:cubicBezTo>
                    <a:cubicBezTo>
                      <a:pt x="120" y="212"/>
                      <a:pt x="121" y="215"/>
                      <a:pt x="120" y="214"/>
                    </a:cubicBezTo>
                    <a:cubicBezTo>
                      <a:pt x="120" y="213"/>
                      <a:pt x="119" y="212"/>
                      <a:pt x="118" y="212"/>
                    </a:cubicBezTo>
                    <a:cubicBezTo>
                      <a:pt x="116" y="211"/>
                      <a:pt x="115" y="214"/>
                      <a:pt x="115" y="215"/>
                    </a:cubicBezTo>
                    <a:cubicBezTo>
                      <a:pt x="116" y="216"/>
                      <a:pt x="117" y="217"/>
                      <a:pt x="118" y="217"/>
                    </a:cubicBezTo>
                    <a:cubicBezTo>
                      <a:pt x="120" y="218"/>
                      <a:pt x="119" y="221"/>
                      <a:pt x="120" y="221"/>
                    </a:cubicBezTo>
                    <a:cubicBezTo>
                      <a:pt x="121" y="221"/>
                      <a:pt x="122" y="221"/>
                      <a:pt x="122" y="222"/>
                    </a:cubicBezTo>
                    <a:cubicBezTo>
                      <a:pt x="122" y="223"/>
                      <a:pt x="121" y="222"/>
                      <a:pt x="119" y="223"/>
                    </a:cubicBezTo>
                    <a:cubicBezTo>
                      <a:pt x="118" y="223"/>
                      <a:pt x="117" y="225"/>
                      <a:pt x="117" y="222"/>
                    </a:cubicBezTo>
                    <a:cubicBezTo>
                      <a:pt x="116" y="218"/>
                      <a:pt x="116" y="218"/>
                      <a:pt x="115" y="218"/>
                    </a:cubicBezTo>
                    <a:cubicBezTo>
                      <a:pt x="113" y="218"/>
                      <a:pt x="114" y="220"/>
                      <a:pt x="113" y="222"/>
                    </a:cubicBezTo>
                    <a:cubicBezTo>
                      <a:pt x="113" y="223"/>
                      <a:pt x="112" y="225"/>
                      <a:pt x="113" y="227"/>
                    </a:cubicBezTo>
                    <a:cubicBezTo>
                      <a:pt x="113" y="230"/>
                      <a:pt x="114" y="230"/>
                      <a:pt x="115" y="228"/>
                    </a:cubicBezTo>
                    <a:cubicBezTo>
                      <a:pt x="116" y="225"/>
                      <a:pt x="117" y="226"/>
                      <a:pt x="117" y="229"/>
                    </a:cubicBezTo>
                    <a:cubicBezTo>
                      <a:pt x="117" y="232"/>
                      <a:pt x="117" y="234"/>
                      <a:pt x="118" y="233"/>
                    </a:cubicBezTo>
                    <a:cubicBezTo>
                      <a:pt x="119" y="233"/>
                      <a:pt x="121" y="232"/>
                      <a:pt x="123" y="229"/>
                    </a:cubicBezTo>
                    <a:cubicBezTo>
                      <a:pt x="124" y="227"/>
                      <a:pt x="125" y="227"/>
                      <a:pt x="124" y="229"/>
                    </a:cubicBezTo>
                    <a:cubicBezTo>
                      <a:pt x="123" y="230"/>
                      <a:pt x="120" y="234"/>
                      <a:pt x="118" y="235"/>
                    </a:cubicBezTo>
                    <a:cubicBezTo>
                      <a:pt x="116" y="236"/>
                      <a:pt x="115" y="237"/>
                      <a:pt x="115" y="236"/>
                    </a:cubicBezTo>
                    <a:cubicBezTo>
                      <a:pt x="115" y="234"/>
                      <a:pt x="115" y="232"/>
                      <a:pt x="114" y="232"/>
                    </a:cubicBezTo>
                    <a:cubicBezTo>
                      <a:pt x="112" y="232"/>
                      <a:pt x="112" y="232"/>
                      <a:pt x="112" y="234"/>
                    </a:cubicBezTo>
                    <a:cubicBezTo>
                      <a:pt x="112" y="236"/>
                      <a:pt x="110" y="235"/>
                      <a:pt x="109" y="236"/>
                    </a:cubicBezTo>
                    <a:cubicBezTo>
                      <a:pt x="108" y="237"/>
                      <a:pt x="106" y="240"/>
                      <a:pt x="105" y="241"/>
                    </a:cubicBezTo>
                    <a:cubicBezTo>
                      <a:pt x="104" y="242"/>
                      <a:pt x="103" y="240"/>
                      <a:pt x="102" y="242"/>
                    </a:cubicBezTo>
                    <a:cubicBezTo>
                      <a:pt x="100" y="243"/>
                      <a:pt x="99" y="244"/>
                      <a:pt x="99" y="243"/>
                    </a:cubicBezTo>
                    <a:cubicBezTo>
                      <a:pt x="98" y="241"/>
                      <a:pt x="96" y="241"/>
                      <a:pt x="95" y="241"/>
                    </a:cubicBezTo>
                    <a:cubicBezTo>
                      <a:pt x="93" y="242"/>
                      <a:pt x="91" y="244"/>
                      <a:pt x="92" y="244"/>
                    </a:cubicBezTo>
                    <a:cubicBezTo>
                      <a:pt x="94" y="244"/>
                      <a:pt x="96" y="243"/>
                      <a:pt x="97" y="244"/>
                    </a:cubicBezTo>
                    <a:cubicBezTo>
                      <a:pt x="98" y="245"/>
                      <a:pt x="98" y="249"/>
                      <a:pt x="99" y="248"/>
                    </a:cubicBezTo>
                    <a:cubicBezTo>
                      <a:pt x="100" y="248"/>
                      <a:pt x="101" y="250"/>
                      <a:pt x="102" y="248"/>
                    </a:cubicBezTo>
                    <a:cubicBezTo>
                      <a:pt x="104" y="245"/>
                      <a:pt x="106" y="246"/>
                      <a:pt x="108" y="244"/>
                    </a:cubicBezTo>
                    <a:cubicBezTo>
                      <a:pt x="109" y="242"/>
                      <a:pt x="111" y="240"/>
                      <a:pt x="112" y="239"/>
                    </a:cubicBezTo>
                    <a:cubicBezTo>
                      <a:pt x="114" y="238"/>
                      <a:pt x="113" y="240"/>
                      <a:pt x="112" y="241"/>
                    </a:cubicBezTo>
                    <a:cubicBezTo>
                      <a:pt x="111" y="242"/>
                      <a:pt x="113" y="241"/>
                      <a:pt x="115" y="242"/>
                    </a:cubicBezTo>
                    <a:cubicBezTo>
                      <a:pt x="117" y="243"/>
                      <a:pt x="118" y="243"/>
                      <a:pt x="118" y="243"/>
                    </a:cubicBezTo>
                    <a:cubicBezTo>
                      <a:pt x="117" y="243"/>
                      <a:pt x="113" y="241"/>
                      <a:pt x="111" y="243"/>
                    </a:cubicBezTo>
                    <a:cubicBezTo>
                      <a:pt x="109" y="245"/>
                      <a:pt x="106" y="246"/>
                      <a:pt x="107" y="247"/>
                    </a:cubicBezTo>
                    <a:cubicBezTo>
                      <a:pt x="108" y="248"/>
                      <a:pt x="110" y="248"/>
                      <a:pt x="108" y="249"/>
                    </a:cubicBezTo>
                    <a:cubicBezTo>
                      <a:pt x="106" y="249"/>
                      <a:pt x="104" y="249"/>
                      <a:pt x="103" y="250"/>
                    </a:cubicBezTo>
                    <a:cubicBezTo>
                      <a:pt x="102" y="252"/>
                      <a:pt x="103" y="254"/>
                      <a:pt x="105" y="254"/>
                    </a:cubicBezTo>
                    <a:cubicBezTo>
                      <a:pt x="106" y="255"/>
                      <a:pt x="103" y="255"/>
                      <a:pt x="104" y="258"/>
                    </a:cubicBezTo>
                    <a:cubicBezTo>
                      <a:pt x="105" y="260"/>
                      <a:pt x="105" y="259"/>
                      <a:pt x="104" y="261"/>
                    </a:cubicBezTo>
                    <a:cubicBezTo>
                      <a:pt x="103" y="262"/>
                      <a:pt x="100" y="267"/>
                      <a:pt x="100" y="265"/>
                    </a:cubicBezTo>
                    <a:cubicBezTo>
                      <a:pt x="100" y="262"/>
                      <a:pt x="101" y="259"/>
                      <a:pt x="100" y="259"/>
                    </a:cubicBezTo>
                    <a:cubicBezTo>
                      <a:pt x="98" y="258"/>
                      <a:pt x="97" y="259"/>
                      <a:pt x="97" y="257"/>
                    </a:cubicBezTo>
                    <a:cubicBezTo>
                      <a:pt x="96" y="254"/>
                      <a:pt x="96" y="255"/>
                      <a:pt x="95" y="257"/>
                    </a:cubicBezTo>
                    <a:cubicBezTo>
                      <a:pt x="93" y="258"/>
                      <a:pt x="93" y="256"/>
                      <a:pt x="92" y="259"/>
                    </a:cubicBezTo>
                    <a:cubicBezTo>
                      <a:pt x="91" y="262"/>
                      <a:pt x="90" y="263"/>
                      <a:pt x="89" y="262"/>
                    </a:cubicBezTo>
                    <a:cubicBezTo>
                      <a:pt x="89" y="262"/>
                      <a:pt x="87" y="264"/>
                      <a:pt x="86" y="267"/>
                    </a:cubicBezTo>
                    <a:cubicBezTo>
                      <a:pt x="86" y="270"/>
                      <a:pt x="84" y="269"/>
                      <a:pt x="84" y="272"/>
                    </a:cubicBezTo>
                    <a:cubicBezTo>
                      <a:pt x="83" y="275"/>
                      <a:pt x="82" y="273"/>
                      <a:pt x="81" y="276"/>
                    </a:cubicBezTo>
                    <a:cubicBezTo>
                      <a:pt x="80" y="278"/>
                      <a:pt x="80" y="279"/>
                      <a:pt x="81" y="280"/>
                    </a:cubicBezTo>
                    <a:cubicBezTo>
                      <a:pt x="82" y="280"/>
                      <a:pt x="85" y="281"/>
                      <a:pt x="84" y="281"/>
                    </a:cubicBezTo>
                    <a:cubicBezTo>
                      <a:pt x="83" y="282"/>
                      <a:pt x="81" y="281"/>
                      <a:pt x="80" y="282"/>
                    </a:cubicBezTo>
                    <a:cubicBezTo>
                      <a:pt x="79" y="282"/>
                      <a:pt x="74" y="284"/>
                      <a:pt x="75" y="287"/>
                    </a:cubicBezTo>
                    <a:cubicBezTo>
                      <a:pt x="75" y="290"/>
                      <a:pt x="77" y="290"/>
                      <a:pt x="78" y="289"/>
                    </a:cubicBezTo>
                    <a:cubicBezTo>
                      <a:pt x="80" y="288"/>
                      <a:pt x="84" y="286"/>
                      <a:pt x="82" y="288"/>
                    </a:cubicBezTo>
                    <a:cubicBezTo>
                      <a:pt x="80" y="289"/>
                      <a:pt x="78" y="291"/>
                      <a:pt x="79" y="293"/>
                    </a:cubicBezTo>
                    <a:cubicBezTo>
                      <a:pt x="80" y="295"/>
                      <a:pt x="81" y="299"/>
                      <a:pt x="82" y="298"/>
                    </a:cubicBezTo>
                    <a:cubicBezTo>
                      <a:pt x="84" y="298"/>
                      <a:pt x="88" y="294"/>
                      <a:pt x="90" y="293"/>
                    </a:cubicBezTo>
                    <a:cubicBezTo>
                      <a:pt x="93" y="291"/>
                      <a:pt x="95" y="289"/>
                      <a:pt x="96" y="287"/>
                    </a:cubicBezTo>
                    <a:cubicBezTo>
                      <a:pt x="97" y="284"/>
                      <a:pt x="97" y="283"/>
                      <a:pt x="95" y="283"/>
                    </a:cubicBezTo>
                    <a:cubicBezTo>
                      <a:pt x="93" y="284"/>
                      <a:pt x="91" y="286"/>
                      <a:pt x="93" y="284"/>
                    </a:cubicBezTo>
                    <a:cubicBezTo>
                      <a:pt x="94" y="282"/>
                      <a:pt x="98" y="279"/>
                      <a:pt x="99" y="277"/>
                    </a:cubicBezTo>
                    <a:cubicBezTo>
                      <a:pt x="100" y="275"/>
                      <a:pt x="102" y="272"/>
                      <a:pt x="102" y="274"/>
                    </a:cubicBezTo>
                    <a:cubicBezTo>
                      <a:pt x="101" y="276"/>
                      <a:pt x="102" y="278"/>
                      <a:pt x="103" y="278"/>
                    </a:cubicBezTo>
                    <a:cubicBezTo>
                      <a:pt x="105" y="278"/>
                      <a:pt x="105" y="279"/>
                      <a:pt x="105" y="279"/>
                    </a:cubicBezTo>
                    <a:cubicBezTo>
                      <a:pt x="104" y="279"/>
                      <a:pt x="101" y="278"/>
                      <a:pt x="100" y="281"/>
                    </a:cubicBezTo>
                    <a:cubicBezTo>
                      <a:pt x="99" y="283"/>
                      <a:pt x="100" y="284"/>
                      <a:pt x="101" y="285"/>
                    </a:cubicBezTo>
                    <a:cubicBezTo>
                      <a:pt x="103" y="286"/>
                      <a:pt x="101" y="288"/>
                      <a:pt x="100" y="288"/>
                    </a:cubicBezTo>
                    <a:cubicBezTo>
                      <a:pt x="98" y="289"/>
                      <a:pt x="96" y="291"/>
                      <a:pt x="95" y="293"/>
                    </a:cubicBezTo>
                    <a:cubicBezTo>
                      <a:pt x="93" y="295"/>
                      <a:pt x="91" y="295"/>
                      <a:pt x="94" y="296"/>
                    </a:cubicBezTo>
                    <a:cubicBezTo>
                      <a:pt x="96" y="296"/>
                      <a:pt x="95" y="300"/>
                      <a:pt x="94" y="300"/>
                    </a:cubicBezTo>
                    <a:cubicBezTo>
                      <a:pt x="93" y="300"/>
                      <a:pt x="89" y="301"/>
                      <a:pt x="88" y="301"/>
                    </a:cubicBezTo>
                    <a:cubicBezTo>
                      <a:pt x="87" y="300"/>
                      <a:pt x="86" y="298"/>
                      <a:pt x="85" y="300"/>
                    </a:cubicBezTo>
                    <a:cubicBezTo>
                      <a:pt x="83" y="302"/>
                      <a:pt x="84" y="302"/>
                      <a:pt x="84" y="304"/>
                    </a:cubicBezTo>
                    <a:cubicBezTo>
                      <a:pt x="84" y="305"/>
                      <a:pt x="81" y="304"/>
                      <a:pt x="80" y="304"/>
                    </a:cubicBezTo>
                    <a:cubicBezTo>
                      <a:pt x="79" y="304"/>
                      <a:pt x="80" y="303"/>
                      <a:pt x="80" y="301"/>
                    </a:cubicBezTo>
                    <a:cubicBezTo>
                      <a:pt x="81" y="299"/>
                      <a:pt x="79" y="298"/>
                      <a:pt x="79" y="296"/>
                    </a:cubicBezTo>
                    <a:cubicBezTo>
                      <a:pt x="78" y="295"/>
                      <a:pt x="78" y="293"/>
                      <a:pt x="76" y="294"/>
                    </a:cubicBezTo>
                    <a:cubicBezTo>
                      <a:pt x="75" y="295"/>
                      <a:pt x="73" y="295"/>
                      <a:pt x="72" y="296"/>
                    </a:cubicBezTo>
                    <a:cubicBezTo>
                      <a:pt x="70" y="296"/>
                      <a:pt x="68" y="299"/>
                      <a:pt x="69" y="300"/>
                    </a:cubicBezTo>
                    <a:cubicBezTo>
                      <a:pt x="71" y="301"/>
                      <a:pt x="70" y="302"/>
                      <a:pt x="70" y="303"/>
                    </a:cubicBezTo>
                    <a:cubicBezTo>
                      <a:pt x="69" y="304"/>
                      <a:pt x="67" y="308"/>
                      <a:pt x="67" y="305"/>
                    </a:cubicBezTo>
                    <a:cubicBezTo>
                      <a:pt x="68" y="303"/>
                      <a:pt x="68" y="300"/>
                      <a:pt x="67" y="300"/>
                    </a:cubicBezTo>
                    <a:cubicBezTo>
                      <a:pt x="65" y="300"/>
                      <a:pt x="65" y="300"/>
                      <a:pt x="64" y="300"/>
                    </a:cubicBezTo>
                    <a:cubicBezTo>
                      <a:pt x="63" y="301"/>
                      <a:pt x="62" y="303"/>
                      <a:pt x="61" y="304"/>
                    </a:cubicBezTo>
                    <a:cubicBezTo>
                      <a:pt x="60" y="305"/>
                      <a:pt x="59" y="307"/>
                      <a:pt x="60" y="308"/>
                    </a:cubicBezTo>
                    <a:cubicBezTo>
                      <a:pt x="61" y="309"/>
                      <a:pt x="63" y="308"/>
                      <a:pt x="64" y="308"/>
                    </a:cubicBezTo>
                    <a:cubicBezTo>
                      <a:pt x="65" y="309"/>
                      <a:pt x="67" y="310"/>
                      <a:pt x="64" y="310"/>
                    </a:cubicBezTo>
                    <a:cubicBezTo>
                      <a:pt x="62" y="310"/>
                      <a:pt x="61" y="311"/>
                      <a:pt x="60" y="311"/>
                    </a:cubicBezTo>
                    <a:cubicBezTo>
                      <a:pt x="58" y="310"/>
                      <a:pt x="58" y="309"/>
                      <a:pt x="58" y="307"/>
                    </a:cubicBezTo>
                    <a:cubicBezTo>
                      <a:pt x="57" y="306"/>
                      <a:pt x="57" y="305"/>
                      <a:pt x="55" y="306"/>
                    </a:cubicBezTo>
                    <a:cubicBezTo>
                      <a:pt x="54" y="307"/>
                      <a:pt x="54" y="310"/>
                      <a:pt x="55" y="311"/>
                    </a:cubicBezTo>
                    <a:cubicBezTo>
                      <a:pt x="56" y="311"/>
                      <a:pt x="58" y="310"/>
                      <a:pt x="57" y="311"/>
                    </a:cubicBezTo>
                    <a:cubicBezTo>
                      <a:pt x="57" y="312"/>
                      <a:pt x="54" y="311"/>
                      <a:pt x="54" y="312"/>
                    </a:cubicBezTo>
                    <a:cubicBezTo>
                      <a:pt x="53" y="312"/>
                      <a:pt x="53" y="313"/>
                      <a:pt x="55" y="315"/>
                    </a:cubicBezTo>
                    <a:cubicBezTo>
                      <a:pt x="56" y="316"/>
                      <a:pt x="56" y="315"/>
                      <a:pt x="58" y="316"/>
                    </a:cubicBezTo>
                    <a:cubicBezTo>
                      <a:pt x="59" y="316"/>
                      <a:pt x="61" y="315"/>
                      <a:pt x="60" y="317"/>
                    </a:cubicBezTo>
                    <a:cubicBezTo>
                      <a:pt x="59" y="319"/>
                      <a:pt x="58" y="319"/>
                      <a:pt x="59" y="320"/>
                    </a:cubicBezTo>
                    <a:cubicBezTo>
                      <a:pt x="59" y="321"/>
                      <a:pt x="60" y="322"/>
                      <a:pt x="58" y="322"/>
                    </a:cubicBezTo>
                    <a:cubicBezTo>
                      <a:pt x="57" y="323"/>
                      <a:pt x="58" y="324"/>
                      <a:pt x="56" y="321"/>
                    </a:cubicBezTo>
                    <a:cubicBezTo>
                      <a:pt x="54" y="318"/>
                      <a:pt x="54" y="317"/>
                      <a:pt x="53" y="316"/>
                    </a:cubicBezTo>
                    <a:cubicBezTo>
                      <a:pt x="52" y="314"/>
                      <a:pt x="53" y="313"/>
                      <a:pt x="51" y="313"/>
                    </a:cubicBezTo>
                    <a:cubicBezTo>
                      <a:pt x="50" y="313"/>
                      <a:pt x="49" y="312"/>
                      <a:pt x="50" y="314"/>
                    </a:cubicBezTo>
                    <a:cubicBezTo>
                      <a:pt x="51" y="317"/>
                      <a:pt x="51" y="318"/>
                      <a:pt x="52" y="320"/>
                    </a:cubicBezTo>
                    <a:cubicBezTo>
                      <a:pt x="54" y="323"/>
                      <a:pt x="56" y="323"/>
                      <a:pt x="57" y="325"/>
                    </a:cubicBezTo>
                    <a:cubicBezTo>
                      <a:pt x="59" y="327"/>
                      <a:pt x="60" y="330"/>
                      <a:pt x="58" y="329"/>
                    </a:cubicBezTo>
                    <a:cubicBezTo>
                      <a:pt x="57" y="329"/>
                      <a:pt x="57" y="326"/>
                      <a:pt x="55" y="325"/>
                    </a:cubicBezTo>
                    <a:cubicBezTo>
                      <a:pt x="53" y="324"/>
                      <a:pt x="51" y="319"/>
                      <a:pt x="50" y="318"/>
                    </a:cubicBezTo>
                    <a:cubicBezTo>
                      <a:pt x="49" y="318"/>
                      <a:pt x="47" y="318"/>
                      <a:pt x="47" y="318"/>
                    </a:cubicBezTo>
                    <a:cubicBezTo>
                      <a:pt x="46" y="318"/>
                      <a:pt x="43" y="320"/>
                      <a:pt x="42" y="320"/>
                    </a:cubicBezTo>
                    <a:cubicBezTo>
                      <a:pt x="40" y="319"/>
                      <a:pt x="40" y="318"/>
                      <a:pt x="39" y="317"/>
                    </a:cubicBezTo>
                    <a:cubicBezTo>
                      <a:pt x="38" y="316"/>
                      <a:pt x="35" y="317"/>
                      <a:pt x="34" y="317"/>
                    </a:cubicBezTo>
                    <a:cubicBezTo>
                      <a:pt x="33" y="318"/>
                      <a:pt x="33" y="320"/>
                      <a:pt x="34" y="321"/>
                    </a:cubicBezTo>
                    <a:cubicBezTo>
                      <a:pt x="35" y="322"/>
                      <a:pt x="37" y="324"/>
                      <a:pt x="36" y="324"/>
                    </a:cubicBezTo>
                    <a:cubicBezTo>
                      <a:pt x="35" y="324"/>
                      <a:pt x="34" y="324"/>
                      <a:pt x="33" y="322"/>
                    </a:cubicBezTo>
                    <a:cubicBezTo>
                      <a:pt x="32" y="320"/>
                      <a:pt x="31" y="321"/>
                      <a:pt x="32" y="323"/>
                    </a:cubicBezTo>
                    <a:cubicBezTo>
                      <a:pt x="34" y="325"/>
                      <a:pt x="35" y="328"/>
                      <a:pt x="36" y="328"/>
                    </a:cubicBezTo>
                    <a:cubicBezTo>
                      <a:pt x="38" y="328"/>
                      <a:pt x="39" y="328"/>
                      <a:pt x="41" y="327"/>
                    </a:cubicBezTo>
                    <a:cubicBezTo>
                      <a:pt x="42" y="326"/>
                      <a:pt x="45" y="324"/>
                      <a:pt x="44" y="325"/>
                    </a:cubicBezTo>
                    <a:cubicBezTo>
                      <a:pt x="42" y="327"/>
                      <a:pt x="41" y="329"/>
                      <a:pt x="43" y="329"/>
                    </a:cubicBezTo>
                    <a:cubicBezTo>
                      <a:pt x="44" y="328"/>
                      <a:pt x="46" y="326"/>
                      <a:pt x="48" y="326"/>
                    </a:cubicBezTo>
                    <a:cubicBezTo>
                      <a:pt x="50" y="326"/>
                      <a:pt x="54" y="327"/>
                      <a:pt x="53" y="328"/>
                    </a:cubicBezTo>
                    <a:cubicBezTo>
                      <a:pt x="52" y="329"/>
                      <a:pt x="51" y="326"/>
                      <a:pt x="48" y="327"/>
                    </a:cubicBezTo>
                    <a:cubicBezTo>
                      <a:pt x="46" y="328"/>
                      <a:pt x="42" y="330"/>
                      <a:pt x="42" y="332"/>
                    </a:cubicBezTo>
                    <a:cubicBezTo>
                      <a:pt x="43" y="334"/>
                      <a:pt x="44" y="334"/>
                      <a:pt x="45" y="333"/>
                    </a:cubicBezTo>
                    <a:cubicBezTo>
                      <a:pt x="46" y="332"/>
                      <a:pt x="44" y="337"/>
                      <a:pt x="42" y="336"/>
                    </a:cubicBezTo>
                    <a:cubicBezTo>
                      <a:pt x="40" y="334"/>
                      <a:pt x="40" y="332"/>
                      <a:pt x="38" y="332"/>
                    </a:cubicBezTo>
                    <a:cubicBezTo>
                      <a:pt x="36" y="332"/>
                      <a:pt x="35" y="332"/>
                      <a:pt x="34" y="331"/>
                    </a:cubicBezTo>
                    <a:cubicBezTo>
                      <a:pt x="33" y="330"/>
                      <a:pt x="32" y="327"/>
                      <a:pt x="30" y="326"/>
                    </a:cubicBezTo>
                    <a:cubicBezTo>
                      <a:pt x="29" y="326"/>
                      <a:pt x="30" y="328"/>
                      <a:pt x="31" y="329"/>
                    </a:cubicBezTo>
                    <a:cubicBezTo>
                      <a:pt x="32" y="330"/>
                      <a:pt x="28" y="331"/>
                      <a:pt x="27" y="331"/>
                    </a:cubicBezTo>
                    <a:cubicBezTo>
                      <a:pt x="26" y="331"/>
                      <a:pt x="25" y="330"/>
                      <a:pt x="24" y="331"/>
                    </a:cubicBezTo>
                    <a:cubicBezTo>
                      <a:pt x="22" y="331"/>
                      <a:pt x="24" y="335"/>
                      <a:pt x="25" y="335"/>
                    </a:cubicBezTo>
                    <a:cubicBezTo>
                      <a:pt x="26" y="335"/>
                      <a:pt x="29" y="337"/>
                      <a:pt x="31" y="338"/>
                    </a:cubicBezTo>
                    <a:cubicBezTo>
                      <a:pt x="33" y="339"/>
                      <a:pt x="34" y="342"/>
                      <a:pt x="35" y="343"/>
                    </a:cubicBezTo>
                    <a:cubicBezTo>
                      <a:pt x="36" y="344"/>
                      <a:pt x="38" y="343"/>
                      <a:pt x="39" y="344"/>
                    </a:cubicBezTo>
                    <a:cubicBezTo>
                      <a:pt x="40" y="345"/>
                      <a:pt x="39" y="346"/>
                      <a:pt x="37" y="346"/>
                    </a:cubicBezTo>
                    <a:cubicBezTo>
                      <a:pt x="36" y="345"/>
                      <a:pt x="36" y="346"/>
                      <a:pt x="37" y="348"/>
                    </a:cubicBezTo>
                    <a:cubicBezTo>
                      <a:pt x="37" y="349"/>
                      <a:pt x="37" y="352"/>
                      <a:pt x="35" y="352"/>
                    </a:cubicBezTo>
                    <a:cubicBezTo>
                      <a:pt x="34" y="352"/>
                      <a:pt x="34" y="351"/>
                      <a:pt x="34" y="348"/>
                    </a:cubicBezTo>
                    <a:cubicBezTo>
                      <a:pt x="35" y="345"/>
                      <a:pt x="34" y="342"/>
                      <a:pt x="31" y="340"/>
                    </a:cubicBezTo>
                    <a:cubicBezTo>
                      <a:pt x="29" y="338"/>
                      <a:pt x="28" y="339"/>
                      <a:pt x="27" y="339"/>
                    </a:cubicBezTo>
                    <a:cubicBezTo>
                      <a:pt x="26" y="339"/>
                      <a:pt x="26" y="340"/>
                      <a:pt x="26" y="342"/>
                    </a:cubicBezTo>
                    <a:cubicBezTo>
                      <a:pt x="27" y="344"/>
                      <a:pt x="28" y="350"/>
                      <a:pt x="27" y="348"/>
                    </a:cubicBezTo>
                    <a:cubicBezTo>
                      <a:pt x="26" y="346"/>
                      <a:pt x="26" y="344"/>
                      <a:pt x="25" y="342"/>
                    </a:cubicBezTo>
                    <a:cubicBezTo>
                      <a:pt x="23" y="340"/>
                      <a:pt x="22" y="341"/>
                      <a:pt x="21" y="341"/>
                    </a:cubicBezTo>
                    <a:cubicBezTo>
                      <a:pt x="20" y="342"/>
                      <a:pt x="18" y="344"/>
                      <a:pt x="19" y="347"/>
                    </a:cubicBezTo>
                    <a:cubicBezTo>
                      <a:pt x="20" y="349"/>
                      <a:pt x="24" y="351"/>
                      <a:pt x="23" y="352"/>
                    </a:cubicBezTo>
                    <a:cubicBezTo>
                      <a:pt x="22" y="353"/>
                      <a:pt x="21" y="352"/>
                      <a:pt x="19" y="351"/>
                    </a:cubicBezTo>
                    <a:cubicBezTo>
                      <a:pt x="18" y="350"/>
                      <a:pt x="19" y="349"/>
                      <a:pt x="17" y="348"/>
                    </a:cubicBezTo>
                    <a:cubicBezTo>
                      <a:pt x="16" y="346"/>
                      <a:pt x="16" y="347"/>
                      <a:pt x="15" y="349"/>
                    </a:cubicBezTo>
                    <a:cubicBezTo>
                      <a:pt x="15" y="351"/>
                      <a:pt x="14" y="352"/>
                      <a:pt x="14" y="351"/>
                    </a:cubicBezTo>
                    <a:cubicBezTo>
                      <a:pt x="13" y="349"/>
                      <a:pt x="12" y="348"/>
                      <a:pt x="14" y="347"/>
                    </a:cubicBezTo>
                    <a:cubicBezTo>
                      <a:pt x="15" y="346"/>
                      <a:pt x="15" y="343"/>
                      <a:pt x="14" y="342"/>
                    </a:cubicBezTo>
                    <a:cubicBezTo>
                      <a:pt x="12" y="342"/>
                      <a:pt x="10" y="343"/>
                      <a:pt x="11" y="345"/>
                    </a:cubicBezTo>
                    <a:cubicBezTo>
                      <a:pt x="12" y="347"/>
                      <a:pt x="12" y="349"/>
                      <a:pt x="11" y="348"/>
                    </a:cubicBezTo>
                    <a:cubicBezTo>
                      <a:pt x="10" y="347"/>
                      <a:pt x="10" y="350"/>
                      <a:pt x="10" y="351"/>
                    </a:cubicBezTo>
                    <a:cubicBezTo>
                      <a:pt x="11" y="352"/>
                      <a:pt x="11" y="354"/>
                      <a:pt x="10" y="355"/>
                    </a:cubicBezTo>
                    <a:cubicBezTo>
                      <a:pt x="10" y="355"/>
                      <a:pt x="9" y="354"/>
                      <a:pt x="8" y="355"/>
                    </a:cubicBezTo>
                    <a:cubicBezTo>
                      <a:pt x="7" y="356"/>
                      <a:pt x="8" y="358"/>
                      <a:pt x="9" y="358"/>
                    </a:cubicBezTo>
                    <a:cubicBezTo>
                      <a:pt x="10" y="358"/>
                      <a:pt x="13" y="358"/>
                      <a:pt x="14" y="358"/>
                    </a:cubicBezTo>
                    <a:cubicBezTo>
                      <a:pt x="16" y="359"/>
                      <a:pt x="18" y="360"/>
                      <a:pt x="20" y="360"/>
                    </a:cubicBezTo>
                    <a:cubicBezTo>
                      <a:pt x="22" y="360"/>
                      <a:pt x="24" y="361"/>
                      <a:pt x="26" y="360"/>
                    </a:cubicBezTo>
                    <a:cubicBezTo>
                      <a:pt x="28" y="360"/>
                      <a:pt x="32" y="359"/>
                      <a:pt x="31" y="360"/>
                    </a:cubicBezTo>
                    <a:cubicBezTo>
                      <a:pt x="30" y="361"/>
                      <a:pt x="27" y="361"/>
                      <a:pt x="25" y="362"/>
                    </a:cubicBezTo>
                    <a:cubicBezTo>
                      <a:pt x="22" y="362"/>
                      <a:pt x="21" y="362"/>
                      <a:pt x="21" y="363"/>
                    </a:cubicBezTo>
                    <a:cubicBezTo>
                      <a:pt x="21" y="364"/>
                      <a:pt x="21" y="364"/>
                      <a:pt x="20" y="362"/>
                    </a:cubicBezTo>
                    <a:cubicBezTo>
                      <a:pt x="19" y="360"/>
                      <a:pt x="18" y="361"/>
                      <a:pt x="18" y="363"/>
                    </a:cubicBezTo>
                    <a:cubicBezTo>
                      <a:pt x="18" y="364"/>
                      <a:pt x="17" y="367"/>
                      <a:pt x="17" y="364"/>
                    </a:cubicBezTo>
                    <a:cubicBezTo>
                      <a:pt x="17" y="361"/>
                      <a:pt x="18" y="362"/>
                      <a:pt x="16" y="360"/>
                    </a:cubicBezTo>
                    <a:cubicBezTo>
                      <a:pt x="14" y="358"/>
                      <a:pt x="15" y="359"/>
                      <a:pt x="12" y="359"/>
                    </a:cubicBezTo>
                    <a:cubicBezTo>
                      <a:pt x="10" y="359"/>
                      <a:pt x="8" y="360"/>
                      <a:pt x="7" y="360"/>
                    </a:cubicBezTo>
                    <a:cubicBezTo>
                      <a:pt x="6" y="359"/>
                      <a:pt x="6" y="358"/>
                      <a:pt x="6" y="356"/>
                    </a:cubicBezTo>
                    <a:cubicBezTo>
                      <a:pt x="5" y="355"/>
                      <a:pt x="3" y="353"/>
                      <a:pt x="3" y="355"/>
                    </a:cubicBezTo>
                    <a:cubicBezTo>
                      <a:pt x="4" y="357"/>
                      <a:pt x="5" y="357"/>
                      <a:pt x="5" y="358"/>
                    </a:cubicBezTo>
                    <a:cubicBezTo>
                      <a:pt x="6" y="360"/>
                      <a:pt x="4" y="360"/>
                      <a:pt x="3" y="360"/>
                    </a:cubicBezTo>
                    <a:cubicBezTo>
                      <a:pt x="3" y="359"/>
                      <a:pt x="0" y="359"/>
                      <a:pt x="1" y="361"/>
                    </a:cubicBezTo>
                    <a:cubicBezTo>
                      <a:pt x="2" y="363"/>
                      <a:pt x="3" y="362"/>
                      <a:pt x="4" y="362"/>
                    </a:cubicBezTo>
                    <a:cubicBezTo>
                      <a:pt x="5" y="362"/>
                      <a:pt x="5" y="363"/>
                      <a:pt x="5" y="364"/>
                    </a:cubicBezTo>
                    <a:cubicBezTo>
                      <a:pt x="4" y="365"/>
                      <a:pt x="3" y="366"/>
                      <a:pt x="3" y="369"/>
                    </a:cubicBezTo>
                    <a:cubicBezTo>
                      <a:pt x="3" y="371"/>
                      <a:pt x="5" y="371"/>
                      <a:pt x="6" y="370"/>
                    </a:cubicBezTo>
                    <a:cubicBezTo>
                      <a:pt x="7" y="369"/>
                      <a:pt x="8" y="369"/>
                      <a:pt x="9" y="371"/>
                    </a:cubicBezTo>
                    <a:cubicBezTo>
                      <a:pt x="9" y="373"/>
                      <a:pt x="9" y="375"/>
                      <a:pt x="10" y="375"/>
                    </a:cubicBezTo>
                    <a:cubicBezTo>
                      <a:pt x="11" y="375"/>
                      <a:pt x="15" y="373"/>
                      <a:pt x="15" y="374"/>
                    </a:cubicBezTo>
                    <a:cubicBezTo>
                      <a:pt x="14" y="376"/>
                      <a:pt x="12" y="378"/>
                      <a:pt x="11" y="376"/>
                    </a:cubicBezTo>
                    <a:cubicBezTo>
                      <a:pt x="10" y="374"/>
                      <a:pt x="7" y="375"/>
                      <a:pt x="6" y="376"/>
                    </a:cubicBezTo>
                    <a:cubicBezTo>
                      <a:pt x="5" y="376"/>
                      <a:pt x="4" y="378"/>
                      <a:pt x="4" y="379"/>
                    </a:cubicBezTo>
                    <a:cubicBezTo>
                      <a:pt x="5" y="381"/>
                      <a:pt x="6" y="384"/>
                      <a:pt x="6" y="386"/>
                    </a:cubicBezTo>
                    <a:cubicBezTo>
                      <a:pt x="7" y="387"/>
                      <a:pt x="9" y="390"/>
                      <a:pt x="10" y="389"/>
                    </a:cubicBezTo>
                    <a:cubicBezTo>
                      <a:pt x="11" y="389"/>
                      <a:pt x="15" y="388"/>
                      <a:pt x="17" y="387"/>
                    </a:cubicBezTo>
                    <a:cubicBezTo>
                      <a:pt x="19" y="386"/>
                      <a:pt x="21" y="387"/>
                      <a:pt x="23" y="387"/>
                    </a:cubicBezTo>
                    <a:cubicBezTo>
                      <a:pt x="26" y="388"/>
                      <a:pt x="27" y="388"/>
                      <a:pt x="28" y="385"/>
                    </a:cubicBezTo>
                    <a:cubicBezTo>
                      <a:pt x="29" y="383"/>
                      <a:pt x="29" y="382"/>
                      <a:pt x="30" y="381"/>
                    </a:cubicBezTo>
                    <a:cubicBezTo>
                      <a:pt x="30" y="380"/>
                      <a:pt x="31" y="379"/>
                      <a:pt x="31" y="381"/>
                    </a:cubicBezTo>
                    <a:cubicBezTo>
                      <a:pt x="30" y="382"/>
                      <a:pt x="28" y="386"/>
                      <a:pt x="30" y="386"/>
                    </a:cubicBezTo>
                    <a:cubicBezTo>
                      <a:pt x="32" y="386"/>
                      <a:pt x="36" y="386"/>
                      <a:pt x="37" y="385"/>
                    </a:cubicBezTo>
                    <a:cubicBezTo>
                      <a:pt x="38" y="384"/>
                      <a:pt x="39" y="383"/>
                      <a:pt x="38" y="384"/>
                    </a:cubicBezTo>
                    <a:cubicBezTo>
                      <a:pt x="38" y="385"/>
                      <a:pt x="37" y="387"/>
                      <a:pt x="38" y="386"/>
                    </a:cubicBezTo>
                    <a:cubicBezTo>
                      <a:pt x="39" y="386"/>
                      <a:pt x="41" y="387"/>
                      <a:pt x="41" y="385"/>
                    </a:cubicBezTo>
                    <a:cubicBezTo>
                      <a:pt x="41" y="383"/>
                      <a:pt x="41" y="381"/>
                      <a:pt x="42" y="379"/>
                    </a:cubicBezTo>
                    <a:cubicBezTo>
                      <a:pt x="43" y="377"/>
                      <a:pt x="44" y="376"/>
                      <a:pt x="44" y="375"/>
                    </a:cubicBezTo>
                    <a:cubicBezTo>
                      <a:pt x="44" y="374"/>
                      <a:pt x="46" y="375"/>
                      <a:pt x="45" y="375"/>
                    </a:cubicBezTo>
                    <a:cubicBezTo>
                      <a:pt x="44" y="375"/>
                      <a:pt x="42" y="379"/>
                      <a:pt x="42" y="381"/>
                    </a:cubicBezTo>
                    <a:cubicBezTo>
                      <a:pt x="42" y="383"/>
                      <a:pt x="42" y="385"/>
                      <a:pt x="43" y="385"/>
                    </a:cubicBezTo>
                    <a:cubicBezTo>
                      <a:pt x="44" y="386"/>
                      <a:pt x="47" y="384"/>
                      <a:pt x="46" y="385"/>
                    </a:cubicBezTo>
                    <a:cubicBezTo>
                      <a:pt x="45" y="386"/>
                      <a:pt x="42" y="388"/>
                      <a:pt x="41" y="387"/>
                    </a:cubicBezTo>
                    <a:cubicBezTo>
                      <a:pt x="40" y="387"/>
                      <a:pt x="38" y="388"/>
                      <a:pt x="38" y="390"/>
                    </a:cubicBezTo>
                    <a:cubicBezTo>
                      <a:pt x="37" y="392"/>
                      <a:pt x="40" y="395"/>
                      <a:pt x="38" y="395"/>
                    </a:cubicBezTo>
                    <a:cubicBezTo>
                      <a:pt x="37" y="395"/>
                      <a:pt x="36" y="395"/>
                      <a:pt x="35" y="395"/>
                    </a:cubicBezTo>
                    <a:cubicBezTo>
                      <a:pt x="34" y="396"/>
                      <a:pt x="35" y="394"/>
                      <a:pt x="35" y="392"/>
                    </a:cubicBezTo>
                    <a:cubicBezTo>
                      <a:pt x="35" y="391"/>
                      <a:pt x="34" y="389"/>
                      <a:pt x="33" y="388"/>
                    </a:cubicBezTo>
                    <a:cubicBezTo>
                      <a:pt x="32" y="387"/>
                      <a:pt x="30" y="387"/>
                      <a:pt x="29" y="388"/>
                    </a:cubicBezTo>
                    <a:cubicBezTo>
                      <a:pt x="28" y="389"/>
                      <a:pt x="27" y="389"/>
                      <a:pt x="25" y="389"/>
                    </a:cubicBezTo>
                    <a:cubicBezTo>
                      <a:pt x="24" y="389"/>
                      <a:pt x="21" y="387"/>
                      <a:pt x="19" y="388"/>
                    </a:cubicBezTo>
                    <a:cubicBezTo>
                      <a:pt x="18" y="388"/>
                      <a:pt x="14" y="390"/>
                      <a:pt x="12" y="391"/>
                    </a:cubicBezTo>
                    <a:cubicBezTo>
                      <a:pt x="10" y="392"/>
                      <a:pt x="9" y="391"/>
                      <a:pt x="8" y="391"/>
                    </a:cubicBezTo>
                    <a:cubicBezTo>
                      <a:pt x="6" y="390"/>
                      <a:pt x="4" y="390"/>
                      <a:pt x="4" y="392"/>
                    </a:cubicBezTo>
                    <a:cubicBezTo>
                      <a:pt x="5" y="394"/>
                      <a:pt x="6" y="394"/>
                      <a:pt x="6" y="395"/>
                    </a:cubicBezTo>
                    <a:cubicBezTo>
                      <a:pt x="6" y="396"/>
                      <a:pt x="6" y="398"/>
                      <a:pt x="5" y="397"/>
                    </a:cubicBezTo>
                    <a:cubicBezTo>
                      <a:pt x="4" y="396"/>
                      <a:pt x="4" y="395"/>
                      <a:pt x="3" y="396"/>
                    </a:cubicBezTo>
                    <a:cubicBezTo>
                      <a:pt x="3" y="397"/>
                      <a:pt x="4" y="398"/>
                      <a:pt x="4" y="399"/>
                    </a:cubicBezTo>
                    <a:cubicBezTo>
                      <a:pt x="5" y="400"/>
                      <a:pt x="6" y="400"/>
                      <a:pt x="7" y="399"/>
                    </a:cubicBezTo>
                    <a:cubicBezTo>
                      <a:pt x="8" y="399"/>
                      <a:pt x="9" y="397"/>
                      <a:pt x="10" y="397"/>
                    </a:cubicBezTo>
                    <a:cubicBezTo>
                      <a:pt x="11" y="397"/>
                      <a:pt x="10" y="399"/>
                      <a:pt x="10" y="400"/>
                    </a:cubicBezTo>
                    <a:cubicBezTo>
                      <a:pt x="9" y="401"/>
                      <a:pt x="10" y="402"/>
                      <a:pt x="10" y="404"/>
                    </a:cubicBezTo>
                    <a:cubicBezTo>
                      <a:pt x="10" y="405"/>
                      <a:pt x="9" y="405"/>
                      <a:pt x="8" y="404"/>
                    </a:cubicBezTo>
                    <a:cubicBezTo>
                      <a:pt x="7" y="402"/>
                      <a:pt x="6" y="402"/>
                      <a:pt x="5" y="401"/>
                    </a:cubicBezTo>
                    <a:cubicBezTo>
                      <a:pt x="4" y="401"/>
                      <a:pt x="4" y="403"/>
                      <a:pt x="5" y="405"/>
                    </a:cubicBezTo>
                    <a:cubicBezTo>
                      <a:pt x="6" y="406"/>
                      <a:pt x="7" y="406"/>
                      <a:pt x="7" y="407"/>
                    </a:cubicBezTo>
                    <a:cubicBezTo>
                      <a:pt x="7" y="408"/>
                      <a:pt x="8" y="410"/>
                      <a:pt x="9" y="409"/>
                    </a:cubicBezTo>
                    <a:cubicBezTo>
                      <a:pt x="10" y="409"/>
                      <a:pt x="8" y="412"/>
                      <a:pt x="8" y="414"/>
                    </a:cubicBezTo>
                    <a:cubicBezTo>
                      <a:pt x="7" y="417"/>
                      <a:pt x="8" y="419"/>
                      <a:pt x="9" y="421"/>
                    </a:cubicBezTo>
                    <a:cubicBezTo>
                      <a:pt x="10" y="423"/>
                      <a:pt x="10" y="425"/>
                      <a:pt x="11" y="423"/>
                    </a:cubicBezTo>
                    <a:cubicBezTo>
                      <a:pt x="12" y="422"/>
                      <a:pt x="13" y="421"/>
                      <a:pt x="14" y="422"/>
                    </a:cubicBezTo>
                    <a:cubicBezTo>
                      <a:pt x="15" y="422"/>
                      <a:pt x="16" y="421"/>
                      <a:pt x="15" y="423"/>
                    </a:cubicBezTo>
                    <a:cubicBezTo>
                      <a:pt x="15" y="425"/>
                      <a:pt x="17" y="427"/>
                      <a:pt x="16" y="428"/>
                    </a:cubicBezTo>
                    <a:cubicBezTo>
                      <a:pt x="16" y="430"/>
                      <a:pt x="17" y="429"/>
                      <a:pt x="18" y="428"/>
                    </a:cubicBezTo>
                    <a:cubicBezTo>
                      <a:pt x="19" y="427"/>
                      <a:pt x="20" y="425"/>
                      <a:pt x="21" y="423"/>
                    </a:cubicBezTo>
                    <a:cubicBezTo>
                      <a:pt x="21" y="420"/>
                      <a:pt x="24" y="419"/>
                      <a:pt x="25" y="417"/>
                    </a:cubicBezTo>
                    <a:cubicBezTo>
                      <a:pt x="26" y="414"/>
                      <a:pt x="30" y="414"/>
                      <a:pt x="31" y="413"/>
                    </a:cubicBezTo>
                    <a:cubicBezTo>
                      <a:pt x="33" y="412"/>
                      <a:pt x="38" y="410"/>
                      <a:pt x="38" y="411"/>
                    </a:cubicBezTo>
                    <a:cubicBezTo>
                      <a:pt x="38" y="412"/>
                      <a:pt x="36" y="413"/>
                      <a:pt x="34" y="413"/>
                    </a:cubicBezTo>
                    <a:cubicBezTo>
                      <a:pt x="33" y="414"/>
                      <a:pt x="32" y="415"/>
                      <a:pt x="32" y="418"/>
                    </a:cubicBezTo>
                    <a:cubicBezTo>
                      <a:pt x="31" y="420"/>
                      <a:pt x="31" y="426"/>
                      <a:pt x="30" y="424"/>
                    </a:cubicBezTo>
                    <a:cubicBezTo>
                      <a:pt x="30" y="421"/>
                      <a:pt x="30" y="421"/>
                      <a:pt x="30" y="418"/>
                    </a:cubicBezTo>
                    <a:cubicBezTo>
                      <a:pt x="31" y="416"/>
                      <a:pt x="30" y="415"/>
                      <a:pt x="29" y="416"/>
                    </a:cubicBezTo>
                    <a:cubicBezTo>
                      <a:pt x="27" y="417"/>
                      <a:pt x="24" y="420"/>
                      <a:pt x="24" y="422"/>
                    </a:cubicBezTo>
                    <a:cubicBezTo>
                      <a:pt x="23" y="423"/>
                      <a:pt x="24" y="425"/>
                      <a:pt x="24" y="426"/>
                    </a:cubicBezTo>
                    <a:cubicBezTo>
                      <a:pt x="25" y="426"/>
                      <a:pt x="24" y="427"/>
                      <a:pt x="22" y="428"/>
                    </a:cubicBezTo>
                    <a:cubicBezTo>
                      <a:pt x="21" y="429"/>
                      <a:pt x="21" y="429"/>
                      <a:pt x="19" y="432"/>
                    </a:cubicBezTo>
                    <a:cubicBezTo>
                      <a:pt x="17" y="435"/>
                      <a:pt x="15" y="435"/>
                      <a:pt x="17" y="437"/>
                    </a:cubicBezTo>
                    <a:cubicBezTo>
                      <a:pt x="18" y="440"/>
                      <a:pt x="19" y="439"/>
                      <a:pt x="20" y="439"/>
                    </a:cubicBezTo>
                    <a:cubicBezTo>
                      <a:pt x="22" y="438"/>
                      <a:pt x="23" y="437"/>
                      <a:pt x="24" y="436"/>
                    </a:cubicBezTo>
                    <a:cubicBezTo>
                      <a:pt x="26" y="435"/>
                      <a:pt x="25" y="437"/>
                      <a:pt x="23" y="438"/>
                    </a:cubicBezTo>
                    <a:cubicBezTo>
                      <a:pt x="20" y="440"/>
                      <a:pt x="20" y="439"/>
                      <a:pt x="19" y="441"/>
                    </a:cubicBezTo>
                    <a:cubicBezTo>
                      <a:pt x="19" y="442"/>
                      <a:pt x="19" y="442"/>
                      <a:pt x="18" y="442"/>
                    </a:cubicBezTo>
                    <a:cubicBezTo>
                      <a:pt x="17" y="442"/>
                      <a:pt x="15" y="442"/>
                      <a:pt x="15" y="443"/>
                    </a:cubicBezTo>
                    <a:cubicBezTo>
                      <a:pt x="14" y="444"/>
                      <a:pt x="14" y="446"/>
                      <a:pt x="15" y="449"/>
                    </a:cubicBezTo>
                    <a:cubicBezTo>
                      <a:pt x="15" y="451"/>
                      <a:pt x="15" y="455"/>
                      <a:pt x="16" y="454"/>
                    </a:cubicBezTo>
                    <a:cubicBezTo>
                      <a:pt x="17" y="452"/>
                      <a:pt x="19" y="452"/>
                      <a:pt x="20" y="450"/>
                    </a:cubicBezTo>
                    <a:cubicBezTo>
                      <a:pt x="21" y="449"/>
                      <a:pt x="22" y="447"/>
                      <a:pt x="23" y="449"/>
                    </a:cubicBezTo>
                    <a:cubicBezTo>
                      <a:pt x="23" y="450"/>
                      <a:pt x="24" y="450"/>
                      <a:pt x="25" y="448"/>
                    </a:cubicBezTo>
                    <a:cubicBezTo>
                      <a:pt x="26" y="447"/>
                      <a:pt x="27" y="444"/>
                      <a:pt x="27" y="445"/>
                    </a:cubicBezTo>
                    <a:cubicBezTo>
                      <a:pt x="27" y="446"/>
                      <a:pt x="27" y="446"/>
                      <a:pt x="29" y="446"/>
                    </a:cubicBezTo>
                    <a:cubicBezTo>
                      <a:pt x="30" y="446"/>
                      <a:pt x="31" y="446"/>
                      <a:pt x="29" y="446"/>
                    </a:cubicBezTo>
                    <a:cubicBezTo>
                      <a:pt x="28" y="446"/>
                      <a:pt x="27" y="446"/>
                      <a:pt x="26" y="447"/>
                    </a:cubicBezTo>
                    <a:cubicBezTo>
                      <a:pt x="26" y="449"/>
                      <a:pt x="25" y="449"/>
                      <a:pt x="24" y="451"/>
                    </a:cubicBezTo>
                    <a:cubicBezTo>
                      <a:pt x="23" y="453"/>
                      <a:pt x="22" y="455"/>
                      <a:pt x="24" y="455"/>
                    </a:cubicBezTo>
                    <a:cubicBezTo>
                      <a:pt x="25" y="455"/>
                      <a:pt x="26" y="454"/>
                      <a:pt x="28" y="454"/>
                    </a:cubicBezTo>
                    <a:cubicBezTo>
                      <a:pt x="30" y="453"/>
                      <a:pt x="31" y="455"/>
                      <a:pt x="30" y="454"/>
                    </a:cubicBezTo>
                    <a:cubicBezTo>
                      <a:pt x="29" y="454"/>
                      <a:pt x="25" y="455"/>
                      <a:pt x="24" y="457"/>
                    </a:cubicBezTo>
                    <a:cubicBezTo>
                      <a:pt x="23" y="459"/>
                      <a:pt x="23" y="460"/>
                      <a:pt x="23" y="460"/>
                    </a:cubicBezTo>
                    <a:cubicBezTo>
                      <a:pt x="24" y="461"/>
                      <a:pt x="23" y="462"/>
                      <a:pt x="22" y="461"/>
                    </a:cubicBezTo>
                    <a:cubicBezTo>
                      <a:pt x="21" y="461"/>
                      <a:pt x="20" y="461"/>
                      <a:pt x="21" y="463"/>
                    </a:cubicBezTo>
                    <a:cubicBezTo>
                      <a:pt x="22" y="465"/>
                      <a:pt x="22" y="467"/>
                      <a:pt x="24" y="467"/>
                    </a:cubicBezTo>
                    <a:cubicBezTo>
                      <a:pt x="25" y="467"/>
                      <a:pt x="25" y="466"/>
                      <a:pt x="27" y="465"/>
                    </a:cubicBezTo>
                    <a:cubicBezTo>
                      <a:pt x="29" y="464"/>
                      <a:pt x="31" y="464"/>
                      <a:pt x="32" y="464"/>
                    </a:cubicBezTo>
                    <a:cubicBezTo>
                      <a:pt x="32" y="463"/>
                      <a:pt x="30" y="465"/>
                      <a:pt x="28" y="465"/>
                    </a:cubicBezTo>
                    <a:cubicBezTo>
                      <a:pt x="26" y="465"/>
                      <a:pt x="26" y="467"/>
                      <a:pt x="25" y="468"/>
                    </a:cubicBezTo>
                    <a:cubicBezTo>
                      <a:pt x="24" y="468"/>
                      <a:pt x="26" y="470"/>
                      <a:pt x="25" y="470"/>
                    </a:cubicBezTo>
                    <a:cubicBezTo>
                      <a:pt x="24" y="471"/>
                      <a:pt x="22" y="469"/>
                      <a:pt x="21" y="467"/>
                    </a:cubicBezTo>
                    <a:cubicBezTo>
                      <a:pt x="20" y="466"/>
                      <a:pt x="18" y="468"/>
                      <a:pt x="17" y="466"/>
                    </a:cubicBezTo>
                    <a:cubicBezTo>
                      <a:pt x="16" y="465"/>
                      <a:pt x="15" y="465"/>
                      <a:pt x="15" y="465"/>
                    </a:cubicBezTo>
                    <a:cubicBezTo>
                      <a:pt x="14" y="466"/>
                      <a:pt x="16" y="466"/>
                      <a:pt x="16" y="468"/>
                    </a:cubicBezTo>
                    <a:cubicBezTo>
                      <a:pt x="15" y="469"/>
                      <a:pt x="14" y="472"/>
                      <a:pt x="14" y="474"/>
                    </a:cubicBezTo>
                    <a:cubicBezTo>
                      <a:pt x="14" y="476"/>
                      <a:pt x="15" y="479"/>
                      <a:pt x="16" y="480"/>
                    </a:cubicBezTo>
                    <a:cubicBezTo>
                      <a:pt x="17" y="482"/>
                      <a:pt x="21" y="485"/>
                      <a:pt x="22" y="487"/>
                    </a:cubicBezTo>
                    <a:cubicBezTo>
                      <a:pt x="24" y="489"/>
                      <a:pt x="27" y="490"/>
                      <a:pt x="29" y="491"/>
                    </a:cubicBezTo>
                    <a:cubicBezTo>
                      <a:pt x="31" y="492"/>
                      <a:pt x="33" y="493"/>
                      <a:pt x="34" y="492"/>
                    </a:cubicBezTo>
                    <a:cubicBezTo>
                      <a:pt x="35" y="491"/>
                      <a:pt x="38" y="490"/>
                      <a:pt x="36" y="491"/>
                    </a:cubicBezTo>
                    <a:cubicBezTo>
                      <a:pt x="35" y="492"/>
                      <a:pt x="33" y="493"/>
                      <a:pt x="33" y="494"/>
                    </a:cubicBezTo>
                    <a:cubicBezTo>
                      <a:pt x="33" y="496"/>
                      <a:pt x="32" y="497"/>
                      <a:pt x="34" y="497"/>
                    </a:cubicBezTo>
                    <a:cubicBezTo>
                      <a:pt x="36" y="498"/>
                      <a:pt x="39" y="499"/>
                      <a:pt x="40" y="499"/>
                    </a:cubicBezTo>
                    <a:cubicBezTo>
                      <a:pt x="41" y="498"/>
                      <a:pt x="44" y="498"/>
                      <a:pt x="46" y="500"/>
                    </a:cubicBezTo>
                    <a:cubicBezTo>
                      <a:pt x="47" y="501"/>
                      <a:pt x="48" y="500"/>
                      <a:pt x="50" y="499"/>
                    </a:cubicBezTo>
                    <a:cubicBezTo>
                      <a:pt x="52" y="498"/>
                      <a:pt x="54" y="497"/>
                      <a:pt x="56" y="496"/>
                    </a:cubicBezTo>
                    <a:cubicBezTo>
                      <a:pt x="59" y="496"/>
                      <a:pt x="62" y="492"/>
                      <a:pt x="64" y="491"/>
                    </a:cubicBezTo>
                    <a:cubicBezTo>
                      <a:pt x="66" y="489"/>
                      <a:pt x="69" y="485"/>
                      <a:pt x="70" y="483"/>
                    </a:cubicBezTo>
                    <a:cubicBezTo>
                      <a:pt x="71" y="481"/>
                      <a:pt x="73" y="479"/>
                      <a:pt x="74" y="478"/>
                    </a:cubicBezTo>
                    <a:cubicBezTo>
                      <a:pt x="74" y="477"/>
                      <a:pt x="72" y="475"/>
                      <a:pt x="74" y="475"/>
                    </a:cubicBezTo>
                    <a:cubicBezTo>
                      <a:pt x="75" y="474"/>
                      <a:pt x="77" y="476"/>
                      <a:pt x="78" y="474"/>
                    </a:cubicBezTo>
                    <a:cubicBezTo>
                      <a:pt x="78" y="472"/>
                      <a:pt x="77" y="471"/>
                      <a:pt x="78" y="470"/>
                    </a:cubicBezTo>
                    <a:cubicBezTo>
                      <a:pt x="79" y="469"/>
                      <a:pt x="81" y="469"/>
                      <a:pt x="82" y="467"/>
                    </a:cubicBezTo>
                    <a:cubicBezTo>
                      <a:pt x="83" y="466"/>
                      <a:pt x="83" y="465"/>
                      <a:pt x="82" y="463"/>
                    </a:cubicBezTo>
                    <a:cubicBezTo>
                      <a:pt x="81" y="462"/>
                      <a:pt x="81" y="460"/>
                      <a:pt x="81" y="461"/>
                    </a:cubicBezTo>
                    <a:cubicBezTo>
                      <a:pt x="82" y="462"/>
                      <a:pt x="83" y="462"/>
                      <a:pt x="84" y="464"/>
                    </a:cubicBezTo>
                    <a:cubicBezTo>
                      <a:pt x="86" y="466"/>
                      <a:pt x="87" y="468"/>
                      <a:pt x="88" y="467"/>
                    </a:cubicBezTo>
                    <a:cubicBezTo>
                      <a:pt x="89" y="466"/>
                      <a:pt x="91" y="463"/>
                      <a:pt x="93" y="462"/>
                    </a:cubicBezTo>
                    <a:cubicBezTo>
                      <a:pt x="94" y="460"/>
                      <a:pt x="95" y="458"/>
                      <a:pt x="95" y="456"/>
                    </a:cubicBezTo>
                    <a:cubicBezTo>
                      <a:pt x="95" y="453"/>
                      <a:pt x="95" y="451"/>
                      <a:pt x="94" y="449"/>
                    </a:cubicBezTo>
                    <a:cubicBezTo>
                      <a:pt x="93" y="448"/>
                      <a:pt x="92" y="446"/>
                      <a:pt x="93" y="447"/>
                    </a:cubicBezTo>
                    <a:cubicBezTo>
                      <a:pt x="94" y="447"/>
                      <a:pt x="94" y="444"/>
                      <a:pt x="93" y="442"/>
                    </a:cubicBezTo>
                    <a:cubicBezTo>
                      <a:pt x="92" y="441"/>
                      <a:pt x="91" y="437"/>
                      <a:pt x="92" y="439"/>
                    </a:cubicBezTo>
                    <a:cubicBezTo>
                      <a:pt x="93" y="440"/>
                      <a:pt x="95" y="448"/>
                      <a:pt x="96" y="447"/>
                    </a:cubicBezTo>
                    <a:cubicBezTo>
                      <a:pt x="97" y="447"/>
                      <a:pt x="97" y="446"/>
                      <a:pt x="97" y="444"/>
                    </a:cubicBezTo>
                    <a:cubicBezTo>
                      <a:pt x="96" y="441"/>
                      <a:pt x="96" y="438"/>
                      <a:pt x="96" y="435"/>
                    </a:cubicBezTo>
                    <a:cubicBezTo>
                      <a:pt x="96" y="432"/>
                      <a:pt x="97" y="432"/>
                      <a:pt x="97" y="435"/>
                    </a:cubicBezTo>
                    <a:cubicBezTo>
                      <a:pt x="97" y="439"/>
                      <a:pt x="96" y="439"/>
                      <a:pt x="97" y="443"/>
                    </a:cubicBezTo>
                    <a:cubicBezTo>
                      <a:pt x="98" y="448"/>
                      <a:pt x="99" y="448"/>
                      <a:pt x="99" y="452"/>
                    </a:cubicBezTo>
                    <a:cubicBezTo>
                      <a:pt x="100" y="456"/>
                      <a:pt x="101" y="457"/>
                      <a:pt x="102" y="458"/>
                    </a:cubicBezTo>
                    <a:cubicBezTo>
                      <a:pt x="103" y="460"/>
                      <a:pt x="107" y="459"/>
                      <a:pt x="108" y="461"/>
                    </a:cubicBezTo>
                    <a:cubicBezTo>
                      <a:pt x="108" y="461"/>
                      <a:pt x="110" y="462"/>
                      <a:pt x="111" y="464"/>
                    </a:cubicBezTo>
                    <a:cubicBezTo>
                      <a:pt x="112" y="466"/>
                      <a:pt x="114" y="470"/>
                      <a:pt x="115" y="470"/>
                    </a:cubicBezTo>
                    <a:cubicBezTo>
                      <a:pt x="116" y="470"/>
                      <a:pt x="116" y="465"/>
                      <a:pt x="117" y="461"/>
                    </a:cubicBezTo>
                    <a:cubicBezTo>
                      <a:pt x="117" y="458"/>
                      <a:pt x="118" y="456"/>
                      <a:pt x="117" y="454"/>
                    </a:cubicBezTo>
                    <a:cubicBezTo>
                      <a:pt x="116" y="452"/>
                      <a:pt x="116" y="447"/>
                      <a:pt x="115" y="445"/>
                    </a:cubicBezTo>
                    <a:cubicBezTo>
                      <a:pt x="115" y="443"/>
                      <a:pt x="118" y="441"/>
                      <a:pt x="118" y="439"/>
                    </a:cubicBezTo>
                    <a:cubicBezTo>
                      <a:pt x="118" y="436"/>
                      <a:pt x="117" y="434"/>
                      <a:pt x="118" y="434"/>
                    </a:cubicBezTo>
                    <a:cubicBezTo>
                      <a:pt x="119" y="433"/>
                      <a:pt x="122" y="434"/>
                      <a:pt x="124" y="433"/>
                    </a:cubicBezTo>
                    <a:cubicBezTo>
                      <a:pt x="125" y="432"/>
                      <a:pt x="127" y="427"/>
                      <a:pt x="128" y="424"/>
                    </a:cubicBezTo>
                    <a:cubicBezTo>
                      <a:pt x="128" y="422"/>
                      <a:pt x="127" y="420"/>
                      <a:pt x="128" y="418"/>
                    </a:cubicBezTo>
                    <a:cubicBezTo>
                      <a:pt x="128" y="416"/>
                      <a:pt x="129" y="412"/>
                      <a:pt x="128" y="409"/>
                    </a:cubicBezTo>
                    <a:cubicBezTo>
                      <a:pt x="127" y="407"/>
                      <a:pt x="124" y="403"/>
                      <a:pt x="124" y="400"/>
                    </a:cubicBezTo>
                    <a:cubicBezTo>
                      <a:pt x="123" y="397"/>
                      <a:pt x="123" y="395"/>
                      <a:pt x="123" y="393"/>
                    </a:cubicBezTo>
                    <a:cubicBezTo>
                      <a:pt x="123" y="391"/>
                      <a:pt x="127" y="392"/>
                      <a:pt x="129" y="391"/>
                    </a:cubicBezTo>
                    <a:cubicBezTo>
                      <a:pt x="130" y="391"/>
                      <a:pt x="131" y="387"/>
                      <a:pt x="132" y="383"/>
                    </a:cubicBezTo>
                    <a:cubicBezTo>
                      <a:pt x="132" y="379"/>
                      <a:pt x="131" y="380"/>
                      <a:pt x="130" y="377"/>
                    </a:cubicBezTo>
                    <a:cubicBezTo>
                      <a:pt x="130" y="375"/>
                      <a:pt x="126" y="373"/>
                      <a:pt x="125" y="372"/>
                    </a:cubicBezTo>
                    <a:cubicBezTo>
                      <a:pt x="124" y="372"/>
                      <a:pt x="121" y="368"/>
                      <a:pt x="120" y="367"/>
                    </a:cubicBezTo>
                    <a:cubicBezTo>
                      <a:pt x="118" y="365"/>
                      <a:pt x="119" y="364"/>
                      <a:pt x="120" y="357"/>
                    </a:cubicBezTo>
                    <a:cubicBezTo>
                      <a:pt x="120" y="351"/>
                      <a:pt x="120" y="349"/>
                      <a:pt x="120" y="345"/>
                    </a:cubicBezTo>
                    <a:cubicBezTo>
                      <a:pt x="121" y="341"/>
                      <a:pt x="120" y="342"/>
                      <a:pt x="118" y="338"/>
                    </a:cubicBezTo>
                    <a:cubicBezTo>
                      <a:pt x="116" y="333"/>
                      <a:pt x="117" y="330"/>
                      <a:pt x="117" y="325"/>
                    </a:cubicBezTo>
                    <a:cubicBezTo>
                      <a:pt x="116" y="320"/>
                      <a:pt x="116" y="318"/>
                      <a:pt x="117" y="315"/>
                    </a:cubicBezTo>
                    <a:cubicBezTo>
                      <a:pt x="118" y="313"/>
                      <a:pt x="116" y="311"/>
                      <a:pt x="115" y="308"/>
                    </a:cubicBezTo>
                    <a:cubicBezTo>
                      <a:pt x="114" y="305"/>
                      <a:pt x="115" y="302"/>
                      <a:pt x="116" y="300"/>
                    </a:cubicBezTo>
                    <a:cubicBezTo>
                      <a:pt x="117" y="297"/>
                      <a:pt x="116" y="296"/>
                      <a:pt x="116" y="294"/>
                    </a:cubicBezTo>
                    <a:cubicBezTo>
                      <a:pt x="116" y="292"/>
                      <a:pt x="120" y="284"/>
                      <a:pt x="122" y="281"/>
                    </a:cubicBezTo>
                    <a:cubicBezTo>
                      <a:pt x="125" y="277"/>
                      <a:pt x="131" y="273"/>
                      <a:pt x="133" y="274"/>
                    </a:cubicBezTo>
                    <a:cubicBezTo>
                      <a:pt x="134" y="275"/>
                      <a:pt x="140" y="276"/>
                      <a:pt x="144" y="275"/>
                    </a:cubicBezTo>
                    <a:cubicBezTo>
                      <a:pt x="148" y="274"/>
                      <a:pt x="146" y="270"/>
                      <a:pt x="146" y="266"/>
                    </a:cubicBezTo>
                    <a:cubicBezTo>
                      <a:pt x="145" y="261"/>
                      <a:pt x="145" y="260"/>
                      <a:pt x="144" y="260"/>
                    </a:cubicBezTo>
                    <a:cubicBezTo>
                      <a:pt x="142" y="260"/>
                      <a:pt x="140" y="257"/>
                      <a:pt x="138" y="255"/>
                    </a:cubicBezTo>
                    <a:cubicBezTo>
                      <a:pt x="137" y="253"/>
                      <a:pt x="140" y="250"/>
                      <a:pt x="142" y="245"/>
                    </a:cubicBezTo>
                    <a:cubicBezTo>
                      <a:pt x="145" y="240"/>
                      <a:pt x="147" y="237"/>
                      <a:pt x="147" y="234"/>
                    </a:cubicBezTo>
                    <a:cubicBezTo>
                      <a:pt x="147" y="231"/>
                      <a:pt x="147" y="229"/>
                      <a:pt x="148" y="229"/>
                    </a:cubicBezTo>
                    <a:cubicBezTo>
                      <a:pt x="149" y="228"/>
                      <a:pt x="150" y="225"/>
                      <a:pt x="150" y="220"/>
                    </a:cubicBezTo>
                    <a:cubicBezTo>
                      <a:pt x="149" y="216"/>
                      <a:pt x="149" y="214"/>
                      <a:pt x="150" y="211"/>
                    </a:cubicBezTo>
                    <a:cubicBezTo>
                      <a:pt x="151" y="208"/>
                      <a:pt x="151" y="205"/>
                      <a:pt x="149" y="200"/>
                    </a:cubicBezTo>
                    <a:cubicBezTo>
                      <a:pt x="148" y="196"/>
                      <a:pt x="150" y="195"/>
                      <a:pt x="152" y="195"/>
                    </a:cubicBezTo>
                    <a:cubicBezTo>
                      <a:pt x="154" y="195"/>
                      <a:pt x="161" y="191"/>
                      <a:pt x="162" y="189"/>
                    </a:cubicBezTo>
                    <a:cubicBezTo>
                      <a:pt x="164" y="188"/>
                      <a:pt x="163" y="187"/>
                      <a:pt x="161" y="183"/>
                    </a:cubicBezTo>
                    <a:cubicBezTo>
                      <a:pt x="160" y="179"/>
                      <a:pt x="164" y="179"/>
                      <a:pt x="166" y="174"/>
                    </a:cubicBezTo>
                    <a:cubicBezTo>
                      <a:pt x="168" y="169"/>
                      <a:pt x="171" y="165"/>
                      <a:pt x="173" y="162"/>
                    </a:cubicBezTo>
                    <a:cubicBezTo>
                      <a:pt x="175" y="159"/>
                      <a:pt x="176" y="160"/>
                      <a:pt x="176" y="157"/>
                    </a:cubicBezTo>
                    <a:cubicBezTo>
                      <a:pt x="176" y="153"/>
                      <a:pt x="174" y="151"/>
                      <a:pt x="172" y="148"/>
                    </a:cubicBezTo>
                    <a:cubicBezTo>
                      <a:pt x="170" y="145"/>
                      <a:pt x="170" y="146"/>
                      <a:pt x="172" y="143"/>
                    </a:cubicBezTo>
                    <a:cubicBezTo>
                      <a:pt x="175" y="141"/>
                      <a:pt x="176" y="139"/>
                      <a:pt x="177" y="135"/>
                    </a:cubicBezTo>
                    <a:cubicBezTo>
                      <a:pt x="178" y="131"/>
                      <a:pt x="178" y="130"/>
                      <a:pt x="180" y="127"/>
                    </a:cubicBezTo>
                    <a:cubicBezTo>
                      <a:pt x="183" y="124"/>
                      <a:pt x="185" y="120"/>
                      <a:pt x="188" y="119"/>
                    </a:cubicBezTo>
                    <a:cubicBezTo>
                      <a:pt x="191" y="118"/>
                      <a:pt x="191" y="120"/>
                      <a:pt x="195" y="121"/>
                    </a:cubicBezTo>
                    <a:cubicBezTo>
                      <a:pt x="198" y="123"/>
                      <a:pt x="198" y="121"/>
                      <a:pt x="200" y="118"/>
                    </a:cubicBezTo>
                    <a:cubicBezTo>
                      <a:pt x="201" y="114"/>
                      <a:pt x="200" y="111"/>
                      <a:pt x="199" y="105"/>
                    </a:cubicBezTo>
                    <a:cubicBezTo>
                      <a:pt x="198" y="99"/>
                      <a:pt x="200" y="100"/>
                      <a:pt x="202" y="100"/>
                    </a:cubicBezTo>
                    <a:cubicBezTo>
                      <a:pt x="204" y="99"/>
                      <a:pt x="206" y="102"/>
                      <a:pt x="208" y="103"/>
                    </a:cubicBezTo>
                    <a:cubicBezTo>
                      <a:pt x="210" y="103"/>
                      <a:pt x="210" y="102"/>
                      <a:pt x="213" y="103"/>
                    </a:cubicBezTo>
                    <a:cubicBezTo>
                      <a:pt x="216" y="103"/>
                      <a:pt x="220" y="104"/>
                      <a:pt x="223" y="106"/>
                    </a:cubicBezTo>
                    <a:cubicBezTo>
                      <a:pt x="226" y="107"/>
                      <a:pt x="228" y="108"/>
                      <a:pt x="229" y="106"/>
                    </a:cubicBezTo>
                    <a:cubicBezTo>
                      <a:pt x="230" y="104"/>
                      <a:pt x="231" y="104"/>
                      <a:pt x="229" y="102"/>
                    </a:cubicBezTo>
                    <a:cubicBezTo>
                      <a:pt x="227" y="100"/>
                      <a:pt x="230" y="95"/>
                      <a:pt x="231" y="91"/>
                    </a:cubicBezTo>
                    <a:cubicBezTo>
                      <a:pt x="233" y="87"/>
                      <a:pt x="232" y="88"/>
                      <a:pt x="230" y="85"/>
                    </a:cubicBezTo>
                    <a:cubicBezTo>
                      <a:pt x="229" y="82"/>
                      <a:pt x="230" y="82"/>
                      <a:pt x="232" y="81"/>
                    </a:cubicBezTo>
                    <a:cubicBezTo>
                      <a:pt x="234" y="80"/>
                      <a:pt x="238" y="80"/>
                      <a:pt x="238" y="80"/>
                    </a:cubicBezTo>
                    <a:cubicBezTo>
                      <a:pt x="237" y="79"/>
                      <a:pt x="237" y="79"/>
                      <a:pt x="237" y="79"/>
                    </a:cubicBezTo>
                    <a:cubicBezTo>
                      <a:pt x="238" y="79"/>
                      <a:pt x="240" y="80"/>
                      <a:pt x="241" y="76"/>
                    </a:cubicBezTo>
                    <a:cubicBezTo>
                      <a:pt x="243" y="72"/>
                      <a:pt x="243" y="71"/>
                      <a:pt x="248" y="71"/>
                    </a:cubicBezTo>
                    <a:cubicBezTo>
                      <a:pt x="253" y="70"/>
                      <a:pt x="254" y="76"/>
                      <a:pt x="256" y="79"/>
                    </a:cubicBezTo>
                    <a:cubicBezTo>
                      <a:pt x="258" y="82"/>
                      <a:pt x="262" y="86"/>
                      <a:pt x="264" y="91"/>
                    </a:cubicBezTo>
                    <a:cubicBezTo>
                      <a:pt x="265" y="95"/>
                      <a:pt x="267" y="95"/>
                      <a:pt x="270" y="96"/>
                    </a:cubicBezTo>
                    <a:cubicBezTo>
                      <a:pt x="274" y="96"/>
                      <a:pt x="278" y="98"/>
                      <a:pt x="281" y="97"/>
                    </a:cubicBezTo>
                    <a:cubicBezTo>
                      <a:pt x="284" y="96"/>
                      <a:pt x="286" y="90"/>
                      <a:pt x="289" y="92"/>
                    </a:cubicBezTo>
                    <a:cubicBezTo>
                      <a:pt x="291" y="93"/>
                      <a:pt x="294" y="93"/>
                      <a:pt x="298" y="94"/>
                    </a:cubicBezTo>
                    <a:cubicBezTo>
                      <a:pt x="301" y="94"/>
                      <a:pt x="302" y="100"/>
                      <a:pt x="305" y="97"/>
                    </a:cubicBezTo>
                    <a:cubicBezTo>
                      <a:pt x="307" y="95"/>
                      <a:pt x="307" y="94"/>
                      <a:pt x="309" y="89"/>
                    </a:cubicBezTo>
                    <a:cubicBezTo>
                      <a:pt x="310" y="84"/>
                      <a:pt x="312" y="87"/>
                      <a:pt x="314" y="87"/>
                    </a:cubicBezTo>
                    <a:cubicBezTo>
                      <a:pt x="316" y="86"/>
                      <a:pt x="315" y="82"/>
                      <a:pt x="314" y="78"/>
                    </a:cubicBezTo>
                    <a:cubicBezTo>
                      <a:pt x="314" y="73"/>
                      <a:pt x="314" y="69"/>
                      <a:pt x="315" y="65"/>
                    </a:cubicBezTo>
                    <a:cubicBezTo>
                      <a:pt x="315" y="61"/>
                      <a:pt x="316" y="60"/>
                      <a:pt x="319" y="57"/>
                    </a:cubicBezTo>
                    <a:cubicBezTo>
                      <a:pt x="321" y="53"/>
                      <a:pt x="323" y="48"/>
                      <a:pt x="326" y="47"/>
                    </a:cubicBezTo>
                    <a:cubicBezTo>
                      <a:pt x="329" y="45"/>
                      <a:pt x="331" y="47"/>
                      <a:pt x="334" y="46"/>
                    </a:cubicBezTo>
                    <a:cubicBezTo>
                      <a:pt x="337" y="45"/>
                      <a:pt x="340" y="40"/>
                      <a:pt x="342" y="40"/>
                    </a:cubicBezTo>
                    <a:cubicBezTo>
                      <a:pt x="344" y="39"/>
                      <a:pt x="347" y="42"/>
                      <a:pt x="349" y="47"/>
                    </a:cubicBezTo>
                    <a:cubicBezTo>
                      <a:pt x="352" y="52"/>
                      <a:pt x="358" y="52"/>
                      <a:pt x="361" y="54"/>
                    </a:cubicBezTo>
                    <a:cubicBezTo>
                      <a:pt x="365" y="57"/>
                      <a:pt x="367" y="57"/>
                      <a:pt x="368" y="64"/>
                    </a:cubicBezTo>
                    <a:cubicBezTo>
                      <a:pt x="368" y="71"/>
                      <a:pt x="365" y="70"/>
                      <a:pt x="363" y="74"/>
                    </a:cubicBezTo>
                    <a:cubicBezTo>
                      <a:pt x="361" y="79"/>
                      <a:pt x="365" y="82"/>
                      <a:pt x="366" y="82"/>
                    </a:cubicBezTo>
                    <a:cubicBezTo>
                      <a:pt x="366" y="82"/>
                      <a:pt x="367" y="81"/>
                      <a:pt x="367" y="81"/>
                    </a:cubicBezTo>
                    <a:cubicBezTo>
                      <a:pt x="369" y="79"/>
                      <a:pt x="370" y="75"/>
                      <a:pt x="371" y="71"/>
                    </a:cubicBezTo>
                    <a:cubicBezTo>
                      <a:pt x="372" y="68"/>
                      <a:pt x="374" y="69"/>
                      <a:pt x="377" y="68"/>
                    </a:cubicBezTo>
                    <a:cubicBezTo>
                      <a:pt x="381" y="67"/>
                      <a:pt x="381" y="58"/>
                      <a:pt x="383" y="60"/>
                    </a:cubicBezTo>
                    <a:cubicBezTo>
                      <a:pt x="385" y="62"/>
                      <a:pt x="391" y="65"/>
                      <a:pt x="392" y="62"/>
                    </a:cubicBezTo>
                    <a:cubicBezTo>
                      <a:pt x="393" y="59"/>
                      <a:pt x="393" y="54"/>
                      <a:pt x="393" y="54"/>
                    </a:cubicBezTo>
                    <a:cubicBezTo>
                      <a:pt x="393" y="54"/>
                      <a:pt x="393" y="53"/>
                      <a:pt x="393" y="53"/>
                    </a:cubicBezTo>
                    <a:close/>
                  </a:path>
                </a:pathLst>
              </a:custGeom>
              <a:solidFill>
                <a:schemeClr val="bg2">
                  <a:lumMod val="40000"/>
                  <a:lumOff val="60000"/>
                </a:schemeClr>
              </a:solid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98" name="Freeform 19"/>
              <p:cNvSpPr>
                <a:spLocks/>
              </p:cNvSpPr>
              <p:nvPr/>
            </p:nvSpPr>
            <p:spPr bwMode="gray">
              <a:xfrm>
                <a:off x="1963" y="2193"/>
                <a:ext cx="8" cy="24"/>
              </a:xfrm>
              <a:custGeom>
                <a:avLst/>
                <a:gdLst>
                  <a:gd name="T0" fmla="*/ 2 w 3"/>
                  <a:gd name="T1" fmla="*/ 1 h 9"/>
                  <a:gd name="T2" fmla="*/ 0 w 3"/>
                  <a:gd name="T3" fmla="*/ 4 h 9"/>
                  <a:gd name="T4" fmla="*/ 2 w 3"/>
                  <a:gd name="T5" fmla="*/ 8 h 9"/>
                  <a:gd name="T6" fmla="*/ 2 w 3"/>
                  <a:gd name="T7" fmla="*/ 1 h 9"/>
                </a:gdLst>
                <a:ahLst/>
                <a:cxnLst>
                  <a:cxn ang="0">
                    <a:pos x="T0" y="T1"/>
                  </a:cxn>
                  <a:cxn ang="0">
                    <a:pos x="T2" y="T3"/>
                  </a:cxn>
                  <a:cxn ang="0">
                    <a:pos x="T4" y="T5"/>
                  </a:cxn>
                  <a:cxn ang="0">
                    <a:pos x="T6" y="T7"/>
                  </a:cxn>
                </a:cxnLst>
                <a:rect l="0" t="0" r="r" b="b"/>
                <a:pathLst>
                  <a:path w="3" h="9">
                    <a:moveTo>
                      <a:pt x="2" y="1"/>
                    </a:moveTo>
                    <a:cubicBezTo>
                      <a:pt x="0" y="0"/>
                      <a:pt x="0" y="3"/>
                      <a:pt x="0" y="4"/>
                    </a:cubicBezTo>
                    <a:cubicBezTo>
                      <a:pt x="0" y="6"/>
                      <a:pt x="1" y="9"/>
                      <a:pt x="2" y="8"/>
                    </a:cubicBezTo>
                    <a:cubicBezTo>
                      <a:pt x="3" y="6"/>
                      <a:pt x="3" y="2"/>
                      <a:pt x="2"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99" name="Freeform 20"/>
              <p:cNvSpPr>
                <a:spLocks/>
              </p:cNvSpPr>
              <p:nvPr/>
            </p:nvSpPr>
            <p:spPr bwMode="gray">
              <a:xfrm>
                <a:off x="1952" y="2204"/>
                <a:ext cx="14" cy="21"/>
              </a:xfrm>
              <a:custGeom>
                <a:avLst/>
                <a:gdLst>
                  <a:gd name="T0" fmla="*/ 2 w 5"/>
                  <a:gd name="T1" fmla="*/ 1 h 8"/>
                  <a:gd name="T2" fmla="*/ 1 w 5"/>
                  <a:gd name="T3" fmla="*/ 5 h 8"/>
                  <a:gd name="T4" fmla="*/ 3 w 5"/>
                  <a:gd name="T5" fmla="*/ 7 h 8"/>
                  <a:gd name="T6" fmla="*/ 4 w 5"/>
                  <a:gd name="T7" fmla="*/ 4 h 8"/>
                  <a:gd name="T8" fmla="*/ 2 w 5"/>
                  <a:gd name="T9" fmla="*/ 1 h 8"/>
                </a:gdLst>
                <a:ahLst/>
                <a:cxnLst>
                  <a:cxn ang="0">
                    <a:pos x="T0" y="T1"/>
                  </a:cxn>
                  <a:cxn ang="0">
                    <a:pos x="T2" y="T3"/>
                  </a:cxn>
                  <a:cxn ang="0">
                    <a:pos x="T4" y="T5"/>
                  </a:cxn>
                  <a:cxn ang="0">
                    <a:pos x="T6" y="T7"/>
                  </a:cxn>
                  <a:cxn ang="0">
                    <a:pos x="T8" y="T9"/>
                  </a:cxn>
                </a:cxnLst>
                <a:rect l="0" t="0" r="r" b="b"/>
                <a:pathLst>
                  <a:path w="5" h="8">
                    <a:moveTo>
                      <a:pt x="2" y="1"/>
                    </a:moveTo>
                    <a:cubicBezTo>
                      <a:pt x="1" y="0"/>
                      <a:pt x="0" y="3"/>
                      <a:pt x="1" y="5"/>
                    </a:cubicBezTo>
                    <a:cubicBezTo>
                      <a:pt x="1" y="7"/>
                      <a:pt x="2" y="8"/>
                      <a:pt x="3" y="7"/>
                    </a:cubicBezTo>
                    <a:cubicBezTo>
                      <a:pt x="5" y="7"/>
                      <a:pt x="4" y="6"/>
                      <a:pt x="4" y="4"/>
                    </a:cubicBezTo>
                    <a:cubicBezTo>
                      <a:pt x="4" y="2"/>
                      <a:pt x="2" y="1"/>
                      <a:pt x="2"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00" name="Freeform 21"/>
              <p:cNvSpPr>
                <a:spLocks/>
              </p:cNvSpPr>
              <p:nvPr/>
            </p:nvSpPr>
            <p:spPr bwMode="gray">
              <a:xfrm>
                <a:off x="1945" y="2217"/>
                <a:ext cx="13" cy="29"/>
              </a:xfrm>
              <a:custGeom>
                <a:avLst/>
                <a:gdLst>
                  <a:gd name="T0" fmla="*/ 3 w 5"/>
                  <a:gd name="T1" fmla="*/ 1 h 11"/>
                  <a:gd name="T2" fmla="*/ 1 w 5"/>
                  <a:gd name="T3" fmla="*/ 5 h 11"/>
                  <a:gd name="T4" fmla="*/ 2 w 5"/>
                  <a:gd name="T5" fmla="*/ 9 h 11"/>
                  <a:gd name="T6" fmla="*/ 4 w 5"/>
                  <a:gd name="T7" fmla="*/ 5 h 11"/>
                  <a:gd name="T8" fmla="*/ 3 w 5"/>
                  <a:gd name="T9" fmla="*/ 1 h 11"/>
                </a:gdLst>
                <a:ahLst/>
                <a:cxnLst>
                  <a:cxn ang="0">
                    <a:pos x="T0" y="T1"/>
                  </a:cxn>
                  <a:cxn ang="0">
                    <a:pos x="T2" y="T3"/>
                  </a:cxn>
                  <a:cxn ang="0">
                    <a:pos x="T4" y="T5"/>
                  </a:cxn>
                  <a:cxn ang="0">
                    <a:pos x="T6" y="T7"/>
                  </a:cxn>
                  <a:cxn ang="0">
                    <a:pos x="T8" y="T9"/>
                  </a:cxn>
                </a:cxnLst>
                <a:rect l="0" t="0" r="r" b="b"/>
                <a:pathLst>
                  <a:path w="5" h="11">
                    <a:moveTo>
                      <a:pt x="3" y="1"/>
                    </a:moveTo>
                    <a:cubicBezTo>
                      <a:pt x="1" y="0"/>
                      <a:pt x="1" y="3"/>
                      <a:pt x="1" y="5"/>
                    </a:cubicBezTo>
                    <a:cubicBezTo>
                      <a:pt x="0" y="8"/>
                      <a:pt x="1" y="11"/>
                      <a:pt x="2" y="9"/>
                    </a:cubicBezTo>
                    <a:cubicBezTo>
                      <a:pt x="3" y="7"/>
                      <a:pt x="3" y="6"/>
                      <a:pt x="4" y="5"/>
                    </a:cubicBezTo>
                    <a:cubicBezTo>
                      <a:pt x="5" y="4"/>
                      <a:pt x="4" y="2"/>
                      <a:pt x="3"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01" name="Freeform 22"/>
              <p:cNvSpPr>
                <a:spLocks/>
              </p:cNvSpPr>
              <p:nvPr/>
            </p:nvSpPr>
            <p:spPr bwMode="gray">
              <a:xfrm>
                <a:off x="1952" y="2227"/>
                <a:ext cx="16" cy="40"/>
              </a:xfrm>
              <a:custGeom>
                <a:avLst/>
                <a:gdLst>
                  <a:gd name="T0" fmla="*/ 4 w 6"/>
                  <a:gd name="T1" fmla="*/ 1 h 15"/>
                  <a:gd name="T2" fmla="*/ 2 w 6"/>
                  <a:gd name="T3" fmla="*/ 3 h 15"/>
                  <a:gd name="T4" fmla="*/ 0 w 6"/>
                  <a:gd name="T5" fmla="*/ 8 h 15"/>
                  <a:gd name="T6" fmla="*/ 1 w 6"/>
                  <a:gd name="T7" fmla="*/ 13 h 15"/>
                  <a:gd name="T8" fmla="*/ 3 w 6"/>
                  <a:gd name="T9" fmla="*/ 14 h 15"/>
                  <a:gd name="T10" fmla="*/ 3 w 6"/>
                  <a:gd name="T11" fmla="*/ 10 h 15"/>
                  <a:gd name="T12" fmla="*/ 4 w 6"/>
                  <a:gd name="T13" fmla="*/ 7 h 15"/>
                  <a:gd name="T14" fmla="*/ 5 w 6"/>
                  <a:gd name="T15" fmla="*/ 3 h 15"/>
                  <a:gd name="T16" fmla="*/ 4 w 6"/>
                  <a:gd name="T17"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15">
                    <a:moveTo>
                      <a:pt x="4" y="1"/>
                    </a:moveTo>
                    <a:cubicBezTo>
                      <a:pt x="4" y="0"/>
                      <a:pt x="3" y="1"/>
                      <a:pt x="2" y="3"/>
                    </a:cubicBezTo>
                    <a:cubicBezTo>
                      <a:pt x="0" y="5"/>
                      <a:pt x="0" y="6"/>
                      <a:pt x="0" y="8"/>
                    </a:cubicBezTo>
                    <a:cubicBezTo>
                      <a:pt x="0" y="11"/>
                      <a:pt x="0" y="12"/>
                      <a:pt x="1" y="13"/>
                    </a:cubicBezTo>
                    <a:cubicBezTo>
                      <a:pt x="1" y="14"/>
                      <a:pt x="2" y="15"/>
                      <a:pt x="3" y="14"/>
                    </a:cubicBezTo>
                    <a:cubicBezTo>
                      <a:pt x="4" y="13"/>
                      <a:pt x="4" y="12"/>
                      <a:pt x="3" y="10"/>
                    </a:cubicBezTo>
                    <a:cubicBezTo>
                      <a:pt x="2" y="8"/>
                      <a:pt x="3" y="8"/>
                      <a:pt x="4" y="7"/>
                    </a:cubicBezTo>
                    <a:cubicBezTo>
                      <a:pt x="5" y="5"/>
                      <a:pt x="6" y="4"/>
                      <a:pt x="5" y="3"/>
                    </a:cubicBezTo>
                    <a:cubicBezTo>
                      <a:pt x="4" y="1"/>
                      <a:pt x="4" y="1"/>
                      <a:pt x="4"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02" name="Freeform 23"/>
              <p:cNvSpPr>
                <a:spLocks/>
              </p:cNvSpPr>
              <p:nvPr/>
            </p:nvSpPr>
            <p:spPr bwMode="gray">
              <a:xfrm>
                <a:off x="1960" y="2254"/>
                <a:ext cx="6" cy="18"/>
              </a:xfrm>
              <a:custGeom>
                <a:avLst/>
                <a:gdLst>
                  <a:gd name="T0" fmla="*/ 1 w 2"/>
                  <a:gd name="T1" fmla="*/ 2 h 7"/>
                  <a:gd name="T2" fmla="*/ 1 w 2"/>
                  <a:gd name="T3" fmla="*/ 6 h 7"/>
                  <a:gd name="T4" fmla="*/ 2 w 2"/>
                  <a:gd name="T5" fmla="*/ 5 h 7"/>
                  <a:gd name="T6" fmla="*/ 1 w 2"/>
                  <a:gd name="T7" fmla="*/ 2 h 7"/>
                </a:gdLst>
                <a:ahLst/>
                <a:cxnLst>
                  <a:cxn ang="0">
                    <a:pos x="T0" y="T1"/>
                  </a:cxn>
                  <a:cxn ang="0">
                    <a:pos x="T2" y="T3"/>
                  </a:cxn>
                  <a:cxn ang="0">
                    <a:pos x="T4" y="T5"/>
                  </a:cxn>
                  <a:cxn ang="0">
                    <a:pos x="T6" y="T7"/>
                  </a:cxn>
                </a:cxnLst>
                <a:rect l="0" t="0" r="r" b="b"/>
                <a:pathLst>
                  <a:path w="2" h="7">
                    <a:moveTo>
                      <a:pt x="1" y="2"/>
                    </a:moveTo>
                    <a:cubicBezTo>
                      <a:pt x="0" y="3"/>
                      <a:pt x="0" y="6"/>
                      <a:pt x="1" y="6"/>
                    </a:cubicBezTo>
                    <a:cubicBezTo>
                      <a:pt x="2" y="7"/>
                      <a:pt x="2" y="7"/>
                      <a:pt x="2" y="5"/>
                    </a:cubicBezTo>
                    <a:cubicBezTo>
                      <a:pt x="2" y="3"/>
                      <a:pt x="2" y="0"/>
                      <a:pt x="1" y="2"/>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03" name="Freeform 24"/>
              <p:cNvSpPr>
                <a:spLocks/>
              </p:cNvSpPr>
              <p:nvPr/>
            </p:nvSpPr>
            <p:spPr bwMode="gray">
              <a:xfrm>
                <a:off x="1947" y="2262"/>
                <a:ext cx="8" cy="23"/>
              </a:xfrm>
              <a:custGeom>
                <a:avLst/>
                <a:gdLst>
                  <a:gd name="T0" fmla="*/ 2 w 3"/>
                  <a:gd name="T1" fmla="*/ 1 h 9"/>
                  <a:gd name="T2" fmla="*/ 1 w 3"/>
                  <a:gd name="T3" fmla="*/ 5 h 9"/>
                  <a:gd name="T4" fmla="*/ 2 w 3"/>
                  <a:gd name="T5" fmla="*/ 9 h 9"/>
                  <a:gd name="T6" fmla="*/ 3 w 3"/>
                  <a:gd name="T7" fmla="*/ 7 h 9"/>
                  <a:gd name="T8" fmla="*/ 2 w 3"/>
                  <a:gd name="T9" fmla="*/ 1 h 9"/>
                </a:gdLst>
                <a:ahLst/>
                <a:cxnLst>
                  <a:cxn ang="0">
                    <a:pos x="T0" y="T1"/>
                  </a:cxn>
                  <a:cxn ang="0">
                    <a:pos x="T2" y="T3"/>
                  </a:cxn>
                  <a:cxn ang="0">
                    <a:pos x="T4" y="T5"/>
                  </a:cxn>
                  <a:cxn ang="0">
                    <a:pos x="T6" y="T7"/>
                  </a:cxn>
                  <a:cxn ang="0">
                    <a:pos x="T8" y="T9"/>
                  </a:cxn>
                </a:cxnLst>
                <a:rect l="0" t="0" r="r" b="b"/>
                <a:pathLst>
                  <a:path w="3" h="9">
                    <a:moveTo>
                      <a:pt x="2" y="1"/>
                    </a:moveTo>
                    <a:cubicBezTo>
                      <a:pt x="1" y="0"/>
                      <a:pt x="1" y="3"/>
                      <a:pt x="1" y="5"/>
                    </a:cubicBezTo>
                    <a:cubicBezTo>
                      <a:pt x="0" y="6"/>
                      <a:pt x="1" y="8"/>
                      <a:pt x="2" y="9"/>
                    </a:cubicBezTo>
                    <a:cubicBezTo>
                      <a:pt x="2" y="9"/>
                      <a:pt x="3" y="9"/>
                      <a:pt x="3" y="7"/>
                    </a:cubicBezTo>
                    <a:cubicBezTo>
                      <a:pt x="3" y="5"/>
                      <a:pt x="3" y="2"/>
                      <a:pt x="2"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04" name="Freeform 25"/>
              <p:cNvSpPr>
                <a:spLocks/>
              </p:cNvSpPr>
              <p:nvPr/>
            </p:nvSpPr>
            <p:spPr bwMode="gray">
              <a:xfrm>
                <a:off x="1937" y="2157"/>
                <a:ext cx="10" cy="23"/>
              </a:xfrm>
              <a:custGeom>
                <a:avLst/>
                <a:gdLst>
                  <a:gd name="T0" fmla="*/ 1 w 4"/>
                  <a:gd name="T1" fmla="*/ 2 h 9"/>
                  <a:gd name="T2" fmla="*/ 0 w 4"/>
                  <a:gd name="T3" fmla="*/ 4 h 9"/>
                  <a:gd name="T4" fmla="*/ 1 w 4"/>
                  <a:gd name="T5" fmla="*/ 9 h 9"/>
                  <a:gd name="T6" fmla="*/ 3 w 4"/>
                  <a:gd name="T7" fmla="*/ 7 h 9"/>
                  <a:gd name="T8" fmla="*/ 1 w 4"/>
                  <a:gd name="T9" fmla="*/ 2 h 9"/>
                </a:gdLst>
                <a:ahLst/>
                <a:cxnLst>
                  <a:cxn ang="0">
                    <a:pos x="T0" y="T1"/>
                  </a:cxn>
                  <a:cxn ang="0">
                    <a:pos x="T2" y="T3"/>
                  </a:cxn>
                  <a:cxn ang="0">
                    <a:pos x="T4" y="T5"/>
                  </a:cxn>
                  <a:cxn ang="0">
                    <a:pos x="T6" y="T7"/>
                  </a:cxn>
                  <a:cxn ang="0">
                    <a:pos x="T8" y="T9"/>
                  </a:cxn>
                </a:cxnLst>
                <a:rect l="0" t="0" r="r" b="b"/>
                <a:pathLst>
                  <a:path w="4" h="9">
                    <a:moveTo>
                      <a:pt x="1" y="2"/>
                    </a:moveTo>
                    <a:cubicBezTo>
                      <a:pt x="0" y="0"/>
                      <a:pt x="0" y="2"/>
                      <a:pt x="0" y="4"/>
                    </a:cubicBezTo>
                    <a:cubicBezTo>
                      <a:pt x="0" y="6"/>
                      <a:pt x="0" y="8"/>
                      <a:pt x="1" y="9"/>
                    </a:cubicBezTo>
                    <a:cubicBezTo>
                      <a:pt x="2" y="9"/>
                      <a:pt x="3" y="9"/>
                      <a:pt x="3" y="7"/>
                    </a:cubicBezTo>
                    <a:cubicBezTo>
                      <a:pt x="4" y="6"/>
                      <a:pt x="2" y="4"/>
                      <a:pt x="1" y="2"/>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05" name="Freeform 26"/>
              <p:cNvSpPr>
                <a:spLocks/>
              </p:cNvSpPr>
              <p:nvPr/>
            </p:nvSpPr>
            <p:spPr bwMode="gray">
              <a:xfrm>
                <a:off x="1931" y="2083"/>
                <a:ext cx="11" cy="16"/>
              </a:xfrm>
              <a:custGeom>
                <a:avLst/>
                <a:gdLst>
                  <a:gd name="T0" fmla="*/ 1 w 4"/>
                  <a:gd name="T1" fmla="*/ 1 h 6"/>
                  <a:gd name="T2" fmla="*/ 0 w 4"/>
                  <a:gd name="T3" fmla="*/ 4 h 6"/>
                  <a:gd name="T4" fmla="*/ 3 w 4"/>
                  <a:gd name="T5" fmla="*/ 5 h 6"/>
                  <a:gd name="T6" fmla="*/ 1 w 4"/>
                  <a:gd name="T7" fmla="*/ 1 h 6"/>
                </a:gdLst>
                <a:ahLst/>
                <a:cxnLst>
                  <a:cxn ang="0">
                    <a:pos x="T0" y="T1"/>
                  </a:cxn>
                  <a:cxn ang="0">
                    <a:pos x="T2" y="T3"/>
                  </a:cxn>
                  <a:cxn ang="0">
                    <a:pos x="T4" y="T5"/>
                  </a:cxn>
                  <a:cxn ang="0">
                    <a:pos x="T6" y="T7"/>
                  </a:cxn>
                </a:cxnLst>
                <a:rect l="0" t="0" r="r" b="b"/>
                <a:pathLst>
                  <a:path w="4" h="6">
                    <a:moveTo>
                      <a:pt x="1" y="1"/>
                    </a:moveTo>
                    <a:cubicBezTo>
                      <a:pt x="1" y="0"/>
                      <a:pt x="0" y="2"/>
                      <a:pt x="0" y="4"/>
                    </a:cubicBezTo>
                    <a:cubicBezTo>
                      <a:pt x="1" y="6"/>
                      <a:pt x="2" y="5"/>
                      <a:pt x="3" y="5"/>
                    </a:cubicBezTo>
                    <a:cubicBezTo>
                      <a:pt x="4" y="4"/>
                      <a:pt x="3" y="3"/>
                      <a:pt x="1"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06" name="Freeform 27"/>
              <p:cNvSpPr>
                <a:spLocks/>
              </p:cNvSpPr>
              <p:nvPr/>
            </p:nvSpPr>
            <p:spPr bwMode="gray">
              <a:xfrm>
                <a:off x="1937" y="1980"/>
                <a:ext cx="15" cy="21"/>
              </a:xfrm>
              <a:custGeom>
                <a:avLst/>
                <a:gdLst>
                  <a:gd name="T0" fmla="*/ 6 w 6"/>
                  <a:gd name="T1" fmla="*/ 6 h 8"/>
                  <a:gd name="T2" fmla="*/ 3 w 6"/>
                  <a:gd name="T3" fmla="*/ 1 h 8"/>
                  <a:gd name="T4" fmla="*/ 1 w 6"/>
                  <a:gd name="T5" fmla="*/ 4 h 8"/>
                  <a:gd name="T6" fmla="*/ 4 w 6"/>
                  <a:gd name="T7" fmla="*/ 7 h 8"/>
                  <a:gd name="T8" fmla="*/ 6 w 6"/>
                  <a:gd name="T9" fmla="*/ 6 h 8"/>
                </a:gdLst>
                <a:ahLst/>
                <a:cxnLst>
                  <a:cxn ang="0">
                    <a:pos x="T0" y="T1"/>
                  </a:cxn>
                  <a:cxn ang="0">
                    <a:pos x="T2" y="T3"/>
                  </a:cxn>
                  <a:cxn ang="0">
                    <a:pos x="T4" y="T5"/>
                  </a:cxn>
                  <a:cxn ang="0">
                    <a:pos x="T6" y="T7"/>
                  </a:cxn>
                  <a:cxn ang="0">
                    <a:pos x="T8" y="T9"/>
                  </a:cxn>
                </a:cxnLst>
                <a:rect l="0" t="0" r="r" b="b"/>
                <a:pathLst>
                  <a:path w="6" h="8">
                    <a:moveTo>
                      <a:pt x="6" y="6"/>
                    </a:moveTo>
                    <a:cubicBezTo>
                      <a:pt x="5" y="4"/>
                      <a:pt x="5" y="2"/>
                      <a:pt x="3" y="1"/>
                    </a:cubicBezTo>
                    <a:cubicBezTo>
                      <a:pt x="2" y="0"/>
                      <a:pt x="0" y="2"/>
                      <a:pt x="1" y="4"/>
                    </a:cubicBezTo>
                    <a:cubicBezTo>
                      <a:pt x="2" y="6"/>
                      <a:pt x="3" y="6"/>
                      <a:pt x="4" y="7"/>
                    </a:cubicBezTo>
                    <a:cubicBezTo>
                      <a:pt x="5" y="8"/>
                      <a:pt x="6" y="6"/>
                      <a:pt x="6" y="6"/>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07" name="Freeform 28"/>
              <p:cNvSpPr>
                <a:spLocks/>
              </p:cNvSpPr>
              <p:nvPr/>
            </p:nvSpPr>
            <p:spPr bwMode="gray">
              <a:xfrm>
                <a:off x="1971" y="1957"/>
                <a:ext cx="10" cy="23"/>
              </a:xfrm>
              <a:custGeom>
                <a:avLst/>
                <a:gdLst>
                  <a:gd name="T0" fmla="*/ 2 w 4"/>
                  <a:gd name="T1" fmla="*/ 1 h 9"/>
                  <a:gd name="T2" fmla="*/ 1 w 4"/>
                  <a:gd name="T3" fmla="*/ 5 h 9"/>
                  <a:gd name="T4" fmla="*/ 2 w 4"/>
                  <a:gd name="T5" fmla="*/ 8 h 9"/>
                  <a:gd name="T6" fmla="*/ 4 w 4"/>
                  <a:gd name="T7" fmla="*/ 4 h 9"/>
                  <a:gd name="T8" fmla="*/ 2 w 4"/>
                  <a:gd name="T9" fmla="*/ 1 h 9"/>
                </a:gdLst>
                <a:ahLst/>
                <a:cxnLst>
                  <a:cxn ang="0">
                    <a:pos x="T0" y="T1"/>
                  </a:cxn>
                  <a:cxn ang="0">
                    <a:pos x="T2" y="T3"/>
                  </a:cxn>
                  <a:cxn ang="0">
                    <a:pos x="T4" y="T5"/>
                  </a:cxn>
                  <a:cxn ang="0">
                    <a:pos x="T6" y="T7"/>
                  </a:cxn>
                  <a:cxn ang="0">
                    <a:pos x="T8" y="T9"/>
                  </a:cxn>
                </a:cxnLst>
                <a:rect l="0" t="0" r="r" b="b"/>
                <a:pathLst>
                  <a:path w="4" h="9">
                    <a:moveTo>
                      <a:pt x="2" y="1"/>
                    </a:moveTo>
                    <a:cubicBezTo>
                      <a:pt x="1" y="0"/>
                      <a:pt x="1" y="3"/>
                      <a:pt x="1" y="5"/>
                    </a:cubicBezTo>
                    <a:cubicBezTo>
                      <a:pt x="0" y="8"/>
                      <a:pt x="1" y="9"/>
                      <a:pt x="2" y="8"/>
                    </a:cubicBezTo>
                    <a:cubicBezTo>
                      <a:pt x="3" y="8"/>
                      <a:pt x="4" y="6"/>
                      <a:pt x="4" y="4"/>
                    </a:cubicBezTo>
                    <a:cubicBezTo>
                      <a:pt x="3" y="2"/>
                      <a:pt x="2" y="1"/>
                      <a:pt x="2"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08" name="Freeform 29"/>
              <p:cNvSpPr>
                <a:spLocks/>
              </p:cNvSpPr>
              <p:nvPr/>
            </p:nvSpPr>
            <p:spPr bwMode="gray">
              <a:xfrm>
                <a:off x="2037" y="1891"/>
                <a:ext cx="15" cy="18"/>
              </a:xfrm>
              <a:custGeom>
                <a:avLst/>
                <a:gdLst>
                  <a:gd name="T0" fmla="*/ 0 w 6"/>
                  <a:gd name="T1" fmla="*/ 6 h 7"/>
                  <a:gd name="T2" fmla="*/ 1 w 6"/>
                  <a:gd name="T3" fmla="*/ 2 h 7"/>
                  <a:gd name="T4" fmla="*/ 4 w 6"/>
                  <a:gd name="T5" fmla="*/ 0 h 7"/>
                  <a:gd name="T6" fmla="*/ 6 w 6"/>
                  <a:gd name="T7" fmla="*/ 3 h 7"/>
                  <a:gd name="T8" fmla="*/ 4 w 6"/>
                  <a:gd name="T9" fmla="*/ 6 h 7"/>
                  <a:gd name="T10" fmla="*/ 0 w 6"/>
                  <a:gd name="T11" fmla="*/ 6 h 7"/>
                </a:gdLst>
                <a:ahLst/>
                <a:cxnLst>
                  <a:cxn ang="0">
                    <a:pos x="T0" y="T1"/>
                  </a:cxn>
                  <a:cxn ang="0">
                    <a:pos x="T2" y="T3"/>
                  </a:cxn>
                  <a:cxn ang="0">
                    <a:pos x="T4" y="T5"/>
                  </a:cxn>
                  <a:cxn ang="0">
                    <a:pos x="T6" y="T7"/>
                  </a:cxn>
                  <a:cxn ang="0">
                    <a:pos x="T8" y="T9"/>
                  </a:cxn>
                  <a:cxn ang="0">
                    <a:pos x="T10" y="T11"/>
                  </a:cxn>
                </a:cxnLst>
                <a:rect l="0" t="0" r="r" b="b"/>
                <a:pathLst>
                  <a:path w="6" h="7">
                    <a:moveTo>
                      <a:pt x="0" y="6"/>
                    </a:moveTo>
                    <a:cubicBezTo>
                      <a:pt x="0" y="4"/>
                      <a:pt x="0" y="3"/>
                      <a:pt x="1" y="2"/>
                    </a:cubicBezTo>
                    <a:cubicBezTo>
                      <a:pt x="3" y="1"/>
                      <a:pt x="3" y="0"/>
                      <a:pt x="4" y="0"/>
                    </a:cubicBezTo>
                    <a:cubicBezTo>
                      <a:pt x="6" y="0"/>
                      <a:pt x="6" y="2"/>
                      <a:pt x="6" y="3"/>
                    </a:cubicBezTo>
                    <a:cubicBezTo>
                      <a:pt x="5" y="5"/>
                      <a:pt x="5" y="5"/>
                      <a:pt x="4" y="6"/>
                    </a:cubicBezTo>
                    <a:cubicBezTo>
                      <a:pt x="3" y="6"/>
                      <a:pt x="1" y="7"/>
                      <a:pt x="0" y="6"/>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09" name="Freeform 30"/>
              <p:cNvSpPr>
                <a:spLocks/>
              </p:cNvSpPr>
              <p:nvPr/>
            </p:nvSpPr>
            <p:spPr bwMode="gray">
              <a:xfrm>
                <a:off x="2055" y="1881"/>
                <a:ext cx="16" cy="13"/>
              </a:xfrm>
              <a:custGeom>
                <a:avLst/>
                <a:gdLst>
                  <a:gd name="T0" fmla="*/ 4 w 6"/>
                  <a:gd name="T1" fmla="*/ 1 h 5"/>
                  <a:gd name="T2" fmla="*/ 1 w 6"/>
                  <a:gd name="T3" fmla="*/ 3 h 5"/>
                  <a:gd name="T4" fmla="*/ 5 w 6"/>
                  <a:gd name="T5" fmla="*/ 5 h 5"/>
                  <a:gd name="T6" fmla="*/ 4 w 6"/>
                  <a:gd name="T7" fmla="*/ 1 h 5"/>
                </a:gdLst>
                <a:ahLst/>
                <a:cxnLst>
                  <a:cxn ang="0">
                    <a:pos x="T0" y="T1"/>
                  </a:cxn>
                  <a:cxn ang="0">
                    <a:pos x="T2" y="T3"/>
                  </a:cxn>
                  <a:cxn ang="0">
                    <a:pos x="T4" y="T5"/>
                  </a:cxn>
                  <a:cxn ang="0">
                    <a:pos x="T6" y="T7"/>
                  </a:cxn>
                </a:cxnLst>
                <a:rect l="0" t="0" r="r" b="b"/>
                <a:pathLst>
                  <a:path w="6" h="5">
                    <a:moveTo>
                      <a:pt x="4" y="1"/>
                    </a:moveTo>
                    <a:cubicBezTo>
                      <a:pt x="3" y="0"/>
                      <a:pt x="0" y="1"/>
                      <a:pt x="1" y="3"/>
                    </a:cubicBezTo>
                    <a:cubicBezTo>
                      <a:pt x="3" y="4"/>
                      <a:pt x="4" y="5"/>
                      <a:pt x="5" y="5"/>
                    </a:cubicBezTo>
                    <a:cubicBezTo>
                      <a:pt x="6" y="5"/>
                      <a:pt x="5" y="2"/>
                      <a:pt x="4"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10" name="Freeform 31"/>
              <p:cNvSpPr>
                <a:spLocks/>
              </p:cNvSpPr>
              <p:nvPr/>
            </p:nvSpPr>
            <p:spPr bwMode="gray">
              <a:xfrm>
                <a:off x="2047" y="1857"/>
                <a:ext cx="24" cy="21"/>
              </a:xfrm>
              <a:custGeom>
                <a:avLst/>
                <a:gdLst>
                  <a:gd name="T0" fmla="*/ 5 w 9"/>
                  <a:gd name="T1" fmla="*/ 1 h 8"/>
                  <a:gd name="T2" fmla="*/ 1 w 9"/>
                  <a:gd name="T3" fmla="*/ 4 h 8"/>
                  <a:gd name="T4" fmla="*/ 6 w 9"/>
                  <a:gd name="T5" fmla="*/ 7 h 8"/>
                  <a:gd name="T6" fmla="*/ 8 w 9"/>
                  <a:gd name="T7" fmla="*/ 5 h 8"/>
                  <a:gd name="T8" fmla="*/ 5 w 9"/>
                  <a:gd name="T9" fmla="*/ 1 h 8"/>
                </a:gdLst>
                <a:ahLst/>
                <a:cxnLst>
                  <a:cxn ang="0">
                    <a:pos x="T0" y="T1"/>
                  </a:cxn>
                  <a:cxn ang="0">
                    <a:pos x="T2" y="T3"/>
                  </a:cxn>
                  <a:cxn ang="0">
                    <a:pos x="T4" y="T5"/>
                  </a:cxn>
                  <a:cxn ang="0">
                    <a:pos x="T6" y="T7"/>
                  </a:cxn>
                  <a:cxn ang="0">
                    <a:pos x="T8" y="T9"/>
                  </a:cxn>
                </a:cxnLst>
                <a:rect l="0" t="0" r="r" b="b"/>
                <a:pathLst>
                  <a:path w="9" h="8">
                    <a:moveTo>
                      <a:pt x="5" y="1"/>
                    </a:moveTo>
                    <a:cubicBezTo>
                      <a:pt x="4" y="0"/>
                      <a:pt x="0" y="2"/>
                      <a:pt x="1" y="4"/>
                    </a:cubicBezTo>
                    <a:cubicBezTo>
                      <a:pt x="2" y="6"/>
                      <a:pt x="4" y="7"/>
                      <a:pt x="6" y="7"/>
                    </a:cubicBezTo>
                    <a:cubicBezTo>
                      <a:pt x="7" y="8"/>
                      <a:pt x="9" y="7"/>
                      <a:pt x="8" y="5"/>
                    </a:cubicBezTo>
                    <a:cubicBezTo>
                      <a:pt x="8" y="4"/>
                      <a:pt x="6" y="1"/>
                      <a:pt x="5"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11" name="Freeform 32"/>
              <p:cNvSpPr>
                <a:spLocks/>
              </p:cNvSpPr>
              <p:nvPr/>
            </p:nvSpPr>
            <p:spPr bwMode="gray">
              <a:xfrm>
                <a:off x="2079" y="1854"/>
                <a:ext cx="10" cy="19"/>
              </a:xfrm>
              <a:custGeom>
                <a:avLst/>
                <a:gdLst>
                  <a:gd name="T0" fmla="*/ 2 w 4"/>
                  <a:gd name="T1" fmla="*/ 6 h 7"/>
                  <a:gd name="T2" fmla="*/ 1 w 4"/>
                  <a:gd name="T3" fmla="*/ 3 h 7"/>
                  <a:gd name="T4" fmla="*/ 4 w 4"/>
                  <a:gd name="T5" fmla="*/ 2 h 7"/>
                  <a:gd name="T6" fmla="*/ 2 w 4"/>
                  <a:gd name="T7" fmla="*/ 6 h 7"/>
                </a:gdLst>
                <a:ahLst/>
                <a:cxnLst>
                  <a:cxn ang="0">
                    <a:pos x="T0" y="T1"/>
                  </a:cxn>
                  <a:cxn ang="0">
                    <a:pos x="T2" y="T3"/>
                  </a:cxn>
                  <a:cxn ang="0">
                    <a:pos x="T4" y="T5"/>
                  </a:cxn>
                  <a:cxn ang="0">
                    <a:pos x="T6" y="T7"/>
                  </a:cxn>
                </a:cxnLst>
                <a:rect l="0" t="0" r="r" b="b"/>
                <a:pathLst>
                  <a:path w="4" h="7">
                    <a:moveTo>
                      <a:pt x="2" y="6"/>
                    </a:moveTo>
                    <a:cubicBezTo>
                      <a:pt x="0" y="4"/>
                      <a:pt x="0" y="4"/>
                      <a:pt x="1" y="3"/>
                    </a:cubicBezTo>
                    <a:cubicBezTo>
                      <a:pt x="1" y="2"/>
                      <a:pt x="4" y="0"/>
                      <a:pt x="4" y="2"/>
                    </a:cubicBezTo>
                    <a:cubicBezTo>
                      <a:pt x="4" y="5"/>
                      <a:pt x="4" y="7"/>
                      <a:pt x="2" y="6"/>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12" name="Freeform 33"/>
              <p:cNvSpPr>
                <a:spLocks/>
              </p:cNvSpPr>
              <p:nvPr/>
            </p:nvSpPr>
            <p:spPr bwMode="gray">
              <a:xfrm>
                <a:off x="2068" y="1846"/>
                <a:ext cx="18" cy="16"/>
              </a:xfrm>
              <a:custGeom>
                <a:avLst/>
                <a:gdLst>
                  <a:gd name="T0" fmla="*/ 4 w 7"/>
                  <a:gd name="T1" fmla="*/ 1 h 6"/>
                  <a:gd name="T2" fmla="*/ 1 w 7"/>
                  <a:gd name="T3" fmla="*/ 5 h 6"/>
                  <a:gd name="T4" fmla="*/ 5 w 7"/>
                  <a:gd name="T5" fmla="*/ 5 h 6"/>
                  <a:gd name="T6" fmla="*/ 6 w 7"/>
                  <a:gd name="T7" fmla="*/ 1 h 6"/>
                  <a:gd name="T8" fmla="*/ 4 w 7"/>
                  <a:gd name="T9" fmla="*/ 1 h 6"/>
                </a:gdLst>
                <a:ahLst/>
                <a:cxnLst>
                  <a:cxn ang="0">
                    <a:pos x="T0" y="T1"/>
                  </a:cxn>
                  <a:cxn ang="0">
                    <a:pos x="T2" y="T3"/>
                  </a:cxn>
                  <a:cxn ang="0">
                    <a:pos x="T4" y="T5"/>
                  </a:cxn>
                  <a:cxn ang="0">
                    <a:pos x="T6" y="T7"/>
                  </a:cxn>
                  <a:cxn ang="0">
                    <a:pos x="T8" y="T9"/>
                  </a:cxn>
                </a:cxnLst>
                <a:rect l="0" t="0" r="r" b="b"/>
                <a:pathLst>
                  <a:path w="7" h="6">
                    <a:moveTo>
                      <a:pt x="4" y="1"/>
                    </a:moveTo>
                    <a:cubicBezTo>
                      <a:pt x="2" y="1"/>
                      <a:pt x="0" y="4"/>
                      <a:pt x="1" y="5"/>
                    </a:cubicBezTo>
                    <a:cubicBezTo>
                      <a:pt x="3" y="6"/>
                      <a:pt x="3" y="5"/>
                      <a:pt x="5" y="5"/>
                    </a:cubicBezTo>
                    <a:cubicBezTo>
                      <a:pt x="7" y="4"/>
                      <a:pt x="7" y="3"/>
                      <a:pt x="6" y="1"/>
                    </a:cubicBezTo>
                    <a:cubicBezTo>
                      <a:pt x="6" y="0"/>
                      <a:pt x="5" y="0"/>
                      <a:pt x="4"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13" name="Freeform 34"/>
              <p:cNvSpPr>
                <a:spLocks/>
              </p:cNvSpPr>
              <p:nvPr/>
            </p:nvSpPr>
            <p:spPr bwMode="gray">
              <a:xfrm>
                <a:off x="2068" y="1823"/>
                <a:ext cx="26" cy="18"/>
              </a:xfrm>
              <a:custGeom>
                <a:avLst/>
                <a:gdLst>
                  <a:gd name="T0" fmla="*/ 7 w 10"/>
                  <a:gd name="T1" fmla="*/ 0 h 7"/>
                  <a:gd name="T2" fmla="*/ 4 w 10"/>
                  <a:gd name="T3" fmla="*/ 3 h 7"/>
                  <a:gd name="T4" fmla="*/ 2 w 10"/>
                  <a:gd name="T5" fmla="*/ 6 h 7"/>
                  <a:gd name="T6" fmla="*/ 7 w 10"/>
                  <a:gd name="T7" fmla="*/ 6 h 7"/>
                  <a:gd name="T8" fmla="*/ 10 w 10"/>
                  <a:gd name="T9" fmla="*/ 4 h 7"/>
                  <a:gd name="T10" fmla="*/ 7 w 10"/>
                  <a:gd name="T11" fmla="*/ 0 h 7"/>
                </a:gdLst>
                <a:ahLst/>
                <a:cxnLst>
                  <a:cxn ang="0">
                    <a:pos x="T0" y="T1"/>
                  </a:cxn>
                  <a:cxn ang="0">
                    <a:pos x="T2" y="T3"/>
                  </a:cxn>
                  <a:cxn ang="0">
                    <a:pos x="T4" y="T5"/>
                  </a:cxn>
                  <a:cxn ang="0">
                    <a:pos x="T6" y="T7"/>
                  </a:cxn>
                  <a:cxn ang="0">
                    <a:pos x="T8" y="T9"/>
                  </a:cxn>
                  <a:cxn ang="0">
                    <a:pos x="T10" y="T11"/>
                  </a:cxn>
                </a:cxnLst>
                <a:rect l="0" t="0" r="r" b="b"/>
                <a:pathLst>
                  <a:path w="10" h="7">
                    <a:moveTo>
                      <a:pt x="7" y="0"/>
                    </a:moveTo>
                    <a:cubicBezTo>
                      <a:pt x="5" y="0"/>
                      <a:pt x="5" y="3"/>
                      <a:pt x="4" y="3"/>
                    </a:cubicBezTo>
                    <a:cubicBezTo>
                      <a:pt x="2" y="4"/>
                      <a:pt x="0" y="6"/>
                      <a:pt x="2" y="6"/>
                    </a:cubicBezTo>
                    <a:cubicBezTo>
                      <a:pt x="4" y="7"/>
                      <a:pt x="6" y="7"/>
                      <a:pt x="7" y="6"/>
                    </a:cubicBezTo>
                    <a:cubicBezTo>
                      <a:pt x="8" y="6"/>
                      <a:pt x="10" y="6"/>
                      <a:pt x="10" y="4"/>
                    </a:cubicBezTo>
                    <a:cubicBezTo>
                      <a:pt x="9" y="1"/>
                      <a:pt x="9" y="0"/>
                      <a:pt x="7"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14" name="Freeform 35"/>
              <p:cNvSpPr>
                <a:spLocks/>
              </p:cNvSpPr>
              <p:nvPr/>
            </p:nvSpPr>
            <p:spPr bwMode="gray">
              <a:xfrm>
                <a:off x="2086" y="1836"/>
                <a:ext cx="19" cy="24"/>
              </a:xfrm>
              <a:custGeom>
                <a:avLst/>
                <a:gdLst>
                  <a:gd name="T0" fmla="*/ 5 w 7"/>
                  <a:gd name="T1" fmla="*/ 1 h 9"/>
                  <a:gd name="T2" fmla="*/ 1 w 7"/>
                  <a:gd name="T3" fmla="*/ 3 h 9"/>
                  <a:gd name="T4" fmla="*/ 1 w 7"/>
                  <a:gd name="T5" fmla="*/ 7 h 9"/>
                  <a:gd name="T6" fmla="*/ 5 w 7"/>
                  <a:gd name="T7" fmla="*/ 7 h 9"/>
                  <a:gd name="T8" fmla="*/ 5 w 7"/>
                  <a:gd name="T9" fmla="*/ 1 h 9"/>
                </a:gdLst>
                <a:ahLst/>
                <a:cxnLst>
                  <a:cxn ang="0">
                    <a:pos x="T0" y="T1"/>
                  </a:cxn>
                  <a:cxn ang="0">
                    <a:pos x="T2" y="T3"/>
                  </a:cxn>
                  <a:cxn ang="0">
                    <a:pos x="T4" y="T5"/>
                  </a:cxn>
                  <a:cxn ang="0">
                    <a:pos x="T6" y="T7"/>
                  </a:cxn>
                  <a:cxn ang="0">
                    <a:pos x="T8" y="T9"/>
                  </a:cxn>
                </a:cxnLst>
                <a:rect l="0" t="0" r="r" b="b"/>
                <a:pathLst>
                  <a:path w="7" h="9">
                    <a:moveTo>
                      <a:pt x="5" y="1"/>
                    </a:moveTo>
                    <a:cubicBezTo>
                      <a:pt x="4" y="0"/>
                      <a:pt x="1" y="2"/>
                      <a:pt x="1" y="3"/>
                    </a:cubicBezTo>
                    <a:cubicBezTo>
                      <a:pt x="0" y="4"/>
                      <a:pt x="0" y="5"/>
                      <a:pt x="1" y="7"/>
                    </a:cubicBezTo>
                    <a:cubicBezTo>
                      <a:pt x="2" y="8"/>
                      <a:pt x="4" y="9"/>
                      <a:pt x="5" y="7"/>
                    </a:cubicBezTo>
                    <a:cubicBezTo>
                      <a:pt x="7" y="6"/>
                      <a:pt x="7" y="1"/>
                      <a:pt x="5"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15" name="Freeform 36"/>
              <p:cNvSpPr>
                <a:spLocks/>
              </p:cNvSpPr>
              <p:nvPr/>
            </p:nvSpPr>
            <p:spPr bwMode="gray">
              <a:xfrm>
                <a:off x="2186" y="1733"/>
                <a:ext cx="13" cy="21"/>
              </a:xfrm>
              <a:custGeom>
                <a:avLst/>
                <a:gdLst>
                  <a:gd name="T0" fmla="*/ 2 w 5"/>
                  <a:gd name="T1" fmla="*/ 0 h 8"/>
                  <a:gd name="T2" fmla="*/ 0 w 5"/>
                  <a:gd name="T3" fmla="*/ 4 h 8"/>
                  <a:gd name="T4" fmla="*/ 4 w 5"/>
                  <a:gd name="T5" fmla="*/ 7 h 8"/>
                  <a:gd name="T6" fmla="*/ 2 w 5"/>
                  <a:gd name="T7" fmla="*/ 0 h 8"/>
                </a:gdLst>
                <a:ahLst/>
                <a:cxnLst>
                  <a:cxn ang="0">
                    <a:pos x="T0" y="T1"/>
                  </a:cxn>
                  <a:cxn ang="0">
                    <a:pos x="T2" y="T3"/>
                  </a:cxn>
                  <a:cxn ang="0">
                    <a:pos x="T4" y="T5"/>
                  </a:cxn>
                  <a:cxn ang="0">
                    <a:pos x="T6" y="T7"/>
                  </a:cxn>
                </a:cxnLst>
                <a:rect l="0" t="0" r="r" b="b"/>
                <a:pathLst>
                  <a:path w="5" h="8">
                    <a:moveTo>
                      <a:pt x="2" y="0"/>
                    </a:moveTo>
                    <a:cubicBezTo>
                      <a:pt x="0" y="0"/>
                      <a:pt x="0" y="0"/>
                      <a:pt x="0" y="4"/>
                    </a:cubicBezTo>
                    <a:cubicBezTo>
                      <a:pt x="0" y="8"/>
                      <a:pt x="2" y="8"/>
                      <a:pt x="4" y="7"/>
                    </a:cubicBezTo>
                    <a:cubicBezTo>
                      <a:pt x="5" y="7"/>
                      <a:pt x="5" y="0"/>
                      <a:pt x="2"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16" name="Freeform 37"/>
              <p:cNvSpPr>
                <a:spLocks/>
              </p:cNvSpPr>
              <p:nvPr/>
            </p:nvSpPr>
            <p:spPr bwMode="gray">
              <a:xfrm>
                <a:off x="2197" y="1681"/>
                <a:ext cx="18" cy="18"/>
              </a:xfrm>
              <a:custGeom>
                <a:avLst/>
                <a:gdLst>
                  <a:gd name="T0" fmla="*/ 4 w 7"/>
                  <a:gd name="T1" fmla="*/ 1 h 7"/>
                  <a:gd name="T2" fmla="*/ 2 w 7"/>
                  <a:gd name="T3" fmla="*/ 5 h 7"/>
                  <a:gd name="T4" fmla="*/ 6 w 7"/>
                  <a:gd name="T5" fmla="*/ 3 h 7"/>
                  <a:gd name="T6" fmla="*/ 4 w 7"/>
                  <a:gd name="T7" fmla="*/ 1 h 7"/>
                </a:gdLst>
                <a:ahLst/>
                <a:cxnLst>
                  <a:cxn ang="0">
                    <a:pos x="T0" y="T1"/>
                  </a:cxn>
                  <a:cxn ang="0">
                    <a:pos x="T2" y="T3"/>
                  </a:cxn>
                  <a:cxn ang="0">
                    <a:pos x="T4" y="T5"/>
                  </a:cxn>
                  <a:cxn ang="0">
                    <a:pos x="T6" y="T7"/>
                  </a:cxn>
                </a:cxnLst>
                <a:rect l="0" t="0" r="r" b="b"/>
                <a:pathLst>
                  <a:path w="7" h="7">
                    <a:moveTo>
                      <a:pt x="4" y="1"/>
                    </a:moveTo>
                    <a:cubicBezTo>
                      <a:pt x="2" y="2"/>
                      <a:pt x="0" y="4"/>
                      <a:pt x="2" y="5"/>
                    </a:cubicBezTo>
                    <a:cubicBezTo>
                      <a:pt x="3" y="7"/>
                      <a:pt x="5" y="5"/>
                      <a:pt x="6" y="3"/>
                    </a:cubicBezTo>
                    <a:cubicBezTo>
                      <a:pt x="7" y="2"/>
                      <a:pt x="5" y="0"/>
                      <a:pt x="4"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17" name="Freeform 38"/>
              <p:cNvSpPr>
                <a:spLocks/>
              </p:cNvSpPr>
              <p:nvPr/>
            </p:nvSpPr>
            <p:spPr bwMode="gray">
              <a:xfrm>
                <a:off x="2207" y="1626"/>
                <a:ext cx="11" cy="21"/>
              </a:xfrm>
              <a:custGeom>
                <a:avLst/>
                <a:gdLst>
                  <a:gd name="T0" fmla="*/ 1 w 4"/>
                  <a:gd name="T1" fmla="*/ 1 h 8"/>
                  <a:gd name="T2" fmla="*/ 0 w 4"/>
                  <a:gd name="T3" fmla="*/ 6 h 8"/>
                  <a:gd name="T4" fmla="*/ 4 w 4"/>
                  <a:gd name="T5" fmla="*/ 6 h 8"/>
                  <a:gd name="T6" fmla="*/ 1 w 4"/>
                  <a:gd name="T7" fmla="*/ 1 h 8"/>
                </a:gdLst>
                <a:ahLst/>
                <a:cxnLst>
                  <a:cxn ang="0">
                    <a:pos x="T0" y="T1"/>
                  </a:cxn>
                  <a:cxn ang="0">
                    <a:pos x="T2" y="T3"/>
                  </a:cxn>
                  <a:cxn ang="0">
                    <a:pos x="T4" y="T5"/>
                  </a:cxn>
                  <a:cxn ang="0">
                    <a:pos x="T6" y="T7"/>
                  </a:cxn>
                </a:cxnLst>
                <a:rect l="0" t="0" r="r" b="b"/>
                <a:pathLst>
                  <a:path w="4" h="8">
                    <a:moveTo>
                      <a:pt x="1" y="1"/>
                    </a:moveTo>
                    <a:cubicBezTo>
                      <a:pt x="0" y="2"/>
                      <a:pt x="0" y="4"/>
                      <a:pt x="0" y="6"/>
                    </a:cubicBezTo>
                    <a:cubicBezTo>
                      <a:pt x="1" y="8"/>
                      <a:pt x="3" y="8"/>
                      <a:pt x="4" y="6"/>
                    </a:cubicBezTo>
                    <a:cubicBezTo>
                      <a:pt x="4" y="4"/>
                      <a:pt x="3" y="0"/>
                      <a:pt x="1"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18" name="Freeform 39"/>
              <p:cNvSpPr>
                <a:spLocks/>
              </p:cNvSpPr>
              <p:nvPr/>
            </p:nvSpPr>
            <p:spPr bwMode="gray">
              <a:xfrm>
                <a:off x="2231" y="1576"/>
                <a:ext cx="13" cy="18"/>
              </a:xfrm>
              <a:custGeom>
                <a:avLst/>
                <a:gdLst>
                  <a:gd name="T0" fmla="*/ 2 w 5"/>
                  <a:gd name="T1" fmla="*/ 1 h 7"/>
                  <a:gd name="T2" fmla="*/ 0 w 5"/>
                  <a:gd name="T3" fmla="*/ 5 h 7"/>
                  <a:gd name="T4" fmla="*/ 3 w 5"/>
                  <a:gd name="T5" fmla="*/ 7 h 7"/>
                  <a:gd name="T6" fmla="*/ 4 w 5"/>
                  <a:gd name="T7" fmla="*/ 4 h 7"/>
                  <a:gd name="T8" fmla="*/ 2 w 5"/>
                  <a:gd name="T9" fmla="*/ 1 h 7"/>
                </a:gdLst>
                <a:ahLst/>
                <a:cxnLst>
                  <a:cxn ang="0">
                    <a:pos x="T0" y="T1"/>
                  </a:cxn>
                  <a:cxn ang="0">
                    <a:pos x="T2" y="T3"/>
                  </a:cxn>
                  <a:cxn ang="0">
                    <a:pos x="T4" y="T5"/>
                  </a:cxn>
                  <a:cxn ang="0">
                    <a:pos x="T6" y="T7"/>
                  </a:cxn>
                  <a:cxn ang="0">
                    <a:pos x="T8" y="T9"/>
                  </a:cxn>
                </a:cxnLst>
                <a:rect l="0" t="0" r="r" b="b"/>
                <a:pathLst>
                  <a:path w="5" h="7">
                    <a:moveTo>
                      <a:pt x="2" y="1"/>
                    </a:moveTo>
                    <a:cubicBezTo>
                      <a:pt x="0" y="0"/>
                      <a:pt x="0" y="2"/>
                      <a:pt x="0" y="5"/>
                    </a:cubicBezTo>
                    <a:cubicBezTo>
                      <a:pt x="1" y="7"/>
                      <a:pt x="2" y="7"/>
                      <a:pt x="3" y="7"/>
                    </a:cubicBezTo>
                    <a:cubicBezTo>
                      <a:pt x="4" y="6"/>
                      <a:pt x="5" y="5"/>
                      <a:pt x="4" y="4"/>
                    </a:cubicBezTo>
                    <a:cubicBezTo>
                      <a:pt x="4" y="3"/>
                      <a:pt x="3" y="1"/>
                      <a:pt x="2"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19" name="Freeform 40"/>
              <p:cNvSpPr>
                <a:spLocks/>
              </p:cNvSpPr>
              <p:nvPr/>
            </p:nvSpPr>
            <p:spPr bwMode="gray">
              <a:xfrm>
                <a:off x="2228" y="1591"/>
                <a:ext cx="21" cy="27"/>
              </a:xfrm>
              <a:custGeom>
                <a:avLst/>
                <a:gdLst>
                  <a:gd name="T0" fmla="*/ 7 w 8"/>
                  <a:gd name="T1" fmla="*/ 1 h 10"/>
                  <a:gd name="T2" fmla="*/ 3 w 8"/>
                  <a:gd name="T3" fmla="*/ 4 h 10"/>
                  <a:gd name="T4" fmla="*/ 1 w 8"/>
                  <a:gd name="T5" fmla="*/ 9 h 10"/>
                  <a:gd name="T6" fmla="*/ 6 w 8"/>
                  <a:gd name="T7" fmla="*/ 4 h 10"/>
                  <a:gd name="T8" fmla="*/ 7 w 8"/>
                  <a:gd name="T9" fmla="*/ 1 h 10"/>
                </a:gdLst>
                <a:ahLst/>
                <a:cxnLst>
                  <a:cxn ang="0">
                    <a:pos x="T0" y="T1"/>
                  </a:cxn>
                  <a:cxn ang="0">
                    <a:pos x="T2" y="T3"/>
                  </a:cxn>
                  <a:cxn ang="0">
                    <a:pos x="T4" y="T5"/>
                  </a:cxn>
                  <a:cxn ang="0">
                    <a:pos x="T6" y="T7"/>
                  </a:cxn>
                  <a:cxn ang="0">
                    <a:pos x="T8" y="T9"/>
                  </a:cxn>
                </a:cxnLst>
                <a:rect l="0" t="0" r="r" b="b"/>
                <a:pathLst>
                  <a:path w="8" h="10">
                    <a:moveTo>
                      <a:pt x="7" y="1"/>
                    </a:moveTo>
                    <a:cubicBezTo>
                      <a:pt x="5" y="0"/>
                      <a:pt x="4" y="3"/>
                      <a:pt x="3" y="4"/>
                    </a:cubicBezTo>
                    <a:cubicBezTo>
                      <a:pt x="1" y="6"/>
                      <a:pt x="0" y="10"/>
                      <a:pt x="1" y="9"/>
                    </a:cubicBezTo>
                    <a:cubicBezTo>
                      <a:pt x="3" y="8"/>
                      <a:pt x="4" y="5"/>
                      <a:pt x="6" y="4"/>
                    </a:cubicBezTo>
                    <a:cubicBezTo>
                      <a:pt x="8" y="2"/>
                      <a:pt x="7" y="1"/>
                      <a:pt x="7"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20" name="Freeform 41"/>
              <p:cNvSpPr>
                <a:spLocks/>
              </p:cNvSpPr>
              <p:nvPr/>
            </p:nvSpPr>
            <p:spPr bwMode="gray">
              <a:xfrm>
                <a:off x="2291" y="1476"/>
                <a:ext cx="14" cy="18"/>
              </a:xfrm>
              <a:custGeom>
                <a:avLst/>
                <a:gdLst>
                  <a:gd name="T0" fmla="*/ 3 w 5"/>
                  <a:gd name="T1" fmla="*/ 1 h 7"/>
                  <a:gd name="T2" fmla="*/ 1 w 5"/>
                  <a:gd name="T3" fmla="*/ 5 h 7"/>
                  <a:gd name="T4" fmla="*/ 4 w 5"/>
                  <a:gd name="T5" fmla="*/ 3 h 7"/>
                  <a:gd name="T6" fmla="*/ 3 w 5"/>
                  <a:gd name="T7" fmla="*/ 1 h 7"/>
                </a:gdLst>
                <a:ahLst/>
                <a:cxnLst>
                  <a:cxn ang="0">
                    <a:pos x="T0" y="T1"/>
                  </a:cxn>
                  <a:cxn ang="0">
                    <a:pos x="T2" y="T3"/>
                  </a:cxn>
                  <a:cxn ang="0">
                    <a:pos x="T4" y="T5"/>
                  </a:cxn>
                  <a:cxn ang="0">
                    <a:pos x="T6" y="T7"/>
                  </a:cxn>
                </a:cxnLst>
                <a:rect l="0" t="0" r="r" b="b"/>
                <a:pathLst>
                  <a:path w="5" h="7">
                    <a:moveTo>
                      <a:pt x="3" y="1"/>
                    </a:moveTo>
                    <a:cubicBezTo>
                      <a:pt x="1" y="1"/>
                      <a:pt x="0" y="3"/>
                      <a:pt x="1" y="5"/>
                    </a:cubicBezTo>
                    <a:cubicBezTo>
                      <a:pt x="3" y="7"/>
                      <a:pt x="4" y="5"/>
                      <a:pt x="4" y="3"/>
                    </a:cubicBezTo>
                    <a:cubicBezTo>
                      <a:pt x="5" y="2"/>
                      <a:pt x="4" y="0"/>
                      <a:pt x="3"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21" name="Freeform 42"/>
              <p:cNvSpPr>
                <a:spLocks/>
              </p:cNvSpPr>
              <p:nvPr/>
            </p:nvSpPr>
            <p:spPr bwMode="gray">
              <a:xfrm>
                <a:off x="2336" y="1376"/>
                <a:ext cx="26" cy="21"/>
              </a:xfrm>
              <a:custGeom>
                <a:avLst/>
                <a:gdLst>
                  <a:gd name="T0" fmla="*/ 6 w 10"/>
                  <a:gd name="T1" fmla="*/ 1 h 8"/>
                  <a:gd name="T2" fmla="*/ 2 w 10"/>
                  <a:gd name="T3" fmla="*/ 6 h 8"/>
                  <a:gd name="T4" fmla="*/ 9 w 10"/>
                  <a:gd name="T5" fmla="*/ 7 h 8"/>
                  <a:gd name="T6" fmla="*/ 6 w 10"/>
                  <a:gd name="T7" fmla="*/ 1 h 8"/>
                </a:gdLst>
                <a:ahLst/>
                <a:cxnLst>
                  <a:cxn ang="0">
                    <a:pos x="T0" y="T1"/>
                  </a:cxn>
                  <a:cxn ang="0">
                    <a:pos x="T2" y="T3"/>
                  </a:cxn>
                  <a:cxn ang="0">
                    <a:pos x="T4" y="T5"/>
                  </a:cxn>
                  <a:cxn ang="0">
                    <a:pos x="T6" y="T7"/>
                  </a:cxn>
                </a:cxnLst>
                <a:rect l="0" t="0" r="r" b="b"/>
                <a:pathLst>
                  <a:path w="10" h="8">
                    <a:moveTo>
                      <a:pt x="6" y="1"/>
                    </a:moveTo>
                    <a:cubicBezTo>
                      <a:pt x="4" y="0"/>
                      <a:pt x="0" y="5"/>
                      <a:pt x="2" y="6"/>
                    </a:cubicBezTo>
                    <a:cubicBezTo>
                      <a:pt x="4" y="7"/>
                      <a:pt x="7" y="8"/>
                      <a:pt x="9" y="7"/>
                    </a:cubicBezTo>
                    <a:cubicBezTo>
                      <a:pt x="10" y="7"/>
                      <a:pt x="7" y="1"/>
                      <a:pt x="6"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22" name="Freeform 43"/>
              <p:cNvSpPr>
                <a:spLocks/>
              </p:cNvSpPr>
              <p:nvPr/>
            </p:nvSpPr>
            <p:spPr bwMode="gray">
              <a:xfrm>
                <a:off x="2239" y="1384"/>
                <a:ext cx="13" cy="34"/>
              </a:xfrm>
              <a:custGeom>
                <a:avLst/>
                <a:gdLst>
                  <a:gd name="T0" fmla="*/ 4 w 5"/>
                  <a:gd name="T1" fmla="*/ 0 h 13"/>
                  <a:gd name="T2" fmla="*/ 0 w 5"/>
                  <a:gd name="T3" fmla="*/ 6 h 13"/>
                  <a:gd name="T4" fmla="*/ 3 w 5"/>
                  <a:gd name="T5" fmla="*/ 9 h 13"/>
                  <a:gd name="T6" fmla="*/ 5 w 5"/>
                  <a:gd name="T7" fmla="*/ 3 h 13"/>
                  <a:gd name="T8" fmla="*/ 4 w 5"/>
                  <a:gd name="T9" fmla="*/ 0 h 13"/>
                </a:gdLst>
                <a:ahLst/>
                <a:cxnLst>
                  <a:cxn ang="0">
                    <a:pos x="T0" y="T1"/>
                  </a:cxn>
                  <a:cxn ang="0">
                    <a:pos x="T2" y="T3"/>
                  </a:cxn>
                  <a:cxn ang="0">
                    <a:pos x="T4" y="T5"/>
                  </a:cxn>
                  <a:cxn ang="0">
                    <a:pos x="T6" y="T7"/>
                  </a:cxn>
                  <a:cxn ang="0">
                    <a:pos x="T8" y="T9"/>
                  </a:cxn>
                </a:cxnLst>
                <a:rect l="0" t="0" r="r" b="b"/>
                <a:pathLst>
                  <a:path w="5" h="13">
                    <a:moveTo>
                      <a:pt x="4" y="0"/>
                    </a:moveTo>
                    <a:cubicBezTo>
                      <a:pt x="2" y="0"/>
                      <a:pt x="1" y="2"/>
                      <a:pt x="0" y="6"/>
                    </a:cubicBezTo>
                    <a:cubicBezTo>
                      <a:pt x="0" y="10"/>
                      <a:pt x="1" y="13"/>
                      <a:pt x="3" y="9"/>
                    </a:cubicBezTo>
                    <a:cubicBezTo>
                      <a:pt x="4" y="6"/>
                      <a:pt x="5" y="5"/>
                      <a:pt x="5" y="3"/>
                    </a:cubicBezTo>
                    <a:cubicBezTo>
                      <a:pt x="5" y="1"/>
                      <a:pt x="4" y="0"/>
                      <a:pt x="4"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23" name="Freeform 44"/>
              <p:cNvSpPr>
                <a:spLocks/>
              </p:cNvSpPr>
              <p:nvPr/>
            </p:nvSpPr>
            <p:spPr bwMode="gray">
              <a:xfrm>
                <a:off x="2252" y="1373"/>
                <a:ext cx="13" cy="24"/>
              </a:xfrm>
              <a:custGeom>
                <a:avLst/>
                <a:gdLst>
                  <a:gd name="T0" fmla="*/ 2 w 5"/>
                  <a:gd name="T1" fmla="*/ 1 h 9"/>
                  <a:gd name="T2" fmla="*/ 1 w 5"/>
                  <a:gd name="T3" fmla="*/ 6 h 9"/>
                  <a:gd name="T4" fmla="*/ 3 w 5"/>
                  <a:gd name="T5" fmla="*/ 7 h 9"/>
                  <a:gd name="T6" fmla="*/ 2 w 5"/>
                  <a:gd name="T7" fmla="*/ 1 h 9"/>
                </a:gdLst>
                <a:ahLst/>
                <a:cxnLst>
                  <a:cxn ang="0">
                    <a:pos x="T0" y="T1"/>
                  </a:cxn>
                  <a:cxn ang="0">
                    <a:pos x="T2" y="T3"/>
                  </a:cxn>
                  <a:cxn ang="0">
                    <a:pos x="T4" y="T5"/>
                  </a:cxn>
                  <a:cxn ang="0">
                    <a:pos x="T6" y="T7"/>
                  </a:cxn>
                </a:cxnLst>
                <a:rect l="0" t="0" r="r" b="b"/>
                <a:pathLst>
                  <a:path w="5" h="9">
                    <a:moveTo>
                      <a:pt x="2" y="1"/>
                    </a:moveTo>
                    <a:cubicBezTo>
                      <a:pt x="1" y="1"/>
                      <a:pt x="1" y="4"/>
                      <a:pt x="1" y="6"/>
                    </a:cubicBezTo>
                    <a:cubicBezTo>
                      <a:pt x="0" y="9"/>
                      <a:pt x="2" y="9"/>
                      <a:pt x="3" y="7"/>
                    </a:cubicBezTo>
                    <a:cubicBezTo>
                      <a:pt x="5" y="5"/>
                      <a:pt x="4" y="0"/>
                      <a:pt x="2"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24" name="Freeform 45"/>
              <p:cNvSpPr>
                <a:spLocks/>
              </p:cNvSpPr>
              <p:nvPr/>
            </p:nvSpPr>
            <p:spPr bwMode="gray">
              <a:xfrm>
                <a:off x="2265" y="1358"/>
                <a:ext cx="26" cy="31"/>
              </a:xfrm>
              <a:custGeom>
                <a:avLst/>
                <a:gdLst>
                  <a:gd name="T0" fmla="*/ 2 w 10"/>
                  <a:gd name="T1" fmla="*/ 3 h 12"/>
                  <a:gd name="T2" fmla="*/ 0 w 10"/>
                  <a:gd name="T3" fmla="*/ 9 h 12"/>
                  <a:gd name="T4" fmla="*/ 3 w 10"/>
                  <a:gd name="T5" fmla="*/ 10 h 12"/>
                  <a:gd name="T6" fmla="*/ 9 w 10"/>
                  <a:gd name="T7" fmla="*/ 7 h 12"/>
                  <a:gd name="T8" fmla="*/ 8 w 10"/>
                  <a:gd name="T9" fmla="*/ 3 h 12"/>
                  <a:gd name="T10" fmla="*/ 5 w 10"/>
                  <a:gd name="T11" fmla="*/ 1 h 12"/>
                  <a:gd name="T12" fmla="*/ 2 w 10"/>
                  <a:gd name="T13" fmla="*/ 3 h 12"/>
                </a:gdLst>
                <a:ahLst/>
                <a:cxnLst>
                  <a:cxn ang="0">
                    <a:pos x="T0" y="T1"/>
                  </a:cxn>
                  <a:cxn ang="0">
                    <a:pos x="T2" y="T3"/>
                  </a:cxn>
                  <a:cxn ang="0">
                    <a:pos x="T4" y="T5"/>
                  </a:cxn>
                  <a:cxn ang="0">
                    <a:pos x="T6" y="T7"/>
                  </a:cxn>
                  <a:cxn ang="0">
                    <a:pos x="T8" y="T9"/>
                  </a:cxn>
                  <a:cxn ang="0">
                    <a:pos x="T10" y="T11"/>
                  </a:cxn>
                  <a:cxn ang="0">
                    <a:pos x="T12" y="T13"/>
                  </a:cxn>
                </a:cxnLst>
                <a:rect l="0" t="0" r="r" b="b"/>
                <a:pathLst>
                  <a:path w="10" h="12">
                    <a:moveTo>
                      <a:pt x="2" y="3"/>
                    </a:moveTo>
                    <a:cubicBezTo>
                      <a:pt x="1" y="5"/>
                      <a:pt x="1" y="6"/>
                      <a:pt x="0" y="9"/>
                    </a:cubicBezTo>
                    <a:cubicBezTo>
                      <a:pt x="0" y="12"/>
                      <a:pt x="2" y="12"/>
                      <a:pt x="3" y="10"/>
                    </a:cubicBezTo>
                    <a:cubicBezTo>
                      <a:pt x="5" y="9"/>
                      <a:pt x="7" y="8"/>
                      <a:pt x="9" y="7"/>
                    </a:cubicBezTo>
                    <a:cubicBezTo>
                      <a:pt x="10" y="6"/>
                      <a:pt x="8" y="4"/>
                      <a:pt x="8" y="3"/>
                    </a:cubicBezTo>
                    <a:cubicBezTo>
                      <a:pt x="7" y="1"/>
                      <a:pt x="7" y="0"/>
                      <a:pt x="5" y="1"/>
                    </a:cubicBezTo>
                    <a:cubicBezTo>
                      <a:pt x="3" y="2"/>
                      <a:pt x="2" y="3"/>
                      <a:pt x="2" y="3"/>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25" name="Freeform 46"/>
              <p:cNvSpPr>
                <a:spLocks/>
              </p:cNvSpPr>
              <p:nvPr/>
            </p:nvSpPr>
            <p:spPr bwMode="gray">
              <a:xfrm>
                <a:off x="2286" y="1258"/>
                <a:ext cx="105" cy="118"/>
              </a:xfrm>
              <a:custGeom>
                <a:avLst/>
                <a:gdLst>
                  <a:gd name="T0" fmla="*/ 2 w 40"/>
                  <a:gd name="T1" fmla="*/ 37 h 45"/>
                  <a:gd name="T2" fmla="*/ 1 w 40"/>
                  <a:gd name="T3" fmla="*/ 43 h 45"/>
                  <a:gd name="T4" fmla="*/ 3 w 40"/>
                  <a:gd name="T5" fmla="*/ 43 h 45"/>
                  <a:gd name="T6" fmla="*/ 7 w 40"/>
                  <a:gd name="T7" fmla="*/ 44 h 45"/>
                  <a:gd name="T8" fmla="*/ 11 w 40"/>
                  <a:gd name="T9" fmla="*/ 40 h 45"/>
                  <a:gd name="T10" fmla="*/ 14 w 40"/>
                  <a:gd name="T11" fmla="*/ 41 h 45"/>
                  <a:gd name="T12" fmla="*/ 16 w 40"/>
                  <a:gd name="T13" fmla="*/ 33 h 45"/>
                  <a:gd name="T14" fmla="*/ 11 w 40"/>
                  <a:gd name="T15" fmla="*/ 35 h 45"/>
                  <a:gd name="T16" fmla="*/ 14 w 40"/>
                  <a:gd name="T17" fmla="*/ 30 h 45"/>
                  <a:gd name="T18" fmla="*/ 18 w 40"/>
                  <a:gd name="T19" fmla="*/ 32 h 45"/>
                  <a:gd name="T20" fmla="*/ 17 w 40"/>
                  <a:gd name="T21" fmla="*/ 37 h 45"/>
                  <a:gd name="T22" fmla="*/ 17 w 40"/>
                  <a:gd name="T23" fmla="*/ 42 h 45"/>
                  <a:gd name="T24" fmla="*/ 21 w 40"/>
                  <a:gd name="T25" fmla="*/ 37 h 45"/>
                  <a:gd name="T26" fmla="*/ 26 w 40"/>
                  <a:gd name="T27" fmla="*/ 40 h 45"/>
                  <a:gd name="T28" fmla="*/ 27 w 40"/>
                  <a:gd name="T29" fmla="*/ 34 h 45"/>
                  <a:gd name="T30" fmla="*/ 29 w 40"/>
                  <a:gd name="T31" fmla="*/ 37 h 45"/>
                  <a:gd name="T32" fmla="*/ 32 w 40"/>
                  <a:gd name="T33" fmla="*/ 32 h 45"/>
                  <a:gd name="T34" fmla="*/ 34 w 40"/>
                  <a:gd name="T35" fmla="*/ 31 h 45"/>
                  <a:gd name="T36" fmla="*/ 33 w 40"/>
                  <a:gd name="T37" fmla="*/ 34 h 45"/>
                  <a:gd name="T38" fmla="*/ 36 w 40"/>
                  <a:gd name="T39" fmla="*/ 36 h 45"/>
                  <a:gd name="T40" fmla="*/ 38 w 40"/>
                  <a:gd name="T41" fmla="*/ 30 h 45"/>
                  <a:gd name="T42" fmla="*/ 39 w 40"/>
                  <a:gd name="T43" fmla="*/ 24 h 45"/>
                  <a:gd name="T44" fmla="*/ 38 w 40"/>
                  <a:gd name="T45" fmla="*/ 16 h 45"/>
                  <a:gd name="T46" fmla="*/ 36 w 40"/>
                  <a:gd name="T47" fmla="*/ 14 h 45"/>
                  <a:gd name="T48" fmla="*/ 34 w 40"/>
                  <a:gd name="T49" fmla="*/ 17 h 45"/>
                  <a:gd name="T50" fmla="*/ 32 w 40"/>
                  <a:gd name="T51" fmla="*/ 22 h 45"/>
                  <a:gd name="T52" fmla="*/ 29 w 40"/>
                  <a:gd name="T53" fmla="*/ 24 h 45"/>
                  <a:gd name="T54" fmla="*/ 26 w 40"/>
                  <a:gd name="T55" fmla="*/ 29 h 45"/>
                  <a:gd name="T56" fmla="*/ 29 w 40"/>
                  <a:gd name="T57" fmla="*/ 21 h 45"/>
                  <a:gd name="T58" fmla="*/ 28 w 40"/>
                  <a:gd name="T59" fmla="*/ 18 h 45"/>
                  <a:gd name="T60" fmla="*/ 26 w 40"/>
                  <a:gd name="T61" fmla="*/ 13 h 45"/>
                  <a:gd name="T62" fmla="*/ 24 w 40"/>
                  <a:gd name="T63" fmla="*/ 14 h 45"/>
                  <a:gd name="T64" fmla="*/ 30 w 40"/>
                  <a:gd name="T65" fmla="*/ 6 h 45"/>
                  <a:gd name="T66" fmla="*/ 29 w 40"/>
                  <a:gd name="T67" fmla="*/ 1 h 45"/>
                  <a:gd name="T68" fmla="*/ 27 w 40"/>
                  <a:gd name="T69" fmla="*/ 2 h 45"/>
                  <a:gd name="T70" fmla="*/ 25 w 40"/>
                  <a:gd name="T71" fmla="*/ 7 h 45"/>
                  <a:gd name="T72" fmla="*/ 22 w 40"/>
                  <a:gd name="T73" fmla="*/ 9 h 45"/>
                  <a:gd name="T74" fmla="*/ 20 w 40"/>
                  <a:gd name="T75" fmla="*/ 13 h 45"/>
                  <a:gd name="T76" fmla="*/ 23 w 40"/>
                  <a:gd name="T77" fmla="*/ 16 h 45"/>
                  <a:gd name="T78" fmla="*/ 23 w 40"/>
                  <a:gd name="T79" fmla="*/ 22 h 45"/>
                  <a:gd name="T80" fmla="*/ 24 w 40"/>
                  <a:gd name="T81" fmla="*/ 24 h 45"/>
                  <a:gd name="T82" fmla="*/ 20 w 40"/>
                  <a:gd name="T83" fmla="*/ 27 h 45"/>
                  <a:gd name="T84" fmla="*/ 19 w 40"/>
                  <a:gd name="T85" fmla="*/ 30 h 45"/>
                  <a:gd name="T86" fmla="*/ 19 w 40"/>
                  <a:gd name="T87" fmla="*/ 23 h 45"/>
                  <a:gd name="T88" fmla="*/ 17 w 40"/>
                  <a:gd name="T89" fmla="*/ 14 h 45"/>
                  <a:gd name="T90" fmla="*/ 14 w 40"/>
                  <a:gd name="T91" fmla="*/ 12 h 45"/>
                  <a:gd name="T92" fmla="*/ 14 w 40"/>
                  <a:gd name="T93" fmla="*/ 18 h 45"/>
                  <a:gd name="T94" fmla="*/ 12 w 40"/>
                  <a:gd name="T95" fmla="*/ 15 h 45"/>
                  <a:gd name="T96" fmla="*/ 11 w 40"/>
                  <a:gd name="T97" fmla="*/ 17 h 45"/>
                  <a:gd name="T98" fmla="*/ 10 w 40"/>
                  <a:gd name="T99" fmla="*/ 20 h 45"/>
                  <a:gd name="T100" fmla="*/ 7 w 40"/>
                  <a:gd name="T101" fmla="*/ 21 h 45"/>
                  <a:gd name="T102" fmla="*/ 5 w 40"/>
                  <a:gd name="T103" fmla="*/ 26 h 45"/>
                  <a:gd name="T104" fmla="*/ 8 w 40"/>
                  <a:gd name="T105" fmla="*/ 28 h 45"/>
                  <a:gd name="T106" fmla="*/ 12 w 40"/>
                  <a:gd name="T107" fmla="*/ 24 h 45"/>
                  <a:gd name="T108" fmla="*/ 15 w 40"/>
                  <a:gd name="T109" fmla="*/ 24 h 45"/>
                  <a:gd name="T110" fmla="*/ 12 w 40"/>
                  <a:gd name="T111" fmla="*/ 27 h 45"/>
                  <a:gd name="T112" fmla="*/ 9 w 40"/>
                  <a:gd name="T113" fmla="*/ 31 h 45"/>
                  <a:gd name="T114" fmla="*/ 11 w 40"/>
                  <a:gd name="T115" fmla="*/ 32 h 45"/>
                  <a:gd name="T116" fmla="*/ 9 w 40"/>
                  <a:gd name="T117" fmla="*/ 35 h 45"/>
                  <a:gd name="T118" fmla="*/ 6 w 40"/>
                  <a:gd name="T119" fmla="*/ 37 h 45"/>
                  <a:gd name="T120" fmla="*/ 5 w 40"/>
                  <a:gd name="T121" fmla="*/ 41 h 45"/>
                  <a:gd name="T122" fmla="*/ 2 w 40"/>
                  <a:gd name="T123" fmla="*/ 3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 h="45">
                    <a:moveTo>
                      <a:pt x="2" y="37"/>
                    </a:moveTo>
                    <a:cubicBezTo>
                      <a:pt x="1" y="37"/>
                      <a:pt x="0" y="42"/>
                      <a:pt x="1" y="43"/>
                    </a:cubicBezTo>
                    <a:cubicBezTo>
                      <a:pt x="1" y="44"/>
                      <a:pt x="2" y="41"/>
                      <a:pt x="3" y="43"/>
                    </a:cubicBezTo>
                    <a:cubicBezTo>
                      <a:pt x="5" y="45"/>
                      <a:pt x="5" y="45"/>
                      <a:pt x="7" y="44"/>
                    </a:cubicBezTo>
                    <a:cubicBezTo>
                      <a:pt x="9" y="42"/>
                      <a:pt x="9" y="38"/>
                      <a:pt x="11" y="40"/>
                    </a:cubicBezTo>
                    <a:cubicBezTo>
                      <a:pt x="12" y="42"/>
                      <a:pt x="13" y="43"/>
                      <a:pt x="14" y="41"/>
                    </a:cubicBezTo>
                    <a:cubicBezTo>
                      <a:pt x="15" y="38"/>
                      <a:pt x="18" y="33"/>
                      <a:pt x="16" y="33"/>
                    </a:cubicBezTo>
                    <a:cubicBezTo>
                      <a:pt x="13" y="33"/>
                      <a:pt x="11" y="37"/>
                      <a:pt x="11" y="35"/>
                    </a:cubicBezTo>
                    <a:cubicBezTo>
                      <a:pt x="12" y="32"/>
                      <a:pt x="13" y="32"/>
                      <a:pt x="14" y="30"/>
                    </a:cubicBezTo>
                    <a:cubicBezTo>
                      <a:pt x="16" y="29"/>
                      <a:pt x="18" y="31"/>
                      <a:pt x="18" y="32"/>
                    </a:cubicBezTo>
                    <a:cubicBezTo>
                      <a:pt x="18" y="34"/>
                      <a:pt x="19" y="34"/>
                      <a:pt x="17" y="37"/>
                    </a:cubicBezTo>
                    <a:cubicBezTo>
                      <a:pt x="16" y="39"/>
                      <a:pt x="16" y="43"/>
                      <a:pt x="17" y="42"/>
                    </a:cubicBezTo>
                    <a:cubicBezTo>
                      <a:pt x="18" y="40"/>
                      <a:pt x="21" y="34"/>
                      <a:pt x="21" y="37"/>
                    </a:cubicBezTo>
                    <a:cubicBezTo>
                      <a:pt x="21" y="40"/>
                      <a:pt x="24" y="41"/>
                      <a:pt x="26" y="40"/>
                    </a:cubicBezTo>
                    <a:cubicBezTo>
                      <a:pt x="27" y="38"/>
                      <a:pt x="26" y="37"/>
                      <a:pt x="27" y="34"/>
                    </a:cubicBezTo>
                    <a:cubicBezTo>
                      <a:pt x="28" y="32"/>
                      <a:pt x="28" y="38"/>
                      <a:pt x="29" y="37"/>
                    </a:cubicBezTo>
                    <a:cubicBezTo>
                      <a:pt x="30" y="37"/>
                      <a:pt x="32" y="34"/>
                      <a:pt x="32" y="32"/>
                    </a:cubicBezTo>
                    <a:cubicBezTo>
                      <a:pt x="33" y="30"/>
                      <a:pt x="35" y="30"/>
                      <a:pt x="34" y="31"/>
                    </a:cubicBezTo>
                    <a:cubicBezTo>
                      <a:pt x="34" y="31"/>
                      <a:pt x="32" y="32"/>
                      <a:pt x="33" y="34"/>
                    </a:cubicBezTo>
                    <a:cubicBezTo>
                      <a:pt x="34" y="37"/>
                      <a:pt x="35" y="37"/>
                      <a:pt x="36" y="36"/>
                    </a:cubicBezTo>
                    <a:cubicBezTo>
                      <a:pt x="38" y="34"/>
                      <a:pt x="37" y="33"/>
                      <a:pt x="38" y="30"/>
                    </a:cubicBezTo>
                    <a:cubicBezTo>
                      <a:pt x="40" y="28"/>
                      <a:pt x="39" y="26"/>
                      <a:pt x="39" y="24"/>
                    </a:cubicBezTo>
                    <a:cubicBezTo>
                      <a:pt x="38" y="21"/>
                      <a:pt x="37" y="20"/>
                      <a:pt x="38" y="16"/>
                    </a:cubicBezTo>
                    <a:cubicBezTo>
                      <a:pt x="39" y="13"/>
                      <a:pt x="38" y="14"/>
                      <a:pt x="36" y="14"/>
                    </a:cubicBezTo>
                    <a:cubicBezTo>
                      <a:pt x="35" y="15"/>
                      <a:pt x="35" y="15"/>
                      <a:pt x="34" y="17"/>
                    </a:cubicBezTo>
                    <a:cubicBezTo>
                      <a:pt x="33" y="18"/>
                      <a:pt x="32" y="20"/>
                      <a:pt x="32" y="22"/>
                    </a:cubicBezTo>
                    <a:cubicBezTo>
                      <a:pt x="32" y="24"/>
                      <a:pt x="30" y="22"/>
                      <a:pt x="29" y="24"/>
                    </a:cubicBezTo>
                    <a:cubicBezTo>
                      <a:pt x="28" y="25"/>
                      <a:pt x="26" y="33"/>
                      <a:pt x="26" y="29"/>
                    </a:cubicBezTo>
                    <a:cubicBezTo>
                      <a:pt x="27" y="25"/>
                      <a:pt x="30" y="23"/>
                      <a:pt x="29" y="21"/>
                    </a:cubicBezTo>
                    <a:cubicBezTo>
                      <a:pt x="28" y="20"/>
                      <a:pt x="27" y="21"/>
                      <a:pt x="28" y="18"/>
                    </a:cubicBezTo>
                    <a:cubicBezTo>
                      <a:pt x="28" y="14"/>
                      <a:pt x="28" y="13"/>
                      <a:pt x="26" y="13"/>
                    </a:cubicBezTo>
                    <a:cubicBezTo>
                      <a:pt x="25" y="13"/>
                      <a:pt x="22" y="15"/>
                      <a:pt x="24" y="14"/>
                    </a:cubicBezTo>
                    <a:cubicBezTo>
                      <a:pt x="25" y="12"/>
                      <a:pt x="29" y="9"/>
                      <a:pt x="30" y="6"/>
                    </a:cubicBezTo>
                    <a:cubicBezTo>
                      <a:pt x="31" y="4"/>
                      <a:pt x="30" y="1"/>
                      <a:pt x="29" y="1"/>
                    </a:cubicBezTo>
                    <a:cubicBezTo>
                      <a:pt x="29" y="1"/>
                      <a:pt x="29" y="0"/>
                      <a:pt x="27" y="2"/>
                    </a:cubicBezTo>
                    <a:cubicBezTo>
                      <a:pt x="26" y="4"/>
                      <a:pt x="25" y="5"/>
                      <a:pt x="25" y="7"/>
                    </a:cubicBezTo>
                    <a:cubicBezTo>
                      <a:pt x="24" y="8"/>
                      <a:pt x="23" y="7"/>
                      <a:pt x="22" y="9"/>
                    </a:cubicBezTo>
                    <a:cubicBezTo>
                      <a:pt x="21" y="11"/>
                      <a:pt x="20" y="11"/>
                      <a:pt x="20" y="13"/>
                    </a:cubicBezTo>
                    <a:cubicBezTo>
                      <a:pt x="21" y="15"/>
                      <a:pt x="22" y="15"/>
                      <a:pt x="23" y="16"/>
                    </a:cubicBezTo>
                    <a:cubicBezTo>
                      <a:pt x="23" y="18"/>
                      <a:pt x="23" y="21"/>
                      <a:pt x="23" y="22"/>
                    </a:cubicBezTo>
                    <a:cubicBezTo>
                      <a:pt x="22" y="22"/>
                      <a:pt x="24" y="24"/>
                      <a:pt x="24" y="24"/>
                    </a:cubicBezTo>
                    <a:cubicBezTo>
                      <a:pt x="24" y="24"/>
                      <a:pt x="20" y="24"/>
                      <a:pt x="20" y="27"/>
                    </a:cubicBezTo>
                    <a:cubicBezTo>
                      <a:pt x="21" y="30"/>
                      <a:pt x="20" y="31"/>
                      <a:pt x="19" y="30"/>
                    </a:cubicBezTo>
                    <a:cubicBezTo>
                      <a:pt x="18" y="29"/>
                      <a:pt x="18" y="27"/>
                      <a:pt x="19" y="23"/>
                    </a:cubicBezTo>
                    <a:cubicBezTo>
                      <a:pt x="19" y="18"/>
                      <a:pt x="18" y="16"/>
                      <a:pt x="17" y="14"/>
                    </a:cubicBezTo>
                    <a:cubicBezTo>
                      <a:pt x="16" y="13"/>
                      <a:pt x="14" y="9"/>
                      <a:pt x="14" y="12"/>
                    </a:cubicBezTo>
                    <a:cubicBezTo>
                      <a:pt x="14" y="15"/>
                      <a:pt x="15" y="17"/>
                      <a:pt x="14" y="18"/>
                    </a:cubicBezTo>
                    <a:cubicBezTo>
                      <a:pt x="13" y="19"/>
                      <a:pt x="13" y="17"/>
                      <a:pt x="12" y="15"/>
                    </a:cubicBezTo>
                    <a:cubicBezTo>
                      <a:pt x="12" y="13"/>
                      <a:pt x="10" y="14"/>
                      <a:pt x="11" y="17"/>
                    </a:cubicBezTo>
                    <a:cubicBezTo>
                      <a:pt x="11" y="19"/>
                      <a:pt x="11" y="22"/>
                      <a:pt x="10" y="20"/>
                    </a:cubicBezTo>
                    <a:cubicBezTo>
                      <a:pt x="8" y="19"/>
                      <a:pt x="8" y="20"/>
                      <a:pt x="7" y="21"/>
                    </a:cubicBezTo>
                    <a:cubicBezTo>
                      <a:pt x="6" y="22"/>
                      <a:pt x="4" y="24"/>
                      <a:pt x="5" y="26"/>
                    </a:cubicBezTo>
                    <a:cubicBezTo>
                      <a:pt x="5" y="28"/>
                      <a:pt x="7" y="30"/>
                      <a:pt x="8" y="28"/>
                    </a:cubicBezTo>
                    <a:cubicBezTo>
                      <a:pt x="9" y="26"/>
                      <a:pt x="10" y="24"/>
                      <a:pt x="12" y="24"/>
                    </a:cubicBezTo>
                    <a:cubicBezTo>
                      <a:pt x="14" y="23"/>
                      <a:pt x="16" y="22"/>
                      <a:pt x="15" y="24"/>
                    </a:cubicBezTo>
                    <a:cubicBezTo>
                      <a:pt x="14" y="25"/>
                      <a:pt x="13" y="25"/>
                      <a:pt x="12" y="27"/>
                    </a:cubicBezTo>
                    <a:cubicBezTo>
                      <a:pt x="10" y="29"/>
                      <a:pt x="8" y="30"/>
                      <a:pt x="9" y="31"/>
                    </a:cubicBezTo>
                    <a:cubicBezTo>
                      <a:pt x="9" y="32"/>
                      <a:pt x="10" y="31"/>
                      <a:pt x="11" y="32"/>
                    </a:cubicBezTo>
                    <a:cubicBezTo>
                      <a:pt x="11" y="33"/>
                      <a:pt x="11" y="34"/>
                      <a:pt x="9" y="35"/>
                    </a:cubicBezTo>
                    <a:cubicBezTo>
                      <a:pt x="8" y="35"/>
                      <a:pt x="7" y="35"/>
                      <a:pt x="6" y="37"/>
                    </a:cubicBezTo>
                    <a:cubicBezTo>
                      <a:pt x="6" y="39"/>
                      <a:pt x="6" y="41"/>
                      <a:pt x="5" y="41"/>
                    </a:cubicBezTo>
                    <a:cubicBezTo>
                      <a:pt x="4" y="41"/>
                      <a:pt x="3" y="38"/>
                      <a:pt x="2" y="37"/>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26" name="Freeform 47"/>
              <p:cNvSpPr>
                <a:spLocks/>
              </p:cNvSpPr>
              <p:nvPr/>
            </p:nvSpPr>
            <p:spPr bwMode="gray">
              <a:xfrm>
                <a:off x="2394" y="1231"/>
                <a:ext cx="50" cy="56"/>
              </a:xfrm>
              <a:custGeom>
                <a:avLst/>
                <a:gdLst>
                  <a:gd name="T0" fmla="*/ 17 w 19"/>
                  <a:gd name="T1" fmla="*/ 6 h 21"/>
                  <a:gd name="T2" fmla="*/ 12 w 19"/>
                  <a:gd name="T3" fmla="*/ 1 h 21"/>
                  <a:gd name="T4" fmla="*/ 10 w 19"/>
                  <a:gd name="T5" fmla="*/ 3 h 21"/>
                  <a:gd name="T6" fmla="*/ 6 w 19"/>
                  <a:gd name="T7" fmla="*/ 7 h 21"/>
                  <a:gd name="T8" fmla="*/ 2 w 19"/>
                  <a:gd name="T9" fmla="*/ 8 h 21"/>
                  <a:gd name="T10" fmla="*/ 1 w 19"/>
                  <a:gd name="T11" fmla="*/ 9 h 21"/>
                  <a:gd name="T12" fmla="*/ 3 w 19"/>
                  <a:gd name="T13" fmla="*/ 12 h 21"/>
                  <a:gd name="T14" fmla="*/ 3 w 19"/>
                  <a:gd name="T15" fmla="*/ 18 h 21"/>
                  <a:gd name="T16" fmla="*/ 3 w 19"/>
                  <a:gd name="T17" fmla="*/ 21 h 21"/>
                  <a:gd name="T18" fmla="*/ 8 w 19"/>
                  <a:gd name="T19" fmla="*/ 18 h 21"/>
                  <a:gd name="T20" fmla="*/ 14 w 19"/>
                  <a:gd name="T21" fmla="*/ 16 h 21"/>
                  <a:gd name="T22" fmla="*/ 17 w 19"/>
                  <a:gd name="T23" fmla="*/ 14 h 21"/>
                  <a:gd name="T24" fmla="*/ 18 w 19"/>
                  <a:gd name="T25" fmla="*/ 9 h 21"/>
                  <a:gd name="T26" fmla="*/ 17 w 19"/>
                  <a:gd name="T27" fmla="*/ 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1">
                    <a:moveTo>
                      <a:pt x="17" y="6"/>
                    </a:moveTo>
                    <a:cubicBezTo>
                      <a:pt x="16" y="4"/>
                      <a:pt x="14" y="2"/>
                      <a:pt x="12" y="1"/>
                    </a:cubicBezTo>
                    <a:cubicBezTo>
                      <a:pt x="11" y="0"/>
                      <a:pt x="11" y="0"/>
                      <a:pt x="10" y="3"/>
                    </a:cubicBezTo>
                    <a:cubicBezTo>
                      <a:pt x="10" y="6"/>
                      <a:pt x="8" y="6"/>
                      <a:pt x="6" y="7"/>
                    </a:cubicBezTo>
                    <a:cubicBezTo>
                      <a:pt x="5" y="7"/>
                      <a:pt x="4" y="8"/>
                      <a:pt x="2" y="8"/>
                    </a:cubicBezTo>
                    <a:cubicBezTo>
                      <a:pt x="1" y="8"/>
                      <a:pt x="0" y="8"/>
                      <a:pt x="1" y="9"/>
                    </a:cubicBezTo>
                    <a:cubicBezTo>
                      <a:pt x="2" y="11"/>
                      <a:pt x="4" y="8"/>
                      <a:pt x="3" y="12"/>
                    </a:cubicBezTo>
                    <a:cubicBezTo>
                      <a:pt x="3" y="16"/>
                      <a:pt x="3" y="16"/>
                      <a:pt x="3" y="18"/>
                    </a:cubicBezTo>
                    <a:cubicBezTo>
                      <a:pt x="2" y="19"/>
                      <a:pt x="1" y="20"/>
                      <a:pt x="3" y="21"/>
                    </a:cubicBezTo>
                    <a:cubicBezTo>
                      <a:pt x="5" y="21"/>
                      <a:pt x="7" y="19"/>
                      <a:pt x="8" y="18"/>
                    </a:cubicBezTo>
                    <a:cubicBezTo>
                      <a:pt x="9" y="17"/>
                      <a:pt x="12" y="17"/>
                      <a:pt x="14" y="16"/>
                    </a:cubicBezTo>
                    <a:cubicBezTo>
                      <a:pt x="16" y="16"/>
                      <a:pt x="18" y="16"/>
                      <a:pt x="17" y="14"/>
                    </a:cubicBezTo>
                    <a:cubicBezTo>
                      <a:pt x="17" y="12"/>
                      <a:pt x="17" y="10"/>
                      <a:pt x="18" y="9"/>
                    </a:cubicBezTo>
                    <a:cubicBezTo>
                      <a:pt x="19" y="8"/>
                      <a:pt x="18" y="7"/>
                      <a:pt x="17" y="6"/>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27" name="Freeform 48"/>
              <p:cNvSpPr>
                <a:spLocks/>
              </p:cNvSpPr>
              <p:nvPr/>
            </p:nvSpPr>
            <p:spPr bwMode="gray">
              <a:xfrm>
                <a:off x="2404" y="1234"/>
                <a:ext cx="16" cy="13"/>
              </a:xfrm>
              <a:custGeom>
                <a:avLst/>
                <a:gdLst>
                  <a:gd name="T0" fmla="*/ 3 w 6"/>
                  <a:gd name="T1" fmla="*/ 0 h 5"/>
                  <a:gd name="T2" fmla="*/ 2 w 6"/>
                  <a:gd name="T3" fmla="*/ 3 h 5"/>
                  <a:gd name="T4" fmla="*/ 5 w 6"/>
                  <a:gd name="T5" fmla="*/ 3 h 5"/>
                  <a:gd name="T6" fmla="*/ 3 w 6"/>
                  <a:gd name="T7" fmla="*/ 0 h 5"/>
                </a:gdLst>
                <a:ahLst/>
                <a:cxnLst>
                  <a:cxn ang="0">
                    <a:pos x="T0" y="T1"/>
                  </a:cxn>
                  <a:cxn ang="0">
                    <a:pos x="T2" y="T3"/>
                  </a:cxn>
                  <a:cxn ang="0">
                    <a:pos x="T4" y="T5"/>
                  </a:cxn>
                  <a:cxn ang="0">
                    <a:pos x="T6" y="T7"/>
                  </a:cxn>
                </a:cxnLst>
                <a:rect l="0" t="0" r="r" b="b"/>
                <a:pathLst>
                  <a:path w="6" h="5">
                    <a:moveTo>
                      <a:pt x="3" y="0"/>
                    </a:moveTo>
                    <a:cubicBezTo>
                      <a:pt x="1" y="0"/>
                      <a:pt x="0" y="2"/>
                      <a:pt x="2" y="3"/>
                    </a:cubicBezTo>
                    <a:cubicBezTo>
                      <a:pt x="3" y="5"/>
                      <a:pt x="4" y="4"/>
                      <a:pt x="5" y="3"/>
                    </a:cubicBezTo>
                    <a:cubicBezTo>
                      <a:pt x="6" y="2"/>
                      <a:pt x="4" y="0"/>
                      <a:pt x="3"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28" name="Freeform 49"/>
              <p:cNvSpPr>
                <a:spLocks/>
              </p:cNvSpPr>
              <p:nvPr/>
            </p:nvSpPr>
            <p:spPr bwMode="gray">
              <a:xfrm>
                <a:off x="2446" y="1202"/>
                <a:ext cx="35" cy="37"/>
              </a:xfrm>
              <a:custGeom>
                <a:avLst/>
                <a:gdLst>
                  <a:gd name="T0" fmla="*/ 8 w 13"/>
                  <a:gd name="T1" fmla="*/ 3 h 14"/>
                  <a:gd name="T2" fmla="*/ 7 w 13"/>
                  <a:gd name="T3" fmla="*/ 5 h 14"/>
                  <a:gd name="T4" fmla="*/ 4 w 13"/>
                  <a:gd name="T5" fmla="*/ 5 h 14"/>
                  <a:gd name="T6" fmla="*/ 1 w 13"/>
                  <a:gd name="T7" fmla="*/ 10 h 14"/>
                  <a:gd name="T8" fmla="*/ 1 w 13"/>
                  <a:gd name="T9" fmla="*/ 13 h 14"/>
                  <a:gd name="T10" fmla="*/ 6 w 13"/>
                  <a:gd name="T11" fmla="*/ 12 h 14"/>
                  <a:gd name="T12" fmla="*/ 10 w 13"/>
                  <a:gd name="T13" fmla="*/ 11 h 14"/>
                  <a:gd name="T14" fmla="*/ 11 w 13"/>
                  <a:gd name="T15" fmla="*/ 7 h 14"/>
                  <a:gd name="T16" fmla="*/ 11 w 13"/>
                  <a:gd name="T17" fmla="*/ 3 h 14"/>
                  <a:gd name="T18" fmla="*/ 7 w 13"/>
                  <a:gd name="T19" fmla="*/ 0 h 14"/>
                  <a:gd name="T20" fmla="*/ 8 w 13"/>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14">
                    <a:moveTo>
                      <a:pt x="8" y="3"/>
                    </a:moveTo>
                    <a:cubicBezTo>
                      <a:pt x="8" y="6"/>
                      <a:pt x="8" y="7"/>
                      <a:pt x="7" y="5"/>
                    </a:cubicBezTo>
                    <a:cubicBezTo>
                      <a:pt x="5" y="3"/>
                      <a:pt x="5" y="2"/>
                      <a:pt x="4" y="5"/>
                    </a:cubicBezTo>
                    <a:cubicBezTo>
                      <a:pt x="3" y="7"/>
                      <a:pt x="1" y="9"/>
                      <a:pt x="1" y="10"/>
                    </a:cubicBezTo>
                    <a:cubicBezTo>
                      <a:pt x="0" y="11"/>
                      <a:pt x="0" y="13"/>
                      <a:pt x="1" y="13"/>
                    </a:cubicBezTo>
                    <a:cubicBezTo>
                      <a:pt x="3" y="14"/>
                      <a:pt x="4" y="13"/>
                      <a:pt x="6" y="12"/>
                    </a:cubicBezTo>
                    <a:cubicBezTo>
                      <a:pt x="7" y="11"/>
                      <a:pt x="10" y="12"/>
                      <a:pt x="10" y="11"/>
                    </a:cubicBezTo>
                    <a:cubicBezTo>
                      <a:pt x="10" y="10"/>
                      <a:pt x="9" y="8"/>
                      <a:pt x="11" y="7"/>
                    </a:cubicBezTo>
                    <a:cubicBezTo>
                      <a:pt x="13" y="6"/>
                      <a:pt x="12" y="3"/>
                      <a:pt x="11" y="3"/>
                    </a:cubicBezTo>
                    <a:cubicBezTo>
                      <a:pt x="10" y="2"/>
                      <a:pt x="8" y="0"/>
                      <a:pt x="7" y="0"/>
                    </a:cubicBezTo>
                    <a:cubicBezTo>
                      <a:pt x="7" y="0"/>
                      <a:pt x="9" y="2"/>
                      <a:pt x="8" y="3"/>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29" name="Freeform 50"/>
              <p:cNvSpPr>
                <a:spLocks/>
              </p:cNvSpPr>
              <p:nvPr/>
            </p:nvSpPr>
            <p:spPr bwMode="gray">
              <a:xfrm>
                <a:off x="2460" y="1176"/>
                <a:ext cx="15" cy="16"/>
              </a:xfrm>
              <a:custGeom>
                <a:avLst/>
                <a:gdLst>
                  <a:gd name="T0" fmla="*/ 3 w 6"/>
                  <a:gd name="T1" fmla="*/ 1 h 6"/>
                  <a:gd name="T2" fmla="*/ 1 w 6"/>
                  <a:gd name="T3" fmla="*/ 3 h 6"/>
                  <a:gd name="T4" fmla="*/ 5 w 6"/>
                  <a:gd name="T5" fmla="*/ 3 h 6"/>
                  <a:gd name="T6" fmla="*/ 3 w 6"/>
                  <a:gd name="T7" fmla="*/ 1 h 6"/>
                </a:gdLst>
                <a:ahLst/>
                <a:cxnLst>
                  <a:cxn ang="0">
                    <a:pos x="T0" y="T1"/>
                  </a:cxn>
                  <a:cxn ang="0">
                    <a:pos x="T2" y="T3"/>
                  </a:cxn>
                  <a:cxn ang="0">
                    <a:pos x="T4" y="T5"/>
                  </a:cxn>
                  <a:cxn ang="0">
                    <a:pos x="T6" y="T7"/>
                  </a:cxn>
                </a:cxnLst>
                <a:rect l="0" t="0" r="r" b="b"/>
                <a:pathLst>
                  <a:path w="6" h="6">
                    <a:moveTo>
                      <a:pt x="3" y="1"/>
                    </a:moveTo>
                    <a:cubicBezTo>
                      <a:pt x="2" y="0"/>
                      <a:pt x="0" y="1"/>
                      <a:pt x="1" y="3"/>
                    </a:cubicBezTo>
                    <a:cubicBezTo>
                      <a:pt x="2" y="6"/>
                      <a:pt x="4" y="3"/>
                      <a:pt x="5" y="3"/>
                    </a:cubicBezTo>
                    <a:cubicBezTo>
                      <a:pt x="6" y="3"/>
                      <a:pt x="4" y="1"/>
                      <a:pt x="3"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0" name="Freeform 51"/>
              <p:cNvSpPr>
                <a:spLocks/>
              </p:cNvSpPr>
              <p:nvPr/>
            </p:nvSpPr>
            <p:spPr bwMode="gray">
              <a:xfrm>
                <a:off x="2475" y="1160"/>
                <a:ext cx="11" cy="21"/>
              </a:xfrm>
              <a:custGeom>
                <a:avLst/>
                <a:gdLst>
                  <a:gd name="T0" fmla="*/ 2 w 4"/>
                  <a:gd name="T1" fmla="*/ 1 h 8"/>
                  <a:gd name="T2" fmla="*/ 1 w 4"/>
                  <a:gd name="T3" fmla="*/ 4 h 8"/>
                  <a:gd name="T4" fmla="*/ 4 w 4"/>
                  <a:gd name="T5" fmla="*/ 6 h 8"/>
                  <a:gd name="T6" fmla="*/ 2 w 4"/>
                  <a:gd name="T7" fmla="*/ 1 h 8"/>
                </a:gdLst>
                <a:ahLst/>
                <a:cxnLst>
                  <a:cxn ang="0">
                    <a:pos x="T0" y="T1"/>
                  </a:cxn>
                  <a:cxn ang="0">
                    <a:pos x="T2" y="T3"/>
                  </a:cxn>
                  <a:cxn ang="0">
                    <a:pos x="T4" y="T5"/>
                  </a:cxn>
                  <a:cxn ang="0">
                    <a:pos x="T6" y="T7"/>
                  </a:cxn>
                </a:cxnLst>
                <a:rect l="0" t="0" r="r" b="b"/>
                <a:pathLst>
                  <a:path w="4" h="8">
                    <a:moveTo>
                      <a:pt x="2" y="1"/>
                    </a:moveTo>
                    <a:cubicBezTo>
                      <a:pt x="1" y="0"/>
                      <a:pt x="0" y="2"/>
                      <a:pt x="1" y="4"/>
                    </a:cubicBezTo>
                    <a:cubicBezTo>
                      <a:pt x="1" y="6"/>
                      <a:pt x="3" y="8"/>
                      <a:pt x="4" y="6"/>
                    </a:cubicBezTo>
                    <a:cubicBezTo>
                      <a:pt x="4" y="5"/>
                      <a:pt x="3" y="2"/>
                      <a:pt x="2"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1" name="Freeform 52"/>
              <p:cNvSpPr>
                <a:spLocks/>
              </p:cNvSpPr>
              <p:nvPr/>
            </p:nvSpPr>
            <p:spPr bwMode="gray">
              <a:xfrm>
                <a:off x="2486" y="1171"/>
                <a:ext cx="10" cy="10"/>
              </a:xfrm>
              <a:custGeom>
                <a:avLst/>
                <a:gdLst>
                  <a:gd name="T0" fmla="*/ 3 w 4"/>
                  <a:gd name="T1" fmla="*/ 0 h 4"/>
                  <a:gd name="T2" fmla="*/ 1 w 4"/>
                  <a:gd name="T3" fmla="*/ 3 h 4"/>
                  <a:gd name="T4" fmla="*/ 4 w 4"/>
                  <a:gd name="T5" fmla="*/ 3 h 4"/>
                  <a:gd name="T6" fmla="*/ 3 w 4"/>
                  <a:gd name="T7" fmla="*/ 0 h 4"/>
                </a:gdLst>
                <a:ahLst/>
                <a:cxnLst>
                  <a:cxn ang="0">
                    <a:pos x="T0" y="T1"/>
                  </a:cxn>
                  <a:cxn ang="0">
                    <a:pos x="T2" y="T3"/>
                  </a:cxn>
                  <a:cxn ang="0">
                    <a:pos x="T4" y="T5"/>
                  </a:cxn>
                  <a:cxn ang="0">
                    <a:pos x="T6" y="T7"/>
                  </a:cxn>
                </a:cxnLst>
                <a:rect l="0" t="0" r="r" b="b"/>
                <a:pathLst>
                  <a:path w="4" h="4">
                    <a:moveTo>
                      <a:pt x="3" y="0"/>
                    </a:moveTo>
                    <a:cubicBezTo>
                      <a:pt x="1" y="0"/>
                      <a:pt x="0" y="2"/>
                      <a:pt x="1" y="3"/>
                    </a:cubicBezTo>
                    <a:cubicBezTo>
                      <a:pt x="2" y="4"/>
                      <a:pt x="4" y="4"/>
                      <a:pt x="4" y="3"/>
                    </a:cubicBezTo>
                    <a:cubicBezTo>
                      <a:pt x="4" y="1"/>
                      <a:pt x="4" y="0"/>
                      <a:pt x="3"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2" name="Freeform 53"/>
              <p:cNvSpPr>
                <a:spLocks/>
              </p:cNvSpPr>
              <p:nvPr/>
            </p:nvSpPr>
            <p:spPr bwMode="gray">
              <a:xfrm>
                <a:off x="2496" y="1160"/>
                <a:ext cx="24" cy="29"/>
              </a:xfrm>
              <a:custGeom>
                <a:avLst/>
                <a:gdLst>
                  <a:gd name="T0" fmla="*/ 1 w 9"/>
                  <a:gd name="T1" fmla="*/ 1 h 11"/>
                  <a:gd name="T2" fmla="*/ 1 w 9"/>
                  <a:gd name="T3" fmla="*/ 4 h 11"/>
                  <a:gd name="T4" fmla="*/ 4 w 9"/>
                  <a:gd name="T5" fmla="*/ 10 h 11"/>
                  <a:gd name="T6" fmla="*/ 9 w 9"/>
                  <a:gd name="T7" fmla="*/ 8 h 11"/>
                  <a:gd name="T8" fmla="*/ 1 w 9"/>
                  <a:gd name="T9" fmla="*/ 1 h 11"/>
                </a:gdLst>
                <a:ahLst/>
                <a:cxnLst>
                  <a:cxn ang="0">
                    <a:pos x="T0" y="T1"/>
                  </a:cxn>
                  <a:cxn ang="0">
                    <a:pos x="T2" y="T3"/>
                  </a:cxn>
                  <a:cxn ang="0">
                    <a:pos x="T4" y="T5"/>
                  </a:cxn>
                  <a:cxn ang="0">
                    <a:pos x="T6" y="T7"/>
                  </a:cxn>
                  <a:cxn ang="0">
                    <a:pos x="T8" y="T9"/>
                  </a:cxn>
                </a:cxnLst>
                <a:rect l="0" t="0" r="r" b="b"/>
                <a:pathLst>
                  <a:path w="9" h="11">
                    <a:moveTo>
                      <a:pt x="1" y="1"/>
                    </a:moveTo>
                    <a:cubicBezTo>
                      <a:pt x="0" y="0"/>
                      <a:pt x="0" y="1"/>
                      <a:pt x="1" y="4"/>
                    </a:cubicBezTo>
                    <a:cubicBezTo>
                      <a:pt x="2" y="7"/>
                      <a:pt x="2" y="11"/>
                      <a:pt x="4" y="10"/>
                    </a:cubicBezTo>
                    <a:cubicBezTo>
                      <a:pt x="6" y="10"/>
                      <a:pt x="8" y="9"/>
                      <a:pt x="9" y="8"/>
                    </a:cubicBezTo>
                    <a:cubicBezTo>
                      <a:pt x="9" y="7"/>
                      <a:pt x="6" y="2"/>
                      <a:pt x="1"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3" name="Freeform 54"/>
              <p:cNvSpPr>
                <a:spLocks/>
              </p:cNvSpPr>
              <p:nvPr/>
            </p:nvSpPr>
            <p:spPr bwMode="gray">
              <a:xfrm>
                <a:off x="2531" y="1163"/>
                <a:ext cx="18" cy="26"/>
              </a:xfrm>
              <a:custGeom>
                <a:avLst/>
                <a:gdLst>
                  <a:gd name="T0" fmla="*/ 5 w 7"/>
                  <a:gd name="T1" fmla="*/ 1 h 10"/>
                  <a:gd name="T2" fmla="*/ 1 w 7"/>
                  <a:gd name="T3" fmla="*/ 6 h 10"/>
                  <a:gd name="T4" fmla="*/ 5 w 7"/>
                  <a:gd name="T5" fmla="*/ 7 h 10"/>
                  <a:gd name="T6" fmla="*/ 5 w 7"/>
                  <a:gd name="T7" fmla="*/ 1 h 10"/>
                </a:gdLst>
                <a:ahLst/>
                <a:cxnLst>
                  <a:cxn ang="0">
                    <a:pos x="T0" y="T1"/>
                  </a:cxn>
                  <a:cxn ang="0">
                    <a:pos x="T2" y="T3"/>
                  </a:cxn>
                  <a:cxn ang="0">
                    <a:pos x="T4" y="T5"/>
                  </a:cxn>
                  <a:cxn ang="0">
                    <a:pos x="T6" y="T7"/>
                  </a:cxn>
                </a:cxnLst>
                <a:rect l="0" t="0" r="r" b="b"/>
                <a:pathLst>
                  <a:path w="7" h="10">
                    <a:moveTo>
                      <a:pt x="5" y="1"/>
                    </a:moveTo>
                    <a:cubicBezTo>
                      <a:pt x="3" y="0"/>
                      <a:pt x="0" y="2"/>
                      <a:pt x="1" y="6"/>
                    </a:cubicBezTo>
                    <a:cubicBezTo>
                      <a:pt x="1" y="9"/>
                      <a:pt x="4" y="10"/>
                      <a:pt x="5" y="7"/>
                    </a:cubicBezTo>
                    <a:cubicBezTo>
                      <a:pt x="7" y="4"/>
                      <a:pt x="6" y="1"/>
                      <a:pt x="5"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4" name="Freeform 55"/>
              <p:cNvSpPr>
                <a:spLocks/>
              </p:cNvSpPr>
              <p:nvPr/>
            </p:nvSpPr>
            <p:spPr bwMode="gray">
              <a:xfrm>
                <a:off x="2538" y="1197"/>
                <a:ext cx="8" cy="16"/>
              </a:xfrm>
              <a:custGeom>
                <a:avLst/>
                <a:gdLst>
                  <a:gd name="T0" fmla="*/ 2 w 3"/>
                  <a:gd name="T1" fmla="*/ 1 h 6"/>
                  <a:gd name="T2" fmla="*/ 1 w 3"/>
                  <a:gd name="T3" fmla="*/ 4 h 6"/>
                  <a:gd name="T4" fmla="*/ 3 w 3"/>
                  <a:gd name="T5" fmla="*/ 2 h 6"/>
                  <a:gd name="T6" fmla="*/ 2 w 3"/>
                  <a:gd name="T7" fmla="*/ 1 h 6"/>
                </a:gdLst>
                <a:ahLst/>
                <a:cxnLst>
                  <a:cxn ang="0">
                    <a:pos x="T0" y="T1"/>
                  </a:cxn>
                  <a:cxn ang="0">
                    <a:pos x="T2" y="T3"/>
                  </a:cxn>
                  <a:cxn ang="0">
                    <a:pos x="T4" y="T5"/>
                  </a:cxn>
                  <a:cxn ang="0">
                    <a:pos x="T6" y="T7"/>
                  </a:cxn>
                </a:cxnLst>
                <a:rect l="0" t="0" r="r" b="b"/>
                <a:pathLst>
                  <a:path w="3" h="6">
                    <a:moveTo>
                      <a:pt x="2" y="1"/>
                    </a:moveTo>
                    <a:cubicBezTo>
                      <a:pt x="0" y="1"/>
                      <a:pt x="0" y="2"/>
                      <a:pt x="1" y="4"/>
                    </a:cubicBezTo>
                    <a:cubicBezTo>
                      <a:pt x="2" y="6"/>
                      <a:pt x="3" y="3"/>
                      <a:pt x="3" y="2"/>
                    </a:cubicBezTo>
                    <a:cubicBezTo>
                      <a:pt x="3" y="0"/>
                      <a:pt x="3" y="0"/>
                      <a:pt x="2"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5" name="Freeform 56"/>
              <p:cNvSpPr>
                <a:spLocks/>
              </p:cNvSpPr>
              <p:nvPr/>
            </p:nvSpPr>
            <p:spPr bwMode="gray">
              <a:xfrm>
                <a:off x="2580" y="1150"/>
                <a:ext cx="6" cy="10"/>
              </a:xfrm>
              <a:custGeom>
                <a:avLst/>
                <a:gdLst>
                  <a:gd name="T0" fmla="*/ 1 w 2"/>
                  <a:gd name="T1" fmla="*/ 0 h 4"/>
                  <a:gd name="T2" fmla="*/ 1 w 2"/>
                  <a:gd name="T3" fmla="*/ 3 h 4"/>
                  <a:gd name="T4" fmla="*/ 2 w 2"/>
                  <a:gd name="T5" fmla="*/ 1 h 4"/>
                  <a:gd name="T6" fmla="*/ 1 w 2"/>
                  <a:gd name="T7" fmla="*/ 0 h 4"/>
                </a:gdLst>
                <a:ahLst/>
                <a:cxnLst>
                  <a:cxn ang="0">
                    <a:pos x="T0" y="T1"/>
                  </a:cxn>
                  <a:cxn ang="0">
                    <a:pos x="T2" y="T3"/>
                  </a:cxn>
                  <a:cxn ang="0">
                    <a:pos x="T4" y="T5"/>
                  </a:cxn>
                  <a:cxn ang="0">
                    <a:pos x="T6" y="T7"/>
                  </a:cxn>
                </a:cxnLst>
                <a:rect l="0" t="0" r="r" b="b"/>
                <a:pathLst>
                  <a:path w="2" h="4">
                    <a:moveTo>
                      <a:pt x="1" y="0"/>
                    </a:moveTo>
                    <a:cubicBezTo>
                      <a:pt x="0" y="0"/>
                      <a:pt x="0" y="2"/>
                      <a:pt x="1" y="3"/>
                    </a:cubicBezTo>
                    <a:cubicBezTo>
                      <a:pt x="2" y="4"/>
                      <a:pt x="2" y="3"/>
                      <a:pt x="2" y="1"/>
                    </a:cubicBezTo>
                    <a:cubicBezTo>
                      <a:pt x="1" y="0"/>
                      <a:pt x="1" y="0"/>
                      <a:pt x="1"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6" name="Freeform 57"/>
              <p:cNvSpPr>
                <a:spLocks/>
              </p:cNvSpPr>
              <p:nvPr/>
            </p:nvSpPr>
            <p:spPr bwMode="gray">
              <a:xfrm>
                <a:off x="2588" y="1108"/>
                <a:ext cx="63" cy="34"/>
              </a:xfrm>
              <a:custGeom>
                <a:avLst/>
                <a:gdLst>
                  <a:gd name="T0" fmla="*/ 4 w 24"/>
                  <a:gd name="T1" fmla="*/ 5 h 13"/>
                  <a:gd name="T2" fmla="*/ 2 w 24"/>
                  <a:gd name="T3" fmla="*/ 8 h 13"/>
                  <a:gd name="T4" fmla="*/ 4 w 24"/>
                  <a:gd name="T5" fmla="*/ 12 h 13"/>
                  <a:gd name="T6" fmla="*/ 6 w 24"/>
                  <a:gd name="T7" fmla="*/ 13 h 13"/>
                  <a:gd name="T8" fmla="*/ 9 w 24"/>
                  <a:gd name="T9" fmla="*/ 12 h 13"/>
                  <a:gd name="T10" fmla="*/ 17 w 24"/>
                  <a:gd name="T11" fmla="*/ 10 h 13"/>
                  <a:gd name="T12" fmla="*/ 21 w 24"/>
                  <a:gd name="T13" fmla="*/ 5 h 13"/>
                  <a:gd name="T14" fmla="*/ 23 w 24"/>
                  <a:gd name="T15" fmla="*/ 2 h 13"/>
                  <a:gd name="T16" fmla="*/ 18 w 24"/>
                  <a:gd name="T17" fmla="*/ 1 h 13"/>
                  <a:gd name="T18" fmla="*/ 16 w 24"/>
                  <a:gd name="T19" fmla="*/ 3 h 13"/>
                  <a:gd name="T20" fmla="*/ 15 w 24"/>
                  <a:gd name="T21" fmla="*/ 5 h 13"/>
                  <a:gd name="T22" fmla="*/ 14 w 24"/>
                  <a:gd name="T23" fmla="*/ 3 h 13"/>
                  <a:gd name="T24" fmla="*/ 12 w 24"/>
                  <a:gd name="T25" fmla="*/ 5 h 13"/>
                  <a:gd name="T26" fmla="*/ 10 w 24"/>
                  <a:gd name="T27" fmla="*/ 3 h 13"/>
                  <a:gd name="T28" fmla="*/ 8 w 24"/>
                  <a:gd name="T29" fmla="*/ 6 h 13"/>
                  <a:gd name="T30" fmla="*/ 4 w 24"/>
                  <a:gd name="T31"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 h="13">
                    <a:moveTo>
                      <a:pt x="4" y="5"/>
                    </a:moveTo>
                    <a:cubicBezTo>
                      <a:pt x="3" y="5"/>
                      <a:pt x="0" y="6"/>
                      <a:pt x="2" y="8"/>
                    </a:cubicBezTo>
                    <a:cubicBezTo>
                      <a:pt x="3" y="10"/>
                      <a:pt x="6" y="10"/>
                      <a:pt x="4" y="12"/>
                    </a:cubicBezTo>
                    <a:cubicBezTo>
                      <a:pt x="3" y="13"/>
                      <a:pt x="5" y="13"/>
                      <a:pt x="6" y="13"/>
                    </a:cubicBezTo>
                    <a:cubicBezTo>
                      <a:pt x="7" y="13"/>
                      <a:pt x="7" y="11"/>
                      <a:pt x="9" y="12"/>
                    </a:cubicBezTo>
                    <a:cubicBezTo>
                      <a:pt x="11" y="13"/>
                      <a:pt x="15" y="11"/>
                      <a:pt x="17" y="10"/>
                    </a:cubicBezTo>
                    <a:cubicBezTo>
                      <a:pt x="18" y="9"/>
                      <a:pt x="19" y="7"/>
                      <a:pt x="21" y="5"/>
                    </a:cubicBezTo>
                    <a:cubicBezTo>
                      <a:pt x="23" y="3"/>
                      <a:pt x="24" y="3"/>
                      <a:pt x="23" y="2"/>
                    </a:cubicBezTo>
                    <a:cubicBezTo>
                      <a:pt x="22" y="1"/>
                      <a:pt x="20" y="2"/>
                      <a:pt x="18" y="1"/>
                    </a:cubicBezTo>
                    <a:cubicBezTo>
                      <a:pt x="17" y="0"/>
                      <a:pt x="16" y="1"/>
                      <a:pt x="16" y="3"/>
                    </a:cubicBezTo>
                    <a:cubicBezTo>
                      <a:pt x="17" y="4"/>
                      <a:pt x="16" y="6"/>
                      <a:pt x="15" y="5"/>
                    </a:cubicBezTo>
                    <a:cubicBezTo>
                      <a:pt x="14" y="5"/>
                      <a:pt x="15" y="3"/>
                      <a:pt x="14" y="3"/>
                    </a:cubicBezTo>
                    <a:cubicBezTo>
                      <a:pt x="12" y="3"/>
                      <a:pt x="12" y="4"/>
                      <a:pt x="12" y="5"/>
                    </a:cubicBezTo>
                    <a:cubicBezTo>
                      <a:pt x="11" y="6"/>
                      <a:pt x="11" y="4"/>
                      <a:pt x="10" y="3"/>
                    </a:cubicBezTo>
                    <a:cubicBezTo>
                      <a:pt x="9" y="3"/>
                      <a:pt x="8" y="4"/>
                      <a:pt x="8" y="6"/>
                    </a:cubicBezTo>
                    <a:cubicBezTo>
                      <a:pt x="7" y="7"/>
                      <a:pt x="6" y="5"/>
                      <a:pt x="4" y="5"/>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7" name="Freeform 58"/>
              <p:cNvSpPr>
                <a:spLocks/>
              </p:cNvSpPr>
              <p:nvPr/>
            </p:nvSpPr>
            <p:spPr bwMode="gray">
              <a:xfrm>
                <a:off x="2665" y="1082"/>
                <a:ext cx="13" cy="21"/>
              </a:xfrm>
              <a:custGeom>
                <a:avLst/>
                <a:gdLst>
                  <a:gd name="T0" fmla="*/ 3 w 5"/>
                  <a:gd name="T1" fmla="*/ 2 h 8"/>
                  <a:gd name="T2" fmla="*/ 0 w 5"/>
                  <a:gd name="T3" fmla="*/ 3 h 8"/>
                  <a:gd name="T4" fmla="*/ 2 w 5"/>
                  <a:gd name="T5" fmla="*/ 7 h 8"/>
                  <a:gd name="T6" fmla="*/ 4 w 5"/>
                  <a:gd name="T7" fmla="*/ 6 h 8"/>
                  <a:gd name="T8" fmla="*/ 3 w 5"/>
                  <a:gd name="T9" fmla="*/ 2 h 8"/>
                </a:gdLst>
                <a:ahLst/>
                <a:cxnLst>
                  <a:cxn ang="0">
                    <a:pos x="T0" y="T1"/>
                  </a:cxn>
                  <a:cxn ang="0">
                    <a:pos x="T2" y="T3"/>
                  </a:cxn>
                  <a:cxn ang="0">
                    <a:pos x="T4" y="T5"/>
                  </a:cxn>
                  <a:cxn ang="0">
                    <a:pos x="T6" y="T7"/>
                  </a:cxn>
                  <a:cxn ang="0">
                    <a:pos x="T8" y="T9"/>
                  </a:cxn>
                </a:cxnLst>
                <a:rect l="0" t="0" r="r" b="b"/>
                <a:pathLst>
                  <a:path w="5" h="8">
                    <a:moveTo>
                      <a:pt x="3" y="2"/>
                    </a:moveTo>
                    <a:cubicBezTo>
                      <a:pt x="2" y="0"/>
                      <a:pt x="1" y="1"/>
                      <a:pt x="0" y="3"/>
                    </a:cubicBezTo>
                    <a:cubicBezTo>
                      <a:pt x="0" y="6"/>
                      <a:pt x="0" y="7"/>
                      <a:pt x="2" y="7"/>
                    </a:cubicBezTo>
                    <a:cubicBezTo>
                      <a:pt x="3" y="8"/>
                      <a:pt x="5" y="8"/>
                      <a:pt x="4" y="6"/>
                    </a:cubicBezTo>
                    <a:cubicBezTo>
                      <a:pt x="4" y="4"/>
                      <a:pt x="4" y="4"/>
                      <a:pt x="3" y="2"/>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8" name="Freeform 59"/>
              <p:cNvSpPr>
                <a:spLocks/>
              </p:cNvSpPr>
              <p:nvPr/>
            </p:nvSpPr>
            <p:spPr bwMode="gray">
              <a:xfrm>
                <a:off x="2654" y="1116"/>
                <a:ext cx="21" cy="21"/>
              </a:xfrm>
              <a:custGeom>
                <a:avLst/>
                <a:gdLst>
                  <a:gd name="T0" fmla="*/ 7 w 8"/>
                  <a:gd name="T1" fmla="*/ 1 h 8"/>
                  <a:gd name="T2" fmla="*/ 1 w 8"/>
                  <a:gd name="T3" fmla="*/ 1 h 8"/>
                  <a:gd name="T4" fmla="*/ 3 w 8"/>
                  <a:gd name="T5" fmla="*/ 6 h 8"/>
                  <a:gd name="T6" fmla="*/ 7 w 8"/>
                  <a:gd name="T7" fmla="*/ 6 h 8"/>
                  <a:gd name="T8" fmla="*/ 7 w 8"/>
                  <a:gd name="T9" fmla="*/ 1 h 8"/>
                </a:gdLst>
                <a:ahLst/>
                <a:cxnLst>
                  <a:cxn ang="0">
                    <a:pos x="T0" y="T1"/>
                  </a:cxn>
                  <a:cxn ang="0">
                    <a:pos x="T2" y="T3"/>
                  </a:cxn>
                  <a:cxn ang="0">
                    <a:pos x="T4" y="T5"/>
                  </a:cxn>
                  <a:cxn ang="0">
                    <a:pos x="T6" y="T7"/>
                  </a:cxn>
                  <a:cxn ang="0">
                    <a:pos x="T8" y="T9"/>
                  </a:cxn>
                </a:cxnLst>
                <a:rect l="0" t="0" r="r" b="b"/>
                <a:pathLst>
                  <a:path w="8" h="8">
                    <a:moveTo>
                      <a:pt x="7" y="1"/>
                    </a:moveTo>
                    <a:cubicBezTo>
                      <a:pt x="6" y="0"/>
                      <a:pt x="2" y="0"/>
                      <a:pt x="1" y="1"/>
                    </a:cubicBezTo>
                    <a:cubicBezTo>
                      <a:pt x="0" y="3"/>
                      <a:pt x="2" y="4"/>
                      <a:pt x="3" y="6"/>
                    </a:cubicBezTo>
                    <a:cubicBezTo>
                      <a:pt x="4" y="8"/>
                      <a:pt x="6" y="8"/>
                      <a:pt x="7" y="6"/>
                    </a:cubicBezTo>
                    <a:cubicBezTo>
                      <a:pt x="8" y="4"/>
                      <a:pt x="8" y="3"/>
                      <a:pt x="7"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39" name="Freeform 60"/>
              <p:cNvSpPr>
                <a:spLocks/>
              </p:cNvSpPr>
              <p:nvPr/>
            </p:nvSpPr>
            <p:spPr bwMode="gray">
              <a:xfrm>
                <a:off x="2625" y="1126"/>
                <a:ext cx="34" cy="37"/>
              </a:xfrm>
              <a:custGeom>
                <a:avLst/>
                <a:gdLst>
                  <a:gd name="T0" fmla="*/ 11 w 13"/>
                  <a:gd name="T1" fmla="*/ 1 h 14"/>
                  <a:gd name="T2" fmla="*/ 9 w 13"/>
                  <a:gd name="T3" fmla="*/ 4 h 14"/>
                  <a:gd name="T4" fmla="*/ 4 w 13"/>
                  <a:gd name="T5" fmla="*/ 5 h 14"/>
                  <a:gd name="T6" fmla="*/ 1 w 13"/>
                  <a:gd name="T7" fmla="*/ 8 h 14"/>
                  <a:gd name="T8" fmla="*/ 3 w 13"/>
                  <a:gd name="T9" fmla="*/ 10 h 14"/>
                  <a:gd name="T10" fmla="*/ 6 w 13"/>
                  <a:gd name="T11" fmla="*/ 12 h 14"/>
                  <a:gd name="T12" fmla="*/ 8 w 13"/>
                  <a:gd name="T13" fmla="*/ 13 h 14"/>
                  <a:gd name="T14" fmla="*/ 12 w 13"/>
                  <a:gd name="T15" fmla="*/ 8 h 14"/>
                  <a:gd name="T16" fmla="*/ 13 w 13"/>
                  <a:gd name="T17" fmla="*/ 4 h 14"/>
                  <a:gd name="T18" fmla="*/ 11 w 13"/>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4">
                    <a:moveTo>
                      <a:pt x="11" y="1"/>
                    </a:moveTo>
                    <a:cubicBezTo>
                      <a:pt x="10" y="0"/>
                      <a:pt x="10" y="3"/>
                      <a:pt x="9" y="4"/>
                    </a:cubicBezTo>
                    <a:cubicBezTo>
                      <a:pt x="8" y="5"/>
                      <a:pt x="6" y="6"/>
                      <a:pt x="4" y="5"/>
                    </a:cubicBezTo>
                    <a:cubicBezTo>
                      <a:pt x="3" y="5"/>
                      <a:pt x="2" y="7"/>
                      <a:pt x="1" y="8"/>
                    </a:cubicBezTo>
                    <a:cubicBezTo>
                      <a:pt x="0" y="9"/>
                      <a:pt x="1" y="10"/>
                      <a:pt x="3" y="10"/>
                    </a:cubicBezTo>
                    <a:cubicBezTo>
                      <a:pt x="5" y="11"/>
                      <a:pt x="6" y="10"/>
                      <a:pt x="6" y="12"/>
                    </a:cubicBezTo>
                    <a:cubicBezTo>
                      <a:pt x="6" y="14"/>
                      <a:pt x="7" y="14"/>
                      <a:pt x="8" y="13"/>
                    </a:cubicBezTo>
                    <a:cubicBezTo>
                      <a:pt x="9" y="11"/>
                      <a:pt x="10" y="9"/>
                      <a:pt x="12" y="8"/>
                    </a:cubicBezTo>
                    <a:cubicBezTo>
                      <a:pt x="13" y="7"/>
                      <a:pt x="13" y="5"/>
                      <a:pt x="13" y="4"/>
                    </a:cubicBezTo>
                    <a:cubicBezTo>
                      <a:pt x="13" y="3"/>
                      <a:pt x="13" y="2"/>
                      <a:pt x="11"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40" name="Freeform 61"/>
              <p:cNvSpPr>
                <a:spLocks/>
              </p:cNvSpPr>
              <p:nvPr/>
            </p:nvSpPr>
            <p:spPr bwMode="gray">
              <a:xfrm>
                <a:off x="2491" y="2982"/>
                <a:ext cx="265" cy="121"/>
              </a:xfrm>
              <a:custGeom>
                <a:avLst/>
                <a:gdLst>
                  <a:gd name="T0" fmla="*/ 3 w 101"/>
                  <a:gd name="T1" fmla="*/ 22 h 46"/>
                  <a:gd name="T2" fmla="*/ 2 w 101"/>
                  <a:gd name="T3" fmla="*/ 28 h 46"/>
                  <a:gd name="T4" fmla="*/ 2 w 101"/>
                  <a:gd name="T5" fmla="*/ 32 h 46"/>
                  <a:gd name="T6" fmla="*/ 8 w 101"/>
                  <a:gd name="T7" fmla="*/ 39 h 46"/>
                  <a:gd name="T8" fmla="*/ 16 w 101"/>
                  <a:gd name="T9" fmla="*/ 46 h 46"/>
                  <a:gd name="T10" fmla="*/ 30 w 101"/>
                  <a:gd name="T11" fmla="*/ 46 h 46"/>
                  <a:gd name="T12" fmla="*/ 36 w 101"/>
                  <a:gd name="T13" fmla="*/ 42 h 46"/>
                  <a:gd name="T14" fmla="*/ 39 w 101"/>
                  <a:gd name="T15" fmla="*/ 36 h 46"/>
                  <a:gd name="T16" fmla="*/ 50 w 101"/>
                  <a:gd name="T17" fmla="*/ 35 h 46"/>
                  <a:gd name="T18" fmla="*/ 56 w 101"/>
                  <a:gd name="T19" fmla="*/ 34 h 46"/>
                  <a:gd name="T20" fmla="*/ 63 w 101"/>
                  <a:gd name="T21" fmla="*/ 31 h 46"/>
                  <a:gd name="T22" fmla="*/ 69 w 101"/>
                  <a:gd name="T23" fmla="*/ 25 h 46"/>
                  <a:gd name="T24" fmla="*/ 77 w 101"/>
                  <a:gd name="T25" fmla="*/ 27 h 46"/>
                  <a:gd name="T26" fmla="*/ 83 w 101"/>
                  <a:gd name="T27" fmla="*/ 26 h 46"/>
                  <a:gd name="T28" fmla="*/ 87 w 101"/>
                  <a:gd name="T29" fmla="*/ 28 h 46"/>
                  <a:gd name="T30" fmla="*/ 95 w 101"/>
                  <a:gd name="T31" fmla="*/ 30 h 46"/>
                  <a:gd name="T32" fmla="*/ 96 w 101"/>
                  <a:gd name="T33" fmla="*/ 23 h 46"/>
                  <a:gd name="T34" fmla="*/ 100 w 101"/>
                  <a:gd name="T35" fmla="*/ 17 h 46"/>
                  <a:gd name="T36" fmla="*/ 101 w 101"/>
                  <a:gd name="T37" fmla="*/ 13 h 46"/>
                  <a:gd name="T38" fmla="*/ 91 w 101"/>
                  <a:gd name="T39" fmla="*/ 7 h 46"/>
                  <a:gd name="T40" fmla="*/ 87 w 101"/>
                  <a:gd name="T41" fmla="*/ 4 h 46"/>
                  <a:gd name="T42" fmla="*/ 80 w 101"/>
                  <a:gd name="T43" fmla="*/ 3 h 46"/>
                  <a:gd name="T44" fmla="*/ 74 w 101"/>
                  <a:gd name="T45" fmla="*/ 6 h 46"/>
                  <a:gd name="T46" fmla="*/ 69 w 101"/>
                  <a:gd name="T47" fmla="*/ 5 h 46"/>
                  <a:gd name="T48" fmla="*/ 63 w 101"/>
                  <a:gd name="T49" fmla="*/ 5 h 46"/>
                  <a:gd name="T50" fmla="*/ 57 w 101"/>
                  <a:gd name="T51" fmla="*/ 8 h 46"/>
                  <a:gd name="T52" fmla="*/ 53 w 101"/>
                  <a:gd name="T53" fmla="*/ 8 h 46"/>
                  <a:gd name="T54" fmla="*/ 50 w 101"/>
                  <a:gd name="T55" fmla="*/ 5 h 46"/>
                  <a:gd name="T56" fmla="*/ 47 w 101"/>
                  <a:gd name="T57" fmla="*/ 1 h 46"/>
                  <a:gd name="T58" fmla="*/ 43 w 101"/>
                  <a:gd name="T59" fmla="*/ 2 h 46"/>
                  <a:gd name="T60" fmla="*/ 38 w 101"/>
                  <a:gd name="T61" fmla="*/ 4 h 46"/>
                  <a:gd name="T62" fmla="*/ 36 w 101"/>
                  <a:gd name="T63" fmla="*/ 2 h 46"/>
                  <a:gd name="T64" fmla="*/ 32 w 101"/>
                  <a:gd name="T65" fmla="*/ 3 h 46"/>
                  <a:gd name="T66" fmla="*/ 29 w 101"/>
                  <a:gd name="T67" fmla="*/ 5 h 46"/>
                  <a:gd name="T68" fmla="*/ 23 w 101"/>
                  <a:gd name="T69" fmla="*/ 8 h 46"/>
                  <a:gd name="T70" fmla="*/ 22 w 101"/>
                  <a:gd name="T71" fmla="*/ 13 h 46"/>
                  <a:gd name="T72" fmla="*/ 15 w 101"/>
                  <a:gd name="T73" fmla="*/ 17 h 46"/>
                  <a:gd name="T74" fmla="*/ 7 w 101"/>
                  <a:gd name="T75" fmla="*/ 18 h 46"/>
                  <a:gd name="T76" fmla="*/ 3 w 101"/>
                  <a:gd name="T77" fmla="*/ 2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1" h="46">
                    <a:moveTo>
                      <a:pt x="3" y="22"/>
                    </a:moveTo>
                    <a:cubicBezTo>
                      <a:pt x="3" y="22"/>
                      <a:pt x="3" y="26"/>
                      <a:pt x="2" y="28"/>
                    </a:cubicBezTo>
                    <a:cubicBezTo>
                      <a:pt x="1" y="30"/>
                      <a:pt x="0" y="30"/>
                      <a:pt x="2" y="32"/>
                    </a:cubicBezTo>
                    <a:cubicBezTo>
                      <a:pt x="4" y="34"/>
                      <a:pt x="5" y="37"/>
                      <a:pt x="8" y="39"/>
                    </a:cubicBezTo>
                    <a:cubicBezTo>
                      <a:pt x="10" y="40"/>
                      <a:pt x="14" y="45"/>
                      <a:pt x="16" y="46"/>
                    </a:cubicBezTo>
                    <a:cubicBezTo>
                      <a:pt x="19" y="46"/>
                      <a:pt x="26" y="46"/>
                      <a:pt x="30" y="46"/>
                    </a:cubicBezTo>
                    <a:cubicBezTo>
                      <a:pt x="34" y="45"/>
                      <a:pt x="37" y="45"/>
                      <a:pt x="36" y="42"/>
                    </a:cubicBezTo>
                    <a:cubicBezTo>
                      <a:pt x="35" y="40"/>
                      <a:pt x="35" y="36"/>
                      <a:pt x="39" y="36"/>
                    </a:cubicBezTo>
                    <a:cubicBezTo>
                      <a:pt x="43" y="37"/>
                      <a:pt x="47" y="36"/>
                      <a:pt x="50" y="35"/>
                    </a:cubicBezTo>
                    <a:cubicBezTo>
                      <a:pt x="52" y="34"/>
                      <a:pt x="53" y="32"/>
                      <a:pt x="56" y="34"/>
                    </a:cubicBezTo>
                    <a:cubicBezTo>
                      <a:pt x="59" y="36"/>
                      <a:pt x="63" y="34"/>
                      <a:pt x="63" y="31"/>
                    </a:cubicBezTo>
                    <a:cubicBezTo>
                      <a:pt x="64" y="28"/>
                      <a:pt x="66" y="25"/>
                      <a:pt x="69" y="25"/>
                    </a:cubicBezTo>
                    <a:cubicBezTo>
                      <a:pt x="72" y="24"/>
                      <a:pt x="75" y="27"/>
                      <a:pt x="77" y="27"/>
                    </a:cubicBezTo>
                    <a:cubicBezTo>
                      <a:pt x="78" y="26"/>
                      <a:pt x="80" y="26"/>
                      <a:pt x="83" y="26"/>
                    </a:cubicBezTo>
                    <a:cubicBezTo>
                      <a:pt x="85" y="25"/>
                      <a:pt x="85" y="26"/>
                      <a:pt x="87" y="28"/>
                    </a:cubicBezTo>
                    <a:cubicBezTo>
                      <a:pt x="90" y="31"/>
                      <a:pt x="89" y="32"/>
                      <a:pt x="95" y="30"/>
                    </a:cubicBezTo>
                    <a:cubicBezTo>
                      <a:pt x="95" y="30"/>
                      <a:pt x="95" y="25"/>
                      <a:pt x="96" y="23"/>
                    </a:cubicBezTo>
                    <a:cubicBezTo>
                      <a:pt x="98" y="22"/>
                      <a:pt x="99" y="19"/>
                      <a:pt x="100" y="17"/>
                    </a:cubicBezTo>
                    <a:cubicBezTo>
                      <a:pt x="101" y="14"/>
                      <a:pt x="101" y="13"/>
                      <a:pt x="101" y="13"/>
                    </a:cubicBezTo>
                    <a:cubicBezTo>
                      <a:pt x="101" y="13"/>
                      <a:pt x="93" y="10"/>
                      <a:pt x="91" y="7"/>
                    </a:cubicBezTo>
                    <a:cubicBezTo>
                      <a:pt x="89" y="5"/>
                      <a:pt x="89" y="5"/>
                      <a:pt x="87" y="4"/>
                    </a:cubicBezTo>
                    <a:cubicBezTo>
                      <a:pt x="86" y="4"/>
                      <a:pt x="83" y="4"/>
                      <a:pt x="80" y="3"/>
                    </a:cubicBezTo>
                    <a:cubicBezTo>
                      <a:pt x="78" y="3"/>
                      <a:pt x="76" y="4"/>
                      <a:pt x="74" y="6"/>
                    </a:cubicBezTo>
                    <a:cubicBezTo>
                      <a:pt x="72" y="8"/>
                      <a:pt x="70" y="6"/>
                      <a:pt x="69" y="5"/>
                    </a:cubicBezTo>
                    <a:cubicBezTo>
                      <a:pt x="67" y="5"/>
                      <a:pt x="65" y="5"/>
                      <a:pt x="63" y="5"/>
                    </a:cubicBezTo>
                    <a:cubicBezTo>
                      <a:pt x="61" y="5"/>
                      <a:pt x="60" y="6"/>
                      <a:pt x="57" y="8"/>
                    </a:cubicBezTo>
                    <a:cubicBezTo>
                      <a:pt x="55" y="11"/>
                      <a:pt x="53" y="9"/>
                      <a:pt x="53" y="8"/>
                    </a:cubicBezTo>
                    <a:cubicBezTo>
                      <a:pt x="52" y="6"/>
                      <a:pt x="53" y="5"/>
                      <a:pt x="50" y="5"/>
                    </a:cubicBezTo>
                    <a:cubicBezTo>
                      <a:pt x="48" y="5"/>
                      <a:pt x="48" y="2"/>
                      <a:pt x="47" y="1"/>
                    </a:cubicBezTo>
                    <a:cubicBezTo>
                      <a:pt x="47" y="0"/>
                      <a:pt x="45" y="0"/>
                      <a:pt x="43" y="2"/>
                    </a:cubicBezTo>
                    <a:cubicBezTo>
                      <a:pt x="41" y="4"/>
                      <a:pt x="38" y="6"/>
                      <a:pt x="38" y="4"/>
                    </a:cubicBezTo>
                    <a:cubicBezTo>
                      <a:pt x="38" y="2"/>
                      <a:pt x="38" y="2"/>
                      <a:pt x="36" y="2"/>
                    </a:cubicBezTo>
                    <a:cubicBezTo>
                      <a:pt x="36" y="2"/>
                      <a:pt x="34" y="2"/>
                      <a:pt x="32" y="3"/>
                    </a:cubicBezTo>
                    <a:cubicBezTo>
                      <a:pt x="30" y="3"/>
                      <a:pt x="31" y="4"/>
                      <a:pt x="29" y="5"/>
                    </a:cubicBezTo>
                    <a:cubicBezTo>
                      <a:pt x="27" y="6"/>
                      <a:pt x="24" y="6"/>
                      <a:pt x="23" y="8"/>
                    </a:cubicBezTo>
                    <a:cubicBezTo>
                      <a:pt x="22" y="9"/>
                      <a:pt x="23" y="12"/>
                      <a:pt x="22" y="13"/>
                    </a:cubicBezTo>
                    <a:cubicBezTo>
                      <a:pt x="21" y="14"/>
                      <a:pt x="18" y="16"/>
                      <a:pt x="15" y="17"/>
                    </a:cubicBezTo>
                    <a:cubicBezTo>
                      <a:pt x="12" y="19"/>
                      <a:pt x="10" y="19"/>
                      <a:pt x="7" y="18"/>
                    </a:cubicBezTo>
                    <a:cubicBezTo>
                      <a:pt x="4" y="17"/>
                      <a:pt x="4" y="21"/>
                      <a:pt x="3" y="22"/>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41" name="Freeform 62"/>
              <p:cNvSpPr>
                <a:spLocks/>
              </p:cNvSpPr>
              <p:nvPr/>
            </p:nvSpPr>
            <p:spPr bwMode="gray">
              <a:xfrm>
                <a:off x="2956" y="3053"/>
                <a:ext cx="171" cy="202"/>
              </a:xfrm>
              <a:custGeom>
                <a:avLst/>
                <a:gdLst>
                  <a:gd name="T0" fmla="*/ 0 w 65"/>
                  <a:gd name="T1" fmla="*/ 6 h 77"/>
                  <a:gd name="T2" fmla="*/ 5 w 65"/>
                  <a:gd name="T3" fmla="*/ 9 h 77"/>
                  <a:gd name="T4" fmla="*/ 9 w 65"/>
                  <a:gd name="T5" fmla="*/ 15 h 77"/>
                  <a:gd name="T6" fmla="*/ 14 w 65"/>
                  <a:gd name="T7" fmla="*/ 24 h 77"/>
                  <a:gd name="T8" fmla="*/ 18 w 65"/>
                  <a:gd name="T9" fmla="*/ 27 h 77"/>
                  <a:gd name="T10" fmla="*/ 20 w 65"/>
                  <a:gd name="T11" fmla="*/ 32 h 77"/>
                  <a:gd name="T12" fmla="*/ 24 w 65"/>
                  <a:gd name="T13" fmla="*/ 35 h 77"/>
                  <a:gd name="T14" fmla="*/ 28 w 65"/>
                  <a:gd name="T15" fmla="*/ 40 h 77"/>
                  <a:gd name="T16" fmla="*/ 31 w 65"/>
                  <a:gd name="T17" fmla="*/ 50 h 77"/>
                  <a:gd name="T18" fmla="*/ 30 w 65"/>
                  <a:gd name="T19" fmla="*/ 57 h 77"/>
                  <a:gd name="T20" fmla="*/ 30 w 65"/>
                  <a:gd name="T21" fmla="*/ 66 h 77"/>
                  <a:gd name="T22" fmla="*/ 31 w 65"/>
                  <a:gd name="T23" fmla="*/ 73 h 77"/>
                  <a:gd name="T24" fmla="*/ 32 w 65"/>
                  <a:gd name="T25" fmla="*/ 77 h 77"/>
                  <a:gd name="T26" fmla="*/ 38 w 65"/>
                  <a:gd name="T27" fmla="*/ 75 h 77"/>
                  <a:gd name="T28" fmla="*/ 38 w 65"/>
                  <a:gd name="T29" fmla="*/ 72 h 77"/>
                  <a:gd name="T30" fmla="*/ 41 w 65"/>
                  <a:gd name="T31" fmla="*/ 67 h 77"/>
                  <a:gd name="T32" fmla="*/ 45 w 65"/>
                  <a:gd name="T33" fmla="*/ 60 h 77"/>
                  <a:gd name="T34" fmla="*/ 44 w 65"/>
                  <a:gd name="T35" fmla="*/ 53 h 77"/>
                  <a:gd name="T36" fmla="*/ 47 w 65"/>
                  <a:gd name="T37" fmla="*/ 50 h 77"/>
                  <a:gd name="T38" fmla="*/ 51 w 65"/>
                  <a:gd name="T39" fmla="*/ 52 h 77"/>
                  <a:gd name="T40" fmla="*/ 53 w 65"/>
                  <a:gd name="T41" fmla="*/ 50 h 77"/>
                  <a:gd name="T42" fmla="*/ 57 w 65"/>
                  <a:gd name="T43" fmla="*/ 53 h 77"/>
                  <a:gd name="T44" fmla="*/ 59 w 65"/>
                  <a:gd name="T45" fmla="*/ 52 h 77"/>
                  <a:gd name="T46" fmla="*/ 64 w 65"/>
                  <a:gd name="T47" fmla="*/ 52 h 77"/>
                  <a:gd name="T48" fmla="*/ 63 w 65"/>
                  <a:gd name="T49" fmla="*/ 50 h 77"/>
                  <a:gd name="T50" fmla="*/ 62 w 65"/>
                  <a:gd name="T51" fmla="*/ 45 h 77"/>
                  <a:gd name="T52" fmla="*/ 57 w 65"/>
                  <a:gd name="T53" fmla="*/ 41 h 77"/>
                  <a:gd name="T54" fmla="*/ 54 w 65"/>
                  <a:gd name="T55" fmla="*/ 33 h 77"/>
                  <a:gd name="T56" fmla="*/ 51 w 65"/>
                  <a:gd name="T57" fmla="*/ 30 h 77"/>
                  <a:gd name="T58" fmla="*/ 47 w 65"/>
                  <a:gd name="T59" fmla="*/ 27 h 77"/>
                  <a:gd name="T60" fmla="*/ 46 w 65"/>
                  <a:gd name="T61" fmla="*/ 20 h 77"/>
                  <a:gd name="T62" fmla="*/ 44 w 65"/>
                  <a:gd name="T63" fmla="*/ 15 h 77"/>
                  <a:gd name="T64" fmla="*/ 40 w 65"/>
                  <a:gd name="T65" fmla="*/ 11 h 77"/>
                  <a:gd name="T66" fmla="*/ 34 w 65"/>
                  <a:gd name="T67" fmla="*/ 9 h 77"/>
                  <a:gd name="T68" fmla="*/ 31 w 65"/>
                  <a:gd name="T69" fmla="*/ 9 h 77"/>
                  <a:gd name="T70" fmla="*/ 24 w 65"/>
                  <a:gd name="T71" fmla="*/ 5 h 77"/>
                  <a:gd name="T72" fmla="*/ 16 w 65"/>
                  <a:gd name="T73" fmla="*/ 1 h 77"/>
                  <a:gd name="T74" fmla="*/ 6 w 65"/>
                  <a:gd name="T75" fmla="*/ 3 h 77"/>
                  <a:gd name="T76" fmla="*/ 1 w 65"/>
                  <a:gd name="T77" fmla="*/ 5 h 77"/>
                  <a:gd name="T78" fmla="*/ 0 w 65"/>
                  <a:gd name="T79" fmla="*/ 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5" h="77">
                    <a:moveTo>
                      <a:pt x="0" y="6"/>
                    </a:moveTo>
                    <a:cubicBezTo>
                      <a:pt x="0" y="6"/>
                      <a:pt x="3" y="7"/>
                      <a:pt x="5" y="9"/>
                    </a:cubicBezTo>
                    <a:cubicBezTo>
                      <a:pt x="7" y="10"/>
                      <a:pt x="8" y="12"/>
                      <a:pt x="9" y="15"/>
                    </a:cubicBezTo>
                    <a:cubicBezTo>
                      <a:pt x="10" y="17"/>
                      <a:pt x="12" y="22"/>
                      <a:pt x="14" y="24"/>
                    </a:cubicBezTo>
                    <a:cubicBezTo>
                      <a:pt x="16" y="26"/>
                      <a:pt x="18" y="26"/>
                      <a:pt x="18" y="27"/>
                    </a:cubicBezTo>
                    <a:cubicBezTo>
                      <a:pt x="18" y="28"/>
                      <a:pt x="19" y="30"/>
                      <a:pt x="20" y="32"/>
                    </a:cubicBezTo>
                    <a:cubicBezTo>
                      <a:pt x="21" y="33"/>
                      <a:pt x="21" y="33"/>
                      <a:pt x="24" y="35"/>
                    </a:cubicBezTo>
                    <a:cubicBezTo>
                      <a:pt x="26" y="37"/>
                      <a:pt x="27" y="38"/>
                      <a:pt x="28" y="40"/>
                    </a:cubicBezTo>
                    <a:cubicBezTo>
                      <a:pt x="30" y="43"/>
                      <a:pt x="30" y="47"/>
                      <a:pt x="31" y="50"/>
                    </a:cubicBezTo>
                    <a:cubicBezTo>
                      <a:pt x="31" y="53"/>
                      <a:pt x="30" y="55"/>
                      <a:pt x="30" y="57"/>
                    </a:cubicBezTo>
                    <a:cubicBezTo>
                      <a:pt x="29" y="60"/>
                      <a:pt x="29" y="63"/>
                      <a:pt x="30" y="66"/>
                    </a:cubicBezTo>
                    <a:cubicBezTo>
                      <a:pt x="31" y="70"/>
                      <a:pt x="32" y="71"/>
                      <a:pt x="31" y="73"/>
                    </a:cubicBezTo>
                    <a:cubicBezTo>
                      <a:pt x="30" y="74"/>
                      <a:pt x="31" y="75"/>
                      <a:pt x="32" y="77"/>
                    </a:cubicBezTo>
                    <a:cubicBezTo>
                      <a:pt x="32" y="77"/>
                      <a:pt x="36" y="75"/>
                      <a:pt x="38" y="75"/>
                    </a:cubicBezTo>
                    <a:cubicBezTo>
                      <a:pt x="39" y="75"/>
                      <a:pt x="38" y="73"/>
                      <a:pt x="38" y="72"/>
                    </a:cubicBezTo>
                    <a:cubicBezTo>
                      <a:pt x="38" y="70"/>
                      <a:pt x="40" y="69"/>
                      <a:pt x="41" y="67"/>
                    </a:cubicBezTo>
                    <a:cubicBezTo>
                      <a:pt x="43" y="65"/>
                      <a:pt x="45" y="61"/>
                      <a:pt x="45" y="60"/>
                    </a:cubicBezTo>
                    <a:cubicBezTo>
                      <a:pt x="46" y="58"/>
                      <a:pt x="44" y="55"/>
                      <a:pt x="44" y="53"/>
                    </a:cubicBezTo>
                    <a:cubicBezTo>
                      <a:pt x="43" y="52"/>
                      <a:pt x="45" y="51"/>
                      <a:pt x="47" y="50"/>
                    </a:cubicBezTo>
                    <a:cubicBezTo>
                      <a:pt x="49" y="49"/>
                      <a:pt x="49" y="51"/>
                      <a:pt x="51" y="52"/>
                    </a:cubicBezTo>
                    <a:cubicBezTo>
                      <a:pt x="52" y="54"/>
                      <a:pt x="52" y="50"/>
                      <a:pt x="53" y="50"/>
                    </a:cubicBezTo>
                    <a:cubicBezTo>
                      <a:pt x="54" y="50"/>
                      <a:pt x="56" y="52"/>
                      <a:pt x="57" y="53"/>
                    </a:cubicBezTo>
                    <a:cubicBezTo>
                      <a:pt x="58" y="53"/>
                      <a:pt x="59" y="51"/>
                      <a:pt x="59" y="52"/>
                    </a:cubicBezTo>
                    <a:cubicBezTo>
                      <a:pt x="60" y="54"/>
                      <a:pt x="62" y="53"/>
                      <a:pt x="64" y="52"/>
                    </a:cubicBezTo>
                    <a:cubicBezTo>
                      <a:pt x="65" y="52"/>
                      <a:pt x="65" y="52"/>
                      <a:pt x="63" y="50"/>
                    </a:cubicBezTo>
                    <a:cubicBezTo>
                      <a:pt x="62" y="48"/>
                      <a:pt x="62" y="47"/>
                      <a:pt x="62" y="45"/>
                    </a:cubicBezTo>
                    <a:cubicBezTo>
                      <a:pt x="62" y="43"/>
                      <a:pt x="60" y="43"/>
                      <a:pt x="57" y="41"/>
                    </a:cubicBezTo>
                    <a:cubicBezTo>
                      <a:pt x="55" y="38"/>
                      <a:pt x="54" y="35"/>
                      <a:pt x="54" y="33"/>
                    </a:cubicBezTo>
                    <a:cubicBezTo>
                      <a:pt x="55" y="31"/>
                      <a:pt x="53" y="29"/>
                      <a:pt x="51" y="30"/>
                    </a:cubicBezTo>
                    <a:cubicBezTo>
                      <a:pt x="49" y="31"/>
                      <a:pt x="50" y="28"/>
                      <a:pt x="47" y="27"/>
                    </a:cubicBezTo>
                    <a:cubicBezTo>
                      <a:pt x="44" y="26"/>
                      <a:pt x="45" y="23"/>
                      <a:pt x="46" y="20"/>
                    </a:cubicBezTo>
                    <a:cubicBezTo>
                      <a:pt x="46" y="18"/>
                      <a:pt x="48" y="16"/>
                      <a:pt x="44" y="15"/>
                    </a:cubicBezTo>
                    <a:cubicBezTo>
                      <a:pt x="41" y="15"/>
                      <a:pt x="42" y="13"/>
                      <a:pt x="40" y="11"/>
                    </a:cubicBezTo>
                    <a:cubicBezTo>
                      <a:pt x="38" y="10"/>
                      <a:pt x="35" y="8"/>
                      <a:pt x="34" y="9"/>
                    </a:cubicBezTo>
                    <a:cubicBezTo>
                      <a:pt x="33" y="11"/>
                      <a:pt x="31" y="12"/>
                      <a:pt x="31" y="9"/>
                    </a:cubicBezTo>
                    <a:cubicBezTo>
                      <a:pt x="31" y="7"/>
                      <a:pt x="25" y="7"/>
                      <a:pt x="24" y="5"/>
                    </a:cubicBezTo>
                    <a:cubicBezTo>
                      <a:pt x="22" y="3"/>
                      <a:pt x="19" y="1"/>
                      <a:pt x="16" y="1"/>
                    </a:cubicBezTo>
                    <a:cubicBezTo>
                      <a:pt x="14" y="0"/>
                      <a:pt x="9" y="2"/>
                      <a:pt x="6" y="3"/>
                    </a:cubicBezTo>
                    <a:cubicBezTo>
                      <a:pt x="4" y="3"/>
                      <a:pt x="1" y="3"/>
                      <a:pt x="1" y="5"/>
                    </a:cubicBezTo>
                    <a:cubicBezTo>
                      <a:pt x="0" y="5"/>
                      <a:pt x="0" y="6"/>
                      <a:pt x="0" y="6"/>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42" name="Freeform 63"/>
              <p:cNvSpPr>
                <a:spLocks/>
              </p:cNvSpPr>
              <p:nvPr/>
            </p:nvSpPr>
            <p:spPr bwMode="gray">
              <a:xfrm>
                <a:off x="2662" y="3068"/>
                <a:ext cx="454" cy="316"/>
              </a:xfrm>
              <a:custGeom>
                <a:avLst/>
                <a:gdLst>
                  <a:gd name="T0" fmla="*/ 42 w 173"/>
                  <a:gd name="T1" fmla="*/ 10 h 120"/>
                  <a:gd name="T2" fmla="*/ 33 w 173"/>
                  <a:gd name="T3" fmla="*/ 15 h 120"/>
                  <a:gd name="T4" fmla="*/ 29 w 173"/>
                  <a:gd name="T5" fmla="*/ 22 h 120"/>
                  <a:gd name="T6" fmla="*/ 23 w 173"/>
                  <a:gd name="T7" fmla="*/ 34 h 120"/>
                  <a:gd name="T8" fmla="*/ 18 w 173"/>
                  <a:gd name="T9" fmla="*/ 41 h 120"/>
                  <a:gd name="T10" fmla="*/ 13 w 173"/>
                  <a:gd name="T11" fmla="*/ 50 h 120"/>
                  <a:gd name="T12" fmla="*/ 5 w 173"/>
                  <a:gd name="T13" fmla="*/ 53 h 120"/>
                  <a:gd name="T14" fmla="*/ 3 w 173"/>
                  <a:gd name="T15" fmla="*/ 59 h 120"/>
                  <a:gd name="T16" fmla="*/ 9 w 173"/>
                  <a:gd name="T17" fmla="*/ 65 h 120"/>
                  <a:gd name="T18" fmla="*/ 17 w 173"/>
                  <a:gd name="T19" fmla="*/ 78 h 120"/>
                  <a:gd name="T20" fmla="*/ 22 w 173"/>
                  <a:gd name="T21" fmla="*/ 84 h 120"/>
                  <a:gd name="T22" fmla="*/ 23 w 173"/>
                  <a:gd name="T23" fmla="*/ 89 h 120"/>
                  <a:gd name="T24" fmla="*/ 34 w 173"/>
                  <a:gd name="T25" fmla="*/ 93 h 120"/>
                  <a:gd name="T26" fmla="*/ 42 w 173"/>
                  <a:gd name="T27" fmla="*/ 91 h 120"/>
                  <a:gd name="T28" fmla="*/ 42 w 173"/>
                  <a:gd name="T29" fmla="*/ 97 h 120"/>
                  <a:gd name="T30" fmla="*/ 51 w 173"/>
                  <a:gd name="T31" fmla="*/ 107 h 120"/>
                  <a:gd name="T32" fmla="*/ 55 w 173"/>
                  <a:gd name="T33" fmla="*/ 114 h 120"/>
                  <a:gd name="T34" fmla="*/ 69 w 173"/>
                  <a:gd name="T35" fmla="*/ 116 h 120"/>
                  <a:gd name="T36" fmla="*/ 82 w 173"/>
                  <a:gd name="T37" fmla="*/ 116 h 120"/>
                  <a:gd name="T38" fmla="*/ 99 w 173"/>
                  <a:gd name="T39" fmla="*/ 118 h 120"/>
                  <a:gd name="T40" fmla="*/ 114 w 173"/>
                  <a:gd name="T41" fmla="*/ 109 h 120"/>
                  <a:gd name="T42" fmla="*/ 130 w 173"/>
                  <a:gd name="T43" fmla="*/ 106 h 120"/>
                  <a:gd name="T44" fmla="*/ 139 w 173"/>
                  <a:gd name="T45" fmla="*/ 110 h 120"/>
                  <a:gd name="T46" fmla="*/ 151 w 173"/>
                  <a:gd name="T47" fmla="*/ 116 h 120"/>
                  <a:gd name="T48" fmla="*/ 156 w 173"/>
                  <a:gd name="T49" fmla="*/ 109 h 120"/>
                  <a:gd name="T50" fmla="*/ 159 w 173"/>
                  <a:gd name="T51" fmla="*/ 94 h 120"/>
                  <a:gd name="T52" fmla="*/ 159 w 173"/>
                  <a:gd name="T53" fmla="*/ 87 h 120"/>
                  <a:gd name="T54" fmla="*/ 161 w 173"/>
                  <a:gd name="T55" fmla="*/ 87 h 120"/>
                  <a:gd name="T56" fmla="*/ 171 w 173"/>
                  <a:gd name="T57" fmla="*/ 87 h 120"/>
                  <a:gd name="T58" fmla="*/ 170 w 173"/>
                  <a:gd name="T59" fmla="*/ 73 h 120"/>
                  <a:gd name="T60" fmla="*/ 156 w 173"/>
                  <a:gd name="T61" fmla="*/ 75 h 120"/>
                  <a:gd name="T62" fmla="*/ 144 w 173"/>
                  <a:gd name="T63" fmla="*/ 71 h 120"/>
                  <a:gd name="T64" fmla="*/ 142 w 173"/>
                  <a:gd name="T65" fmla="*/ 60 h 120"/>
                  <a:gd name="T66" fmla="*/ 143 w 173"/>
                  <a:gd name="T67" fmla="*/ 44 h 120"/>
                  <a:gd name="T68" fmla="*/ 136 w 173"/>
                  <a:gd name="T69" fmla="*/ 29 h 120"/>
                  <a:gd name="T70" fmla="*/ 130 w 173"/>
                  <a:gd name="T71" fmla="*/ 21 h 120"/>
                  <a:gd name="T72" fmla="*/ 121 w 173"/>
                  <a:gd name="T73" fmla="*/ 9 h 120"/>
                  <a:gd name="T74" fmla="*/ 112 w 173"/>
                  <a:gd name="T75" fmla="*/ 0 h 120"/>
                  <a:gd name="T76" fmla="*/ 104 w 173"/>
                  <a:gd name="T77" fmla="*/ 5 h 120"/>
                  <a:gd name="T78" fmla="*/ 86 w 173"/>
                  <a:gd name="T79" fmla="*/ 9 h 120"/>
                  <a:gd name="T80" fmla="*/ 75 w 173"/>
                  <a:gd name="T81" fmla="*/ 8 h 120"/>
                  <a:gd name="T82" fmla="*/ 57 w 173"/>
                  <a:gd name="T83" fmla="*/ 6 h 120"/>
                  <a:gd name="T84" fmla="*/ 45 w 173"/>
                  <a:gd name="T85" fmla="*/ 6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73" h="120">
                    <a:moveTo>
                      <a:pt x="45" y="6"/>
                    </a:moveTo>
                    <a:cubicBezTo>
                      <a:pt x="45" y="6"/>
                      <a:pt x="43" y="9"/>
                      <a:pt x="42" y="10"/>
                    </a:cubicBezTo>
                    <a:cubicBezTo>
                      <a:pt x="41" y="10"/>
                      <a:pt x="39" y="12"/>
                      <a:pt x="37" y="12"/>
                    </a:cubicBezTo>
                    <a:cubicBezTo>
                      <a:pt x="35" y="12"/>
                      <a:pt x="34" y="13"/>
                      <a:pt x="33" y="15"/>
                    </a:cubicBezTo>
                    <a:cubicBezTo>
                      <a:pt x="31" y="16"/>
                      <a:pt x="30" y="16"/>
                      <a:pt x="29" y="17"/>
                    </a:cubicBezTo>
                    <a:cubicBezTo>
                      <a:pt x="29" y="18"/>
                      <a:pt x="30" y="20"/>
                      <a:pt x="29" y="22"/>
                    </a:cubicBezTo>
                    <a:cubicBezTo>
                      <a:pt x="29" y="23"/>
                      <a:pt x="27" y="26"/>
                      <a:pt x="25" y="27"/>
                    </a:cubicBezTo>
                    <a:cubicBezTo>
                      <a:pt x="24" y="29"/>
                      <a:pt x="24" y="33"/>
                      <a:pt x="23" y="34"/>
                    </a:cubicBezTo>
                    <a:cubicBezTo>
                      <a:pt x="21" y="35"/>
                      <a:pt x="20" y="37"/>
                      <a:pt x="20" y="39"/>
                    </a:cubicBezTo>
                    <a:cubicBezTo>
                      <a:pt x="20" y="41"/>
                      <a:pt x="19" y="40"/>
                      <a:pt x="18" y="41"/>
                    </a:cubicBezTo>
                    <a:cubicBezTo>
                      <a:pt x="17" y="42"/>
                      <a:pt x="17" y="44"/>
                      <a:pt x="16" y="46"/>
                    </a:cubicBezTo>
                    <a:cubicBezTo>
                      <a:pt x="15" y="48"/>
                      <a:pt x="15" y="50"/>
                      <a:pt x="13" y="50"/>
                    </a:cubicBezTo>
                    <a:cubicBezTo>
                      <a:pt x="12" y="50"/>
                      <a:pt x="10" y="50"/>
                      <a:pt x="9" y="51"/>
                    </a:cubicBezTo>
                    <a:cubicBezTo>
                      <a:pt x="8" y="52"/>
                      <a:pt x="6" y="53"/>
                      <a:pt x="5" y="53"/>
                    </a:cubicBezTo>
                    <a:cubicBezTo>
                      <a:pt x="3" y="53"/>
                      <a:pt x="0" y="55"/>
                      <a:pt x="0" y="55"/>
                    </a:cubicBezTo>
                    <a:cubicBezTo>
                      <a:pt x="0" y="55"/>
                      <a:pt x="1" y="57"/>
                      <a:pt x="3" y="59"/>
                    </a:cubicBezTo>
                    <a:cubicBezTo>
                      <a:pt x="5" y="60"/>
                      <a:pt x="7" y="62"/>
                      <a:pt x="8" y="62"/>
                    </a:cubicBezTo>
                    <a:cubicBezTo>
                      <a:pt x="9" y="63"/>
                      <a:pt x="9" y="63"/>
                      <a:pt x="9" y="65"/>
                    </a:cubicBezTo>
                    <a:cubicBezTo>
                      <a:pt x="10" y="66"/>
                      <a:pt x="9" y="69"/>
                      <a:pt x="11" y="71"/>
                    </a:cubicBezTo>
                    <a:cubicBezTo>
                      <a:pt x="14" y="74"/>
                      <a:pt x="15" y="76"/>
                      <a:pt x="17" y="78"/>
                    </a:cubicBezTo>
                    <a:cubicBezTo>
                      <a:pt x="20" y="79"/>
                      <a:pt x="21" y="77"/>
                      <a:pt x="21" y="80"/>
                    </a:cubicBezTo>
                    <a:cubicBezTo>
                      <a:pt x="22" y="83"/>
                      <a:pt x="20" y="82"/>
                      <a:pt x="22" y="84"/>
                    </a:cubicBezTo>
                    <a:cubicBezTo>
                      <a:pt x="23" y="85"/>
                      <a:pt x="23" y="86"/>
                      <a:pt x="22" y="87"/>
                    </a:cubicBezTo>
                    <a:cubicBezTo>
                      <a:pt x="21" y="88"/>
                      <a:pt x="21" y="87"/>
                      <a:pt x="23" y="89"/>
                    </a:cubicBezTo>
                    <a:cubicBezTo>
                      <a:pt x="26" y="90"/>
                      <a:pt x="26" y="94"/>
                      <a:pt x="28" y="93"/>
                    </a:cubicBezTo>
                    <a:cubicBezTo>
                      <a:pt x="31" y="92"/>
                      <a:pt x="32" y="90"/>
                      <a:pt x="34" y="93"/>
                    </a:cubicBezTo>
                    <a:cubicBezTo>
                      <a:pt x="35" y="96"/>
                      <a:pt x="35" y="98"/>
                      <a:pt x="36" y="96"/>
                    </a:cubicBezTo>
                    <a:cubicBezTo>
                      <a:pt x="37" y="94"/>
                      <a:pt x="40" y="91"/>
                      <a:pt x="42" y="91"/>
                    </a:cubicBezTo>
                    <a:cubicBezTo>
                      <a:pt x="44" y="92"/>
                      <a:pt x="45" y="93"/>
                      <a:pt x="46" y="94"/>
                    </a:cubicBezTo>
                    <a:cubicBezTo>
                      <a:pt x="46" y="94"/>
                      <a:pt x="44" y="95"/>
                      <a:pt x="42" y="97"/>
                    </a:cubicBezTo>
                    <a:cubicBezTo>
                      <a:pt x="41" y="98"/>
                      <a:pt x="44" y="102"/>
                      <a:pt x="46" y="103"/>
                    </a:cubicBezTo>
                    <a:cubicBezTo>
                      <a:pt x="48" y="105"/>
                      <a:pt x="52" y="106"/>
                      <a:pt x="51" y="107"/>
                    </a:cubicBezTo>
                    <a:cubicBezTo>
                      <a:pt x="50" y="108"/>
                      <a:pt x="49" y="111"/>
                      <a:pt x="50" y="112"/>
                    </a:cubicBezTo>
                    <a:cubicBezTo>
                      <a:pt x="50" y="114"/>
                      <a:pt x="53" y="115"/>
                      <a:pt x="55" y="114"/>
                    </a:cubicBezTo>
                    <a:cubicBezTo>
                      <a:pt x="56" y="112"/>
                      <a:pt x="59" y="113"/>
                      <a:pt x="61" y="114"/>
                    </a:cubicBezTo>
                    <a:cubicBezTo>
                      <a:pt x="64" y="114"/>
                      <a:pt x="67" y="115"/>
                      <a:pt x="69" y="116"/>
                    </a:cubicBezTo>
                    <a:cubicBezTo>
                      <a:pt x="72" y="117"/>
                      <a:pt x="74" y="118"/>
                      <a:pt x="76" y="117"/>
                    </a:cubicBezTo>
                    <a:cubicBezTo>
                      <a:pt x="78" y="116"/>
                      <a:pt x="79" y="115"/>
                      <a:pt x="82" y="116"/>
                    </a:cubicBezTo>
                    <a:cubicBezTo>
                      <a:pt x="85" y="117"/>
                      <a:pt x="89" y="117"/>
                      <a:pt x="92" y="117"/>
                    </a:cubicBezTo>
                    <a:cubicBezTo>
                      <a:pt x="95" y="118"/>
                      <a:pt x="96" y="120"/>
                      <a:pt x="99" y="118"/>
                    </a:cubicBezTo>
                    <a:cubicBezTo>
                      <a:pt x="103" y="116"/>
                      <a:pt x="106" y="113"/>
                      <a:pt x="108" y="111"/>
                    </a:cubicBezTo>
                    <a:cubicBezTo>
                      <a:pt x="110" y="110"/>
                      <a:pt x="111" y="109"/>
                      <a:pt x="114" y="109"/>
                    </a:cubicBezTo>
                    <a:cubicBezTo>
                      <a:pt x="118" y="109"/>
                      <a:pt x="120" y="107"/>
                      <a:pt x="123" y="106"/>
                    </a:cubicBezTo>
                    <a:cubicBezTo>
                      <a:pt x="126" y="105"/>
                      <a:pt x="127" y="105"/>
                      <a:pt x="130" y="106"/>
                    </a:cubicBezTo>
                    <a:cubicBezTo>
                      <a:pt x="133" y="107"/>
                      <a:pt x="134" y="109"/>
                      <a:pt x="135" y="109"/>
                    </a:cubicBezTo>
                    <a:cubicBezTo>
                      <a:pt x="137" y="109"/>
                      <a:pt x="136" y="108"/>
                      <a:pt x="139" y="110"/>
                    </a:cubicBezTo>
                    <a:cubicBezTo>
                      <a:pt x="141" y="111"/>
                      <a:pt x="141" y="109"/>
                      <a:pt x="144" y="111"/>
                    </a:cubicBezTo>
                    <a:cubicBezTo>
                      <a:pt x="146" y="113"/>
                      <a:pt x="148" y="116"/>
                      <a:pt x="151" y="116"/>
                    </a:cubicBezTo>
                    <a:cubicBezTo>
                      <a:pt x="154" y="117"/>
                      <a:pt x="156" y="116"/>
                      <a:pt x="156" y="116"/>
                    </a:cubicBezTo>
                    <a:cubicBezTo>
                      <a:pt x="156" y="116"/>
                      <a:pt x="156" y="111"/>
                      <a:pt x="156" y="109"/>
                    </a:cubicBezTo>
                    <a:cubicBezTo>
                      <a:pt x="156" y="106"/>
                      <a:pt x="154" y="104"/>
                      <a:pt x="155" y="101"/>
                    </a:cubicBezTo>
                    <a:cubicBezTo>
                      <a:pt x="157" y="98"/>
                      <a:pt x="160" y="95"/>
                      <a:pt x="159" y="94"/>
                    </a:cubicBezTo>
                    <a:cubicBezTo>
                      <a:pt x="159" y="93"/>
                      <a:pt x="157" y="95"/>
                      <a:pt x="157" y="93"/>
                    </a:cubicBezTo>
                    <a:cubicBezTo>
                      <a:pt x="157" y="90"/>
                      <a:pt x="159" y="91"/>
                      <a:pt x="159" y="87"/>
                    </a:cubicBezTo>
                    <a:cubicBezTo>
                      <a:pt x="158" y="84"/>
                      <a:pt x="159" y="84"/>
                      <a:pt x="160" y="83"/>
                    </a:cubicBezTo>
                    <a:cubicBezTo>
                      <a:pt x="161" y="83"/>
                      <a:pt x="162" y="85"/>
                      <a:pt x="161" y="87"/>
                    </a:cubicBezTo>
                    <a:cubicBezTo>
                      <a:pt x="161" y="90"/>
                      <a:pt x="161" y="90"/>
                      <a:pt x="163" y="89"/>
                    </a:cubicBezTo>
                    <a:cubicBezTo>
                      <a:pt x="166" y="88"/>
                      <a:pt x="168" y="89"/>
                      <a:pt x="171" y="87"/>
                    </a:cubicBezTo>
                    <a:cubicBezTo>
                      <a:pt x="173" y="85"/>
                      <a:pt x="172" y="77"/>
                      <a:pt x="172" y="77"/>
                    </a:cubicBezTo>
                    <a:cubicBezTo>
                      <a:pt x="172" y="77"/>
                      <a:pt x="171" y="75"/>
                      <a:pt x="170" y="73"/>
                    </a:cubicBezTo>
                    <a:cubicBezTo>
                      <a:pt x="169" y="72"/>
                      <a:pt x="167" y="71"/>
                      <a:pt x="165" y="72"/>
                    </a:cubicBezTo>
                    <a:cubicBezTo>
                      <a:pt x="163" y="73"/>
                      <a:pt x="158" y="74"/>
                      <a:pt x="156" y="75"/>
                    </a:cubicBezTo>
                    <a:cubicBezTo>
                      <a:pt x="154" y="77"/>
                      <a:pt x="151" y="77"/>
                      <a:pt x="149" y="76"/>
                    </a:cubicBezTo>
                    <a:cubicBezTo>
                      <a:pt x="148" y="76"/>
                      <a:pt x="144" y="71"/>
                      <a:pt x="144" y="71"/>
                    </a:cubicBezTo>
                    <a:cubicBezTo>
                      <a:pt x="143" y="69"/>
                      <a:pt x="142" y="68"/>
                      <a:pt x="143" y="67"/>
                    </a:cubicBezTo>
                    <a:cubicBezTo>
                      <a:pt x="144" y="65"/>
                      <a:pt x="143" y="64"/>
                      <a:pt x="142" y="60"/>
                    </a:cubicBezTo>
                    <a:cubicBezTo>
                      <a:pt x="141" y="57"/>
                      <a:pt x="141" y="54"/>
                      <a:pt x="142" y="51"/>
                    </a:cubicBezTo>
                    <a:cubicBezTo>
                      <a:pt x="142" y="49"/>
                      <a:pt x="143" y="47"/>
                      <a:pt x="143" y="44"/>
                    </a:cubicBezTo>
                    <a:cubicBezTo>
                      <a:pt x="142" y="41"/>
                      <a:pt x="142" y="37"/>
                      <a:pt x="140" y="34"/>
                    </a:cubicBezTo>
                    <a:cubicBezTo>
                      <a:pt x="139" y="32"/>
                      <a:pt x="138" y="31"/>
                      <a:pt x="136" y="29"/>
                    </a:cubicBezTo>
                    <a:cubicBezTo>
                      <a:pt x="133" y="27"/>
                      <a:pt x="133" y="27"/>
                      <a:pt x="132" y="26"/>
                    </a:cubicBezTo>
                    <a:cubicBezTo>
                      <a:pt x="131" y="24"/>
                      <a:pt x="130" y="22"/>
                      <a:pt x="130" y="21"/>
                    </a:cubicBezTo>
                    <a:cubicBezTo>
                      <a:pt x="130" y="20"/>
                      <a:pt x="128" y="20"/>
                      <a:pt x="126" y="18"/>
                    </a:cubicBezTo>
                    <a:cubicBezTo>
                      <a:pt x="124" y="16"/>
                      <a:pt x="122" y="11"/>
                      <a:pt x="121" y="9"/>
                    </a:cubicBezTo>
                    <a:cubicBezTo>
                      <a:pt x="120" y="6"/>
                      <a:pt x="119" y="4"/>
                      <a:pt x="117" y="3"/>
                    </a:cubicBezTo>
                    <a:cubicBezTo>
                      <a:pt x="115" y="1"/>
                      <a:pt x="112" y="0"/>
                      <a:pt x="112" y="0"/>
                    </a:cubicBezTo>
                    <a:cubicBezTo>
                      <a:pt x="111" y="0"/>
                      <a:pt x="110" y="0"/>
                      <a:pt x="107" y="1"/>
                    </a:cubicBezTo>
                    <a:cubicBezTo>
                      <a:pt x="103" y="1"/>
                      <a:pt x="104" y="3"/>
                      <a:pt x="104" y="5"/>
                    </a:cubicBezTo>
                    <a:cubicBezTo>
                      <a:pt x="103" y="8"/>
                      <a:pt x="102" y="7"/>
                      <a:pt x="97" y="8"/>
                    </a:cubicBezTo>
                    <a:cubicBezTo>
                      <a:pt x="92" y="8"/>
                      <a:pt x="89" y="8"/>
                      <a:pt x="86" y="9"/>
                    </a:cubicBezTo>
                    <a:cubicBezTo>
                      <a:pt x="84" y="10"/>
                      <a:pt x="84" y="13"/>
                      <a:pt x="83" y="13"/>
                    </a:cubicBezTo>
                    <a:cubicBezTo>
                      <a:pt x="82" y="14"/>
                      <a:pt x="77" y="10"/>
                      <a:pt x="75" y="8"/>
                    </a:cubicBezTo>
                    <a:cubicBezTo>
                      <a:pt x="72" y="6"/>
                      <a:pt x="67" y="7"/>
                      <a:pt x="65" y="7"/>
                    </a:cubicBezTo>
                    <a:cubicBezTo>
                      <a:pt x="62" y="7"/>
                      <a:pt x="60" y="6"/>
                      <a:pt x="57" y="6"/>
                    </a:cubicBezTo>
                    <a:cubicBezTo>
                      <a:pt x="54" y="7"/>
                      <a:pt x="51" y="5"/>
                      <a:pt x="49" y="5"/>
                    </a:cubicBezTo>
                    <a:cubicBezTo>
                      <a:pt x="48" y="4"/>
                      <a:pt x="45" y="6"/>
                      <a:pt x="45" y="6"/>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43" name="Freeform 64"/>
              <p:cNvSpPr>
                <a:spLocks/>
              </p:cNvSpPr>
              <p:nvPr/>
            </p:nvSpPr>
            <p:spPr bwMode="gray">
              <a:xfrm>
                <a:off x="2770" y="3339"/>
                <a:ext cx="302" cy="213"/>
              </a:xfrm>
              <a:custGeom>
                <a:avLst/>
                <a:gdLst>
                  <a:gd name="T0" fmla="*/ 4 w 115"/>
                  <a:gd name="T1" fmla="*/ 0 h 81"/>
                  <a:gd name="T2" fmla="*/ 3 w 115"/>
                  <a:gd name="T3" fmla="*/ 5 h 81"/>
                  <a:gd name="T4" fmla="*/ 0 w 115"/>
                  <a:gd name="T5" fmla="*/ 11 h 81"/>
                  <a:gd name="T6" fmla="*/ 2 w 115"/>
                  <a:gd name="T7" fmla="*/ 19 h 81"/>
                  <a:gd name="T8" fmla="*/ 6 w 115"/>
                  <a:gd name="T9" fmla="*/ 22 h 81"/>
                  <a:gd name="T10" fmla="*/ 10 w 115"/>
                  <a:gd name="T11" fmla="*/ 26 h 81"/>
                  <a:gd name="T12" fmla="*/ 11 w 115"/>
                  <a:gd name="T13" fmla="*/ 31 h 81"/>
                  <a:gd name="T14" fmla="*/ 7 w 115"/>
                  <a:gd name="T15" fmla="*/ 36 h 81"/>
                  <a:gd name="T16" fmla="*/ 2 w 115"/>
                  <a:gd name="T17" fmla="*/ 37 h 81"/>
                  <a:gd name="T18" fmla="*/ 3 w 115"/>
                  <a:gd name="T19" fmla="*/ 45 h 81"/>
                  <a:gd name="T20" fmla="*/ 4 w 115"/>
                  <a:gd name="T21" fmla="*/ 48 h 81"/>
                  <a:gd name="T22" fmla="*/ 2 w 115"/>
                  <a:gd name="T23" fmla="*/ 52 h 81"/>
                  <a:gd name="T24" fmla="*/ 7 w 115"/>
                  <a:gd name="T25" fmla="*/ 58 h 81"/>
                  <a:gd name="T26" fmla="*/ 12 w 115"/>
                  <a:gd name="T27" fmla="*/ 60 h 81"/>
                  <a:gd name="T28" fmla="*/ 13 w 115"/>
                  <a:gd name="T29" fmla="*/ 67 h 81"/>
                  <a:gd name="T30" fmla="*/ 13 w 115"/>
                  <a:gd name="T31" fmla="*/ 76 h 81"/>
                  <a:gd name="T32" fmla="*/ 19 w 115"/>
                  <a:gd name="T33" fmla="*/ 78 h 81"/>
                  <a:gd name="T34" fmla="*/ 28 w 115"/>
                  <a:gd name="T35" fmla="*/ 75 h 81"/>
                  <a:gd name="T36" fmla="*/ 36 w 115"/>
                  <a:gd name="T37" fmla="*/ 73 h 81"/>
                  <a:gd name="T38" fmla="*/ 43 w 115"/>
                  <a:gd name="T39" fmla="*/ 73 h 81"/>
                  <a:gd name="T40" fmla="*/ 48 w 115"/>
                  <a:gd name="T41" fmla="*/ 76 h 81"/>
                  <a:gd name="T42" fmla="*/ 53 w 115"/>
                  <a:gd name="T43" fmla="*/ 77 h 81"/>
                  <a:gd name="T44" fmla="*/ 58 w 115"/>
                  <a:gd name="T45" fmla="*/ 80 h 81"/>
                  <a:gd name="T46" fmla="*/ 67 w 115"/>
                  <a:gd name="T47" fmla="*/ 78 h 81"/>
                  <a:gd name="T48" fmla="*/ 73 w 115"/>
                  <a:gd name="T49" fmla="*/ 74 h 81"/>
                  <a:gd name="T50" fmla="*/ 72 w 115"/>
                  <a:gd name="T51" fmla="*/ 68 h 81"/>
                  <a:gd name="T52" fmla="*/ 77 w 115"/>
                  <a:gd name="T53" fmla="*/ 66 h 81"/>
                  <a:gd name="T54" fmla="*/ 79 w 115"/>
                  <a:gd name="T55" fmla="*/ 64 h 81"/>
                  <a:gd name="T56" fmla="*/ 81 w 115"/>
                  <a:gd name="T57" fmla="*/ 60 h 81"/>
                  <a:gd name="T58" fmla="*/ 86 w 115"/>
                  <a:gd name="T59" fmla="*/ 60 h 81"/>
                  <a:gd name="T60" fmla="*/ 90 w 115"/>
                  <a:gd name="T61" fmla="*/ 57 h 81"/>
                  <a:gd name="T62" fmla="*/ 95 w 115"/>
                  <a:gd name="T63" fmla="*/ 58 h 81"/>
                  <a:gd name="T64" fmla="*/ 100 w 115"/>
                  <a:gd name="T65" fmla="*/ 61 h 81"/>
                  <a:gd name="T66" fmla="*/ 107 w 115"/>
                  <a:gd name="T67" fmla="*/ 61 h 81"/>
                  <a:gd name="T68" fmla="*/ 105 w 115"/>
                  <a:gd name="T69" fmla="*/ 57 h 81"/>
                  <a:gd name="T70" fmla="*/ 100 w 115"/>
                  <a:gd name="T71" fmla="*/ 51 h 81"/>
                  <a:gd name="T72" fmla="*/ 96 w 115"/>
                  <a:gd name="T73" fmla="*/ 47 h 81"/>
                  <a:gd name="T74" fmla="*/ 97 w 115"/>
                  <a:gd name="T75" fmla="*/ 44 h 81"/>
                  <a:gd name="T76" fmla="*/ 101 w 115"/>
                  <a:gd name="T77" fmla="*/ 40 h 81"/>
                  <a:gd name="T78" fmla="*/ 103 w 115"/>
                  <a:gd name="T79" fmla="*/ 33 h 81"/>
                  <a:gd name="T80" fmla="*/ 106 w 115"/>
                  <a:gd name="T81" fmla="*/ 24 h 81"/>
                  <a:gd name="T82" fmla="*/ 112 w 115"/>
                  <a:gd name="T83" fmla="*/ 22 h 81"/>
                  <a:gd name="T84" fmla="*/ 114 w 115"/>
                  <a:gd name="T85" fmla="*/ 18 h 81"/>
                  <a:gd name="T86" fmla="*/ 115 w 115"/>
                  <a:gd name="T87" fmla="*/ 13 h 81"/>
                  <a:gd name="T88" fmla="*/ 110 w 115"/>
                  <a:gd name="T89" fmla="*/ 13 h 81"/>
                  <a:gd name="T90" fmla="*/ 103 w 115"/>
                  <a:gd name="T91" fmla="*/ 8 h 81"/>
                  <a:gd name="T92" fmla="*/ 98 w 115"/>
                  <a:gd name="T93" fmla="*/ 7 h 81"/>
                  <a:gd name="T94" fmla="*/ 94 w 115"/>
                  <a:gd name="T95" fmla="*/ 6 h 81"/>
                  <a:gd name="T96" fmla="*/ 89 w 115"/>
                  <a:gd name="T97" fmla="*/ 3 h 81"/>
                  <a:gd name="T98" fmla="*/ 82 w 115"/>
                  <a:gd name="T99" fmla="*/ 3 h 81"/>
                  <a:gd name="T100" fmla="*/ 73 w 115"/>
                  <a:gd name="T101" fmla="*/ 6 h 81"/>
                  <a:gd name="T102" fmla="*/ 67 w 115"/>
                  <a:gd name="T103" fmla="*/ 8 h 81"/>
                  <a:gd name="T104" fmla="*/ 58 w 115"/>
                  <a:gd name="T105" fmla="*/ 15 h 81"/>
                  <a:gd name="T106" fmla="*/ 51 w 115"/>
                  <a:gd name="T107" fmla="*/ 14 h 81"/>
                  <a:gd name="T108" fmla="*/ 41 w 115"/>
                  <a:gd name="T109" fmla="*/ 13 h 81"/>
                  <a:gd name="T110" fmla="*/ 35 w 115"/>
                  <a:gd name="T111" fmla="*/ 14 h 81"/>
                  <a:gd name="T112" fmla="*/ 28 w 115"/>
                  <a:gd name="T113" fmla="*/ 13 h 81"/>
                  <a:gd name="T114" fmla="*/ 20 w 115"/>
                  <a:gd name="T115" fmla="*/ 11 h 81"/>
                  <a:gd name="T116" fmla="*/ 14 w 115"/>
                  <a:gd name="T117" fmla="*/ 11 h 81"/>
                  <a:gd name="T118" fmla="*/ 9 w 115"/>
                  <a:gd name="T119" fmla="*/ 9 h 81"/>
                  <a:gd name="T120" fmla="*/ 10 w 115"/>
                  <a:gd name="T121" fmla="*/ 4 h 81"/>
                  <a:gd name="T122" fmla="*/ 5 w 115"/>
                  <a:gd name="T123" fmla="*/ 0 h 81"/>
                  <a:gd name="T124" fmla="*/ 4 w 115"/>
                  <a:gd name="T125"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5" h="81">
                    <a:moveTo>
                      <a:pt x="4" y="0"/>
                    </a:moveTo>
                    <a:cubicBezTo>
                      <a:pt x="4" y="0"/>
                      <a:pt x="5" y="2"/>
                      <a:pt x="3" y="5"/>
                    </a:cubicBezTo>
                    <a:cubicBezTo>
                      <a:pt x="1" y="7"/>
                      <a:pt x="0" y="7"/>
                      <a:pt x="0" y="11"/>
                    </a:cubicBezTo>
                    <a:cubicBezTo>
                      <a:pt x="0" y="16"/>
                      <a:pt x="1" y="16"/>
                      <a:pt x="2" y="19"/>
                    </a:cubicBezTo>
                    <a:cubicBezTo>
                      <a:pt x="4" y="21"/>
                      <a:pt x="4" y="21"/>
                      <a:pt x="6" y="22"/>
                    </a:cubicBezTo>
                    <a:cubicBezTo>
                      <a:pt x="8" y="22"/>
                      <a:pt x="9" y="24"/>
                      <a:pt x="10" y="26"/>
                    </a:cubicBezTo>
                    <a:cubicBezTo>
                      <a:pt x="11" y="28"/>
                      <a:pt x="13" y="29"/>
                      <a:pt x="11" y="31"/>
                    </a:cubicBezTo>
                    <a:cubicBezTo>
                      <a:pt x="10" y="33"/>
                      <a:pt x="8" y="35"/>
                      <a:pt x="7" y="36"/>
                    </a:cubicBezTo>
                    <a:cubicBezTo>
                      <a:pt x="6" y="37"/>
                      <a:pt x="3" y="33"/>
                      <a:pt x="2" y="37"/>
                    </a:cubicBezTo>
                    <a:cubicBezTo>
                      <a:pt x="2" y="41"/>
                      <a:pt x="2" y="44"/>
                      <a:pt x="3" y="45"/>
                    </a:cubicBezTo>
                    <a:cubicBezTo>
                      <a:pt x="4" y="47"/>
                      <a:pt x="5" y="47"/>
                      <a:pt x="4" y="48"/>
                    </a:cubicBezTo>
                    <a:cubicBezTo>
                      <a:pt x="4" y="50"/>
                      <a:pt x="2" y="52"/>
                      <a:pt x="2" y="52"/>
                    </a:cubicBezTo>
                    <a:cubicBezTo>
                      <a:pt x="2" y="52"/>
                      <a:pt x="5" y="56"/>
                      <a:pt x="7" y="58"/>
                    </a:cubicBezTo>
                    <a:cubicBezTo>
                      <a:pt x="9" y="59"/>
                      <a:pt x="11" y="57"/>
                      <a:pt x="12" y="60"/>
                    </a:cubicBezTo>
                    <a:cubicBezTo>
                      <a:pt x="12" y="62"/>
                      <a:pt x="13" y="64"/>
                      <a:pt x="13" y="67"/>
                    </a:cubicBezTo>
                    <a:cubicBezTo>
                      <a:pt x="13" y="69"/>
                      <a:pt x="13" y="76"/>
                      <a:pt x="13" y="76"/>
                    </a:cubicBezTo>
                    <a:cubicBezTo>
                      <a:pt x="13" y="76"/>
                      <a:pt x="16" y="79"/>
                      <a:pt x="19" y="78"/>
                    </a:cubicBezTo>
                    <a:cubicBezTo>
                      <a:pt x="21" y="77"/>
                      <a:pt x="24" y="75"/>
                      <a:pt x="28" y="75"/>
                    </a:cubicBezTo>
                    <a:cubicBezTo>
                      <a:pt x="31" y="75"/>
                      <a:pt x="33" y="75"/>
                      <a:pt x="36" y="73"/>
                    </a:cubicBezTo>
                    <a:cubicBezTo>
                      <a:pt x="38" y="72"/>
                      <a:pt x="40" y="71"/>
                      <a:pt x="43" y="73"/>
                    </a:cubicBezTo>
                    <a:cubicBezTo>
                      <a:pt x="45" y="74"/>
                      <a:pt x="45" y="77"/>
                      <a:pt x="48" y="76"/>
                    </a:cubicBezTo>
                    <a:cubicBezTo>
                      <a:pt x="50" y="75"/>
                      <a:pt x="51" y="76"/>
                      <a:pt x="53" y="77"/>
                    </a:cubicBezTo>
                    <a:cubicBezTo>
                      <a:pt x="56" y="78"/>
                      <a:pt x="57" y="81"/>
                      <a:pt x="58" y="80"/>
                    </a:cubicBezTo>
                    <a:cubicBezTo>
                      <a:pt x="60" y="79"/>
                      <a:pt x="64" y="78"/>
                      <a:pt x="67" y="78"/>
                    </a:cubicBezTo>
                    <a:cubicBezTo>
                      <a:pt x="70" y="78"/>
                      <a:pt x="73" y="76"/>
                      <a:pt x="73" y="74"/>
                    </a:cubicBezTo>
                    <a:cubicBezTo>
                      <a:pt x="73" y="72"/>
                      <a:pt x="70" y="68"/>
                      <a:pt x="72" y="68"/>
                    </a:cubicBezTo>
                    <a:cubicBezTo>
                      <a:pt x="74" y="67"/>
                      <a:pt x="77" y="66"/>
                      <a:pt x="77" y="66"/>
                    </a:cubicBezTo>
                    <a:cubicBezTo>
                      <a:pt x="77" y="64"/>
                      <a:pt x="78" y="65"/>
                      <a:pt x="79" y="64"/>
                    </a:cubicBezTo>
                    <a:cubicBezTo>
                      <a:pt x="80" y="62"/>
                      <a:pt x="80" y="61"/>
                      <a:pt x="81" y="60"/>
                    </a:cubicBezTo>
                    <a:cubicBezTo>
                      <a:pt x="83" y="60"/>
                      <a:pt x="85" y="61"/>
                      <a:pt x="86" y="60"/>
                    </a:cubicBezTo>
                    <a:cubicBezTo>
                      <a:pt x="88" y="60"/>
                      <a:pt x="88" y="57"/>
                      <a:pt x="90" y="57"/>
                    </a:cubicBezTo>
                    <a:cubicBezTo>
                      <a:pt x="92" y="57"/>
                      <a:pt x="93" y="56"/>
                      <a:pt x="95" y="58"/>
                    </a:cubicBezTo>
                    <a:cubicBezTo>
                      <a:pt x="97" y="61"/>
                      <a:pt x="97" y="62"/>
                      <a:pt x="100" y="61"/>
                    </a:cubicBezTo>
                    <a:cubicBezTo>
                      <a:pt x="103" y="60"/>
                      <a:pt x="107" y="61"/>
                      <a:pt x="107" y="61"/>
                    </a:cubicBezTo>
                    <a:cubicBezTo>
                      <a:pt x="107" y="61"/>
                      <a:pt x="106" y="59"/>
                      <a:pt x="105" y="57"/>
                    </a:cubicBezTo>
                    <a:cubicBezTo>
                      <a:pt x="104" y="55"/>
                      <a:pt x="101" y="53"/>
                      <a:pt x="100" y="51"/>
                    </a:cubicBezTo>
                    <a:cubicBezTo>
                      <a:pt x="99" y="49"/>
                      <a:pt x="99" y="47"/>
                      <a:pt x="96" y="47"/>
                    </a:cubicBezTo>
                    <a:cubicBezTo>
                      <a:pt x="94" y="46"/>
                      <a:pt x="96" y="44"/>
                      <a:pt x="97" y="44"/>
                    </a:cubicBezTo>
                    <a:cubicBezTo>
                      <a:pt x="99" y="43"/>
                      <a:pt x="100" y="42"/>
                      <a:pt x="101" y="40"/>
                    </a:cubicBezTo>
                    <a:cubicBezTo>
                      <a:pt x="103" y="38"/>
                      <a:pt x="103" y="35"/>
                      <a:pt x="103" y="33"/>
                    </a:cubicBezTo>
                    <a:cubicBezTo>
                      <a:pt x="103" y="31"/>
                      <a:pt x="104" y="26"/>
                      <a:pt x="106" y="24"/>
                    </a:cubicBezTo>
                    <a:cubicBezTo>
                      <a:pt x="108" y="22"/>
                      <a:pt x="109" y="23"/>
                      <a:pt x="112" y="22"/>
                    </a:cubicBezTo>
                    <a:cubicBezTo>
                      <a:pt x="114" y="21"/>
                      <a:pt x="114" y="21"/>
                      <a:pt x="114" y="18"/>
                    </a:cubicBezTo>
                    <a:cubicBezTo>
                      <a:pt x="114" y="15"/>
                      <a:pt x="115" y="13"/>
                      <a:pt x="115" y="13"/>
                    </a:cubicBezTo>
                    <a:cubicBezTo>
                      <a:pt x="115" y="13"/>
                      <a:pt x="113" y="14"/>
                      <a:pt x="110" y="13"/>
                    </a:cubicBezTo>
                    <a:cubicBezTo>
                      <a:pt x="107" y="13"/>
                      <a:pt x="105" y="10"/>
                      <a:pt x="103" y="8"/>
                    </a:cubicBezTo>
                    <a:cubicBezTo>
                      <a:pt x="100" y="6"/>
                      <a:pt x="100" y="8"/>
                      <a:pt x="98" y="7"/>
                    </a:cubicBezTo>
                    <a:cubicBezTo>
                      <a:pt x="95" y="5"/>
                      <a:pt x="96" y="6"/>
                      <a:pt x="94" y="6"/>
                    </a:cubicBezTo>
                    <a:cubicBezTo>
                      <a:pt x="93" y="6"/>
                      <a:pt x="92" y="4"/>
                      <a:pt x="89" y="3"/>
                    </a:cubicBezTo>
                    <a:cubicBezTo>
                      <a:pt x="86" y="2"/>
                      <a:pt x="85" y="2"/>
                      <a:pt x="82" y="3"/>
                    </a:cubicBezTo>
                    <a:cubicBezTo>
                      <a:pt x="79" y="4"/>
                      <a:pt x="77" y="6"/>
                      <a:pt x="73" y="6"/>
                    </a:cubicBezTo>
                    <a:cubicBezTo>
                      <a:pt x="70" y="6"/>
                      <a:pt x="69" y="7"/>
                      <a:pt x="67" y="8"/>
                    </a:cubicBezTo>
                    <a:cubicBezTo>
                      <a:pt x="65" y="10"/>
                      <a:pt x="62" y="13"/>
                      <a:pt x="58" y="15"/>
                    </a:cubicBezTo>
                    <a:cubicBezTo>
                      <a:pt x="55" y="17"/>
                      <a:pt x="54" y="15"/>
                      <a:pt x="51" y="14"/>
                    </a:cubicBezTo>
                    <a:cubicBezTo>
                      <a:pt x="48" y="14"/>
                      <a:pt x="44" y="14"/>
                      <a:pt x="41" y="13"/>
                    </a:cubicBezTo>
                    <a:cubicBezTo>
                      <a:pt x="38" y="12"/>
                      <a:pt x="37" y="13"/>
                      <a:pt x="35" y="14"/>
                    </a:cubicBezTo>
                    <a:cubicBezTo>
                      <a:pt x="33" y="15"/>
                      <a:pt x="31" y="14"/>
                      <a:pt x="28" y="13"/>
                    </a:cubicBezTo>
                    <a:cubicBezTo>
                      <a:pt x="26" y="12"/>
                      <a:pt x="23" y="11"/>
                      <a:pt x="20" y="11"/>
                    </a:cubicBezTo>
                    <a:cubicBezTo>
                      <a:pt x="18" y="10"/>
                      <a:pt x="15" y="9"/>
                      <a:pt x="14" y="11"/>
                    </a:cubicBezTo>
                    <a:cubicBezTo>
                      <a:pt x="12" y="12"/>
                      <a:pt x="9" y="11"/>
                      <a:pt x="9" y="9"/>
                    </a:cubicBezTo>
                    <a:cubicBezTo>
                      <a:pt x="8" y="8"/>
                      <a:pt x="9" y="5"/>
                      <a:pt x="10" y="4"/>
                    </a:cubicBezTo>
                    <a:cubicBezTo>
                      <a:pt x="11" y="3"/>
                      <a:pt x="7" y="2"/>
                      <a:pt x="5" y="0"/>
                    </a:cubicBezTo>
                    <a:cubicBezTo>
                      <a:pt x="4" y="0"/>
                      <a:pt x="4" y="0"/>
                      <a:pt x="4"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44" name="Freeform 65"/>
              <p:cNvSpPr>
                <a:spLocks/>
              </p:cNvSpPr>
              <p:nvPr/>
            </p:nvSpPr>
            <p:spPr bwMode="gray">
              <a:xfrm>
                <a:off x="2680" y="3471"/>
                <a:ext cx="124" cy="105"/>
              </a:xfrm>
              <a:custGeom>
                <a:avLst/>
                <a:gdLst>
                  <a:gd name="T0" fmla="*/ 36 w 47"/>
                  <a:gd name="T1" fmla="*/ 2 h 40"/>
                  <a:gd name="T2" fmla="*/ 34 w 47"/>
                  <a:gd name="T3" fmla="*/ 0 h 40"/>
                  <a:gd name="T4" fmla="*/ 30 w 47"/>
                  <a:gd name="T5" fmla="*/ 1 h 40"/>
                  <a:gd name="T6" fmla="*/ 28 w 47"/>
                  <a:gd name="T7" fmla="*/ 1 h 40"/>
                  <a:gd name="T8" fmla="*/ 23 w 47"/>
                  <a:gd name="T9" fmla="*/ 2 h 40"/>
                  <a:gd name="T10" fmla="*/ 20 w 47"/>
                  <a:gd name="T11" fmla="*/ 3 h 40"/>
                  <a:gd name="T12" fmla="*/ 16 w 47"/>
                  <a:gd name="T13" fmla="*/ 5 h 40"/>
                  <a:gd name="T14" fmla="*/ 14 w 47"/>
                  <a:gd name="T15" fmla="*/ 6 h 40"/>
                  <a:gd name="T16" fmla="*/ 11 w 47"/>
                  <a:gd name="T17" fmla="*/ 5 h 40"/>
                  <a:gd name="T18" fmla="*/ 7 w 47"/>
                  <a:gd name="T19" fmla="*/ 8 h 40"/>
                  <a:gd name="T20" fmla="*/ 5 w 47"/>
                  <a:gd name="T21" fmla="*/ 13 h 40"/>
                  <a:gd name="T22" fmla="*/ 2 w 47"/>
                  <a:gd name="T23" fmla="*/ 17 h 40"/>
                  <a:gd name="T24" fmla="*/ 3 w 47"/>
                  <a:gd name="T25" fmla="*/ 21 h 40"/>
                  <a:gd name="T26" fmla="*/ 1 w 47"/>
                  <a:gd name="T27" fmla="*/ 24 h 40"/>
                  <a:gd name="T28" fmla="*/ 3 w 47"/>
                  <a:gd name="T29" fmla="*/ 28 h 40"/>
                  <a:gd name="T30" fmla="*/ 4 w 47"/>
                  <a:gd name="T31" fmla="*/ 32 h 40"/>
                  <a:gd name="T32" fmla="*/ 6 w 47"/>
                  <a:gd name="T33" fmla="*/ 36 h 40"/>
                  <a:gd name="T34" fmla="*/ 8 w 47"/>
                  <a:gd name="T35" fmla="*/ 39 h 40"/>
                  <a:gd name="T36" fmla="*/ 14 w 47"/>
                  <a:gd name="T37" fmla="*/ 40 h 40"/>
                  <a:gd name="T38" fmla="*/ 22 w 47"/>
                  <a:gd name="T39" fmla="*/ 39 h 40"/>
                  <a:gd name="T40" fmla="*/ 27 w 47"/>
                  <a:gd name="T41" fmla="*/ 36 h 40"/>
                  <a:gd name="T42" fmla="*/ 33 w 47"/>
                  <a:gd name="T43" fmla="*/ 33 h 40"/>
                  <a:gd name="T44" fmla="*/ 38 w 47"/>
                  <a:gd name="T45" fmla="*/ 32 h 40"/>
                  <a:gd name="T46" fmla="*/ 44 w 47"/>
                  <a:gd name="T47" fmla="*/ 30 h 40"/>
                  <a:gd name="T48" fmla="*/ 47 w 47"/>
                  <a:gd name="T49" fmla="*/ 26 h 40"/>
                  <a:gd name="T50" fmla="*/ 47 w 47"/>
                  <a:gd name="T51" fmla="*/ 17 h 40"/>
                  <a:gd name="T52" fmla="*/ 46 w 47"/>
                  <a:gd name="T53" fmla="*/ 10 h 40"/>
                  <a:gd name="T54" fmla="*/ 41 w 47"/>
                  <a:gd name="T55" fmla="*/ 8 h 40"/>
                  <a:gd name="T56" fmla="*/ 36 w 47"/>
                  <a:gd name="T57"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7" h="40">
                    <a:moveTo>
                      <a:pt x="36" y="2"/>
                    </a:moveTo>
                    <a:cubicBezTo>
                      <a:pt x="36" y="2"/>
                      <a:pt x="36" y="0"/>
                      <a:pt x="34" y="0"/>
                    </a:cubicBezTo>
                    <a:cubicBezTo>
                      <a:pt x="33" y="0"/>
                      <a:pt x="32" y="0"/>
                      <a:pt x="30" y="1"/>
                    </a:cubicBezTo>
                    <a:cubicBezTo>
                      <a:pt x="29" y="2"/>
                      <a:pt x="29" y="1"/>
                      <a:pt x="28" y="1"/>
                    </a:cubicBezTo>
                    <a:cubicBezTo>
                      <a:pt x="27" y="0"/>
                      <a:pt x="24" y="1"/>
                      <a:pt x="23" y="2"/>
                    </a:cubicBezTo>
                    <a:cubicBezTo>
                      <a:pt x="22" y="3"/>
                      <a:pt x="21" y="3"/>
                      <a:pt x="20" y="3"/>
                    </a:cubicBezTo>
                    <a:cubicBezTo>
                      <a:pt x="19" y="2"/>
                      <a:pt x="17" y="3"/>
                      <a:pt x="16" y="5"/>
                    </a:cubicBezTo>
                    <a:cubicBezTo>
                      <a:pt x="15" y="6"/>
                      <a:pt x="14" y="8"/>
                      <a:pt x="14" y="6"/>
                    </a:cubicBezTo>
                    <a:cubicBezTo>
                      <a:pt x="13" y="5"/>
                      <a:pt x="12" y="4"/>
                      <a:pt x="11" y="5"/>
                    </a:cubicBezTo>
                    <a:cubicBezTo>
                      <a:pt x="10" y="6"/>
                      <a:pt x="8" y="8"/>
                      <a:pt x="7" y="8"/>
                    </a:cubicBezTo>
                    <a:cubicBezTo>
                      <a:pt x="6" y="8"/>
                      <a:pt x="6" y="11"/>
                      <a:pt x="5" y="13"/>
                    </a:cubicBezTo>
                    <a:cubicBezTo>
                      <a:pt x="4" y="15"/>
                      <a:pt x="2" y="16"/>
                      <a:pt x="2" y="17"/>
                    </a:cubicBezTo>
                    <a:cubicBezTo>
                      <a:pt x="1" y="19"/>
                      <a:pt x="3" y="20"/>
                      <a:pt x="3" y="21"/>
                    </a:cubicBezTo>
                    <a:cubicBezTo>
                      <a:pt x="2" y="22"/>
                      <a:pt x="0" y="23"/>
                      <a:pt x="1" y="24"/>
                    </a:cubicBezTo>
                    <a:cubicBezTo>
                      <a:pt x="2" y="25"/>
                      <a:pt x="4" y="26"/>
                      <a:pt x="3" y="28"/>
                    </a:cubicBezTo>
                    <a:cubicBezTo>
                      <a:pt x="2" y="29"/>
                      <a:pt x="3" y="31"/>
                      <a:pt x="4" y="32"/>
                    </a:cubicBezTo>
                    <a:cubicBezTo>
                      <a:pt x="5" y="33"/>
                      <a:pt x="6" y="35"/>
                      <a:pt x="6" y="36"/>
                    </a:cubicBezTo>
                    <a:cubicBezTo>
                      <a:pt x="6" y="38"/>
                      <a:pt x="6" y="40"/>
                      <a:pt x="8" y="39"/>
                    </a:cubicBezTo>
                    <a:cubicBezTo>
                      <a:pt x="9" y="39"/>
                      <a:pt x="13" y="40"/>
                      <a:pt x="14" y="40"/>
                    </a:cubicBezTo>
                    <a:cubicBezTo>
                      <a:pt x="15" y="40"/>
                      <a:pt x="20" y="39"/>
                      <a:pt x="22" y="39"/>
                    </a:cubicBezTo>
                    <a:cubicBezTo>
                      <a:pt x="24" y="39"/>
                      <a:pt x="26" y="38"/>
                      <a:pt x="27" y="36"/>
                    </a:cubicBezTo>
                    <a:cubicBezTo>
                      <a:pt x="29" y="34"/>
                      <a:pt x="31" y="33"/>
                      <a:pt x="33" y="33"/>
                    </a:cubicBezTo>
                    <a:cubicBezTo>
                      <a:pt x="34" y="33"/>
                      <a:pt x="36" y="33"/>
                      <a:pt x="38" y="32"/>
                    </a:cubicBezTo>
                    <a:cubicBezTo>
                      <a:pt x="40" y="32"/>
                      <a:pt x="44" y="32"/>
                      <a:pt x="44" y="30"/>
                    </a:cubicBezTo>
                    <a:cubicBezTo>
                      <a:pt x="45" y="28"/>
                      <a:pt x="47" y="26"/>
                      <a:pt x="47" y="26"/>
                    </a:cubicBezTo>
                    <a:cubicBezTo>
                      <a:pt x="47" y="26"/>
                      <a:pt x="47" y="19"/>
                      <a:pt x="47" y="17"/>
                    </a:cubicBezTo>
                    <a:cubicBezTo>
                      <a:pt x="47" y="14"/>
                      <a:pt x="46" y="12"/>
                      <a:pt x="46" y="10"/>
                    </a:cubicBezTo>
                    <a:cubicBezTo>
                      <a:pt x="45" y="7"/>
                      <a:pt x="43" y="9"/>
                      <a:pt x="41" y="8"/>
                    </a:cubicBezTo>
                    <a:cubicBezTo>
                      <a:pt x="39" y="6"/>
                      <a:pt x="36" y="2"/>
                      <a:pt x="36" y="2"/>
                    </a:cubicBezTo>
                    <a:close/>
                  </a:path>
                </a:pathLst>
              </a:custGeom>
              <a:solidFill>
                <a:srgbClr val="8D8F92"/>
              </a:solid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45" name="Freeform 66"/>
              <p:cNvSpPr>
                <a:spLocks/>
              </p:cNvSpPr>
              <p:nvPr/>
            </p:nvSpPr>
            <p:spPr bwMode="gray">
              <a:xfrm>
                <a:off x="2625" y="3444"/>
                <a:ext cx="89" cy="226"/>
              </a:xfrm>
              <a:custGeom>
                <a:avLst/>
                <a:gdLst>
                  <a:gd name="T0" fmla="*/ 1 w 34"/>
                  <a:gd name="T1" fmla="*/ 23 h 86"/>
                  <a:gd name="T2" fmla="*/ 2 w 34"/>
                  <a:gd name="T3" fmla="*/ 24 h 86"/>
                  <a:gd name="T4" fmla="*/ 5 w 34"/>
                  <a:gd name="T5" fmla="*/ 27 h 86"/>
                  <a:gd name="T6" fmla="*/ 4 w 34"/>
                  <a:gd name="T7" fmla="*/ 33 h 86"/>
                  <a:gd name="T8" fmla="*/ 3 w 34"/>
                  <a:gd name="T9" fmla="*/ 37 h 86"/>
                  <a:gd name="T10" fmla="*/ 4 w 34"/>
                  <a:gd name="T11" fmla="*/ 39 h 86"/>
                  <a:gd name="T12" fmla="*/ 3 w 34"/>
                  <a:gd name="T13" fmla="*/ 44 h 86"/>
                  <a:gd name="T14" fmla="*/ 5 w 34"/>
                  <a:gd name="T15" fmla="*/ 47 h 86"/>
                  <a:gd name="T16" fmla="*/ 3 w 34"/>
                  <a:gd name="T17" fmla="*/ 49 h 86"/>
                  <a:gd name="T18" fmla="*/ 1 w 34"/>
                  <a:gd name="T19" fmla="*/ 54 h 86"/>
                  <a:gd name="T20" fmla="*/ 1 w 34"/>
                  <a:gd name="T21" fmla="*/ 57 h 86"/>
                  <a:gd name="T22" fmla="*/ 4 w 34"/>
                  <a:gd name="T23" fmla="*/ 61 h 86"/>
                  <a:gd name="T24" fmla="*/ 4 w 34"/>
                  <a:gd name="T25" fmla="*/ 63 h 86"/>
                  <a:gd name="T26" fmla="*/ 2 w 34"/>
                  <a:gd name="T27" fmla="*/ 63 h 86"/>
                  <a:gd name="T28" fmla="*/ 3 w 34"/>
                  <a:gd name="T29" fmla="*/ 67 h 86"/>
                  <a:gd name="T30" fmla="*/ 7 w 34"/>
                  <a:gd name="T31" fmla="*/ 70 h 86"/>
                  <a:gd name="T32" fmla="*/ 11 w 34"/>
                  <a:gd name="T33" fmla="*/ 72 h 86"/>
                  <a:gd name="T34" fmla="*/ 15 w 34"/>
                  <a:gd name="T35" fmla="*/ 79 h 86"/>
                  <a:gd name="T36" fmla="*/ 16 w 34"/>
                  <a:gd name="T37" fmla="*/ 84 h 86"/>
                  <a:gd name="T38" fmla="*/ 20 w 34"/>
                  <a:gd name="T39" fmla="*/ 83 h 86"/>
                  <a:gd name="T40" fmla="*/ 21 w 34"/>
                  <a:gd name="T41" fmla="*/ 77 h 86"/>
                  <a:gd name="T42" fmla="*/ 23 w 34"/>
                  <a:gd name="T43" fmla="*/ 72 h 86"/>
                  <a:gd name="T44" fmla="*/ 27 w 34"/>
                  <a:gd name="T45" fmla="*/ 71 h 86"/>
                  <a:gd name="T46" fmla="*/ 29 w 34"/>
                  <a:gd name="T47" fmla="*/ 64 h 86"/>
                  <a:gd name="T48" fmla="*/ 33 w 34"/>
                  <a:gd name="T49" fmla="*/ 59 h 86"/>
                  <a:gd name="T50" fmla="*/ 33 w 34"/>
                  <a:gd name="T51" fmla="*/ 52 h 86"/>
                  <a:gd name="T52" fmla="*/ 32 w 34"/>
                  <a:gd name="T53" fmla="*/ 50 h 86"/>
                  <a:gd name="T54" fmla="*/ 32 w 34"/>
                  <a:gd name="T55" fmla="*/ 50 h 86"/>
                  <a:gd name="T56" fmla="*/ 32 w 34"/>
                  <a:gd name="T57" fmla="*/ 50 h 86"/>
                  <a:gd name="T58" fmla="*/ 29 w 34"/>
                  <a:gd name="T59" fmla="*/ 49 h 86"/>
                  <a:gd name="T60" fmla="*/ 27 w 34"/>
                  <a:gd name="T61" fmla="*/ 46 h 86"/>
                  <a:gd name="T62" fmla="*/ 25 w 34"/>
                  <a:gd name="T63" fmla="*/ 42 h 86"/>
                  <a:gd name="T64" fmla="*/ 24 w 34"/>
                  <a:gd name="T65" fmla="*/ 38 h 86"/>
                  <a:gd name="T66" fmla="*/ 22 w 34"/>
                  <a:gd name="T67" fmla="*/ 34 h 86"/>
                  <a:gd name="T68" fmla="*/ 24 w 34"/>
                  <a:gd name="T69" fmla="*/ 31 h 86"/>
                  <a:gd name="T70" fmla="*/ 23 w 34"/>
                  <a:gd name="T71" fmla="*/ 27 h 86"/>
                  <a:gd name="T72" fmla="*/ 24 w 34"/>
                  <a:gd name="T73" fmla="*/ 25 h 86"/>
                  <a:gd name="T74" fmla="*/ 23 w 34"/>
                  <a:gd name="T75" fmla="*/ 16 h 86"/>
                  <a:gd name="T76" fmla="*/ 19 w 34"/>
                  <a:gd name="T77" fmla="*/ 12 h 86"/>
                  <a:gd name="T78" fmla="*/ 17 w 34"/>
                  <a:gd name="T79" fmla="*/ 9 h 86"/>
                  <a:gd name="T80" fmla="*/ 15 w 34"/>
                  <a:gd name="T81" fmla="*/ 5 h 86"/>
                  <a:gd name="T82" fmla="*/ 14 w 34"/>
                  <a:gd name="T83" fmla="*/ 2 h 86"/>
                  <a:gd name="T84" fmla="*/ 12 w 34"/>
                  <a:gd name="T85" fmla="*/ 6 h 86"/>
                  <a:gd name="T86" fmla="*/ 8 w 34"/>
                  <a:gd name="T87" fmla="*/ 4 h 86"/>
                  <a:gd name="T88" fmla="*/ 5 w 34"/>
                  <a:gd name="T89" fmla="*/ 3 h 86"/>
                  <a:gd name="T90" fmla="*/ 2 w 34"/>
                  <a:gd name="T91" fmla="*/ 10 h 86"/>
                  <a:gd name="T92" fmla="*/ 1 w 34"/>
                  <a:gd name="T93" fmla="*/ 19 h 86"/>
                  <a:gd name="T94" fmla="*/ 1 w 34"/>
                  <a:gd name="T9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 h="86">
                    <a:moveTo>
                      <a:pt x="1" y="23"/>
                    </a:moveTo>
                    <a:cubicBezTo>
                      <a:pt x="1" y="23"/>
                      <a:pt x="1" y="25"/>
                      <a:pt x="2" y="24"/>
                    </a:cubicBezTo>
                    <a:cubicBezTo>
                      <a:pt x="4" y="24"/>
                      <a:pt x="5" y="25"/>
                      <a:pt x="5" y="27"/>
                    </a:cubicBezTo>
                    <a:cubicBezTo>
                      <a:pt x="5" y="29"/>
                      <a:pt x="5" y="31"/>
                      <a:pt x="4" y="33"/>
                    </a:cubicBezTo>
                    <a:cubicBezTo>
                      <a:pt x="4" y="34"/>
                      <a:pt x="2" y="35"/>
                      <a:pt x="3" y="37"/>
                    </a:cubicBezTo>
                    <a:cubicBezTo>
                      <a:pt x="3" y="38"/>
                      <a:pt x="4" y="37"/>
                      <a:pt x="4" y="39"/>
                    </a:cubicBezTo>
                    <a:cubicBezTo>
                      <a:pt x="4" y="41"/>
                      <a:pt x="3" y="42"/>
                      <a:pt x="3" y="44"/>
                    </a:cubicBezTo>
                    <a:cubicBezTo>
                      <a:pt x="3" y="46"/>
                      <a:pt x="5" y="47"/>
                      <a:pt x="5" y="47"/>
                    </a:cubicBezTo>
                    <a:cubicBezTo>
                      <a:pt x="5" y="48"/>
                      <a:pt x="4" y="49"/>
                      <a:pt x="3" y="49"/>
                    </a:cubicBezTo>
                    <a:cubicBezTo>
                      <a:pt x="3" y="49"/>
                      <a:pt x="1" y="52"/>
                      <a:pt x="1" y="54"/>
                    </a:cubicBezTo>
                    <a:cubicBezTo>
                      <a:pt x="1" y="56"/>
                      <a:pt x="0" y="55"/>
                      <a:pt x="1" y="57"/>
                    </a:cubicBezTo>
                    <a:cubicBezTo>
                      <a:pt x="3" y="59"/>
                      <a:pt x="4" y="59"/>
                      <a:pt x="4" y="61"/>
                    </a:cubicBezTo>
                    <a:cubicBezTo>
                      <a:pt x="4" y="63"/>
                      <a:pt x="5" y="62"/>
                      <a:pt x="4" y="63"/>
                    </a:cubicBezTo>
                    <a:cubicBezTo>
                      <a:pt x="3" y="64"/>
                      <a:pt x="3" y="62"/>
                      <a:pt x="2" y="63"/>
                    </a:cubicBezTo>
                    <a:cubicBezTo>
                      <a:pt x="1" y="64"/>
                      <a:pt x="1" y="64"/>
                      <a:pt x="3" y="67"/>
                    </a:cubicBezTo>
                    <a:cubicBezTo>
                      <a:pt x="4" y="70"/>
                      <a:pt x="5" y="67"/>
                      <a:pt x="7" y="70"/>
                    </a:cubicBezTo>
                    <a:cubicBezTo>
                      <a:pt x="10" y="72"/>
                      <a:pt x="10" y="70"/>
                      <a:pt x="11" y="72"/>
                    </a:cubicBezTo>
                    <a:cubicBezTo>
                      <a:pt x="13" y="74"/>
                      <a:pt x="14" y="77"/>
                      <a:pt x="15" y="79"/>
                    </a:cubicBezTo>
                    <a:cubicBezTo>
                      <a:pt x="15" y="81"/>
                      <a:pt x="14" y="82"/>
                      <a:pt x="16" y="84"/>
                    </a:cubicBezTo>
                    <a:cubicBezTo>
                      <a:pt x="17" y="86"/>
                      <a:pt x="18" y="84"/>
                      <a:pt x="20" y="83"/>
                    </a:cubicBezTo>
                    <a:cubicBezTo>
                      <a:pt x="21" y="82"/>
                      <a:pt x="22" y="80"/>
                      <a:pt x="21" y="77"/>
                    </a:cubicBezTo>
                    <a:cubicBezTo>
                      <a:pt x="21" y="74"/>
                      <a:pt x="21" y="73"/>
                      <a:pt x="23" y="72"/>
                    </a:cubicBezTo>
                    <a:cubicBezTo>
                      <a:pt x="25" y="71"/>
                      <a:pt x="26" y="73"/>
                      <a:pt x="27" y="71"/>
                    </a:cubicBezTo>
                    <a:cubicBezTo>
                      <a:pt x="28" y="70"/>
                      <a:pt x="27" y="67"/>
                      <a:pt x="29" y="64"/>
                    </a:cubicBezTo>
                    <a:cubicBezTo>
                      <a:pt x="30" y="62"/>
                      <a:pt x="32" y="61"/>
                      <a:pt x="33" y="59"/>
                    </a:cubicBezTo>
                    <a:cubicBezTo>
                      <a:pt x="34" y="56"/>
                      <a:pt x="33" y="54"/>
                      <a:pt x="33" y="52"/>
                    </a:cubicBezTo>
                    <a:cubicBezTo>
                      <a:pt x="33" y="50"/>
                      <a:pt x="32" y="50"/>
                      <a:pt x="32" y="50"/>
                    </a:cubicBezTo>
                    <a:cubicBezTo>
                      <a:pt x="32" y="50"/>
                      <a:pt x="32" y="50"/>
                      <a:pt x="32" y="50"/>
                    </a:cubicBezTo>
                    <a:cubicBezTo>
                      <a:pt x="32" y="50"/>
                      <a:pt x="32" y="50"/>
                      <a:pt x="32" y="50"/>
                    </a:cubicBezTo>
                    <a:cubicBezTo>
                      <a:pt x="31" y="49"/>
                      <a:pt x="30" y="49"/>
                      <a:pt x="29" y="49"/>
                    </a:cubicBezTo>
                    <a:cubicBezTo>
                      <a:pt x="27" y="50"/>
                      <a:pt x="27" y="48"/>
                      <a:pt x="27" y="46"/>
                    </a:cubicBezTo>
                    <a:cubicBezTo>
                      <a:pt x="27" y="45"/>
                      <a:pt x="26" y="43"/>
                      <a:pt x="25" y="42"/>
                    </a:cubicBezTo>
                    <a:cubicBezTo>
                      <a:pt x="24" y="41"/>
                      <a:pt x="23" y="39"/>
                      <a:pt x="24" y="38"/>
                    </a:cubicBezTo>
                    <a:cubicBezTo>
                      <a:pt x="25" y="36"/>
                      <a:pt x="23" y="35"/>
                      <a:pt x="22" y="34"/>
                    </a:cubicBezTo>
                    <a:cubicBezTo>
                      <a:pt x="21" y="33"/>
                      <a:pt x="23" y="32"/>
                      <a:pt x="24" y="31"/>
                    </a:cubicBezTo>
                    <a:cubicBezTo>
                      <a:pt x="24" y="30"/>
                      <a:pt x="22" y="29"/>
                      <a:pt x="23" y="27"/>
                    </a:cubicBezTo>
                    <a:cubicBezTo>
                      <a:pt x="23" y="27"/>
                      <a:pt x="24" y="26"/>
                      <a:pt x="24" y="25"/>
                    </a:cubicBezTo>
                    <a:cubicBezTo>
                      <a:pt x="24" y="25"/>
                      <a:pt x="24" y="18"/>
                      <a:pt x="23" y="16"/>
                    </a:cubicBezTo>
                    <a:cubicBezTo>
                      <a:pt x="23" y="14"/>
                      <a:pt x="21" y="13"/>
                      <a:pt x="19" y="12"/>
                    </a:cubicBezTo>
                    <a:cubicBezTo>
                      <a:pt x="18" y="11"/>
                      <a:pt x="17" y="11"/>
                      <a:pt x="17" y="9"/>
                    </a:cubicBezTo>
                    <a:cubicBezTo>
                      <a:pt x="17" y="7"/>
                      <a:pt x="16" y="7"/>
                      <a:pt x="15" y="5"/>
                    </a:cubicBezTo>
                    <a:cubicBezTo>
                      <a:pt x="14" y="4"/>
                      <a:pt x="15" y="0"/>
                      <a:pt x="14" y="2"/>
                    </a:cubicBezTo>
                    <a:cubicBezTo>
                      <a:pt x="13" y="4"/>
                      <a:pt x="14" y="5"/>
                      <a:pt x="12" y="6"/>
                    </a:cubicBezTo>
                    <a:cubicBezTo>
                      <a:pt x="9" y="6"/>
                      <a:pt x="8" y="7"/>
                      <a:pt x="8" y="4"/>
                    </a:cubicBezTo>
                    <a:cubicBezTo>
                      <a:pt x="7" y="2"/>
                      <a:pt x="7" y="1"/>
                      <a:pt x="5" y="3"/>
                    </a:cubicBezTo>
                    <a:cubicBezTo>
                      <a:pt x="4" y="6"/>
                      <a:pt x="4" y="7"/>
                      <a:pt x="2" y="10"/>
                    </a:cubicBezTo>
                    <a:cubicBezTo>
                      <a:pt x="1" y="12"/>
                      <a:pt x="1" y="17"/>
                      <a:pt x="1" y="19"/>
                    </a:cubicBezTo>
                    <a:cubicBezTo>
                      <a:pt x="1" y="22"/>
                      <a:pt x="1" y="23"/>
                      <a:pt x="1" y="23"/>
                    </a:cubicBezTo>
                    <a:close/>
                  </a:path>
                </a:pathLst>
              </a:custGeom>
              <a:solidFill>
                <a:schemeClr val="bg2">
                  <a:lumMod val="40000"/>
                  <a:lumOff val="60000"/>
                </a:schemeClr>
              </a:solid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46" name="Freeform 67"/>
              <p:cNvSpPr>
                <a:spLocks/>
              </p:cNvSpPr>
              <p:nvPr/>
            </p:nvSpPr>
            <p:spPr bwMode="gray">
              <a:xfrm>
                <a:off x="2446" y="3263"/>
                <a:ext cx="190" cy="202"/>
              </a:xfrm>
              <a:custGeom>
                <a:avLst/>
                <a:gdLst>
                  <a:gd name="T0" fmla="*/ 52 w 72"/>
                  <a:gd name="T1" fmla="*/ 76 h 77"/>
                  <a:gd name="T2" fmla="*/ 50 w 72"/>
                  <a:gd name="T3" fmla="*/ 75 h 77"/>
                  <a:gd name="T4" fmla="*/ 46 w 72"/>
                  <a:gd name="T5" fmla="*/ 71 h 77"/>
                  <a:gd name="T6" fmla="*/ 39 w 72"/>
                  <a:gd name="T7" fmla="*/ 66 h 77"/>
                  <a:gd name="T8" fmla="*/ 36 w 72"/>
                  <a:gd name="T9" fmla="*/ 59 h 77"/>
                  <a:gd name="T10" fmla="*/ 30 w 72"/>
                  <a:gd name="T11" fmla="*/ 55 h 77"/>
                  <a:gd name="T12" fmla="*/ 23 w 72"/>
                  <a:gd name="T13" fmla="*/ 45 h 77"/>
                  <a:gd name="T14" fmla="*/ 17 w 72"/>
                  <a:gd name="T15" fmla="*/ 38 h 77"/>
                  <a:gd name="T16" fmla="*/ 10 w 72"/>
                  <a:gd name="T17" fmla="*/ 31 h 77"/>
                  <a:gd name="T18" fmla="*/ 5 w 72"/>
                  <a:gd name="T19" fmla="*/ 19 h 77"/>
                  <a:gd name="T20" fmla="*/ 1 w 72"/>
                  <a:gd name="T21" fmla="*/ 13 h 77"/>
                  <a:gd name="T22" fmla="*/ 0 w 72"/>
                  <a:gd name="T23" fmla="*/ 5 h 77"/>
                  <a:gd name="T24" fmla="*/ 4 w 72"/>
                  <a:gd name="T25" fmla="*/ 3 h 77"/>
                  <a:gd name="T26" fmla="*/ 10 w 72"/>
                  <a:gd name="T27" fmla="*/ 9 h 77"/>
                  <a:gd name="T28" fmla="*/ 15 w 72"/>
                  <a:gd name="T29" fmla="*/ 3 h 77"/>
                  <a:gd name="T30" fmla="*/ 20 w 72"/>
                  <a:gd name="T31" fmla="*/ 3 h 77"/>
                  <a:gd name="T32" fmla="*/ 22 w 72"/>
                  <a:gd name="T33" fmla="*/ 2 h 77"/>
                  <a:gd name="T34" fmla="*/ 28 w 72"/>
                  <a:gd name="T35" fmla="*/ 4 h 77"/>
                  <a:gd name="T36" fmla="*/ 35 w 72"/>
                  <a:gd name="T37" fmla="*/ 6 h 77"/>
                  <a:gd name="T38" fmla="*/ 39 w 72"/>
                  <a:gd name="T39" fmla="*/ 7 h 77"/>
                  <a:gd name="T40" fmla="*/ 43 w 72"/>
                  <a:gd name="T41" fmla="*/ 6 h 77"/>
                  <a:gd name="T42" fmla="*/ 47 w 72"/>
                  <a:gd name="T43" fmla="*/ 7 h 77"/>
                  <a:gd name="T44" fmla="*/ 51 w 72"/>
                  <a:gd name="T45" fmla="*/ 7 h 77"/>
                  <a:gd name="T46" fmla="*/ 55 w 72"/>
                  <a:gd name="T47" fmla="*/ 9 h 77"/>
                  <a:gd name="T48" fmla="*/ 59 w 72"/>
                  <a:gd name="T49" fmla="*/ 12 h 77"/>
                  <a:gd name="T50" fmla="*/ 61 w 72"/>
                  <a:gd name="T51" fmla="*/ 11 h 77"/>
                  <a:gd name="T52" fmla="*/ 61 w 72"/>
                  <a:gd name="T53" fmla="*/ 11 h 77"/>
                  <a:gd name="T54" fmla="*/ 61 w 72"/>
                  <a:gd name="T55" fmla="*/ 11 h 77"/>
                  <a:gd name="T56" fmla="*/ 63 w 72"/>
                  <a:gd name="T57" fmla="*/ 11 h 77"/>
                  <a:gd name="T58" fmla="*/ 65 w 72"/>
                  <a:gd name="T59" fmla="*/ 14 h 77"/>
                  <a:gd name="T60" fmla="*/ 62 w 72"/>
                  <a:gd name="T61" fmla="*/ 24 h 77"/>
                  <a:gd name="T62" fmla="*/ 65 w 72"/>
                  <a:gd name="T63" fmla="*/ 28 h 77"/>
                  <a:gd name="T64" fmla="*/ 68 w 72"/>
                  <a:gd name="T65" fmla="*/ 31 h 77"/>
                  <a:gd name="T66" fmla="*/ 71 w 72"/>
                  <a:gd name="T67" fmla="*/ 35 h 77"/>
                  <a:gd name="T68" fmla="*/ 67 w 72"/>
                  <a:gd name="T69" fmla="*/ 35 h 77"/>
                  <a:gd name="T70" fmla="*/ 66 w 72"/>
                  <a:gd name="T71" fmla="*/ 38 h 77"/>
                  <a:gd name="T72" fmla="*/ 69 w 72"/>
                  <a:gd name="T73" fmla="*/ 43 h 77"/>
                  <a:gd name="T74" fmla="*/ 67 w 72"/>
                  <a:gd name="T75" fmla="*/ 46 h 77"/>
                  <a:gd name="T76" fmla="*/ 63 w 72"/>
                  <a:gd name="T77" fmla="*/ 48 h 77"/>
                  <a:gd name="T78" fmla="*/ 60 w 72"/>
                  <a:gd name="T79" fmla="*/ 49 h 77"/>
                  <a:gd name="T80" fmla="*/ 61 w 72"/>
                  <a:gd name="T81" fmla="*/ 54 h 77"/>
                  <a:gd name="T82" fmla="*/ 58 w 72"/>
                  <a:gd name="T83" fmla="*/ 53 h 77"/>
                  <a:gd name="T84" fmla="*/ 55 w 72"/>
                  <a:gd name="T85" fmla="*/ 58 h 77"/>
                  <a:gd name="T86" fmla="*/ 52 w 72"/>
                  <a:gd name="T87" fmla="*/ 61 h 77"/>
                  <a:gd name="T88" fmla="*/ 51 w 72"/>
                  <a:gd name="T89" fmla="*/ 66 h 77"/>
                  <a:gd name="T90" fmla="*/ 53 w 72"/>
                  <a:gd name="T91" fmla="*/ 71 h 77"/>
                  <a:gd name="T92" fmla="*/ 52 w 72"/>
                  <a:gd name="T93" fmla="*/ 74 h 77"/>
                  <a:gd name="T94" fmla="*/ 52 w 72"/>
                  <a:gd name="T95" fmla="*/ 7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2" h="77">
                    <a:moveTo>
                      <a:pt x="52" y="76"/>
                    </a:moveTo>
                    <a:cubicBezTo>
                      <a:pt x="52" y="76"/>
                      <a:pt x="51" y="77"/>
                      <a:pt x="50" y="75"/>
                    </a:cubicBezTo>
                    <a:cubicBezTo>
                      <a:pt x="48" y="74"/>
                      <a:pt x="47" y="72"/>
                      <a:pt x="46" y="71"/>
                    </a:cubicBezTo>
                    <a:cubicBezTo>
                      <a:pt x="44" y="70"/>
                      <a:pt x="41" y="68"/>
                      <a:pt x="39" y="66"/>
                    </a:cubicBezTo>
                    <a:cubicBezTo>
                      <a:pt x="38" y="65"/>
                      <a:pt x="38" y="61"/>
                      <a:pt x="36" y="59"/>
                    </a:cubicBezTo>
                    <a:cubicBezTo>
                      <a:pt x="34" y="57"/>
                      <a:pt x="32" y="57"/>
                      <a:pt x="30" y="55"/>
                    </a:cubicBezTo>
                    <a:cubicBezTo>
                      <a:pt x="29" y="52"/>
                      <a:pt x="25" y="47"/>
                      <a:pt x="23" y="45"/>
                    </a:cubicBezTo>
                    <a:cubicBezTo>
                      <a:pt x="21" y="43"/>
                      <a:pt x="19" y="40"/>
                      <a:pt x="17" y="38"/>
                    </a:cubicBezTo>
                    <a:cubicBezTo>
                      <a:pt x="15" y="36"/>
                      <a:pt x="12" y="34"/>
                      <a:pt x="10" y="31"/>
                    </a:cubicBezTo>
                    <a:cubicBezTo>
                      <a:pt x="9" y="28"/>
                      <a:pt x="8" y="21"/>
                      <a:pt x="5" y="19"/>
                    </a:cubicBezTo>
                    <a:cubicBezTo>
                      <a:pt x="3" y="17"/>
                      <a:pt x="2" y="17"/>
                      <a:pt x="1" y="13"/>
                    </a:cubicBezTo>
                    <a:cubicBezTo>
                      <a:pt x="0" y="9"/>
                      <a:pt x="1" y="8"/>
                      <a:pt x="0" y="5"/>
                    </a:cubicBezTo>
                    <a:cubicBezTo>
                      <a:pt x="0" y="3"/>
                      <a:pt x="2" y="0"/>
                      <a:pt x="4" y="3"/>
                    </a:cubicBezTo>
                    <a:cubicBezTo>
                      <a:pt x="6" y="5"/>
                      <a:pt x="9" y="11"/>
                      <a:pt x="10" y="9"/>
                    </a:cubicBezTo>
                    <a:cubicBezTo>
                      <a:pt x="12" y="7"/>
                      <a:pt x="13" y="2"/>
                      <a:pt x="15" y="3"/>
                    </a:cubicBezTo>
                    <a:cubicBezTo>
                      <a:pt x="16" y="4"/>
                      <a:pt x="19" y="5"/>
                      <a:pt x="20" y="3"/>
                    </a:cubicBezTo>
                    <a:cubicBezTo>
                      <a:pt x="20" y="1"/>
                      <a:pt x="21" y="1"/>
                      <a:pt x="22" y="2"/>
                    </a:cubicBezTo>
                    <a:cubicBezTo>
                      <a:pt x="24" y="4"/>
                      <a:pt x="26" y="4"/>
                      <a:pt x="28" y="4"/>
                    </a:cubicBezTo>
                    <a:cubicBezTo>
                      <a:pt x="30" y="5"/>
                      <a:pt x="33" y="5"/>
                      <a:pt x="35" y="6"/>
                    </a:cubicBezTo>
                    <a:cubicBezTo>
                      <a:pt x="36" y="7"/>
                      <a:pt x="37" y="8"/>
                      <a:pt x="39" y="7"/>
                    </a:cubicBezTo>
                    <a:cubicBezTo>
                      <a:pt x="41" y="6"/>
                      <a:pt x="41" y="5"/>
                      <a:pt x="43" y="6"/>
                    </a:cubicBezTo>
                    <a:cubicBezTo>
                      <a:pt x="44" y="7"/>
                      <a:pt x="46" y="7"/>
                      <a:pt x="47" y="7"/>
                    </a:cubicBezTo>
                    <a:cubicBezTo>
                      <a:pt x="49" y="6"/>
                      <a:pt x="50" y="6"/>
                      <a:pt x="51" y="7"/>
                    </a:cubicBezTo>
                    <a:cubicBezTo>
                      <a:pt x="53" y="8"/>
                      <a:pt x="54" y="7"/>
                      <a:pt x="55" y="9"/>
                    </a:cubicBezTo>
                    <a:cubicBezTo>
                      <a:pt x="56" y="12"/>
                      <a:pt x="57" y="14"/>
                      <a:pt x="59" y="12"/>
                    </a:cubicBezTo>
                    <a:cubicBezTo>
                      <a:pt x="60" y="11"/>
                      <a:pt x="61" y="11"/>
                      <a:pt x="61" y="11"/>
                    </a:cubicBezTo>
                    <a:cubicBezTo>
                      <a:pt x="61" y="11"/>
                      <a:pt x="61" y="11"/>
                      <a:pt x="61" y="11"/>
                    </a:cubicBezTo>
                    <a:cubicBezTo>
                      <a:pt x="61" y="11"/>
                      <a:pt x="61" y="11"/>
                      <a:pt x="61" y="11"/>
                    </a:cubicBezTo>
                    <a:cubicBezTo>
                      <a:pt x="61" y="11"/>
                      <a:pt x="62" y="10"/>
                      <a:pt x="63" y="11"/>
                    </a:cubicBezTo>
                    <a:cubicBezTo>
                      <a:pt x="64" y="11"/>
                      <a:pt x="65" y="10"/>
                      <a:pt x="65" y="14"/>
                    </a:cubicBezTo>
                    <a:cubicBezTo>
                      <a:pt x="65" y="17"/>
                      <a:pt x="63" y="21"/>
                      <a:pt x="62" y="24"/>
                    </a:cubicBezTo>
                    <a:cubicBezTo>
                      <a:pt x="61" y="26"/>
                      <a:pt x="62" y="27"/>
                      <a:pt x="65" y="28"/>
                    </a:cubicBezTo>
                    <a:cubicBezTo>
                      <a:pt x="67" y="30"/>
                      <a:pt x="67" y="29"/>
                      <a:pt x="68" y="31"/>
                    </a:cubicBezTo>
                    <a:cubicBezTo>
                      <a:pt x="70" y="34"/>
                      <a:pt x="71" y="33"/>
                      <a:pt x="71" y="35"/>
                    </a:cubicBezTo>
                    <a:cubicBezTo>
                      <a:pt x="72" y="37"/>
                      <a:pt x="69" y="36"/>
                      <a:pt x="67" y="35"/>
                    </a:cubicBezTo>
                    <a:cubicBezTo>
                      <a:pt x="65" y="35"/>
                      <a:pt x="66" y="36"/>
                      <a:pt x="66" y="38"/>
                    </a:cubicBezTo>
                    <a:cubicBezTo>
                      <a:pt x="66" y="39"/>
                      <a:pt x="69" y="41"/>
                      <a:pt x="69" y="43"/>
                    </a:cubicBezTo>
                    <a:cubicBezTo>
                      <a:pt x="70" y="44"/>
                      <a:pt x="69" y="46"/>
                      <a:pt x="67" y="46"/>
                    </a:cubicBezTo>
                    <a:cubicBezTo>
                      <a:pt x="65" y="47"/>
                      <a:pt x="65" y="48"/>
                      <a:pt x="63" y="48"/>
                    </a:cubicBezTo>
                    <a:cubicBezTo>
                      <a:pt x="62" y="48"/>
                      <a:pt x="60" y="47"/>
                      <a:pt x="60" y="49"/>
                    </a:cubicBezTo>
                    <a:cubicBezTo>
                      <a:pt x="60" y="50"/>
                      <a:pt x="61" y="52"/>
                      <a:pt x="61" y="54"/>
                    </a:cubicBezTo>
                    <a:cubicBezTo>
                      <a:pt x="61" y="56"/>
                      <a:pt x="59" y="53"/>
                      <a:pt x="58" y="53"/>
                    </a:cubicBezTo>
                    <a:cubicBezTo>
                      <a:pt x="57" y="54"/>
                      <a:pt x="55" y="55"/>
                      <a:pt x="55" y="58"/>
                    </a:cubicBezTo>
                    <a:cubicBezTo>
                      <a:pt x="54" y="61"/>
                      <a:pt x="54" y="62"/>
                      <a:pt x="52" y="61"/>
                    </a:cubicBezTo>
                    <a:cubicBezTo>
                      <a:pt x="51" y="61"/>
                      <a:pt x="51" y="64"/>
                      <a:pt x="51" y="66"/>
                    </a:cubicBezTo>
                    <a:cubicBezTo>
                      <a:pt x="52" y="68"/>
                      <a:pt x="54" y="70"/>
                      <a:pt x="53" y="71"/>
                    </a:cubicBezTo>
                    <a:cubicBezTo>
                      <a:pt x="53" y="72"/>
                      <a:pt x="52" y="73"/>
                      <a:pt x="52" y="74"/>
                    </a:cubicBezTo>
                    <a:cubicBezTo>
                      <a:pt x="52" y="75"/>
                      <a:pt x="52" y="75"/>
                      <a:pt x="52" y="76"/>
                    </a:cubicBezTo>
                    <a:close/>
                  </a:path>
                </a:pathLst>
              </a:custGeom>
              <a:solidFill>
                <a:srgbClr val="8D8F92"/>
              </a:solid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47" name="Freeform 68"/>
              <p:cNvSpPr>
                <a:spLocks/>
              </p:cNvSpPr>
              <p:nvPr/>
            </p:nvSpPr>
            <p:spPr bwMode="gray">
              <a:xfrm>
                <a:off x="2336" y="3181"/>
                <a:ext cx="284" cy="258"/>
              </a:xfrm>
              <a:custGeom>
                <a:avLst/>
                <a:gdLst>
                  <a:gd name="T0" fmla="*/ 77 w 108"/>
                  <a:gd name="T1" fmla="*/ 97 h 98"/>
                  <a:gd name="T2" fmla="*/ 65 w 108"/>
                  <a:gd name="T3" fmla="*/ 96 h 98"/>
                  <a:gd name="T4" fmla="*/ 65 w 108"/>
                  <a:gd name="T5" fmla="*/ 94 h 98"/>
                  <a:gd name="T6" fmla="*/ 75 w 108"/>
                  <a:gd name="T7" fmla="*/ 94 h 98"/>
                  <a:gd name="T8" fmla="*/ 67 w 108"/>
                  <a:gd name="T9" fmla="*/ 85 h 98"/>
                  <a:gd name="T10" fmla="*/ 55 w 108"/>
                  <a:gd name="T11" fmla="*/ 78 h 98"/>
                  <a:gd name="T12" fmla="*/ 46 w 108"/>
                  <a:gd name="T13" fmla="*/ 78 h 98"/>
                  <a:gd name="T14" fmla="*/ 39 w 108"/>
                  <a:gd name="T15" fmla="*/ 69 h 98"/>
                  <a:gd name="T16" fmla="*/ 33 w 108"/>
                  <a:gd name="T17" fmla="*/ 64 h 98"/>
                  <a:gd name="T18" fmla="*/ 31 w 108"/>
                  <a:gd name="T19" fmla="*/ 60 h 98"/>
                  <a:gd name="T20" fmla="*/ 37 w 108"/>
                  <a:gd name="T21" fmla="*/ 58 h 98"/>
                  <a:gd name="T22" fmla="*/ 27 w 108"/>
                  <a:gd name="T23" fmla="*/ 46 h 98"/>
                  <a:gd name="T24" fmla="*/ 21 w 108"/>
                  <a:gd name="T25" fmla="*/ 33 h 98"/>
                  <a:gd name="T26" fmla="*/ 14 w 108"/>
                  <a:gd name="T27" fmla="*/ 37 h 98"/>
                  <a:gd name="T28" fmla="*/ 10 w 108"/>
                  <a:gd name="T29" fmla="*/ 44 h 98"/>
                  <a:gd name="T30" fmla="*/ 3 w 108"/>
                  <a:gd name="T31" fmla="*/ 37 h 98"/>
                  <a:gd name="T32" fmla="*/ 2 w 108"/>
                  <a:gd name="T33" fmla="*/ 28 h 98"/>
                  <a:gd name="T34" fmla="*/ 15 w 108"/>
                  <a:gd name="T35" fmla="*/ 27 h 98"/>
                  <a:gd name="T36" fmla="*/ 22 w 108"/>
                  <a:gd name="T37" fmla="*/ 25 h 98"/>
                  <a:gd name="T38" fmla="*/ 33 w 108"/>
                  <a:gd name="T39" fmla="*/ 29 h 98"/>
                  <a:gd name="T40" fmla="*/ 38 w 108"/>
                  <a:gd name="T41" fmla="*/ 19 h 98"/>
                  <a:gd name="T42" fmla="*/ 39 w 108"/>
                  <a:gd name="T43" fmla="*/ 8 h 98"/>
                  <a:gd name="T44" fmla="*/ 50 w 108"/>
                  <a:gd name="T45" fmla="*/ 4 h 98"/>
                  <a:gd name="T46" fmla="*/ 58 w 108"/>
                  <a:gd name="T47" fmla="*/ 2 h 98"/>
                  <a:gd name="T48" fmla="*/ 67 w 108"/>
                  <a:gd name="T49" fmla="*/ 11 h 98"/>
                  <a:gd name="T50" fmla="*/ 76 w 108"/>
                  <a:gd name="T51" fmla="*/ 17 h 98"/>
                  <a:gd name="T52" fmla="*/ 89 w 108"/>
                  <a:gd name="T53" fmla="*/ 20 h 98"/>
                  <a:gd name="T54" fmla="*/ 97 w 108"/>
                  <a:gd name="T55" fmla="*/ 16 h 98"/>
                  <a:gd name="T56" fmla="*/ 99 w 108"/>
                  <a:gd name="T57" fmla="*/ 25 h 98"/>
                  <a:gd name="T58" fmla="*/ 104 w 108"/>
                  <a:gd name="T59" fmla="*/ 33 h 98"/>
                  <a:gd name="T60" fmla="*/ 103 w 108"/>
                  <a:gd name="T61" fmla="*/ 37 h 98"/>
                  <a:gd name="T62" fmla="*/ 101 w 108"/>
                  <a:gd name="T63" fmla="*/ 43 h 98"/>
                  <a:gd name="T64" fmla="*/ 93 w 108"/>
                  <a:gd name="T65" fmla="*/ 38 h 98"/>
                  <a:gd name="T66" fmla="*/ 85 w 108"/>
                  <a:gd name="T67" fmla="*/ 37 h 98"/>
                  <a:gd name="T68" fmla="*/ 77 w 108"/>
                  <a:gd name="T69" fmla="*/ 37 h 98"/>
                  <a:gd name="T70" fmla="*/ 64 w 108"/>
                  <a:gd name="T71" fmla="*/ 33 h 98"/>
                  <a:gd name="T72" fmla="*/ 57 w 108"/>
                  <a:gd name="T73" fmla="*/ 34 h 98"/>
                  <a:gd name="T74" fmla="*/ 46 w 108"/>
                  <a:gd name="T75" fmla="*/ 34 h 98"/>
                  <a:gd name="T76" fmla="*/ 43 w 108"/>
                  <a:gd name="T77" fmla="*/ 44 h 98"/>
                  <a:gd name="T78" fmla="*/ 52 w 108"/>
                  <a:gd name="T79" fmla="*/ 62 h 98"/>
                  <a:gd name="T80" fmla="*/ 65 w 108"/>
                  <a:gd name="T81" fmla="*/ 76 h 98"/>
                  <a:gd name="T82" fmla="*/ 78 w 108"/>
                  <a:gd name="T83"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8" h="98">
                    <a:moveTo>
                      <a:pt x="81" y="97"/>
                    </a:moveTo>
                    <a:cubicBezTo>
                      <a:pt x="81" y="97"/>
                      <a:pt x="79" y="98"/>
                      <a:pt x="77" y="97"/>
                    </a:cubicBezTo>
                    <a:cubicBezTo>
                      <a:pt x="75" y="96"/>
                      <a:pt x="73" y="93"/>
                      <a:pt x="71" y="94"/>
                    </a:cubicBezTo>
                    <a:cubicBezTo>
                      <a:pt x="69" y="95"/>
                      <a:pt x="66" y="95"/>
                      <a:pt x="65" y="96"/>
                    </a:cubicBezTo>
                    <a:cubicBezTo>
                      <a:pt x="63" y="96"/>
                      <a:pt x="60" y="96"/>
                      <a:pt x="61" y="95"/>
                    </a:cubicBezTo>
                    <a:cubicBezTo>
                      <a:pt x="61" y="93"/>
                      <a:pt x="64" y="94"/>
                      <a:pt x="65" y="94"/>
                    </a:cubicBezTo>
                    <a:cubicBezTo>
                      <a:pt x="67" y="93"/>
                      <a:pt x="70" y="92"/>
                      <a:pt x="71" y="92"/>
                    </a:cubicBezTo>
                    <a:cubicBezTo>
                      <a:pt x="72" y="92"/>
                      <a:pt x="75" y="94"/>
                      <a:pt x="75" y="94"/>
                    </a:cubicBezTo>
                    <a:cubicBezTo>
                      <a:pt x="76" y="93"/>
                      <a:pt x="73" y="91"/>
                      <a:pt x="72" y="89"/>
                    </a:cubicBezTo>
                    <a:cubicBezTo>
                      <a:pt x="71" y="87"/>
                      <a:pt x="68" y="88"/>
                      <a:pt x="67" y="85"/>
                    </a:cubicBezTo>
                    <a:cubicBezTo>
                      <a:pt x="65" y="83"/>
                      <a:pt x="63" y="80"/>
                      <a:pt x="61" y="80"/>
                    </a:cubicBezTo>
                    <a:cubicBezTo>
                      <a:pt x="58" y="80"/>
                      <a:pt x="56" y="78"/>
                      <a:pt x="55" y="78"/>
                    </a:cubicBezTo>
                    <a:cubicBezTo>
                      <a:pt x="54" y="77"/>
                      <a:pt x="52" y="79"/>
                      <a:pt x="51" y="79"/>
                    </a:cubicBezTo>
                    <a:cubicBezTo>
                      <a:pt x="50" y="79"/>
                      <a:pt x="46" y="79"/>
                      <a:pt x="46" y="78"/>
                    </a:cubicBezTo>
                    <a:cubicBezTo>
                      <a:pt x="46" y="76"/>
                      <a:pt x="46" y="74"/>
                      <a:pt x="45" y="73"/>
                    </a:cubicBezTo>
                    <a:cubicBezTo>
                      <a:pt x="43" y="73"/>
                      <a:pt x="40" y="70"/>
                      <a:pt x="39" y="69"/>
                    </a:cubicBezTo>
                    <a:cubicBezTo>
                      <a:pt x="37" y="68"/>
                      <a:pt x="36" y="67"/>
                      <a:pt x="34" y="66"/>
                    </a:cubicBezTo>
                    <a:cubicBezTo>
                      <a:pt x="31" y="65"/>
                      <a:pt x="32" y="64"/>
                      <a:pt x="33" y="64"/>
                    </a:cubicBezTo>
                    <a:cubicBezTo>
                      <a:pt x="34" y="65"/>
                      <a:pt x="36" y="67"/>
                      <a:pt x="36" y="66"/>
                    </a:cubicBezTo>
                    <a:cubicBezTo>
                      <a:pt x="35" y="64"/>
                      <a:pt x="31" y="62"/>
                      <a:pt x="31" y="60"/>
                    </a:cubicBezTo>
                    <a:cubicBezTo>
                      <a:pt x="30" y="58"/>
                      <a:pt x="33" y="58"/>
                      <a:pt x="35" y="59"/>
                    </a:cubicBezTo>
                    <a:cubicBezTo>
                      <a:pt x="36" y="59"/>
                      <a:pt x="39" y="59"/>
                      <a:pt x="37" y="58"/>
                    </a:cubicBezTo>
                    <a:cubicBezTo>
                      <a:pt x="36" y="57"/>
                      <a:pt x="31" y="54"/>
                      <a:pt x="30" y="53"/>
                    </a:cubicBezTo>
                    <a:cubicBezTo>
                      <a:pt x="29" y="52"/>
                      <a:pt x="27" y="48"/>
                      <a:pt x="27" y="46"/>
                    </a:cubicBezTo>
                    <a:cubicBezTo>
                      <a:pt x="27" y="45"/>
                      <a:pt x="26" y="41"/>
                      <a:pt x="25" y="39"/>
                    </a:cubicBezTo>
                    <a:cubicBezTo>
                      <a:pt x="25" y="38"/>
                      <a:pt x="23" y="35"/>
                      <a:pt x="21" y="33"/>
                    </a:cubicBezTo>
                    <a:cubicBezTo>
                      <a:pt x="19" y="32"/>
                      <a:pt x="17" y="30"/>
                      <a:pt x="16" y="32"/>
                    </a:cubicBezTo>
                    <a:cubicBezTo>
                      <a:pt x="16" y="33"/>
                      <a:pt x="14" y="35"/>
                      <a:pt x="14" y="37"/>
                    </a:cubicBezTo>
                    <a:cubicBezTo>
                      <a:pt x="13" y="39"/>
                      <a:pt x="12" y="40"/>
                      <a:pt x="11" y="40"/>
                    </a:cubicBezTo>
                    <a:cubicBezTo>
                      <a:pt x="10" y="40"/>
                      <a:pt x="10" y="42"/>
                      <a:pt x="10" y="44"/>
                    </a:cubicBezTo>
                    <a:cubicBezTo>
                      <a:pt x="10" y="46"/>
                      <a:pt x="8" y="46"/>
                      <a:pt x="7" y="44"/>
                    </a:cubicBezTo>
                    <a:cubicBezTo>
                      <a:pt x="6" y="43"/>
                      <a:pt x="3" y="39"/>
                      <a:pt x="3" y="37"/>
                    </a:cubicBezTo>
                    <a:cubicBezTo>
                      <a:pt x="3" y="36"/>
                      <a:pt x="2" y="36"/>
                      <a:pt x="2" y="33"/>
                    </a:cubicBezTo>
                    <a:cubicBezTo>
                      <a:pt x="2" y="31"/>
                      <a:pt x="0" y="28"/>
                      <a:pt x="2" y="28"/>
                    </a:cubicBezTo>
                    <a:cubicBezTo>
                      <a:pt x="4" y="28"/>
                      <a:pt x="8" y="29"/>
                      <a:pt x="9" y="28"/>
                    </a:cubicBezTo>
                    <a:cubicBezTo>
                      <a:pt x="11" y="27"/>
                      <a:pt x="13" y="27"/>
                      <a:pt x="15" y="27"/>
                    </a:cubicBezTo>
                    <a:cubicBezTo>
                      <a:pt x="16" y="27"/>
                      <a:pt x="20" y="25"/>
                      <a:pt x="20" y="24"/>
                    </a:cubicBezTo>
                    <a:cubicBezTo>
                      <a:pt x="20" y="22"/>
                      <a:pt x="21" y="23"/>
                      <a:pt x="22" y="25"/>
                    </a:cubicBezTo>
                    <a:cubicBezTo>
                      <a:pt x="23" y="27"/>
                      <a:pt x="26" y="27"/>
                      <a:pt x="27" y="27"/>
                    </a:cubicBezTo>
                    <a:cubicBezTo>
                      <a:pt x="29" y="27"/>
                      <a:pt x="32" y="31"/>
                      <a:pt x="33" y="29"/>
                    </a:cubicBezTo>
                    <a:cubicBezTo>
                      <a:pt x="33" y="27"/>
                      <a:pt x="35" y="24"/>
                      <a:pt x="34" y="22"/>
                    </a:cubicBezTo>
                    <a:cubicBezTo>
                      <a:pt x="33" y="20"/>
                      <a:pt x="36" y="20"/>
                      <a:pt x="38" y="19"/>
                    </a:cubicBezTo>
                    <a:cubicBezTo>
                      <a:pt x="39" y="18"/>
                      <a:pt x="40" y="17"/>
                      <a:pt x="40" y="15"/>
                    </a:cubicBezTo>
                    <a:cubicBezTo>
                      <a:pt x="39" y="13"/>
                      <a:pt x="38" y="9"/>
                      <a:pt x="39" y="8"/>
                    </a:cubicBezTo>
                    <a:cubicBezTo>
                      <a:pt x="40" y="8"/>
                      <a:pt x="43" y="8"/>
                      <a:pt x="44" y="7"/>
                    </a:cubicBezTo>
                    <a:cubicBezTo>
                      <a:pt x="46" y="5"/>
                      <a:pt x="49" y="5"/>
                      <a:pt x="50" y="4"/>
                    </a:cubicBezTo>
                    <a:cubicBezTo>
                      <a:pt x="50" y="4"/>
                      <a:pt x="50" y="0"/>
                      <a:pt x="52" y="0"/>
                    </a:cubicBezTo>
                    <a:cubicBezTo>
                      <a:pt x="54" y="0"/>
                      <a:pt x="56" y="1"/>
                      <a:pt x="58" y="2"/>
                    </a:cubicBezTo>
                    <a:cubicBezTo>
                      <a:pt x="60" y="4"/>
                      <a:pt x="61" y="5"/>
                      <a:pt x="62" y="7"/>
                    </a:cubicBezTo>
                    <a:cubicBezTo>
                      <a:pt x="63" y="9"/>
                      <a:pt x="65" y="9"/>
                      <a:pt x="67" y="11"/>
                    </a:cubicBezTo>
                    <a:cubicBezTo>
                      <a:pt x="69" y="12"/>
                      <a:pt x="69" y="15"/>
                      <a:pt x="71" y="15"/>
                    </a:cubicBezTo>
                    <a:cubicBezTo>
                      <a:pt x="72" y="15"/>
                      <a:pt x="74" y="15"/>
                      <a:pt x="76" y="17"/>
                    </a:cubicBezTo>
                    <a:cubicBezTo>
                      <a:pt x="77" y="19"/>
                      <a:pt x="77" y="19"/>
                      <a:pt x="81" y="19"/>
                    </a:cubicBezTo>
                    <a:cubicBezTo>
                      <a:pt x="85" y="18"/>
                      <a:pt x="87" y="19"/>
                      <a:pt x="89" y="20"/>
                    </a:cubicBezTo>
                    <a:cubicBezTo>
                      <a:pt x="91" y="21"/>
                      <a:pt x="93" y="19"/>
                      <a:pt x="94" y="18"/>
                    </a:cubicBezTo>
                    <a:cubicBezTo>
                      <a:pt x="95" y="16"/>
                      <a:pt x="95" y="16"/>
                      <a:pt x="97" y="16"/>
                    </a:cubicBezTo>
                    <a:cubicBezTo>
                      <a:pt x="97" y="16"/>
                      <a:pt x="98" y="18"/>
                      <a:pt x="99" y="21"/>
                    </a:cubicBezTo>
                    <a:cubicBezTo>
                      <a:pt x="100" y="24"/>
                      <a:pt x="99" y="24"/>
                      <a:pt x="99" y="25"/>
                    </a:cubicBezTo>
                    <a:cubicBezTo>
                      <a:pt x="100" y="26"/>
                      <a:pt x="102" y="26"/>
                      <a:pt x="101" y="27"/>
                    </a:cubicBezTo>
                    <a:cubicBezTo>
                      <a:pt x="100" y="29"/>
                      <a:pt x="102" y="31"/>
                      <a:pt x="104" y="33"/>
                    </a:cubicBezTo>
                    <a:cubicBezTo>
                      <a:pt x="105" y="34"/>
                      <a:pt x="108" y="35"/>
                      <a:pt x="107" y="35"/>
                    </a:cubicBezTo>
                    <a:cubicBezTo>
                      <a:pt x="106" y="36"/>
                      <a:pt x="102" y="35"/>
                      <a:pt x="103" y="37"/>
                    </a:cubicBezTo>
                    <a:cubicBezTo>
                      <a:pt x="104" y="39"/>
                      <a:pt x="103" y="42"/>
                      <a:pt x="103" y="42"/>
                    </a:cubicBezTo>
                    <a:cubicBezTo>
                      <a:pt x="103" y="42"/>
                      <a:pt x="102" y="42"/>
                      <a:pt x="101" y="43"/>
                    </a:cubicBezTo>
                    <a:cubicBezTo>
                      <a:pt x="99" y="45"/>
                      <a:pt x="98" y="43"/>
                      <a:pt x="97" y="40"/>
                    </a:cubicBezTo>
                    <a:cubicBezTo>
                      <a:pt x="96" y="38"/>
                      <a:pt x="95" y="39"/>
                      <a:pt x="93" y="38"/>
                    </a:cubicBezTo>
                    <a:cubicBezTo>
                      <a:pt x="92" y="37"/>
                      <a:pt x="91" y="37"/>
                      <a:pt x="89" y="38"/>
                    </a:cubicBezTo>
                    <a:cubicBezTo>
                      <a:pt x="88" y="38"/>
                      <a:pt x="86" y="38"/>
                      <a:pt x="85" y="37"/>
                    </a:cubicBezTo>
                    <a:cubicBezTo>
                      <a:pt x="83" y="36"/>
                      <a:pt x="83" y="37"/>
                      <a:pt x="81" y="38"/>
                    </a:cubicBezTo>
                    <a:cubicBezTo>
                      <a:pt x="79" y="39"/>
                      <a:pt x="78" y="38"/>
                      <a:pt x="77" y="37"/>
                    </a:cubicBezTo>
                    <a:cubicBezTo>
                      <a:pt x="75" y="36"/>
                      <a:pt x="72" y="36"/>
                      <a:pt x="70" y="35"/>
                    </a:cubicBezTo>
                    <a:cubicBezTo>
                      <a:pt x="68" y="35"/>
                      <a:pt x="66" y="35"/>
                      <a:pt x="64" y="33"/>
                    </a:cubicBezTo>
                    <a:cubicBezTo>
                      <a:pt x="63" y="32"/>
                      <a:pt x="62" y="32"/>
                      <a:pt x="62" y="34"/>
                    </a:cubicBezTo>
                    <a:cubicBezTo>
                      <a:pt x="61" y="36"/>
                      <a:pt x="58" y="35"/>
                      <a:pt x="57" y="34"/>
                    </a:cubicBezTo>
                    <a:cubicBezTo>
                      <a:pt x="55" y="33"/>
                      <a:pt x="54" y="38"/>
                      <a:pt x="52" y="40"/>
                    </a:cubicBezTo>
                    <a:cubicBezTo>
                      <a:pt x="51" y="42"/>
                      <a:pt x="48" y="36"/>
                      <a:pt x="46" y="34"/>
                    </a:cubicBezTo>
                    <a:cubicBezTo>
                      <a:pt x="44" y="31"/>
                      <a:pt x="42" y="34"/>
                      <a:pt x="42" y="36"/>
                    </a:cubicBezTo>
                    <a:cubicBezTo>
                      <a:pt x="43" y="39"/>
                      <a:pt x="42" y="40"/>
                      <a:pt x="43" y="44"/>
                    </a:cubicBezTo>
                    <a:cubicBezTo>
                      <a:pt x="44" y="48"/>
                      <a:pt x="45" y="48"/>
                      <a:pt x="47" y="50"/>
                    </a:cubicBezTo>
                    <a:cubicBezTo>
                      <a:pt x="50" y="52"/>
                      <a:pt x="51" y="59"/>
                      <a:pt x="52" y="62"/>
                    </a:cubicBezTo>
                    <a:cubicBezTo>
                      <a:pt x="54" y="65"/>
                      <a:pt x="57" y="67"/>
                      <a:pt x="59" y="69"/>
                    </a:cubicBezTo>
                    <a:cubicBezTo>
                      <a:pt x="61" y="71"/>
                      <a:pt x="63" y="74"/>
                      <a:pt x="65" y="76"/>
                    </a:cubicBezTo>
                    <a:cubicBezTo>
                      <a:pt x="67" y="78"/>
                      <a:pt x="71" y="83"/>
                      <a:pt x="72" y="86"/>
                    </a:cubicBezTo>
                    <a:cubicBezTo>
                      <a:pt x="74" y="88"/>
                      <a:pt x="76" y="88"/>
                      <a:pt x="78" y="90"/>
                    </a:cubicBezTo>
                    <a:cubicBezTo>
                      <a:pt x="80" y="92"/>
                      <a:pt x="80" y="96"/>
                      <a:pt x="81" y="97"/>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48" name="Freeform 69"/>
              <p:cNvSpPr>
                <a:spLocks/>
              </p:cNvSpPr>
              <p:nvPr/>
            </p:nvSpPr>
            <p:spPr bwMode="gray">
              <a:xfrm>
                <a:off x="2607" y="32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49" name="Freeform 70"/>
              <p:cNvSpPr>
                <a:spLocks/>
              </p:cNvSpPr>
              <p:nvPr/>
            </p:nvSpPr>
            <p:spPr bwMode="gray">
              <a:xfrm>
                <a:off x="2291" y="3760"/>
                <a:ext cx="161" cy="118"/>
              </a:xfrm>
              <a:custGeom>
                <a:avLst/>
                <a:gdLst>
                  <a:gd name="T0" fmla="*/ 45 w 61"/>
                  <a:gd name="T1" fmla="*/ 3 h 45"/>
                  <a:gd name="T2" fmla="*/ 49 w 61"/>
                  <a:gd name="T3" fmla="*/ 4 h 45"/>
                  <a:gd name="T4" fmla="*/ 52 w 61"/>
                  <a:gd name="T5" fmla="*/ 5 h 45"/>
                  <a:gd name="T6" fmla="*/ 54 w 61"/>
                  <a:gd name="T7" fmla="*/ 3 h 45"/>
                  <a:gd name="T8" fmla="*/ 58 w 61"/>
                  <a:gd name="T9" fmla="*/ 1 h 45"/>
                  <a:gd name="T10" fmla="*/ 60 w 61"/>
                  <a:gd name="T11" fmla="*/ 2 h 45"/>
                  <a:gd name="T12" fmla="*/ 58 w 61"/>
                  <a:gd name="T13" fmla="*/ 7 h 45"/>
                  <a:gd name="T14" fmla="*/ 54 w 61"/>
                  <a:gd name="T15" fmla="*/ 14 h 45"/>
                  <a:gd name="T16" fmla="*/ 52 w 61"/>
                  <a:gd name="T17" fmla="*/ 22 h 45"/>
                  <a:gd name="T18" fmla="*/ 51 w 61"/>
                  <a:gd name="T19" fmla="*/ 25 h 45"/>
                  <a:gd name="T20" fmla="*/ 53 w 61"/>
                  <a:gd name="T21" fmla="*/ 28 h 45"/>
                  <a:gd name="T22" fmla="*/ 54 w 61"/>
                  <a:gd name="T23" fmla="*/ 33 h 45"/>
                  <a:gd name="T24" fmla="*/ 54 w 61"/>
                  <a:gd name="T25" fmla="*/ 36 h 45"/>
                  <a:gd name="T26" fmla="*/ 52 w 61"/>
                  <a:gd name="T27" fmla="*/ 41 h 45"/>
                  <a:gd name="T28" fmla="*/ 51 w 61"/>
                  <a:gd name="T29" fmla="*/ 45 h 45"/>
                  <a:gd name="T30" fmla="*/ 47 w 61"/>
                  <a:gd name="T31" fmla="*/ 44 h 45"/>
                  <a:gd name="T32" fmla="*/ 43 w 61"/>
                  <a:gd name="T33" fmla="*/ 44 h 45"/>
                  <a:gd name="T34" fmla="*/ 40 w 61"/>
                  <a:gd name="T35" fmla="*/ 42 h 45"/>
                  <a:gd name="T36" fmla="*/ 38 w 61"/>
                  <a:gd name="T37" fmla="*/ 38 h 45"/>
                  <a:gd name="T38" fmla="*/ 34 w 61"/>
                  <a:gd name="T39" fmla="*/ 34 h 45"/>
                  <a:gd name="T40" fmla="*/ 29 w 61"/>
                  <a:gd name="T41" fmla="*/ 33 h 45"/>
                  <a:gd name="T42" fmla="*/ 24 w 61"/>
                  <a:gd name="T43" fmla="*/ 31 h 45"/>
                  <a:gd name="T44" fmla="*/ 21 w 61"/>
                  <a:gd name="T45" fmla="*/ 28 h 45"/>
                  <a:gd name="T46" fmla="*/ 17 w 61"/>
                  <a:gd name="T47" fmla="*/ 25 h 45"/>
                  <a:gd name="T48" fmla="*/ 11 w 61"/>
                  <a:gd name="T49" fmla="*/ 22 h 45"/>
                  <a:gd name="T50" fmla="*/ 7 w 61"/>
                  <a:gd name="T51" fmla="*/ 21 h 45"/>
                  <a:gd name="T52" fmla="*/ 3 w 61"/>
                  <a:gd name="T53" fmla="*/ 20 h 45"/>
                  <a:gd name="T54" fmla="*/ 1 w 61"/>
                  <a:gd name="T55" fmla="*/ 17 h 45"/>
                  <a:gd name="T56" fmla="*/ 2 w 61"/>
                  <a:gd name="T57" fmla="*/ 10 h 45"/>
                  <a:gd name="T58" fmla="*/ 3 w 61"/>
                  <a:gd name="T59" fmla="*/ 8 h 45"/>
                  <a:gd name="T60" fmla="*/ 6 w 61"/>
                  <a:gd name="T61" fmla="*/ 4 h 45"/>
                  <a:gd name="T62" fmla="*/ 8 w 61"/>
                  <a:gd name="T63" fmla="*/ 6 h 45"/>
                  <a:gd name="T64" fmla="*/ 11 w 61"/>
                  <a:gd name="T65" fmla="*/ 7 h 45"/>
                  <a:gd name="T66" fmla="*/ 16 w 61"/>
                  <a:gd name="T67" fmla="*/ 4 h 45"/>
                  <a:gd name="T68" fmla="*/ 22 w 61"/>
                  <a:gd name="T69" fmla="*/ 8 h 45"/>
                  <a:gd name="T70" fmla="*/ 27 w 61"/>
                  <a:gd name="T71" fmla="*/ 8 h 45"/>
                  <a:gd name="T72" fmla="*/ 32 w 61"/>
                  <a:gd name="T73" fmla="*/ 8 h 45"/>
                  <a:gd name="T74" fmla="*/ 39 w 61"/>
                  <a:gd name="T75" fmla="*/ 7 h 45"/>
                  <a:gd name="T76" fmla="*/ 44 w 61"/>
                  <a:gd name="T77" fmla="*/ 5 h 45"/>
                  <a:gd name="T78" fmla="*/ 45 w 61"/>
                  <a:gd name="T79" fmla="*/ 3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1" h="45">
                    <a:moveTo>
                      <a:pt x="45" y="3"/>
                    </a:moveTo>
                    <a:cubicBezTo>
                      <a:pt x="47" y="2"/>
                      <a:pt x="48" y="3"/>
                      <a:pt x="49" y="4"/>
                    </a:cubicBezTo>
                    <a:cubicBezTo>
                      <a:pt x="50" y="5"/>
                      <a:pt x="51" y="6"/>
                      <a:pt x="52" y="5"/>
                    </a:cubicBezTo>
                    <a:cubicBezTo>
                      <a:pt x="53" y="3"/>
                      <a:pt x="53" y="3"/>
                      <a:pt x="54" y="3"/>
                    </a:cubicBezTo>
                    <a:cubicBezTo>
                      <a:pt x="55" y="3"/>
                      <a:pt x="58" y="2"/>
                      <a:pt x="58" y="1"/>
                    </a:cubicBezTo>
                    <a:cubicBezTo>
                      <a:pt x="59" y="0"/>
                      <a:pt x="61" y="0"/>
                      <a:pt x="60" y="2"/>
                    </a:cubicBezTo>
                    <a:cubicBezTo>
                      <a:pt x="60" y="3"/>
                      <a:pt x="58" y="6"/>
                      <a:pt x="58" y="7"/>
                    </a:cubicBezTo>
                    <a:cubicBezTo>
                      <a:pt x="57" y="8"/>
                      <a:pt x="55" y="12"/>
                      <a:pt x="54" y="14"/>
                    </a:cubicBezTo>
                    <a:cubicBezTo>
                      <a:pt x="53" y="16"/>
                      <a:pt x="53" y="20"/>
                      <a:pt x="52" y="22"/>
                    </a:cubicBezTo>
                    <a:cubicBezTo>
                      <a:pt x="51" y="23"/>
                      <a:pt x="50" y="23"/>
                      <a:pt x="51" y="25"/>
                    </a:cubicBezTo>
                    <a:cubicBezTo>
                      <a:pt x="51" y="27"/>
                      <a:pt x="52" y="27"/>
                      <a:pt x="53" y="28"/>
                    </a:cubicBezTo>
                    <a:cubicBezTo>
                      <a:pt x="53" y="29"/>
                      <a:pt x="53" y="32"/>
                      <a:pt x="54" y="33"/>
                    </a:cubicBezTo>
                    <a:cubicBezTo>
                      <a:pt x="54" y="34"/>
                      <a:pt x="55" y="35"/>
                      <a:pt x="54" y="36"/>
                    </a:cubicBezTo>
                    <a:cubicBezTo>
                      <a:pt x="54" y="37"/>
                      <a:pt x="52" y="39"/>
                      <a:pt x="52" y="41"/>
                    </a:cubicBezTo>
                    <a:cubicBezTo>
                      <a:pt x="52" y="43"/>
                      <a:pt x="52" y="45"/>
                      <a:pt x="51" y="45"/>
                    </a:cubicBezTo>
                    <a:cubicBezTo>
                      <a:pt x="50" y="45"/>
                      <a:pt x="48" y="44"/>
                      <a:pt x="47" y="44"/>
                    </a:cubicBezTo>
                    <a:cubicBezTo>
                      <a:pt x="45" y="45"/>
                      <a:pt x="44" y="44"/>
                      <a:pt x="43" y="44"/>
                    </a:cubicBezTo>
                    <a:cubicBezTo>
                      <a:pt x="42" y="43"/>
                      <a:pt x="41" y="43"/>
                      <a:pt x="40" y="42"/>
                    </a:cubicBezTo>
                    <a:cubicBezTo>
                      <a:pt x="39" y="42"/>
                      <a:pt x="39" y="40"/>
                      <a:pt x="38" y="38"/>
                    </a:cubicBezTo>
                    <a:cubicBezTo>
                      <a:pt x="38" y="37"/>
                      <a:pt x="35" y="34"/>
                      <a:pt x="34" y="34"/>
                    </a:cubicBezTo>
                    <a:cubicBezTo>
                      <a:pt x="33" y="33"/>
                      <a:pt x="31" y="33"/>
                      <a:pt x="29" y="33"/>
                    </a:cubicBezTo>
                    <a:cubicBezTo>
                      <a:pt x="27" y="33"/>
                      <a:pt x="25" y="32"/>
                      <a:pt x="24" y="31"/>
                    </a:cubicBezTo>
                    <a:cubicBezTo>
                      <a:pt x="23" y="29"/>
                      <a:pt x="22" y="29"/>
                      <a:pt x="21" y="28"/>
                    </a:cubicBezTo>
                    <a:cubicBezTo>
                      <a:pt x="19" y="27"/>
                      <a:pt x="17" y="27"/>
                      <a:pt x="17" y="25"/>
                    </a:cubicBezTo>
                    <a:cubicBezTo>
                      <a:pt x="16" y="23"/>
                      <a:pt x="13" y="22"/>
                      <a:pt x="11" y="22"/>
                    </a:cubicBezTo>
                    <a:cubicBezTo>
                      <a:pt x="10" y="21"/>
                      <a:pt x="10" y="20"/>
                      <a:pt x="7" y="21"/>
                    </a:cubicBezTo>
                    <a:cubicBezTo>
                      <a:pt x="5" y="21"/>
                      <a:pt x="4" y="22"/>
                      <a:pt x="3" y="20"/>
                    </a:cubicBezTo>
                    <a:cubicBezTo>
                      <a:pt x="3" y="18"/>
                      <a:pt x="2" y="17"/>
                      <a:pt x="1" y="17"/>
                    </a:cubicBezTo>
                    <a:cubicBezTo>
                      <a:pt x="0" y="16"/>
                      <a:pt x="2" y="11"/>
                      <a:pt x="2" y="10"/>
                    </a:cubicBezTo>
                    <a:cubicBezTo>
                      <a:pt x="2" y="9"/>
                      <a:pt x="2" y="8"/>
                      <a:pt x="3" y="8"/>
                    </a:cubicBezTo>
                    <a:cubicBezTo>
                      <a:pt x="3" y="8"/>
                      <a:pt x="5" y="5"/>
                      <a:pt x="6" y="4"/>
                    </a:cubicBezTo>
                    <a:cubicBezTo>
                      <a:pt x="6" y="3"/>
                      <a:pt x="7" y="5"/>
                      <a:pt x="8" y="6"/>
                    </a:cubicBezTo>
                    <a:cubicBezTo>
                      <a:pt x="9" y="8"/>
                      <a:pt x="10" y="9"/>
                      <a:pt x="11" y="7"/>
                    </a:cubicBezTo>
                    <a:cubicBezTo>
                      <a:pt x="13" y="4"/>
                      <a:pt x="15" y="3"/>
                      <a:pt x="16" y="4"/>
                    </a:cubicBezTo>
                    <a:cubicBezTo>
                      <a:pt x="18" y="4"/>
                      <a:pt x="21" y="7"/>
                      <a:pt x="22" y="8"/>
                    </a:cubicBezTo>
                    <a:cubicBezTo>
                      <a:pt x="23" y="8"/>
                      <a:pt x="25" y="9"/>
                      <a:pt x="27" y="8"/>
                    </a:cubicBezTo>
                    <a:cubicBezTo>
                      <a:pt x="29" y="8"/>
                      <a:pt x="30" y="8"/>
                      <a:pt x="32" y="8"/>
                    </a:cubicBezTo>
                    <a:cubicBezTo>
                      <a:pt x="33" y="7"/>
                      <a:pt x="36" y="8"/>
                      <a:pt x="39" y="7"/>
                    </a:cubicBezTo>
                    <a:cubicBezTo>
                      <a:pt x="41" y="7"/>
                      <a:pt x="42" y="6"/>
                      <a:pt x="44" y="5"/>
                    </a:cubicBezTo>
                    <a:cubicBezTo>
                      <a:pt x="45" y="3"/>
                      <a:pt x="45" y="3"/>
                      <a:pt x="45" y="3"/>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50" name="Freeform 71"/>
              <p:cNvSpPr>
                <a:spLocks/>
              </p:cNvSpPr>
              <p:nvPr/>
            </p:nvSpPr>
            <p:spPr bwMode="gray">
              <a:xfrm>
                <a:off x="2672" y="3513"/>
                <a:ext cx="313" cy="386"/>
              </a:xfrm>
              <a:custGeom>
                <a:avLst/>
                <a:gdLst>
                  <a:gd name="T0" fmla="*/ 95 w 119"/>
                  <a:gd name="T1" fmla="*/ 22 h 147"/>
                  <a:gd name="T2" fmla="*/ 75 w 119"/>
                  <a:gd name="T3" fmla="*/ 26 h 147"/>
                  <a:gd name="T4" fmla="*/ 69 w 119"/>
                  <a:gd name="T5" fmla="*/ 33 h 147"/>
                  <a:gd name="T6" fmla="*/ 76 w 119"/>
                  <a:gd name="T7" fmla="*/ 40 h 147"/>
                  <a:gd name="T8" fmla="*/ 72 w 119"/>
                  <a:gd name="T9" fmla="*/ 40 h 147"/>
                  <a:gd name="T10" fmla="*/ 71 w 119"/>
                  <a:gd name="T11" fmla="*/ 45 h 147"/>
                  <a:gd name="T12" fmla="*/ 62 w 119"/>
                  <a:gd name="T13" fmla="*/ 39 h 147"/>
                  <a:gd name="T14" fmla="*/ 63 w 119"/>
                  <a:gd name="T15" fmla="*/ 49 h 147"/>
                  <a:gd name="T16" fmla="*/ 51 w 119"/>
                  <a:gd name="T17" fmla="*/ 34 h 147"/>
                  <a:gd name="T18" fmla="*/ 46 w 119"/>
                  <a:gd name="T19" fmla="*/ 48 h 147"/>
                  <a:gd name="T20" fmla="*/ 61 w 119"/>
                  <a:gd name="T21" fmla="*/ 70 h 147"/>
                  <a:gd name="T22" fmla="*/ 51 w 119"/>
                  <a:gd name="T23" fmla="*/ 70 h 147"/>
                  <a:gd name="T24" fmla="*/ 59 w 119"/>
                  <a:gd name="T25" fmla="*/ 74 h 147"/>
                  <a:gd name="T26" fmla="*/ 73 w 119"/>
                  <a:gd name="T27" fmla="*/ 85 h 147"/>
                  <a:gd name="T28" fmla="*/ 81 w 119"/>
                  <a:gd name="T29" fmla="*/ 99 h 147"/>
                  <a:gd name="T30" fmla="*/ 76 w 119"/>
                  <a:gd name="T31" fmla="*/ 95 h 147"/>
                  <a:gd name="T32" fmla="*/ 65 w 119"/>
                  <a:gd name="T33" fmla="*/ 86 h 147"/>
                  <a:gd name="T34" fmla="*/ 48 w 119"/>
                  <a:gd name="T35" fmla="*/ 79 h 147"/>
                  <a:gd name="T36" fmla="*/ 60 w 119"/>
                  <a:gd name="T37" fmla="*/ 83 h 147"/>
                  <a:gd name="T38" fmla="*/ 68 w 119"/>
                  <a:gd name="T39" fmla="*/ 94 h 147"/>
                  <a:gd name="T40" fmla="*/ 77 w 119"/>
                  <a:gd name="T41" fmla="*/ 110 h 147"/>
                  <a:gd name="T42" fmla="*/ 64 w 119"/>
                  <a:gd name="T43" fmla="*/ 106 h 147"/>
                  <a:gd name="T44" fmla="*/ 57 w 119"/>
                  <a:gd name="T45" fmla="*/ 107 h 147"/>
                  <a:gd name="T46" fmla="*/ 66 w 119"/>
                  <a:gd name="T47" fmla="*/ 116 h 147"/>
                  <a:gd name="T48" fmla="*/ 58 w 119"/>
                  <a:gd name="T49" fmla="*/ 121 h 147"/>
                  <a:gd name="T50" fmla="*/ 55 w 119"/>
                  <a:gd name="T51" fmla="*/ 125 h 147"/>
                  <a:gd name="T52" fmla="*/ 61 w 119"/>
                  <a:gd name="T53" fmla="*/ 144 h 147"/>
                  <a:gd name="T54" fmla="*/ 51 w 119"/>
                  <a:gd name="T55" fmla="*/ 135 h 147"/>
                  <a:gd name="T56" fmla="*/ 43 w 119"/>
                  <a:gd name="T57" fmla="*/ 135 h 147"/>
                  <a:gd name="T58" fmla="*/ 36 w 119"/>
                  <a:gd name="T59" fmla="*/ 136 h 147"/>
                  <a:gd name="T60" fmla="*/ 29 w 119"/>
                  <a:gd name="T61" fmla="*/ 125 h 147"/>
                  <a:gd name="T62" fmla="*/ 21 w 119"/>
                  <a:gd name="T63" fmla="*/ 105 h 147"/>
                  <a:gd name="T64" fmla="*/ 34 w 119"/>
                  <a:gd name="T65" fmla="*/ 93 h 147"/>
                  <a:gd name="T66" fmla="*/ 53 w 119"/>
                  <a:gd name="T67" fmla="*/ 103 h 147"/>
                  <a:gd name="T68" fmla="*/ 51 w 119"/>
                  <a:gd name="T69" fmla="*/ 97 h 147"/>
                  <a:gd name="T70" fmla="*/ 43 w 119"/>
                  <a:gd name="T71" fmla="*/ 94 h 147"/>
                  <a:gd name="T72" fmla="*/ 23 w 119"/>
                  <a:gd name="T73" fmla="*/ 90 h 147"/>
                  <a:gd name="T74" fmla="*/ 12 w 119"/>
                  <a:gd name="T75" fmla="*/ 83 h 147"/>
                  <a:gd name="T76" fmla="*/ 15 w 119"/>
                  <a:gd name="T77" fmla="*/ 76 h 147"/>
                  <a:gd name="T78" fmla="*/ 10 w 119"/>
                  <a:gd name="T79" fmla="*/ 74 h 147"/>
                  <a:gd name="T80" fmla="*/ 0 w 119"/>
                  <a:gd name="T81" fmla="*/ 58 h 147"/>
                  <a:gd name="T82" fmla="*/ 5 w 119"/>
                  <a:gd name="T83" fmla="*/ 46 h 147"/>
                  <a:gd name="T84" fmla="*/ 15 w 119"/>
                  <a:gd name="T85" fmla="*/ 26 h 147"/>
                  <a:gd name="T86" fmla="*/ 30 w 119"/>
                  <a:gd name="T87" fmla="*/ 20 h 147"/>
                  <a:gd name="T88" fmla="*/ 50 w 119"/>
                  <a:gd name="T89" fmla="*/ 10 h 147"/>
                  <a:gd name="T90" fmla="*/ 80 w 119"/>
                  <a:gd name="T91" fmla="*/ 7 h 147"/>
                  <a:gd name="T92" fmla="*/ 104 w 119"/>
                  <a:gd name="T93" fmla="*/ 12 h 147"/>
                  <a:gd name="T94" fmla="*/ 116 w 119"/>
                  <a:gd name="T95" fmla="*/ 3 h 147"/>
                  <a:gd name="T96" fmla="*/ 114 w 119"/>
                  <a:gd name="T97" fmla="*/ 23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9" h="147">
                    <a:moveTo>
                      <a:pt x="109" y="27"/>
                    </a:moveTo>
                    <a:cubicBezTo>
                      <a:pt x="109" y="27"/>
                      <a:pt x="110" y="25"/>
                      <a:pt x="107" y="25"/>
                    </a:cubicBezTo>
                    <a:cubicBezTo>
                      <a:pt x="105" y="25"/>
                      <a:pt x="103" y="25"/>
                      <a:pt x="100" y="24"/>
                    </a:cubicBezTo>
                    <a:cubicBezTo>
                      <a:pt x="98" y="23"/>
                      <a:pt x="97" y="24"/>
                      <a:pt x="95" y="22"/>
                    </a:cubicBezTo>
                    <a:cubicBezTo>
                      <a:pt x="94" y="20"/>
                      <a:pt x="92" y="19"/>
                      <a:pt x="89" y="21"/>
                    </a:cubicBezTo>
                    <a:cubicBezTo>
                      <a:pt x="87" y="23"/>
                      <a:pt x="87" y="25"/>
                      <a:pt x="85" y="25"/>
                    </a:cubicBezTo>
                    <a:cubicBezTo>
                      <a:pt x="82" y="24"/>
                      <a:pt x="81" y="23"/>
                      <a:pt x="80" y="23"/>
                    </a:cubicBezTo>
                    <a:cubicBezTo>
                      <a:pt x="79" y="22"/>
                      <a:pt x="76" y="23"/>
                      <a:pt x="75" y="26"/>
                    </a:cubicBezTo>
                    <a:cubicBezTo>
                      <a:pt x="74" y="28"/>
                      <a:pt x="74" y="29"/>
                      <a:pt x="72" y="28"/>
                    </a:cubicBezTo>
                    <a:cubicBezTo>
                      <a:pt x="70" y="28"/>
                      <a:pt x="68" y="25"/>
                      <a:pt x="67" y="26"/>
                    </a:cubicBezTo>
                    <a:cubicBezTo>
                      <a:pt x="66" y="27"/>
                      <a:pt x="65" y="29"/>
                      <a:pt x="66" y="30"/>
                    </a:cubicBezTo>
                    <a:cubicBezTo>
                      <a:pt x="66" y="32"/>
                      <a:pt x="69" y="31"/>
                      <a:pt x="69" y="33"/>
                    </a:cubicBezTo>
                    <a:cubicBezTo>
                      <a:pt x="69" y="34"/>
                      <a:pt x="68" y="36"/>
                      <a:pt x="69" y="36"/>
                    </a:cubicBezTo>
                    <a:cubicBezTo>
                      <a:pt x="70" y="37"/>
                      <a:pt x="69" y="36"/>
                      <a:pt x="71" y="36"/>
                    </a:cubicBezTo>
                    <a:cubicBezTo>
                      <a:pt x="72" y="35"/>
                      <a:pt x="74" y="35"/>
                      <a:pt x="74" y="37"/>
                    </a:cubicBezTo>
                    <a:cubicBezTo>
                      <a:pt x="74" y="38"/>
                      <a:pt x="74" y="39"/>
                      <a:pt x="76" y="40"/>
                    </a:cubicBezTo>
                    <a:cubicBezTo>
                      <a:pt x="78" y="41"/>
                      <a:pt x="80" y="43"/>
                      <a:pt x="79" y="44"/>
                    </a:cubicBezTo>
                    <a:cubicBezTo>
                      <a:pt x="79" y="45"/>
                      <a:pt x="77" y="45"/>
                      <a:pt x="76" y="43"/>
                    </a:cubicBezTo>
                    <a:cubicBezTo>
                      <a:pt x="75" y="42"/>
                      <a:pt x="74" y="41"/>
                      <a:pt x="73" y="40"/>
                    </a:cubicBezTo>
                    <a:cubicBezTo>
                      <a:pt x="73" y="40"/>
                      <a:pt x="73" y="41"/>
                      <a:pt x="72" y="40"/>
                    </a:cubicBezTo>
                    <a:cubicBezTo>
                      <a:pt x="71" y="39"/>
                      <a:pt x="71" y="38"/>
                      <a:pt x="70" y="38"/>
                    </a:cubicBezTo>
                    <a:cubicBezTo>
                      <a:pt x="70" y="37"/>
                      <a:pt x="69" y="38"/>
                      <a:pt x="67" y="38"/>
                    </a:cubicBezTo>
                    <a:cubicBezTo>
                      <a:pt x="66" y="39"/>
                      <a:pt x="66" y="40"/>
                      <a:pt x="67" y="41"/>
                    </a:cubicBezTo>
                    <a:cubicBezTo>
                      <a:pt x="68" y="43"/>
                      <a:pt x="71" y="43"/>
                      <a:pt x="71" y="45"/>
                    </a:cubicBezTo>
                    <a:cubicBezTo>
                      <a:pt x="72" y="47"/>
                      <a:pt x="72" y="48"/>
                      <a:pt x="71" y="48"/>
                    </a:cubicBezTo>
                    <a:cubicBezTo>
                      <a:pt x="70" y="48"/>
                      <a:pt x="68" y="45"/>
                      <a:pt x="67" y="44"/>
                    </a:cubicBezTo>
                    <a:cubicBezTo>
                      <a:pt x="66" y="43"/>
                      <a:pt x="65" y="42"/>
                      <a:pt x="63" y="41"/>
                    </a:cubicBezTo>
                    <a:cubicBezTo>
                      <a:pt x="62" y="39"/>
                      <a:pt x="62" y="40"/>
                      <a:pt x="62" y="39"/>
                    </a:cubicBezTo>
                    <a:cubicBezTo>
                      <a:pt x="61" y="39"/>
                      <a:pt x="60" y="40"/>
                      <a:pt x="60" y="41"/>
                    </a:cubicBezTo>
                    <a:cubicBezTo>
                      <a:pt x="59" y="42"/>
                      <a:pt x="60" y="43"/>
                      <a:pt x="61" y="44"/>
                    </a:cubicBezTo>
                    <a:cubicBezTo>
                      <a:pt x="62" y="45"/>
                      <a:pt x="65" y="48"/>
                      <a:pt x="65" y="49"/>
                    </a:cubicBezTo>
                    <a:cubicBezTo>
                      <a:pt x="66" y="50"/>
                      <a:pt x="65" y="50"/>
                      <a:pt x="63" y="49"/>
                    </a:cubicBezTo>
                    <a:cubicBezTo>
                      <a:pt x="61" y="48"/>
                      <a:pt x="59" y="50"/>
                      <a:pt x="59" y="48"/>
                    </a:cubicBezTo>
                    <a:cubicBezTo>
                      <a:pt x="59" y="45"/>
                      <a:pt x="60" y="43"/>
                      <a:pt x="58" y="41"/>
                    </a:cubicBezTo>
                    <a:cubicBezTo>
                      <a:pt x="56" y="40"/>
                      <a:pt x="52" y="39"/>
                      <a:pt x="52" y="38"/>
                    </a:cubicBezTo>
                    <a:cubicBezTo>
                      <a:pt x="51" y="36"/>
                      <a:pt x="50" y="36"/>
                      <a:pt x="51" y="34"/>
                    </a:cubicBezTo>
                    <a:cubicBezTo>
                      <a:pt x="52" y="33"/>
                      <a:pt x="52" y="30"/>
                      <a:pt x="51" y="31"/>
                    </a:cubicBezTo>
                    <a:cubicBezTo>
                      <a:pt x="50" y="31"/>
                      <a:pt x="47" y="33"/>
                      <a:pt x="47" y="34"/>
                    </a:cubicBezTo>
                    <a:cubicBezTo>
                      <a:pt x="46" y="35"/>
                      <a:pt x="45" y="39"/>
                      <a:pt x="45" y="41"/>
                    </a:cubicBezTo>
                    <a:cubicBezTo>
                      <a:pt x="45" y="44"/>
                      <a:pt x="44" y="45"/>
                      <a:pt x="46" y="48"/>
                    </a:cubicBezTo>
                    <a:cubicBezTo>
                      <a:pt x="47" y="50"/>
                      <a:pt x="49" y="52"/>
                      <a:pt x="50" y="54"/>
                    </a:cubicBezTo>
                    <a:cubicBezTo>
                      <a:pt x="51" y="56"/>
                      <a:pt x="51" y="57"/>
                      <a:pt x="53" y="59"/>
                    </a:cubicBezTo>
                    <a:cubicBezTo>
                      <a:pt x="55" y="61"/>
                      <a:pt x="57" y="63"/>
                      <a:pt x="58" y="65"/>
                    </a:cubicBezTo>
                    <a:cubicBezTo>
                      <a:pt x="60" y="66"/>
                      <a:pt x="62" y="69"/>
                      <a:pt x="61" y="70"/>
                    </a:cubicBezTo>
                    <a:cubicBezTo>
                      <a:pt x="60" y="71"/>
                      <a:pt x="56" y="75"/>
                      <a:pt x="57" y="73"/>
                    </a:cubicBezTo>
                    <a:cubicBezTo>
                      <a:pt x="57" y="71"/>
                      <a:pt x="58" y="71"/>
                      <a:pt x="57" y="68"/>
                    </a:cubicBezTo>
                    <a:cubicBezTo>
                      <a:pt x="56" y="66"/>
                      <a:pt x="55" y="66"/>
                      <a:pt x="54" y="66"/>
                    </a:cubicBezTo>
                    <a:cubicBezTo>
                      <a:pt x="52" y="65"/>
                      <a:pt x="51" y="68"/>
                      <a:pt x="51" y="70"/>
                    </a:cubicBezTo>
                    <a:cubicBezTo>
                      <a:pt x="52" y="71"/>
                      <a:pt x="53" y="73"/>
                      <a:pt x="55" y="73"/>
                    </a:cubicBezTo>
                    <a:cubicBezTo>
                      <a:pt x="56" y="74"/>
                      <a:pt x="56" y="75"/>
                      <a:pt x="55" y="76"/>
                    </a:cubicBezTo>
                    <a:cubicBezTo>
                      <a:pt x="54" y="76"/>
                      <a:pt x="54" y="78"/>
                      <a:pt x="55" y="78"/>
                    </a:cubicBezTo>
                    <a:cubicBezTo>
                      <a:pt x="55" y="78"/>
                      <a:pt x="57" y="75"/>
                      <a:pt x="59" y="74"/>
                    </a:cubicBezTo>
                    <a:cubicBezTo>
                      <a:pt x="60" y="74"/>
                      <a:pt x="61" y="74"/>
                      <a:pt x="62" y="75"/>
                    </a:cubicBezTo>
                    <a:cubicBezTo>
                      <a:pt x="63" y="77"/>
                      <a:pt x="64" y="78"/>
                      <a:pt x="64" y="79"/>
                    </a:cubicBezTo>
                    <a:cubicBezTo>
                      <a:pt x="65" y="80"/>
                      <a:pt x="67" y="81"/>
                      <a:pt x="68" y="82"/>
                    </a:cubicBezTo>
                    <a:cubicBezTo>
                      <a:pt x="70" y="83"/>
                      <a:pt x="71" y="85"/>
                      <a:pt x="73" y="85"/>
                    </a:cubicBezTo>
                    <a:cubicBezTo>
                      <a:pt x="74" y="84"/>
                      <a:pt x="76" y="86"/>
                      <a:pt x="76" y="87"/>
                    </a:cubicBezTo>
                    <a:cubicBezTo>
                      <a:pt x="77" y="88"/>
                      <a:pt x="77" y="89"/>
                      <a:pt x="77" y="90"/>
                    </a:cubicBezTo>
                    <a:cubicBezTo>
                      <a:pt x="77" y="92"/>
                      <a:pt x="77" y="93"/>
                      <a:pt x="79" y="95"/>
                    </a:cubicBezTo>
                    <a:cubicBezTo>
                      <a:pt x="81" y="97"/>
                      <a:pt x="79" y="98"/>
                      <a:pt x="81" y="99"/>
                    </a:cubicBezTo>
                    <a:cubicBezTo>
                      <a:pt x="83" y="99"/>
                      <a:pt x="85" y="99"/>
                      <a:pt x="86" y="100"/>
                    </a:cubicBezTo>
                    <a:cubicBezTo>
                      <a:pt x="86" y="102"/>
                      <a:pt x="86" y="106"/>
                      <a:pt x="84" y="105"/>
                    </a:cubicBezTo>
                    <a:cubicBezTo>
                      <a:pt x="83" y="104"/>
                      <a:pt x="81" y="102"/>
                      <a:pt x="80" y="100"/>
                    </a:cubicBezTo>
                    <a:cubicBezTo>
                      <a:pt x="78" y="99"/>
                      <a:pt x="77" y="97"/>
                      <a:pt x="76" y="95"/>
                    </a:cubicBezTo>
                    <a:cubicBezTo>
                      <a:pt x="75" y="93"/>
                      <a:pt x="75" y="92"/>
                      <a:pt x="74" y="92"/>
                    </a:cubicBezTo>
                    <a:cubicBezTo>
                      <a:pt x="72" y="92"/>
                      <a:pt x="71" y="92"/>
                      <a:pt x="69" y="91"/>
                    </a:cubicBezTo>
                    <a:cubicBezTo>
                      <a:pt x="68" y="91"/>
                      <a:pt x="66" y="91"/>
                      <a:pt x="66" y="89"/>
                    </a:cubicBezTo>
                    <a:cubicBezTo>
                      <a:pt x="66" y="87"/>
                      <a:pt x="66" y="87"/>
                      <a:pt x="65" y="86"/>
                    </a:cubicBezTo>
                    <a:cubicBezTo>
                      <a:pt x="63" y="85"/>
                      <a:pt x="61" y="83"/>
                      <a:pt x="60" y="82"/>
                    </a:cubicBezTo>
                    <a:cubicBezTo>
                      <a:pt x="59" y="80"/>
                      <a:pt x="59" y="81"/>
                      <a:pt x="58" y="80"/>
                    </a:cubicBezTo>
                    <a:cubicBezTo>
                      <a:pt x="57" y="79"/>
                      <a:pt x="53" y="79"/>
                      <a:pt x="52" y="78"/>
                    </a:cubicBezTo>
                    <a:cubicBezTo>
                      <a:pt x="51" y="78"/>
                      <a:pt x="49" y="79"/>
                      <a:pt x="48" y="79"/>
                    </a:cubicBezTo>
                    <a:cubicBezTo>
                      <a:pt x="47" y="78"/>
                      <a:pt x="50" y="81"/>
                      <a:pt x="51" y="82"/>
                    </a:cubicBezTo>
                    <a:cubicBezTo>
                      <a:pt x="53" y="82"/>
                      <a:pt x="55" y="81"/>
                      <a:pt x="55" y="82"/>
                    </a:cubicBezTo>
                    <a:cubicBezTo>
                      <a:pt x="56" y="82"/>
                      <a:pt x="55" y="83"/>
                      <a:pt x="57" y="84"/>
                    </a:cubicBezTo>
                    <a:cubicBezTo>
                      <a:pt x="58" y="85"/>
                      <a:pt x="59" y="83"/>
                      <a:pt x="60" y="83"/>
                    </a:cubicBezTo>
                    <a:cubicBezTo>
                      <a:pt x="60" y="84"/>
                      <a:pt x="60" y="84"/>
                      <a:pt x="60" y="86"/>
                    </a:cubicBezTo>
                    <a:cubicBezTo>
                      <a:pt x="60" y="88"/>
                      <a:pt x="62" y="88"/>
                      <a:pt x="63" y="89"/>
                    </a:cubicBezTo>
                    <a:cubicBezTo>
                      <a:pt x="64" y="89"/>
                      <a:pt x="65" y="89"/>
                      <a:pt x="65" y="90"/>
                    </a:cubicBezTo>
                    <a:cubicBezTo>
                      <a:pt x="66" y="91"/>
                      <a:pt x="67" y="93"/>
                      <a:pt x="68" y="94"/>
                    </a:cubicBezTo>
                    <a:cubicBezTo>
                      <a:pt x="70" y="94"/>
                      <a:pt x="72" y="94"/>
                      <a:pt x="74" y="95"/>
                    </a:cubicBezTo>
                    <a:cubicBezTo>
                      <a:pt x="75" y="96"/>
                      <a:pt x="76" y="98"/>
                      <a:pt x="75" y="99"/>
                    </a:cubicBezTo>
                    <a:cubicBezTo>
                      <a:pt x="75" y="101"/>
                      <a:pt x="74" y="103"/>
                      <a:pt x="75" y="104"/>
                    </a:cubicBezTo>
                    <a:cubicBezTo>
                      <a:pt x="75" y="106"/>
                      <a:pt x="77" y="108"/>
                      <a:pt x="77" y="110"/>
                    </a:cubicBezTo>
                    <a:cubicBezTo>
                      <a:pt x="77" y="112"/>
                      <a:pt x="76" y="113"/>
                      <a:pt x="75" y="113"/>
                    </a:cubicBezTo>
                    <a:cubicBezTo>
                      <a:pt x="75" y="112"/>
                      <a:pt x="71" y="108"/>
                      <a:pt x="70" y="107"/>
                    </a:cubicBezTo>
                    <a:cubicBezTo>
                      <a:pt x="70" y="106"/>
                      <a:pt x="68" y="105"/>
                      <a:pt x="67" y="105"/>
                    </a:cubicBezTo>
                    <a:cubicBezTo>
                      <a:pt x="66" y="105"/>
                      <a:pt x="66" y="106"/>
                      <a:pt x="64" y="106"/>
                    </a:cubicBezTo>
                    <a:cubicBezTo>
                      <a:pt x="63" y="106"/>
                      <a:pt x="63" y="105"/>
                      <a:pt x="63" y="104"/>
                    </a:cubicBezTo>
                    <a:cubicBezTo>
                      <a:pt x="63" y="103"/>
                      <a:pt x="61" y="103"/>
                      <a:pt x="60" y="103"/>
                    </a:cubicBezTo>
                    <a:cubicBezTo>
                      <a:pt x="60" y="103"/>
                      <a:pt x="59" y="105"/>
                      <a:pt x="58" y="105"/>
                    </a:cubicBezTo>
                    <a:cubicBezTo>
                      <a:pt x="57" y="105"/>
                      <a:pt x="56" y="106"/>
                      <a:pt x="57" y="107"/>
                    </a:cubicBezTo>
                    <a:cubicBezTo>
                      <a:pt x="58" y="107"/>
                      <a:pt x="58" y="107"/>
                      <a:pt x="58" y="109"/>
                    </a:cubicBezTo>
                    <a:cubicBezTo>
                      <a:pt x="59" y="110"/>
                      <a:pt x="58" y="112"/>
                      <a:pt x="59" y="113"/>
                    </a:cubicBezTo>
                    <a:cubicBezTo>
                      <a:pt x="61" y="114"/>
                      <a:pt x="62" y="113"/>
                      <a:pt x="63" y="114"/>
                    </a:cubicBezTo>
                    <a:cubicBezTo>
                      <a:pt x="64" y="114"/>
                      <a:pt x="65" y="115"/>
                      <a:pt x="66" y="116"/>
                    </a:cubicBezTo>
                    <a:cubicBezTo>
                      <a:pt x="67" y="117"/>
                      <a:pt x="65" y="118"/>
                      <a:pt x="64" y="119"/>
                    </a:cubicBezTo>
                    <a:cubicBezTo>
                      <a:pt x="63" y="119"/>
                      <a:pt x="62" y="118"/>
                      <a:pt x="62" y="119"/>
                    </a:cubicBezTo>
                    <a:cubicBezTo>
                      <a:pt x="61" y="120"/>
                      <a:pt x="61" y="120"/>
                      <a:pt x="60" y="121"/>
                    </a:cubicBezTo>
                    <a:cubicBezTo>
                      <a:pt x="59" y="122"/>
                      <a:pt x="58" y="123"/>
                      <a:pt x="58" y="121"/>
                    </a:cubicBezTo>
                    <a:cubicBezTo>
                      <a:pt x="58" y="119"/>
                      <a:pt x="59" y="117"/>
                      <a:pt x="57" y="117"/>
                    </a:cubicBezTo>
                    <a:cubicBezTo>
                      <a:pt x="55" y="116"/>
                      <a:pt x="54" y="115"/>
                      <a:pt x="53" y="115"/>
                    </a:cubicBezTo>
                    <a:cubicBezTo>
                      <a:pt x="51" y="115"/>
                      <a:pt x="51" y="117"/>
                      <a:pt x="52" y="119"/>
                    </a:cubicBezTo>
                    <a:cubicBezTo>
                      <a:pt x="53" y="122"/>
                      <a:pt x="54" y="123"/>
                      <a:pt x="55" y="125"/>
                    </a:cubicBezTo>
                    <a:cubicBezTo>
                      <a:pt x="56" y="127"/>
                      <a:pt x="57" y="130"/>
                      <a:pt x="57" y="132"/>
                    </a:cubicBezTo>
                    <a:cubicBezTo>
                      <a:pt x="58" y="133"/>
                      <a:pt x="59" y="135"/>
                      <a:pt x="58" y="136"/>
                    </a:cubicBezTo>
                    <a:cubicBezTo>
                      <a:pt x="58" y="137"/>
                      <a:pt x="57" y="138"/>
                      <a:pt x="58" y="139"/>
                    </a:cubicBezTo>
                    <a:cubicBezTo>
                      <a:pt x="58" y="141"/>
                      <a:pt x="61" y="142"/>
                      <a:pt x="61" y="144"/>
                    </a:cubicBezTo>
                    <a:cubicBezTo>
                      <a:pt x="61" y="145"/>
                      <a:pt x="60" y="147"/>
                      <a:pt x="60" y="146"/>
                    </a:cubicBezTo>
                    <a:cubicBezTo>
                      <a:pt x="59" y="144"/>
                      <a:pt x="58" y="143"/>
                      <a:pt x="56" y="142"/>
                    </a:cubicBezTo>
                    <a:cubicBezTo>
                      <a:pt x="55" y="142"/>
                      <a:pt x="54" y="140"/>
                      <a:pt x="54" y="139"/>
                    </a:cubicBezTo>
                    <a:cubicBezTo>
                      <a:pt x="54" y="138"/>
                      <a:pt x="52" y="135"/>
                      <a:pt x="51" y="135"/>
                    </a:cubicBezTo>
                    <a:cubicBezTo>
                      <a:pt x="51" y="135"/>
                      <a:pt x="49" y="134"/>
                      <a:pt x="49" y="137"/>
                    </a:cubicBezTo>
                    <a:cubicBezTo>
                      <a:pt x="48" y="139"/>
                      <a:pt x="47" y="142"/>
                      <a:pt x="47" y="143"/>
                    </a:cubicBezTo>
                    <a:cubicBezTo>
                      <a:pt x="47" y="144"/>
                      <a:pt x="45" y="143"/>
                      <a:pt x="45" y="142"/>
                    </a:cubicBezTo>
                    <a:cubicBezTo>
                      <a:pt x="45" y="141"/>
                      <a:pt x="44" y="136"/>
                      <a:pt x="43" y="135"/>
                    </a:cubicBezTo>
                    <a:cubicBezTo>
                      <a:pt x="42" y="134"/>
                      <a:pt x="41" y="133"/>
                      <a:pt x="40" y="131"/>
                    </a:cubicBezTo>
                    <a:cubicBezTo>
                      <a:pt x="40" y="129"/>
                      <a:pt x="40" y="130"/>
                      <a:pt x="39" y="130"/>
                    </a:cubicBezTo>
                    <a:cubicBezTo>
                      <a:pt x="38" y="129"/>
                      <a:pt x="37" y="130"/>
                      <a:pt x="37" y="132"/>
                    </a:cubicBezTo>
                    <a:cubicBezTo>
                      <a:pt x="37" y="134"/>
                      <a:pt x="37" y="136"/>
                      <a:pt x="36" y="136"/>
                    </a:cubicBezTo>
                    <a:cubicBezTo>
                      <a:pt x="36" y="136"/>
                      <a:pt x="33" y="137"/>
                      <a:pt x="33" y="135"/>
                    </a:cubicBezTo>
                    <a:cubicBezTo>
                      <a:pt x="32" y="133"/>
                      <a:pt x="31" y="131"/>
                      <a:pt x="31" y="130"/>
                    </a:cubicBezTo>
                    <a:cubicBezTo>
                      <a:pt x="30" y="129"/>
                      <a:pt x="30" y="129"/>
                      <a:pt x="30" y="129"/>
                    </a:cubicBezTo>
                    <a:cubicBezTo>
                      <a:pt x="30" y="129"/>
                      <a:pt x="29" y="126"/>
                      <a:pt x="29" y="125"/>
                    </a:cubicBezTo>
                    <a:cubicBezTo>
                      <a:pt x="30" y="124"/>
                      <a:pt x="32" y="123"/>
                      <a:pt x="31" y="121"/>
                    </a:cubicBezTo>
                    <a:cubicBezTo>
                      <a:pt x="31" y="119"/>
                      <a:pt x="30" y="116"/>
                      <a:pt x="29" y="115"/>
                    </a:cubicBezTo>
                    <a:cubicBezTo>
                      <a:pt x="28" y="115"/>
                      <a:pt x="26" y="112"/>
                      <a:pt x="24" y="110"/>
                    </a:cubicBezTo>
                    <a:cubicBezTo>
                      <a:pt x="22" y="108"/>
                      <a:pt x="20" y="106"/>
                      <a:pt x="21" y="105"/>
                    </a:cubicBezTo>
                    <a:cubicBezTo>
                      <a:pt x="21" y="104"/>
                      <a:pt x="24" y="101"/>
                      <a:pt x="24" y="100"/>
                    </a:cubicBezTo>
                    <a:cubicBezTo>
                      <a:pt x="25" y="98"/>
                      <a:pt x="27" y="97"/>
                      <a:pt x="27" y="97"/>
                    </a:cubicBezTo>
                    <a:cubicBezTo>
                      <a:pt x="28" y="98"/>
                      <a:pt x="30" y="98"/>
                      <a:pt x="30" y="97"/>
                    </a:cubicBezTo>
                    <a:cubicBezTo>
                      <a:pt x="31" y="96"/>
                      <a:pt x="33" y="93"/>
                      <a:pt x="34" y="93"/>
                    </a:cubicBezTo>
                    <a:cubicBezTo>
                      <a:pt x="35" y="93"/>
                      <a:pt x="36" y="95"/>
                      <a:pt x="38" y="95"/>
                    </a:cubicBezTo>
                    <a:cubicBezTo>
                      <a:pt x="39" y="96"/>
                      <a:pt x="43" y="98"/>
                      <a:pt x="45" y="99"/>
                    </a:cubicBezTo>
                    <a:cubicBezTo>
                      <a:pt x="47" y="99"/>
                      <a:pt x="50" y="100"/>
                      <a:pt x="50" y="102"/>
                    </a:cubicBezTo>
                    <a:cubicBezTo>
                      <a:pt x="51" y="103"/>
                      <a:pt x="52" y="105"/>
                      <a:pt x="53" y="103"/>
                    </a:cubicBezTo>
                    <a:cubicBezTo>
                      <a:pt x="54" y="102"/>
                      <a:pt x="55" y="101"/>
                      <a:pt x="57" y="101"/>
                    </a:cubicBezTo>
                    <a:cubicBezTo>
                      <a:pt x="58" y="101"/>
                      <a:pt x="59" y="99"/>
                      <a:pt x="59" y="98"/>
                    </a:cubicBezTo>
                    <a:cubicBezTo>
                      <a:pt x="59" y="97"/>
                      <a:pt x="57" y="97"/>
                      <a:pt x="56" y="97"/>
                    </a:cubicBezTo>
                    <a:cubicBezTo>
                      <a:pt x="55" y="97"/>
                      <a:pt x="51" y="98"/>
                      <a:pt x="51" y="97"/>
                    </a:cubicBezTo>
                    <a:cubicBezTo>
                      <a:pt x="51" y="96"/>
                      <a:pt x="50" y="94"/>
                      <a:pt x="49" y="93"/>
                    </a:cubicBezTo>
                    <a:cubicBezTo>
                      <a:pt x="48" y="93"/>
                      <a:pt x="47" y="96"/>
                      <a:pt x="47" y="94"/>
                    </a:cubicBezTo>
                    <a:cubicBezTo>
                      <a:pt x="46" y="92"/>
                      <a:pt x="45" y="91"/>
                      <a:pt x="44" y="91"/>
                    </a:cubicBezTo>
                    <a:cubicBezTo>
                      <a:pt x="43" y="90"/>
                      <a:pt x="44" y="94"/>
                      <a:pt x="43" y="94"/>
                    </a:cubicBezTo>
                    <a:cubicBezTo>
                      <a:pt x="41" y="94"/>
                      <a:pt x="39" y="93"/>
                      <a:pt x="38" y="92"/>
                    </a:cubicBezTo>
                    <a:cubicBezTo>
                      <a:pt x="37" y="91"/>
                      <a:pt x="32" y="93"/>
                      <a:pt x="30" y="93"/>
                    </a:cubicBezTo>
                    <a:cubicBezTo>
                      <a:pt x="28" y="93"/>
                      <a:pt x="26" y="95"/>
                      <a:pt x="25" y="93"/>
                    </a:cubicBezTo>
                    <a:cubicBezTo>
                      <a:pt x="25" y="91"/>
                      <a:pt x="24" y="90"/>
                      <a:pt x="23" y="90"/>
                    </a:cubicBezTo>
                    <a:cubicBezTo>
                      <a:pt x="23" y="91"/>
                      <a:pt x="21" y="95"/>
                      <a:pt x="20" y="93"/>
                    </a:cubicBezTo>
                    <a:cubicBezTo>
                      <a:pt x="20" y="92"/>
                      <a:pt x="18" y="88"/>
                      <a:pt x="17" y="86"/>
                    </a:cubicBezTo>
                    <a:cubicBezTo>
                      <a:pt x="17" y="84"/>
                      <a:pt x="16" y="83"/>
                      <a:pt x="14" y="82"/>
                    </a:cubicBezTo>
                    <a:cubicBezTo>
                      <a:pt x="13" y="81"/>
                      <a:pt x="12" y="81"/>
                      <a:pt x="12" y="83"/>
                    </a:cubicBezTo>
                    <a:cubicBezTo>
                      <a:pt x="12" y="85"/>
                      <a:pt x="10" y="87"/>
                      <a:pt x="10" y="86"/>
                    </a:cubicBezTo>
                    <a:cubicBezTo>
                      <a:pt x="9" y="84"/>
                      <a:pt x="8" y="83"/>
                      <a:pt x="9" y="81"/>
                    </a:cubicBezTo>
                    <a:cubicBezTo>
                      <a:pt x="10" y="80"/>
                      <a:pt x="11" y="79"/>
                      <a:pt x="12" y="77"/>
                    </a:cubicBezTo>
                    <a:cubicBezTo>
                      <a:pt x="12" y="76"/>
                      <a:pt x="14" y="75"/>
                      <a:pt x="15" y="76"/>
                    </a:cubicBezTo>
                    <a:cubicBezTo>
                      <a:pt x="17" y="76"/>
                      <a:pt x="18" y="78"/>
                      <a:pt x="19" y="77"/>
                    </a:cubicBezTo>
                    <a:cubicBezTo>
                      <a:pt x="20" y="75"/>
                      <a:pt x="19" y="74"/>
                      <a:pt x="18" y="74"/>
                    </a:cubicBezTo>
                    <a:cubicBezTo>
                      <a:pt x="17" y="74"/>
                      <a:pt x="14" y="74"/>
                      <a:pt x="13" y="73"/>
                    </a:cubicBezTo>
                    <a:cubicBezTo>
                      <a:pt x="13" y="72"/>
                      <a:pt x="11" y="75"/>
                      <a:pt x="10" y="74"/>
                    </a:cubicBezTo>
                    <a:cubicBezTo>
                      <a:pt x="10" y="73"/>
                      <a:pt x="8" y="71"/>
                      <a:pt x="7" y="69"/>
                    </a:cubicBezTo>
                    <a:cubicBezTo>
                      <a:pt x="6" y="68"/>
                      <a:pt x="5" y="69"/>
                      <a:pt x="4" y="67"/>
                    </a:cubicBezTo>
                    <a:cubicBezTo>
                      <a:pt x="3" y="65"/>
                      <a:pt x="2" y="63"/>
                      <a:pt x="1" y="62"/>
                    </a:cubicBezTo>
                    <a:cubicBezTo>
                      <a:pt x="1" y="61"/>
                      <a:pt x="0" y="61"/>
                      <a:pt x="0" y="58"/>
                    </a:cubicBezTo>
                    <a:cubicBezTo>
                      <a:pt x="0" y="58"/>
                      <a:pt x="0" y="58"/>
                      <a:pt x="0" y="58"/>
                    </a:cubicBezTo>
                    <a:cubicBezTo>
                      <a:pt x="0" y="58"/>
                      <a:pt x="1" y="57"/>
                      <a:pt x="2" y="57"/>
                    </a:cubicBezTo>
                    <a:cubicBezTo>
                      <a:pt x="3" y="56"/>
                      <a:pt x="4" y="54"/>
                      <a:pt x="3" y="51"/>
                    </a:cubicBezTo>
                    <a:cubicBezTo>
                      <a:pt x="3" y="48"/>
                      <a:pt x="3" y="47"/>
                      <a:pt x="5" y="46"/>
                    </a:cubicBezTo>
                    <a:cubicBezTo>
                      <a:pt x="7" y="45"/>
                      <a:pt x="8" y="47"/>
                      <a:pt x="9" y="45"/>
                    </a:cubicBezTo>
                    <a:cubicBezTo>
                      <a:pt x="10" y="44"/>
                      <a:pt x="9" y="41"/>
                      <a:pt x="11" y="38"/>
                    </a:cubicBezTo>
                    <a:cubicBezTo>
                      <a:pt x="12" y="36"/>
                      <a:pt x="14" y="35"/>
                      <a:pt x="15" y="33"/>
                    </a:cubicBezTo>
                    <a:cubicBezTo>
                      <a:pt x="16" y="30"/>
                      <a:pt x="15" y="28"/>
                      <a:pt x="15" y="26"/>
                    </a:cubicBezTo>
                    <a:cubicBezTo>
                      <a:pt x="15" y="24"/>
                      <a:pt x="14" y="24"/>
                      <a:pt x="14" y="24"/>
                    </a:cubicBezTo>
                    <a:cubicBezTo>
                      <a:pt x="14" y="24"/>
                      <a:pt x="16" y="24"/>
                      <a:pt x="17" y="24"/>
                    </a:cubicBezTo>
                    <a:cubicBezTo>
                      <a:pt x="18" y="24"/>
                      <a:pt x="23" y="23"/>
                      <a:pt x="25" y="23"/>
                    </a:cubicBezTo>
                    <a:cubicBezTo>
                      <a:pt x="27" y="23"/>
                      <a:pt x="29" y="22"/>
                      <a:pt x="30" y="20"/>
                    </a:cubicBezTo>
                    <a:cubicBezTo>
                      <a:pt x="32" y="18"/>
                      <a:pt x="34" y="17"/>
                      <a:pt x="36" y="17"/>
                    </a:cubicBezTo>
                    <a:cubicBezTo>
                      <a:pt x="37" y="17"/>
                      <a:pt x="39" y="17"/>
                      <a:pt x="41" y="16"/>
                    </a:cubicBezTo>
                    <a:cubicBezTo>
                      <a:pt x="43" y="16"/>
                      <a:pt x="47" y="16"/>
                      <a:pt x="47" y="14"/>
                    </a:cubicBezTo>
                    <a:cubicBezTo>
                      <a:pt x="48" y="12"/>
                      <a:pt x="50" y="10"/>
                      <a:pt x="50" y="10"/>
                    </a:cubicBezTo>
                    <a:cubicBezTo>
                      <a:pt x="50" y="10"/>
                      <a:pt x="53" y="13"/>
                      <a:pt x="56" y="12"/>
                    </a:cubicBezTo>
                    <a:cubicBezTo>
                      <a:pt x="58" y="11"/>
                      <a:pt x="61" y="9"/>
                      <a:pt x="65" y="9"/>
                    </a:cubicBezTo>
                    <a:cubicBezTo>
                      <a:pt x="68" y="9"/>
                      <a:pt x="70" y="9"/>
                      <a:pt x="73" y="7"/>
                    </a:cubicBezTo>
                    <a:cubicBezTo>
                      <a:pt x="75" y="6"/>
                      <a:pt x="77" y="5"/>
                      <a:pt x="80" y="7"/>
                    </a:cubicBezTo>
                    <a:cubicBezTo>
                      <a:pt x="82" y="8"/>
                      <a:pt x="82" y="11"/>
                      <a:pt x="85" y="10"/>
                    </a:cubicBezTo>
                    <a:cubicBezTo>
                      <a:pt x="87" y="9"/>
                      <a:pt x="88" y="10"/>
                      <a:pt x="90" y="11"/>
                    </a:cubicBezTo>
                    <a:cubicBezTo>
                      <a:pt x="93" y="12"/>
                      <a:pt x="94" y="15"/>
                      <a:pt x="95" y="14"/>
                    </a:cubicBezTo>
                    <a:cubicBezTo>
                      <a:pt x="97" y="13"/>
                      <a:pt x="101" y="12"/>
                      <a:pt x="104" y="12"/>
                    </a:cubicBezTo>
                    <a:cubicBezTo>
                      <a:pt x="107" y="12"/>
                      <a:pt x="110" y="10"/>
                      <a:pt x="110" y="8"/>
                    </a:cubicBezTo>
                    <a:cubicBezTo>
                      <a:pt x="110" y="6"/>
                      <a:pt x="107" y="2"/>
                      <a:pt x="109" y="2"/>
                    </a:cubicBezTo>
                    <a:cubicBezTo>
                      <a:pt x="111" y="1"/>
                      <a:pt x="114" y="0"/>
                      <a:pt x="114" y="0"/>
                    </a:cubicBezTo>
                    <a:cubicBezTo>
                      <a:pt x="113" y="1"/>
                      <a:pt x="115" y="2"/>
                      <a:pt x="116" y="3"/>
                    </a:cubicBezTo>
                    <a:cubicBezTo>
                      <a:pt x="118" y="5"/>
                      <a:pt x="118" y="6"/>
                      <a:pt x="118" y="7"/>
                    </a:cubicBezTo>
                    <a:cubicBezTo>
                      <a:pt x="119" y="9"/>
                      <a:pt x="119" y="10"/>
                      <a:pt x="117" y="12"/>
                    </a:cubicBezTo>
                    <a:cubicBezTo>
                      <a:pt x="115" y="13"/>
                      <a:pt x="114" y="14"/>
                      <a:pt x="114" y="17"/>
                    </a:cubicBezTo>
                    <a:cubicBezTo>
                      <a:pt x="114" y="19"/>
                      <a:pt x="114" y="21"/>
                      <a:pt x="114" y="23"/>
                    </a:cubicBezTo>
                    <a:cubicBezTo>
                      <a:pt x="113" y="24"/>
                      <a:pt x="109" y="27"/>
                      <a:pt x="109" y="27"/>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51" name="Freeform 72"/>
              <p:cNvSpPr>
                <a:spLocks/>
              </p:cNvSpPr>
              <p:nvPr/>
            </p:nvSpPr>
            <p:spPr bwMode="gray">
              <a:xfrm>
                <a:off x="2883" y="3581"/>
                <a:ext cx="18" cy="18"/>
              </a:xfrm>
              <a:custGeom>
                <a:avLst/>
                <a:gdLst>
                  <a:gd name="T0" fmla="*/ 4 w 7"/>
                  <a:gd name="T1" fmla="*/ 0 h 7"/>
                  <a:gd name="T2" fmla="*/ 1 w 7"/>
                  <a:gd name="T3" fmla="*/ 5 h 7"/>
                  <a:gd name="T4" fmla="*/ 5 w 7"/>
                  <a:gd name="T5" fmla="*/ 6 h 7"/>
                  <a:gd name="T6" fmla="*/ 4 w 7"/>
                  <a:gd name="T7" fmla="*/ 0 h 7"/>
                </a:gdLst>
                <a:ahLst/>
                <a:cxnLst>
                  <a:cxn ang="0">
                    <a:pos x="T0" y="T1"/>
                  </a:cxn>
                  <a:cxn ang="0">
                    <a:pos x="T2" y="T3"/>
                  </a:cxn>
                  <a:cxn ang="0">
                    <a:pos x="T4" y="T5"/>
                  </a:cxn>
                  <a:cxn ang="0">
                    <a:pos x="T6" y="T7"/>
                  </a:cxn>
                </a:cxnLst>
                <a:rect l="0" t="0" r="r" b="b"/>
                <a:pathLst>
                  <a:path w="7" h="7">
                    <a:moveTo>
                      <a:pt x="4" y="0"/>
                    </a:moveTo>
                    <a:cubicBezTo>
                      <a:pt x="2" y="0"/>
                      <a:pt x="0" y="3"/>
                      <a:pt x="1" y="5"/>
                    </a:cubicBezTo>
                    <a:cubicBezTo>
                      <a:pt x="1" y="7"/>
                      <a:pt x="3" y="7"/>
                      <a:pt x="5" y="6"/>
                    </a:cubicBezTo>
                    <a:cubicBezTo>
                      <a:pt x="7" y="5"/>
                      <a:pt x="7" y="0"/>
                      <a:pt x="4"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52" name="Freeform 73"/>
              <p:cNvSpPr>
                <a:spLocks/>
              </p:cNvSpPr>
              <p:nvPr/>
            </p:nvSpPr>
            <p:spPr bwMode="gray">
              <a:xfrm>
                <a:off x="3032" y="3586"/>
                <a:ext cx="8" cy="16"/>
              </a:xfrm>
              <a:custGeom>
                <a:avLst/>
                <a:gdLst>
                  <a:gd name="T0" fmla="*/ 2 w 3"/>
                  <a:gd name="T1" fmla="*/ 1 h 6"/>
                  <a:gd name="T2" fmla="*/ 0 w 3"/>
                  <a:gd name="T3" fmla="*/ 4 h 6"/>
                  <a:gd name="T4" fmla="*/ 3 w 3"/>
                  <a:gd name="T5" fmla="*/ 5 h 6"/>
                  <a:gd name="T6" fmla="*/ 2 w 3"/>
                  <a:gd name="T7" fmla="*/ 1 h 6"/>
                </a:gdLst>
                <a:ahLst/>
                <a:cxnLst>
                  <a:cxn ang="0">
                    <a:pos x="T0" y="T1"/>
                  </a:cxn>
                  <a:cxn ang="0">
                    <a:pos x="T2" y="T3"/>
                  </a:cxn>
                  <a:cxn ang="0">
                    <a:pos x="T4" y="T5"/>
                  </a:cxn>
                  <a:cxn ang="0">
                    <a:pos x="T6" y="T7"/>
                  </a:cxn>
                </a:cxnLst>
                <a:rect l="0" t="0" r="r" b="b"/>
                <a:pathLst>
                  <a:path w="3" h="6">
                    <a:moveTo>
                      <a:pt x="2" y="1"/>
                    </a:moveTo>
                    <a:cubicBezTo>
                      <a:pt x="0" y="0"/>
                      <a:pt x="0" y="3"/>
                      <a:pt x="0" y="4"/>
                    </a:cubicBezTo>
                    <a:cubicBezTo>
                      <a:pt x="0" y="6"/>
                      <a:pt x="2" y="6"/>
                      <a:pt x="3" y="5"/>
                    </a:cubicBezTo>
                    <a:cubicBezTo>
                      <a:pt x="3" y="4"/>
                      <a:pt x="3" y="2"/>
                      <a:pt x="2"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53" name="Freeform 74"/>
              <p:cNvSpPr>
                <a:spLocks/>
              </p:cNvSpPr>
              <p:nvPr/>
            </p:nvSpPr>
            <p:spPr bwMode="gray">
              <a:xfrm>
                <a:off x="2933" y="3599"/>
                <a:ext cx="10" cy="16"/>
              </a:xfrm>
              <a:custGeom>
                <a:avLst/>
                <a:gdLst>
                  <a:gd name="T0" fmla="*/ 2 w 4"/>
                  <a:gd name="T1" fmla="*/ 1 h 6"/>
                  <a:gd name="T2" fmla="*/ 1 w 4"/>
                  <a:gd name="T3" fmla="*/ 4 h 6"/>
                  <a:gd name="T4" fmla="*/ 3 w 4"/>
                  <a:gd name="T5" fmla="*/ 5 h 6"/>
                  <a:gd name="T6" fmla="*/ 2 w 4"/>
                  <a:gd name="T7" fmla="*/ 1 h 6"/>
                </a:gdLst>
                <a:ahLst/>
                <a:cxnLst>
                  <a:cxn ang="0">
                    <a:pos x="T0" y="T1"/>
                  </a:cxn>
                  <a:cxn ang="0">
                    <a:pos x="T2" y="T3"/>
                  </a:cxn>
                  <a:cxn ang="0">
                    <a:pos x="T4" y="T5"/>
                  </a:cxn>
                  <a:cxn ang="0">
                    <a:pos x="T6" y="T7"/>
                  </a:cxn>
                </a:cxnLst>
                <a:rect l="0" t="0" r="r" b="b"/>
                <a:pathLst>
                  <a:path w="4" h="6">
                    <a:moveTo>
                      <a:pt x="2" y="1"/>
                    </a:moveTo>
                    <a:cubicBezTo>
                      <a:pt x="2" y="0"/>
                      <a:pt x="0" y="3"/>
                      <a:pt x="1" y="4"/>
                    </a:cubicBezTo>
                    <a:cubicBezTo>
                      <a:pt x="1" y="6"/>
                      <a:pt x="3" y="5"/>
                      <a:pt x="3" y="5"/>
                    </a:cubicBezTo>
                    <a:cubicBezTo>
                      <a:pt x="4" y="4"/>
                      <a:pt x="4" y="1"/>
                      <a:pt x="2"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54" name="Freeform 75"/>
              <p:cNvSpPr>
                <a:spLocks/>
              </p:cNvSpPr>
              <p:nvPr/>
            </p:nvSpPr>
            <p:spPr bwMode="gray">
              <a:xfrm>
                <a:off x="2943" y="3620"/>
                <a:ext cx="16" cy="14"/>
              </a:xfrm>
              <a:custGeom>
                <a:avLst/>
                <a:gdLst>
                  <a:gd name="T0" fmla="*/ 4 w 6"/>
                  <a:gd name="T1" fmla="*/ 0 h 5"/>
                  <a:gd name="T2" fmla="*/ 0 w 6"/>
                  <a:gd name="T3" fmla="*/ 3 h 5"/>
                  <a:gd name="T4" fmla="*/ 4 w 6"/>
                  <a:gd name="T5" fmla="*/ 4 h 5"/>
                  <a:gd name="T6" fmla="*/ 4 w 6"/>
                  <a:gd name="T7" fmla="*/ 0 h 5"/>
                </a:gdLst>
                <a:ahLst/>
                <a:cxnLst>
                  <a:cxn ang="0">
                    <a:pos x="T0" y="T1"/>
                  </a:cxn>
                  <a:cxn ang="0">
                    <a:pos x="T2" y="T3"/>
                  </a:cxn>
                  <a:cxn ang="0">
                    <a:pos x="T4" y="T5"/>
                  </a:cxn>
                  <a:cxn ang="0">
                    <a:pos x="T6" y="T7"/>
                  </a:cxn>
                </a:cxnLst>
                <a:rect l="0" t="0" r="r" b="b"/>
                <a:pathLst>
                  <a:path w="6" h="5">
                    <a:moveTo>
                      <a:pt x="4" y="0"/>
                    </a:moveTo>
                    <a:cubicBezTo>
                      <a:pt x="3" y="0"/>
                      <a:pt x="0" y="1"/>
                      <a:pt x="0" y="3"/>
                    </a:cubicBezTo>
                    <a:cubicBezTo>
                      <a:pt x="0" y="4"/>
                      <a:pt x="2" y="5"/>
                      <a:pt x="4" y="4"/>
                    </a:cubicBezTo>
                    <a:cubicBezTo>
                      <a:pt x="6" y="4"/>
                      <a:pt x="6" y="1"/>
                      <a:pt x="4"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55" name="Freeform 76"/>
              <p:cNvSpPr>
                <a:spLocks/>
              </p:cNvSpPr>
              <p:nvPr/>
            </p:nvSpPr>
            <p:spPr bwMode="gray">
              <a:xfrm>
                <a:off x="2912" y="3634"/>
                <a:ext cx="23" cy="21"/>
              </a:xfrm>
              <a:custGeom>
                <a:avLst/>
                <a:gdLst>
                  <a:gd name="T0" fmla="*/ 4 w 9"/>
                  <a:gd name="T1" fmla="*/ 1 h 8"/>
                  <a:gd name="T2" fmla="*/ 1 w 9"/>
                  <a:gd name="T3" fmla="*/ 6 h 8"/>
                  <a:gd name="T4" fmla="*/ 5 w 9"/>
                  <a:gd name="T5" fmla="*/ 7 h 8"/>
                  <a:gd name="T6" fmla="*/ 8 w 9"/>
                  <a:gd name="T7" fmla="*/ 3 h 8"/>
                  <a:gd name="T8" fmla="*/ 4 w 9"/>
                  <a:gd name="T9" fmla="*/ 1 h 8"/>
                </a:gdLst>
                <a:ahLst/>
                <a:cxnLst>
                  <a:cxn ang="0">
                    <a:pos x="T0" y="T1"/>
                  </a:cxn>
                  <a:cxn ang="0">
                    <a:pos x="T2" y="T3"/>
                  </a:cxn>
                  <a:cxn ang="0">
                    <a:pos x="T4" y="T5"/>
                  </a:cxn>
                  <a:cxn ang="0">
                    <a:pos x="T6" y="T7"/>
                  </a:cxn>
                  <a:cxn ang="0">
                    <a:pos x="T8" y="T9"/>
                  </a:cxn>
                </a:cxnLst>
                <a:rect l="0" t="0" r="r" b="b"/>
                <a:pathLst>
                  <a:path w="9" h="8">
                    <a:moveTo>
                      <a:pt x="4" y="1"/>
                    </a:moveTo>
                    <a:cubicBezTo>
                      <a:pt x="2" y="1"/>
                      <a:pt x="1" y="4"/>
                      <a:pt x="1" y="6"/>
                    </a:cubicBezTo>
                    <a:cubicBezTo>
                      <a:pt x="0" y="8"/>
                      <a:pt x="3" y="8"/>
                      <a:pt x="5" y="7"/>
                    </a:cubicBezTo>
                    <a:cubicBezTo>
                      <a:pt x="7" y="6"/>
                      <a:pt x="8" y="5"/>
                      <a:pt x="8" y="3"/>
                    </a:cubicBezTo>
                    <a:cubicBezTo>
                      <a:pt x="9" y="1"/>
                      <a:pt x="7" y="0"/>
                      <a:pt x="4"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56" name="Freeform 77"/>
              <p:cNvSpPr>
                <a:spLocks/>
              </p:cNvSpPr>
              <p:nvPr/>
            </p:nvSpPr>
            <p:spPr bwMode="gray">
              <a:xfrm>
                <a:off x="2956" y="3681"/>
                <a:ext cx="40" cy="34"/>
              </a:xfrm>
              <a:custGeom>
                <a:avLst/>
                <a:gdLst>
                  <a:gd name="T0" fmla="*/ 9 w 15"/>
                  <a:gd name="T1" fmla="*/ 1 h 13"/>
                  <a:gd name="T2" fmla="*/ 6 w 15"/>
                  <a:gd name="T3" fmla="*/ 3 h 13"/>
                  <a:gd name="T4" fmla="*/ 1 w 15"/>
                  <a:gd name="T5" fmla="*/ 5 h 13"/>
                  <a:gd name="T6" fmla="*/ 5 w 15"/>
                  <a:gd name="T7" fmla="*/ 8 h 13"/>
                  <a:gd name="T8" fmla="*/ 7 w 15"/>
                  <a:gd name="T9" fmla="*/ 12 h 13"/>
                  <a:gd name="T10" fmla="*/ 13 w 15"/>
                  <a:gd name="T11" fmla="*/ 12 h 13"/>
                  <a:gd name="T12" fmla="*/ 14 w 15"/>
                  <a:gd name="T13" fmla="*/ 8 h 13"/>
                  <a:gd name="T14" fmla="*/ 9 w 15"/>
                  <a:gd name="T15" fmla="*/ 1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3">
                    <a:moveTo>
                      <a:pt x="9" y="1"/>
                    </a:moveTo>
                    <a:cubicBezTo>
                      <a:pt x="7" y="0"/>
                      <a:pt x="8" y="2"/>
                      <a:pt x="6" y="3"/>
                    </a:cubicBezTo>
                    <a:cubicBezTo>
                      <a:pt x="3" y="4"/>
                      <a:pt x="2" y="2"/>
                      <a:pt x="1" y="5"/>
                    </a:cubicBezTo>
                    <a:cubicBezTo>
                      <a:pt x="0" y="8"/>
                      <a:pt x="4" y="8"/>
                      <a:pt x="5" y="8"/>
                    </a:cubicBezTo>
                    <a:cubicBezTo>
                      <a:pt x="7" y="7"/>
                      <a:pt x="7" y="10"/>
                      <a:pt x="7" y="12"/>
                    </a:cubicBezTo>
                    <a:cubicBezTo>
                      <a:pt x="8" y="13"/>
                      <a:pt x="11" y="13"/>
                      <a:pt x="13" y="12"/>
                    </a:cubicBezTo>
                    <a:cubicBezTo>
                      <a:pt x="15" y="12"/>
                      <a:pt x="15" y="11"/>
                      <a:pt x="14" y="8"/>
                    </a:cubicBezTo>
                    <a:cubicBezTo>
                      <a:pt x="13" y="6"/>
                      <a:pt x="11" y="3"/>
                      <a:pt x="9"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57" name="Freeform 78"/>
              <p:cNvSpPr>
                <a:spLocks/>
              </p:cNvSpPr>
              <p:nvPr/>
            </p:nvSpPr>
            <p:spPr bwMode="gray">
              <a:xfrm>
                <a:off x="2885" y="3712"/>
                <a:ext cx="13" cy="19"/>
              </a:xfrm>
              <a:custGeom>
                <a:avLst/>
                <a:gdLst>
                  <a:gd name="T0" fmla="*/ 3 w 5"/>
                  <a:gd name="T1" fmla="*/ 2 h 7"/>
                  <a:gd name="T2" fmla="*/ 1 w 5"/>
                  <a:gd name="T3" fmla="*/ 3 h 7"/>
                  <a:gd name="T4" fmla="*/ 3 w 5"/>
                  <a:gd name="T5" fmla="*/ 7 h 7"/>
                  <a:gd name="T6" fmla="*/ 3 w 5"/>
                  <a:gd name="T7" fmla="*/ 2 h 7"/>
                </a:gdLst>
                <a:ahLst/>
                <a:cxnLst>
                  <a:cxn ang="0">
                    <a:pos x="T0" y="T1"/>
                  </a:cxn>
                  <a:cxn ang="0">
                    <a:pos x="T2" y="T3"/>
                  </a:cxn>
                  <a:cxn ang="0">
                    <a:pos x="T4" y="T5"/>
                  </a:cxn>
                  <a:cxn ang="0">
                    <a:pos x="T6" y="T7"/>
                  </a:cxn>
                </a:cxnLst>
                <a:rect l="0" t="0" r="r" b="b"/>
                <a:pathLst>
                  <a:path w="5" h="7">
                    <a:moveTo>
                      <a:pt x="3" y="2"/>
                    </a:moveTo>
                    <a:cubicBezTo>
                      <a:pt x="2" y="0"/>
                      <a:pt x="0" y="1"/>
                      <a:pt x="1" y="3"/>
                    </a:cubicBezTo>
                    <a:cubicBezTo>
                      <a:pt x="2" y="5"/>
                      <a:pt x="1" y="6"/>
                      <a:pt x="3" y="7"/>
                    </a:cubicBezTo>
                    <a:cubicBezTo>
                      <a:pt x="5" y="7"/>
                      <a:pt x="5" y="3"/>
                      <a:pt x="3" y="2"/>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58" name="Freeform 79"/>
              <p:cNvSpPr>
                <a:spLocks/>
              </p:cNvSpPr>
              <p:nvPr/>
            </p:nvSpPr>
            <p:spPr bwMode="gray">
              <a:xfrm>
                <a:off x="2959" y="3736"/>
                <a:ext cx="16" cy="39"/>
              </a:xfrm>
              <a:custGeom>
                <a:avLst/>
                <a:gdLst>
                  <a:gd name="T0" fmla="*/ 4 w 6"/>
                  <a:gd name="T1" fmla="*/ 1 h 15"/>
                  <a:gd name="T2" fmla="*/ 0 w 6"/>
                  <a:gd name="T3" fmla="*/ 4 h 15"/>
                  <a:gd name="T4" fmla="*/ 2 w 6"/>
                  <a:gd name="T5" fmla="*/ 8 h 15"/>
                  <a:gd name="T6" fmla="*/ 2 w 6"/>
                  <a:gd name="T7" fmla="*/ 13 h 15"/>
                  <a:gd name="T8" fmla="*/ 6 w 6"/>
                  <a:gd name="T9" fmla="*/ 12 h 15"/>
                  <a:gd name="T10" fmla="*/ 4 w 6"/>
                  <a:gd name="T11" fmla="*/ 1 h 15"/>
                </a:gdLst>
                <a:ahLst/>
                <a:cxnLst>
                  <a:cxn ang="0">
                    <a:pos x="T0" y="T1"/>
                  </a:cxn>
                  <a:cxn ang="0">
                    <a:pos x="T2" y="T3"/>
                  </a:cxn>
                  <a:cxn ang="0">
                    <a:pos x="T4" y="T5"/>
                  </a:cxn>
                  <a:cxn ang="0">
                    <a:pos x="T6" y="T7"/>
                  </a:cxn>
                  <a:cxn ang="0">
                    <a:pos x="T8" y="T9"/>
                  </a:cxn>
                  <a:cxn ang="0">
                    <a:pos x="T10" y="T11"/>
                  </a:cxn>
                </a:cxnLst>
                <a:rect l="0" t="0" r="r" b="b"/>
                <a:pathLst>
                  <a:path w="6" h="15">
                    <a:moveTo>
                      <a:pt x="4" y="1"/>
                    </a:moveTo>
                    <a:cubicBezTo>
                      <a:pt x="2" y="0"/>
                      <a:pt x="0" y="2"/>
                      <a:pt x="0" y="4"/>
                    </a:cubicBezTo>
                    <a:cubicBezTo>
                      <a:pt x="0" y="5"/>
                      <a:pt x="3" y="6"/>
                      <a:pt x="2" y="8"/>
                    </a:cubicBezTo>
                    <a:cubicBezTo>
                      <a:pt x="2" y="9"/>
                      <a:pt x="1" y="10"/>
                      <a:pt x="2" y="13"/>
                    </a:cubicBezTo>
                    <a:cubicBezTo>
                      <a:pt x="3" y="15"/>
                      <a:pt x="6" y="13"/>
                      <a:pt x="6" y="12"/>
                    </a:cubicBezTo>
                    <a:cubicBezTo>
                      <a:pt x="6" y="10"/>
                      <a:pt x="6" y="2"/>
                      <a:pt x="4"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59" name="Freeform 80"/>
              <p:cNvSpPr>
                <a:spLocks/>
              </p:cNvSpPr>
              <p:nvPr/>
            </p:nvSpPr>
            <p:spPr bwMode="gray">
              <a:xfrm>
                <a:off x="2998" y="3791"/>
                <a:ext cx="24" cy="21"/>
              </a:xfrm>
              <a:custGeom>
                <a:avLst/>
                <a:gdLst>
                  <a:gd name="T0" fmla="*/ 4 w 9"/>
                  <a:gd name="T1" fmla="*/ 2 h 8"/>
                  <a:gd name="T2" fmla="*/ 1 w 9"/>
                  <a:gd name="T3" fmla="*/ 3 h 8"/>
                  <a:gd name="T4" fmla="*/ 3 w 9"/>
                  <a:gd name="T5" fmla="*/ 5 h 8"/>
                  <a:gd name="T6" fmla="*/ 6 w 9"/>
                  <a:gd name="T7" fmla="*/ 6 h 8"/>
                  <a:gd name="T8" fmla="*/ 9 w 9"/>
                  <a:gd name="T9" fmla="*/ 3 h 8"/>
                  <a:gd name="T10" fmla="*/ 4 w 9"/>
                  <a:gd name="T11" fmla="*/ 2 h 8"/>
                </a:gdLst>
                <a:ahLst/>
                <a:cxnLst>
                  <a:cxn ang="0">
                    <a:pos x="T0" y="T1"/>
                  </a:cxn>
                  <a:cxn ang="0">
                    <a:pos x="T2" y="T3"/>
                  </a:cxn>
                  <a:cxn ang="0">
                    <a:pos x="T4" y="T5"/>
                  </a:cxn>
                  <a:cxn ang="0">
                    <a:pos x="T6" y="T7"/>
                  </a:cxn>
                  <a:cxn ang="0">
                    <a:pos x="T8" y="T9"/>
                  </a:cxn>
                  <a:cxn ang="0">
                    <a:pos x="T10" y="T11"/>
                  </a:cxn>
                </a:cxnLst>
                <a:rect l="0" t="0" r="r" b="b"/>
                <a:pathLst>
                  <a:path w="9" h="8">
                    <a:moveTo>
                      <a:pt x="4" y="2"/>
                    </a:moveTo>
                    <a:cubicBezTo>
                      <a:pt x="2" y="0"/>
                      <a:pt x="1" y="2"/>
                      <a:pt x="1" y="3"/>
                    </a:cubicBezTo>
                    <a:cubicBezTo>
                      <a:pt x="0" y="5"/>
                      <a:pt x="2" y="5"/>
                      <a:pt x="3" y="5"/>
                    </a:cubicBezTo>
                    <a:cubicBezTo>
                      <a:pt x="5" y="6"/>
                      <a:pt x="5" y="8"/>
                      <a:pt x="6" y="6"/>
                    </a:cubicBezTo>
                    <a:cubicBezTo>
                      <a:pt x="8" y="5"/>
                      <a:pt x="9" y="3"/>
                      <a:pt x="9" y="3"/>
                    </a:cubicBezTo>
                    <a:cubicBezTo>
                      <a:pt x="8" y="2"/>
                      <a:pt x="4" y="2"/>
                      <a:pt x="4" y="2"/>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60" name="Freeform 81"/>
              <p:cNvSpPr>
                <a:spLocks/>
              </p:cNvSpPr>
              <p:nvPr/>
            </p:nvSpPr>
            <p:spPr bwMode="gray">
              <a:xfrm>
                <a:off x="2904" y="3778"/>
                <a:ext cx="13" cy="32"/>
              </a:xfrm>
              <a:custGeom>
                <a:avLst/>
                <a:gdLst>
                  <a:gd name="T0" fmla="*/ 5 w 5"/>
                  <a:gd name="T1" fmla="*/ 8 h 12"/>
                  <a:gd name="T2" fmla="*/ 4 w 5"/>
                  <a:gd name="T3" fmla="*/ 4 h 12"/>
                  <a:gd name="T4" fmla="*/ 2 w 5"/>
                  <a:gd name="T5" fmla="*/ 2 h 12"/>
                  <a:gd name="T6" fmla="*/ 0 w 5"/>
                  <a:gd name="T7" fmla="*/ 4 h 12"/>
                  <a:gd name="T8" fmla="*/ 3 w 5"/>
                  <a:gd name="T9" fmla="*/ 7 h 12"/>
                  <a:gd name="T10" fmla="*/ 5 w 5"/>
                  <a:gd name="T11" fmla="*/ 10 h 12"/>
                  <a:gd name="T12" fmla="*/ 5 w 5"/>
                  <a:gd name="T13" fmla="*/ 8 h 12"/>
                </a:gdLst>
                <a:ahLst/>
                <a:cxnLst>
                  <a:cxn ang="0">
                    <a:pos x="T0" y="T1"/>
                  </a:cxn>
                  <a:cxn ang="0">
                    <a:pos x="T2" y="T3"/>
                  </a:cxn>
                  <a:cxn ang="0">
                    <a:pos x="T4" y="T5"/>
                  </a:cxn>
                  <a:cxn ang="0">
                    <a:pos x="T6" y="T7"/>
                  </a:cxn>
                  <a:cxn ang="0">
                    <a:pos x="T8" y="T9"/>
                  </a:cxn>
                  <a:cxn ang="0">
                    <a:pos x="T10" y="T11"/>
                  </a:cxn>
                  <a:cxn ang="0">
                    <a:pos x="T12" y="T13"/>
                  </a:cxn>
                </a:cxnLst>
                <a:rect l="0" t="0" r="r" b="b"/>
                <a:pathLst>
                  <a:path w="5" h="12">
                    <a:moveTo>
                      <a:pt x="5" y="8"/>
                    </a:moveTo>
                    <a:cubicBezTo>
                      <a:pt x="5" y="6"/>
                      <a:pt x="5" y="5"/>
                      <a:pt x="4" y="4"/>
                    </a:cubicBezTo>
                    <a:cubicBezTo>
                      <a:pt x="2" y="3"/>
                      <a:pt x="2" y="3"/>
                      <a:pt x="2" y="2"/>
                    </a:cubicBezTo>
                    <a:cubicBezTo>
                      <a:pt x="2" y="0"/>
                      <a:pt x="0" y="2"/>
                      <a:pt x="0" y="4"/>
                    </a:cubicBezTo>
                    <a:cubicBezTo>
                      <a:pt x="0" y="6"/>
                      <a:pt x="2" y="6"/>
                      <a:pt x="3" y="7"/>
                    </a:cubicBezTo>
                    <a:cubicBezTo>
                      <a:pt x="3" y="8"/>
                      <a:pt x="4" y="12"/>
                      <a:pt x="5" y="10"/>
                    </a:cubicBezTo>
                    <a:cubicBezTo>
                      <a:pt x="5" y="8"/>
                      <a:pt x="5" y="8"/>
                      <a:pt x="5" y="8"/>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61" name="Freeform 82"/>
              <p:cNvSpPr>
                <a:spLocks/>
              </p:cNvSpPr>
              <p:nvPr/>
            </p:nvSpPr>
            <p:spPr bwMode="gray">
              <a:xfrm>
                <a:off x="2917" y="3804"/>
                <a:ext cx="16" cy="13"/>
              </a:xfrm>
              <a:custGeom>
                <a:avLst/>
                <a:gdLst>
                  <a:gd name="T0" fmla="*/ 4 w 6"/>
                  <a:gd name="T1" fmla="*/ 1 h 5"/>
                  <a:gd name="T2" fmla="*/ 1 w 6"/>
                  <a:gd name="T3" fmla="*/ 2 h 5"/>
                  <a:gd name="T4" fmla="*/ 5 w 6"/>
                  <a:gd name="T5" fmla="*/ 5 h 5"/>
                  <a:gd name="T6" fmla="*/ 4 w 6"/>
                  <a:gd name="T7" fmla="*/ 1 h 5"/>
                </a:gdLst>
                <a:ahLst/>
                <a:cxnLst>
                  <a:cxn ang="0">
                    <a:pos x="T0" y="T1"/>
                  </a:cxn>
                  <a:cxn ang="0">
                    <a:pos x="T2" y="T3"/>
                  </a:cxn>
                  <a:cxn ang="0">
                    <a:pos x="T4" y="T5"/>
                  </a:cxn>
                  <a:cxn ang="0">
                    <a:pos x="T6" y="T7"/>
                  </a:cxn>
                </a:cxnLst>
                <a:rect l="0" t="0" r="r" b="b"/>
                <a:pathLst>
                  <a:path w="6" h="5">
                    <a:moveTo>
                      <a:pt x="4" y="1"/>
                    </a:moveTo>
                    <a:cubicBezTo>
                      <a:pt x="3" y="0"/>
                      <a:pt x="0" y="1"/>
                      <a:pt x="1" y="2"/>
                    </a:cubicBezTo>
                    <a:cubicBezTo>
                      <a:pt x="3" y="4"/>
                      <a:pt x="3" y="5"/>
                      <a:pt x="5" y="5"/>
                    </a:cubicBezTo>
                    <a:cubicBezTo>
                      <a:pt x="6" y="5"/>
                      <a:pt x="6" y="2"/>
                      <a:pt x="4"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62" name="Freeform 83"/>
              <p:cNvSpPr>
                <a:spLocks/>
              </p:cNvSpPr>
              <p:nvPr/>
            </p:nvSpPr>
            <p:spPr bwMode="gray">
              <a:xfrm>
                <a:off x="2933" y="3817"/>
                <a:ext cx="10" cy="14"/>
              </a:xfrm>
              <a:custGeom>
                <a:avLst/>
                <a:gdLst>
                  <a:gd name="T0" fmla="*/ 3 w 4"/>
                  <a:gd name="T1" fmla="*/ 0 h 5"/>
                  <a:gd name="T2" fmla="*/ 1 w 4"/>
                  <a:gd name="T3" fmla="*/ 3 h 5"/>
                  <a:gd name="T4" fmla="*/ 4 w 4"/>
                  <a:gd name="T5" fmla="*/ 2 h 5"/>
                  <a:gd name="T6" fmla="*/ 3 w 4"/>
                  <a:gd name="T7" fmla="*/ 0 h 5"/>
                </a:gdLst>
                <a:ahLst/>
                <a:cxnLst>
                  <a:cxn ang="0">
                    <a:pos x="T0" y="T1"/>
                  </a:cxn>
                  <a:cxn ang="0">
                    <a:pos x="T2" y="T3"/>
                  </a:cxn>
                  <a:cxn ang="0">
                    <a:pos x="T4" y="T5"/>
                  </a:cxn>
                  <a:cxn ang="0">
                    <a:pos x="T6" y="T7"/>
                  </a:cxn>
                </a:cxnLst>
                <a:rect l="0" t="0" r="r" b="b"/>
                <a:pathLst>
                  <a:path w="4" h="5">
                    <a:moveTo>
                      <a:pt x="3" y="0"/>
                    </a:moveTo>
                    <a:cubicBezTo>
                      <a:pt x="1" y="0"/>
                      <a:pt x="0" y="1"/>
                      <a:pt x="1" y="3"/>
                    </a:cubicBezTo>
                    <a:cubicBezTo>
                      <a:pt x="2" y="5"/>
                      <a:pt x="4" y="2"/>
                      <a:pt x="4" y="2"/>
                    </a:cubicBezTo>
                    <a:cubicBezTo>
                      <a:pt x="3" y="2"/>
                      <a:pt x="3" y="1"/>
                      <a:pt x="3"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63" name="Freeform 84"/>
              <p:cNvSpPr>
                <a:spLocks/>
              </p:cNvSpPr>
              <p:nvPr/>
            </p:nvSpPr>
            <p:spPr bwMode="gray">
              <a:xfrm>
                <a:off x="2967" y="3802"/>
                <a:ext cx="26" cy="18"/>
              </a:xfrm>
              <a:custGeom>
                <a:avLst/>
                <a:gdLst>
                  <a:gd name="T0" fmla="*/ 7 w 10"/>
                  <a:gd name="T1" fmla="*/ 1 h 7"/>
                  <a:gd name="T2" fmla="*/ 2 w 10"/>
                  <a:gd name="T3" fmla="*/ 4 h 7"/>
                  <a:gd name="T4" fmla="*/ 4 w 10"/>
                  <a:gd name="T5" fmla="*/ 5 h 7"/>
                  <a:gd name="T6" fmla="*/ 7 w 10"/>
                  <a:gd name="T7" fmla="*/ 1 h 7"/>
                </a:gdLst>
                <a:ahLst/>
                <a:cxnLst>
                  <a:cxn ang="0">
                    <a:pos x="T0" y="T1"/>
                  </a:cxn>
                  <a:cxn ang="0">
                    <a:pos x="T2" y="T3"/>
                  </a:cxn>
                  <a:cxn ang="0">
                    <a:pos x="T4" y="T5"/>
                  </a:cxn>
                  <a:cxn ang="0">
                    <a:pos x="T6" y="T7"/>
                  </a:cxn>
                </a:cxnLst>
                <a:rect l="0" t="0" r="r" b="b"/>
                <a:pathLst>
                  <a:path w="10" h="7">
                    <a:moveTo>
                      <a:pt x="7" y="1"/>
                    </a:moveTo>
                    <a:cubicBezTo>
                      <a:pt x="5" y="1"/>
                      <a:pt x="3" y="2"/>
                      <a:pt x="2" y="4"/>
                    </a:cubicBezTo>
                    <a:cubicBezTo>
                      <a:pt x="0" y="6"/>
                      <a:pt x="2" y="7"/>
                      <a:pt x="4" y="5"/>
                    </a:cubicBezTo>
                    <a:cubicBezTo>
                      <a:pt x="6" y="4"/>
                      <a:pt x="10" y="0"/>
                      <a:pt x="7"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64" name="Freeform 85"/>
              <p:cNvSpPr>
                <a:spLocks/>
              </p:cNvSpPr>
              <p:nvPr/>
            </p:nvSpPr>
            <p:spPr bwMode="gray">
              <a:xfrm>
                <a:off x="3017" y="3857"/>
                <a:ext cx="26" cy="24"/>
              </a:xfrm>
              <a:custGeom>
                <a:avLst/>
                <a:gdLst>
                  <a:gd name="T0" fmla="*/ 7 w 10"/>
                  <a:gd name="T1" fmla="*/ 1 h 9"/>
                  <a:gd name="T2" fmla="*/ 2 w 10"/>
                  <a:gd name="T3" fmla="*/ 5 h 9"/>
                  <a:gd name="T4" fmla="*/ 2 w 10"/>
                  <a:gd name="T5" fmla="*/ 8 h 9"/>
                  <a:gd name="T6" fmla="*/ 6 w 10"/>
                  <a:gd name="T7" fmla="*/ 6 h 9"/>
                  <a:gd name="T8" fmla="*/ 7 w 10"/>
                  <a:gd name="T9" fmla="*/ 1 h 9"/>
                </a:gdLst>
                <a:ahLst/>
                <a:cxnLst>
                  <a:cxn ang="0">
                    <a:pos x="T0" y="T1"/>
                  </a:cxn>
                  <a:cxn ang="0">
                    <a:pos x="T2" y="T3"/>
                  </a:cxn>
                  <a:cxn ang="0">
                    <a:pos x="T4" y="T5"/>
                  </a:cxn>
                  <a:cxn ang="0">
                    <a:pos x="T6" y="T7"/>
                  </a:cxn>
                  <a:cxn ang="0">
                    <a:pos x="T8" y="T9"/>
                  </a:cxn>
                </a:cxnLst>
                <a:rect l="0" t="0" r="r" b="b"/>
                <a:pathLst>
                  <a:path w="10" h="9">
                    <a:moveTo>
                      <a:pt x="7" y="1"/>
                    </a:moveTo>
                    <a:cubicBezTo>
                      <a:pt x="5" y="1"/>
                      <a:pt x="4" y="3"/>
                      <a:pt x="2" y="5"/>
                    </a:cubicBezTo>
                    <a:cubicBezTo>
                      <a:pt x="0" y="6"/>
                      <a:pt x="0" y="9"/>
                      <a:pt x="2" y="8"/>
                    </a:cubicBezTo>
                    <a:cubicBezTo>
                      <a:pt x="4" y="8"/>
                      <a:pt x="4" y="6"/>
                      <a:pt x="6" y="6"/>
                    </a:cubicBezTo>
                    <a:cubicBezTo>
                      <a:pt x="9" y="5"/>
                      <a:pt x="10" y="0"/>
                      <a:pt x="7"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65" name="Freeform 86"/>
              <p:cNvSpPr>
                <a:spLocks/>
              </p:cNvSpPr>
              <p:nvPr/>
            </p:nvSpPr>
            <p:spPr bwMode="gray">
              <a:xfrm>
                <a:off x="3043" y="3867"/>
                <a:ext cx="31" cy="16"/>
              </a:xfrm>
              <a:custGeom>
                <a:avLst/>
                <a:gdLst>
                  <a:gd name="T0" fmla="*/ 10 w 12"/>
                  <a:gd name="T1" fmla="*/ 0 h 6"/>
                  <a:gd name="T2" fmla="*/ 6 w 12"/>
                  <a:gd name="T3" fmla="*/ 0 h 6"/>
                  <a:gd name="T4" fmla="*/ 1 w 12"/>
                  <a:gd name="T5" fmla="*/ 3 h 6"/>
                  <a:gd name="T6" fmla="*/ 3 w 12"/>
                  <a:gd name="T7" fmla="*/ 5 h 6"/>
                  <a:gd name="T8" fmla="*/ 7 w 12"/>
                  <a:gd name="T9" fmla="*/ 3 h 6"/>
                  <a:gd name="T10" fmla="*/ 10 w 12"/>
                  <a:gd name="T11" fmla="*/ 0 h 6"/>
                </a:gdLst>
                <a:ahLst/>
                <a:cxnLst>
                  <a:cxn ang="0">
                    <a:pos x="T0" y="T1"/>
                  </a:cxn>
                  <a:cxn ang="0">
                    <a:pos x="T2" y="T3"/>
                  </a:cxn>
                  <a:cxn ang="0">
                    <a:pos x="T4" y="T5"/>
                  </a:cxn>
                  <a:cxn ang="0">
                    <a:pos x="T6" y="T7"/>
                  </a:cxn>
                  <a:cxn ang="0">
                    <a:pos x="T8" y="T9"/>
                  </a:cxn>
                  <a:cxn ang="0">
                    <a:pos x="T10" y="T11"/>
                  </a:cxn>
                </a:cxnLst>
                <a:rect l="0" t="0" r="r" b="b"/>
                <a:pathLst>
                  <a:path w="12" h="6">
                    <a:moveTo>
                      <a:pt x="10" y="0"/>
                    </a:moveTo>
                    <a:cubicBezTo>
                      <a:pt x="8" y="0"/>
                      <a:pt x="9" y="0"/>
                      <a:pt x="6" y="0"/>
                    </a:cubicBezTo>
                    <a:cubicBezTo>
                      <a:pt x="3" y="1"/>
                      <a:pt x="2" y="1"/>
                      <a:pt x="1" y="3"/>
                    </a:cubicBezTo>
                    <a:cubicBezTo>
                      <a:pt x="0" y="4"/>
                      <a:pt x="1" y="6"/>
                      <a:pt x="3" y="5"/>
                    </a:cubicBezTo>
                    <a:cubicBezTo>
                      <a:pt x="5" y="4"/>
                      <a:pt x="4" y="3"/>
                      <a:pt x="7" y="3"/>
                    </a:cubicBezTo>
                    <a:cubicBezTo>
                      <a:pt x="10" y="3"/>
                      <a:pt x="12" y="1"/>
                      <a:pt x="10"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66" name="Freeform 87"/>
              <p:cNvSpPr>
                <a:spLocks/>
              </p:cNvSpPr>
              <p:nvPr/>
            </p:nvSpPr>
            <p:spPr bwMode="gray">
              <a:xfrm>
                <a:off x="3059" y="3891"/>
                <a:ext cx="31" cy="45"/>
              </a:xfrm>
              <a:custGeom>
                <a:avLst/>
                <a:gdLst>
                  <a:gd name="T0" fmla="*/ 9 w 12"/>
                  <a:gd name="T1" fmla="*/ 2 h 17"/>
                  <a:gd name="T2" fmla="*/ 3 w 12"/>
                  <a:gd name="T3" fmla="*/ 5 h 17"/>
                  <a:gd name="T4" fmla="*/ 0 w 12"/>
                  <a:gd name="T5" fmla="*/ 10 h 17"/>
                  <a:gd name="T6" fmla="*/ 1 w 12"/>
                  <a:gd name="T7" fmla="*/ 15 h 17"/>
                  <a:gd name="T8" fmla="*/ 5 w 12"/>
                  <a:gd name="T9" fmla="*/ 14 h 17"/>
                  <a:gd name="T10" fmla="*/ 8 w 12"/>
                  <a:gd name="T11" fmla="*/ 11 h 17"/>
                  <a:gd name="T12" fmla="*/ 9 w 12"/>
                  <a:gd name="T13" fmla="*/ 2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9" y="2"/>
                    </a:moveTo>
                    <a:cubicBezTo>
                      <a:pt x="8" y="2"/>
                      <a:pt x="5" y="3"/>
                      <a:pt x="3" y="5"/>
                    </a:cubicBezTo>
                    <a:cubicBezTo>
                      <a:pt x="1" y="7"/>
                      <a:pt x="0" y="8"/>
                      <a:pt x="0" y="10"/>
                    </a:cubicBezTo>
                    <a:cubicBezTo>
                      <a:pt x="1" y="12"/>
                      <a:pt x="1" y="14"/>
                      <a:pt x="1" y="15"/>
                    </a:cubicBezTo>
                    <a:cubicBezTo>
                      <a:pt x="1" y="17"/>
                      <a:pt x="3" y="16"/>
                      <a:pt x="5" y="14"/>
                    </a:cubicBezTo>
                    <a:cubicBezTo>
                      <a:pt x="6" y="12"/>
                      <a:pt x="7" y="13"/>
                      <a:pt x="8" y="11"/>
                    </a:cubicBezTo>
                    <a:cubicBezTo>
                      <a:pt x="9" y="9"/>
                      <a:pt x="12" y="0"/>
                      <a:pt x="9" y="2"/>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67" name="Freeform 88"/>
              <p:cNvSpPr>
                <a:spLocks/>
              </p:cNvSpPr>
              <p:nvPr/>
            </p:nvSpPr>
            <p:spPr bwMode="gray">
              <a:xfrm>
                <a:off x="3035" y="3894"/>
                <a:ext cx="13" cy="8"/>
              </a:xfrm>
              <a:custGeom>
                <a:avLst/>
                <a:gdLst>
                  <a:gd name="T0" fmla="*/ 3 w 5"/>
                  <a:gd name="T1" fmla="*/ 0 h 3"/>
                  <a:gd name="T2" fmla="*/ 2 w 5"/>
                  <a:gd name="T3" fmla="*/ 2 h 3"/>
                  <a:gd name="T4" fmla="*/ 3 w 5"/>
                  <a:gd name="T5" fmla="*/ 0 h 3"/>
                </a:gdLst>
                <a:ahLst/>
                <a:cxnLst>
                  <a:cxn ang="0">
                    <a:pos x="T0" y="T1"/>
                  </a:cxn>
                  <a:cxn ang="0">
                    <a:pos x="T2" y="T3"/>
                  </a:cxn>
                  <a:cxn ang="0">
                    <a:pos x="T4" y="T5"/>
                  </a:cxn>
                </a:cxnLst>
                <a:rect l="0" t="0" r="r" b="b"/>
                <a:pathLst>
                  <a:path w="5" h="3">
                    <a:moveTo>
                      <a:pt x="3" y="0"/>
                    </a:moveTo>
                    <a:cubicBezTo>
                      <a:pt x="1" y="0"/>
                      <a:pt x="0" y="1"/>
                      <a:pt x="2" y="2"/>
                    </a:cubicBezTo>
                    <a:cubicBezTo>
                      <a:pt x="3" y="3"/>
                      <a:pt x="5" y="0"/>
                      <a:pt x="3"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68" name="Freeform 89"/>
              <p:cNvSpPr>
                <a:spLocks/>
              </p:cNvSpPr>
              <p:nvPr/>
            </p:nvSpPr>
            <p:spPr bwMode="gray">
              <a:xfrm>
                <a:off x="3061" y="3881"/>
                <a:ext cx="8" cy="10"/>
              </a:xfrm>
              <a:custGeom>
                <a:avLst/>
                <a:gdLst>
                  <a:gd name="T0" fmla="*/ 1 w 3"/>
                  <a:gd name="T1" fmla="*/ 1 h 4"/>
                  <a:gd name="T2" fmla="*/ 1 w 3"/>
                  <a:gd name="T3" fmla="*/ 3 h 4"/>
                  <a:gd name="T4" fmla="*/ 1 w 3"/>
                  <a:gd name="T5" fmla="*/ 1 h 4"/>
                </a:gdLst>
                <a:ahLst/>
                <a:cxnLst>
                  <a:cxn ang="0">
                    <a:pos x="T0" y="T1"/>
                  </a:cxn>
                  <a:cxn ang="0">
                    <a:pos x="T2" y="T3"/>
                  </a:cxn>
                  <a:cxn ang="0">
                    <a:pos x="T4" y="T5"/>
                  </a:cxn>
                </a:cxnLst>
                <a:rect l="0" t="0" r="r" b="b"/>
                <a:pathLst>
                  <a:path w="3" h="4">
                    <a:moveTo>
                      <a:pt x="1" y="1"/>
                    </a:moveTo>
                    <a:cubicBezTo>
                      <a:pt x="0" y="0"/>
                      <a:pt x="0" y="2"/>
                      <a:pt x="1" y="3"/>
                    </a:cubicBezTo>
                    <a:cubicBezTo>
                      <a:pt x="2" y="4"/>
                      <a:pt x="3" y="2"/>
                      <a:pt x="1"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69" name="Freeform 90"/>
              <p:cNvSpPr>
                <a:spLocks/>
              </p:cNvSpPr>
              <p:nvPr/>
            </p:nvSpPr>
            <p:spPr bwMode="gray">
              <a:xfrm>
                <a:off x="3011" y="3849"/>
                <a:ext cx="14" cy="16"/>
              </a:xfrm>
              <a:custGeom>
                <a:avLst/>
                <a:gdLst>
                  <a:gd name="T0" fmla="*/ 4 w 5"/>
                  <a:gd name="T1" fmla="*/ 1 h 6"/>
                  <a:gd name="T2" fmla="*/ 2 w 5"/>
                  <a:gd name="T3" fmla="*/ 4 h 6"/>
                  <a:gd name="T4" fmla="*/ 4 w 5"/>
                  <a:gd name="T5" fmla="*/ 2 h 6"/>
                  <a:gd name="T6" fmla="*/ 4 w 5"/>
                  <a:gd name="T7" fmla="*/ 1 h 6"/>
                </a:gdLst>
                <a:ahLst/>
                <a:cxnLst>
                  <a:cxn ang="0">
                    <a:pos x="T0" y="T1"/>
                  </a:cxn>
                  <a:cxn ang="0">
                    <a:pos x="T2" y="T3"/>
                  </a:cxn>
                  <a:cxn ang="0">
                    <a:pos x="T4" y="T5"/>
                  </a:cxn>
                  <a:cxn ang="0">
                    <a:pos x="T6" y="T7"/>
                  </a:cxn>
                </a:cxnLst>
                <a:rect l="0" t="0" r="r" b="b"/>
                <a:pathLst>
                  <a:path w="5" h="6">
                    <a:moveTo>
                      <a:pt x="4" y="1"/>
                    </a:moveTo>
                    <a:cubicBezTo>
                      <a:pt x="2" y="1"/>
                      <a:pt x="0" y="3"/>
                      <a:pt x="2" y="4"/>
                    </a:cubicBezTo>
                    <a:cubicBezTo>
                      <a:pt x="3" y="6"/>
                      <a:pt x="4" y="3"/>
                      <a:pt x="4" y="2"/>
                    </a:cubicBezTo>
                    <a:cubicBezTo>
                      <a:pt x="5" y="2"/>
                      <a:pt x="5" y="0"/>
                      <a:pt x="4"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70" name="Freeform 91"/>
              <p:cNvSpPr>
                <a:spLocks/>
              </p:cNvSpPr>
              <p:nvPr/>
            </p:nvSpPr>
            <p:spPr bwMode="gray">
              <a:xfrm>
                <a:off x="2980" y="3878"/>
                <a:ext cx="18" cy="10"/>
              </a:xfrm>
              <a:custGeom>
                <a:avLst/>
                <a:gdLst>
                  <a:gd name="T0" fmla="*/ 5 w 7"/>
                  <a:gd name="T1" fmla="*/ 1 h 4"/>
                  <a:gd name="T2" fmla="*/ 3 w 7"/>
                  <a:gd name="T3" fmla="*/ 3 h 4"/>
                  <a:gd name="T4" fmla="*/ 7 w 7"/>
                  <a:gd name="T5" fmla="*/ 2 h 4"/>
                  <a:gd name="T6" fmla="*/ 5 w 7"/>
                  <a:gd name="T7" fmla="*/ 1 h 4"/>
                </a:gdLst>
                <a:ahLst/>
                <a:cxnLst>
                  <a:cxn ang="0">
                    <a:pos x="T0" y="T1"/>
                  </a:cxn>
                  <a:cxn ang="0">
                    <a:pos x="T2" y="T3"/>
                  </a:cxn>
                  <a:cxn ang="0">
                    <a:pos x="T4" y="T5"/>
                  </a:cxn>
                  <a:cxn ang="0">
                    <a:pos x="T6" y="T7"/>
                  </a:cxn>
                </a:cxnLst>
                <a:rect l="0" t="0" r="r" b="b"/>
                <a:pathLst>
                  <a:path w="7" h="4">
                    <a:moveTo>
                      <a:pt x="5" y="1"/>
                    </a:moveTo>
                    <a:cubicBezTo>
                      <a:pt x="3" y="0"/>
                      <a:pt x="0" y="2"/>
                      <a:pt x="3" y="3"/>
                    </a:cubicBezTo>
                    <a:cubicBezTo>
                      <a:pt x="6" y="4"/>
                      <a:pt x="7" y="3"/>
                      <a:pt x="7" y="2"/>
                    </a:cubicBezTo>
                    <a:cubicBezTo>
                      <a:pt x="7" y="1"/>
                      <a:pt x="7" y="0"/>
                      <a:pt x="5"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71" name="Freeform 92"/>
              <p:cNvSpPr>
                <a:spLocks/>
              </p:cNvSpPr>
              <p:nvPr/>
            </p:nvSpPr>
            <p:spPr bwMode="gray">
              <a:xfrm>
                <a:off x="3030" y="3936"/>
                <a:ext cx="10" cy="37"/>
              </a:xfrm>
              <a:custGeom>
                <a:avLst/>
                <a:gdLst>
                  <a:gd name="T0" fmla="*/ 2 w 4"/>
                  <a:gd name="T1" fmla="*/ 6 h 14"/>
                  <a:gd name="T2" fmla="*/ 3 w 4"/>
                  <a:gd name="T3" fmla="*/ 1 h 14"/>
                  <a:gd name="T4" fmla="*/ 1 w 4"/>
                  <a:gd name="T5" fmla="*/ 3 h 14"/>
                  <a:gd name="T6" fmla="*/ 0 w 4"/>
                  <a:gd name="T7" fmla="*/ 8 h 14"/>
                  <a:gd name="T8" fmla="*/ 1 w 4"/>
                  <a:gd name="T9" fmla="*/ 12 h 14"/>
                  <a:gd name="T10" fmla="*/ 4 w 4"/>
                  <a:gd name="T11" fmla="*/ 11 h 14"/>
                  <a:gd name="T12" fmla="*/ 2 w 4"/>
                  <a:gd name="T13" fmla="*/ 6 h 14"/>
                </a:gdLst>
                <a:ahLst/>
                <a:cxnLst>
                  <a:cxn ang="0">
                    <a:pos x="T0" y="T1"/>
                  </a:cxn>
                  <a:cxn ang="0">
                    <a:pos x="T2" y="T3"/>
                  </a:cxn>
                  <a:cxn ang="0">
                    <a:pos x="T4" y="T5"/>
                  </a:cxn>
                  <a:cxn ang="0">
                    <a:pos x="T6" y="T7"/>
                  </a:cxn>
                  <a:cxn ang="0">
                    <a:pos x="T8" y="T9"/>
                  </a:cxn>
                  <a:cxn ang="0">
                    <a:pos x="T10" y="T11"/>
                  </a:cxn>
                  <a:cxn ang="0">
                    <a:pos x="T12" y="T13"/>
                  </a:cxn>
                </a:cxnLst>
                <a:rect l="0" t="0" r="r" b="b"/>
                <a:pathLst>
                  <a:path w="4" h="14">
                    <a:moveTo>
                      <a:pt x="2" y="6"/>
                    </a:moveTo>
                    <a:cubicBezTo>
                      <a:pt x="3" y="4"/>
                      <a:pt x="4" y="2"/>
                      <a:pt x="3" y="1"/>
                    </a:cubicBezTo>
                    <a:cubicBezTo>
                      <a:pt x="2" y="0"/>
                      <a:pt x="2" y="1"/>
                      <a:pt x="1" y="3"/>
                    </a:cubicBezTo>
                    <a:cubicBezTo>
                      <a:pt x="0" y="6"/>
                      <a:pt x="0" y="6"/>
                      <a:pt x="0" y="8"/>
                    </a:cubicBezTo>
                    <a:cubicBezTo>
                      <a:pt x="0" y="10"/>
                      <a:pt x="2" y="11"/>
                      <a:pt x="1" y="12"/>
                    </a:cubicBezTo>
                    <a:cubicBezTo>
                      <a:pt x="1" y="14"/>
                      <a:pt x="3" y="13"/>
                      <a:pt x="4" y="11"/>
                    </a:cubicBezTo>
                    <a:cubicBezTo>
                      <a:pt x="4" y="9"/>
                      <a:pt x="3" y="9"/>
                      <a:pt x="2" y="6"/>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72" name="Freeform 93"/>
              <p:cNvSpPr>
                <a:spLocks/>
              </p:cNvSpPr>
              <p:nvPr/>
            </p:nvSpPr>
            <p:spPr bwMode="gray">
              <a:xfrm>
                <a:off x="3017" y="3965"/>
                <a:ext cx="10" cy="10"/>
              </a:xfrm>
              <a:custGeom>
                <a:avLst/>
                <a:gdLst>
                  <a:gd name="T0" fmla="*/ 3 w 4"/>
                  <a:gd name="T1" fmla="*/ 1 h 4"/>
                  <a:gd name="T2" fmla="*/ 1 w 4"/>
                  <a:gd name="T3" fmla="*/ 4 h 4"/>
                  <a:gd name="T4" fmla="*/ 3 w 4"/>
                  <a:gd name="T5" fmla="*/ 1 h 4"/>
                </a:gdLst>
                <a:ahLst/>
                <a:cxnLst>
                  <a:cxn ang="0">
                    <a:pos x="T0" y="T1"/>
                  </a:cxn>
                  <a:cxn ang="0">
                    <a:pos x="T2" y="T3"/>
                  </a:cxn>
                  <a:cxn ang="0">
                    <a:pos x="T4" y="T5"/>
                  </a:cxn>
                </a:cxnLst>
                <a:rect l="0" t="0" r="r" b="b"/>
                <a:pathLst>
                  <a:path w="4" h="4">
                    <a:moveTo>
                      <a:pt x="3" y="1"/>
                    </a:moveTo>
                    <a:cubicBezTo>
                      <a:pt x="2" y="1"/>
                      <a:pt x="0" y="4"/>
                      <a:pt x="1" y="4"/>
                    </a:cubicBezTo>
                    <a:cubicBezTo>
                      <a:pt x="3" y="3"/>
                      <a:pt x="4" y="0"/>
                      <a:pt x="3"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73" name="Freeform 94"/>
              <p:cNvSpPr>
                <a:spLocks/>
              </p:cNvSpPr>
              <p:nvPr/>
            </p:nvSpPr>
            <p:spPr bwMode="gray">
              <a:xfrm>
                <a:off x="2851" y="3949"/>
                <a:ext cx="142" cy="55"/>
              </a:xfrm>
              <a:custGeom>
                <a:avLst/>
                <a:gdLst>
                  <a:gd name="T0" fmla="*/ 51 w 54"/>
                  <a:gd name="T1" fmla="*/ 13 h 21"/>
                  <a:gd name="T2" fmla="*/ 53 w 54"/>
                  <a:gd name="T3" fmla="*/ 13 h 21"/>
                  <a:gd name="T4" fmla="*/ 52 w 54"/>
                  <a:gd name="T5" fmla="*/ 19 h 21"/>
                  <a:gd name="T6" fmla="*/ 47 w 54"/>
                  <a:gd name="T7" fmla="*/ 19 h 21"/>
                  <a:gd name="T8" fmla="*/ 41 w 54"/>
                  <a:gd name="T9" fmla="*/ 19 h 21"/>
                  <a:gd name="T10" fmla="*/ 34 w 54"/>
                  <a:gd name="T11" fmla="*/ 19 h 21"/>
                  <a:gd name="T12" fmla="*/ 25 w 54"/>
                  <a:gd name="T13" fmla="*/ 20 h 21"/>
                  <a:gd name="T14" fmla="*/ 23 w 54"/>
                  <a:gd name="T15" fmla="*/ 16 h 21"/>
                  <a:gd name="T16" fmla="*/ 15 w 54"/>
                  <a:gd name="T17" fmla="*/ 14 h 21"/>
                  <a:gd name="T18" fmla="*/ 8 w 54"/>
                  <a:gd name="T19" fmla="*/ 13 h 21"/>
                  <a:gd name="T20" fmla="*/ 2 w 54"/>
                  <a:gd name="T21" fmla="*/ 12 h 21"/>
                  <a:gd name="T22" fmla="*/ 1 w 54"/>
                  <a:gd name="T23" fmla="*/ 6 h 21"/>
                  <a:gd name="T24" fmla="*/ 2 w 54"/>
                  <a:gd name="T25" fmla="*/ 4 h 21"/>
                  <a:gd name="T26" fmla="*/ 4 w 54"/>
                  <a:gd name="T27" fmla="*/ 3 h 21"/>
                  <a:gd name="T28" fmla="*/ 5 w 54"/>
                  <a:gd name="T29" fmla="*/ 1 h 21"/>
                  <a:gd name="T30" fmla="*/ 8 w 54"/>
                  <a:gd name="T31" fmla="*/ 5 h 21"/>
                  <a:gd name="T32" fmla="*/ 13 w 54"/>
                  <a:gd name="T33" fmla="*/ 4 h 21"/>
                  <a:gd name="T34" fmla="*/ 14 w 54"/>
                  <a:gd name="T35" fmla="*/ 7 h 21"/>
                  <a:gd name="T36" fmla="*/ 19 w 54"/>
                  <a:gd name="T37" fmla="*/ 9 h 21"/>
                  <a:gd name="T38" fmla="*/ 25 w 54"/>
                  <a:gd name="T39" fmla="*/ 7 h 21"/>
                  <a:gd name="T40" fmla="*/ 29 w 54"/>
                  <a:gd name="T41" fmla="*/ 8 h 21"/>
                  <a:gd name="T42" fmla="*/ 34 w 54"/>
                  <a:gd name="T43" fmla="*/ 9 h 21"/>
                  <a:gd name="T44" fmla="*/ 37 w 54"/>
                  <a:gd name="T45" fmla="*/ 11 h 21"/>
                  <a:gd name="T46" fmla="*/ 43 w 54"/>
                  <a:gd name="T47" fmla="*/ 9 h 21"/>
                  <a:gd name="T48" fmla="*/ 43 w 54"/>
                  <a:gd name="T49" fmla="*/ 15 h 21"/>
                  <a:gd name="T50" fmla="*/ 47 w 54"/>
                  <a:gd name="T51" fmla="*/ 14 h 21"/>
                  <a:gd name="T52" fmla="*/ 51 w 54"/>
                  <a:gd name="T53" fmla="*/ 1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 h="21">
                    <a:moveTo>
                      <a:pt x="51" y="13"/>
                    </a:moveTo>
                    <a:cubicBezTo>
                      <a:pt x="52" y="11"/>
                      <a:pt x="53" y="11"/>
                      <a:pt x="53" y="13"/>
                    </a:cubicBezTo>
                    <a:cubicBezTo>
                      <a:pt x="53" y="16"/>
                      <a:pt x="54" y="18"/>
                      <a:pt x="52" y="19"/>
                    </a:cubicBezTo>
                    <a:cubicBezTo>
                      <a:pt x="51" y="20"/>
                      <a:pt x="49" y="19"/>
                      <a:pt x="47" y="19"/>
                    </a:cubicBezTo>
                    <a:cubicBezTo>
                      <a:pt x="46" y="19"/>
                      <a:pt x="43" y="19"/>
                      <a:pt x="41" y="19"/>
                    </a:cubicBezTo>
                    <a:cubicBezTo>
                      <a:pt x="40" y="19"/>
                      <a:pt x="37" y="18"/>
                      <a:pt x="34" y="19"/>
                    </a:cubicBezTo>
                    <a:cubicBezTo>
                      <a:pt x="30" y="21"/>
                      <a:pt x="27" y="21"/>
                      <a:pt x="25" y="20"/>
                    </a:cubicBezTo>
                    <a:cubicBezTo>
                      <a:pt x="24" y="19"/>
                      <a:pt x="25" y="18"/>
                      <a:pt x="23" y="16"/>
                    </a:cubicBezTo>
                    <a:cubicBezTo>
                      <a:pt x="21" y="15"/>
                      <a:pt x="17" y="14"/>
                      <a:pt x="15" y="14"/>
                    </a:cubicBezTo>
                    <a:cubicBezTo>
                      <a:pt x="14" y="14"/>
                      <a:pt x="9" y="14"/>
                      <a:pt x="8" y="13"/>
                    </a:cubicBezTo>
                    <a:cubicBezTo>
                      <a:pt x="6" y="11"/>
                      <a:pt x="3" y="14"/>
                      <a:pt x="2" y="12"/>
                    </a:cubicBezTo>
                    <a:cubicBezTo>
                      <a:pt x="0" y="11"/>
                      <a:pt x="1" y="7"/>
                      <a:pt x="1" y="6"/>
                    </a:cubicBezTo>
                    <a:cubicBezTo>
                      <a:pt x="1" y="4"/>
                      <a:pt x="1" y="2"/>
                      <a:pt x="2" y="4"/>
                    </a:cubicBezTo>
                    <a:cubicBezTo>
                      <a:pt x="4" y="6"/>
                      <a:pt x="5" y="4"/>
                      <a:pt x="4" y="3"/>
                    </a:cubicBezTo>
                    <a:cubicBezTo>
                      <a:pt x="4" y="2"/>
                      <a:pt x="4" y="0"/>
                      <a:pt x="5" y="1"/>
                    </a:cubicBezTo>
                    <a:cubicBezTo>
                      <a:pt x="6" y="3"/>
                      <a:pt x="7" y="5"/>
                      <a:pt x="8" y="5"/>
                    </a:cubicBezTo>
                    <a:cubicBezTo>
                      <a:pt x="10" y="4"/>
                      <a:pt x="14" y="2"/>
                      <a:pt x="13" y="4"/>
                    </a:cubicBezTo>
                    <a:cubicBezTo>
                      <a:pt x="12" y="5"/>
                      <a:pt x="12" y="6"/>
                      <a:pt x="14" y="7"/>
                    </a:cubicBezTo>
                    <a:cubicBezTo>
                      <a:pt x="15" y="9"/>
                      <a:pt x="17" y="10"/>
                      <a:pt x="19" y="9"/>
                    </a:cubicBezTo>
                    <a:cubicBezTo>
                      <a:pt x="21" y="8"/>
                      <a:pt x="23" y="7"/>
                      <a:pt x="25" y="7"/>
                    </a:cubicBezTo>
                    <a:cubicBezTo>
                      <a:pt x="27" y="8"/>
                      <a:pt x="28" y="7"/>
                      <a:pt x="29" y="8"/>
                    </a:cubicBezTo>
                    <a:cubicBezTo>
                      <a:pt x="31" y="10"/>
                      <a:pt x="32" y="10"/>
                      <a:pt x="34" y="9"/>
                    </a:cubicBezTo>
                    <a:cubicBezTo>
                      <a:pt x="36" y="9"/>
                      <a:pt x="35" y="11"/>
                      <a:pt x="37" y="11"/>
                    </a:cubicBezTo>
                    <a:cubicBezTo>
                      <a:pt x="40" y="11"/>
                      <a:pt x="42" y="7"/>
                      <a:pt x="43" y="9"/>
                    </a:cubicBezTo>
                    <a:cubicBezTo>
                      <a:pt x="43" y="12"/>
                      <a:pt x="42" y="13"/>
                      <a:pt x="43" y="15"/>
                    </a:cubicBezTo>
                    <a:cubicBezTo>
                      <a:pt x="45" y="16"/>
                      <a:pt x="46" y="15"/>
                      <a:pt x="47" y="14"/>
                    </a:cubicBezTo>
                    <a:cubicBezTo>
                      <a:pt x="48" y="12"/>
                      <a:pt x="50" y="14"/>
                      <a:pt x="51" y="13"/>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74" name="Freeform 95"/>
              <p:cNvSpPr>
                <a:spLocks/>
              </p:cNvSpPr>
              <p:nvPr/>
            </p:nvSpPr>
            <p:spPr bwMode="gray">
              <a:xfrm>
                <a:off x="2954" y="3860"/>
                <a:ext cx="21" cy="13"/>
              </a:xfrm>
              <a:custGeom>
                <a:avLst/>
                <a:gdLst>
                  <a:gd name="T0" fmla="*/ 7 w 8"/>
                  <a:gd name="T1" fmla="*/ 0 h 5"/>
                  <a:gd name="T2" fmla="*/ 2 w 8"/>
                  <a:gd name="T3" fmla="*/ 4 h 5"/>
                  <a:gd name="T4" fmla="*/ 8 w 8"/>
                  <a:gd name="T5" fmla="*/ 2 h 5"/>
                  <a:gd name="T6" fmla="*/ 7 w 8"/>
                  <a:gd name="T7" fmla="*/ 0 h 5"/>
                </a:gdLst>
                <a:ahLst/>
                <a:cxnLst>
                  <a:cxn ang="0">
                    <a:pos x="T0" y="T1"/>
                  </a:cxn>
                  <a:cxn ang="0">
                    <a:pos x="T2" y="T3"/>
                  </a:cxn>
                  <a:cxn ang="0">
                    <a:pos x="T4" y="T5"/>
                  </a:cxn>
                  <a:cxn ang="0">
                    <a:pos x="T6" y="T7"/>
                  </a:cxn>
                </a:cxnLst>
                <a:rect l="0" t="0" r="r" b="b"/>
                <a:pathLst>
                  <a:path w="8" h="5">
                    <a:moveTo>
                      <a:pt x="7" y="0"/>
                    </a:moveTo>
                    <a:cubicBezTo>
                      <a:pt x="4" y="0"/>
                      <a:pt x="0" y="4"/>
                      <a:pt x="2" y="4"/>
                    </a:cubicBezTo>
                    <a:cubicBezTo>
                      <a:pt x="5" y="5"/>
                      <a:pt x="7" y="4"/>
                      <a:pt x="8" y="2"/>
                    </a:cubicBezTo>
                    <a:cubicBezTo>
                      <a:pt x="8" y="1"/>
                      <a:pt x="8" y="0"/>
                      <a:pt x="7"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75" name="Freeform 96"/>
              <p:cNvSpPr>
                <a:spLocks/>
              </p:cNvSpPr>
              <p:nvPr/>
            </p:nvSpPr>
            <p:spPr bwMode="gray">
              <a:xfrm>
                <a:off x="2940" y="3894"/>
                <a:ext cx="8" cy="10"/>
              </a:xfrm>
              <a:custGeom>
                <a:avLst/>
                <a:gdLst>
                  <a:gd name="T0" fmla="*/ 2 w 3"/>
                  <a:gd name="T1" fmla="*/ 1 h 4"/>
                  <a:gd name="T2" fmla="*/ 2 w 3"/>
                  <a:gd name="T3" fmla="*/ 3 h 4"/>
                  <a:gd name="T4" fmla="*/ 2 w 3"/>
                  <a:gd name="T5" fmla="*/ 1 h 4"/>
                </a:gdLst>
                <a:ahLst/>
                <a:cxnLst>
                  <a:cxn ang="0">
                    <a:pos x="T0" y="T1"/>
                  </a:cxn>
                  <a:cxn ang="0">
                    <a:pos x="T2" y="T3"/>
                  </a:cxn>
                  <a:cxn ang="0">
                    <a:pos x="T4" y="T5"/>
                  </a:cxn>
                </a:cxnLst>
                <a:rect l="0" t="0" r="r" b="b"/>
                <a:pathLst>
                  <a:path w="3" h="4">
                    <a:moveTo>
                      <a:pt x="2" y="1"/>
                    </a:moveTo>
                    <a:cubicBezTo>
                      <a:pt x="1" y="0"/>
                      <a:pt x="0" y="2"/>
                      <a:pt x="2" y="3"/>
                    </a:cubicBezTo>
                    <a:cubicBezTo>
                      <a:pt x="3" y="4"/>
                      <a:pt x="3" y="2"/>
                      <a:pt x="2"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76" name="Freeform 97"/>
              <p:cNvSpPr>
                <a:spLocks/>
              </p:cNvSpPr>
              <p:nvPr/>
            </p:nvSpPr>
            <p:spPr bwMode="gray">
              <a:xfrm>
                <a:off x="2933" y="3870"/>
                <a:ext cx="10" cy="11"/>
              </a:xfrm>
              <a:custGeom>
                <a:avLst/>
                <a:gdLst>
                  <a:gd name="T0" fmla="*/ 3 w 4"/>
                  <a:gd name="T1" fmla="*/ 1 h 4"/>
                  <a:gd name="T2" fmla="*/ 2 w 4"/>
                  <a:gd name="T3" fmla="*/ 3 h 4"/>
                  <a:gd name="T4" fmla="*/ 4 w 4"/>
                  <a:gd name="T5" fmla="*/ 3 h 4"/>
                  <a:gd name="T6" fmla="*/ 3 w 4"/>
                  <a:gd name="T7" fmla="*/ 1 h 4"/>
                </a:gdLst>
                <a:ahLst/>
                <a:cxnLst>
                  <a:cxn ang="0">
                    <a:pos x="T0" y="T1"/>
                  </a:cxn>
                  <a:cxn ang="0">
                    <a:pos x="T2" y="T3"/>
                  </a:cxn>
                  <a:cxn ang="0">
                    <a:pos x="T4" y="T5"/>
                  </a:cxn>
                  <a:cxn ang="0">
                    <a:pos x="T6" y="T7"/>
                  </a:cxn>
                </a:cxnLst>
                <a:rect l="0" t="0" r="r" b="b"/>
                <a:pathLst>
                  <a:path w="4" h="4">
                    <a:moveTo>
                      <a:pt x="3" y="1"/>
                    </a:moveTo>
                    <a:cubicBezTo>
                      <a:pt x="1" y="0"/>
                      <a:pt x="0" y="1"/>
                      <a:pt x="2" y="3"/>
                    </a:cubicBezTo>
                    <a:cubicBezTo>
                      <a:pt x="3" y="4"/>
                      <a:pt x="4" y="4"/>
                      <a:pt x="4" y="3"/>
                    </a:cubicBezTo>
                    <a:cubicBezTo>
                      <a:pt x="4" y="2"/>
                      <a:pt x="4" y="1"/>
                      <a:pt x="3"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77" name="Freeform 98"/>
              <p:cNvSpPr>
                <a:spLocks/>
              </p:cNvSpPr>
              <p:nvPr/>
            </p:nvSpPr>
            <p:spPr bwMode="gray">
              <a:xfrm>
                <a:off x="2940" y="3839"/>
                <a:ext cx="11" cy="21"/>
              </a:xfrm>
              <a:custGeom>
                <a:avLst/>
                <a:gdLst>
                  <a:gd name="T0" fmla="*/ 3 w 4"/>
                  <a:gd name="T1" fmla="*/ 1 h 8"/>
                  <a:gd name="T2" fmla="*/ 0 w 4"/>
                  <a:gd name="T3" fmla="*/ 3 h 8"/>
                  <a:gd name="T4" fmla="*/ 1 w 4"/>
                  <a:gd name="T5" fmla="*/ 7 h 8"/>
                  <a:gd name="T6" fmla="*/ 4 w 4"/>
                  <a:gd name="T7" fmla="*/ 3 h 8"/>
                  <a:gd name="T8" fmla="*/ 3 w 4"/>
                  <a:gd name="T9" fmla="*/ 1 h 8"/>
                </a:gdLst>
                <a:ahLst/>
                <a:cxnLst>
                  <a:cxn ang="0">
                    <a:pos x="T0" y="T1"/>
                  </a:cxn>
                  <a:cxn ang="0">
                    <a:pos x="T2" y="T3"/>
                  </a:cxn>
                  <a:cxn ang="0">
                    <a:pos x="T4" y="T5"/>
                  </a:cxn>
                  <a:cxn ang="0">
                    <a:pos x="T6" y="T7"/>
                  </a:cxn>
                  <a:cxn ang="0">
                    <a:pos x="T8" y="T9"/>
                  </a:cxn>
                </a:cxnLst>
                <a:rect l="0" t="0" r="r" b="b"/>
                <a:pathLst>
                  <a:path w="4" h="8">
                    <a:moveTo>
                      <a:pt x="3" y="1"/>
                    </a:moveTo>
                    <a:cubicBezTo>
                      <a:pt x="1" y="1"/>
                      <a:pt x="0" y="1"/>
                      <a:pt x="0" y="3"/>
                    </a:cubicBezTo>
                    <a:cubicBezTo>
                      <a:pt x="0" y="6"/>
                      <a:pt x="0" y="8"/>
                      <a:pt x="1" y="7"/>
                    </a:cubicBezTo>
                    <a:cubicBezTo>
                      <a:pt x="3" y="7"/>
                      <a:pt x="3" y="5"/>
                      <a:pt x="4" y="3"/>
                    </a:cubicBezTo>
                    <a:cubicBezTo>
                      <a:pt x="4" y="1"/>
                      <a:pt x="4" y="0"/>
                      <a:pt x="3"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78" name="Freeform 99"/>
              <p:cNvSpPr>
                <a:spLocks/>
              </p:cNvSpPr>
              <p:nvPr/>
            </p:nvSpPr>
            <p:spPr bwMode="gray">
              <a:xfrm>
                <a:off x="2817" y="3896"/>
                <a:ext cx="10" cy="21"/>
              </a:xfrm>
              <a:custGeom>
                <a:avLst/>
                <a:gdLst>
                  <a:gd name="T0" fmla="*/ 2 w 4"/>
                  <a:gd name="T1" fmla="*/ 1 h 8"/>
                  <a:gd name="T2" fmla="*/ 1 w 4"/>
                  <a:gd name="T3" fmla="*/ 4 h 8"/>
                  <a:gd name="T4" fmla="*/ 3 w 4"/>
                  <a:gd name="T5" fmla="*/ 7 h 8"/>
                  <a:gd name="T6" fmla="*/ 2 w 4"/>
                  <a:gd name="T7" fmla="*/ 1 h 8"/>
                </a:gdLst>
                <a:ahLst/>
                <a:cxnLst>
                  <a:cxn ang="0">
                    <a:pos x="T0" y="T1"/>
                  </a:cxn>
                  <a:cxn ang="0">
                    <a:pos x="T2" y="T3"/>
                  </a:cxn>
                  <a:cxn ang="0">
                    <a:pos x="T4" y="T5"/>
                  </a:cxn>
                  <a:cxn ang="0">
                    <a:pos x="T6" y="T7"/>
                  </a:cxn>
                </a:cxnLst>
                <a:rect l="0" t="0" r="r" b="b"/>
                <a:pathLst>
                  <a:path w="4" h="8">
                    <a:moveTo>
                      <a:pt x="2" y="1"/>
                    </a:moveTo>
                    <a:cubicBezTo>
                      <a:pt x="1" y="0"/>
                      <a:pt x="0" y="1"/>
                      <a:pt x="1" y="4"/>
                    </a:cubicBezTo>
                    <a:cubicBezTo>
                      <a:pt x="1" y="7"/>
                      <a:pt x="1" y="8"/>
                      <a:pt x="3" y="7"/>
                    </a:cubicBezTo>
                    <a:cubicBezTo>
                      <a:pt x="4" y="6"/>
                      <a:pt x="4" y="4"/>
                      <a:pt x="2"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79" name="Freeform 100"/>
              <p:cNvSpPr>
                <a:spLocks/>
              </p:cNvSpPr>
              <p:nvPr/>
            </p:nvSpPr>
            <p:spPr bwMode="gray">
              <a:xfrm>
                <a:off x="2885" y="3867"/>
                <a:ext cx="16" cy="14"/>
              </a:xfrm>
              <a:custGeom>
                <a:avLst/>
                <a:gdLst>
                  <a:gd name="T0" fmla="*/ 2 w 6"/>
                  <a:gd name="T1" fmla="*/ 1 h 5"/>
                  <a:gd name="T2" fmla="*/ 2 w 6"/>
                  <a:gd name="T3" fmla="*/ 5 h 5"/>
                  <a:gd name="T4" fmla="*/ 5 w 6"/>
                  <a:gd name="T5" fmla="*/ 4 h 5"/>
                  <a:gd name="T6" fmla="*/ 2 w 6"/>
                  <a:gd name="T7" fmla="*/ 1 h 5"/>
                </a:gdLst>
                <a:ahLst/>
                <a:cxnLst>
                  <a:cxn ang="0">
                    <a:pos x="T0" y="T1"/>
                  </a:cxn>
                  <a:cxn ang="0">
                    <a:pos x="T2" y="T3"/>
                  </a:cxn>
                  <a:cxn ang="0">
                    <a:pos x="T4" y="T5"/>
                  </a:cxn>
                  <a:cxn ang="0">
                    <a:pos x="T6" y="T7"/>
                  </a:cxn>
                </a:cxnLst>
                <a:rect l="0" t="0" r="r" b="b"/>
                <a:pathLst>
                  <a:path w="6" h="5">
                    <a:moveTo>
                      <a:pt x="2" y="1"/>
                    </a:moveTo>
                    <a:cubicBezTo>
                      <a:pt x="1" y="1"/>
                      <a:pt x="0" y="4"/>
                      <a:pt x="2" y="5"/>
                    </a:cubicBezTo>
                    <a:cubicBezTo>
                      <a:pt x="3" y="5"/>
                      <a:pt x="5" y="5"/>
                      <a:pt x="5" y="4"/>
                    </a:cubicBezTo>
                    <a:cubicBezTo>
                      <a:pt x="6" y="3"/>
                      <a:pt x="4" y="0"/>
                      <a:pt x="2"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80" name="Freeform 101"/>
              <p:cNvSpPr>
                <a:spLocks/>
              </p:cNvSpPr>
              <p:nvPr/>
            </p:nvSpPr>
            <p:spPr bwMode="gray">
              <a:xfrm>
                <a:off x="2914" y="3878"/>
                <a:ext cx="8" cy="10"/>
              </a:xfrm>
              <a:custGeom>
                <a:avLst/>
                <a:gdLst>
                  <a:gd name="T0" fmla="*/ 1 w 3"/>
                  <a:gd name="T1" fmla="*/ 0 h 4"/>
                  <a:gd name="T2" fmla="*/ 1 w 3"/>
                  <a:gd name="T3" fmla="*/ 3 h 4"/>
                  <a:gd name="T4" fmla="*/ 3 w 3"/>
                  <a:gd name="T5" fmla="*/ 2 h 4"/>
                  <a:gd name="T6" fmla="*/ 1 w 3"/>
                  <a:gd name="T7" fmla="*/ 0 h 4"/>
                </a:gdLst>
                <a:ahLst/>
                <a:cxnLst>
                  <a:cxn ang="0">
                    <a:pos x="T0" y="T1"/>
                  </a:cxn>
                  <a:cxn ang="0">
                    <a:pos x="T2" y="T3"/>
                  </a:cxn>
                  <a:cxn ang="0">
                    <a:pos x="T4" y="T5"/>
                  </a:cxn>
                  <a:cxn ang="0">
                    <a:pos x="T6" y="T7"/>
                  </a:cxn>
                </a:cxnLst>
                <a:rect l="0" t="0" r="r" b="b"/>
                <a:pathLst>
                  <a:path w="3" h="4">
                    <a:moveTo>
                      <a:pt x="1" y="0"/>
                    </a:moveTo>
                    <a:cubicBezTo>
                      <a:pt x="0" y="0"/>
                      <a:pt x="0" y="2"/>
                      <a:pt x="1" y="3"/>
                    </a:cubicBezTo>
                    <a:cubicBezTo>
                      <a:pt x="3" y="4"/>
                      <a:pt x="3" y="2"/>
                      <a:pt x="3" y="2"/>
                    </a:cubicBezTo>
                    <a:cubicBezTo>
                      <a:pt x="3" y="1"/>
                      <a:pt x="3" y="0"/>
                      <a:pt x="1"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81" name="Freeform 102"/>
              <p:cNvSpPr>
                <a:spLocks/>
              </p:cNvSpPr>
              <p:nvPr/>
            </p:nvSpPr>
            <p:spPr bwMode="gray">
              <a:xfrm>
                <a:off x="2922" y="3873"/>
                <a:ext cx="8" cy="10"/>
              </a:xfrm>
              <a:custGeom>
                <a:avLst/>
                <a:gdLst>
                  <a:gd name="T0" fmla="*/ 2 w 3"/>
                  <a:gd name="T1" fmla="*/ 1 h 4"/>
                  <a:gd name="T2" fmla="*/ 2 w 3"/>
                  <a:gd name="T3" fmla="*/ 3 h 4"/>
                  <a:gd name="T4" fmla="*/ 2 w 3"/>
                  <a:gd name="T5" fmla="*/ 1 h 4"/>
                </a:gdLst>
                <a:ahLst/>
                <a:cxnLst>
                  <a:cxn ang="0">
                    <a:pos x="T0" y="T1"/>
                  </a:cxn>
                  <a:cxn ang="0">
                    <a:pos x="T2" y="T3"/>
                  </a:cxn>
                  <a:cxn ang="0">
                    <a:pos x="T4" y="T5"/>
                  </a:cxn>
                </a:cxnLst>
                <a:rect l="0" t="0" r="r" b="b"/>
                <a:pathLst>
                  <a:path w="3" h="4">
                    <a:moveTo>
                      <a:pt x="2" y="1"/>
                    </a:moveTo>
                    <a:cubicBezTo>
                      <a:pt x="1" y="1"/>
                      <a:pt x="0" y="4"/>
                      <a:pt x="2" y="3"/>
                    </a:cubicBezTo>
                    <a:cubicBezTo>
                      <a:pt x="3" y="3"/>
                      <a:pt x="3" y="0"/>
                      <a:pt x="2"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82" name="Freeform 103"/>
              <p:cNvSpPr>
                <a:spLocks/>
              </p:cNvSpPr>
              <p:nvPr/>
            </p:nvSpPr>
            <p:spPr bwMode="gray">
              <a:xfrm>
                <a:off x="2927" y="3841"/>
                <a:ext cx="11" cy="16"/>
              </a:xfrm>
              <a:custGeom>
                <a:avLst/>
                <a:gdLst>
                  <a:gd name="T0" fmla="*/ 2 w 4"/>
                  <a:gd name="T1" fmla="*/ 1 h 6"/>
                  <a:gd name="T2" fmla="*/ 0 w 4"/>
                  <a:gd name="T3" fmla="*/ 5 h 6"/>
                  <a:gd name="T4" fmla="*/ 3 w 4"/>
                  <a:gd name="T5" fmla="*/ 5 h 6"/>
                  <a:gd name="T6" fmla="*/ 2 w 4"/>
                  <a:gd name="T7" fmla="*/ 1 h 6"/>
                </a:gdLst>
                <a:ahLst/>
                <a:cxnLst>
                  <a:cxn ang="0">
                    <a:pos x="T0" y="T1"/>
                  </a:cxn>
                  <a:cxn ang="0">
                    <a:pos x="T2" y="T3"/>
                  </a:cxn>
                  <a:cxn ang="0">
                    <a:pos x="T4" y="T5"/>
                  </a:cxn>
                  <a:cxn ang="0">
                    <a:pos x="T6" y="T7"/>
                  </a:cxn>
                </a:cxnLst>
                <a:rect l="0" t="0" r="r" b="b"/>
                <a:pathLst>
                  <a:path w="4" h="6">
                    <a:moveTo>
                      <a:pt x="2" y="1"/>
                    </a:moveTo>
                    <a:cubicBezTo>
                      <a:pt x="1" y="0"/>
                      <a:pt x="0" y="3"/>
                      <a:pt x="0" y="5"/>
                    </a:cubicBezTo>
                    <a:cubicBezTo>
                      <a:pt x="1" y="6"/>
                      <a:pt x="2" y="6"/>
                      <a:pt x="3" y="5"/>
                    </a:cubicBezTo>
                    <a:cubicBezTo>
                      <a:pt x="3" y="4"/>
                      <a:pt x="4" y="1"/>
                      <a:pt x="2"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83" name="Freeform 104"/>
              <p:cNvSpPr>
                <a:spLocks/>
              </p:cNvSpPr>
              <p:nvPr/>
            </p:nvSpPr>
            <p:spPr bwMode="gray">
              <a:xfrm>
                <a:off x="2901" y="3854"/>
                <a:ext cx="11" cy="6"/>
              </a:xfrm>
              <a:custGeom>
                <a:avLst/>
                <a:gdLst>
                  <a:gd name="T0" fmla="*/ 2 w 4"/>
                  <a:gd name="T1" fmla="*/ 0 h 2"/>
                  <a:gd name="T2" fmla="*/ 2 w 4"/>
                  <a:gd name="T3" fmla="*/ 2 h 2"/>
                  <a:gd name="T4" fmla="*/ 2 w 4"/>
                  <a:gd name="T5" fmla="*/ 0 h 2"/>
                </a:gdLst>
                <a:ahLst/>
                <a:cxnLst>
                  <a:cxn ang="0">
                    <a:pos x="T0" y="T1"/>
                  </a:cxn>
                  <a:cxn ang="0">
                    <a:pos x="T2" y="T3"/>
                  </a:cxn>
                  <a:cxn ang="0">
                    <a:pos x="T4" y="T5"/>
                  </a:cxn>
                </a:cxnLst>
                <a:rect l="0" t="0" r="r" b="b"/>
                <a:pathLst>
                  <a:path w="4" h="2">
                    <a:moveTo>
                      <a:pt x="2" y="0"/>
                    </a:moveTo>
                    <a:cubicBezTo>
                      <a:pt x="1" y="0"/>
                      <a:pt x="0" y="1"/>
                      <a:pt x="2" y="2"/>
                    </a:cubicBezTo>
                    <a:cubicBezTo>
                      <a:pt x="3" y="2"/>
                      <a:pt x="4" y="0"/>
                      <a:pt x="2"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84" name="Freeform 105"/>
              <p:cNvSpPr>
                <a:spLocks/>
              </p:cNvSpPr>
              <p:nvPr/>
            </p:nvSpPr>
            <p:spPr bwMode="gray">
              <a:xfrm>
                <a:off x="2891" y="3839"/>
                <a:ext cx="7" cy="10"/>
              </a:xfrm>
              <a:custGeom>
                <a:avLst/>
                <a:gdLst>
                  <a:gd name="T0" fmla="*/ 1 w 3"/>
                  <a:gd name="T1" fmla="*/ 0 h 4"/>
                  <a:gd name="T2" fmla="*/ 2 w 3"/>
                  <a:gd name="T3" fmla="*/ 3 h 4"/>
                  <a:gd name="T4" fmla="*/ 1 w 3"/>
                  <a:gd name="T5" fmla="*/ 0 h 4"/>
                </a:gdLst>
                <a:ahLst/>
                <a:cxnLst>
                  <a:cxn ang="0">
                    <a:pos x="T0" y="T1"/>
                  </a:cxn>
                  <a:cxn ang="0">
                    <a:pos x="T2" y="T3"/>
                  </a:cxn>
                  <a:cxn ang="0">
                    <a:pos x="T4" y="T5"/>
                  </a:cxn>
                </a:cxnLst>
                <a:rect l="0" t="0" r="r" b="b"/>
                <a:pathLst>
                  <a:path w="3" h="4">
                    <a:moveTo>
                      <a:pt x="1" y="0"/>
                    </a:moveTo>
                    <a:cubicBezTo>
                      <a:pt x="0" y="0"/>
                      <a:pt x="1" y="2"/>
                      <a:pt x="2" y="3"/>
                    </a:cubicBezTo>
                    <a:cubicBezTo>
                      <a:pt x="3" y="4"/>
                      <a:pt x="3" y="1"/>
                      <a:pt x="1"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85" name="Freeform 106"/>
              <p:cNvSpPr>
                <a:spLocks/>
              </p:cNvSpPr>
              <p:nvPr/>
            </p:nvSpPr>
            <p:spPr bwMode="gray">
              <a:xfrm>
                <a:off x="2888" y="3817"/>
                <a:ext cx="8" cy="11"/>
              </a:xfrm>
              <a:custGeom>
                <a:avLst/>
                <a:gdLst>
                  <a:gd name="T0" fmla="*/ 1 w 3"/>
                  <a:gd name="T1" fmla="*/ 0 h 4"/>
                  <a:gd name="T2" fmla="*/ 1 w 3"/>
                  <a:gd name="T3" fmla="*/ 3 h 4"/>
                  <a:gd name="T4" fmla="*/ 1 w 3"/>
                  <a:gd name="T5" fmla="*/ 0 h 4"/>
                </a:gdLst>
                <a:ahLst/>
                <a:cxnLst>
                  <a:cxn ang="0">
                    <a:pos x="T0" y="T1"/>
                  </a:cxn>
                  <a:cxn ang="0">
                    <a:pos x="T2" y="T3"/>
                  </a:cxn>
                  <a:cxn ang="0">
                    <a:pos x="T4" y="T5"/>
                  </a:cxn>
                </a:cxnLst>
                <a:rect l="0" t="0" r="r" b="b"/>
                <a:pathLst>
                  <a:path w="3" h="4">
                    <a:moveTo>
                      <a:pt x="1" y="0"/>
                    </a:moveTo>
                    <a:cubicBezTo>
                      <a:pt x="0" y="0"/>
                      <a:pt x="0" y="2"/>
                      <a:pt x="1" y="3"/>
                    </a:cubicBezTo>
                    <a:cubicBezTo>
                      <a:pt x="2" y="4"/>
                      <a:pt x="3" y="1"/>
                      <a:pt x="1"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86" name="Freeform 107"/>
              <p:cNvSpPr>
                <a:spLocks/>
              </p:cNvSpPr>
              <p:nvPr/>
            </p:nvSpPr>
            <p:spPr bwMode="gray">
              <a:xfrm>
                <a:off x="2883" y="3802"/>
                <a:ext cx="8" cy="18"/>
              </a:xfrm>
              <a:custGeom>
                <a:avLst/>
                <a:gdLst>
                  <a:gd name="T0" fmla="*/ 2 w 3"/>
                  <a:gd name="T1" fmla="*/ 1 h 7"/>
                  <a:gd name="T2" fmla="*/ 0 w 3"/>
                  <a:gd name="T3" fmla="*/ 5 h 7"/>
                  <a:gd name="T4" fmla="*/ 2 w 3"/>
                  <a:gd name="T5" fmla="*/ 4 h 7"/>
                  <a:gd name="T6" fmla="*/ 2 w 3"/>
                  <a:gd name="T7" fmla="*/ 1 h 7"/>
                </a:gdLst>
                <a:ahLst/>
                <a:cxnLst>
                  <a:cxn ang="0">
                    <a:pos x="T0" y="T1"/>
                  </a:cxn>
                  <a:cxn ang="0">
                    <a:pos x="T2" y="T3"/>
                  </a:cxn>
                  <a:cxn ang="0">
                    <a:pos x="T4" y="T5"/>
                  </a:cxn>
                  <a:cxn ang="0">
                    <a:pos x="T6" y="T7"/>
                  </a:cxn>
                </a:cxnLst>
                <a:rect l="0" t="0" r="r" b="b"/>
                <a:pathLst>
                  <a:path w="3" h="7">
                    <a:moveTo>
                      <a:pt x="2" y="1"/>
                    </a:moveTo>
                    <a:cubicBezTo>
                      <a:pt x="1" y="1"/>
                      <a:pt x="0" y="4"/>
                      <a:pt x="0" y="5"/>
                    </a:cubicBezTo>
                    <a:cubicBezTo>
                      <a:pt x="0" y="7"/>
                      <a:pt x="2" y="6"/>
                      <a:pt x="2" y="4"/>
                    </a:cubicBezTo>
                    <a:cubicBezTo>
                      <a:pt x="3" y="1"/>
                      <a:pt x="3" y="0"/>
                      <a:pt x="2"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87" name="Freeform 108"/>
              <p:cNvSpPr>
                <a:spLocks/>
              </p:cNvSpPr>
              <p:nvPr/>
            </p:nvSpPr>
            <p:spPr bwMode="gray">
              <a:xfrm>
                <a:off x="2838" y="3796"/>
                <a:ext cx="10" cy="14"/>
              </a:xfrm>
              <a:custGeom>
                <a:avLst/>
                <a:gdLst>
                  <a:gd name="T0" fmla="*/ 2 w 4"/>
                  <a:gd name="T1" fmla="*/ 1 h 5"/>
                  <a:gd name="T2" fmla="*/ 1 w 4"/>
                  <a:gd name="T3" fmla="*/ 4 h 5"/>
                  <a:gd name="T4" fmla="*/ 2 w 4"/>
                  <a:gd name="T5" fmla="*/ 1 h 5"/>
                </a:gdLst>
                <a:ahLst/>
                <a:cxnLst>
                  <a:cxn ang="0">
                    <a:pos x="T0" y="T1"/>
                  </a:cxn>
                  <a:cxn ang="0">
                    <a:pos x="T2" y="T3"/>
                  </a:cxn>
                  <a:cxn ang="0">
                    <a:pos x="T4" y="T5"/>
                  </a:cxn>
                </a:cxnLst>
                <a:rect l="0" t="0" r="r" b="b"/>
                <a:pathLst>
                  <a:path w="4" h="5">
                    <a:moveTo>
                      <a:pt x="2" y="1"/>
                    </a:moveTo>
                    <a:cubicBezTo>
                      <a:pt x="1" y="0"/>
                      <a:pt x="0" y="4"/>
                      <a:pt x="1" y="4"/>
                    </a:cubicBezTo>
                    <a:cubicBezTo>
                      <a:pt x="2" y="5"/>
                      <a:pt x="4" y="0"/>
                      <a:pt x="2"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88" name="Freeform 109"/>
              <p:cNvSpPr>
                <a:spLocks/>
              </p:cNvSpPr>
              <p:nvPr/>
            </p:nvSpPr>
            <p:spPr bwMode="gray">
              <a:xfrm>
                <a:off x="2646" y="3649"/>
                <a:ext cx="26" cy="37"/>
              </a:xfrm>
              <a:custGeom>
                <a:avLst/>
                <a:gdLst>
                  <a:gd name="T0" fmla="*/ 5 w 10"/>
                  <a:gd name="T1" fmla="*/ 8 h 14"/>
                  <a:gd name="T2" fmla="*/ 5 w 10"/>
                  <a:gd name="T3" fmla="*/ 2 h 14"/>
                  <a:gd name="T4" fmla="*/ 2 w 10"/>
                  <a:gd name="T5" fmla="*/ 2 h 14"/>
                  <a:gd name="T6" fmla="*/ 2 w 10"/>
                  <a:gd name="T7" fmla="*/ 5 h 14"/>
                  <a:gd name="T8" fmla="*/ 7 w 10"/>
                  <a:gd name="T9" fmla="*/ 12 h 14"/>
                  <a:gd name="T10" fmla="*/ 10 w 10"/>
                  <a:gd name="T11" fmla="*/ 12 h 14"/>
                  <a:gd name="T12" fmla="*/ 5 w 10"/>
                  <a:gd name="T13" fmla="*/ 8 h 14"/>
                </a:gdLst>
                <a:ahLst/>
                <a:cxnLst>
                  <a:cxn ang="0">
                    <a:pos x="T0" y="T1"/>
                  </a:cxn>
                  <a:cxn ang="0">
                    <a:pos x="T2" y="T3"/>
                  </a:cxn>
                  <a:cxn ang="0">
                    <a:pos x="T4" y="T5"/>
                  </a:cxn>
                  <a:cxn ang="0">
                    <a:pos x="T6" y="T7"/>
                  </a:cxn>
                  <a:cxn ang="0">
                    <a:pos x="T8" y="T9"/>
                  </a:cxn>
                  <a:cxn ang="0">
                    <a:pos x="T10" y="T11"/>
                  </a:cxn>
                  <a:cxn ang="0">
                    <a:pos x="T12" y="T13"/>
                  </a:cxn>
                </a:cxnLst>
                <a:rect l="0" t="0" r="r" b="b"/>
                <a:pathLst>
                  <a:path w="10" h="14">
                    <a:moveTo>
                      <a:pt x="5" y="8"/>
                    </a:moveTo>
                    <a:cubicBezTo>
                      <a:pt x="5" y="6"/>
                      <a:pt x="6" y="5"/>
                      <a:pt x="5" y="2"/>
                    </a:cubicBezTo>
                    <a:cubicBezTo>
                      <a:pt x="4" y="0"/>
                      <a:pt x="2" y="2"/>
                      <a:pt x="2" y="2"/>
                    </a:cubicBezTo>
                    <a:cubicBezTo>
                      <a:pt x="1" y="2"/>
                      <a:pt x="0" y="3"/>
                      <a:pt x="2" y="5"/>
                    </a:cubicBezTo>
                    <a:cubicBezTo>
                      <a:pt x="3" y="7"/>
                      <a:pt x="5" y="11"/>
                      <a:pt x="7" y="12"/>
                    </a:cubicBezTo>
                    <a:cubicBezTo>
                      <a:pt x="9" y="13"/>
                      <a:pt x="10" y="14"/>
                      <a:pt x="10" y="12"/>
                    </a:cubicBezTo>
                    <a:cubicBezTo>
                      <a:pt x="9" y="11"/>
                      <a:pt x="6" y="11"/>
                      <a:pt x="5" y="8"/>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89" name="Freeform 110"/>
              <p:cNvSpPr>
                <a:spLocks/>
              </p:cNvSpPr>
              <p:nvPr/>
            </p:nvSpPr>
            <p:spPr bwMode="gray">
              <a:xfrm>
                <a:off x="2683" y="3747"/>
                <a:ext cx="26" cy="34"/>
              </a:xfrm>
              <a:custGeom>
                <a:avLst/>
                <a:gdLst>
                  <a:gd name="T0" fmla="*/ 7 w 10"/>
                  <a:gd name="T1" fmla="*/ 6 h 13"/>
                  <a:gd name="T2" fmla="*/ 7 w 10"/>
                  <a:gd name="T3" fmla="*/ 3 h 13"/>
                  <a:gd name="T4" fmla="*/ 9 w 10"/>
                  <a:gd name="T5" fmla="*/ 4 h 13"/>
                  <a:gd name="T6" fmla="*/ 6 w 10"/>
                  <a:gd name="T7" fmla="*/ 0 h 13"/>
                  <a:gd name="T8" fmla="*/ 4 w 10"/>
                  <a:gd name="T9" fmla="*/ 3 h 13"/>
                  <a:gd name="T10" fmla="*/ 2 w 10"/>
                  <a:gd name="T11" fmla="*/ 5 h 13"/>
                  <a:gd name="T12" fmla="*/ 1 w 10"/>
                  <a:gd name="T13" fmla="*/ 7 h 13"/>
                  <a:gd name="T14" fmla="*/ 3 w 10"/>
                  <a:gd name="T15" fmla="*/ 9 h 13"/>
                  <a:gd name="T16" fmla="*/ 7 w 10"/>
                  <a:gd name="T17" fmla="*/ 11 h 13"/>
                  <a:gd name="T18" fmla="*/ 10 w 10"/>
                  <a:gd name="T19" fmla="*/ 11 h 13"/>
                  <a:gd name="T20" fmla="*/ 7 w 10"/>
                  <a:gd name="T21" fmla="*/ 6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3">
                    <a:moveTo>
                      <a:pt x="7" y="6"/>
                    </a:moveTo>
                    <a:cubicBezTo>
                      <a:pt x="6" y="5"/>
                      <a:pt x="6" y="2"/>
                      <a:pt x="7" y="3"/>
                    </a:cubicBezTo>
                    <a:cubicBezTo>
                      <a:pt x="7" y="4"/>
                      <a:pt x="8" y="6"/>
                      <a:pt x="9" y="4"/>
                    </a:cubicBezTo>
                    <a:cubicBezTo>
                      <a:pt x="9" y="2"/>
                      <a:pt x="7" y="1"/>
                      <a:pt x="6" y="0"/>
                    </a:cubicBezTo>
                    <a:cubicBezTo>
                      <a:pt x="5" y="0"/>
                      <a:pt x="4" y="1"/>
                      <a:pt x="4" y="3"/>
                    </a:cubicBezTo>
                    <a:cubicBezTo>
                      <a:pt x="4" y="4"/>
                      <a:pt x="4" y="5"/>
                      <a:pt x="2" y="5"/>
                    </a:cubicBezTo>
                    <a:cubicBezTo>
                      <a:pt x="1" y="4"/>
                      <a:pt x="0" y="5"/>
                      <a:pt x="1" y="7"/>
                    </a:cubicBezTo>
                    <a:cubicBezTo>
                      <a:pt x="1" y="9"/>
                      <a:pt x="1" y="10"/>
                      <a:pt x="3" y="9"/>
                    </a:cubicBezTo>
                    <a:cubicBezTo>
                      <a:pt x="5" y="9"/>
                      <a:pt x="6" y="10"/>
                      <a:pt x="7" y="11"/>
                    </a:cubicBezTo>
                    <a:cubicBezTo>
                      <a:pt x="9" y="12"/>
                      <a:pt x="10" y="13"/>
                      <a:pt x="10" y="11"/>
                    </a:cubicBezTo>
                    <a:cubicBezTo>
                      <a:pt x="10" y="9"/>
                      <a:pt x="9" y="8"/>
                      <a:pt x="7" y="6"/>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90" name="Freeform 111"/>
              <p:cNvSpPr>
                <a:spLocks/>
              </p:cNvSpPr>
              <p:nvPr/>
            </p:nvSpPr>
            <p:spPr bwMode="gray">
              <a:xfrm>
                <a:off x="2699" y="3786"/>
                <a:ext cx="21" cy="26"/>
              </a:xfrm>
              <a:custGeom>
                <a:avLst/>
                <a:gdLst>
                  <a:gd name="T0" fmla="*/ 3 w 8"/>
                  <a:gd name="T1" fmla="*/ 2 h 10"/>
                  <a:gd name="T2" fmla="*/ 0 w 8"/>
                  <a:gd name="T3" fmla="*/ 4 h 10"/>
                  <a:gd name="T4" fmla="*/ 5 w 8"/>
                  <a:gd name="T5" fmla="*/ 9 h 10"/>
                  <a:gd name="T6" fmla="*/ 7 w 8"/>
                  <a:gd name="T7" fmla="*/ 5 h 10"/>
                  <a:gd name="T8" fmla="*/ 3 w 8"/>
                  <a:gd name="T9" fmla="*/ 2 h 10"/>
                </a:gdLst>
                <a:ahLst/>
                <a:cxnLst>
                  <a:cxn ang="0">
                    <a:pos x="T0" y="T1"/>
                  </a:cxn>
                  <a:cxn ang="0">
                    <a:pos x="T2" y="T3"/>
                  </a:cxn>
                  <a:cxn ang="0">
                    <a:pos x="T4" y="T5"/>
                  </a:cxn>
                  <a:cxn ang="0">
                    <a:pos x="T6" y="T7"/>
                  </a:cxn>
                  <a:cxn ang="0">
                    <a:pos x="T8" y="T9"/>
                  </a:cxn>
                </a:cxnLst>
                <a:rect l="0" t="0" r="r" b="b"/>
                <a:pathLst>
                  <a:path w="8" h="10">
                    <a:moveTo>
                      <a:pt x="3" y="2"/>
                    </a:moveTo>
                    <a:cubicBezTo>
                      <a:pt x="1" y="1"/>
                      <a:pt x="0" y="0"/>
                      <a:pt x="0" y="4"/>
                    </a:cubicBezTo>
                    <a:cubicBezTo>
                      <a:pt x="1" y="8"/>
                      <a:pt x="3" y="10"/>
                      <a:pt x="5" y="9"/>
                    </a:cubicBezTo>
                    <a:cubicBezTo>
                      <a:pt x="7" y="7"/>
                      <a:pt x="8" y="6"/>
                      <a:pt x="7" y="5"/>
                    </a:cubicBezTo>
                    <a:cubicBezTo>
                      <a:pt x="7" y="4"/>
                      <a:pt x="5" y="4"/>
                      <a:pt x="3" y="2"/>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91" name="Freeform 112"/>
              <p:cNvSpPr>
                <a:spLocks/>
              </p:cNvSpPr>
              <p:nvPr/>
            </p:nvSpPr>
            <p:spPr bwMode="gray">
              <a:xfrm>
                <a:off x="2176" y="3434"/>
                <a:ext cx="18" cy="13"/>
              </a:xfrm>
              <a:custGeom>
                <a:avLst/>
                <a:gdLst>
                  <a:gd name="T0" fmla="*/ 5 w 7"/>
                  <a:gd name="T1" fmla="*/ 5 h 5"/>
                  <a:gd name="T2" fmla="*/ 6 w 7"/>
                  <a:gd name="T3" fmla="*/ 1 h 5"/>
                  <a:gd name="T4" fmla="*/ 4 w 7"/>
                  <a:gd name="T5" fmla="*/ 2 h 5"/>
                  <a:gd name="T6" fmla="*/ 0 w 7"/>
                  <a:gd name="T7" fmla="*/ 3 h 5"/>
                  <a:gd name="T8" fmla="*/ 2 w 7"/>
                  <a:gd name="T9" fmla="*/ 5 h 5"/>
                  <a:gd name="T10" fmla="*/ 5 w 7"/>
                  <a:gd name="T11" fmla="*/ 5 h 5"/>
                </a:gdLst>
                <a:ahLst/>
                <a:cxnLst>
                  <a:cxn ang="0">
                    <a:pos x="T0" y="T1"/>
                  </a:cxn>
                  <a:cxn ang="0">
                    <a:pos x="T2" y="T3"/>
                  </a:cxn>
                  <a:cxn ang="0">
                    <a:pos x="T4" y="T5"/>
                  </a:cxn>
                  <a:cxn ang="0">
                    <a:pos x="T6" y="T7"/>
                  </a:cxn>
                  <a:cxn ang="0">
                    <a:pos x="T8" y="T9"/>
                  </a:cxn>
                  <a:cxn ang="0">
                    <a:pos x="T10" y="T11"/>
                  </a:cxn>
                </a:cxnLst>
                <a:rect l="0" t="0" r="r" b="b"/>
                <a:pathLst>
                  <a:path w="7" h="5">
                    <a:moveTo>
                      <a:pt x="5" y="5"/>
                    </a:moveTo>
                    <a:cubicBezTo>
                      <a:pt x="7" y="4"/>
                      <a:pt x="6" y="3"/>
                      <a:pt x="6" y="1"/>
                    </a:cubicBezTo>
                    <a:cubicBezTo>
                      <a:pt x="6" y="0"/>
                      <a:pt x="5" y="2"/>
                      <a:pt x="4" y="2"/>
                    </a:cubicBezTo>
                    <a:cubicBezTo>
                      <a:pt x="3" y="2"/>
                      <a:pt x="1" y="2"/>
                      <a:pt x="0" y="3"/>
                    </a:cubicBezTo>
                    <a:cubicBezTo>
                      <a:pt x="0" y="3"/>
                      <a:pt x="1" y="4"/>
                      <a:pt x="2" y="5"/>
                    </a:cubicBezTo>
                    <a:cubicBezTo>
                      <a:pt x="3" y="5"/>
                      <a:pt x="5" y="5"/>
                      <a:pt x="5" y="5"/>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92" name="Freeform 113"/>
              <p:cNvSpPr>
                <a:spLocks/>
              </p:cNvSpPr>
              <p:nvPr/>
            </p:nvSpPr>
            <p:spPr bwMode="gray">
              <a:xfrm>
                <a:off x="2100" y="3423"/>
                <a:ext cx="50" cy="119"/>
              </a:xfrm>
              <a:custGeom>
                <a:avLst/>
                <a:gdLst>
                  <a:gd name="T0" fmla="*/ 17 w 19"/>
                  <a:gd name="T1" fmla="*/ 12 h 45"/>
                  <a:gd name="T2" fmla="*/ 17 w 19"/>
                  <a:gd name="T3" fmla="*/ 8 h 45"/>
                  <a:gd name="T4" fmla="*/ 17 w 19"/>
                  <a:gd name="T5" fmla="*/ 2 h 45"/>
                  <a:gd name="T6" fmla="*/ 14 w 19"/>
                  <a:gd name="T7" fmla="*/ 3 h 45"/>
                  <a:gd name="T8" fmla="*/ 13 w 19"/>
                  <a:gd name="T9" fmla="*/ 9 h 45"/>
                  <a:gd name="T10" fmla="*/ 10 w 19"/>
                  <a:gd name="T11" fmla="*/ 10 h 45"/>
                  <a:gd name="T12" fmla="*/ 6 w 19"/>
                  <a:gd name="T13" fmla="*/ 11 h 45"/>
                  <a:gd name="T14" fmla="*/ 2 w 19"/>
                  <a:gd name="T15" fmla="*/ 14 h 45"/>
                  <a:gd name="T16" fmla="*/ 1 w 19"/>
                  <a:gd name="T17" fmla="*/ 17 h 45"/>
                  <a:gd name="T18" fmla="*/ 2 w 19"/>
                  <a:gd name="T19" fmla="*/ 19 h 45"/>
                  <a:gd name="T20" fmla="*/ 1 w 19"/>
                  <a:gd name="T21" fmla="*/ 22 h 45"/>
                  <a:gd name="T22" fmla="*/ 2 w 19"/>
                  <a:gd name="T23" fmla="*/ 25 h 45"/>
                  <a:gd name="T24" fmla="*/ 3 w 19"/>
                  <a:gd name="T25" fmla="*/ 27 h 45"/>
                  <a:gd name="T26" fmla="*/ 2 w 19"/>
                  <a:gd name="T27" fmla="*/ 30 h 45"/>
                  <a:gd name="T28" fmla="*/ 5 w 19"/>
                  <a:gd name="T29" fmla="*/ 31 h 45"/>
                  <a:gd name="T30" fmla="*/ 3 w 19"/>
                  <a:gd name="T31" fmla="*/ 34 h 45"/>
                  <a:gd name="T32" fmla="*/ 5 w 19"/>
                  <a:gd name="T33" fmla="*/ 36 h 45"/>
                  <a:gd name="T34" fmla="*/ 6 w 19"/>
                  <a:gd name="T35" fmla="*/ 38 h 45"/>
                  <a:gd name="T36" fmla="*/ 6 w 19"/>
                  <a:gd name="T37" fmla="*/ 41 h 45"/>
                  <a:gd name="T38" fmla="*/ 10 w 19"/>
                  <a:gd name="T39" fmla="*/ 42 h 45"/>
                  <a:gd name="T40" fmla="*/ 12 w 19"/>
                  <a:gd name="T41" fmla="*/ 44 h 45"/>
                  <a:gd name="T42" fmla="*/ 15 w 19"/>
                  <a:gd name="T43" fmla="*/ 38 h 45"/>
                  <a:gd name="T44" fmla="*/ 16 w 19"/>
                  <a:gd name="T45" fmla="*/ 30 h 45"/>
                  <a:gd name="T46" fmla="*/ 19 w 19"/>
                  <a:gd name="T47" fmla="*/ 25 h 45"/>
                  <a:gd name="T48" fmla="*/ 17 w 19"/>
                  <a:gd name="T49" fmla="*/ 1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 h="45">
                    <a:moveTo>
                      <a:pt x="17" y="12"/>
                    </a:moveTo>
                    <a:cubicBezTo>
                      <a:pt x="17" y="11"/>
                      <a:pt x="17" y="10"/>
                      <a:pt x="17" y="8"/>
                    </a:cubicBezTo>
                    <a:cubicBezTo>
                      <a:pt x="18" y="6"/>
                      <a:pt x="18" y="3"/>
                      <a:pt x="17" y="2"/>
                    </a:cubicBezTo>
                    <a:cubicBezTo>
                      <a:pt x="15" y="0"/>
                      <a:pt x="14" y="1"/>
                      <a:pt x="14" y="3"/>
                    </a:cubicBezTo>
                    <a:cubicBezTo>
                      <a:pt x="14" y="6"/>
                      <a:pt x="15" y="8"/>
                      <a:pt x="13" y="9"/>
                    </a:cubicBezTo>
                    <a:cubicBezTo>
                      <a:pt x="12" y="9"/>
                      <a:pt x="12" y="9"/>
                      <a:pt x="10" y="10"/>
                    </a:cubicBezTo>
                    <a:cubicBezTo>
                      <a:pt x="9" y="11"/>
                      <a:pt x="7" y="11"/>
                      <a:pt x="6" y="11"/>
                    </a:cubicBezTo>
                    <a:cubicBezTo>
                      <a:pt x="5" y="10"/>
                      <a:pt x="3" y="12"/>
                      <a:pt x="2" y="14"/>
                    </a:cubicBezTo>
                    <a:cubicBezTo>
                      <a:pt x="2" y="16"/>
                      <a:pt x="2" y="16"/>
                      <a:pt x="1" y="17"/>
                    </a:cubicBezTo>
                    <a:cubicBezTo>
                      <a:pt x="1" y="18"/>
                      <a:pt x="2" y="18"/>
                      <a:pt x="2" y="19"/>
                    </a:cubicBezTo>
                    <a:cubicBezTo>
                      <a:pt x="2" y="20"/>
                      <a:pt x="1" y="22"/>
                      <a:pt x="1" y="22"/>
                    </a:cubicBezTo>
                    <a:cubicBezTo>
                      <a:pt x="0" y="23"/>
                      <a:pt x="1" y="25"/>
                      <a:pt x="2" y="25"/>
                    </a:cubicBezTo>
                    <a:cubicBezTo>
                      <a:pt x="3" y="25"/>
                      <a:pt x="4" y="26"/>
                      <a:pt x="3" y="27"/>
                    </a:cubicBezTo>
                    <a:cubicBezTo>
                      <a:pt x="2" y="28"/>
                      <a:pt x="1" y="29"/>
                      <a:pt x="2" y="30"/>
                    </a:cubicBezTo>
                    <a:cubicBezTo>
                      <a:pt x="3" y="31"/>
                      <a:pt x="5" y="30"/>
                      <a:pt x="5" y="31"/>
                    </a:cubicBezTo>
                    <a:cubicBezTo>
                      <a:pt x="4" y="32"/>
                      <a:pt x="3" y="33"/>
                      <a:pt x="3" y="34"/>
                    </a:cubicBezTo>
                    <a:cubicBezTo>
                      <a:pt x="3" y="35"/>
                      <a:pt x="4" y="35"/>
                      <a:pt x="5" y="36"/>
                    </a:cubicBezTo>
                    <a:cubicBezTo>
                      <a:pt x="6" y="36"/>
                      <a:pt x="7" y="36"/>
                      <a:pt x="6" y="38"/>
                    </a:cubicBezTo>
                    <a:cubicBezTo>
                      <a:pt x="5" y="39"/>
                      <a:pt x="5" y="40"/>
                      <a:pt x="6" y="41"/>
                    </a:cubicBezTo>
                    <a:cubicBezTo>
                      <a:pt x="7" y="41"/>
                      <a:pt x="8" y="41"/>
                      <a:pt x="10" y="42"/>
                    </a:cubicBezTo>
                    <a:cubicBezTo>
                      <a:pt x="11" y="43"/>
                      <a:pt x="10" y="45"/>
                      <a:pt x="12" y="44"/>
                    </a:cubicBezTo>
                    <a:cubicBezTo>
                      <a:pt x="13" y="44"/>
                      <a:pt x="14" y="40"/>
                      <a:pt x="15" y="38"/>
                    </a:cubicBezTo>
                    <a:cubicBezTo>
                      <a:pt x="16" y="36"/>
                      <a:pt x="16" y="33"/>
                      <a:pt x="16" y="30"/>
                    </a:cubicBezTo>
                    <a:cubicBezTo>
                      <a:pt x="16" y="27"/>
                      <a:pt x="19" y="26"/>
                      <a:pt x="19" y="25"/>
                    </a:cubicBezTo>
                    <a:cubicBezTo>
                      <a:pt x="19" y="23"/>
                      <a:pt x="19" y="15"/>
                      <a:pt x="17" y="12"/>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93" name="Freeform 114"/>
              <p:cNvSpPr>
                <a:spLocks/>
              </p:cNvSpPr>
              <p:nvPr/>
            </p:nvSpPr>
            <p:spPr bwMode="gray">
              <a:xfrm>
                <a:off x="2079" y="3549"/>
                <a:ext cx="81" cy="174"/>
              </a:xfrm>
              <a:custGeom>
                <a:avLst/>
                <a:gdLst>
                  <a:gd name="T0" fmla="*/ 0 w 31"/>
                  <a:gd name="T1" fmla="*/ 12 h 66"/>
                  <a:gd name="T2" fmla="*/ 1 w 31"/>
                  <a:gd name="T3" fmla="*/ 8 h 66"/>
                  <a:gd name="T4" fmla="*/ 5 w 31"/>
                  <a:gd name="T5" fmla="*/ 11 h 66"/>
                  <a:gd name="T6" fmla="*/ 9 w 31"/>
                  <a:gd name="T7" fmla="*/ 11 h 66"/>
                  <a:gd name="T8" fmla="*/ 15 w 31"/>
                  <a:gd name="T9" fmla="*/ 6 h 66"/>
                  <a:gd name="T10" fmla="*/ 19 w 31"/>
                  <a:gd name="T11" fmla="*/ 3 h 66"/>
                  <a:gd name="T12" fmla="*/ 21 w 31"/>
                  <a:gd name="T13" fmla="*/ 0 h 66"/>
                  <a:gd name="T14" fmla="*/ 24 w 31"/>
                  <a:gd name="T15" fmla="*/ 4 h 66"/>
                  <a:gd name="T16" fmla="*/ 27 w 31"/>
                  <a:gd name="T17" fmla="*/ 5 h 66"/>
                  <a:gd name="T18" fmla="*/ 28 w 31"/>
                  <a:gd name="T19" fmla="*/ 8 h 66"/>
                  <a:gd name="T20" fmla="*/ 29 w 31"/>
                  <a:gd name="T21" fmla="*/ 13 h 66"/>
                  <a:gd name="T22" fmla="*/ 31 w 31"/>
                  <a:gd name="T23" fmla="*/ 20 h 66"/>
                  <a:gd name="T24" fmla="*/ 28 w 31"/>
                  <a:gd name="T25" fmla="*/ 28 h 66"/>
                  <a:gd name="T26" fmla="*/ 30 w 31"/>
                  <a:gd name="T27" fmla="*/ 34 h 66"/>
                  <a:gd name="T28" fmla="*/ 28 w 31"/>
                  <a:gd name="T29" fmla="*/ 49 h 66"/>
                  <a:gd name="T30" fmla="*/ 27 w 31"/>
                  <a:gd name="T31" fmla="*/ 56 h 66"/>
                  <a:gd name="T32" fmla="*/ 24 w 31"/>
                  <a:gd name="T33" fmla="*/ 57 h 66"/>
                  <a:gd name="T34" fmla="*/ 19 w 31"/>
                  <a:gd name="T35" fmla="*/ 55 h 66"/>
                  <a:gd name="T36" fmla="*/ 16 w 31"/>
                  <a:gd name="T37" fmla="*/ 54 h 66"/>
                  <a:gd name="T38" fmla="*/ 17 w 31"/>
                  <a:gd name="T39" fmla="*/ 58 h 66"/>
                  <a:gd name="T40" fmla="*/ 16 w 31"/>
                  <a:gd name="T41" fmla="*/ 61 h 66"/>
                  <a:gd name="T42" fmla="*/ 12 w 31"/>
                  <a:gd name="T43" fmla="*/ 65 h 66"/>
                  <a:gd name="T44" fmla="*/ 10 w 31"/>
                  <a:gd name="T45" fmla="*/ 65 h 66"/>
                  <a:gd name="T46" fmla="*/ 8 w 31"/>
                  <a:gd name="T47" fmla="*/ 62 h 66"/>
                  <a:gd name="T48" fmla="*/ 7 w 31"/>
                  <a:gd name="T49" fmla="*/ 61 h 66"/>
                  <a:gd name="T50" fmla="*/ 4 w 31"/>
                  <a:gd name="T51" fmla="*/ 60 h 66"/>
                  <a:gd name="T52" fmla="*/ 6 w 31"/>
                  <a:gd name="T53" fmla="*/ 57 h 66"/>
                  <a:gd name="T54" fmla="*/ 5 w 31"/>
                  <a:gd name="T55" fmla="*/ 52 h 66"/>
                  <a:gd name="T56" fmla="*/ 6 w 31"/>
                  <a:gd name="T57" fmla="*/ 45 h 66"/>
                  <a:gd name="T58" fmla="*/ 6 w 31"/>
                  <a:gd name="T59" fmla="*/ 41 h 66"/>
                  <a:gd name="T60" fmla="*/ 8 w 31"/>
                  <a:gd name="T61" fmla="*/ 39 h 66"/>
                  <a:gd name="T62" fmla="*/ 6 w 31"/>
                  <a:gd name="T63" fmla="*/ 37 h 66"/>
                  <a:gd name="T64" fmla="*/ 6 w 31"/>
                  <a:gd name="T65" fmla="*/ 33 h 66"/>
                  <a:gd name="T66" fmla="*/ 6 w 31"/>
                  <a:gd name="T67" fmla="*/ 26 h 66"/>
                  <a:gd name="T68" fmla="*/ 5 w 31"/>
                  <a:gd name="T69" fmla="*/ 24 h 66"/>
                  <a:gd name="T70" fmla="*/ 3 w 31"/>
                  <a:gd name="T71" fmla="*/ 20 h 66"/>
                  <a:gd name="T72" fmla="*/ 0 w 31"/>
                  <a:gd name="T73" fmla="*/ 1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 h="66">
                    <a:moveTo>
                      <a:pt x="0" y="12"/>
                    </a:moveTo>
                    <a:cubicBezTo>
                      <a:pt x="1" y="10"/>
                      <a:pt x="0" y="8"/>
                      <a:pt x="1" y="8"/>
                    </a:cubicBezTo>
                    <a:cubicBezTo>
                      <a:pt x="2" y="9"/>
                      <a:pt x="3" y="10"/>
                      <a:pt x="5" y="11"/>
                    </a:cubicBezTo>
                    <a:cubicBezTo>
                      <a:pt x="6" y="11"/>
                      <a:pt x="8" y="12"/>
                      <a:pt x="9" y="11"/>
                    </a:cubicBezTo>
                    <a:cubicBezTo>
                      <a:pt x="11" y="9"/>
                      <a:pt x="13" y="8"/>
                      <a:pt x="15" y="6"/>
                    </a:cubicBezTo>
                    <a:cubicBezTo>
                      <a:pt x="16" y="4"/>
                      <a:pt x="17" y="4"/>
                      <a:pt x="19" y="3"/>
                    </a:cubicBezTo>
                    <a:cubicBezTo>
                      <a:pt x="20" y="2"/>
                      <a:pt x="20" y="0"/>
                      <a:pt x="21" y="0"/>
                    </a:cubicBezTo>
                    <a:cubicBezTo>
                      <a:pt x="22" y="1"/>
                      <a:pt x="23" y="4"/>
                      <a:pt x="24" y="4"/>
                    </a:cubicBezTo>
                    <a:cubicBezTo>
                      <a:pt x="26" y="4"/>
                      <a:pt x="26" y="3"/>
                      <a:pt x="27" y="5"/>
                    </a:cubicBezTo>
                    <a:cubicBezTo>
                      <a:pt x="27" y="7"/>
                      <a:pt x="28" y="7"/>
                      <a:pt x="28" y="8"/>
                    </a:cubicBezTo>
                    <a:cubicBezTo>
                      <a:pt x="27" y="10"/>
                      <a:pt x="28" y="9"/>
                      <a:pt x="29" y="13"/>
                    </a:cubicBezTo>
                    <a:cubicBezTo>
                      <a:pt x="30" y="16"/>
                      <a:pt x="31" y="18"/>
                      <a:pt x="31" y="20"/>
                    </a:cubicBezTo>
                    <a:cubicBezTo>
                      <a:pt x="31" y="23"/>
                      <a:pt x="28" y="25"/>
                      <a:pt x="28" y="28"/>
                    </a:cubicBezTo>
                    <a:cubicBezTo>
                      <a:pt x="29" y="31"/>
                      <a:pt x="30" y="31"/>
                      <a:pt x="30" y="34"/>
                    </a:cubicBezTo>
                    <a:cubicBezTo>
                      <a:pt x="29" y="37"/>
                      <a:pt x="28" y="46"/>
                      <a:pt x="28" y="49"/>
                    </a:cubicBezTo>
                    <a:cubicBezTo>
                      <a:pt x="28" y="53"/>
                      <a:pt x="27" y="54"/>
                      <a:pt x="27" y="56"/>
                    </a:cubicBezTo>
                    <a:cubicBezTo>
                      <a:pt x="26" y="58"/>
                      <a:pt x="25" y="58"/>
                      <a:pt x="24" y="57"/>
                    </a:cubicBezTo>
                    <a:cubicBezTo>
                      <a:pt x="23" y="55"/>
                      <a:pt x="21" y="55"/>
                      <a:pt x="19" y="55"/>
                    </a:cubicBezTo>
                    <a:cubicBezTo>
                      <a:pt x="18" y="55"/>
                      <a:pt x="16" y="53"/>
                      <a:pt x="16" y="54"/>
                    </a:cubicBezTo>
                    <a:cubicBezTo>
                      <a:pt x="17" y="55"/>
                      <a:pt x="17" y="57"/>
                      <a:pt x="17" y="58"/>
                    </a:cubicBezTo>
                    <a:cubicBezTo>
                      <a:pt x="17" y="59"/>
                      <a:pt x="18" y="59"/>
                      <a:pt x="16" y="61"/>
                    </a:cubicBezTo>
                    <a:cubicBezTo>
                      <a:pt x="15" y="63"/>
                      <a:pt x="13" y="64"/>
                      <a:pt x="12" y="65"/>
                    </a:cubicBezTo>
                    <a:cubicBezTo>
                      <a:pt x="12" y="65"/>
                      <a:pt x="11" y="63"/>
                      <a:pt x="10" y="65"/>
                    </a:cubicBezTo>
                    <a:cubicBezTo>
                      <a:pt x="9" y="66"/>
                      <a:pt x="8" y="64"/>
                      <a:pt x="8" y="62"/>
                    </a:cubicBezTo>
                    <a:cubicBezTo>
                      <a:pt x="8" y="60"/>
                      <a:pt x="8" y="59"/>
                      <a:pt x="7" y="61"/>
                    </a:cubicBezTo>
                    <a:cubicBezTo>
                      <a:pt x="6" y="62"/>
                      <a:pt x="5" y="62"/>
                      <a:pt x="4" y="60"/>
                    </a:cubicBezTo>
                    <a:cubicBezTo>
                      <a:pt x="4" y="58"/>
                      <a:pt x="6" y="58"/>
                      <a:pt x="6" y="57"/>
                    </a:cubicBezTo>
                    <a:cubicBezTo>
                      <a:pt x="5" y="56"/>
                      <a:pt x="4" y="55"/>
                      <a:pt x="5" y="52"/>
                    </a:cubicBezTo>
                    <a:cubicBezTo>
                      <a:pt x="5" y="49"/>
                      <a:pt x="6" y="48"/>
                      <a:pt x="6" y="45"/>
                    </a:cubicBezTo>
                    <a:cubicBezTo>
                      <a:pt x="6" y="43"/>
                      <a:pt x="5" y="40"/>
                      <a:pt x="6" y="41"/>
                    </a:cubicBezTo>
                    <a:cubicBezTo>
                      <a:pt x="7" y="41"/>
                      <a:pt x="8" y="41"/>
                      <a:pt x="8" y="39"/>
                    </a:cubicBezTo>
                    <a:cubicBezTo>
                      <a:pt x="8" y="38"/>
                      <a:pt x="8" y="38"/>
                      <a:pt x="6" y="37"/>
                    </a:cubicBezTo>
                    <a:cubicBezTo>
                      <a:pt x="5" y="35"/>
                      <a:pt x="5" y="35"/>
                      <a:pt x="6" y="33"/>
                    </a:cubicBezTo>
                    <a:cubicBezTo>
                      <a:pt x="7" y="31"/>
                      <a:pt x="6" y="28"/>
                      <a:pt x="6" y="26"/>
                    </a:cubicBezTo>
                    <a:cubicBezTo>
                      <a:pt x="5" y="24"/>
                      <a:pt x="4" y="25"/>
                      <a:pt x="5" y="24"/>
                    </a:cubicBezTo>
                    <a:cubicBezTo>
                      <a:pt x="5" y="22"/>
                      <a:pt x="4" y="22"/>
                      <a:pt x="3" y="20"/>
                    </a:cubicBezTo>
                    <a:cubicBezTo>
                      <a:pt x="1" y="17"/>
                      <a:pt x="0" y="16"/>
                      <a:pt x="0" y="12"/>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94" name="Freeform 115"/>
              <p:cNvSpPr>
                <a:spLocks/>
              </p:cNvSpPr>
              <p:nvPr/>
            </p:nvSpPr>
            <p:spPr bwMode="gray">
              <a:xfrm>
                <a:off x="2523" y="302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95" name="Freeform 116"/>
              <p:cNvSpPr>
                <a:spLocks/>
              </p:cNvSpPr>
              <p:nvPr/>
            </p:nvSpPr>
            <p:spPr bwMode="gray">
              <a:xfrm>
                <a:off x="2071" y="3221"/>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96" name="Freeform 117"/>
              <p:cNvSpPr>
                <a:spLocks/>
              </p:cNvSpPr>
              <p:nvPr/>
            </p:nvSpPr>
            <p:spPr bwMode="gray">
              <a:xfrm>
                <a:off x="1235" y="3371"/>
                <a:ext cx="610" cy="554"/>
              </a:xfrm>
              <a:custGeom>
                <a:avLst/>
                <a:gdLst>
                  <a:gd name="T0" fmla="*/ 231 w 232"/>
                  <a:gd name="T1" fmla="*/ 40 h 211"/>
                  <a:gd name="T2" fmla="*/ 223 w 232"/>
                  <a:gd name="T3" fmla="*/ 57 h 211"/>
                  <a:gd name="T4" fmla="*/ 204 w 232"/>
                  <a:gd name="T5" fmla="*/ 68 h 211"/>
                  <a:gd name="T6" fmla="*/ 183 w 232"/>
                  <a:gd name="T7" fmla="*/ 80 h 211"/>
                  <a:gd name="T8" fmla="*/ 180 w 232"/>
                  <a:gd name="T9" fmla="*/ 87 h 211"/>
                  <a:gd name="T10" fmla="*/ 165 w 232"/>
                  <a:gd name="T11" fmla="*/ 109 h 211"/>
                  <a:gd name="T12" fmla="*/ 169 w 232"/>
                  <a:gd name="T13" fmla="*/ 133 h 211"/>
                  <a:gd name="T14" fmla="*/ 162 w 232"/>
                  <a:gd name="T15" fmla="*/ 143 h 211"/>
                  <a:gd name="T16" fmla="*/ 152 w 232"/>
                  <a:gd name="T17" fmla="*/ 158 h 211"/>
                  <a:gd name="T18" fmla="*/ 147 w 232"/>
                  <a:gd name="T19" fmla="*/ 169 h 211"/>
                  <a:gd name="T20" fmla="*/ 133 w 232"/>
                  <a:gd name="T21" fmla="*/ 176 h 211"/>
                  <a:gd name="T22" fmla="*/ 123 w 232"/>
                  <a:gd name="T23" fmla="*/ 191 h 211"/>
                  <a:gd name="T24" fmla="*/ 112 w 232"/>
                  <a:gd name="T25" fmla="*/ 193 h 211"/>
                  <a:gd name="T26" fmla="*/ 95 w 232"/>
                  <a:gd name="T27" fmla="*/ 191 h 211"/>
                  <a:gd name="T28" fmla="*/ 77 w 232"/>
                  <a:gd name="T29" fmla="*/ 197 h 211"/>
                  <a:gd name="T30" fmla="*/ 64 w 232"/>
                  <a:gd name="T31" fmla="*/ 204 h 211"/>
                  <a:gd name="T32" fmla="*/ 58 w 232"/>
                  <a:gd name="T33" fmla="*/ 211 h 211"/>
                  <a:gd name="T34" fmla="*/ 47 w 232"/>
                  <a:gd name="T35" fmla="*/ 203 h 211"/>
                  <a:gd name="T36" fmla="*/ 44 w 232"/>
                  <a:gd name="T37" fmla="*/ 191 h 211"/>
                  <a:gd name="T38" fmla="*/ 39 w 232"/>
                  <a:gd name="T39" fmla="*/ 183 h 211"/>
                  <a:gd name="T40" fmla="*/ 31 w 232"/>
                  <a:gd name="T41" fmla="*/ 178 h 211"/>
                  <a:gd name="T42" fmla="*/ 25 w 232"/>
                  <a:gd name="T43" fmla="*/ 164 h 211"/>
                  <a:gd name="T44" fmla="*/ 33 w 232"/>
                  <a:gd name="T45" fmla="*/ 151 h 211"/>
                  <a:gd name="T46" fmla="*/ 35 w 232"/>
                  <a:gd name="T47" fmla="*/ 131 h 211"/>
                  <a:gd name="T48" fmla="*/ 30 w 232"/>
                  <a:gd name="T49" fmla="*/ 116 h 211"/>
                  <a:gd name="T50" fmla="*/ 38 w 232"/>
                  <a:gd name="T51" fmla="*/ 108 h 211"/>
                  <a:gd name="T52" fmla="*/ 41 w 232"/>
                  <a:gd name="T53" fmla="*/ 90 h 211"/>
                  <a:gd name="T54" fmla="*/ 49 w 232"/>
                  <a:gd name="T55" fmla="*/ 66 h 211"/>
                  <a:gd name="T56" fmla="*/ 48 w 232"/>
                  <a:gd name="T57" fmla="*/ 54 h 211"/>
                  <a:gd name="T58" fmla="*/ 37 w 232"/>
                  <a:gd name="T59" fmla="*/ 49 h 211"/>
                  <a:gd name="T60" fmla="*/ 26 w 232"/>
                  <a:gd name="T61" fmla="*/ 51 h 211"/>
                  <a:gd name="T62" fmla="*/ 19 w 232"/>
                  <a:gd name="T63" fmla="*/ 46 h 211"/>
                  <a:gd name="T64" fmla="*/ 9 w 232"/>
                  <a:gd name="T65" fmla="*/ 47 h 211"/>
                  <a:gd name="T66" fmla="*/ 11 w 232"/>
                  <a:gd name="T67" fmla="*/ 39 h 211"/>
                  <a:gd name="T68" fmla="*/ 10 w 232"/>
                  <a:gd name="T69" fmla="*/ 36 h 211"/>
                  <a:gd name="T70" fmla="*/ 8 w 232"/>
                  <a:gd name="T71" fmla="*/ 29 h 211"/>
                  <a:gd name="T72" fmla="*/ 7 w 232"/>
                  <a:gd name="T73" fmla="*/ 26 h 211"/>
                  <a:gd name="T74" fmla="*/ 0 w 232"/>
                  <a:gd name="T75" fmla="*/ 22 h 211"/>
                  <a:gd name="T76" fmla="*/ 9 w 232"/>
                  <a:gd name="T77" fmla="*/ 13 h 211"/>
                  <a:gd name="T78" fmla="*/ 20 w 232"/>
                  <a:gd name="T79" fmla="*/ 9 h 211"/>
                  <a:gd name="T80" fmla="*/ 27 w 232"/>
                  <a:gd name="T81" fmla="*/ 1 h 211"/>
                  <a:gd name="T82" fmla="*/ 34 w 232"/>
                  <a:gd name="T83" fmla="*/ 2 h 211"/>
                  <a:gd name="T84" fmla="*/ 45 w 232"/>
                  <a:gd name="T85" fmla="*/ 6 h 211"/>
                  <a:gd name="T86" fmla="*/ 63 w 232"/>
                  <a:gd name="T87" fmla="*/ 5 h 211"/>
                  <a:gd name="T88" fmla="*/ 75 w 232"/>
                  <a:gd name="T89" fmla="*/ 7 h 211"/>
                  <a:gd name="T90" fmla="*/ 98 w 232"/>
                  <a:gd name="T91" fmla="*/ 9 h 211"/>
                  <a:gd name="T92" fmla="*/ 113 w 232"/>
                  <a:gd name="T93" fmla="*/ 11 h 211"/>
                  <a:gd name="T94" fmla="*/ 129 w 232"/>
                  <a:gd name="T95" fmla="*/ 12 h 211"/>
                  <a:gd name="T96" fmla="*/ 139 w 232"/>
                  <a:gd name="T97" fmla="*/ 11 h 211"/>
                  <a:gd name="T98" fmla="*/ 145 w 232"/>
                  <a:gd name="T99" fmla="*/ 15 h 211"/>
                  <a:gd name="T100" fmla="*/ 155 w 232"/>
                  <a:gd name="T101" fmla="*/ 22 h 211"/>
                  <a:gd name="T102" fmla="*/ 167 w 232"/>
                  <a:gd name="T103" fmla="*/ 26 h 211"/>
                  <a:gd name="T104" fmla="*/ 181 w 232"/>
                  <a:gd name="T105" fmla="*/ 29 h 211"/>
                  <a:gd name="T106" fmla="*/ 194 w 232"/>
                  <a:gd name="T107" fmla="*/ 27 h 211"/>
                  <a:gd name="T108" fmla="*/ 208 w 232"/>
                  <a:gd name="T109" fmla="*/ 37 h 211"/>
                  <a:gd name="T110" fmla="*/ 224 w 232"/>
                  <a:gd name="T111" fmla="*/ 35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2" h="211">
                    <a:moveTo>
                      <a:pt x="229" y="36"/>
                    </a:moveTo>
                    <a:cubicBezTo>
                      <a:pt x="229" y="36"/>
                      <a:pt x="228" y="38"/>
                      <a:pt x="230" y="38"/>
                    </a:cubicBezTo>
                    <a:cubicBezTo>
                      <a:pt x="231" y="38"/>
                      <a:pt x="232" y="39"/>
                      <a:pt x="231" y="40"/>
                    </a:cubicBezTo>
                    <a:cubicBezTo>
                      <a:pt x="230" y="41"/>
                      <a:pt x="228" y="40"/>
                      <a:pt x="229" y="42"/>
                    </a:cubicBezTo>
                    <a:cubicBezTo>
                      <a:pt x="229" y="44"/>
                      <a:pt x="230" y="48"/>
                      <a:pt x="230" y="49"/>
                    </a:cubicBezTo>
                    <a:cubicBezTo>
                      <a:pt x="230" y="51"/>
                      <a:pt x="225" y="56"/>
                      <a:pt x="223" y="57"/>
                    </a:cubicBezTo>
                    <a:cubicBezTo>
                      <a:pt x="221" y="58"/>
                      <a:pt x="217" y="60"/>
                      <a:pt x="214" y="62"/>
                    </a:cubicBezTo>
                    <a:cubicBezTo>
                      <a:pt x="212" y="63"/>
                      <a:pt x="210" y="64"/>
                      <a:pt x="211" y="66"/>
                    </a:cubicBezTo>
                    <a:cubicBezTo>
                      <a:pt x="211" y="67"/>
                      <a:pt x="206" y="68"/>
                      <a:pt x="204" y="68"/>
                    </a:cubicBezTo>
                    <a:cubicBezTo>
                      <a:pt x="202" y="69"/>
                      <a:pt x="192" y="72"/>
                      <a:pt x="191" y="73"/>
                    </a:cubicBezTo>
                    <a:cubicBezTo>
                      <a:pt x="189" y="74"/>
                      <a:pt x="188" y="73"/>
                      <a:pt x="186" y="75"/>
                    </a:cubicBezTo>
                    <a:cubicBezTo>
                      <a:pt x="184" y="77"/>
                      <a:pt x="182" y="78"/>
                      <a:pt x="183" y="80"/>
                    </a:cubicBezTo>
                    <a:cubicBezTo>
                      <a:pt x="184" y="81"/>
                      <a:pt x="185" y="81"/>
                      <a:pt x="185" y="83"/>
                    </a:cubicBezTo>
                    <a:cubicBezTo>
                      <a:pt x="184" y="84"/>
                      <a:pt x="183" y="85"/>
                      <a:pt x="182" y="86"/>
                    </a:cubicBezTo>
                    <a:cubicBezTo>
                      <a:pt x="181" y="87"/>
                      <a:pt x="180" y="87"/>
                      <a:pt x="180" y="87"/>
                    </a:cubicBezTo>
                    <a:cubicBezTo>
                      <a:pt x="179" y="86"/>
                      <a:pt x="179" y="87"/>
                      <a:pt x="178" y="89"/>
                    </a:cubicBezTo>
                    <a:cubicBezTo>
                      <a:pt x="177" y="91"/>
                      <a:pt x="173" y="97"/>
                      <a:pt x="171" y="99"/>
                    </a:cubicBezTo>
                    <a:cubicBezTo>
                      <a:pt x="170" y="102"/>
                      <a:pt x="166" y="107"/>
                      <a:pt x="165" y="109"/>
                    </a:cubicBezTo>
                    <a:cubicBezTo>
                      <a:pt x="164" y="111"/>
                      <a:pt x="161" y="118"/>
                      <a:pt x="162" y="120"/>
                    </a:cubicBezTo>
                    <a:cubicBezTo>
                      <a:pt x="162" y="122"/>
                      <a:pt x="163" y="127"/>
                      <a:pt x="164" y="129"/>
                    </a:cubicBezTo>
                    <a:cubicBezTo>
                      <a:pt x="165" y="131"/>
                      <a:pt x="167" y="133"/>
                      <a:pt x="169" y="133"/>
                    </a:cubicBezTo>
                    <a:cubicBezTo>
                      <a:pt x="171" y="134"/>
                      <a:pt x="171" y="135"/>
                      <a:pt x="170" y="137"/>
                    </a:cubicBezTo>
                    <a:cubicBezTo>
                      <a:pt x="169" y="138"/>
                      <a:pt x="168" y="139"/>
                      <a:pt x="166" y="141"/>
                    </a:cubicBezTo>
                    <a:cubicBezTo>
                      <a:pt x="164" y="142"/>
                      <a:pt x="163" y="143"/>
                      <a:pt x="162" y="143"/>
                    </a:cubicBezTo>
                    <a:cubicBezTo>
                      <a:pt x="160" y="143"/>
                      <a:pt x="158" y="147"/>
                      <a:pt x="157" y="149"/>
                    </a:cubicBezTo>
                    <a:cubicBezTo>
                      <a:pt x="156" y="152"/>
                      <a:pt x="155" y="152"/>
                      <a:pt x="154" y="154"/>
                    </a:cubicBezTo>
                    <a:cubicBezTo>
                      <a:pt x="154" y="155"/>
                      <a:pt x="154" y="156"/>
                      <a:pt x="152" y="158"/>
                    </a:cubicBezTo>
                    <a:cubicBezTo>
                      <a:pt x="151" y="161"/>
                      <a:pt x="150" y="163"/>
                      <a:pt x="151" y="165"/>
                    </a:cubicBezTo>
                    <a:cubicBezTo>
                      <a:pt x="152" y="166"/>
                      <a:pt x="154" y="166"/>
                      <a:pt x="152" y="167"/>
                    </a:cubicBezTo>
                    <a:cubicBezTo>
                      <a:pt x="150" y="168"/>
                      <a:pt x="150" y="169"/>
                      <a:pt x="147" y="169"/>
                    </a:cubicBezTo>
                    <a:cubicBezTo>
                      <a:pt x="145" y="169"/>
                      <a:pt x="143" y="169"/>
                      <a:pt x="141" y="169"/>
                    </a:cubicBezTo>
                    <a:cubicBezTo>
                      <a:pt x="139" y="170"/>
                      <a:pt x="138" y="173"/>
                      <a:pt x="137" y="173"/>
                    </a:cubicBezTo>
                    <a:cubicBezTo>
                      <a:pt x="137" y="174"/>
                      <a:pt x="135" y="174"/>
                      <a:pt x="133" y="176"/>
                    </a:cubicBezTo>
                    <a:cubicBezTo>
                      <a:pt x="132" y="178"/>
                      <a:pt x="132" y="176"/>
                      <a:pt x="131" y="179"/>
                    </a:cubicBezTo>
                    <a:cubicBezTo>
                      <a:pt x="131" y="183"/>
                      <a:pt x="129" y="185"/>
                      <a:pt x="127" y="187"/>
                    </a:cubicBezTo>
                    <a:cubicBezTo>
                      <a:pt x="126" y="190"/>
                      <a:pt x="124" y="193"/>
                      <a:pt x="123" y="191"/>
                    </a:cubicBezTo>
                    <a:cubicBezTo>
                      <a:pt x="122" y="190"/>
                      <a:pt x="123" y="189"/>
                      <a:pt x="120" y="189"/>
                    </a:cubicBezTo>
                    <a:cubicBezTo>
                      <a:pt x="118" y="189"/>
                      <a:pt x="117" y="189"/>
                      <a:pt x="116" y="191"/>
                    </a:cubicBezTo>
                    <a:cubicBezTo>
                      <a:pt x="115" y="192"/>
                      <a:pt x="114" y="195"/>
                      <a:pt x="112" y="193"/>
                    </a:cubicBezTo>
                    <a:cubicBezTo>
                      <a:pt x="110" y="192"/>
                      <a:pt x="108" y="191"/>
                      <a:pt x="105" y="191"/>
                    </a:cubicBezTo>
                    <a:cubicBezTo>
                      <a:pt x="102" y="192"/>
                      <a:pt x="101" y="193"/>
                      <a:pt x="99" y="193"/>
                    </a:cubicBezTo>
                    <a:cubicBezTo>
                      <a:pt x="98" y="193"/>
                      <a:pt x="98" y="191"/>
                      <a:pt x="95" y="191"/>
                    </a:cubicBezTo>
                    <a:cubicBezTo>
                      <a:pt x="92" y="192"/>
                      <a:pt x="87" y="191"/>
                      <a:pt x="86" y="192"/>
                    </a:cubicBezTo>
                    <a:cubicBezTo>
                      <a:pt x="84" y="192"/>
                      <a:pt x="82" y="192"/>
                      <a:pt x="81" y="192"/>
                    </a:cubicBezTo>
                    <a:cubicBezTo>
                      <a:pt x="80" y="192"/>
                      <a:pt x="79" y="196"/>
                      <a:pt x="77" y="197"/>
                    </a:cubicBezTo>
                    <a:cubicBezTo>
                      <a:pt x="75" y="198"/>
                      <a:pt x="73" y="198"/>
                      <a:pt x="72" y="198"/>
                    </a:cubicBezTo>
                    <a:cubicBezTo>
                      <a:pt x="71" y="198"/>
                      <a:pt x="70" y="198"/>
                      <a:pt x="68" y="200"/>
                    </a:cubicBezTo>
                    <a:cubicBezTo>
                      <a:pt x="66" y="202"/>
                      <a:pt x="65" y="202"/>
                      <a:pt x="64" y="204"/>
                    </a:cubicBezTo>
                    <a:cubicBezTo>
                      <a:pt x="63" y="205"/>
                      <a:pt x="63" y="207"/>
                      <a:pt x="62" y="207"/>
                    </a:cubicBezTo>
                    <a:cubicBezTo>
                      <a:pt x="60" y="207"/>
                      <a:pt x="60" y="208"/>
                      <a:pt x="60" y="209"/>
                    </a:cubicBezTo>
                    <a:cubicBezTo>
                      <a:pt x="60" y="210"/>
                      <a:pt x="59" y="211"/>
                      <a:pt x="58" y="211"/>
                    </a:cubicBezTo>
                    <a:cubicBezTo>
                      <a:pt x="56" y="211"/>
                      <a:pt x="55" y="208"/>
                      <a:pt x="54" y="208"/>
                    </a:cubicBezTo>
                    <a:cubicBezTo>
                      <a:pt x="52" y="207"/>
                      <a:pt x="52" y="207"/>
                      <a:pt x="50" y="207"/>
                    </a:cubicBezTo>
                    <a:cubicBezTo>
                      <a:pt x="49" y="207"/>
                      <a:pt x="49" y="205"/>
                      <a:pt x="47" y="203"/>
                    </a:cubicBezTo>
                    <a:cubicBezTo>
                      <a:pt x="46" y="201"/>
                      <a:pt x="45" y="200"/>
                      <a:pt x="46" y="198"/>
                    </a:cubicBezTo>
                    <a:cubicBezTo>
                      <a:pt x="47" y="196"/>
                      <a:pt x="46" y="196"/>
                      <a:pt x="45" y="195"/>
                    </a:cubicBezTo>
                    <a:cubicBezTo>
                      <a:pt x="44" y="194"/>
                      <a:pt x="43" y="192"/>
                      <a:pt x="44" y="191"/>
                    </a:cubicBezTo>
                    <a:cubicBezTo>
                      <a:pt x="44" y="189"/>
                      <a:pt x="47" y="186"/>
                      <a:pt x="46" y="186"/>
                    </a:cubicBezTo>
                    <a:cubicBezTo>
                      <a:pt x="45" y="187"/>
                      <a:pt x="43" y="189"/>
                      <a:pt x="43" y="188"/>
                    </a:cubicBezTo>
                    <a:cubicBezTo>
                      <a:pt x="43" y="187"/>
                      <a:pt x="40" y="184"/>
                      <a:pt x="39" y="183"/>
                    </a:cubicBezTo>
                    <a:cubicBezTo>
                      <a:pt x="38" y="182"/>
                      <a:pt x="36" y="182"/>
                      <a:pt x="35" y="180"/>
                    </a:cubicBezTo>
                    <a:cubicBezTo>
                      <a:pt x="35" y="179"/>
                      <a:pt x="36" y="176"/>
                      <a:pt x="34" y="176"/>
                    </a:cubicBezTo>
                    <a:cubicBezTo>
                      <a:pt x="33" y="176"/>
                      <a:pt x="33" y="179"/>
                      <a:pt x="31" y="178"/>
                    </a:cubicBezTo>
                    <a:cubicBezTo>
                      <a:pt x="30" y="178"/>
                      <a:pt x="25" y="180"/>
                      <a:pt x="25" y="179"/>
                    </a:cubicBezTo>
                    <a:cubicBezTo>
                      <a:pt x="24" y="178"/>
                      <a:pt x="24" y="171"/>
                      <a:pt x="23" y="170"/>
                    </a:cubicBezTo>
                    <a:cubicBezTo>
                      <a:pt x="23" y="169"/>
                      <a:pt x="23" y="166"/>
                      <a:pt x="25" y="164"/>
                    </a:cubicBezTo>
                    <a:cubicBezTo>
                      <a:pt x="26" y="162"/>
                      <a:pt x="29" y="158"/>
                      <a:pt x="30" y="156"/>
                    </a:cubicBezTo>
                    <a:cubicBezTo>
                      <a:pt x="32" y="154"/>
                      <a:pt x="34" y="155"/>
                      <a:pt x="34" y="153"/>
                    </a:cubicBezTo>
                    <a:cubicBezTo>
                      <a:pt x="34" y="151"/>
                      <a:pt x="35" y="151"/>
                      <a:pt x="33" y="151"/>
                    </a:cubicBezTo>
                    <a:cubicBezTo>
                      <a:pt x="32" y="150"/>
                      <a:pt x="30" y="147"/>
                      <a:pt x="29" y="145"/>
                    </a:cubicBezTo>
                    <a:cubicBezTo>
                      <a:pt x="28" y="144"/>
                      <a:pt x="28" y="139"/>
                      <a:pt x="30" y="137"/>
                    </a:cubicBezTo>
                    <a:cubicBezTo>
                      <a:pt x="32" y="135"/>
                      <a:pt x="34" y="133"/>
                      <a:pt x="35" y="131"/>
                    </a:cubicBezTo>
                    <a:cubicBezTo>
                      <a:pt x="36" y="128"/>
                      <a:pt x="36" y="127"/>
                      <a:pt x="34" y="126"/>
                    </a:cubicBezTo>
                    <a:cubicBezTo>
                      <a:pt x="32" y="125"/>
                      <a:pt x="31" y="125"/>
                      <a:pt x="31" y="122"/>
                    </a:cubicBezTo>
                    <a:cubicBezTo>
                      <a:pt x="30" y="120"/>
                      <a:pt x="30" y="118"/>
                      <a:pt x="30" y="116"/>
                    </a:cubicBezTo>
                    <a:cubicBezTo>
                      <a:pt x="29" y="115"/>
                      <a:pt x="28" y="114"/>
                      <a:pt x="27" y="113"/>
                    </a:cubicBezTo>
                    <a:cubicBezTo>
                      <a:pt x="26" y="111"/>
                      <a:pt x="29" y="112"/>
                      <a:pt x="32" y="112"/>
                    </a:cubicBezTo>
                    <a:cubicBezTo>
                      <a:pt x="35" y="112"/>
                      <a:pt x="38" y="110"/>
                      <a:pt x="38" y="108"/>
                    </a:cubicBezTo>
                    <a:cubicBezTo>
                      <a:pt x="38" y="106"/>
                      <a:pt x="40" y="104"/>
                      <a:pt x="39" y="102"/>
                    </a:cubicBezTo>
                    <a:cubicBezTo>
                      <a:pt x="38" y="100"/>
                      <a:pt x="36" y="97"/>
                      <a:pt x="38" y="95"/>
                    </a:cubicBezTo>
                    <a:cubicBezTo>
                      <a:pt x="40" y="93"/>
                      <a:pt x="41" y="94"/>
                      <a:pt x="41" y="90"/>
                    </a:cubicBezTo>
                    <a:cubicBezTo>
                      <a:pt x="41" y="86"/>
                      <a:pt x="42" y="79"/>
                      <a:pt x="42" y="76"/>
                    </a:cubicBezTo>
                    <a:cubicBezTo>
                      <a:pt x="42" y="74"/>
                      <a:pt x="41" y="74"/>
                      <a:pt x="43" y="71"/>
                    </a:cubicBezTo>
                    <a:cubicBezTo>
                      <a:pt x="45" y="69"/>
                      <a:pt x="47" y="67"/>
                      <a:pt x="49" y="66"/>
                    </a:cubicBezTo>
                    <a:cubicBezTo>
                      <a:pt x="51" y="65"/>
                      <a:pt x="53" y="62"/>
                      <a:pt x="53" y="61"/>
                    </a:cubicBezTo>
                    <a:cubicBezTo>
                      <a:pt x="54" y="60"/>
                      <a:pt x="53" y="58"/>
                      <a:pt x="51" y="57"/>
                    </a:cubicBezTo>
                    <a:cubicBezTo>
                      <a:pt x="49" y="56"/>
                      <a:pt x="47" y="56"/>
                      <a:pt x="48" y="54"/>
                    </a:cubicBezTo>
                    <a:cubicBezTo>
                      <a:pt x="49" y="52"/>
                      <a:pt x="48" y="50"/>
                      <a:pt x="47" y="50"/>
                    </a:cubicBezTo>
                    <a:cubicBezTo>
                      <a:pt x="45" y="50"/>
                      <a:pt x="43" y="49"/>
                      <a:pt x="41" y="49"/>
                    </a:cubicBezTo>
                    <a:cubicBezTo>
                      <a:pt x="40" y="49"/>
                      <a:pt x="38" y="48"/>
                      <a:pt x="37" y="49"/>
                    </a:cubicBezTo>
                    <a:cubicBezTo>
                      <a:pt x="36" y="50"/>
                      <a:pt x="35" y="52"/>
                      <a:pt x="34" y="52"/>
                    </a:cubicBezTo>
                    <a:cubicBezTo>
                      <a:pt x="33" y="52"/>
                      <a:pt x="31" y="53"/>
                      <a:pt x="30" y="52"/>
                    </a:cubicBezTo>
                    <a:cubicBezTo>
                      <a:pt x="29" y="51"/>
                      <a:pt x="28" y="51"/>
                      <a:pt x="26" y="51"/>
                    </a:cubicBezTo>
                    <a:cubicBezTo>
                      <a:pt x="24" y="51"/>
                      <a:pt x="21" y="52"/>
                      <a:pt x="19" y="52"/>
                    </a:cubicBezTo>
                    <a:cubicBezTo>
                      <a:pt x="17" y="53"/>
                      <a:pt x="17" y="51"/>
                      <a:pt x="19" y="49"/>
                    </a:cubicBezTo>
                    <a:cubicBezTo>
                      <a:pt x="20" y="47"/>
                      <a:pt x="20" y="46"/>
                      <a:pt x="19" y="46"/>
                    </a:cubicBezTo>
                    <a:cubicBezTo>
                      <a:pt x="18" y="46"/>
                      <a:pt x="17" y="46"/>
                      <a:pt x="18" y="45"/>
                    </a:cubicBezTo>
                    <a:cubicBezTo>
                      <a:pt x="19" y="43"/>
                      <a:pt x="18" y="45"/>
                      <a:pt x="16" y="46"/>
                    </a:cubicBezTo>
                    <a:cubicBezTo>
                      <a:pt x="13" y="46"/>
                      <a:pt x="11" y="45"/>
                      <a:pt x="9" y="47"/>
                    </a:cubicBezTo>
                    <a:cubicBezTo>
                      <a:pt x="7" y="48"/>
                      <a:pt x="6" y="50"/>
                      <a:pt x="6" y="50"/>
                    </a:cubicBezTo>
                    <a:cubicBezTo>
                      <a:pt x="6" y="50"/>
                      <a:pt x="4" y="46"/>
                      <a:pt x="5" y="45"/>
                    </a:cubicBezTo>
                    <a:cubicBezTo>
                      <a:pt x="7" y="43"/>
                      <a:pt x="9" y="41"/>
                      <a:pt x="11" y="39"/>
                    </a:cubicBezTo>
                    <a:cubicBezTo>
                      <a:pt x="12" y="37"/>
                      <a:pt x="9" y="41"/>
                      <a:pt x="7" y="41"/>
                    </a:cubicBezTo>
                    <a:cubicBezTo>
                      <a:pt x="6" y="42"/>
                      <a:pt x="5" y="41"/>
                      <a:pt x="7" y="39"/>
                    </a:cubicBezTo>
                    <a:cubicBezTo>
                      <a:pt x="8" y="38"/>
                      <a:pt x="11" y="35"/>
                      <a:pt x="10" y="36"/>
                    </a:cubicBezTo>
                    <a:cubicBezTo>
                      <a:pt x="8" y="37"/>
                      <a:pt x="7" y="38"/>
                      <a:pt x="6" y="37"/>
                    </a:cubicBezTo>
                    <a:cubicBezTo>
                      <a:pt x="6" y="36"/>
                      <a:pt x="7" y="33"/>
                      <a:pt x="8" y="32"/>
                    </a:cubicBezTo>
                    <a:cubicBezTo>
                      <a:pt x="9" y="30"/>
                      <a:pt x="10" y="28"/>
                      <a:pt x="8" y="29"/>
                    </a:cubicBezTo>
                    <a:cubicBezTo>
                      <a:pt x="7" y="30"/>
                      <a:pt x="6" y="34"/>
                      <a:pt x="4" y="33"/>
                    </a:cubicBezTo>
                    <a:cubicBezTo>
                      <a:pt x="3" y="33"/>
                      <a:pt x="3" y="30"/>
                      <a:pt x="5" y="29"/>
                    </a:cubicBezTo>
                    <a:cubicBezTo>
                      <a:pt x="6" y="28"/>
                      <a:pt x="8" y="25"/>
                      <a:pt x="7" y="26"/>
                    </a:cubicBezTo>
                    <a:cubicBezTo>
                      <a:pt x="5" y="27"/>
                      <a:pt x="4" y="29"/>
                      <a:pt x="3" y="28"/>
                    </a:cubicBezTo>
                    <a:cubicBezTo>
                      <a:pt x="2" y="28"/>
                      <a:pt x="3" y="26"/>
                      <a:pt x="2" y="24"/>
                    </a:cubicBezTo>
                    <a:cubicBezTo>
                      <a:pt x="1" y="23"/>
                      <a:pt x="0" y="25"/>
                      <a:pt x="0" y="22"/>
                    </a:cubicBezTo>
                    <a:cubicBezTo>
                      <a:pt x="0" y="19"/>
                      <a:pt x="0" y="17"/>
                      <a:pt x="2" y="17"/>
                    </a:cubicBezTo>
                    <a:cubicBezTo>
                      <a:pt x="4" y="16"/>
                      <a:pt x="6" y="15"/>
                      <a:pt x="7" y="14"/>
                    </a:cubicBezTo>
                    <a:cubicBezTo>
                      <a:pt x="7" y="13"/>
                      <a:pt x="8" y="13"/>
                      <a:pt x="9" y="13"/>
                    </a:cubicBezTo>
                    <a:cubicBezTo>
                      <a:pt x="11" y="13"/>
                      <a:pt x="14" y="12"/>
                      <a:pt x="15" y="11"/>
                    </a:cubicBezTo>
                    <a:cubicBezTo>
                      <a:pt x="16" y="11"/>
                      <a:pt x="18" y="12"/>
                      <a:pt x="20" y="11"/>
                    </a:cubicBezTo>
                    <a:cubicBezTo>
                      <a:pt x="21" y="10"/>
                      <a:pt x="21" y="9"/>
                      <a:pt x="20" y="9"/>
                    </a:cubicBezTo>
                    <a:cubicBezTo>
                      <a:pt x="20" y="9"/>
                      <a:pt x="20" y="10"/>
                      <a:pt x="19" y="8"/>
                    </a:cubicBezTo>
                    <a:cubicBezTo>
                      <a:pt x="18" y="7"/>
                      <a:pt x="21" y="5"/>
                      <a:pt x="22" y="4"/>
                    </a:cubicBezTo>
                    <a:cubicBezTo>
                      <a:pt x="23" y="4"/>
                      <a:pt x="27" y="0"/>
                      <a:pt x="27" y="1"/>
                    </a:cubicBezTo>
                    <a:cubicBezTo>
                      <a:pt x="27" y="2"/>
                      <a:pt x="28" y="3"/>
                      <a:pt x="29" y="2"/>
                    </a:cubicBezTo>
                    <a:cubicBezTo>
                      <a:pt x="30" y="1"/>
                      <a:pt x="30" y="1"/>
                      <a:pt x="31" y="2"/>
                    </a:cubicBezTo>
                    <a:cubicBezTo>
                      <a:pt x="32" y="3"/>
                      <a:pt x="32" y="2"/>
                      <a:pt x="34" y="2"/>
                    </a:cubicBezTo>
                    <a:cubicBezTo>
                      <a:pt x="35" y="1"/>
                      <a:pt x="36" y="3"/>
                      <a:pt x="38" y="5"/>
                    </a:cubicBezTo>
                    <a:cubicBezTo>
                      <a:pt x="39" y="6"/>
                      <a:pt x="41" y="5"/>
                      <a:pt x="42" y="7"/>
                    </a:cubicBezTo>
                    <a:cubicBezTo>
                      <a:pt x="42" y="8"/>
                      <a:pt x="43" y="7"/>
                      <a:pt x="45" y="6"/>
                    </a:cubicBezTo>
                    <a:cubicBezTo>
                      <a:pt x="47" y="4"/>
                      <a:pt x="49" y="6"/>
                      <a:pt x="52" y="6"/>
                    </a:cubicBezTo>
                    <a:cubicBezTo>
                      <a:pt x="55" y="6"/>
                      <a:pt x="57" y="6"/>
                      <a:pt x="59" y="5"/>
                    </a:cubicBezTo>
                    <a:cubicBezTo>
                      <a:pt x="61" y="5"/>
                      <a:pt x="62" y="6"/>
                      <a:pt x="63" y="5"/>
                    </a:cubicBezTo>
                    <a:cubicBezTo>
                      <a:pt x="63" y="3"/>
                      <a:pt x="65" y="4"/>
                      <a:pt x="66" y="5"/>
                    </a:cubicBezTo>
                    <a:cubicBezTo>
                      <a:pt x="67" y="6"/>
                      <a:pt x="69" y="5"/>
                      <a:pt x="71" y="5"/>
                    </a:cubicBezTo>
                    <a:cubicBezTo>
                      <a:pt x="73" y="6"/>
                      <a:pt x="74" y="6"/>
                      <a:pt x="75" y="7"/>
                    </a:cubicBezTo>
                    <a:cubicBezTo>
                      <a:pt x="76" y="9"/>
                      <a:pt x="78" y="9"/>
                      <a:pt x="81" y="9"/>
                    </a:cubicBezTo>
                    <a:cubicBezTo>
                      <a:pt x="84" y="9"/>
                      <a:pt x="86" y="10"/>
                      <a:pt x="89" y="10"/>
                    </a:cubicBezTo>
                    <a:cubicBezTo>
                      <a:pt x="91" y="10"/>
                      <a:pt x="96" y="10"/>
                      <a:pt x="98" y="9"/>
                    </a:cubicBezTo>
                    <a:cubicBezTo>
                      <a:pt x="100" y="8"/>
                      <a:pt x="101" y="8"/>
                      <a:pt x="103" y="8"/>
                    </a:cubicBezTo>
                    <a:cubicBezTo>
                      <a:pt x="105" y="8"/>
                      <a:pt x="105" y="7"/>
                      <a:pt x="106" y="8"/>
                    </a:cubicBezTo>
                    <a:cubicBezTo>
                      <a:pt x="108" y="8"/>
                      <a:pt x="111" y="10"/>
                      <a:pt x="113" y="11"/>
                    </a:cubicBezTo>
                    <a:cubicBezTo>
                      <a:pt x="115" y="12"/>
                      <a:pt x="115" y="11"/>
                      <a:pt x="117" y="10"/>
                    </a:cubicBezTo>
                    <a:cubicBezTo>
                      <a:pt x="119" y="8"/>
                      <a:pt x="122" y="9"/>
                      <a:pt x="123" y="10"/>
                    </a:cubicBezTo>
                    <a:cubicBezTo>
                      <a:pt x="125" y="11"/>
                      <a:pt x="127" y="12"/>
                      <a:pt x="129" y="12"/>
                    </a:cubicBezTo>
                    <a:cubicBezTo>
                      <a:pt x="131" y="13"/>
                      <a:pt x="133" y="12"/>
                      <a:pt x="136" y="12"/>
                    </a:cubicBezTo>
                    <a:cubicBezTo>
                      <a:pt x="139" y="11"/>
                      <a:pt x="139" y="11"/>
                      <a:pt x="139" y="11"/>
                    </a:cubicBezTo>
                    <a:cubicBezTo>
                      <a:pt x="139" y="11"/>
                      <a:pt x="139" y="11"/>
                      <a:pt x="139" y="11"/>
                    </a:cubicBezTo>
                    <a:cubicBezTo>
                      <a:pt x="139" y="11"/>
                      <a:pt x="139" y="11"/>
                      <a:pt x="139" y="11"/>
                    </a:cubicBezTo>
                    <a:cubicBezTo>
                      <a:pt x="139" y="12"/>
                      <a:pt x="141" y="13"/>
                      <a:pt x="143" y="13"/>
                    </a:cubicBezTo>
                    <a:cubicBezTo>
                      <a:pt x="145" y="13"/>
                      <a:pt x="146" y="13"/>
                      <a:pt x="145" y="15"/>
                    </a:cubicBezTo>
                    <a:cubicBezTo>
                      <a:pt x="145" y="18"/>
                      <a:pt x="144" y="19"/>
                      <a:pt x="146" y="19"/>
                    </a:cubicBezTo>
                    <a:cubicBezTo>
                      <a:pt x="147" y="20"/>
                      <a:pt x="148" y="19"/>
                      <a:pt x="149" y="20"/>
                    </a:cubicBezTo>
                    <a:cubicBezTo>
                      <a:pt x="150" y="20"/>
                      <a:pt x="153" y="22"/>
                      <a:pt x="155" y="22"/>
                    </a:cubicBezTo>
                    <a:cubicBezTo>
                      <a:pt x="157" y="23"/>
                      <a:pt x="157" y="21"/>
                      <a:pt x="158" y="24"/>
                    </a:cubicBezTo>
                    <a:cubicBezTo>
                      <a:pt x="159" y="26"/>
                      <a:pt x="160" y="26"/>
                      <a:pt x="163" y="26"/>
                    </a:cubicBezTo>
                    <a:cubicBezTo>
                      <a:pt x="165" y="25"/>
                      <a:pt x="165" y="25"/>
                      <a:pt x="167" y="26"/>
                    </a:cubicBezTo>
                    <a:cubicBezTo>
                      <a:pt x="169" y="27"/>
                      <a:pt x="170" y="29"/>
                      <a:pt x="172" y="29"/>
                    </a:cubicBezTo>
                    <a:cubicBezTo>
                      <a:pt x="174" y="28"/>
                      <a:pt x="174" y="28"/>
                      <a:pt x="176" y="29"/>
                    </a:cubicBezTo>
                    <a:cubicBezTo>
                      <a:pt x="177" y="29"/>
                      <a:pt x="179" y="29"/>
                      <a:pt x="181" y="29"/>
                    </a:cubicBezTo>
                    <a:cubicBezTo>
                      <a:pt x="183" y="29"/>
                      <a:pt x="184" y="27"/>
                      <a:pt x="184" y="25"/>
                    </a:cubicBezTo>
                    <a:cubicBezTo>
                      <a:pt x="185" y="24"/>
                      <a:pt x="185" y="24"/>
                      <a:pt x="187" y="25"/>
                    </a:cubicBezTo>
                    <a:cubicBezTo>
                      <a:pt x="190" y="27"/>
                      <a:pt x="193" y="27"/>
                      <a:pt x="194" y="27"/>
                    </a:cubicBezTo>
                    <a:cubicBezTo>
                      <a:pt x="196" y="27"/>
                      <a:pt x="196" y="30"/>
                      <a:pt x="197" y="30"/>
                    </a:cubicBezTo>
                    <a:cubicBezTo>
                      <a:pt x="199" y="30"/>
                      <a:pt x="203" y="31"/>
                      <a:pt x="203" y="32"/>
                    </a:cubicBezTo>
                    <a:cubicBezTo>
                      <a:pt x="204" y="34"/>
                      <a:pt x="207" y="35"/>
                      <a:pt x="208" y="37"/>
                    </a:cubicBezTo>
                    <a:cubicBezTo>
                      <a:pt x="209" y="39"/>
                      <a:pt x="211" y="37"/>
                      <a:pt x="212" y="37"/>
                    </a:cubicBezTo>
                    <a:cubicBezTo>
                      <a:pt x="213" y="36"/>
                      <a:pt x="217" y="38"/>
                      <a:pt x="218" y="39"/>
                    </a:cubicBezTo>
                    <a:cubicBezTo>
                      <a:pt x="219" y="39"/>
                      <a:pt x="222" y="37"/>
                      <a:pt x="224" y="35"/>
                    </a:cubicBezTo>
                    <a:cubicBezTo>
                      <a:pt x="225" y="34"/>
                      <a:pt x="229" y="36"/>
                      <a:pt x="229" y="36"/>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97" name="Freeform 118"/>
              <p:cNvSpPr>
                <a:spLocks/>
              </p:cNvSpPr>
              <p:nvPr/>
            </p:nvSpPr>
            <p:spPr bwMode="gray">
              <a:xfrm>
                <a:off x="1204" y="3484"/>
                <a:ext cx="173" cy="373"/>
              </a:xfrm>
              <a:custGeom>
                <a:avLst/>
                <a:gdLst>
                  <a:gd name="T0" fmla="*/ 33 w 66"/>
                  <a:gd name="T1" fmla="*/ 138 h 142"/>
                  <a:gd name="T2" fmla="*/ 26 w 66"/>
                  <a:gd name="T3" fmla="*/ 141 h 142"/>
                  <a:gd name="T4" fmla="*/ 17 w 66"/>
                  <a:gd name="T5" fmla="*/ 138 h 142"/>
                  <a:gd name="T6" fmla="*/ 11 w 66"/>
                  <a:gd name="T7" fmla="*/ 139 h 142"/>
                  <a:gd name="T8" fmla="*/ 8 w 66"/>
                  <a:gd name="T9" fmla="*/ 136 h 142"/>
                  <a:gd name="T10" fmla="*/ 11 w 66"/>
                  <a:gd name="T11" fmla="*/ 124 h 142"/>
                  <a:gd name="T12" fmla="*/ 10 w 66"/>
                  <a:gd name="T13" fmla="*/ 114 h 142"/>
                  <a:gd name="T14" fmla="*/ 12 w 66"/>
                  <a:gd name="T15" fmla="*/ 103 h 142"/>
                  <a:gd name="T16" fmla="*/ 11 w 66"/>
                  <a:gd name="T17" fmla="*/ 102 h 142"/>
                  <a:gd name="T18" fmla="*/ 7 w 66"/>
                  <a:gd name="T19" fmla="*/ 102 h 142"/>
                  <a:gd name="T20" fmla="*/ 5 w 66"/>
                  <a:gd name="T21" fmla="*/ 98 h 142"/>
                  <a:gd name="T22" fmla="*/ 10 w 66"/>
                  <a:gd name="T23" fmla="*/ 90 h 142"/>
                  <a:gd name="T24" fmla="*/ 3 w 66"/>
                  <a:gd name="T25" fmla="*/ 95 h 142"/>
                  <a:gd name="T26" fmla="*/ 1 w 66"/>
                  <a:gd name="T27" fmla="*/ 87 h 142"/>
                  <a:gd name="T28" fmla="*/ 4 w 66"/>
                  <a:gd name="T29" fmla="*/ 77 h 142"/>
                  <a:gd name="T30" fmla="*/ 8 w 66"/>
                  <a:gd name="T31" fmla="*/ 71 h 142"/>
                  <a:gd name="T32" fmla="*/ 15 w 66"/>
                  <a:gd name="T33" fmla="*/ 53 h 142"/>
                  <a:gd name="T34" fmla="*/ 18 w 66"/>
                  <a:gd name="T35" fmla="*/ 41 h 142"/>
                  <a:gd name="T36" fmla="*/ 20 w 66"/>
                  <a:gd name="T37" fmla="*/ 30 h 142"/>
                  <a:gd name="T38" fmla="*/ 17 w 66"/>
                  <a:gd name="T39" fmla="*/ 13 h 142"/>
                  <a:gd name="T40" fmla="*/ 21 w 66"/>
                  <a:gd name="T41" fmla="*/ 4 h 142"/>
                  <a:gd name="T42" fmla="*/ 30 w 66"/>
                  <a:gd name="T43" fmla="*/ 2 h 142"/>
                  <a:gd name="T44" fmla="*/ 31 w 66"/>
                  <a:gd name="T45" fmla="*/ 6 h 142"/>
                  <a:gd name="T46" fmla="*/ 38 w 66"/>
                  <a:gd name="T47" fmla="*/ 8 h 142"/>
                  <a:gd name="T48" fmla="*/ 46 w 66"/>
                  <a:gd name="T49" fmla="*/ 9 h 142"/>
                  <a:gd name="T50" fmla="*/ 53 w 66"/>
                  <a:gd name="T51" fmla="*/ 6 h 142"/>
                  <a:gd name="T52" fmla="*/ 60 w 66"/>
                  <a:gd name="T53" fmla="*/ 11 h 142"/>
                  <a:gd name="T54" fmla="*/ 65 w 66"/>
                  <a:gd name="T55" fmla="*/ 18 h 142"/>
                  <a:gd name="T56" fmla="*/ 55 w 66"/>
                  <a:gd name="T57" fmla="*/ 28 h 142"/>
                  <a:gd name="T58" fmla="*/ 53 w 66"/>
                  <a:gd name="T59" fmla="*/ 47 h 142"/>
                  <a:gd name="T60" fmla="*/ 51 w 66"/>
                  <a:gd name="T61" fmla="*/ 59 h 142"/>
                  <a:gd name="T62" fmla="*/ 44 w 66"/>
                  <a:gd name="T63" fmla="*/ 69 h 142"/>
                  <a:gd name="T64" fmla="*/ 42 w 66"/>
                  <a:gd name="T65" fmla="*/ 73 h 142"/>
                  <a:gd name="T66" fmla="*/ 46 w 66"/>
                  <a:gd name="T67" fmla="*/ 83 h 142"/>
                  <a:gd name="T68" fmla="*/ 42 w 66"/>
                  <a:gd name="T69" fmla="*/ 94 h 142"/>
                  <a:gd name="T70" fmla="*/ 45 w 66"/>
                  <a:gd name="T71" fmla="*/ 108 h 142"/>
                  <a:gd name="T72" fmla="*/ 42 w 66"/>
                  <a:gd name="T73" fmla="*/ 113 h 142"/>
                  <a:gd name="T74" fmla="*/ 35 w 66"/>
                  <a:gd name="T75" fmla="*/ 12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6" h="142">
                    <a:moveTo>
                      <a:pt x="37" y="136"/>
                    </a:moveTo>
                    <a:cubicBezTo>
                      <a:pt x="37" y="136"/>
                      <a:pt x="34" y="137"/>
                      <a:pt x="33" y="138"/>
                    </a:cubicBezTo>
                    <a:cubicBezTo>
                      <a:pt x="31" y="139"/>
                      <a:pt x="30" y="140"/>
                      <a:pt x="29" y="140"/>
                    </a:cubicBezTo>
                    <a:cubicBezTo>
                      <a:pt x="27" y="141"/>
                      <a:pt x="27" y="142"/>
                      <a:pt x="26" y="141"/>
                    </a:cubicBezTo>
                    <a:cubicBezTo>
                      <a:pt x="25" y="140"/>
                      <a:pt x="23" y="139"/>
                      <a:pt x="21" y="139"/>
                    </a:cubicBezTo>
                    <a:cubicBezTo>
                      <a:pt x="20" y="139"/>
                      <a:pt x="18" y="139"/>
                      <a:pt x="17" y="138"/>
                    </a:cubicBezTo>
                    <a:cubicBezTo>
                      <a:pt x="16" y="138"/>
                      <a:pt x="16" y="137"/>
                      <a:pt x="15" y="137"/>
                    </a:cubicBezTo>
                    <a:cubicBezTo>
                      <a:pt x="15" y="137"/>
                      <a:pt x="12" y="138"/>
                      <a:pt x="11" y="139"/>
                    </a:cubicBezTo>
                    <a:cubicBezTo>
                      <a:pt x="9" y="140"/>
                      <a:pt x="9" y="141"/>
                      <a:pt x="8" y="140"/>
                    </a:cubicBezTo>
                    <a:cubicBezTo>
                      <a:pt x="7" y="140"/>
                      <a:pt x="7" y="138"/>
                      <a:pt x="8" y="136"/>
                    </a:cubicBezTo>
                    <a:cubicBezTo>
                      <a:pt x="9" y="135"/>
                      <a:pt x="10" y="132"/>
                      <a:pt x="10" y="130"/>
                    </a:cubicBezTo>
                    <a:cubicBezTo>
                      <a:pt x="11" y="128"/>
                      <a:pt x="11" y="126"/>
                      <a:pt x="11" y="124"/>
                    </a:cubicBezTo>
                    <a:cubicBezTo>
                      <a:pt x="11" y="122"/>
                      <a:pt x="12" y="120"/>
                      <a:pt x="12" y="120"/>
                    </a:cubicBezTo>
                    <a:cubicBezTo>
                      <a:pt x="12" y="119"/>
                      <a:pt x="10" y="116"/>
                      <a:pt x="10" y="114"/>
                    </a:cubicBezTo>
                    <a:cubicBezTo>
                      <a:pt x="10" y="113"/>
                      <a:pt x="13" y="110"/>
                      <a:pt x="13" y="109"/>
                    </a:cubicBezTo>
                    <a:cubicBezTo>
                      <a:pt x="13" y="107"/>
                      <a:pt x="12" y="104"/>
                      <a:pt x="12" y="103"/>
                    </a:cubicBezTo>
                    <a:cubicBezTo>
                      <a:pt x="13" y="102"/>
                      <a:pt x="15" y="98"/>
                      <a:pt x="14" y="99"/>
                    </a:cubicBezTo>
                    <a:cubicBezTo>
                      <a:pt x="13" y="99"/>
                      <a:pt x="12" y="102"/>
                      <a:pt x="11" y="102"/>
                    </a:cubicBezTo>
                    <a:cubicBezTo>
                      <a:pt x="11" y="102"/>
                      <a:pt x="10" y="99"/>
                      <a:pt x="10" y="99"/>
                    </a:cubicBezTo>
                    <a:cubicBezTo>
                      <a:pt x="10" y="99"/>
                      <a:pt x="8" y="102"/>
                      <a:pt x="7" y="102"/>
                    </a:cubicBezTo>
                    <a:cubicBezTo>
                      <a:pt x="7" y="102"/>
                      <a:pt x="5" y="104"/>
                      <a:pt x="5" y="103"/>
                    </a:cubicBezTo>
                    <a:cubicBezTo>
                      <a:pt x="5" y="101"/>
                      <a:pt x="4" y="99"/>
                      <a:pt x="5" y="98"/>
                    </a:cubicBezTo>
                    <a:cubicBezTo>
                      <a:pt x="5" y="98"/>
                      <a:pt x="9" y="95"/>
                      <a:pt x="9" y="94"/>
                    </a:cubicBezTo>
                    <a:cubicBezTo>
                      <a:pt x="10" y="93"/>
                      <a:pt x="10" y="90"/>
                      <a:pt x="10" y="90"/>
                    </a:cubicBezTo>
                    <a:cubicBezTo>
                      <a:pt x="10" y="89"/>
                      <a:pt x="11" y="87"/>
                      <a:pt x="9" y="88"/>
                    </a:cubicBezTo>
                    <a:cubicBezTo>
                      <a:pt x="8" y="90"/>
                      <a:pt x="5" y="95"/>
                      <a:pt x="3" y="95"/>
                    </a:cubicBezTo>
                    <a:cubicBezTo>
                      <a:pt x="1" y="95"/>
                      <a:pt x="0" y="93"/>
                      <a:pt x="0" y="92"/>
                    </a:cubicBezTo>
                    <a:cubicBezTo>
                      <a:pt x="0" y="90"/>
                      <a:pt x="1" y="90"/>
                      <a:pt x="1" y="87"/>
                    </a:cubicBezTo>
                    <a:cubicBezTo>
                      <a:pt x="1" y="85"/>
                      <a:pt x="1" y="84"/>
                      <a:pt x="2" y="83"/>
                    </a:cubicBezTo>
                    <a:cubicBezTo>
                      <a:pt x="2" y="81"/>
                      <a:pt x="4" y="79"/>
                      <a:pt x="4" y="77"/>
                    </a:cubicBezTo>
                    <a:cubicBezTo>
                      <a:pt x="4" y="75"/>
                      <a:pt x="3" y="76"/>
                      <a:pt x="5" y="74"/>
                    </a:cubicBezTo>
                    <a:cubicBezTo>
                      <a:pt x="7" y="73"/>
                      <a:pt x="8" y="72"/>
                      <a:pt x="8" y="71"/>
                    </a:cubicBezTo>
                    <a:cubicBezTo>
                      <a:pt x="9" y="69"/>
                      <a:pt x="10" y="64"/>
                      <a:pt x="12" y="62"/>
                    </a:cubicBezTo>
                    <a:cubicBezTo>
                      <a:pt x="13" y="60"/>
                      <a:pt x="14" y="56"/>
                      <a:pt x="15" y="53"/>
                    </a:cubicBezTo>
                    <a:cubicBezTo>
                      <a:pt x="15" y="50"/>
                      <a:pt x="17" y="46"/>
                      <a:pt x="17" y="45"/>
                    </a:cubicBezTo>
                    <a:cubicBezTo>
                      <a:pt x="17" y="45"/>
                      <a:pt x="17" y="42"/>
                      <a:pt x="18" y="41"/>
                    </a:cubicBezTo>
                    <a:cubicBezTo>
                      <a:pt x="19" y="39"/>
                      <a:pt x="18" y="36"/>
                      <a:pt x="18" y="35"/>
                    </a:cubicBezTo>
                    <a:cubicBezTo>
                      <a:pt x="19" y="34"/>
                      <a:pt x="20" y="31"/>
                      <a:pt x="20" y="30"/>
                    </a:cubicBezTo>
                    <a:cubicBezTo>
                      <a:pt x="20" y="28"/>
                      <a:pt x="19" y="27"/>
                      <a:pt x="19" y="24"/>
                    </a:cubicBezTo>
                    <a:cubicBezTo>
                      <a:pt x="18" y="22"/>
                      <a:pt x="17" y="15"/>
                      <a:pt x="17" y="13"/>
                    </a:cubicBezTo>
                    <a:cubicBezTo>
                      <a:pt x="17" y="10"/>
                      <a:pt x="18" y="7"/>
                      <a:pt x="18" y="7"/>
                    </a:cubicBezTo>
                    <a:cubicBezTo>
                      <a:pt x="18" y="7"/>
                      <a:pt x="19" y="5"/>
                      <a:pt x="21" y="4"/>
                    </a:cubicBezTo>
                    <a:cubicBezTo>
                      <a:pt x="23" y="2"/>
                      <a:pt x="25" y="3"/>
                      <a:pt x="28" y="3"/>
                    </a:cubicBezTo>
                    <a:cubicBezTo>
                      <a:pt x="30" y="2"/>
                      <a:pt x="31" y="0"/>
                      <a:pt x="30" y="2"/>
                    </a:cubicBezTo>
                    <a:cubicBezTo>
                      <a:pt x="30" y="3"/>
                      <a:pt x="30" y="3"/>
                      <a:pt x="31" y="3"/>
                    </a:cubicBezTo>
                    <a:cubicBezTo>
                      <a:pt x="32" y="3"/>
                      <a:pt x="32" y="4"/>
                      <a:pt x="31" y="6"/>
                    </a:cubicBezTo>
                    <a:cubicBezTo>
                      <a:pt x="29" y="8"/>
                      <a:pt x="29" y="10"/>
                      <a:pt x="31" y="9"/>
                    </a:cubicBezTo>
                    <a:cubicBezTo>
                      <a:pt x="33" y="9"/>
                      <a:pt x="36" y="8"/>
                      <a:pt x="38" y="8"/>
                    </a:cubicBezTo>
                    <a:cubicBezTo>
                      <a:pt x="40" y="8"/>
                      <a:pt x="41" y="8"/>
                      <a:pt x="42" y="9"/>
                    </a:cubicBezTo>
                    <a:cubicBezTo>
                      <a:pt x="43" y="10"/>
                      <a:pt x="45" y="9"/>
                      <a:pt x="46" y="9"/>
                    </a:cubicBezTo>
                    <a:cubicBezTo>
                      <a:pt x="47" y="9"/>
                      <a:pt x="48" y="7"/>
                      <a:pt x="49" y="6"/>
                    </a:cubicBezTo>
                    <a:cubicBezTo>
                      <a:pt x="50" y="5"/>
                      <a:pt x="52" y="6"/>
                      <a:pt x="53" y="6"/>
                    </a:cubicBezTo>
                    <a:cubicBezTo>
                      <a:pt x="55" y="6"/>
                      <a:pt x="57" y="7"/>
                      <a:pt x="59" y="7"/>
                    </a:cubicBezTo>
                    <a:cubicBezTo>
                      <a:pt x="60" y="7"/>
                      <a:pt x="61" y="9"/>
                      <a:pt x="60" y="11"/>
                    </a:cubicBezTo>
                    <a:cubicBezTo>
                      <a:pt x="59" y="13"/>
                      <a:pt x="61" y="13"/>
                      <a:pt x="63" y="14"/>
                    </a:cubicBezTo>
                    <a:cubicBezTo>
                      <a:pt x="65" y="15"/>
                      <a:pt x="66" y="17"/>
                      <a:pt x="65" y="18"/>
                    </a:cubicBezTo>
                    <a:cubicBezTo>
                      <a:pt x="65" y="19"/>
                      <a:pt x="63" y="22"/>
                      <a:pt x="61" y="23"/>
                    </a:cubicBezTo>
                    <a:cubicBezTo>
                      <a:pt x="59" y="24"/>
                      <a:pt x="57" y="26"/>
                      <a:pt x="55" y="28"/>
                    </a:cubicBezTo>
                    <a:cubicBezTo>
                      <a:pt x="53" y="31"/>
                      <a:pt x="54" y="31"/>
                      <a:pt x="54" y="33"/>
                    </a:cubicBezTo>
                    <a:cubicBezTo>
                      <a:pt x="54" y="36"/>
                      <a:pt x="53" y="43"/>
                      <a:pt x="53" y="47"/>
                    </a:cubicBezTo>
                    <a:cubicBezTo>
                      <a:pt x="53" y="51"/>
                      <a:pt x="52" y="50"/>
                      <a:pt x="50" y="52"/>
                    </a:cubicBezTo>
                    <a:cubicBezTo>
                      <a:pt x="48" y="54"/>
                      <a:pt x="50" y="57"/>
                      <a:pt x="51" y="59"/>
                    </a:cubicBezTo>
                    <a:cubicBezTo>
                      <a:pt x="52" y="61"/>
                      <a:pt x="50" y="63"/>
                      <a:pt x="50" y="65"/>
                    </a:cubicBezTo>
                    <a:cubicBezTo>
                      <a:pt x="50" y="67"/>
                      <a:pt x="47" y="69"/>
                      <a:pt x="44" y="69"/>
                    </a:cubicBezTo>
                    <a:cubicBezTo>
                      <a:pt x="41" y="69"/>
                      <a:pt x="38" y="68"/>
                      <a:pt x="39" y="70"/>
                    </a:cubicBezTo>
                    <a:cubicBezTo>
                      <a:pt x="40" y="71"/>
                      <a:pt x="41" y="72"/>
                      <a:pt x="42" y="73"/>
                    </a:cubicBezTo>
                    <a:cubicBezTo>
                      <a:pt x="42" y="75"/>
                      <a:pt x="42" y="77"/>
                      <a:pt x="43" y="79"/>
                    </a:cubicBezTo>
                    <a:cubicBezTo>
                      <a:pt x="43" y="82"/>
                      <a:pt x="44" y="82"/>
                      <a:pt x="46" y="83"/>
                    </a:cubicBezTo>
                    <a:cubicBezTo>
                      <a:pt x="48" y="84"/>
                      <a:pt x="48" y="85"/>
                      <a:pt x="47" y="88"/>
                    </a:cubicBezTo>
                    <a:cubicBezTo>
                      <a:pt x="46" y="90"/>
                      <a:pt x="44" y="92"/>
                      <a:pt x="42" y="94"/>
                    </a:cubicBezTo>
                    <a:cubicBezTo>
                      <a:pt x="40" y="96"/>
                      <a:pt x="40" y="101"/>
                      <a:pt x="41" y="102"/>
                    </a:cubicBezTo>
                    <a:cubicBezTo>
                      <a:pt x="42" y="104"/>
                      <a:pt x="44" y="107"/>
                      <a:pt x="45" y="108"/>
                    </a:cubicBezTo>
                    <a:cubicBezTo>
                      <a:pt x="47" y="108"/>
                      <a:pt x="46" y="108"/>
                      <a:pt x="46" y="110"/>
                    </a:cubicBezTo>
                    <a:cubicBezTo>
                      <a:pt x="46" y="112"/>
                      <a:pt x="44" y="111"/>
                      <a:pt x="42" y="113"/>
                    </a:cubicBezTo>
                    <a:cubicBezTo>
                      <a:pt x="41" y="115"/>
                      <a:pt x="38" y="119"/>
                      <a:pt x="37" y="121"/>
                    </a:cubicBezTo>
                    <a:cubicBezTo>
                      <a:pt x="35" y="123"/>
                      <a:pt x="35" y="126"/>
                      <a:pt x="35" y="127"/>
                    </a:cubicBezTo>
                    <a:cubicBezTo>
                      <a:pt x="36" y="128"/>
                      <a:pt x="36" y="135"/>
                      <a:pt x="37" y="136"/>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98" name="Freeform 119"/>
              <p:cNvSpPr>
                <a:spLocks/>
              </p:cNvSpPr>
              <p:nvPr/>
            </p:nvSpPr>
            <p:spPr bwMode="gray">
              <a:xfrm>
                <a:off x="1734" y="3702"/>
                <a:ext cx="21" cy="21"/>
              </a:xfrm>
              <a:custGeom>
                <a:avLst/>
                <a:gdLst>
                  <a:gd name="T0" fmla="*/ 5 w 8"/>
                  <a:gd name="T1" fmla="*/ 0 h 8"/>
                  <a:gd name="T2" fmla="*/ 0 w 8"/>
                  <a:gd name="T3" fmla="*/ 4 h 8"/>
                  <a:gd name="T4" fmla="*/ 3 w 8"/>
                  <a:gd name="T5" fmla="*/ 8 h 8"/>
                  <a:gd name="T6" fmla="*/ 7 w 8"/>
                  <a:gd name="T7" fmla="*/ 4 h 8"/>
                  <a:gd name="T8" fmla="*/ 5 w 8"/>
                  <a:gd name="T9" fmla="*/ 0 h 8"/>
                </a:gdLst>
                <a:ahLst/>
                <a:cxnLst>
                  <a:cxn ang="0">
                    <a:pos x="T0" y="T1"/>
                  </a:cxn>
                  <a:cxn ang="0">
                    <a:pos x="T2" y="T3"/>
                  </a:cxn>
                  <a:cxn ang="0">
                    <a:pos x="T4" y="T5"/>
                  </a:cxn>
                  <a:cxn ang="0">
                    <a:pos x="T6" y="T7"/>
                  </a:cxn>
                  <a:cxn ang="0">
                    <a:pos x="T8" y="T9"/>
                  </a:cxn>
                </a:cxnLst>
                <a:rect l="0" t="0" r="r" b="b"/>
                <a:pathLst>
                  <a:path w="8" h="8">
                    <a:moveTo>
                      <a:pt x="5" y="0"/>
                    </a:moveTo>
                    <a:cubicBezTo>
                      <a:pt x="4" y="0"/>
                      <a:pt x="0" y="2"/>
                      <a:pt x="0" y="4"/>
                    </a:cubicBezTo>
                    <a:cubicBezTo>
                      <a:pt x="0" y="6"/>
                      <a:pt x="2" y="8"/>
                      <a:pt x="3" y="8"/>
                    </a:cubicBezTo>
                    <a:cubicBezTo>
                      <a:pt x="5" y="8"/>
                      <a:pt x="6" y="5"/>
                      <a:pt x="7" y="4"/>
                    </a:cubicBezTo>
                    <a:cubicBezTo>
                      <a:pt x="8" y="2"/>
                      <a:pt x="7" y="0"/>
                      <a:pt x="5"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199" name="Freeform 120"/>
              <p:cNvSpPr>
                <a:spLocks/>
              </p:cNvSpPr>
              <p:nvPr/>
            </p:nvSpPr>
            <p:spPr bwMode="gray">
              <a:xfrm>
                <a:off x="1790" y="3641"/>
                <a:ext cx="60" cy="53"/>
              </a:xfrm>
              <a:custGeom>
                <a:avLst/>
                <a:gdLst>
                  <a:gd name="T0" fmla="*/ 10 w 23"/>
                  <a:gd name="T1" fmla="*/ 4 h 20"/>
                  <a:gd name="T2" fmla="*/ 4 w 23"/>
                  <a:gd name="T3" fmla="*/ 9 h 20"/>
                  <a:gd name="T4" fmla="*/ 3 w 23"/>
                  <a:gd name="T5" fmla="*/ 13 h 20"/>
                  <a:gd name="T6" fmla="*/ 8 w 23"/>
                  <a:gd name="T7" fmla="*/ 12 h 20"/>
                  <a:gd name="T8" fmla="*/ 10 w 23"/>
                  <a:gd name="T9" fmla="*/ 16 h 20"/>
                  <a:gd name="T10" fmla="*/ 13 w 23"/>
                  <a:gd name="T11" fmla="*/ 18 h 20"/>
                  <a:gd name="T12" fmla="*/ 17 w 23"/>
                  <a:gd name="T13" fmla="*/ 18 h 20"/>
                  <a:gd name="T14" fmla="*/ 21 w 23"/>
                  <a:gd name="T15" fmla="*/ 9 h 20"/>
                  <a:gd name="T16" fmla="*/ 19 w 23"/>
                  <a:gd name="T17" fmla="*/ 5 h 20"/>
                  <a:gd name="T18" fmla="*/ 15 w 23"/>
                  <a:gd name="T19" fmla="*/ 3 h 20"/>
                  <a:gd name="T20" fmla="*/ 17 w 23"/>
                  <a:gd name="T21" fmla="*/ 0 h 20"/>
                  <a:gd name="T22" fmla="*/ 10 w 23"/>
                  <a:gd name="T23" fmla="*/ 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20">
                    <a:moveTo>
                      <a:pt x="10" y="4"/>
                    </a:moveTo>
                    <a:cubicBezTo>
                      <a:pt x="7" y="5"/>
                      <a:pt x="6" y="7"/>
                      <a:pt x="4" y="9"/>
                    </a:cubicBezTo>
                    <a:cubicBezTo>
                      <a:pt x="2" y="11"/>
                      <a:pt x="0" y="12"/>
                      <a:pt x="3" y="13"/>
                    </a:cubicBezTo>
                    <a:cubicBezTo>
                      <a:pt x="6" y="13"/>
                      <a:pt x="8" y="10"/>
                      <a:pt x="8" y="12"/>
                    </a:cubicBezTo>
                    <a:cubicBezTo>
                      <a:pt x="8" y="14"/>
                      <a:pt x="8" y="15"/>
                      <a:pt x="10" y="16"/>
                    </a:cubicBezTo>
                    <a:cubicBezTo>
                      <a:pt x="11" y="17"/>
                      <a:pt x="13" y="16"/>
                      <a:pt x="13" y="18"/>
                    </a:cubicBezTo>
                    <a:cubicBezTo>
                      <a:pt x="14" y="19"/>
                      <a:pt x="16" y="20"/>
                      <a:pt x="17" y="18"/>
                    </a:cubicBezTo>
                    <a:cubicBezTo>
                      <a:pt x="18" y="15"/>
                      <a:pt x="20" y="11"/>
                      <a:pt x="21" y="9"/>
                    </a:cubicBezTo>
                    <a:cubicBezTo>
                      <a:pt x="23" y="7"/>
                      <a:pt x="21" y="4"/>
                      <a:pt x="19" y="5"/>
                    </a:cubicBezTo>
                    <a:cubicBezTo>
                      <a:pt x="17" y="5"/>
                      <a:pt x="15" y="4"/>
                      <a:pt x="15" y="3"/>
                    </a:cubicBezTo>
                    <a:cubicBezTo>
                      <a:pt x="16" y="2"/>
                      <a:pt x="19" y="0"/>
                      <a:pt x="17" y="0"/>
                    </a:cubicBezTo>
                    <a:cubicBezTo>
                      <a:pt x="16" y="0"/>
                      <a:pt x="12" y="2"/>
                      <a:pt x="10" y="4"/>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00" name="Freeform 121"/>
              <p:cNvSpPr>
                <a:spLocks/>
              </p:cNvSpPr>
              <p:nvPr/>
            </p:nvSpPr>
            <p:spPr bwMode="gray">
              <a:xfrm>
                <a:off x="1863" y="3634"/>
                <a:ext cx="29" cy="21"/>
              </a:xfrm>
              <a:custGeom>
                <a:avLst/>
                <a:gdLst>
                  <a:gd name="T0" fmla="*/ 3 w 11"/>
                  <a:gd name="T1" fmla="*/ 0 h 8"/>
                  <a:gd name="T2" fmla="*/ 1 w 11"/>
                  <a:gd name="T3" fmla="*/ 3 h 8"/>
                  <a:gd name="T4" fmla="*/ 6 w 11"/>
                  <a:gd name="T5" fmla="*/ 5 h 8"/>
                  <a:gd name="T6" fmla="*/ 10 w 11"/>
                  <a:gd name="T7" fmla="*/ 6 h 8"/>
                  <a:gd name="T8" fmla="*/ 7 w 11"/>
                  <a:gd name="T9" fmla="*/ 0 h 8"/>
                  <a:gd name="T10" fmla="*/ 3 w 11"/>
                  <a:gd name="T11" fmla="*/ 0 h 8"/>
                </a:gdLst>
                <a:ahLst/>
                <a:cxnLst>
                  <a:cxn ang="0">
                    <a:pos x="T0" y="T1"/>
                  </a:cxn>
                  <a:cxn ang="0">
                    <a:pos x="T2" y="T3"/>
                  </a:cxn>
                  <a:cxn ang="0">
                    <a:pos x="T4" y="T5"/>
                  </a:cxn>
                  <a:cxn ang="0">
                    <a:pos x="T6" y="T7"/>
                  </a:cxn>
                  <a:cxn ang="0">
                    <a:pos x="T8" y="T9"/>
                  </a:cxn>
                  <a:cxn ang="0">
                    <a:pos x="T10" y="T11"/>
                  </a:cxn>
                </a:cxnLst>
                <a:rect l="0" t="0" r="r" b="b"/>
                <a:pathLst>
                  <a:path w="11" h="8">
                    <a:moveTo>
                      <a:pt x="3" y="0"/>
                    </a:moveTo>
                    <a:cubicBezTo>
                      <a:pt x="1" y="0"/>
                      <a:pt x="0" y="1"/>
                      <a:pt x="1" y="3"/>
                    </a:cubicBezTo>
                    <a:cubicBezTo>
                      <a:pt x="2" y="5"/>
                      <a:pt x="5" y="4"/>
                      <a:pt x="6" y="5"/>
                    </a:cubicBezTo>
                    <a:cubicBezTo>
                      <a:pt x="8" y="6"/>
                      <a:pt x="11" y="8"/>
                      <a:pt x="10" y="6"/>
                    </a:cubicBezTo>
                    <a:cubicBezTo>
                      <a:pt x="10" y="4"/>
                      <a:pt x="8" y="1"/>
                      <a:pt x="7" y="0"/>
                    </a:cubicBezTo>
                    <a:cubicBezTo>
                      <a:pt x="6" y="0"/>
                      <a:pt x="4" y="0"/>
                      <a:pt x="3"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01" name="Freeform 122"/>
              <p:cNvSpPr>
                <a:spLocks/>
              </p:cNvSpPr>
              <p:nvPr/>
            </p:nvSpPr>
            <p:spPr bwMode="gray">
              <a:xfrm>
                <a:off x="2081" y="2409"/>
                <a:ext cx="129" cy="239"/>
              </a:xfrm>
              <a:custGeom>
                <a:avLst/>
                <a:gdLst>
                  <a:gd name="T0" fmla="*/ 10 w 49"/>
                  <a:gd name="T1" fmla="*/ 84 h 91"/>
                  <a:gd name="T2" fmla="*/ 10 w 49"/>
                  <a:gd name="T3" fmla="*/ 78 h 91"/>
                  <a:gd name="T4" fmla="*/ 5 w 49"/>
                  <a:gd name="T5" fmla="*/ 70 h 91"/>
                  <a:gd name="T6" fmla="*/ 7 w 49"/>
                  <a:gd name="T7" fmla="*/ 76 h 91"/>
                  <a:gd name="T8" fmla="*/ 2 w 49"/>
                  <a:gd name="T9" fmla="*/ 67 h 91"/>
                  <a:gd name="T10" fmla="*/ 2 w 49"/>
                  <a:gd name="T11" fmla="*/ 58 h 91"/>
                  <a:gd name="T12" fmla="*/ 5 w 49"/>
                  <a:gd name="T13" fmla="*/ 57 h 91"/>
                  <a:gd name="T14" fmla="*/ 1 w 49"/>
                  <a:gd name="T15" fmla="*/ 55 h 91"/>
                  <a:gd name="T16" fmla="*/ 2 w 49"/>
                  <a:gd name="T17" fmla="*/ 36 h 91"/>
                  <a:gd name="T18" fmla="*/ 7 w 49"/>
                  <a:gd name="T19" fmla="*/ 37 h 91"/>
                  <a:gd name="T20" fmla="*/ 4 w 49"/>
                  <a:gd name="T21" fmla="*/ 28 h 91"/>
                  <a:gd name="T22" fmla="*/ 11 w 49"/>
                  <a:gd name="T23" fmla="*/ 21 h 91"/>
                  <a:gd name="T24" fmla="*/ 20 w 49"/>
                  <a:gd name="T25" fmla="*/ 20 h 91"/>
                  <a:gd name="T26" fmla="*/ 31 w 49"/>
                  <a:gd name="T27" fmla="*/ 7 h 91"/>
                  <a:gd name="T28" fmla="*/ 37 w 49"/>
                  <a:gd name="T29" fmla="*/ 4 h 91"/>
                  <a:gd name="T30" fmla="*/ 39 w 49"/>
                  <a:gd name="T31" fmla="*/ 7 h 91"/>
                  <a:gd name="T32" fmla="*/ 40 w 49"/>
                  <a:gd name="T33" fmla="*/ 20 h 91"/>
                  <a:gd name="T34" fmla="*/ 32 w 49"/>
                  <a:gd name="T35" fmla="*/ 22 h 91"/>
                  <a:gd name="T36" fmla="*/ 22 w 49"/>
                  <a:gd name="T37" fmla="*/ 24 h 91"/>
                  <a:gd name="T38" fmla="*/ 29 w 49"/>
                  <a:gd name="T39" fmla="*/ 23 h 91"/>
                  <a:gd name="T40" fmla="*/ 36 w 49"/>
                  <a:gd name="T41" fmla="*/ 27 h 91"/>
                  <a:gd name="T42" fmla="*/ 36 w 49"/>
                  <a:gd name="T43" fmla="*/ 34 h 91"/>
                  <a:gd name="T44" fmla="*/ 35 w 49"/>
                  <a:gd name="T45" fmla="*/ 35 h 91"/>
                  <a:gd name="T46" fmla="*/ 37 w 49"/>
                  <a:gd name="T47" fmla="*/ 39 h 91"/>
                  <a:gd name="T48" fmla="*/ 38 w 49"/>
                  <a:gd name="T49" fmla="*/ 39 h 91"/>
                  <a:gd name="T50" fmla="*/ 45 w 49"/>
                  <a:gd name="T51" fmla="*/ 40 h 91"/>
                  <a:gd name="T52" fmla="*/ 47 w 49"/>
                  <a:gd name="T53" fmla="*/ 47 h 91"/>
                  <a:gd name="T54" fmla="*/ 43 w 49"/>
                  <a:gd name="T55" fmla="*/ 52 h 91"/>
                  <a:gd name="T56" fmla="*/ 40 w 49"/>
                  <a:gd name="T57" fmla="*/ 50 h 91"/>
                  <a:gd name="T58" fmla="*/ 37 w 49"/>
                  <a:gd name="T59" fmla="*/ 53 h 91"/>
                  <a:gd name="T60" fmla="*/ 35 w 49"/>
                  <a:gd name="T61" fmla="*/ 61 h 91"/>
                  <a:gd name="T62" fmla="*/ 33 w 49"/>
                  <a:gd name="T63" fmla="*/ 65 h 91"/>
                  <a:gd name="T64" fmla="*/ 27 w 49"/>
                  <a:gd name="T65" fmla="*/ 66 h 91"/>
                  <a:gd name="T66" fmla="*/ 29 w 49"/>
                  <a:gd name="T67" fmla="*/ 71 h 91"/>
                  <a:gd name="T68" fmla="*/ 40 w 49"/>
                  <a:gd name="T69" fmla="*/ 68 h 91"/>
                  <a:gd name="T70" fmla="*/ 43 w 49"/>
                  <a:gd name="T71" fmla="*/ 69 h 91"/>
                  <a:gd name="T72" fmla="*/ 48 w 49"/>
                  <a:gd name="T73" fmla="*/ 80 h 91"/>
                  <a:gd name="T74" fmla="*/ 40 w 49"/>
                  <a:gd name="T75" fmla="*/ 85 h 91"/>
                  <a:gd name="T76" fmla="*/ 33 w 49"/>
                  <a:gd name="T77" fmla="*/ 81 h 91"/>
                  <a:gd name="T78" fmla="*/ 28 w 49"/>
                  <a:gd name="T79" fmla="*/ 72 h 91"/>
                  <a:gd name="T80" fmla="*/ 28 w 49"/>
                  <a:gd name="T81" fmla="*/ 78 h 91"/>
                  <a:gd name="T82" fmla="*/ 25 w 49"/>
                  <a:gd name="T83" fmla="*/ 85 h 91"/>
                  <a:gd name="T84" fmla="*/ 30 w 49"/>
                  <a:gd name="T85" fmla="*/ 89 h 91"/>
                  <a:gd name="T86" fmla="*/ 27 w 49"/>
                  <a:gd name="T87" fmla="*/ 90 h 91"/>
                  <a:gd name="T88" fmla="*/ 15 w 49"/>
                  <a:gd name="T89" fmla="*/ 8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9" h="91">
                    <a:moveTo>
                      <a:pt x="11" y="89"/>
                    </a:moveTo>
                    <a:cubicBezTo>
                      <a:pt x="11" y="89"/>
                      <a:pt x="11" y="86"/>
                      <a:pt x="10" y="84"/>
                    </a:cubicBezTo>
                    <a:cubicBezTo>
                      <a:pt x="10" y="82"/>
                      <a:pt x="8" y="83"/>
                      <a:pt x="8" y="81"/>
                    </a:cubicBezTo>
                    <a:cubicBezTo>
                      <a:pt x="7" y="80"/>
                      <a:pt x="10" y="80"/>
                      <a:pt x="10" y="78"/>
                    </a:cubicBezTo>
                    <a:cubicBezTo>
                      <a:pt x="11" y="76"/>
                      <a:pt x="9" y="74"/>
                      <a:pt x="8" y="73"/>
                    </a:cubicBezTo>
                    <a:cubicBezTo>
                      <a:pt x="6" y="71"/>
                      <a:pt x="6" y="69"/>
                      <a:pt x="5" y="70"/>
                    </a:cubicBezTo>
                    <a:cubicBezTo>
                      <a:pt x="4" y="71"/>
                      <a:pt x="5" y="72"/>
                      <a:pt x="5" y="73"/>
                    </a:cubicBezTo>
                    <a:cubicBezTo>
                      <a:pt x="6" y="74"/>
                      <a:pt x="8" y="77"/>
                      <a:pt x="7" y="76"/>
                    </a:cubicBezTo>
                    <a:cubicBezTo>
                      <a:pt x="6" y="76"/>
                      <a:pt x="4" y="73"/>
                      <a:pt x="3" y="71"/>
                    </a:cubicBezTo>
                    <a:cubicBezTo>
                      <a:pt x="2" y="69"/>
                      <a:pt x="1" y="69"/>
                      <a:pt x="2" y="67"/>
                    </a:cubicBezTo>
                    <a:cubicBezTo>
                      <a:pt x="2" y="65"/>
                      <a:pt x="2" y="63"/>
                      <a:pt x="2" y="61"/>
                    </a:cubicBezTo>
                    <a:cubicBezTo>
                      <a:pt x="1" y="60"/>
                      <a:pt x="1" y="56"/>
                      <a:pt x="2" y="58"/>
                    </a:cubicBezTo>
                    <a:cubicBezTo>
                      <a:pt x="2" y="59"/>
                      <a:pt x="3" y="62"/>
                      <a:pt x="4" y="61"/>
                    </a:cubicBezTo>
                    <a:cubicBezTo>
                      <a:pt x="5" y="60"/>
                      <a:pt x="6" y="59"/>
                      <a:pt x="5" y="57"/>
                    </a:cubicBezTo>
                    <a:cubicBezTo>
                      <a:pt x="4" y="55"/>
                      <a:pt x="2" y="53"/>
                      <a:pt x="2" y="55"/>
                    </a:cubicBezTo>
                    <a:cubicBezTo>
                      <a:pt x="1" y="56"/>
                      <a:pt x="1" y="58"/>
                      <a:pt x="1" y="55"/>
                    </a:cubicBezTo>
                    <a:cubicBezTo>
                      <a:pt x="1" y="52"/>
                      <a:pt x="0" y="48"/>
                      <a:pt x="0" y="44"/>
                    </a:cubicBezTo>
                    <a:cubicBezTo>
                      <a:pt x="0" y="40"/>
                      <a:pt x="1" y="34"/>
                      <a:pt x="2" y="36"/>
                    </a:cubicBezTo>
                    <a:cubicBezTo>
                      <a:pt x="3" y="38"/>
                      <a:pt x="4" y="38"/>
                      <a:pt x="5" y="39"/>
                    </a:cubicBezTo>
                    <a:cubicBezTo>
                      <a:pt x="7" y="39"/>
                      <a:pt x="8" y="39"/>
                      <a:pt x="7" y="37"/>
                    </a:cubicBezTo>
                    <a:cubicBezTo>
                      <a:pt x="7" y="36"/>
                      <a:pt x="5" y="36"/>
                      <a:pt x="4" y="34"/>
                    </a:cubicBezTo>
                    <a:cubicBezTo>
                      <a:pt x="3" y="32"/>
                      <a:pt x="3" y="30"/>
                      <a:pt x="4" y="28"/>
                    </a:cubicBezTo>
                    <a:cubicBezTo>
                      <a:pt x="5" y="27"/>
                      <a:pt x="8" y="22"/>
                      <a:pt x="8" y="21"/>
                    </a:cubicBezTo>
                    <a:cubicBezTo>
                      <a:pt x="9" y="20"/>
                      <a:pt x="10" y="21"/>
                      <a:pt x="11" y="21"/>
                    </a:cubicBezTo>
                    <a:cubicBezTo>
                      <a:pt x="12" y="21"/>
                      <a:pt x="14" y="21"/>
                      <a:pt x="15" y="20"/>
                    </a:cubicBezTo>
                    <a:cubicBezTo>
                      <a:pt x="16" y="19"/>
                      <a:pt x="18" y="20"/>
                      <a:pt x="20" y="20"/>
                    </a:cubicBezTo>
                    <a:cubicBezTo>
                      <a:pt x="22" y="20"/>
                      <a:pt x="25" y="17"/>
                      <a:pt x="26" y="14"/>
                    </a:cubicBezTo>
                    <a:cubicBezTo>
                      <a:pt x="28" y="11"/>
                      <a:pt x="29" y="9"/>
                      <a:pt x="31" y="7"/>
                    </a:cubicBezTo>
                    <a:cubicBezTo>
                      <a:pt x="32" y="6"/>
                      <a:pt x="32" y="6"/>
                      <a:pt x="34" y="6"/>
                    </a:cubicBezTo>
                    <a:cubicBezTo>
                      <a:pt x="35" y="6"/>
                      <a:pt x="35" y="6"/>
                      <a:pt x="37" y="4"/>
                    </a:cubicBezTo>
                    <a:cubicBezTo>
                      <a:pt x="39" y="3"/>
                      <a:pt x="42" y="0"/>
                      <a:pt x="41" y="1"/>
                    </a:cubicBezTo>
                    <a:cubicBezTo>
                      <a:pt x="40" y="2"/>
                      <a:pt x="38" y="6"/>
                      <a:pt x="39" y="7"/>
                    </a:cubicBezTo>
                    <a:cubicBezTo>
                      <a:pt x="39" y="8"/>
                      <a:pt x="40" y="10"/>
                      <a:pt x="40" y="13"/>
                    </a:cubicBezTo>
                    <a:cubicBezTo>
                      <a:pt x="41" y="15"/>
                      <a:pt x="41" y="18"/>
                      <a:pt x="40" y="20"/>
                    </a:cubicBezTo>
                    <a:cubicBezTo>
                      <a:pt x="39" y="21"/>
                      <a:pt x="37" y="27"/>
                      <a:pt x="36" y="25"/>
                    </a:cubicBezTo>
                    <a:cubicBezTo>
                      <a:pt x="36" y="24"/>
                      <a:pt x="34" y="23"/>
                      <a:pt x="32" y="22"/>
                    </a:cubicBezTo>
                    <a:cubicBezTo>
                      <a:pt x="31" y="21"/>
                      <a:pt x="28" y="22"/>
                      <a:pt x="27" y="23"/>
                    </a:cubicBezTo>
                    <a:cubicBezTo>
                      <a:pt x="25" y="24"/>
                      <a:pt x="23" y="24"/>
                      <a:pt x="22" y="24"/>
                    </a:cubicBezTo>
                    <a:cubicBezTo>
                      <a:pt x="21" y="25"/>
                      <a:pt x="22" y="25"/>
                      <a:pt x="24" y="24"/>
                    </a:cubicBezTo>
                    <a:cubicBezTo>
                      <a:pt x="26" y="23"/>
                      <a:pt x="28" y="23"/>
                      <a:pt x="29" y="23"/>
                    </a:cubicBezTo>
                    <a:cubicBezTo>
                      <a:pt x="30" y="22"/>
                      <a:pt x="31" y="22"/>
                      <a:pt x="33" y="23"/>
                    </a:cubicBezTo>
                    <a:cubicBezTo>
                      <a:pt x="35" y="24"/>
                      <a:pt x="36" y="25"/>
                      <a:pt x="36" y="27"/>
                    </a:cubicBezTo>
                    <a:cubicBezTo>
                      <a:pt x="37" y="29"/>
                      <a:pt x="37" y="32"/>
                      <a:pt x="38" y="33"/>
                    </a:cubicBezTo>
                    <a:cubicBezTo>
                      <a:pt x="38" y="34"/>
                      <a:pt x="37" y="35"/>
                      <a:pt x="36" y="34"/>
                    </a:cubicBezTo>
                    <a:cubicBezTo>
                      <a:pt x="34" y="34"/>
                      <a:pt x="29" y="37"/>
                      <a:pt x="31" y="37"/>
                    </a:cubicBezTo>
                    <a:cubicBezTo>
                      <a:pt x="32" y="36"/>
                      <a:pt x="34" y="35"/>
                      <a:pt x="35" y="35"/>
                    </a:cubicBezTo>
                    <a:cubicBezTo>
                      <a:pt x="37" y="35"/>
                      <a:pt x="38" y="34"/>
                      <a:pt x="38" y="36"/>
                    </a:cubicBezTo>
                    <a:cubicBezTo>
                      <a:pt x="38" y="37"/>
                      <a:pt x="37" y="38"/>
                      <a:pt x="37" y="39"/>
                    </a:cubicBezTo>
                    <a:cubicBezTo>
                      <a:pt x="37" y="39"/>
                      <a:pt x="35" y="43"/>
                      <a:pt x="36" y="42"/>
                    </a:cubicBezTo>
                    <a:cubicBezTo>
                      <a:pt x="36" y="41"/>
                      <a:pt x="37" y="39"/>
                      <a:pt x="38" y="39"/>
                    </a:cubicBezTo>
                    <a:cubicBezTo>
                      <a:pt x="39" y="38"/>
                      <a:pt x="39" y="40"/>
                      <a:pt x="40" y="40"/>
                    </a:cubicBezTo>
                    <a:cubicBezTo>
                      <a:pt x="41" y="41"/>
                      <a:pt x="43" y="40"/>
                      <a:pt x="45" y="40"/>
                    </a:cubicBezTo>
                    <a:cubicBezTo>
                      <a:pt x="46" y="39"/>
                      <a:pt x="48" y="41"/>
                      <a:pt x="48" y="42"/>
                    </a:cubicBezTo>
                    <a:cubicBezTo>
                      <a:pt x="49" y="43"/>
                      <a:pt x="48" y="46"/>
                      <a:pt x="47" y="47"/>
                    </a:cubicBezTo>
                    <a:cubicBezTo>
                      <a:pt x="47" y="48"/>
                      <a:pt x="46" y="50"/>
                      <a:pt x="45" y="50"/>
                    </a:cubicBezTo>
                    <a:cubicBezTo>
                      <a:pt x="44" y="50"/>
                      <a:pt x="43" y="51"/>
                      <a:pt x="43" y="52"/>
                    </a:cubicBezTo>
                    <a:cubicBezTo>
                      <a:pt x="42" y="53"/>
                      <a:pt x="41" y="54"/>
                      <a:pt x="41" y="53"/>
                    </a:cubicBezTo>
                    <a:cubicBezTo>
                      <a:pt x="40" y="52"/>
                      <a:pt x="39" y="51"/>
                      <a:pt x="40" y="50"/>
                    </a:cubicBezTo>
                    <a:cubicBezTo>
                      <a:pt x="40" y="48"/>
                      <a:pt x="39" y="48"/>
                      <a:pt x="38" y="49"/>
                    </a:cubicBezTo>
                    <a:cubicBezTo>
                      <a:pt x="38" y="50"/>
                      <a:pt x="37" y="51"/>
                      <a:pt x="37" y="53"/>
                    </a:cubicBezTo>
                    <a:cubicBezTo>
                      <a:pt x="37" y="55"/>
                      <a:pt x="38" y="56"/>
                      <a:pt x="38" y="58"/>
                    </a:cubicBezTo>
                    <a:cubicBezTo>
                      <a:pt x="37" y="60"/>
                      <a:pt x="36" y="60"/>
                      <a:pt x="35" y="61"/>
                    </a:cubicBezTo>
                    <a:cubicBezTo>
                      <a:pt x="35" y="61"/>
                      <a:pt x="31" y="60"/>
                      <a:pt x="32" y="61"/>
                    </a:cubicBezTo>
                    <a:cubicBezTo>
                      <a:pt x="33" y="62"/>
                      <a:pt x="34" y="65"/>
                      <a:pt x="33" y="65"/>
                    </a:cubicBezTo>
                    <a:cubicBezTo>
                      <a:pt x="32" y="66"/>
                      <a:pt x="31" y="67"/>
                      <a:pt x="30" y="67"/>
                    </a:cubicBezTo>
                    <a:cubicBezTo>
                      <a:pt x="29" y="66"/>
                      <a:pt x="26" y="65"/>
                      <a:pt x="27" y="66"/>
                    </a:cubicBezTo>
                    <a:cubicBezTo>
                      <a:pt x="28" y="67"/>
                      <a:pt x="31" y="68"/>
                      <a:pt x="30" y="68"/>
                    </a:cubicBezTo>
                    <a:cubicBezTo>
                      <a:pt x="29" y="69"/>
                      <a:pt x="28" y="71"/>
                      <a:pt x="29" y="71"/>
                    </a:cubicBezTo>
                    <a:cubicBezTo>
                      <a:pt x="31" y="72"/>
                      <a:pt x="33" y="72"/>
                      <a:pt x="35" y="70"/>
                    </a:cubicBezTo>
                    <a:cubicBezTo>
                      <a:pt x="37" y="68"/>
                      <a:pt x="39" y="67"/>
                      <a:pt x="40" y="68"/>
                    </a:cubicBezTo>
                    <a:cubicBezTo>
                      <a:pt x="41" y="69"/>
                      <a:pt x="41" y="72"/>
                      <a:pt x="42" y="72"/>
                    </a:cubicBezTo>
                    <a:cubicBezTo>
                      <a:pt x="43" y="71"/>
                      <a:pt x="42" y="69"/>
                      <a:pt x="43" y="69"/>
                    </a:cubicBezTo>
                    <a:cubicBezTo>
                      <a:pt x="45" y="69"/>
                      <a:pt x="46" y="72"/>
                      <a:pt x="46" y="74"/>
                    </a:cubicBezTo>
                    <a:cubicBezTo>
                      <a:pt x="47" y="75"/>
                      <a:pt x="48" y="78"/>
                      <a:pt x="48" y="80"/>
                    </a:cubicBezTo>
                    <a:cubicBezTo>
                      <a:pt x="47" y="81"/>
                      <a:pt x="45" y="82"/>
                      <a:pt x="44" y="83"/>
                    </a:cubicBezTo>
                    <a:cubicBezTo>
                      <a:pt x="43" y="85"/>
                      <a:pt x="41" y="85"/>
                      <a:pt x="40" y="85"/>
                    </a:cubicBezTo>
                    <a:cubicBezTo>
                      <a:pt x="39" y="84"/>
                      <a:pt x="37" y="83"/>
                      <a:pt x="36" y="83"/>
                    </a:cubicBezTo>
                    <a:cubicBezTo>
                      <a:pt x="34" y="83"/>
                      <a:pt x="34" y="80"/>
                      <a:pt x="33" y="81"/>
                    </a:cubicBezTo>
                    <a:cubicBezTo>
                      <a:pt x="32" y="82"/>
                      <a:pt x="31" y="78"/>
                      <a:pt x="30" y="76"/>
                    </a:cubicBezTo>
                    <a:cubicBezTo>
                      <a:pt x="30" y="75"/>
                      <a:pt x="29" y="73"/>
                      <a:pt x="28" y="72"/>
                    </a:cubicBezTo>
                    <a:cubicBezTo>
                      <a:pt x="27" y="71"/>
                      <a:pt x="27" y="70"/>
                      <a:pt x="26" y="71"/>
                    </a:cubicBezTo>
                    <a:cubicBezTo>
                      <a:pt x="26" y="72"/>
                      <a:pt x="28" y="77"/>
                      <a:pt x="28" y="78"/>
                    </a:cubicBezTo>
                    <a:cubicBezTo>
                      <a:pt x="28" y="79"/>
                      <a:pt x="26" y="81"/>
                      <a:pt x="25" y="82"/>
                    </a:cubicBezTo>
                    <a:cubicBezTo>
                      <a:pt x="24" y="83"/>
                      <a:pt x="24" y="85"/>
                      <a:pt x="25" y="85"/>
                    </a:cubicBezTo>
                    <a:cubicBezTo>
                      <a:pt x="26" y="85"/>
                      <a:pt x="27" y="85"/>
                      <a:pt x="28" y="86"/>
                    </a:cubicBezTo>
                    <a:cubicBezTo>
                      <a:pt x="29" y="87"/>
                      <a:pt x="30" y="89"/>
                      <a:pt x="30" y="89"/>
                    </a:cubicBezTo>
                    <a:cubicBezTo>
                      <a:pt x="29" y="90"/>
                      <a:pt x="29" y="91"/>
                      <a:pt x="29" y="91"/>
                    </a:cubicBezTo>
                    <a:cubicBezTo>
                      <a:pt x="28" y="91"/>
                      <a:pt x="28" y="91"/>
                      <a:pt x="27" y="90"/>
                    </a:cubicBezTo>
                    <a:cubicBezTo>
                      <a:pt x="25" y="88"/>
                      <a:pt x="24" y="91"/>
                      <a:pt x="22" y="91"/>
                    </a:cubicBezTo>
                    <a:cubicBezTo>
                      <a:pt x="20" y="91"/>
                      <a:pt x="18" y="88"/>
                      <a:pt x="15" y="88"/>
                    </a:cubicBezTo>
                    <a:cubicBezTo>
                      <a:pt x="14" y="88"/>
                      <a:pt x="12" y="88"/>
                      <a:pt x="11" y="89"/>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02" name="Freeform 123"/>
              <p:cNvSpPr>
                <a:spLocks/>
              </p:cNvSpPr>
              <p:nvPr/>
            </p:nvSpPr>
            <p:spPr bwMode="gray">
              <a:xfrm>
                <a:off x="1230" y="2606"/>
                <a:ext cx="213" cy="260"/>
              </a:xfrm>
              <a:custGeom>
                <a:avLst/>
                <a:gdLst>
                  <a:gd name="T0" fmla="*/ 78 w 81"/>
                  <a:gd name="T1" fmla="*/ 41 h 99"/>
                  <a:gd name="T2" fmla="*/ 80 w 81"/>
                  <a:gd name="T3" fmla="*/ 48 h 99"/>
                  <a:gd name="T4" fmla="*/ 80 w 81"/>
                  <a:gd name="T5" fmla="*/ 58 h 99"/>
                  <a:gd name="T6" fmla="*/ 79 w 81"/>
                  <a:gd name="T7" fmla="*/ 68 h 99"/>
                  <a:gd name="T8" fmla="*/ 76 w 81"/>
                  <a:gd name="T9" fmla="*/ 74 h 99"/>
                  <a:gd name="T10" fmla="*/ 74 w 81"/>
                  <a:gd name="T11" fmla="*/ 80 h 99"/>
                  <a:gd name="T12" fmla="*/ 67 w 81"/>
                  <a:gd name="T13" fmla="*/ 80 h 99"/>
                  <a:gd name="T14" fmla="*/ 62 w 81"/>
                  <a:gd name="T15" fmla="*/ 80 h 99"/>
                  <a:gd name="T16" fmla="*/ 55 w 81"/>
                  <a:gd name="T17" fmla="*/ 83 h 99"/>
                  <a:gd name="T18" fmla="*/ 48 w 81"/>
                  <a:gd name="T19" fmla="*/ 87 h 99"/>
                  <a:gd name="T20" fmla="*/ 41 w 81"/>
                  <a:gd name="T21" fmla="*/ 91 h 99"/>
                  <a:gd name="T22" fmla="*/ 37 w 81"/>
                  <a:gd name="T23" fmla="*/ 89 h 99"/>
                  <a:gd name="T24" fmla="*/ 37 w 81"/>
                  <a:gd name="T25" fmla="*/ 93 h 99"/>
                  <a:gd name="T26" fmla="*/ 32 w 81"/>
                  <a:gd name="T27" fmla="*/ 95 h 99"/>
                  <a:gd name="T28" fmla="*/ 22 w 81"/>
                  <a:gd name="T29" fmla="*/ 97 h 99"/>
                  <a:gd name="T30" fmla="*/ 13 w 81"/>
                  <a:gd name="T31" fmla="*/ 98 h 99"/>
                  <a:gd name="T32" fmla="*/ 17 w 81"/>
                  <a:gd name="T33" fmla="*/ 93 h 99"/>
                  <a:gd name="T34" fmla="*/ 6 w 81"/>
                  <a:gd name="T35" fmla="*/ 95 h 99"/>
                  <a:gd name="T36" fmla="*/ 15 w 81"/>
                  <a:gd name="T37" fmla="*/ 89 h 99"/>
                  <a:gd name="T38" fmla="*/ 3 w 81"/>
                  <a:gd name="T39" fmla="*/ 89 h 99"/>
                  <a:gd name="T40" fmla="*/ 9 w 81"/>
                  <a:gd name="T41" fmla="*/ 86 h 99"/>
                  <a:gd name="T42" fmla="*/ 7 w 81"/>
                  <a:gd name="T43" fmla="*/ 84 h 99"/>
                  <a:gd name="T44" fmla="*/ 4 w 81"/>
                  <a:gd name="T45" fmla="*/ 81 h 99"/>
                  <a:gd name="T46" fmla="*/ 10 w 81"/>
                  <a:gd name="T47" fmla="*/ 79 h 99"/>
                  <a:gd name="T48" fmla="*/ 13 w 81"/>
                  <a:gd name="T49" fmla="*/ 79 h 99"/>
                  <a:gd name="T50" fmla="*/ 15 w 81"/>
                  <a:gd name="T51" fmla="*/ 75 h 99"/>
                  <a:gd name="T52" fmla="*/ 23 w 81"/>
                  <a:gd name="T53" fmla="*/ 73 h 99"/>
                  <a:gd name="T54" fmla="*/ 33 w 81"/>
                  <a:gd name="T55" fmla="*/ 70 h 99"/>
                  <a:gd name="T56" fmla="*/ 25 w 81"/>
                  <a:gd name="T57" fmla="*/ 71 h 99"/>
                  <a:gd name="T58" fmla="*/ 14 w 81"/>
                  <a:gd name="T59" fmla="*/ 72 h 99"/>
                  <a:gd name="T60" fmla="*/ 23 w 81"/>
                  <a:gd name="T61" fmla="*/ 64 h 99"/>
                  <a:gd name="T62" fmla="*/ 29 w 81"/>
                  <a:gd name="T63" fmla="*/ 59 h 99"/>
                  <a:gd name="T64" fmla="*/ 25 w 81"/>
                  <a:gd name="T65" fmla="*/ 56 h 99"/>
                  <a:gd name="T66" fmla="*/ 17 w 81"/>
                  <a:gd name="T67" fmla="*/ 55 h 99"/>
                  <a:gd name="T68" fmla="*/ 13 w 81"/>
                  <a:gd name="T69" fmla="*/ 52 h 99"/>
                  <a:gd name="T70" fmla="*/ 11 w 81"/>
                  <a:gd name="T71" fmla="*/ 50 h 99"/>
                  <a:gd name="T72" fmla="*/ 18 w 81"/>
                  <a:gd name="T73" fmla="*/ 47 h 99"/>
                  <a:gd name="T74" fmla="*/ 19 w 81"/>
                  <a:gd name="T75" fmla="*/ 43 h 99"/>
                  <a:gd name="T76" fmla="*/ 16 w 81"/>
                  <a:gd name="T77" fmla="*/ 35 h 99"/>
                  <a:gd name="T78" fmla="*/ 16 w 81"/>
                  <a:gd name="T79" fmla="*/ 30 h 99"/>
                  <a:gd name="T80" fmla="*/ 22 w 81"/>
                  <a:gd name="T81" fmla="*/ 30 h 99"/>
                  <a:gd name="T82" fmla="*/ 30 w 81"/>
                  <a:gd name="T83" fmla="*/ 34 h 99"/>
                  <a:gd name="T84" fmla="*/ 38 w 81"/>
                  <a:gd name="T85" fmla="*/ 31 h 99"/>
                  <a:gd name="T86" fmla="*/ 40 w 81"/>
                  <a:gd name="T87" fmla="*/ 26 h 99"/>
                  <a:gd name="T88" fmla="*/ 44 w 81"/>
                  <a:gd name="T89" fmla="*/ 22 h 99"/>
                  <a:gd name="T90" fmla="*/ 37 w 81"/>
                  <a:gd name="T91" fmla="*/ 19 h 99"/>
                  <a:gd name="T92" fmla="*/ 42 w 81"/>
                  <a:gd name="T93" fmla="*/ 15 h 99"/>
                  <a:gd name="T94" fmla="*/ 44 w 81"/>
                  <a:gd name="T95" fmla="*/ 9 h 99"/>
                  <a:gd name="T96" fmla="*/ 51 w 81"/>
                  <a:gd name="T97" fmla="*/ 4 h 99"/>
                  <a:gd name="T98" fmla="*/ 55 w 81"/>
                  <a:gd name="T99" fmla="*/ 4 h 99"/>
                  <a:gd name="T100" fmla="*/ 57 w 81"/>
                  <a:gd name="T101" fmla="*/ 8 h 99"/>
                  <a:gd name="T102" fmla="*/ 59 w 81"/>
                  <a:gd name="T103" fmla="*/ 5 h 99"/>
                  <a:gd name="T104" fmla="*/ 65 w 81"/>
                  <a:gd name="T105" fmla="*/ 1 h 99"/>
                  <a:gd name="T106" fmla="*/ 63 w 81"/>
                  <a:gd name="T107" fmla="*/ 8 h 99"/>
                  <a:gd name="T108" fmla="*/ 57 w 81"/>
                  <a:gd name="T109" fmla="*/ 16 h 99"/>
                  <a:gd name="T110" fmla="*/ 53 w 81"/>
                  <a:gd name="T111" fmla="*/ 21 h 99"/>
                  <a:gd name="T112" fmla="*/ 49 w 81"/>
                  <a:gd name="T113" fmla="*/ 28 h 99"/>
                  <a:gd name="T114" fmla="*/ 57 w 81"/>
                  <a:gd name="T115" fmla="*/ 34 h 99"/>
                  <a:gd name="T116" fmla="*/ 64 w 81"/>
                  <a:gd name="T117" fmla="*/ 29 h 99"/>
                  <a:gd name="T118" fmla="*/ 71 w 81"/>
                  <a:gd name="T119" fmla="*/ 33 h 99"/>
                  <a:gd name="T120" fmla="*/ 77 w 81"/>
                  <a:gd name="T121" fmla="*/ 3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1" h="99">
                    <a:moveTo>
                      <a:pt x="77" y="38"/>
                    </a:moveTo>
                    <a:cubicBezTo>
                      <a:pt x="76" y="39"/>
                      <a:pt x="76" y="41"/>
                      <a:pt x="78" y="41"/>
                    </a:cubicBezTo>
                    <a:cubicBezTo>
                      <a:pt x="79" y="42"/>
                      <a:pt x="79" y="42"/>
                      <a:pt x="79" y="44"/>
                    </a:cubicBezTo>
                    <a:cubicBezTo>
                      <a:pt x="78" y="47"/>
                      <a:pt x="79" y="48"/>
                      <a:pt x="80" y="48"/>
                    </a:cubicBezTo>
                    <a:cubicBezTo>
                      <a:pt x="81" y="49"/>
                      <a:pt x="81" y="50"/>
                      <a:pt x="80" y="51"/>
                    </a:cubicBezTo>
                    <a:cubicBezTo>
                      <a:pt x="80" y="52"/>
                      <a:pt x="79" y="56"/>
                      <a:pt x="80" y="58"/>
                    </a:cubicBezTo>
                    <a:cubicBezTo>
                      <a:pt x="81" y="60"/>
                      <a:pt x="81" y="60"/>
                      <a:pt x="80" y="62"/>
                    </a:cubicBezTo>
                    <a:cubicBezTo>
                      <a:pt x="80" y="65"/>
                      <a:pt x="81" y="66"/>
                      <a:pt x="79" y="68"/>
                    </a:cubicBezTo>
                    <a:cubicBezTo>
                      <a:pt x="77" y="70"/>
                      <a:pt x="77" y="70"/>
                      <a:pt x="77" y="72"/>
                    </a:cubicBezTo>
                    <a:cubicBezTo>
                      <a:pt x="77" y="73"/>
                      <a:pt x="77" y="73"/>
                      <a:pt x="76" y="74"/>
                    </a:cubicBezTo>
                    <a:cubicBezTo>
                      <a:pt x="74" y="76"/>
                      <a:pt x="74" y="77"/>
                      <a:pt x="72" y="78"/>
                    </a:cubicBezTo>
                    <a:cubicBezTo>
                      <a:pt x="71" y="79"/>
                      <a:pt x="73" y="78"/>
                      <a:pt x="74" y="80"/>
                    </a:cubicBezTo>
                    <a:cubicBezTo>
                      <a:pt x="74" y="82"/>
                      <a:pt x="72" y="82"/>
                      <a:pt x="70" y="82"/>
                    </a:cubicBezTo>
                    <a:cubicBezTo>
                      <a:pt x="68" y="82"/>
                      <a:pt x="68" y="79"/>
                      <a:pt x="67" y="80"/>
                    </a:cubicBezTo>
                    <a:cubicBezTo>
                      <a:pt x="65" y="82"/>
                      <a:pt x="64" y="84"/>
                      <a:pt x="63" y="83"/>
                    </a:cubicBezTo>
                    <a:cubicBezTo>
                      <a:pt x="63" y="81"/>
                      <a:pt x="63" y="79"/>
                      <a:pt x="62" y="80"/>
                    </a:cubicBezTo>
                    <a:cubicBezTo>
                      <a:pt x="61" y="80"/>
                      <a:pt x="61" y="84"/>
                      <a:pt x="60" y="84"/>
                    </a:cubicBezTo>
                    <a:cubicBezTo>
                      <a:pt x="59" y="84"/>
                      <a:pt x="56" y="83"/>
                      <a:pt x="55" y="83"/>
                    </a:cubicBezTo>
                    <a:cubicBezTo>
                      <a:pt x="53" y="83"/>
                      <a:pt x="52" y="85"/>
                      <a:pt x="51" y="86"/>
                    </a:cubicBezTo>
                    <a:cubicBezTo>
                      <a:pt x="51" y="87"/>
                      <a:pt x="49" y="86"/>
                      <a:pt x="48" y="87"/>
                    </a:cubicBezTo>
                    <a:cubicBezTo>
                      <a:pt x="46" y="87"/>
                      <a:pt x="46" y="88"/>
                      <a:pt x="45" y="90"/>
                    </a:cubicBezTo>
                    <a:cubicBezTo>
                      <a:pt x="44" y="91"/>
                      <a:pt x="41" y="91"/>
                      <a:pt x="41" y="91"/>
                    </a:cubicBezTo>
                    <a:cubicBezTo>
                      <a:pt x="40" y="90"/>
                      <a:pt x="41" y="89"/>
                      <a:pt x="40" y="89"/>
                    </a:cubicBezTo>
                    <a:cubicBezTo>
                      <a:pt x="38" y="88"/>
                      <a:pt x="38" y="89"/>
                      <a:pt x="37" y="89"/>
                    </a:cubicBezTo>
                    <a:cubicBezTo>
                      <a:pt x="36" y="88"/>
                      <a:pt x="38" y="91"/>
                      <a:pt x="38" y="91"/>
                    </a:cubicBezTo>
                    <a:cubicBezTo>
                      <a:pt x="38" y="91"/>
                      <a:pt x="38" y="93"/>
                      <a:pt x="37" y="93"/>
                    </a:cubicBezTo>
                    <a:cubicBezTo>
                      <a:pt x="36" y="93"/>
                      <a:pt x="36" y="93"/>
                      <a:pt x="35" y="95"/>
                    </a:cubicBezTo>
                    <a:cubicBezTo>
                      <a:pt x="34" y="96"/>
                      <a:pt x="33" y="95"/>
                      <a:pt x="32" y="95"/>
                    </a:cubicBezTo>
                    <a:cubicBezTo>
                      <a:pt x="30" y="95"/>
                      <a:pt x="31" y="96"/>
                      <a:pt x="29" y="96"/>
                    </a:cubicBezTo>
                    <a:cubicBezTo>
                      <a:pt x="27" y="97"/>
                      <a:pt x="24" y="96"/>
                      <a:pt x="22" y="97"/>
                    </a:cubicBezTo>
                    <a:cubicBezTo>
                      <a:pt x="21" y="98"/>
                      <a:pt x="20" y="98"/>
                      <a:pt x="17" y="98"/>
                    </a:cubicBezTo>
                    <a:cubicBezTo>
                      <a:pt x="15" y="98"/>
                      <a:pt x="14" y="99"/>
                      <a:pt x="13" y="98"/>
                    </a:cubicBezTo>
                    <a:cubicBezTo>
                      <a:pt x="12" y="98"/>
                      <a:pt x="13" y="97"/>
                      <a:pt x="15" y="96"/>
                    </a:cubicBezTo>
                    <a:cubicBezTo>
                      <a:pt x="16" y="95"/>
                      <a:pt x="18" y="93"/>
                      <a:pt x="17" y="93"/>
                    </a:cubicBezTo>
                    <a:cubicBezTo>
                      <a:pt x="16" y="93"/>
                      <a:pt x="11" y="94"/>
                      <a:pt x="10" y="95"/>
                    </a:cubicBezTo>
                    <a:cubicBezTo>
                      <a:pt x="8" y="95"/>
                      <a:pt x="6" y="96"/>
                      <a:pt x="6" y="95"/>
                    </a:cubicBezTo>
                    <a:cubicBezTo>
                      <a:pt x="7" y="94"/>
                      <a:pt x="8" y="93"/>
                      <a:pt x="10" y="92"/>
                    </a:cubicBezTo>
                    <a:cubicBezTo>
                      <a:pt x="12" y="90"/>
                      <a:pt x="16" y="90"/>
                      <a:pt x="15" y="89"/>
                    </a:cubicBezTo>
                    <a:cubicBezTo>
                      <a:pt x="15" y="88"/>
                      <a:pt x="7" y="91"/>
                      <a:pt x="5" y="91"/>
                    </a:cubicBezTo>
                    <a:cubicBezTo>
                      <a:pt x="3" y="91"/>
                      <a:pt x="4" y="90"/>
                      <a:pt x="3" y="89"/>
                    </a:cubicBezTo>
                    <a:cubicBezTo>
                      <a:pt x="3" y="88"/>
                      <a:pt x="4" y="88"/>
                      <a:pt x="5" y="87"/>
                    </a:cubicBezTo>
                    <a:cubicBezTo>
                      <a:pt x="7" y="85"/>
                      <a:pt x="7" y="86"/>
                      <a:pt x="9" y="86"/>
                    </a:cubicBezTo>
                    <a:cubicBezTo>
                      <a:pt x="10" y="86"/>
                      <a:pt x="11" y="85"/>
                      <a:pt x="12" y="83"/>
                    </a:cubicBezTo>
                    <a:cubicBezTo>
                      <a:pt x="13" y="82"/>
                      <a:pt x="10" y="83"/>
                      <a:pt x="7" y="84"/>
                    </a:cubicBezTo>
                    <a:cubicBezTo>
                      <a:pt x="5" y="84"/>
                      <a:pt x="3" y="83"/>
                      <a:pt x="2" y="84"/>
                    </a:cubicBezTo>
                    <a:cubicBezTo>
                      <a:pt x="0" y="84"/>
                      <a:pt x="2" y="82"/>
                      <a:pt x="4" y="81"/>
                    </a:cubicBezTo>
                    <a:cubicBezTo>
                      <a:pt x="6" y="79"/>
                      <a:pt x="6" y="79"/>
                      <a:pt x="7" y="80"/>
                    </a:cubicBezTo>
                    <a:cubicBezTo>
                      <a:pt x="8" y="81"/>
                      <a:pt x="9" y="78"/>
                      <a:pt x="10" y="79"/>
                    </a:cubicBezTo>
                    <a:cubicBezTo>
                      <a:pt x="10" y="80"/>
                      <a:pt x="11" y="80"/>
                      <a:pt x="12" y="80"/>
                    </a:cubicBezTo>
                    <a:cubicBezTo>
                      <a:pt x="13" y="80"/>
                      <a:pt x="14" y="79"/>
                      <a:pt x="13" y="79"/>
                    </a:cubicBezTo>
                    <a:cubicBezTo>
                      <a:pt x="13" y="78"/>
                      <a:pt x="11" y="78"/>
                      <a:pt x="11" y="77"/>
                    </a:cubicBezTo>
                    <a:cubicBezTo>
                      <a:pt x="11" y="76"/>
                      <a:pt x="13" y="76"/>
                      <a:pt x="15" y="75"/>
                    </a:cubicBezTo>
                    <a:cubicBezTo>
                      <a:pt x="16" y="74"/>
                      <a:pt x="15" y="73"/>
                      <a:pt x="17" y="73"/>
                    </a:cubicBezTo>
                    <a:cubicBezTo>
                      <a:pt x="19" y="73"/>
                      <a:pt x="20" y="74"/>
                      <a:pt x="23" y="73"/>
                    </a:cubicBezTo>
                    <a:cubicBezTo>
                      <a:pt x="25" y="73"/>
                      <a:pt x="27" y="72"/>
                      <a:pt x="29" y="71"/>
                    </a:cubicBezTo>
                    <a:cubicBezTo>
                      <a:pt x="32" y="70"/>
                      <a:pt x="33" y="71"/>
                      <a:pt x="33" y="70"/>
                    </a:cubicBezTo>
                    <a:cubicBezTo>
                      <a:pt x="33" y="68"/>
                      <a:pt x="30" y="69"/>
                      <a:pt x="30" y="68"/>
                    </a:cubicBezTo>
                    <a:cubicBezTo>
                      <a:pt x="30" y="67"/>
                      <a:pt x="27" y="70"/>
                      <a:pt x="25" y="71"/>
                    </a:cubicBezTo>
                    <a:cubicBezTo>
                      <a:pt x="23" y="72"/>
                      <a:pt x="21" y="71"/>
                      <a:pt x="18" y="72"/>
                    </a:cubicBezTo>
                    <a:cubicBezTo>
                      <a:pt x="15" y="72"/>
                      <a:pt x="13" y="73"/>
                      <a:pt x="14" y="72"/>
                    </a:cubicBezTo>
                    <a:cubicBezTo>
                      <a:pt x="15" y="70"/>
                      <a:pt x="16" y="69"/>
                      <a:pt x="19" y="68"/>
                    </a:cubicBezTo>
                    <a:cubicBezTo>
                      <a:pt x="21" y="67"/>
                      <a:pt x="22" y="66"/>
                      <a:pt x="23" y="64"/>
                    </a:cubicBezTo>
                    <a:cubicBezTo>
                      <a:pt x="23" y="62"/>
                      <a:pt x="23" y="61"/>
                      <a:pt x="24" y="60"/>
                    </a:cubicBezTo>
                    <a:cubicBezTo>
                      <a:pt x="26" y="59"/>
                      <a:pt x="27" y="60"/>
                      <a:pt x="29" y="59"/>
                    </a:cubicBezTo>
                    <a:cubicBezTo>
                      <a:pt x="31" y="58"/>
                      <a:pt x="32" y="58"/>
                      <a:pt x="31" y="57"/>
                    </a:cubicBezTo>
                    <a:cubicBezTo>
                      <a:pt x="30" y="56"/>
                      <a:pt x="28" y="56"/>
                      <a:pt x="25" y="56"/>
                    </a:cubicBezTo>
                    <a:cubicBezTo>
                      <a:pt x="23" y="57"/>
                      <a:pt x="21" y="59"/>
                      <a:pt x="21" y="57"/>
                    </a:cubicBezTo>
                    <a:cubicBezTo>
                      <a:pt x="20" y="56"/>
                      <a:pt x="19" y="55"/>
                      <a:pt x="17" y="55"/>
                    </a:cubicBezTo>
                    <a:cubicBezTo>
                      <a:pt x="15" y="56"/>
                      <a:pt x="15" y="55"/>
                      <a:pt x="15" y="53"/>
                    </a:cubicBezTo>
                    <a:cubicBezTo>
                      <a:pt x="15" y="52"/>
                      <a:pt x="14" y="52"/>
                      <a:pt x="13" y="52"/>
                    </a:cubicBezTo>
                    <a:cubicBezTo>
                      <a:pt x="11" y="52"/>
                      <a:pt x="10" y="53"/>
                      <a:pt x="10" y="52"/>
                    </a:cubicBezTo>
                    <a:cubicBezTo>
                      <a:pt x="10" y="51"/>
                      <a:pt x="11" y="51"/>
                      <a:pt x="11" y="50"/>
                    </a:cubicBezTo>
                    <a:cubicBezTo>
                      <a:pt x="11" y="48"/>
                      <a:pt x="13" y="48"/>
                      <a:pt x="14" y="49"/>
                    </a:cubicBezTo>
                    <a:cubicBezTo>
                      <a:pt x="15" y="49"/>
                      <a:pt x="17" y="48"/>
                      <a:pt x="18" y="47"/>
                    </a:cubicBezTo>
                    <a:cubicBezTo>
                      <a:pt x="19" y="47"/>
                      <a:pt x="15" y="46"/>
                      <a:pt x="16" y="45"/>
                    </a:cubicBezTo>
                    <a:cubicBezTo>
                      <a:pt x="17" y="43"/>
                      <a:pt x="18" y="43"/>
                      <a:pt x="19" y="43"/>
                    </a:cubicBezTo>
                    <a:cubicBezTo>
                      <a:pt x="21" y="43"/>
                      <a:pt x="21" y="42"/>
                      <a:pt x="19" y="41"/>
                    </a:cubicBezTo>
                    <a:cubicBezTo>
                      <a:pt x="16" y="39"/>
                      <a:pt x="17" y="37"/>
                      <a:pt x="16" y="35"/>
                    </a:cubicBezTo>
                    <a:cubicBezTo>
                      <a:pt x="15" y="32"/>
                      <a:pt x="13" y="34"/>
                      <a:pt x="14" y="32"/>
                    </a:cubicBezTo>
                    <a:cubicBezTo>
                      <a:pt x="14" y="30"/>
                      <a:pt x="15" y="29"/>
                      <a:pt x="16" y="30"/>
                    </a:cubicBezTo>
                    <a:cubicBezTo>
                      <a:pt x="16" y="32"/>
                      <a:pt x="18" y="32"/>
                      <a:pt x="19" y="32"/>
                    </a:cubicBezTo>
                    <a:cubicBezTo>
                      <a:pt x="21" y="31"/>
                      <a:pt x="20" y="30"/>
                      <a:pt x="22" y="30"/>
                    </a:cubicBezTo>
                    <a:cubicBezTo>
                      <a:pt x="24" y="30"/>
                      <a:pt x="27" y="29"/>
                      <a:pt x="27" y="30"/>
                    </a:cubicBezTo>
                    <a:cubicBezTo>
                      <a:pt x="28" y="32"/>
                      <a:pt x="29" y="35"/>
                      <a:pt x="30" y="34"/>
                    </a:cubicBezTo>
                    <a:cubicBezTo>
                      <a:pt x="31" y="32"/>
                      <a:pt x="30" y="30"/>
                      <a:pt x="33" y="30"/>
                    </a:cubicBezTo>
                    <a:cubicBezTo>
                      <a:pt x="36" y="31"/>
                      <a:pt x="36" y="31"/>
                      <a:pt x="38" y="31"/>
                    </a:cubicBezTo>
                    <a:cubicBezTo>
                      <a:pt x="40" y="31"/>
                      <a:pt x="40" y="30"/>
                      <a:pt x="39" y="29"/>
                    </a:cubicBezTo>
                    <a:cubicBezTo>
                      <a:pt x="38" y="28"/>
                      <a:pt x="38" y="27"/>
                      <a:pt x="40" y="26"/>
                    </a:cubicBezTo>
                    <a:cubicBezTo>
                      <a:pt x="42" y="25"/>
                      <a:pt x="45" y="26"/>
                      <a:pt x="46" y="25"/>
                    </a:cubicBezTo>
                    <a:cubicBezTo>
                      <a:pt x="47" y="23"/>
                      <a:pt x="46" y="22"/>
                      <a:pt x="44" y="22"/>
                    </a:cubicBezTo>
                    <a:cubicBezTo>
                      <a:pt x="43" y="22"/>
                      <a:pt x="41" y="21"/>
                      <a:pt x="39" y="21"/>
                    </a:cubicBezTo>
                    <a:cubicBezTo>
                      <a:pt x="37" y="21"/>
                      <a:pt x="37" y="20"/>
                      <a:pt x="37" y="19"/>
                    </a:cubicBezTo>
                    <a:cubicBezTo>
                      <a:pt x="38" y="18"/>
                      <a:pt x="39" y="17"/>
                      <a:pt x="41" y="17"/>
                    </a:cubicBezTo>
                    <a:cubicBezTo>
                      <a:pt x="42" y="18"/>
                      <a:pt x="41" y="16"/>
                      <a:pt x="42" y="15"/>
                    </a:cubicBezTo>
                    <a:cubicBezTo>
                      <a:pt x="44" y="14"/>
                      <a:pt x="43" y="12"/>
                      <a:pt x="43" y="11"/>
                    </a:cubicBezTo>
                    <a:cubicBezTo>
                      <a:pt x="42" y="10"/>
                      <a:pt x="44" y="10"/>
                      <a:pt x="44" y="9"/>
                    </a:cubicBezTo>
                    <a:cubicBezTo>
                      <a:pt x="45" y="7"/>
                      <a:pt x="45" y="6"/>
                      <a:pt x="46" y="6"/>
                    </a:cubicBezTo>
                    <a:cubicBezTo>
                      <a:pt x="47" y="6"/>
                      <a:pt x="50" y="6"/>
                      <a:pt x="51" y="4"/>
                    </a:cubicBezTo>
                    <a:cubicBezTo>
                      <a:pt x="52" y="3"/>
                      <a:pt x="52" y="5"/>
                      <a:pt x="53" y="6"/>
                    </a:cubicBezTo>
                    <a:cubicBezTo>
                      <a:pt x="54" y="7"/>
                      <a:pt x="55" y="5"/>
                      <a:pt x="55" y="4"/>
                    </a:cubicBezTo>
                    <a:cubicBezTo>
                      <a:pt x="54" y="2"/>
                      <a:pt x="57" y="3"/>
                      <a:pt x="57" y="4"/>
                    </a:cubicBezTo>
                    <a:cubicBezTo>
                      <a:pt x="57" y="4"/>
                      <a:pt x="59" y="6"/>
                      <a:pt x="57" y="8"/>
                    </a:cubicBezTo>
                    <a:cubicBezTo>
                      <a:pt x="55" y="10"/>
                      <a:pt x="56" y="11"/>
                      <a:pt x="57" y="11"/>
                    </a:cubicBezTo>
                    <a:cubicBezTo>
                      <a:pt x="59" y="10"/>
                      <a:pt x="59" y="7"/>
                      <a:pt x="59" y="5"/>
                    </a:cubicBezTo>
                    <a:cubicBezTo>
                      <a:pt x="59" y="2"/>
                      <a:pt x="60" y="2"/>
                      <a:pt x="62" y="2"/>
                    </a:cubicBezTo>
                    <a:cubicBezTo>
                      <a:pt x="63" y="1"/>
                      <a:pt x="64" y="0"/>
                      <a:pt x="65" y="1"/>
                    </a:cubicBezTo>
                    <a:cubicBezTo>
                      <a:pt x="67" y="2"/>
                      <a:pt x="68" y="3"/>
                      <a:pt x="67" y="5"/>
                    </a:cubicBezTo>
                    <a:cubicBezTo>
                      <a:pt x="65" y="6"/>
                      <a:pt x="65" y="8"/>
                      <a:pt x="63" y="8"/>
                    </a:cubicBezTo>
                    <a:cubicBezTo>
                      <a:pt x="62" y="9"/>
                      <a:pt x="61" y="10"/>
                      <a:pt x="60" y="12"/>
                    </a:cubicBezTo>
                    <a:cubicBezTo>
                      <a:pt x="60" y="14"/>
                      <a:pt x="60" y="15"/>
                      <a:pt x="57" y="16"/>
                    </a:cubicBezTo>
                    <a:cubicBezTo>
                      <a:pt x="55" y="18"/>
                      <a:pt x="54" y="17"/>
                      <a:pt x="52" y="19"/>
                    </a:cubicBezTo>
                    <a:cubicBezTo>
                      <a:pt x="51" y="20"/>
                      <a:pt x="54" y="19"/>
                      <a:pt x="53" y="21"/>
                    </a:cubicBezTo>
                    <a:cubicBezTo>
                      <a:pt x="52" y="23"/>
                      <a:pt x="50" y="24"/>
                      <a:pt x="48" y="25"/>
                    </a:cubicBezTo>
                    <a:cubicBezTo>
                      <a:pt x="47" y="26"/>
                      <a:pt x="48" y="26"/>
                      <a:pt x="49" y="28"/>
                    </a:cubicBezTo>
                    <a:cubicBezTo>
                      <a:pt x="51" y="30"/>
                      <a:pt x="52" y="33"/>
                      <a:pt x="53" y="32"/>
                    </a:cubicBezTo>
                    <a:cubicBezTo>
                      <a:pt x="55" y="32"/>
                      <a:pt x="55" y="33"/>
                      <a:pt x="57" y="34"/>
                    </a:cubicBezTo>
                    <a:cubicBezTo>
                      <a:pt x="59" y="35"/>
                      <a:pt x="60" y="35"/>
                      <a:pt x="62" y="33"/>
                    </a:cubicBezTo>
                    <a:cubicBezTo>
                      <a:pt x="63" y="30"/>
                      <a:pt x="63" y="31"/>
                      <a:pt x="64" y="29"/>
                    </a:cubicBezTo>
                    <a:cubicBezTo>
                      <a:pt x="65" y="26"/>
                      <a:pt x="67" y="27"/>
                      <a:pt x="68" y="28"/>
                    </a:cubicBezTo>
                    <a:cubicBezTo>
                      <a:pt x="69" y="29"/>
                      <a:pt x="69" y="33"/>
                      <a:pt x="71" y="33"/>
                    </a:cubicBezTo>
                    <a:cubicBezTo>
                      <a:pt x="73" y="33"/>
                      <a:pt x="72" y="34"/>
                      <a:pt x="73" y="36"/>
                    </a:cubicBezTo>
                    <a:cubicBezTo>
                      <a:pt x="75" y="37"/>
                      <a:pt x="78" y="35"/>
                      <a:pt x="77" y="38"/>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03" name="Freeform 124"/>
              <p:cNvSpPr>
                <a:spLocks/>
              </p:cNvSpPr>
              <p:nvPr/>
            </p:nvSpPr>
            <p:spPr bwMode="gray">
              <a:xfrm>
                <a:off x="1353" y="2616"/>
                <a:ext cx="121" cy="92"/>
              </a:xfrm>
              <a:custGeom>
                <a:avLst/>
                <a:gdLst>
                  <a:gd name="T0" fmla="*/ 17 w 46"/>
                  <a:gd name="T1" fmla="*/ 4 h 35"/>
                  <a:gd name="T2" fmla="*/ 18 w 46"/>
                  <a:gd name="T3" fmla="*/ 6 h 35"/>
                  <a:gd name="T4" fmla="*/ 22 w 46"/>
                  <a:gd name="T5" fmla="*/ 2 h 35"/>
                  <a:gd name="T6" fmla="*/ 27 w 46"/>
                  <a:gd name="T7" fmla="*/ 1 h 35"/>
                  <a:gd name="T8" fmla="*/ 33 w 46"/>
                  <a:gd name="T9" fmla="*/ 0 h 35"/>
                  <a:gd name="T10" fmla="*/ 37 w 46"/>
                  <a:gd name="T11" fmla="*/ 4 h 35"/>
                  <a:gd name="T12" fmla="*/ 40 w 46"/>
                  <a:gd name="T13" fmla="*/ 9 h 35"/>
                  <a:gd name="T14" fmla="*/ 42 w 46"/>
                  <a:gd name="T15" fmla="*/ 12 h 35"/>
                  <a:gd name="T16" fmla="*/ 42 w 46"/>
                  <a:gd name="T17" fmla="*/ 14 h 35"/>
                  <a:gd name="T18" fmla="*/ 41 w 46"/>
                  <a:gd name="T19" fmla="*/ 16 h 35"/>
                  <a:gd name="T20" fmla="*/ 45 w 46"/>
                  <a:gd name="T21" fmla="*/ 16 h 35"/>
                  <a:gd name="T22" fmla="*/ 46 w 46"/>
                  <a:gd name="T23" fmla="*/ 20 h 35"/>
                  <a:gd name="T24" fmla="*/ 45 w 46"/>
                  <a:gd name="T25" fmla="*/ 23 h 35"/>
                  <a:gd name="T26" fmla="*/ 44 w 46"/>
                  <a:gd name="T27" fmla="*/ 20 h 35"/>
                  <a:gd name="T28" fmla="*/ 42 w 46"/>
                  <a:gd name="T29" fmla="*/ 22 h 35"/>
                  <a:gd name="T30" fmla="*/ 43 w 46"/>
                  <a:gd name="T31" fmla="*/ 24 h 35"/>
                  <a:gd name="T32" fmla="*/ 44 w 46"/>
                  <a:gd name="T33" fmla="*/ 26 h 35"/>
                  <a:gd name="T34" fmla="*/ 41 w 46"/>
                  <a:gd name="T35" fmla="*/ 27 h 35"/>
                  <a:gd name="T36" fmla="*/ 39 w 46"/>
                  <a:gd name="T37" fmla="*/ 29 h 35"/>
                  <a:gd name="T38" fmla="*/ 35 w 46"/>
                  <a:gd name="T39" fmla="*/ 32 h 35"/>
                  <a:gd name="T40" fmla="*/ 32 w 46"/>
                  <a:gd name="T41" fmla="*/ 32 h 35"/>
                  <a:gd name="T42" fmla="*/ 31 w 46"/>
                  <a:gd name="T43" fmla="*/ 34 h 35"/>
                  <a:gd name="T44" fmla="*/ 30 w 46"/>
                  <a:gd name="T45" fmla="*/ 35 h 35"/>
                  <a:gd name="T46" fmla="*/ 30 w 46"/>
                  <a:gd name="T47" fmla="*/ 35 h 35"/>
                  <a:gd name="T48" fmla="*/ 30 w 46"/>
                  <a:gd name="T49" fmla="*/ 34 h 35"/>
                  <a:gd name="T50" fmla="*/ 26 w 46"/>
                  <a:gd name="T51" fmla="*/ 32 h 35"/>
                  <a:gd name="T52" fmla="*/ 24 w 46"/>
                  <a:gd name="T53" fmla="*/ 29 h 35"/>
                  <a:gd name="T54" fmla="*/ 21 w 46"/>
                  <a:gd name="T55" fmla="*/ 24 h 35"/>
                  <a:gd name="T56" fmla="*/ 17 w 46"/>
                  <a:gd name="T57" fmla="*/ 25 h 35"/>
                  <a:gd name="T58" fmla="*/ 15 w 46"/>
                  <a:gd name="T59" fmla="*/ 29 h 35"/>
                  <a:gd name="T60" fmla="*/ 10 w 46"/>
                  <a:gd name="T61" fmla="*/ 30 h 35"/>
                  <a:gd name="T62" fmla="*/ 6 w 46"/>
                  <a:gd name="T63" fmla="*/ 28 h 35"/>
                  <a:gd name="T64" fmla="*/ 2 w 46"/>
                  <a:gd name="T65" fmla="*/ 24 h 35"/>
                  <a:gd name="T66" fmla="*/ 1 w 46"/>
                  <a:gd name="T67" fmla="*/ 21 h 35"/>
                  <a:gd name="T68" fmla="*/ 6 w 46"/>
                  <a:gd name="T69" fmla="*/ 17 h 35"/>
                  <a:gd name="T70" fmla="*/ 5 w 46"/>
                  <a:gd name="T71" fmla="*/ 15 h 35"/>
                  <a:gd name="T72" fmla="*/ 10 w 46"/>
                  <a:gd name="T73" fmla="*/ 12 h 35"/>
                  <a:gd name="T74" fmla="*/ 13 w 46"/>
                  <a:gd name="T75" fmla="*/ 8 h 35"/>
                  <a:gd name="T76" fmla="*/ 16 w 46"/>
                  <a:gd name="T77" fmla="*/ 4 h 35"/>
                  <a:gd name="T78" fmla="*/ 17 w 46"/>
                  <a:gd name="T79" fmla="*/ 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 h="35">
                    <a:moveTo>
                      <a:pt x="17" y="4"/>
                    </a:moveTo>
                    <a:cubicBezTo>
                      <a:pt x="17" y="4"/>
                      <a:pt x="17" y="6"/>
                      <a:pt x="18" y="6"/>
                    </a:cubicBezTo>
                    <a:cubicBezTo>
                      <a:pt x="20" y="5"/>
                      <a:pt x="21" y="4"/>
                      <a:pt x="22" y="2"/>
                    </a:cubicBezTo>
                    <a:cubicBezTo>
                      <a:pt x="23" y="1"/>
                      <a:pt x="25" y="1"/>
                      <a:pt x="27" y="1"/>
                    </a:cubicBezTo>
                    <a:cubicBezTo>
                      <a:pt x="29" y="1"/>
                      <a:pt x="31" y="0"/>
                      <a:pt x="33" y="0"/>
                    </a:cubicBezTo>
                    <a:cubicBezTo>
                      <a:pt x="35" y="0"/>
                      <a:pt x="37" y="2"/>
                      <a:pt x="37" y="4"/>
                    </a:cubicBezTo>
                    <a:cubicBezTo>
                      <a:pt x="37" y="6"/>
                      <a:pt x="39" y="9"/>
                      <a:pt x="40" y="9"/>
                    </a:cubicBezTo>
                    <a:cubicBezTo>
                      <a:pt x="41" y="10"/>
                      <a:pt x="42" y="12"/>
                      <a:pt x="42" y="12"/>
                    </a:cubicBezTo>
                    <a:cubicBezTo>
                      <a:pt x="43" y="13"/>
                      <a:pt x="43" y="13"/>
                      <a:pt x="42" y="14"/>
                    </a:cubicBezTo>
                    <a:cubicBezTo>
                      <a:pt x="41" y="15"/>
                      <a:pt x="40" y="16"/>
                      <a:pt x="41" y="16"/>
                    </a:cubicBezTo>
                    <a:cubicBezTo>
                      <a:pt x="42" y="16"/>
                      <a:pt x="44" y="15"/>
                      <a:pt x="45" y="16"/>
                    </a:cubicBezTo>
                    <a:cubicBezTo>
                      <a:pt x="45" y="17"/>
                      <a:pt x="46" y="18"/>
                      <a:pt x="46" y="20"/>
                    </a:cubicBezTo>
                    <a:cubicBezTo>
                      <a:pt x="46" y="22"/>
                      <a:pt x="46" y="24"/>
                      <a:pt x="45" y="23"/>
                    </a:cubicBezTo>
                    <a:cubicBezTo>
                      <a:pt x="44" y="22"/>
                      <a:pt x="45" y="21"/>
                      <a:pt x="44" y="20"/>
                    </a:cubicBezTo>
                    <a:cubicBezTo>
                      <a:pt x="43" y="19"/>
                      <a:pt x="42" y="20"/>
                      <a:pt x="42" y="22"/>
                    </a:cubicBezTo>
                    <a:cubicBezTo>
                      <a:pt x="42" y="23"/>
                      <a:pt x="42" y="23"/>
                      <a:pt x="43" y="24"/>
                    </a:cubicBezTo>
                    <a:cubicBezTo>
                      <a:pt x="45" y="25"/>
                      <a:pt x="45" y="25"/>
                      <a:pt x="44" y="26"/>
                    </a:cubicBezTo>
                    <a:cubicBezTo>
                      <a:pt x="44" y="27"/>
                      <a:pt x="42" y="27"/>
                      <a:pt x="41" y="27"/>
                    </a:cubicBezTo>
                    <a:cubicBezTo>
                      <a:pt x="40" y="27"/>
                      <a:pt x="40" y="27"/>
                      <a:pt x="39" y="29"/>
                    </a:cubicBezTo>
                    <a:cubicBezTo>
                      <a:pt x="37" y="32"/>
                      <a:pt x="37" y="32"/>
                      <a:pt x="35" y="32"/>
                    </a:cubicBezTo>
                    <a:cubicBezTo>
                      <a:pt x="34" y="32"/>
                      <a:pt x="33" y="30"/>
                      <a:pt x="32" y="32"/>
                    </a:cubicBezTo>
                    <a:cubicBezTo>
                      <a:pt x="32" y="33"/>
                      <a:pt x="33" y="34"/>
                      <a:pt x="31" y="34"/>
                    </a:cubicBezTo>
                    <a:cubicBezTo>
                      <a:pt x="30" y="34"/>
                      <a:pt x="30" y="35"/>
                      <a:pt x="30" y="35"/>
                    </a:cubicBezTo>
                    <a:cubicBezTo>
                      <a:pt x="30" y="35"/>
                      <a:pt x="30" y="35"/>
                      <a:pt x="30" y="35"/>
                    </a:cubicBezTo>
                    <a:cubicBezTo>
                      <a:pt x="30" y="35"/>
                      <a:pt x="30" y="34"/>
                      <a:pt x="30" y="34"/>
                    </a:cubicBezTo>
                    <a:cubicBezTo>
                      <a:pt x="31" y="33"/>
                      <a:pt x="28" y="33"/>
                      <a:pt x="26" y="32"/>
                    </a:cubicBezTo>
                    <a:cubicBezTo>
                      <a:pt x="25" y="30"/>
                      <a:pt x="26" y="29"/>
                      <a:pt x="24" y="29"/>
                    </a:cubicBezTo>
                    <a:cubicBezTo>
                      <a:pt x="22" y="29"/>
                      <a:pt x="22" y="25"/>
                      <a:pt x="21" y="24"/>
                    </a:cubicBezTo>
                    <a:cubicBezTo>
                      <a:pt x="20" y="23"/>
                      <a:pt x="18" y="22"/>
                      <a:pt x="17" y="25"/>
                    </a:cubicBezTo>
                    <a:cubicBezTo>
                      <a:pt x="16" y="27"/>
                      <a:pt x="16" y="26"/>
                      <a:pt x="15" y="29"/>
                    </a:cubicBezTo>
                    <a:cubicBezTo>
                      <a:pt x="13" y="31"/>
                      <a:pt x="12" y="31"/>
                      <a:pt x="10" y="30"/>
                    </a:cubicBezTo>
                    <a:cubicBezTo>
                      <a:pt x="8" y="29"/>
                      <a:pt x="8" y="28"/>
                      <a:pt x="6" y="28"/>
                    </a:cubicBezTo>
                    <a:cubicBezTo>
                      <a:pt x="5" y="29"/>
                      <a:pt x="4" y="26"/>
                      <a:pt x="2" y="24"/>
                    </a:cubicBezTo>
                    <a:cubicBezTo>
                      <a:pt x="1" y="22"/>
                      <a:pt x="0" y="22"/>
                      <a:pt x="1" y="21"/>
                    </a:cubicBezTo>
                    <a:cubicBezTo>
                      <a:pt x="3" y="20"/>
                      <a:pt x="5" y="19"/>
                      <a:pt x="6" y="17"/>
                    </a:cubicBezTo>
                    <a:cubicBezTo>
                      <a:pt x="7" y="15"/>
                      <a:pt x="4" y="16"/>
                      <a:pt x="5" y="15"/>
                    </a:cubicBezTo>
                    <a:cubicBezTo>
                      <a:pt x="7" y="13"/>
                      <a:pt x="8" y="14"/>
                      <a:pt x="10" y="12"/>
                    </a:cubicBezTo>
                    <a:cubicBezTo>
                      <a:pt x="13" y="11"/>
                      <a:pt x="13" y="10"/>
                      <a:pt x="13" y="8"/>
                    </a:cubicBezTo>
                    <a:cubicBezTo>
                      <a:pt x="14" y="6"/>
                      <a:pt x="15" y="5"/>
                      <a:pt x="16" y="4"/>
                    </a:cubicBezTo>
                    <a:cubicBezTo>
                      <a:pt x="16" y="4"/>
                      <a:pt x="17" y="4"/>
                      <a:pt x="17" y="4"/>
                    </a:cubicBezTo>
                    <a:close/>
                  </a:path>
                </a:pathLst>
              </a:custGeom>
              <a:solidFill>
                <a:srgbClr val="8D8F92"/>
              </a:solid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04" name="Freeform 125"/>
              <p:cNvSpPr>
                <a:spLocks/>
              </p:cNvSpPr>
              <p:nvPr/>
            </p:nvSpPr>
            <p:spPr bwMode="gray">
              <a:xfrm>
                <a:off x="1500" y="2677"/>
                <a:ext cx="24" cy="24"/>
              </a:xfrm>
              <a:custGeom>
                <a:avLst/>
                <a:gdLst>
                  <a:gd name="T0" fmla="*/ 7 w 9"/>
                  <a:gd name="T1" fmla="*/ 1 h 9"/>
                  <a:gd name="T2" fmla="*/ 4 w 9"/>
                  <a:gd name="T3" fmla="*/ 4 h 9"/>
                  <a:gd name="T4" fmla="*/ 2 w 9"/>
                  <a:gd name="T5" fmla="*/ 8 h 9"/>
                  <a:gd name="T6" fmla="*/ 8 w 9"/>
                  <a:gd name="T7" fmla="*/ 5 h 9"/>
                  <a:gd name="T8" fmla="*/ 7 w 9"/>
                  <a:gd name="T9" fmla="*/ 1 h 9"/>
                </a:gdLst>
                <a:ahLst/>
                <a:cxnLst>
                  <a:cxn ang="0">
                    <a:pos x="T0" y="T1"/>
                  </a:cxn>
                  <a:cxn ang="0">
                    <a:pos x="T2" y="T3"/>
                  </a:cxn>
                  <a:cxn ang="0">
                    <a:pos x="T4" y="T5"/>
                  </a:cxn>
                  <a:cxn ang="0">
                    <a:pos x="T6" y="T7"/>
                  </a:cxn>
                  <a:cxn ang="0">
                    <a:pos x="T8" y="T9"/>
                  </a:cxn>
                </a:cxnLst>
                <a:rect l="0" t="0" r="r" b="b"/>
                <a:pathLst>
                  <a:path w="9" h="9">
                    <a:moveTo>
                      <a:pt x="7" y="1"/>
                    </a:moveTo>
                    <a:cubicBezTo>
                      <a:pt x="6" y="0"/>
                      <a:pt x="5" y="2"/>
                      <a:pt x="4" y="4"/>
                    </a:cubicBezTo>
                    <a:cubicBezTo>
                      <a:pt x="3" y="6"/>
                      <a:pt x="0" y="8"/>
                      <a:pt x="2" y="8"/>
                    </a:cubicBezTo>
                    <a:cubicBezTo>
                      <a:pt x="4" y="9"/>
                      <a:pt x="7" y="7"/>
                      <a:pt x="8" y="5"/>
                    </a:cubicBezTo>
                    <a:cubicBezTo>
                      <a:pt x="9" y="3"/>
                      <a:pt x="8" y="1"/>
                      <a:pt x="7"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05" name="Freeform 126"/>
              <p:cNvSpPr>
                <a:spLocks/>
              </p:cNvSpPr>
              <p:nvPr/>
            </p:nvSpPr>
            <p:spPr bwMode="gray">
              <a:xfrm>
                <a:off x="1443" y="2330"/>
                <a:ext cx="352" cy="628"/>
              </a:xfrm>
              <a:custGeom>
                <a:avLst/>
                <a:gdLst>
                  <a:gd name="T0" fmla="*/ 36 w 134"/>
                  <a:gd name="T1" fmla="*/ 232 h 239"/>
                  <a:gd name="T2" fmla="*/ 24 w 134"/>
                  <a:gd name="T3" fmla="*/ 230 h 239"/>
                  <a:gd name="T4" fmla="*/ 8 w 134"/>
                  <a:gd name="T5" fmla="*/ 238 h 239"/>
                  <a:gd name="T6" fmla="*/ 8 w 134"/>
                  <a:gd name="T7" fmla="*/ 231 h 239"/>
                  <a:gd name="T8" fmla="*/ 21 w 134"/>
                  <a:gd name="T9" fmla="*/ 215 h 239"/>
                  <a:gd name="T10" fmla="*/ 46 w 134"/>
                  <a:gd name="T11" fmla="*/ 210 h 239"/>
                  <a:gd name="T12" fmla="*/ 54 w 134"/>
                  <a:gd name="T13" fmla="*/ 201 h 239"/>
                  <a:gd name="T14" fmla="*/ 34 w 134"/>
                  <a:gd name="T15" fmla="*/ 200 h 239"/>
                  <a:gd name="T16" fmla="*/ 26 w 134"/>
                  <a:gd name="T17" fmla="*/ 198 h 239"/>
                  <a:gd name="T18" fmla="*/ 18 w 134"/>
                  <a:gd name="T19" fmla="*/ 196 h 239"/>
                  <a:gd name="T20" fmla="*/ 20 w 134"/>
                  <a:gd name="T21" fmla="*/ 189 h 239"/>
                  <a:gd name="T22" fmla="*/ 33 w 134"/>
                  <a:gd name="T23" fmla="*/ 175 h 239"/>
                  <a:gd name="T24" fmla="*/ 22 w 134"/>
                  <a:gd name="T25" fmla="*/ 171 h 239"/>
                  <a:gd name="T26" fmla="*/ 29 w 134"/>
                  <a:gd name="T27" fmla="*/ 158 h 239"/>
                  <a:gd name="T28" fmla="*/ 41 w 134"/>
                  <a:gd name="T29" fmla="*/ 161 h 239"/>
                  <a:gd name="T30" fmla="*/ 53 w 134"/>
                  <a:gd name="T31" fmla="*/ 159 h 239"/>
                  <a:gd name="T32" fmla="*/ 54 w 134"/>
                  <a:gd name="T33" fmla="*/ 151 h 239"/>
                  <a:gd name="T34" fmla="*/ 54 w 134"/>
                  <a:gd name="T35" fmla="*/ 138 h 239"/>
                  <a:gd name="T36" fmla="*/ 45 w 134"/>
                  <a:gd name="T37" fmla="*/ 130 h 239"/>
                  <a:gd name="T38" fmla="*/ 54 w 134"/>
                  <a:gd name="T39" fmla="*/ 116 h 239"/>
                  <a:gd name="T40" fmla="*/ 36 w 134"/>
                  <a:gd name="T41" fmla="*/ 121 h 239"/>
                  <a:gd name="T42" fmla="*/ 23 w 134"/>
                  <a:gd name="T43" fmla="*/ 119 h 239"/>
                  <a:gd name="T44" fmla="*/ 19 w 134"/>
                  <a:gd name="T45" fmla="*/ 117 h 239"/>
                  <a:gd name="T46" fmla="*/ 27 w 134"/>
                  <a:gd name="T47" fmla="*/ 101 h 239"/>
                  <a:gd name="T48" fmla="*/ 24 w 134"/>
                  <a:gd name="T49" fmla="*/ 82 h 239"/>
                  <a:gd name="T50" fmla="*/ 22 w 134"/>
                  <a:gd name="T51" fmla="*/ 94 h 239"/>
                  <a:gd name="T52" fmla="*/ 15 w 134"/>
                  <a:gd name="T53" fmla="*/ 86 h 239"/>
                  <a:gd name="T54" fmla="*/ 19 w 134"/>
                  <a:gd name="T55" fmla="*/ 72 h 239"/>
                  <a:gd name="T56" fmla="*/ 19 w 134"/>
                  <a:gd name="T57" fmla="*/ 61 h 239"/>
                  <a:gd name="T58" fmla="*/ 11 w 134"/>
                  <a:gd name="T59" fmla="*/ 65 h 239"/>
                  <a:gd name="T60" fmla="*/ 11 w 134"/>
                  <a:gd name="T61" fmla="*/ 55 h 239"/>
                  <a:gd name="T62" fmla="*/ 12 w 134"/>
                  <a:gd name="T63" fmla="*/ 50 h 239"/>
                  <a:gd name="T64" fmla="*/ 14 w 134"/>
                  <a:gd name="T65" fmla="*/ 43 h 239"/>
                  <a:gd name="T66" fmla="*/ 9 w 134"/>
                  <a:gd name="T67" fmla="*/ 34 h 239"/>
                  <a:gd name="T68" fmla="*/ 20 w 134"/>
                  <a:gd name="T69" fmla="*/ 26 h 239"/>
                  <a:gd name="T70" fmla="*/ 20 w 134"/>
                  <a:gd name="T71" fmla="*/ 13 h 239"/>
                  <a:gd name="T72" fmla="*/ 24 w 134"/>
                  <a:gd name="T73" fmla="*/ 1 h 239"/>
                  <a:gd name="T74" fmla="*/ 39 w 134"/>
                  <a:gd name="T75" fmla="*/ 3 h 239"/>
                  <a:gd name="T76" fmla="*/ 56 w 134"/>
                  <a:gd name="T77" fmla="*/ 4 h 239"/>
                  <a:gd name="T78" fmla="*/ 38 w 134"/>
                  <a:gd name="T79" fmla="*/ 27 h 239"/>
                  <a:gd name="T80" fmla="*/ 34 w 134"/>
                  <a:gd name="T81" fmla="*/ 34 h 239"/>
                  <a:gd name="T82" fmla="*/ 42 w 134"/>
                  <a:gd name="T83" fmla="*/ 36 h 239"/>
                  <a:gd name="T84" fmla="*/ 70 w 134"/>
                  <a:gd name="T85" fmla="*/ 32 h 239"/>
                  <a:gd name="T86" fmla="*/ 69 w 134"/>
                  <a:gd name="T87" fmla="*/ 59 h 239"/>
                  <a:gd name="T88" fmla="*/ 53 w 134"/>
                  <a:gd name="T89" fmla="*/ 75 h 239"/>
                  <a:gd name="T90" fmla="*/ 56 w 134"/>
                  <a:gd name="T91" fmla="*/ 81 h 239"/>
                  <a:gd name="T92" fmla="*/ 54 w 134"/>
                  <a:gd name="T93" fmla="*/ 88 h 239"/>
                  <a:gd name="T94" fmla="*/ 75 w 134"/>
                  <a:gd name="T95" fmla="*/ 97 h 239"/>
                  <a:gd name="T96" fmla="*/ 90 w 134"/>
                  <a:gd name="T97" fmla="*/ 128 h 239"/>
                  <a:gd name="T98" fmla="*/ 107 w 134"/>
                  <a:gd name="T99" fmla="*/ 153 h 239"/>
                  <a:gd name="T100" fmla="*/ 100 w 134"/>
                  <a:gd name="T101" fmla="*/ 150 h 239"/>
                  <a:gd name="T102" fmla="*/ 107 w 134"/>
                  <a:gd name="T103" fmla="*/ 171 h 239"/>
                  <a:gd name="T104" fmla="*/ 134 w 134"/>
                  <a:gd name="T105" fmla="*/ 178 h 239"/>
                  <a:gd name="T106" fmla="*/ 122 w 134"/>
                  <a:gd name="T107" fmla="*/ 193 h 239"/>
                  <a:gd name="T108" fmla="*/ 118 w 134"/>
                  <a:gd name="T109" fmla="*/ 199 h 239"/>
                  <a:gd name="T110" fmla="*/ 113 w 134"/>
                  <a:gd name="T111" fmla="*/ 203 h 239"/>
                  <a:gd name="T112" fmla="*/ 119 w 134"/>
                  <a:gd name="T113" fmla="*/ 206 h 239"/>
                  <a:gd name="T114" fmla="*/ 118 w 134"/>
                  <a:gd name="T115" fmla="*/ 216 h 239"/>
                  <a:gd name="T116" fmla="*/ 86 w 134"/>
                  <a:gd name="T117" fmla="*/ 220 h 239"/>
                  <a:gd name="T118" fmla="*/ 76 w 134"/>
                  <a:gd name="T119" fmla="*/ 220 h 239"/>
                  <a:gd name="T120" fmla="*/ 73 w 134"/>
                  <a:gd name="T121" fmla="*/ 221 h 239"/>
                  <a:gd name="T122" fmla="*/ 59 w 134"/>
                  <a:gd name="T123" fmla="*/ 223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4" h="239">
                    <a:moveTo>
                      <a:pt x="45" y="222"/>
                    </a:moveTo>
                    <a:cubicBezTo>
                      <a:pt x="43" y="223"/>
                      <a:pt x="43" y="224"/>
                      <a:pt x="42" y="224"/>
                    </a:cubicBezTo>
                    <a:cubicBezTo>
                      <a:pt x="41" y="223"/>
                      <a:pt x="41" y="222"/>
                      <a:pt x="40" y="223"/>
                    </a:cubicBezTo>
                    <a:cubicBezTo>
                      <a:pt x="40" y="224"/>
                      <a:pt x="40" y="225"/>
                      <a:pt x="39" y="227"/>
                    </a:cubicBezTo>
                    <a:cubicBezTo>
                      <a:pt x="38" y="229"/>
                      <a:pt x="37" y="231"/>
                      <a:pt x="36" y="232"/>
                    </a:cubicBezTo>
                    <a:cubicBezTo>
                      <a:pt x="35" y="233"/>
                      <a:pt x="34" y="234"/>
                      <a:pt x="33" y="233"/>
                    </a:cubicBezTo>
                    <a:cubicBezTo>
                      <a:pt x="33" y="231"/>
                      <a:pt x="32" y="232"/>
                      <a:pt x="30" y="231"/>
                    </a:cubicBezTo>
                    <a:cubicBezTo>
                      <a:pt x="29" y="231"/>
                      <a:pt x="28" y="231"/>
                      <a:pt x="28" y="230"/>
                    </a:cubicBezTo>
                    <a:cubicBezTo>
                      <a:pt x="27" y="228"/>
                      <a:pt x="28" y="228"/>
                      <a:pt x="27" y="228"/>
                    </a:cubicBezTo>
                    <a:cubicBezTo>
                      <a:pt x="26" y="228"/>
                      <a:pt x="25" y="230"/>
                      <a:pt x="24" y="230"/>
                    </a:cubicBezTo>
                    <a:cubicBezTo>
                      <a:pt x="23" y="230"/>
                      <a:pt x="20" y="231"/>
                      <a:pt x="19" y="231"/>
                    </a:cubicBezTo>
                    <a:cubicBezTo>
                      <a:pt x="17" y="231"/>
                      <a:pt x="16" y="232"/>
                      <a:pt x="15" y="233"/>
                    </a:cubicBezTo>
                    <a:cubicBezTo>
                      <a:pt x="13" y="234"/>
                      <a:pt x="12" y="235"/>
                      <a:pt x="11" y="236"/>
                    </a:cubicBezTo>
                    <a:cubicBezTo>
                      <a:pt x="10" y="237"/>
                      <a:pt x="11" y="237"/>
                      <a:pt x="10" y="238"/>
                    </a:cubicBezTo>
                    <a:cubicBezTo>
                      <a:pt x="9" y="239"/>
                      <a:pt x="9" y="239"/>
                      <a:pt x="8" y="238"/>
                    </a:cubicBezTo>
                    <a:cubicBezTo>
                      <a:pt x="6" y="237"/>
                      <a:pt x="6" y="235"/>
                      <a:pt x="5" y="235"/>
                    </a:cubicBezTo>
                    <a:cubicBezTo>
                      <a:pt x="4" y="236"/>
                      <a:pt x="2" y="236"/>
                      <a:pt x="1" y="237"/>
                    </a:cubicBezTo>
                    <a:cubicBezTo>
                      <a:pt x="0" y="237"/>
                      <a:pt x="0" y="236"/>
                      <a:pt x="0" y="235"/>
                    </a:cubicBezTo>
                    <a:cubicBezTo>
                      <a:pt x="1" y="233"/>
                      <a:pt x="3" y="233"/>
                      <a:pt x="4" y="233"/>
                    </a:cubicBezTo>
                    <a:cubicBezTo>
                      <a:pt x="5" y="232"/>
                      <a:pt x="7" y="232"/>
                      <a:pt x="8" y="231"/>
                    </a:cubicBezTo>
                    <a:cubicBezTo>
                      <a:pt x="9" y="230"/>
                      <a:pt x="11" y="228"/>
                      <a:pt x="12" y="227"/>
                    </a:cubicBezTo>
                    <a:cubicBezTo>
                      <a:pt x="12" y="226"/>
                      <a:pt x="14" y="225"/>
                      <a:pt x="14" y="226"/>
                    </a:cubicBezTo>
                    <a:cubicBezTo>
                      <a:pt x="15" y="226"/>
                      <a:pt x="16" y="224"/>
                      <a:pt x="17" y="223"/>
                    </a:cubicBezTo>
                    <a:cubicBezTo>
                      <a:pt x="19" y="222"/>
                      <a:pt x="20" y="220"/>
                      <a:pt x="21" y="219"/>
                    </a:cubicBezTo>
                    <a:cubicBezTo>
                      <a:pt x="21" y="217"/>
                      <a:pt x="21" y="216"/>
                      <a:pt x="21" y="215"/>
                    </a:cubicBezTo>
                    <a:cubicBezTo>
                      <a:pt x="22" y="213"/>
                      <a:pt x="23" y="214"/>
                      <a:pt x="24" y="215"/>
                    </a:cubicBezTo>
                    <a:cubicBezTo>
                      <a:pt x="24" y="215"/>
                      <a:pt x="27" y="214"/>
                      <a:pt x="27" y="213"/>
                    </a:cubicBezTo>
                    <a:cubicBezTo>
                      <a:pt x="28" y="212"/>
                      <a:pt x="29" y="210"/>
                      <a:pt x="30" y="209"/>
                    </a:cubicBezTo>
                    <a:cubicBezTo>
                      <a:pt x="32" y="209"/>
                      <a:pt x="34" y="210"/>
                      <a:pt x="38" y="209"/>
                    </a:cubicBezTo>
                    <a:cubicBezTo>
                      <a:pt x="42" y="208"/>
                      <a:pt x="44" y="210"/>
                      <a:pt x="46" y="210"/>
                    </a:cubicBezTo>
                    <a:cubicBezTo>
                      <a:pt x="47" y="209"/>
                      <a:pt x="50" y="207"/>
                      <a:pt x="51" y="205"/>
                    </a:cubicBezTo>
                    <a:cubicBezTo>
                      <a:pt x="53" y="204"/>
                      <a:pt x="54" y="203"/>
                      <a:pt x="55" y="202"/>
                    </a:cubicBezTo>
                    <a:cubicBezTo>
                      <a:pt x="57" y="201"/>
                      <a:pt x="58" y="199"/>
                      <a:pt x="60" y="198"/>
                    </a:cubicBezTo>
                    <a:cubicBezTo>
                      <a:pt x="61" y="196"/>
                      <a:pt x="59" y="196"/>
                      <a:pt x="58" y="197"/>
                    </a:cubicBezTo>
                    <a:cubicBezTo>
                      <a:pt x="57" y="199"/>
                      <a:pt x="55" y="201"/>
                      <a:pt x="54" y="201"/>
                    </a:cubicBezTo>
                    <a:cubicBezTo>
                      <a:pt x="53" y="202"/>
                      <a:pt x="51" y="201"/>
                      <a:pt x="50" y="202"/>
                    </a:cubicBezTo>
                    <a:cubicBezTo>
                      <a:pt x="49" y="202"/>
                      <a:pt x="48" y="203"/>
                      <a:pt x="46" y="205"/>
                    </a:cubicBezTo>
                    <a:cubicBezTo>
                      <a:pt x="44" y="206"/>
                      <a:pt x="42" y="207"/>
                      <a:pt x="41" y="206"/>
                    </a:cubicBezTo>
                    <a:cubicBezTo>
                      <a:pt x="39" y="204"/>
                      <a:pt x="37" y="202"/>
                      <a:pt x="36" y="201"/>
                    </a:cubicBezTo>
                    <a:cubicBezTo>
                      <a:pt x="35" y="200"/>
                      <a:pt x="36" y="199"/>
                      <a:pt x="34" y="200"/>
                    </a:cubicBezTo>
                    <a:cubicBezTo>
                      <a:pt x="32" y="201"/>
                      <a:pt x="31" y="202"/>
                      <a:pt x="30" y="202"/>
                    </a:cubicBezTo>
                    <a:cubicBezTo>
                      <a:pt x="28" y="202"/>
                      <a:pt x="28" y="201"/>
                      <a:pt x="29" y="200"/>
                    </a:cubicBezTo>
                    <a:cubicBezTo>
                      <a:pt x="29" y="200"/>
                      <a:pt x="32" y="198"/>
                      <a:pt x="31" y="198"/>
                    </a:cubicBezTo>
                    <a:cubicBezTo>
                      <a:pt x="30" y="198"/>
                      <a:pt x="29" y="200"/>
                      <a:pt x="28" y="199"/>
                    </a:cubicBezTo>
                    <a:cubicBezTo>
                      <a:pt x="27" y="199"/>
                      <a:pt x="27" y="199"/>
                      <a:pt x="26" y="198"/>
                    </a:cubicBezTo>
                    <a:cubicBezTo>
                      <a:pt x="26" y="197"/>
                      <a:pt x="26" y="196"/>
                      <a:pt x="25" y="196"/>
                    </a:cubicBezTo>
                    <a:cubicBezTo>
                      <a:pt x="25" y="196"/>
                      <a:pt x="24" y="197"/>
                      <a:pt x="23" y="197"/>
                    </a:cubicBezTo>
                    <a:cubicBezTo>
                      <a:pt x="22" y="197"/>
                      <a:pt x="21" y="199"/>
                      <a:pt x="19" y="200"/>
                    </a:cubicBezTo>
                    <a:cubicBezTo>
                      <a:pt x="17" y="200"/>
                      <a:pt x="14" y="201"/>
                      <a:pt x="15" y="200"/>
                    </a:cubicBezTo>
                    <a:cubicBezTo>
                      <a:pt x="15" y="199"/>
                      <a:pt x="19" y="196"/>
                      <a:pt x="18" y="196"/>
                    </a:cubicBezTo>
                    <a:cubicBezTo>
                      <a:pt x="17" y="197"/>
                      <a:pt x="16" y="198"/>
                      <a:pt x="14" y="198"/>
                    </a:cubicBezTo>
                    <a:cubicBezTo>
                      <a:pt x="13" y="199"/>
                      <a:pt x="12" y="197"/>
                      <a:pt x="12" y="196"/>
                    </a:cubicBezTo>
                    <a:cubicBezTo>
                      <a:pt x="13" y="195"/>
                      <a:pt x="12" y="195"/>
                      <a:pt x="11" y="194"/>
                    </a:cubicBezTo>
                    <a:cubicBezTo>
                      <a:pt x="11" y="193"/>
                      <a:pt x="12" y="192"/>
                      <a:pt x="14" y="191"/>
                    </a:cubicBezTo>
                    <a:cubicBezTo>
                      <a:pt x="16" y="190"/>
                      <a:pt x="18" y="190"/>
                      <a:pt x="20" y="189"/>
                    </a:cubicBezTo>
                    <a:cubicBezTo>
                      <a:pt x="21" y="189"/>
                      <a:pt x="25" y="188"/>
                      <a:pt x="27" y="187"/>
                    </a:cubicBezTo>
                    <a:cubicBezTo>
                      <a:pt x="29" y="185"/>
                      <a:pt x="31" y="184"/>
                      <a:pt x="32" y="182"/>
                    </a:cubicBezTo>
                    <a:cubicBezTo>
                      <a:pt x="32" y="181"/>
                      <a:pt x="33" y="180"/>
                      <a:pt x="34" y="179"/>
                    </a:cubicBezTo>
                    <a:cubicBezTo>
                      <a:pt x="35" y="178"/>
                      <a:pt x="33" y="179"/>
                      <a:pt x="33" y="178"/>
                    </a:cubicBezTo>
                    <a:cubicBezTo>
                      <a:pt x="32" y="177"/>
                      <a:pt x="32" y="176"/>
                      <a:pt x="33" y="175"/>
                    </a:cubicBezTo>
                    <a:cubicBezTo>
                      <a:pt x="34" y="174"/>
                      <a:pt x="33" y="174"/>
                      <a:pt x="32" y="173"/>
                    </a:cubicBezTo>
                    <a:cubicBezTo>
                      <a:pt x="32" y="173"/>
                      <a:pt x="32" y="172"/>
                      <a:pt x="32" y="171"/>
                    </a:cubicBezTo>
                    <a:cubicBezTo>
                      <a:pt x="32" y="170"/>
                      <a:pt x="32" y="170"/>
                      <a:pt x="30" y="170"/>
                    </a:cubicBezTo>
                    <a:cubicBezTo>
                      <a:pt x="29" y="171"/>
                      <a:pt x="26" y="171"/>
                      <a:pt x="24" y="172"/>
                    </a:cubicBezTo>
                    <a:cubicBezTo>
                      <a:pt x="22" y="173"/>
                      <a:pt x="21" y="173"/>
                      <a:pt x="22" y="171"/>
                    </a:cubicBezTo>
                    <a:cubicBezTo>
                      <a:pt x="23" y="170"/>
                      <a:pt x="25" y="169"/>
                      <a:pt x="27" y="167"/>
                    </a:cubicBezTo>
                    <a:cubicBezTo>
                      <a:pt x="29" y="165"/>
                      <a:pt x="30" y="164"/>
                      <a:pt x="31" y="164"/>
                    </a:cubicBezTo>
                    <a:cubicBezTo>
                      <a:pt x="32" y="163"/>
                      <a:pt x="28" y="165"/>
                      <a:pt x="27" y="164"/>
                    </a:cubicBezTo>
                    <a:cubicBezTo>
                      <a:pt x="26" y="162"/>
                      <a:pt x="25" y="162"/>
                      <a:pt x="26" y="159"/>
                    </a:cubicBezTo>
                    <a:cubicBezTo>
                      <a:pt x="26" y="157"/>
                      <a:pt x="27" y="157"/>
                      <a:pt x="29" y="158"/>
                    </a:cubicBezTo>
                    <a:cubicBezTo>
                      <a:pt x="30" y="159"/>
                      <a:pt x="31" y="159"/>
                      <a:pt x="32" y="160"/>
                    </a:cubicBezTo>
                    <a:cubicBezTo>
                      <a:pt x="33" y="160"/>
                      <a:pt x="34" y="161"/>
                      <a:pt x="33" y="162"/>
                    </a:cubicBezTo>
                    <a:cubicBezTo>
                      <a:pt x="32" y="163"/>
                      <a:pt x="31" y="163"/>
                      <a:pt x="31" y="163"/>
                    </a:cubicBezTo>
                    <a:cubicBezTo>
                      <a:pt x="32" y="163"/>
                      <a:pt x="35" y="161"/>
                      <a:pt x="37" y="161"/>
                    </a:cubicBezTo>
                    <a:cubicBezTo>
                      <a:pt x="39" y="160"/>
                      <a:pt x="40" y="160"/>
                      <a:pt x="41" y="161"/>
                    </a:cubicBezTo>
                    <a:cubicBezTo>
                      <a:pt x="43" y="161"/>
                      <a:pt x="44" y="159"/>
                      <a:pt x="45" y="159"/>
                    </a:cubicBezTo>
                    <a:cubicBezTo>
                      <a:pt x="47" y="159"/>
                      <a:pt x="48" y="159"/>
                      <a:pt x="49" y="160"/>
                    </a:cubicBezTo>
                    <a:cubicBezTo>
                      <a:pt x="50" y="161"/>
                      <a:pt x="52" y="162"/>
                      <a:pt x="51" y="161"/>
                    </a:cubicBezTo>
                    <a:cubicBezTo>
                      <a:pt x="49" y="160"/>
                      <a:pt x="48" y="159"/>
                      <a:pt x="50" y="158"/>
                    </a:cubicBezTo>
                    <a:cubicBezTo>
                      <a:pt x="52" y="157"/>
                      <a:pt x="52" y="158"/>
                      <a:pt x="53" y="159"/>
                    </a:cubicBezTo>
                    <a:cubicBezTo>
                      <a:pt x="55" y="160"/>
                      <a:pt x="54" y="160"/>
                      <a:pt x="56" y="160"/>
                    </a:cubicBezTo>
                    <a:cubicBezTo>
                      <a:pt x="57" y="160"/>
                      <a:pt x="58" y="159"/>
                      <a:pt x="57" y="159"/>
                    </a:cubicBezTo>
                    <a:cubicBezTo>
                      <a:pt x="56" y="159"/>
                      <a:pt x="54" y="160"/>
                      <a:pt x="53" y="157"/>
                    </a:cubicBezTo>
                    <a:cubicBezTo>
                      <a:pt x="51" y="154"/>
                      <a:pt x="51" y="154"/>
                      <a:pt x="52" y="153"/>
                    </a:cubicBezTo>
                    <a:cubicBezTo>
                      <a:pt x="52" y="151"/>
                      <a:pt x="54" y="152"/>
                      <a:pt x="54" y="151"/>
                    </a:cubicBezTo>
                    <a:cubicBezTo>
                      <a:pt x="54" y="149"/>
                      <a:pt x="52" y="149"/>
                      <a:pt x="52" y="147"/>
                    </a:cubicBezTo>
                    <a:cubicBezTo>
                      <a:pt x="52" y="146"/>
                      <a:pt x="53" y="145"/>
                      <a:pt x="54" y="144"/>
                    </a:cubicBezTo>
                    <a:cubicBezTo>
                      <a:pt x="56" y="144"/>
                      <a:pt x="56" y="143"/>
                      <a:pt x="56" y="141"/>
                    </a:cubicBezTo>
                    <a:cubicBezTo>
                      <a:pt x="56" y="139"/>
                      <a:pt x="58" y="137"/>
                      <a:pt x="56" y="137"/>
                    </a:cubicBezTo>
                    <a:cubicBezTo>
                      <a:pt x="55" y="138"/>
                      <a:pt x="54" y="139"/>
                      <a:pt x="54" y="138"/>
                    </a:cubicBezTo>
                    <a:cubicBezTo>
                      <a:pt x="53" y="136"/>
                      <a:pt x="53" y="137"/>
                      <a:pt x="52" y="139"/>
                    </a:cubicBezTo>
                    <a:cubicBezTo>
                      <a:pt x="52" y="141"/>
                      <a:pt x="51" y="141"/>
                      <a:pt x="50" y="140"/>
                    </a:cubicBezTo>
                    <a:cubicBezTo>
                      <a:pt x="50" y="138"/>
                      <a:pt x="51" y="137"/>
                      <a:pt x="50" y="137"/>
                    </a:cubicBezTo>
                    <a:cubicBezTo>
                      <a:pt x="49" y="137"/>
                      <a:pt x="48" y="139"/>
                      <a:pt x="47" y="137"/>
                    </a:cubicBezTo>
                    <a:cubicBezTo>
                      <a:pt x="46" y="134"/>
                      <a:pt x="46" y="132"/>
                      <a:pt x="45" y="130"/>
                    </a:cubicBezTo>
                    <a:cubicBezTo>
                      <a:pt x="43" y="129"/>
                      <a:pt x="44" y="129"/>
                      <a:pt x="44" y="127"/>
                    </a:cubicBezTo>
                    <a:cubicBezTo>
                      <a:pt x="45" y="125"/>
                      <a:pt x="46" y="124"/>
                      <a:pt x="46" y="123"/>
                    </a:cubicBezTo>
                    <a:cubicBezTo>
                      <a:pt x="47" y="122"/>
                      <a:pt x="47" y="121"/>
                      <a:pt x="48" y="120"/>
                    </a:cubicBezTo>
                    <a:cubicBezTo>
                      <a:pt x="49" y="119"/>
                      <a:pt x="50" y="119"/>
                      <a:pt x="52" y="118"/>
                    </a:cubicBezTo>
                    <a:cubicBezTo>
                      <a:pt x="53" y="117"/>
                      <a:pt x="55" y="116"/>
                      <a:pt x="54" y="116"/>
                    </a:cubicBezTo>
                    <a:cubicBezTo>
                      <a:pt x="53" y="116"/>
                      <a:pt x="49" y="116"/>
                      <a:pt x="47" y="116"/>
                    </a:cubicBezTo>
                    <a:cubicBezTo>
                      <a:pt x="45" y="116"/>
                      <a:pt x="45" y="117"/>
                      <a:pt x="45" y="118"/>
                    </a:cubicBezTo>
                    <a:cubicBezTo>
                      <a:pt x="45" y="119"/>
                      <a:pt x="44" y="119"/>
                      <a:pt x="43" y="119"/>
                    </a:cubicBezTo>
                    <a:cubicBezTo>
                      <a:pt x="42" y="118"/>
                      <a:pt x="40" y="121"/>
                      <a:pt x="39" y="122"/>
                    </a:cubicBezTo>
                    <a:cubicBezTo>
                      <a:pt x="37" y="123"/>
                      <a:pt x="37" y="122"/>
                      <a:pt x="36" y="121"/>
                    </a:cubicBezTo>
                    <a:cubicBezTo>
                      <a:pt x="35" y="120"/>
                      <a:pt x="34" y="122"/>
                      <a:pt x="33" y="121"/>
                    </a:cubicBezTo>
                    <a:cubicBezTo>
                      <a:pt x="32" y="120"/>
                      <a:pt x="31" y="119"/>
                      <a:pt x="31" y="120"/>
                    </a:cubicBezTo>
                    <a:cubicBezTo>
                      <a:pt x="31" y="121"/>
                      <a:pt x="32" y="123"/>
                      <a:pt x="31" y="124"/>
                    </a:cubicBezTo>
                    <a:cubicBezTo>
                      <a:pt x="30" y="124"/>
                      <a:pt x="28" y="124"/>
                      <a:pt x="27" y="122"/>
                    </a:cubicBezTo>
                    <a:cubicBezTo>
                      <a:pt x="26" y="121"/>
                      <a:pt x="24" y="119"/>
                      <a:pt x="23" y="119"/>
                    </a:cubicBezTo>
                    <a:cubicBezTo>
                      <a:pt x="22" y="120"/>
                      <a:pt x="20" y="121"/>
                      <a:pt x="21" y="122"/>
                    </a:cubicBezTo>
                    <a:cubicBezTo>
                      <a:pt x="22" y="123"/>
                      <a:pt x="23" y="124"/>
                      <a:pt x="22" y="124"/>
                    </a:cubicBezTo>
                    <a:cubicBezTo>
                      <a:pt x="22" y="125"/>
                      <a:pt x="21" y="124"/>
                      <a:pt x="20" y="122"/>
                    </a:cubicBezTo>
                    <a:cubicBezTo>
                      <a:pt x="18" y="120"/>
                      <a:pt x="17" y="117"/>
                      <a:pt x="17" y="117"/>
                    </a:cubicBezTo>
                    <a:cubicBezTo>
                      <a:pt x="18" y="116"/>
                      <a:pt x="19" y="116"/>
                      <a:pt x="19" y="117"/>
                    </a:cubicBezTo>
                    <a:cubicBezTo>
                      <a:pt x="20" y="118"/>
                      <a:pt x="21" y="118"/>
                      <a:pt x="20" y="116"/>
                    </a:cubicBezTo>
                    <a:cubicBezTo>
                      <a:pt x="20" y="114"/>
                      <a:pt x="19" y="113"/>
                      <a:pt x="21" y="112"/>
                    </a:cubicBezTo>
                    <a:cubicBezTo>
                      <a:pt x="22" y="111"/>
                      <a:pt x="23" y="110"/>
                      <a:pt x="23" y="108"/>
                    </a:cubicBezTo>
                    <a:cubicBezTo>
                      <a:pt x="24" y="107"/>
                      <a:pt x="24" y="105"/>
                      <a:pt x="26" y="104"/>
                    </a:cubicBezTo>
                    <a:cubicBezTo>
                      <a:pt x="27" y="103"/>
                      <a:pt x="28" y="104"/>
                      <a:pt x="27" y="101"/>
                    </a:cubicBezTo>
                    <a:cubicBezTo>
                      <a:pt x="26" y="98"/>
                      <a:pt x="25" y="100"/>
                      <a:pt x="24" y="97"/>
                    </a:cubicBezTo>
                    <a:cubicBezTo>
                      <a:pt x="23" y="94"/>
                      <a:pt x="24" y="89"/>
                      <a:pt x="24" y="89"/>
                    </a:cubicBezTo>
                    <a:cubicBezTo>
                      <a:pt x="25" y="88"/>
                      <a:pt x="25" y="88"/>
                      <a:pt x="27" y="88"/>
                    </a:cubicBezTo>
                    <a:cubicBezTo>
                      <a:pt x="29" y="89"/>
                      <a:pt x="28" y="88"/>
                      <a:pt x="27" y="86"/>
                    </a:cubicBezTo>
                    <a:cubicBezTo>
                      <a:pt x="25" y="85"/>
                      <a:pt x="25" y="83"/>
                      <a:pt x="24" y="82"/>
                    </a:cubicBezTo>
                    <a:cubicBezTo>
                      <a:pt x="24" y="80"/>
                      <a:pt x="23" y="85"/>
                      <a:pt x="23" y="86"/>
                    </a:cubicBezTo>
                    <a:cubicBezTo>
                      <a:pt x="23" y="88"/>
                      <a:pt x="23" y="91"/>
                      <a:pt x="22" y="90"/>
                    </a:cubicBezTo>
                    <a:cubicBezTo>
                      <a:pt x="21" y="89"/>
                      <a:pt x="21" y="88"/>
                      <a:pt x="20" y="89"/>
                    </a:cubicBezTo>
                    <a:cubicBezTo>
                      <a:pt x="19" y="89"/>
                      <a:pt x="18" y="90"/>
                      <a:pt x="19" y="90"/>
                    </a:cubicBezTo>
                    <a:cubicBezTo>
                      <a:pt x="20" y="90"/>
                      <a:pt x="22" y="93"/>
                      <a:pt x="22" y="94"/>
                    </a:cubicBezTo>
                    <a:cubicBezTo>
                      <a:pt x="21" y="94"/>
                      <a:pt x="20" y="93"/>
                      <a:pt x="19" y="92"/>
                    </a:cubicBezTo>
                    <a:cubicBezTo>
                      <a:pt x="18" y="91"/>
                      <a:pt x="17" y="91"/>
                      <a:pt x="16" y="90"/>
                    </a:cubicBezTo>
                    <a:cubicBezTo>
                      <a:pt x="15" y="89"/>
                      <a:pt x="16" y="87"/>
                      <a:pt x="17" y="85"/>
                    </a:cubicBezTo>
                    <a:cubicBezTo>
                      <a:pt x="19" y="84"/>
                      <a:pt x="22" y="79"/>
                      <a:pt x="21" y="79"/>
                    </a:cubicBezTo>
                    <a:cubicBezTo>
                      <a:pt x="20" y="80"/>
                      <a:pt x="16" y="86"/>
                      <a:pt x="15" y="86"/>
                    </a:cubicBezTo>
                    <a:cubicBezTo>
                      <a:pt x="14" y="87"/>
                      <a:pt x="13" y="88"/>
                      <a:pt x="13" y="85"/>
                    </a:cubicBezTo>
                    <a:cubicBezTo>
                      <a:pt x="12" y="83"/>
                      <a:pt x="13" y="82"/>
                      <a:pt x="13" y="79"/>
                    </a:cubicBezTo>
                    <a:cubicBezTo>
                      <a:pt x="13" y="76"/>
                      <a:pt x="12" y="76"/>
                      <a:pt x="14" y="75"/>
                    </a:cubicBezTo>
                    <a:cubicBezTo>
                      <a:pt x="16" y="73"/>
                      <a:pt x="15" y="73"/>
                      <a:pt x="17" y="72"/>
                    </a:cubicBezTo>
                    <a:cubicBezTo>
                      <a:pt x="19" y="72"/>
                      <a:pt x="20" y="73"/>
                      <a:pt x="19" y="72"/>
                    </a:cubicBezTo>
                    <a:cubicBezTo>
                      <a:pt x="18" y="70"/>
                      <a:pt x="16" y="71"/>
                      <a:pt x="16" y="69"/>
                    </a:cubicBezTo>
                    <a:cubicBezTo>
                      <a:pt x="16" y="68"/>
                      <a:pt x="17" y="67"/>
                      <a:pt x="18" y="66"/>
                    </a:cubicBezTo>
                    <a:cubicBezTo>
                      <a:pt x="19" y="66"/>
                      <a:pt x="21" y="67"/>
                      <a:pt x="22" y="65"/>
                    </a:cubicBezTo>
                    <a:cubicBezTo>
                      <a:pt x="22" y="63"/>
                      <a:pt x="19" y="66"/>
                      <a:pt x="19" y="64"/>
                    </a:cubicBezTo>
                    <a:cubicBezTo>
                      <a:pt x="19" y="62"/>
                      <a:pt x="20" y="61"/>
                      <a:pt x="19" y="61"/>
                    </a:cubicBezTo>
                    <a:cubicBezTo>
                      <a:pt x="18" y="62"/>
                      <a:pt x="15" y="67"/>
                      <a:pt x="13" y="69"/>
                    </a:cubicBezTo>
                    <a:cubicBezTo>
                      <a:pt x="12" y="70"/>
                      <a:pt x="12" y="71"/>
                      <a:pt x="10" y="71"/>
                    </a:cubicBezTo>
                    <a:cubicBezTo>
                      <a:pt x="8" y="70"/>
                      <a:pt x="7" y="70"/>
                      <a:pt x="7" y="69"/>
                    </a:cubicBezTo>
                    <a:cubicBezTo>
                      <a:pt x="7" y="67"/>
                      <a:pt x="7" y="66"/>
                      <a:pt x="9" y="66"/>
                    </a:cubicBezTo>
                    <a:cubicBezTo>
                      <a:pt x="11" y="65"/>
                      <a:pt x="12" y="65"/>
                      <a:pt x="11" y="65"/>
                    </a:cubicBezTo>
                    <a:cubicBezTo>
                      <a:pt x="10" y="65"/>
                      <a:pt x="8" y="64"/>
                      <a:pt x="8" y="63"/>
                    </a:cubicBezTo>
                    <a:cubicBezTo>
                      <a:pt x="8" y="61"/>
                      <a:pt x="8" y="61"/>
                      <a:pt x="9" y="61"/>
                    </a:cubicBezTo>
                    <a:cubicBezTo>
                      <a:pt x="11" y="61"/>
                      <a:pt x="10" y="60"/>
                      <a:pt x="9" y="59"/>
                    </a:cubicBezTo>
                    <a:cubicBezTo>
                      <a:pt x="9" y="58"/>
                      <a:pt x="8" y="58"/>
                      <a:pt x="9" y="56"/>
                    </a:cubicBezTo>
                    <a:cubicBezTo>
                      <a:pt x="9" y="55"/>
                      <a:pt x="11" y="54"/>
                      <a:pt x="11" y="55"/>
                    </a:cubicBezTo>
                    <a:cubicBezTo>
                      <a:pt x="12" y="56"/>
                      <a:pt x="13" y="56"/>
                      <a:pt x="12" y="56"/>
                    </a:cubicBezTo>
                    <a:cubicBezTo>
                      <a:pt x="11" y="55"/>
                      <a:pt x="11" y="54"/>
                      <a:pt x="11" y="53"/>
                    </a:cubicBezTo>
                    <a:cubicBezTo>
                      <a:pt x="11" y="52"/>
                      <a:pt x="11" y="51"/>
                      <a:pt x="13" y="52"/>
                    </a:cubicBezTo>
                    <a:cubicBezTo>
                      <a:pt x="14" y="52"/>
                      <a:pt x="15" y="53"/>
                      <a:pt x="15" y="52"/>
                    </a:cubicBezTo>
                    <a:cubicBezTo>
                      <a:pt x="15" y="52"/>
                      <a:pt x="13" y="51"/>
                      <a:pt x="12" y="50"/>
                    </a:cubicBezTo>
                    <a:cubicBezTo>
                      <a:pt x="11" y="50"/>
                      <a:pt x="12" y="48"/>
                      <a:pt x="12" y="47"/>
                    </a:cubicBezTo>
                    <a:cubicBezTo>
                      <a:pt x="12" y="46"/>
                      <a:pt x="13" y="47"/>
                      <a:pt x="14" y="47"/>
                    </a:cubicBezTo>
                    <a:cubicBezTo>
                      <a:pt x="15" y="47"/>
                      <a:pt x="15" y="46"/>
                      <a:pt x="14" y="46"/>
                    </a:cubicBezTo>
                    <a:cubicBezTo>
                      <a:pt x="13" y="45"/>
                      <a:pt x="11" y="45"/>
                      <a:pt x="11" y="44"/>
                    </a:cubicBezTo>
                    <a:cubicBezTo>
                      <a:pt x="12" y="43"/>
                      <a:pt x="13" y="44"/>
                      <a:pt x="14" y="43"/>
                    </a:cubicBezTo>
                    <a:cubicBezTo>
                      <a:pt x="14" y="42"/>
                      <a:pt x="12" y="44"/>
                      <a:pt x="12" y="44"/>
                    </a:cubicBezTo>
                    <a:cubicBezTo>
                      <a:pt x="11" y="44"/>
                      <a:pt x="10" y="43"/>
                      <a:pt x="9" y="41"/>
                    </a:cubicBezTo>
                    <a:cubicBezTo>
                      <a:pt x="9" y="39"/>
                      <a:pt x="9" y="37"/>
                      <a:pt x="10" y="38"/>
                    </a:cubicBezTo>
                    <a:cubicBezTo>
                      <a:pt x="11" y="38"/>
                      <a:pt x="14" y="39"/>
                      <a:pt x="13" y="38"/>
                    </a:cubicBezTo>
                    <a:cubicBezTo>
                      <a:pt x="11" y="36"/>
                      <a:pt x="10" y="36"/>
                      <a:pt x="9" y="34"/>
                    </a:cubicBezTo>
                    <a:cubicBezTo>
                      <a:pt x="9" y="31"/>
                      <a:pt x="9" y="29"/>
                      <a:pt x="10" y="28"/>
                    </a:cubicBezTo>
                    <a:cubicBezTo>
                      <a:pt x="10" y="27"/>
                      <a:pt x="11" y="27"/>
                      <a:pt x="12" y="27"/>
                    </a:cubicBezTo>
                    <a:cubicBezTo>
                      <a:pt x="13" y="27"/>
                      <a:pt x="14" y="27"/>
                      <a:pt x="15" y="27"/>
                    </a:cubicBezTo>
                    <a:cubicBezTo>
                      <a:pt x="16" y="26"/>
                      <a:pt x="16" y="25"/>
                      <a:pt x="17" y="26"/>
                    </a:cubicBezTo>
                    <a:cubicBezTo>
                      <a:pt x="18" y="27"/>
                      <a:pt x="19" y="27"/>
                      <a:pt x="20" y="26"/>
                    </a:cubicBezTo>
                    <a:cubicBezTo>
                      <a:pt x="20" y="26"/>
                      <a:pt x="19" y="23"/>
                      <a:pt x="18" y="23"/>
                    </a:cubicBezTo>
                    <a:cubicBezTo>
                      <a:pt x="17" y="22"/>
                      <a:pt x="16" y="21"/>
                      <a:pt x="17" y="20"/>
                    </a:cubicBezTo>
                    <a:cubicBezTo>
                      <a:pt x="17" y="19"/>
                      <a:pt x="19" y="21"/>
                      <a:pt x="18" y="19"/>
                    </a:cubicBezTo>
                    <a:cubicBezTo>
                      <a:pt x="17" y="16"/>
                      <a:pt x="17" y="16"/>
                      <a:pt x="18" y="15"/>
                    </a:cubicBezTo>
                    <a:cubicBezTo>
                      <a:pt x="19" y="13"/>
                      <a:pt x="19" y="13"/>
                      <a:pt x="20" y="13"/>
                    </a:cubicBezTo>
                    <a:cubicBezTo>
                      <a:pt x="22" y="13"/>
                      <a:pt x="23" y="15"/>
                      <a:pt x="23" y="13"/>
                    </a:cubicBezTo>
                    <a:cubicBezTo>
                      <a:pt x="22" y="12"/>
                      <a:pt x="20" y="12"/>
                      <a:pt x="21" y="11"/>
                    </a:cubicBezTo>
                    <a:cubicBezTo>
                      <a:pt x="22" y="10"/>
                      <a:pt x="23" y="9"/>
                      <a:pt x="23" y="9"/>
                    </a:cubicBezTo>
                    <a:cubicBezTo>
                      <a:pt x="23" y="8"/>
                      <a:pt x="23" y="7"/>
                      <a:pt x="23" y="5"/>
                    </a:cubicBezTo>
                    <a:cubicBezTo>
                      <a:pt x="23" y="2"/>
                      <a:pt x="23" y="1"/>
                      <a:pt x="24" y="1"/>
                    </a:cubicBezTo>
                    <a:cubicBezTo>
                      <a:pt x="25" y="1"/>
                      <a:pt x="26" y="2"/>
                      <a:pt x="26" y="3"/>
                    </a:cubicBezTo>
                    <a:cubicBezTo>
                      <a:pt x="27" y="4"/>
                      <a:pt x="27" y="6"/>
                      <a:pt x="28" y="5"/>
                    </a:cubicBezTo>
                    <a:cubicBezTo>
                      <a:pt x="29" y="5"/>
                      <a:pt x="31" y="3"/>
                      <a:pt x="32" y="3"/>
                    </a:cubicBezTo>
                    <a:cubicBezTo>
                      <a:pt x="32" y="4"/>
                      <a:pt x="32" y="5"/>
                      <a:pt x="33" y="5"/>
                    </a:cubicBezTo>
                    <a:cubicBezTo>
                      <a:pt x="34" y="5"/>
                      <a:pt x="37" y="3"/>
                      <a:pt x="39" y="3"/>
                    </a:cubicBezTo>
                    <a:cubicBezTo>
                      <a:pt x="40" y="3"/>
                      <a:pt x="41" y="3"/>
                      <a:pt x="42" y="3"/>
                    </a:cubicBezTo>
                    <a:cubicBezTo>
                      <a:pt x="44" y="3"/>
                      <a:pt x="45" y="0"/>
                      <a:pt x="46" y="1"/>
                    </a:cubicBezTo>
                    <a:cubicBezTo>
                      <a:pt x="48" y="2"/>
                      <a:pt x="49" y="3"/>
                      <a:pt x="50" y="2"/>
                    </a:cubicBezTo>
                    <a:cubicBezTo>
                      <a:pt x="51" y="1"/>
                      <a:pt x="51" y="0"/>
                      <a:pt x="53" y="0"/>
                    </a:cubicBezTo>
                    <a:cubicBezTo>
                      <a:pt x="55" y="1"/>
                      <a:pt x="56" y="2"/>
                      <a:pt x="56" y="4"/>
                    </a:cubicBezTo>
                    <a:cubicBezTo>
                      <a:pt x="56" y="5"/>
                      <a:pt x="55" y="10"/>
                      <a:pt x="54" y="11"/>
                    </a:cubicBezTo>
                    <a:cubicBezTo>
                      <a:pt x="54" y="11"/>
                      <a:pt x="52" y="11"/>
                      <a:pt x="51" y="13"/>
                    </a:cubicBezTo>
                    <a:cubicBezTo>
                      <a:pt x="49" y="16"/>
                      <a:pt x="47" y="18"/>
                      <a:pt x="45" y="20"/>
                    </a:cubicBezTo>
                    <a:cubicBezTo>
                      <a:pt x="43" y="21"/>
                      <a:pt x="42" y="23"/>
                      <a:pt x="41" y="24"/>
                    </a:cubicBezTo>
                    <a:cubicBezTo>
                      <a:pt x="40" y="24"/>
                      <a:pt x="38" y="25"/>
                      <a:pt x="38" y="27"/>
                    </a:cubicBezTo>
                    <a:cubicBezTo>
                      <a:pt x="39" y="28"/>
                      <a:pt x="36" y="27"/>
                      <a:pt x="35" y="27"/>
                    </a:cubicBezTo>
                    <a:cubicBezTo>
                      <a:pt x="34" y="26"/>
                      <a:pt x="33" y="27"/>
                      <a:pt x="35" y="27"/>
                    </a:cubicBezTo>
                    <a:cubicBezTo>
                      <a:pt x="36" y="28"/>
                      <a:pt x="38" y="28"/>
                      <a:pt x="40" y="28"/>
                    </a:cubicBezTo>
                    <a:cubicBezTo>
                      <a:pt x="42" y="28"/>
                      <a:pt x="43" y="29"/>
                      <a:pt x="42" y="30"/>
                    </a:cubicBezTo>
                    <a:cubicBezTo>
                      <a:pt x="40" y="32"/>
                      <a:pt x="35" y="32"/>
                      <a:pt x="34" y="34"/>
                    </a:cubicBezTo>
                    <a:cubicBezTo>
                      <a:pt x="32" y="36"/>
                      <a:pt x="32" y="36"/>
                      <a:pt x="33" y="35"/>
                    </a:cubicBezTo>
                    <a:cubicBezTo>
                      <a:pt x="35" y="35"/>
                      <a:pt x="35" y="34"/>
                      <a:pt x="37" y="33"/>
                    </a:cubicBezTo>
                    <a:cubicBezTo>
                      <a:pt x="39" y="33"/>
                      <a:pt x="39" y="34"/>
                      <a:pt x="39" y="35"/>
                    </a:cubicBezTo>
                    <a:cubicBezTo>
                      <a:pt x="38" y="37"/>
                      <a:pt x="35" y="40"/>
                      <a:pt x="36" y="40"/>
                    </a:cubicBezTo>
                    <a:cubicBezTo>
                      <a:pt x="37" y="39"/>
                      <a:pt x="40" y="37"/>
                      <a:pt x="42" y="36"/>
                    </a:cubicBezTo>
                    <a:cubicBezTo>
                      <a:pt x="43" y="35"/>
                      <a:pt x="45" y="35"/>
                      <a:pt x="47" y="33"/>
                    </a:cubicBezTo>
                    <a:cubicBezTo>
                      <a:pt x="50" y="31"/>
                      <a:pt x="50" y="31"/>
                      <a:pt x="52" y="33"/>
                    </a:cubicBezTo>
                    <a:cubicBezTo>
                      <a:pt x="54" y="35"/>
                      <a:pt x="55" y="34"/>
                      <a:pt x="57" y="33"/>
                    </a:cubicBezTo>
                    <a:cubicBezTo>
                      <a:pt x="59" y="33"/>
                      <a:pt x="61" y="33"/>
                      <a:pt x="63" y="33"/>
                    </a:cubicBezTo>
                    <a:cubicBezTo>
                      <a:pt x="65" y="33"/>
                      <a:pt x="68" y="33"/>
                      <a:pt x="70" y="32"/>
                    </a:cubicBezTo>
                    <a:cubicBezTo>
                      <a:pt x="72" y="31"/>
                      <a:pt x="73" y="33"/>
                      <a:pt x="75" y="34"/>
                    </a:cubicBezTo>
                    <a:cubicBezTo>
                      <a:pt x="77" y="36"/>
                      <a:pt x="76" y="38"/>
                      <a:pt x="76" y="40"/>
                    </a:cubicBezTo>
                    <a:cubicBezTo>
                      <a:pt x="76" y="42"/>
                      <a:pt x="75" y="45"/>
                      <a:pt x="74" y="46"/>
                    </a:cubicBezTo>
                    <a:cubicBezTo>
                      <a:pt x="73" y="48"/>
                      <a:pt x="73" y="48"/>
                      <a:pt x="72" y="50"/>
                    </a:cubicBezTo>
                    <a:cubicBezTo>
                      <a:pt x="72" y="53"/>
                      <a:pt x="70" y="58"/>
                      <a:pt x="69" y="59"/>
                    </a:cubicBezTo>
                    <a:cubicBezTo>
                      <a:pt x="68" y="60"/>
                      <a:pt x="66" y="63"/>
                      <a:pt x="65" y="65"/>
                    </a:cubicBezTo>
                    <a:cubicBezTo>
                      <a:pt x="64" y="66"/>
                      <a:pt x="64" y="70"/>
                      <a:pt x="62" y="70"/>
                    </a:cubicBezTo>
                    <a:cubicBezTo>
                      <a:pt x="61" y="71"/>
                      <a:pt x="59" y="71"/>
                      <a:pt x="58" y="71"/>
                    </a:cubicBezTo>
                    <a:cubicBezTo>
                      <a:pt x="56" y="71"/>
                      <a:pt x="53" y="75"/>
                      <a:pt x="51" y="75"/>
                    </a:cubicBezTo>
                    <a:cubicBezTo>
                      <a:pt x="50" y="76"/>
                      <a:pt x="51" y="76"/>
                      <a:pt x="53" y="75"/>
                    </a:cubicBezTo>
                    <a:cubicBezTo>
                      <a:pt x="55" y="74"/>
                      <a:pt x="56" y="73"/>
                      <a:pt x="58" y="73"/>
                    </a:cubicBezTo>
                    <a:cubicBezTo>
                      <a:pt x="60" y="72"/>
                      <a:pt x="59" y="74"/>
                      <a:pt x="59" y="75"/>
                    </a:cubicBezTo>
                    <a:cubicBezTo>
                      <a:pt x="59" y="77"/>
                      <a:pt x="60" y="76"/>
                      <a:pt x="61" y="77"/>
                    </a:cubicBezTo>
                    <a:cubicBezTo>
                      <a:pt x="62" y="77"/>
                      <a:pt x="62" y="80"/>
                      <a:pt x="61" y="80"/>
                    </a:cubicBezTo>
                    <a:cubicBezTo>
                      <a:pt x="61" y="80"/>
                      <a:pt x="58" y="80"/>
                      <a:pt x="56" y="81"/>
                    </a:cubicBezTo>
                    <a:cubicBezTo>
                      <a:pt x="55" y="81"/>
                      <a:pt x="54" y="83"/>
                      <a:pt x="52" y="84"/>
                    </a:cubicBezTo>
                    <a:cubicBezTo>
                      <a:pt x="51" y="85"/>
                      <a:pt x="51" y="87"/>
                      <a:pt x="49" y="86"/>
                    </a:cubicBezTo>
                    <a:cubicBezTo>
                      <a:pt x="48" y="86"/>
                      <a:pt x="44" y="85"/>
                      <a:pt x="42" y="84"/>
                    </a:cubicBezTo>
                    <a:cubicBezTo>
                      <a:pt x="41" y="83"/>
                      <a:pt x="44" y="85"/>
                      <a:pt x="46" y="86"/>
                    </a:cubicBezTo>
                    <a:cubicBezTo>
                      <a:pt x="48" y="87"/>
                      <a:pt x="52" y="88"/>
                      <a:pt x="54" y="88"/>
                    </a:cubicBezTo>
                    <a:cubicBezTo>
                      <a:pt x="56" y="88"/>
                      <a:pt x="57" y="88"/>
                      <a:pt x="58" y="86"/>
                    </a:cubicBezTo>
                    <a:cubicBezTo>
                      <a:pt x="59" y="84"/>
                      <a:pt x="61" y="84"/>
                      <a:pt x="62" y="85"/>
                    </a:cubicBezTo>
                    <a:cubicBezTo>
                      <a:pt x="63" y="87"/>
                      <a:pt x="66" y="88"/>
                      <a:pt x="67" y="88"/>
                    </a:cubicBezTo>
                    <a:cubicBezTo>
                      <a:pt x="68" y="89"/>
                      <a:pt x="70" y="88"/>
                      <a:pt x="71" y="90"/>
                    </a:cubicBezTo>
                    <a:cubicBezTo>
                      <a:pt x="72" y="92"/>
                      <a:pt x="73" y="96"/>
                      <a:pt x="75" y="97"/>
                    </a:cubicBezTo>
                    <a:cubicBezTo>
                      <a:pt x="77" y="98"/>
                      <a:pt x="78" y="99"/>
                      <a:pt x="79" y="101"/>
                    </a:cubicBezTo>
                    <a:cubicBezTo>
                      <a:pt x="80" y="103"/>
                      <a:pt x="80" y="105"/>
                      <a:pt x="80" y="108"/>
                    </a:cubicBezTo>
                    <a:cubicBezTo>
                      <a:pt x="80" y="110"/>
                      <a:pt x="82" y="115"/>
                      <a:pt x="82" y="118"/>
                    </a:cubicBezTo>
                    <a:cubicBezTo>
                      <a:pt x="83" y="120"/>
                      <a:pt x="85" y="125"/>
                      <a:pt x="86" y="127"/>
                    </a:cubicBezTo>
                    <a:cubicBezTo>
                      <a:pt x="87" y="128"/>
                      <a:pt x="87" y="125"/>
                      <a:pt x="90" y="128"/>
                    </a:cubicBezTo>
                    <a:cubicBezTo>
                      <a:pt x="94" y="130"/>
                      <a:pt x="96" y="130"/>
                      <a:pt x="97" y="132"/>
                    </a:cubicBezTo>
                    <a:cubicBezTo>
                      <a:pt x="98" y="134"/>
                      <a:pt x="99" y="136"/>
                      <a:pt x="101" y="137"/>
                    </a:cubicBezTo>
                    <a:cubicBezTo>
                      <a:pt x="102" y="138"/>
                      <a:pt x="103" y="140"/>
                      <a:pt x="103" y="141"/>
                    </a:cubicBezTo>
                    <a:cubicBezTo>
                      <a:pt x="102" y="142"/>
                      <a:pt x="103" y="147"/>
                      <a:pt x="105" y="148"/>
                    </a:cubicBezTo>
                    <a:cubicBezTo>
                      <a:pt x="106" y="150"/>
                      <a:pt x="107" y="152"/>
                      <a:pt x="107" y="153"/>
                    </a:cubicBezTo>
                    <a:cubicBezTo>
                      <a:pt x="107" y="153"/>
                      <a:pt x="105" y="153"/>
                      <a:pt x="104" y="152"/>
                    </a:cubicBezTo>
                    <a:cubicBezTo>
                      <a:pt x="103" y="151"/>
                      <a:pt x="102" y="151"/>
                      <a:pt x="101" y="150"/>
                    </a:cubicBezTo>
                    <a:cubicBezTo>
                      <a:pt x="100" y="149"/>
                      <a:pt x="98" y="150"/>
                      <a:pt x="96" y="150"/>
                    </a:cubicBezTo>
                    <a:cubicBezTo>
                      <a:pt x="95" y="150"/>
                      <a:pt x="92" y="150"/>
                      <a:pt x="93" y="150"/>
                    </a:cubicBezTo>
                    <a:cubicBezTo>
                      <a:pt x="94" y="151"/>
                      <a:pt x="98" y="150"/>
                      <a:pt x="100" y="150"/>
                    </a:cubicBezTo>
                    <a:cubicBezTo>
                      <a:pt x="101" y="151"/>
                      <a:pt x="102" y="152"/>
                      <a:pt x="104" y="154"/>
                    </a:cubicBezTo>
                    <a:cubicBezTo>
                      <a:pt x="106" y="156"/>
                      <a:pt x="109" y="158"/>
                      <a:pt x="110" y="160"/>
                    </a:cubicBezTo>
                    <a:cubicBezTo>
                      <a:pt x="111" y="161"/>
                      <a:pt x="111" y="165"/>
                      <a:pt x="110" y="165"/>
                    </a:cubicBezTo>
                    <a:cubicBezTo>
                      <a:pt x="109" y="166"/>
                      <a:pt x="106" y="168"/>
                      <a:pt x="105" y="169"/>
                    </a:cubicBezTo>
                    <a:cubicBezTo>
                      <a:pt x="104" y="171"/>
                      <a:pt x="105" y="170"/>
                      <a:pt x="107" y="171"/>
                    </a:cubicBezTo>
                    <a:cubicBezTo>
                      <a:pt x="108" y="171"/>
                      <a:pt x="109" y="174"/>
                      <a:pt x="110" y="173"/>
                    </a:cubicBezTo>
                    <a:cubicBezTo>
                      <a:pt x="111" y="172"/>
                      <a:pt x="113" y="169"/>
                      <a:pt x="115" y="169"/>
                    </a:cubicBezTo>
                    <a:cubicBezTo>
                      <a:pt x="117" y="168"/>
                      <a:pt x="120" y="168"/>
                      <a:pt x="122" y="168"/>
                    </a:cubicBezTo>
                    <a:cubicBezTo>
                      <a:pt x="125" y="168"/>
                      <a:pt x="131" y="171"/>
                      <a:pt x="132" y="173"/>
                    </a:cubicBezTo>
                    <a:cubicBezTo>
                      <a:pt x="133" y="174"/>
                      <a:pt x="134" y="177"/>
                      <a:pt x="134" y="178"/>
                    </a:cubicBezTo>
                    <a:cubicBezTo>
                      <a:pt x="134" y="180"/>
                      <a:pt x="134" y="181"/>
                      <a:pt x="133" y="183"/>
                    </a:cubicBezTo>
                    <a:cubicBezTo>
                      <a:pt x="131" y="185"/>
                      <a:pt x="131" y="187"/>
                      <a:pt x="131" y="188"/>
                    </a:cubicBezTo>
                    <a:cubicBezTo>
                      <a:pt x="131" y="189"/>
                      <a:pt x="129" y="189"/>
                      <a:pt x="128" y="190"/>
                    </a:cubicBezTo>
                    <a:cubicBezTo>
                      <a:pt x="126" y="192"/>
                      <a:pt x="125" y="191"/>
                      <a:pt x="124" y="191"/>
                    </a:cubicBezTo>
                    <a:cubicBezTo>
                      <a:pt x="123" y="191"/>
                      <a:pt x="121" y="192"/>
                      <a:pt x="122" y="193"/>
                    </a:cubicBezTo>
                    <a:cubicBezTo>
                      <a:pt x="123" y="193"/>
                      <a:pt x="125" y="193"/>
                      <a:pt x="125" y="194"/>
                    </a:cubicBezTo>
                    <a:cubicBezTo>
                      <a:pt x="125" y="195"/>
                      <a:pt x="123" y="196"/>
                      <a:pt x="122" y="196"/>
                    </a:cubicBezTo>
                    <a:cubicBezTo>
                      <a:pt x="120" y="196"/>
                      <a:pt x="119" y="195"/>
                      <a:pt x="119" y="196"/>
                    </a:cubicBezTo>
                    <a:cubicBezTo>
                      <a:pt x="118" y="196"/>
                      <a:pt x="116" y="197"/>
                      <a:pt x="115" y="198"/>
                    </a:cubicBezTo>
                    <a:cubicBezTo>
                      <a:pt x="115" y="198"/>
                      <a:pt x="118" y="198"/>
                      <a:pt x="118" y="199"/>
                    </a:cubicBezTo>
                    <a:cubicBezTo>
                      <a:pt x="119" y="200"/>
                      <a:pt x="119" y="200"/>
                      <a:pt x="118" y="201"/>
                    </a:cubicBezTo>
                    <a:cubicBezTo>
                      <a:pt x="117" y="201"/>
                      <a:pt x="115" y="202"/>
                      <a:pt x="114" y="202"/>
                    </a:cubicBezTo>
                    <a:cubicBezTo>
                      <a:pt x="113" y="202"/>
                      <a:pt x="110" y="203"/>
                      <a:pt x="110" y="203"/>
                    </a:cubicBezTo>
                    <a:cubicBezTo>
                      <a:pt x="110" y="203"/>
                      <a:pt x="109" y="204"/>
                      <a:pt x="110" y="204"/>
                    </a:cubicBezTo>
                    <a:cubicBezTo>
                      <a:pt x="110" y="203"/>
                      <a:pt x="112" y="203"/>
                      <a:pt x="113" y="203"/>
                    </a:cubicBezTo>
                    <a:cubicBezTo>
                      <a:pt x="114" y="202"/>
                      <a:pt x="115" y="203"/>
                      <a:pt x="114" y="204"/>
                    </a:cubicBezTo>
                    <a:cubicBezTo>
                      <a:pt x="113" y="205"/>
                      <a:pt x="112" y="205"/>
                      <a:pt x="113" y="206"/>
                    </a:cubicBezTo>
                    <a:cubicBezTo>
                      <a:pt x="114" y="206"/>
                      <a:pt x="115" y="206"/>
                      <a:pt x="116" y="206"/>
                    </a:cubicBezTo>
                    <a:cubicBezTo>
                      <a:pt x="116" y="206"/>
                      <a:pt x="116" y="203"/>
                      <a:pt x="117" y="204"/>
                    </a:cubicBezTo>
                    <a:cubicBezTo>
                      <a:pt x="118" y="205"/>
                      <a:pt x="118" y="207"/>
                      <a:pt x="119" y="206"/>
                    </a:cubicBezTo>
                    <a:cubicBezTo>
                      <a:pt x="121" y="206"/>
                      <a:pt x="124" y="205"/>
                      <a:pt x="125" y="206"/>
                    </a:cubicBezTo>
                    <a:cubicBezTo>
                      <a:pt x="126" y="206"/>
                      <a:pt x="126" y="208"/>
                      <a:pt x="126" y="208"/>
                    </a:cubicBezTo>
                    <a:cubicBezTo>
                      <a:pt x="126" y="208"/>
                      <a:pt x="126" y="209"/>
                      <a:pt x="125" y="210"/>
                    </a:cubicBezTo>
                    <a:cubicBezTo>
                      <a:pt x="124" y="212"/>
                      <a:pt x="121" y="212"/>
                      <a:pt x="119" y="213"/>
                    </a:cubicBezTo>
                    <a:cubicBezTo>
                      <a:pt x="118" y="215"/>
                      <a:pt x="120" y="216"/>
                      <a:pt x="118" y="216"/>
                    </a:cubicBezTo>
                    <a:cubicBezTo>
                      <a:pt x="116" y="217"/>
                      <a:pt x="112" y="218"/>
                      <a:pt x="111" y="218"/>
                    </a:cubicBezTo>
                    <a:cubicBezTo>
                      <a:pt x="109" y="219"/>
                      <a:pt x="106" y="220"/>
                      <a:pt x="105" y="220"/>
                    </a:cubicBezTo>
                    <a:cubicBezTo>
                      <a:pt x="104" y="221"/>
                      <a:pt x="101" y="219"/>
                      <a:pt x="100" y="219"/>
                    </a:cubicBezTo>
                    <a:cubicBezTo>
                      <a:pt x="99" y="219"/>
                      <a:pt x="93" y="219"/>
                      <a:pt x="92" y="219"/>
                    </a:cubicBezTo>
                    <a:cubicBezTo>
                      <a:pt x="91" y="220"/>
                      <a:pt x="87" y="220"/>
                      <a:pt x="86" y="220"/>
                    </a:cubicBezTo>
                    <a:cubicBezTo>
                      <a:pt x="85" y="219"/>
                      <a:pt x="85" y="218"/>
                      <a:pt x="84" y="218"/>
                    </a:cubicBezTo>
                    <a:cubicBezTo>
                      <a:pt x="83" y="219"/>
                      <a:pt x="83" y="219"/>
                      <a:pt x="82" y="219"/>
                    </a:cubicBezTo>
                    <a:cubicBezTo>
                      <a:pt x="81" y="218"/>
                      <a:pt x="79" y="218"/>
                      <a:pt x="78" y="218"/>
                    </a:cubicBezTo>
                    <a:cubicBezTo>
                      <a:pt x="77" y="218"/>
                      <a:pt x="77" y="217"/>
                      <a:pt x="77" y="217"/>
                    </a:cubicBezTo>
                    <a:cubicBezTo>
                      <a:pt x="77" y="218"/>
                      <a:pt x="77" y="219"/>
                      <a:pt x="76" y="220"/>
                    </a:cubicBezTo>
                    <a:cubicBezTo>
                      <a:pt x="75" y="220"/>
                      <a:pt x="80" y="220"/>
                      <a:pt x="81" y="221"/>
                    </a:cubicBezTo>
                    <a:cubicBezTo>
                      <a:pt x="83" y="221"/>
                      <a:pt x="83" y="222"/>
                      <a:pt x="80" y="224"/>
                    </a:cubicBezTo>
                    <a:cubicBezTo>
                      <a:pt x="78" y="225"/>
                      <a:pt x="76" y="224"/>
                      <a:pt x="76" y="223"/>
                    </a:cubicBezTo>
                    <a:cubicBezTo>
                      <a:pt x="75" y="222"/>
                      <a:pt x="76" y="221"/>
                      <a:pt x="75" y="221"/>
                    </a:cubicBezTo>
                    <a:cubicBezTo>
                      <a:pt x="75" y="220"/>
                      <a:pt x="76" y="221"/>
                      <a:pt x="73" y="221"/>
                    </a:cubicBezTo>
                    <a:cubicBezTo>
                      <a:pt x="70" y="221"/>
                      <a:pt x="69" y="221"/>
                      <a:pt x="67" y="221"/>
                    </a:cubicBezTo>
                    <a:cubicBezTo>
                      <a:pt x="66" y="221"/>
                      <a:pt x="64" y="221"/>
                      <a:pt x="64" y="221"/>
                    </a:cubicBezTo>
                    <a:cubicBezTo>
                      <a:pt x="64" y="221"/>
                      <a:pt x="67" y="222"/>
                      <a:pt x="66" y="223"/>
                    </a:cubicBezTo>
                    <a:cubicBezTo>
                      <a:pt x="65" y="225"/>
                      <a:pt x="63" y="225"/>
                      <a:pt x="63" y="224"/>
                    </a:cubicBezTo>
                    <a:cubicBezTo>
                      <a:pt x="62" y="223"/>
                      <a:pt x="60" y="222"/>
                      <a:pt x="59" y="223"/>
                    </a:cubicBezTo>
                    <a:cubicBezTo>
                      <a:pt x="59" y="225"/>
                      <a:pt x="60" y="227"/>
                      <a:pt x="58" y="225"/>
                    </a:cubicBezTo>
                    <a:cubicBezTo>
                      <a:pt x="56" y="224"/>
                      <a:pt x="54" y="222"/>
                      <a:pt x="53" y="221"/>
                    </a:cubicBezTo>
                    <a:cubicBezTo>
                      <a:pt x="52" y="221"/>
                      <a:pt x="47" y="220"/>
                      <a:pt x="45" y="222"/>
                    </a:cubicBezTo>
                    <a:close/>
                  </a:path>
                </a:pathLst>
              </a:custGeom>
              <a:solidFill>
                <a:srgbClr val="8D8F92"/>
              </a:solid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06" name="Freeform 127"/>
              <p:cNvSpPr>
                <a:spLocks/>
              </p:cNvSpPr>
              <p:nvPr/>
            </p:nvSpPr>
            <p:spPr bwMode="gray">
              <a:xfrm>
                <a:off x="1482" y="2577"/>
                <a:ext cx="13" cy="24"/>
              </a:xfrm>
              <a:custGeom>
                <a:avLst/>
                <a:gdLst>
                  <a:gd name="T0" fmla="*/ 2 w 5"/>
                  <a:gd name="T1" fmla="*/ 1 h 9"/>
                  <a:gd name="T2" fmla="*/ 0 w 5"/>
                  <a:gd name="T3" fmla="*/ 4 h 9"/>
                  <a:gd name="T4" fmla="*/ 3 w 5"/>
                  <a:gd name="T5" fmla="*/ 9 h 9"/>
                  <a:gd name="T6" fmla="*/ 5 w 5"/>
                  <a:gd name="T7" fmla="*/ 6 h 9"/>
                  <a:gd name="T8" fmla="*/ 2 w 5"/>
                  <a:gd name="T9" fmla="*/ 1 h 9"/>
                </a:gdLst>
                <a:ahLst/>
                <a:cxnLst>
                  <a:cxn ang="0">
                    <a:pos x="T0" y="T1"/>
                  </a:cxn>
                  <a:cxn ang="0">
                    <a:pos x="T2" y="T3"/>
                  </a:cxn>
                  <a:cxn ang="0">
                    <a:pos x="T4" y="T5"/>
                  </a:cxn>
                  <a:cxn ang="0">
                    <a:pos x="T6" y="T7"/>
                  </a:cxn>
                  <a:cxn ang="0">
                    <a:pos x="T8" y="T9"/>
                  </a:cxn>
                </a:cxnLst>
                <a:rect l="0" t="0" r="r" b="b"/>
                <a:pathLst>
                  <a:path w="5" h="9">
                    <a:moveTo>
                      <a:pt x="2" y="1"/>
                    </a:moveTo>
                    <a:cubicBezTo>
                      <a:pt x="1" y="1"/>
                      <a:pt x="0" y="1"/>
                      <a:pt x="0" y="4"/>
                    </a:cubicBezTo>
                    <a:cubicBezTo>
                      <a:pt x="1" y="7"/>
                      <a:pt x="2" y="9"/>
                      <a:pt x="3" y="9"/>
                    </a:cubicBezTo>
                    <a:cubicBezTo>
                      <a:pt x="4" y="9"/>
                      <a:pt x="5" y="8"/>
                      <a:pt x="5" y="6"/>
                    </a:cubicBezTo>
                    <a:cubicBezTo>
                      <a:pt x="4" y="4"/>
                      <a:pt x="3" y="0"/>
                      <a:pt x="2"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07" name="Freeform 128"/>
              <p:cNvSpPr>
                <a:spLocks/>
              </p:cNvSpPr>
              <p:nvPr/>
            </p:nvSpPr>
            <p:spPr bwMode="gray">
              <a:xfrm>
                <a:off x="1464" y="2559"/>
                <a:ext cx="18" cy="55"/>
              </a:xfrm>
              <a:custGeom>
                <a:avLst/>
                <a:gdLst>
                  <a:gd name="T0" fmla="*/ 5 w 7"/>
                  <a:gd name="T1" fmla="*/ 0 h 21"/>
                  <a:gd name="T2" fmla="*/ 7 w 7"/>
                  <a:gd name="T3" fmla="*/ 5 h 21"/>
                  <a:gd name="T4" fmla="*/ 5 w 7"/>
                  <a:gd name="T5" fmla="*/ 11 h 21"/>
                  <a:gd name="T6" fmla="*/ 4 w 7"/>
                  <a:gd name="T7" fmla="*/ 17 h 21"/>
                  <a:gd name="T8" fmla="*/ 0 w 7"/>
                  <a:gd name="T9" fmla="*/ 20 h 21"/>
                  <a:gd name="T10" fmla="*/ 1 w 7"/>
                  <a:gd name="T11" fmla="*/ 16 h 21"/>
                  <a:gd name="T12" fmla="*/ 2 w 7"/>
                  <a:gd name="T13" fmla="*/ 10 h 21"/>
                  <a:gd name="T14" fmla="*/ 4 w 7"/>
                  <a:gd name="T15" fmla="*/ 6 h 21"/>
                  <a:gd name="T16" fmla="*/ 3 w 7"/>
                  <a:gd name="T17" fmla="*/ 5 h 21"/>
                  <a:gd name="T18" fmla="*/ 3 w 7"/>
                  <a:gd name="T19" fmla="*/ 1 h 21"/>
                  <a:gd name="T20" fmla="*/ 5 w 7"/>
                  <a:gd name="T2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21">
                    <a:moveTo>
                      <a:pt x="5" y="0"/>
                    </a:moveTo>
                    <a:cubicBezTo>
                      <a:pt x="6" y="1"/>
                      <a:pt x="6" y="4"/>
                      <a:pt x="7" y="5"/>
                    </a:cubicBezTo>
                    <a:cubicBezTo>
                      <a:pt x="7" y="7"/>
                      <a:pt x="6" y="9"/>
                      <a:pt x="5" y="11"/>
                    </a:cubicBezTo>
                    <a:cubicBezTo>
                      <a:pt x="5" y="13"/>
                      <a:pt x="4" y="16"/>
                      <a:pt x="4" y="17"/>
                    </a:cubicBezTo>
                    <a:cubicBezTo>
                      <a:pt x="4" y="19"/>
                      <a:pt x="0" y="21"/>
                      <a:pt x="0" y="20"/>
                    </a:cubicBezTo>
                    <a:cubicBezTo>
                      <a:pt x="0" y="19"/>
                      <a:pt x="0" y="18"/>
                      <a:pt x="1" y="16"/>
                    </a:cubicBezTo>
                    <a:cubicBezTo>
                      <a:pt x="2" y="14"/>
                      <a:pt x="1" y="12"/>
                      <a:pt x="2" y="10"/>
                    </a:cubicBezTo>
                    <a:cubicBezTo>
                      <a:pt x="3" y="8"/>
                      <a:pt x="4" y="7"/>
                      <a:pt x="4" y="6"/>
                    </a:cubicBezTo>
                    <a:cubicBezTo>
                      <a:pt x="5" y="4"/>
                      <a:pt x="4" y="7"/>
                      <a:pt x="3" y="5"/>
                    </a:cubicBezTo>
                    <a:cubicBezTo>
                      <a:pt x="2" y="3"/>
                      <a:pt x="2" y="1"/>
                      <a:pt x="3" y="1"/>
                    </a:cubicBezTo>
                    <a:cubicBezTo>
                      <a:pt x="4" y="0"/>
                      <a:pt x="6" y="0"/>
                      <a:pt x="5"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08" name="Freeform 129"/>
              <p:cNvSpPr>
                <a:spLocks/>
              </p:cNvSpPr>
              <p:nvPr/>
            </p:nvSpPr>
            <p:spPr bwMode="gray">
              <a:xfrm>
                <a:off x="1430" y="2561"/>
                <a:ext cx="23" cy="29"/>
              </a:xfrm>
              <a:custGeom>
                <a:avLst/>
                <a:gdLst>
                  <a:gd name="T0" fmla="*/ 9 w 9"/>
                  <a:gd name="T1" fmla="*/ 6 h 11"/>
                  <a:gd name="T2" fmla="*/ 6 w 9"/>
                  <a:gd name="T3" fmla="*/ 2 h 11"/>
                  <a:gd name="T4" fmla="*/ 2 w 9"/>
                  <a:gd name="T5" fmla="*/ 3 h 11"/>
                  <a:gd name="T6" fmla="*/ 1 w 9"/>
                  <a:gd name="T7" fmla="*/ 7 h 11"/>
                  <a:gd name="T8" fmla="*/ 5 w 9"/>
                  <a:gd name="T9" fmla="*/ 7 h 11"/>
                  <a:gd name="T10" fmla="*/ 5 w 9"/>
                  <a:gd name="T11" fmla="*/ 10 h 11"/>
                  <a:gd name="T12" fmla="*/ 9 w 9"/>
                  <a:gd name="T13" fmla="*/ 6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9" y="6"/>
                    </a:moveTo>
                    <a:cubicBezTo>
                      <a:pt x="8" y="4"/>
                      <a:pt x="8" y="3"/>
                      <a:pt x="6" y="2"/>
                    </a:cubicBezTo>
                    <a:cubicBezTo>
                      <a:pt x="4" y="0"/>
                      <a:pt x="3" y="1"/>
                      <a:pt x="2" y="3"/>
                    </a:cubicBezTo>
                    <a:cubicBezTo>
                      <a:pt x="1" y="4"/>
                      <a:pt x="0" y="8"/>
                      <a:pt x="1" y="7"/>
                    </a:cubicBezTo>
                    <a:cubicBezTo>
                      <a:pt x="3" y="7"/>
                      <a:pt x="5" y="5"/>
                      <a:pt x="5" y="7"/>
                    </a:cubicBezTo>
                    <a:cubicBezTo>
                      <a:pt x="6" y="8"/>
                      <a:pt x="4" y="11"/>
                      <a:pt x="5" y="10"/>
                    </a:cubicBezTo>
                    <a:cubicBezTo>
                      <a:pt x="6" y="10"/>
                      <a:pt x="9" y="8"/>
                      <a:pt x="9" y="6"/>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09" name="Freeform 130"/>
              <p:cNvSpPr>
                <a:spLocks/>
              </p:cNvSpPr>
              <p:nvPr/>
            </p:nvSpPr>
            <p:spPr bwMode="gray">
              <a:xfrm>
                <a:off x="1453" y="2543"/>
                <a:ext cx="16" cy="26"/>
              </a:xfrm>
              <a:custGeom>
                <a:avLst/>
                <a:gdLst>
                  <a:gd name="T0" fmla="*/ 5 w 6"/>
                  <a:gd name="T1" fmla="*/ 5 h 10"/>
                  <a:gd name="T2" fmla="*/ 5 w 6"/>
                  <a:gd name="T3" fmla="*/ 0 h 10"/>
                  <a:gd name="T4" fmla="*/ 2 w 6"/>
                  <a:gd name="T5" fmla="*/ 3 h 10"/>
                  <a:gd name="T6" fmla="*/ 0 w 6"/>
                  <a:gd name="T7" fmla="*/ 5 h 10"/>
                  <a:gd name="T8" fmla="*/ 1 w 6"/>
                  <a:gd name="T9" fmla="*/ 10 h 10"/>
                  <a:gd name="T10" fmla="*/ 5 w 6"/>
                  <a:gd name="T11" fmla="*/ 5 h 10"/>
                </a:gdLst>
                <a:ahLst/>
                <a:cxnLst>
                  <a:cxn ang="0">
                    <a:pos x="T0" y="T1"/>
                  </a:cxn>
                  <a:cxn ang="0">
                    <a:pos x="T2" y="T3"/>
                  </a:cxn>
                  <a:cxn ang="0">
                    <a:pos x="T4" y="T5"/>
                  </a:cxn>
                  <a:cxn ang="0">
                    <a:pos x="T6" y="T7"/>
                  </a:cxn>
                  <a:cxn ang="0">
                    <a:pos x="T8" y="T9"/>
                  </a:cxn>
                  <a:cxn ang="0">
                    <a:pos x="T10" y="T11"/>
                  </a:cxn>
                </a:cxnLst>
                <a:rect l="0" t="0" r="r" b="b"/>
                <a:pathLst>
                  <a:path w="6" h="10">
                    <a:moveTo>
                      <a:pt x="5" y="5"/>
                    </a:moveTo>
                    <a:cubicBezTo>
                      <a:pt x="6" y="2"/>
                      <a:pt x="6" y="0"/>
                      <a:pt x="5" y="0"/>
                    </a:cubicBezTo>
                    <a:cubicBezTo>
                      <a:pt x="4" y="1"/>
                      <a:pt x="3" y="3"/>
                      <a:pt x="2" y="3"/>
                    </a:cubicBezTo>
                    <a:cubicBezTo>
                      <a:pt x="1" y="3"/>
                      <a:pt x="1" y="4"/>
                      <a:pt x="0" y="5"/>
                    </a:cubicBezTo>
                    <a:cubicBezTo>
                      <a:pt x="0" y="6"/>
                      <a:pt x="0" y="10"/>
                      <a:pt x="1" y="10"/>
                    </a:cubicBezTo>
                    <a:cubicBezTo>
                      <a:pt x="2" y="10"/>
                      <a:pt x="3" y="8"/>
                      <a:pt x="5" y="5"/>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10" name="Freeform 131"/>
              <p:cNvSpPr>
                <a:spLocks/>
              </p:cNvSpPr>
              <p:nvPr/>
            </p:nvSpPr>
            <p:spPr bwMode="gray">
              <a:xfrm>
                <a:off x="1440" y="2506"/>
                <a:ext cx="32" cy="29"/>
              </a:xfrm>
              <a:custGeom>
                <a:avLst/>
                <a:gdLst>
                  <a:gd name="T0" fmla="*/ 3 w 12"/>
                  <a:gd name="T1" fmla="*/ 4 h 11"/>
                  <a:gd name="T2" fmla="*/ 4 w 12"/>
                  <a:gd name="T3" fmla="*/ 8 h 11"/>
                  <a:gd name="T4" fmla="*/ 6 w 12"/>
                  <a:gd name="T5" fmla="*/ 10 h 11"/>
                  <a:gd name="T6" fmla="*/ 10 w 12"/>
                  <a:gd name="T7" fmla="*/ 8 h 11"/>
                  <a:gd name="T8" fmla="*/ 10 w 12"/>
                  <a:gd name="T9" fmla="*/ 5 h 11"/>
                  <a:gd name="T10" fmla="*/ 5 w 12"/>
                  <a:gd name="T11" fmla="*/ 1 h 11"/>
                  <a:gd name="T12" fmla="*/ 1 w 12"/>
                  <a:gd name="T13" fmla="*/ 1 h 11"/>
                  <a:gd name="T14" fmla="*/ 3 w 12"/>
                  <a:gd name="T15" fmla="*/ 4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1">
                    <a:moveTo>
                      <a:pt x="3" y="4"/>
                    </a:moveTo>
                    <a:cubicBezTo>
                      <a:pt x="4" y="5"/>
                      <a:pt x="5" y="6"/>
                      <a:pt x="4" y="8"/>
                    </a:cubicBezTo>
                    <a:cubicBezTo>
                      <a:pt x="4" y="10"/>
                      <a:pt x="5" y="11"/>
                      <a:pt x="6" y="10"/>
                    </a:cubicBezTo>
                    <a:cubicBezTo>
                      <a:pt x="7" y="9"/>
                      <a:pt x="9" y="9"/>
                      <a:pt x="10" y="8"/>
                    </a:cubicBezTo>
                    <a:cubicBezTo>
                      <a:pt x="12" y="7"/>
                      <a:pt x="11" y="6"/>
                      <a:pt x="10" y="5"/>
                    </a:cubicBezTo>
                    <a:cubicBezTo>
                      <a:pt x="8" y="4"/>
                      <a:pt x="7" y="2"/>
                      <a:pt x="5" y="1"/>
                    </a:cubicBezTo>
                    <a:cubicBezTo>
                      <a:pt x="4" y="0"/>
                      <a:pt x="2" y="0"/>
                      <a:pt x="1" y="1"/>
                    </a:cubicBezTo>
                    <a:cubicBezTo>
                      <a:pt x="0" y="2"/>
                      <a:pt x="1" y="4"/>
                      <a:pt x="3" y="4"/>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11" name="Freeform 132"/>
              <p:cNvSpPr>
                <a:spLocks/>
              </p:cNvSpPr>
              <p:nvPr/>
            </p:nvSpPr>
            <p:spPr bwMode="gray">
              <a:xfrm>
                <a:off x="1424" y="2501"/>
                <a:ext cx="16" cy="10"/>
              </a:xfrm>
              <a:custGeom>
                <a:avLst/>
                <a:gdLst>
                  <a:gd name="T0" fmla="*/ 3 w 6"/>
                  <a:gd name="T1" fmla="*/ 3 h 4"/>
                  <a:gd name="T2" fmla="*/ 4 w 6"/>
                  <a:gd name="T3" fmla="*/ 0 h 4"/>
                  <a:gd name="T4" fmla="*/ 1 w 6"/>
                  <a:gd name="T5" fmla="*/ 4 h 4"/>
                  <a:gd name="T6" fmla="*/ 3 w 6"/>
                  <a:gd name="T7" fmla="*/ 3 h 4"/>
                </a:gdLst>
                <a:ahLst/>
                <a:cxnLst>
                  <a:cxn ang="0">
                    <a:pos x="T0" y="T1"/>
                  </a:cxn>
                  <a:cxn ang="0">
                    <a:pos x="T2" y="T3"/>
                  </a:cxn>
                  <a:cxn ang="0">
                    <a:pos x="T4" y="T5"/>
                  </a:cxn>
                  <a:cxn ang="0">
                    <a:pos x="T6" y="T7"/>
                  </a:cxn>
                </a:cxnLst>
                <a:rect l="0" t="0" r="r" b="b"/>
                <a:pathLst>
                  <a:path w="6" h="4">
                    <a:moveTo>
                      <a:pt x="3" y="3"/>
                    </a:moveTo>
                    <a:cubicBezTo>
                      <a:pt x="4" y="1"/>
                      <a:pt x="6" y="0"/>
                      <a:pt x="4" y="0"/>
                    </a:cubicBezTo>
                    <a:cubicBezTo>
                      <a:pt x="3" y="0"/>
                      <a:pt x="0" y="4"/>
                      <a:pt x="1" y="4"/>
                    </a:cubicBezTo>
                    <a:cubicBezTo>
                      <a:pt x="1" y="4"/>
                      <a:pt x="3" y="3"/>
                      <a:pt x="3" y="3"/>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12" name="Freeform 133"/>
              <p:cNvSpPr>
                <a:spLocks/>
              </p:cNvSpPr>
              <p:nvPr/>
            </p:nvSpPr>
            <p:spPr bwMode="gray">
              <a:xfrm>
                <a:off x="1411" y="2509"/>
                <a:ext cx="11" cy="15"/>
              </a:xfrm>
              <a:custGeom>
                <a:avLst/>
                <a:gdLst>
                  <a:gd name="T0" fmla="*/ 3 w 4"/>
                  <a:gd name="T1" fmla="*/ 1 h 6"/>
                  <a:gd name="T2" fmla="*/ 2 w 4"/>
                  <a:gd name="T3" fmla="*/ 5 h 6"/>
                  <a:gd name="T4" fmla="*/ 3 w 4"/>
                  <a:gd name="T5" fmla="*/ 1 h 6"/>
                </a:gdLst>
                <a:ahLst/>
                <a:cxnLst>
                  <a:cxn ang="0">
                    <a:pos x="T0" y="T1"/>
                  </a:cxn>
                  <a:cxn ang="0">
                    <a:pos x="T2" y="T3"/>
                  </a:cxn>
                  <a:cxn ang="0">
                    <a:pos x="T4" y="T5"/>
                  </a:cxn>
                </a:cxnLst>
                <a:rect l="0" t="0" r="r" b="b"/>
                <a:pathLst>
                  <a:path w="4" h="6">
                    <a:moveTo>
                      <a:pt x="3" y="1"/>
                    </a:moveTo>
                    <a:cubicBezTo>
                      <a:pt x="2" y="2"/>
                      <a:pt x="0" y="6"/>
                      <a:pt x="2" y="5"/>
                    </a:cubicBezTo>
                    <a:cubicBezTo>
                      <a:pt x="3" y="5"/>
                      <a:pt x="4" y="0"/>
                      <a:pt x="3"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13" name="Freeform 134"/>
              <p:cNvSpPr>
                <a:spLocks/>
              </p:cNvSpPr>
              <p:nvPr/>
            </p:nvSpPr>
            <p:spPr bwMode="gray">
              <a:xfrm>
                <a:off x="1443" y="2548"/>
                <a:ext cx="10" cy="8"/>
              </a:xfrm>
              <a:custGeom>
                <a:avLst/>
                <a:gdLst>
                  <a:gd name="T0" fmla="*/ 2 w 4"/>
                  <a:gd name="T1" fmla="*/ 0 h 3"/>
                  <a:gd name="T2" fmla="*/ 1 w 4"/>
                  <a:gd name="T3" fmla="*/ 2 h 3"/>
                  <a:gd name="T4" fmla="*/ 2 w 4"/>
                  <a:gd name="T5" fmla="*/ 0 h 3"/>
                </a:gdLst>
                <a:ahLst/>
                <a:cxnLst>
                  <a:cxn ang="0">
                    <a:pos x="T0" y="T1"/>
                  </a:cxn>
                  <a:cxn ang="0">
                    <a:pos x="T2" y="T3"/>
                  </a:cxn>
                  <a:cxn ang="0">
                    <a:pos x="T4" y="T5"/>
                  </a:cxn>
                </a:cxnLst>
                <a:rect l="0" t="0" r="r" b="b"/>
                <a:pathLst>
                  <a:path w="4" h="3">
                    <a:moveTo>
                      <a:pt x="2" y="0"/>
                    </a:moveTo>
                    <a:cubicBezTo>
                      <a:pt x="1" y="1"/>
                      <a:pt x="0" y="2"/>
                      <a:pt x="1" y="2"/>
                    </a:cubicBezTo>
                    <a:cubicBezTo>
                      <a:pt x="2" y="3"/>
                      <a:pt x="4" y="0"/>
                      <a:pt x="2"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14" name="Freeform 135"/>
              <p:cNvSpPr>
                <a:spLocks/>
              </p:cNvSpPr>
              <p:nvPr/>
            </p:nvSpPr>
            <p:spPr bwMode="gray">
              <a:xfrm>
                <a:off x="1443" y="2490"/>
                <a:ext cx="21" cy="13"/>
              </a:xfrm>
              <a:custGeom>
                <a:avLst/>
                <a:gdLst>
                  <a:gd name="T0" fmla="*/ 6 w 8"/>
                  <a:gd name="T1" fmla="*/ 4 h 5"/>
                  <a:gd name="T2" fmla="*/ 2 w 8"/>
                  <a:gd name="T3" fmla="*/ 3 h 5"/>
                  <a:gd name="T4" fmla="*/ 6 w 8"/>
                  <a:gd name="T5" fmla="*/ 1 h 5"/>
                  <a:gd name="T6" fmla="*/ 6 w 8"/>
                  <a:gd name="T7" fmla="*/ 4 h 5"/>
                </a:gdLst>
                <a:ahLst/>
                <a:cxnLst>
                  <a:cxn ang="0">
                    <a:pos x="T0" y="T1"/>
                  </a:cxn>
                  <a:cxn ang="0">
                    <a:pos x="T2" y="T3"/>
                  </a:cxn>
                  <a:cxn ang="0">
                    <a:pos x="T4" y="T5"/>
                  </a:cxn>
                  <a:cxn ang="0">
                    <a:pos x="T6" y="T7"/>
                  </a:cxn>
                </a:cxnLst>
                <a:rect l="0" t="0" r="r" b="b"/>
                <a:pathLst>
                  <a:path w="8" h="5">
                    <a:moveTo>
                      <a:pt x="6" y="4"/>
                    </a:moveTo>
                    <a:cubicBezTo>
                      <a:pt x="4" y="5"/>
                      <a:pt x="0" y="5"/>
                      <a:pt x="2" y="3"/>
                    </a:cubicBezTo>
                    <a:cubicBezTo>
                      <a:pt x="3" y="0"/>
                      <a:pt x="4" y="1"/>
                      <a:pt x="6" y="1"/>
                    </a:cubicBezTo>
                    <a:cubicBezTo>
                      <a:pt x="8" y="1"/>
                      <a:pt x="8" y="5"/>
                      <a:pt x="6" y="4"/>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15" name="Freeform 136"/>
              <p:cNvSpPr>
                <a:spLocks/>
              </p:cNvSpPr>
              <p:nvPr/>
            </p:nvSpPr>
            <p:spPr bwMode="gray">
              <a:xfrm>
                <a:off x="1437" y="2467"/>
                <a:ext cx="8" cy="15"/>
              </a:xfrm>
              <a:custGeom>
                <a:avLst/>
                <a:gdLst>
                  <a:gd name="T0" fmla="*/ 2 w 3"/>
                  <a:gd name="T1" fmla="*/ 1 h 6"/>
                  <a:gd name="T2" fmla="*/ 1 w 3"/>
                  <a:gd name="T3" fmla="*/ 4 h 6"/>
                  <a:gd name="T4" fmla="*/ 3 w 3"/>
                  <a:gd name="T5" fmla="*/ 5 h 6"/>
                  <a:gd name="T6" fmla="*/ 2 w 3"/>
                  <a:gd name="T7" fmla="*/ 1 h 6"/>
                </a:gdLst>
                <a:ahLst/>
                <a:cxnLst>
                  <a:cxn ang="0">
                    <a:pos x="T0" y="T1"/>
                  </a:cxn>
                  <a:cxn ang="0">
                    <a:pos x="T2" y="T3"/>
                  </a:cxn>
                  <a:cxn ang="0">
                    <a:pos x="T4" y="T5"/>
                  </a:cxn>
                  <a:cxn ang="0">
                    <a:pos x="T6" y="T7"/>
                  </a:cxn>
                </a:cxnLst>
                <a:rect l="0" t="0" r="r" b="b"/>
                <a:pathLst>
                  <a:path w="3" h="6">
                    <a:moveTo>
                      <a:pt x="2" y="1"/>
                    </a:moveTo>
                    <a:cubicBezTo>
                      <a:pt x="1" y="0"/>
                      <a:pt x="0" y="2"/>
                      <a:pt x="1" y="4"/>
                    </a:cubicBezTo>
                    <a:cubicBezTo>
                      <a:pt x="2" y="6"/>
                      <a:pt x="3" y="6"/>
                      <a:pt x="3" y="5"/>
                    </a:cubicBezTo>
                    <a:cubicBezTo>
                      <a:pt x="3" y="3"/>
                      <a:pt x="3" y="1"/>
                      <a:pt x="2"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16" name="Freeform 137"/>
              <p:cNvSpPr>
                <a:spLocks/>
              </p:cNvSpPr>
              <p:nvPr/>
            </p:nvSpPr>
            <p:spPr bwMode="gray">
              <a:xfrm>
                <a:off x="1424" y="2417"/>
                <a:ext cx="48" cy="60"/>
              </a:xfrm>
              <a:custGeom>
                <a:avLst/>
                <a:gdLst>
                  <a:gd name="T0" fmla="*/ 11 w 18"/>
                  <a:gd name="T1" fmla="*/ 17 h 23"/>
                  <a:gd name="T2" fmla="*/ 6 w 18"/>
                  <a:gd name="T3" fmla="*/ 16 h 23"/>
                  <a:gd name="T4" fmla="*/ 7 w 18"/>
                  <a:gd name="T5" fmla="*/ 13 h 23"/>
                  <a:gd name="T6" fmla="*/ 4 w 18"/>
                  <a:gd name="T7" fmla="*/ 11 h 23"/>
                  <a:gd name="T8" fmla="*/ 1 w 18"/>
                  <a:gd name="T9" fmla="*/ 10 h 23"/>
                  <a:gd name="T10" fmla="*/ 3 w 18"/>
                  <a:gd name="T11" fmla="*/ 7 h 23"/>
                  <a:gd name="T12" fmla="*/ 4 w 18"/>
                  <a:gd name="T13" fmla="*/ 5 h 23"/>
                  <a:gd name="T14" fmla="*/ 8 w 18"/>
                  <a:gd name="T15" fmla="*/ 5 h 23"/>
                  <a:gd name="T16" fmla="*/ 8 w 18"/>
                  <a:gd name="T17" fmla="*/ 1 h 23"/>
                  <a:gd name="T18" fmla="*/ 10 w 18"/>
                  <a:gd name="T19" fmla="*/ 6 h 23"/>
                  <a:gd name="T20" fmla="*/ 13 w 18"/>
                  <a:gd name="T21" fmla="*/ 7 h 23"/>
                  <a:gd name="T22" fmla="*/ 13 w 18"/>
                  <a:gd name="T23" fmla="*/ 10 h 23"/>
                  <a:gd name="T24" fmla="*/ 13 w 18"/>
                  <a:gd name="T25" fmla="*/ 14 h 23"/>
                  <a:gd name="T26" fmla="*/ 17 w 18"/>
                  <a:gd name="T27" fmla="*/ 15 h 23"/>
                  <a:gd name="T28" fmla="*/ 16 w 18"/>
                  <a:gd name="T29" fmla="*/ 19 h 23"/>
                  <a:gd name="T30" fmla="*/ 12 w 18"/>
                  <a:gd name="T31" fmla="*/ 21 h 23"/>
                  <a:gd name="T32" fmla="*/ 11 w 18"/>
                  <a:gd name="T33" fmla="*/ 17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23">
                    <a:moveTo>
                      <a:pt x="11" y="17"/>
                    </a:moveTo>
                    <a:cubicBezTo>
                      <a:pt x="9" y="17"/>
                      <a:pt x="8" y="18"/>
                      <a:pt x="6" y="16"/>
                    </a:cubicBezTo>
                    <a:cubicBezTo>
                      <a:pt x="5" y="15"/>
                      <a:pt x="6" y="13"/>
                      <a:pt x="7" y="13"/>
                    </a:cubicBezTo>
                    <a:cubicBezTo>
                      <a:pt x="7" y="12"/>
                      <a:pt x="5" y="10"/>
                      <a:pt x="4" y="11"/>
                    </a:cubicBezTo>
                    <a:cubicBezTo>
                      <a:pt x="2" y="11"/>
                      <a:pt x="0" y="11"/>
                      <a:pt x="1" y="10"/>
                    </a:cubicBezTo>
                    <a:cubicBezTo>
                      <a:pt x="1" y="8"/>
                      <a:pt x="3" y="8"/>
                      <a:pt x="3" y="7"/>
                    </a:cubicBezTo>
                    <a:cubicBezTo>
                      <a:pt x="4" y="7"/>
                      <a:pt x="3" y="5"/>
                      <a:pt x="4" y="5"/>
                    </a:cubicBezTo>
                    <a:cubicBezTo>
                      <a:pt x="6" y="5"/>
                      <a:pt x="8" y="7"/>
                      <a:pt x="8" y="5"/>
                    </a:cubicBezTo>
                    <a:cubicBezTo>
                      <a:pt x="7" y="3"/>
                      <a:pt x="7" y="0"/>
                      <a:pt x="8" y="1"/>
                    </a:cubicBezTo>
                    <a:cubicBezTo>
                      <a:pt x="10" y="2"/>
                      <a:pt x="10" y="5"/>
                      <a:pt x="10" y="6"/>
                    </a:cubicBezTo>
                    <a:cubicBezTo>
                      <a:pt x="11" y="8"/>
                      <a:pt x="12" y="9"/>
                      <a:pt x="13" y="7"/>
                    </a:cubicBezTo>
                    <a:cubicBezTo>
                      <a:pt x="13" y="5"/>
                      <a:pt x="14" y="7"/>
                      <a:pt x="13" y="10"/>
                    </a:cubicBezTo>
                    <a:cubicBezTo>
                      <a:pt x="13" y="12"/>
                      <a:pt x="12" y="13"/>
                      <a:pt x="13" y="14"/>
                    </a:cubicBezTo>
                    <a:cubicBezTo>
                      <a:pt x="14" y="15"/>
                      <a:pt x="17" y="13"/>
                      <a:pt x="17" y="15"/>
                    </a:cubicBezTo>
                    <a:cubicBezTo>
                      <a:pt x="18" y="16"/>
                      <a:pt x="18" y="17"/>
                      <a:pt x="16" y="19"/>
                    </a:cubicBezTo>
                    <a:cubicBezTo>
                      <a:pt x="15" y="20"/>
                      <a:pt x="13" y="23"/>
                      <a:pt x="12" y="21"/>
                    </a:cubicBezTo>
                    <a:cubicBezTo>
                      <a:pt x="12" y="20"/>
                      <a:pt x="13" y="16"/>
                      <a:pt x="11" y="17"/>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17" name="Freeform 138"/>
              <p:cNvSpPr>
                <a:spLocks/>
              </p:cNvSpPr>
              <p:nvPr/>
            </p:nvSpPr>
            <p:spPr bwMode="gray">
              <a:xfrm>
                <a:off x="1411" y="2396"/>
                <a:ext cx="13" cy="15"/>
              </a:xfrm>
              <a:custGeom>
                <a:avLst/>
                <a:gdLst>
                  <a:gd name="T0" fmla="*/ 5 w 5"/>
                  <a:gd name="T1" fmla="*/ 1 h 6"/>
                  <a:gd name="T2" fmla="*/ 1 w 5"/>
                  <a:gd name="T3" fmla="*/ 3 h 6"/>
                  <a:gd name="T4" fmla="*/ 4 w 5"/>
                  <a:gd name="T5" fmla="*/ 5 h 6"/>
                  <a:gd name="T6" fmla="*/ 5 w 5"/>
                  <a:gd name="T7" fmla="*/ 1 h 6"/>
                </a:gdLst>
                <a:ahLst/>
                <a:cxnLst>
                  <a:cxn ang="0">
                    <a:pos x="T0" y="T1"/>
                  </a:cxn>
                  <a:cxn ang="0">
                    <a:pos x="T2" y="T3"/>
                  </a:cxn>
                  <a:cxn ang="0">
                    <a:pos x="T4" y="T5"/>
                  </a:cxn>
                  <a:cxn ang="0">
                    <a:pos x="T6" y="T7"/>
                  </a:cxn>
                </a:cxnLst>
                <a:rect l="0" t="0" r="r" b="b"/>
                <a:pathLst>
                  <a:path w="5" h="6">
                    <a:moveTo>
                      <a:pt x="5" y="1"/>
                    </a:moveTo>
                    <a:cubicBezTo>
                      <a:pt x="4" y="0"/>
                      <a:pt x="0" y="1"/>
                      <a:pt x="1" y="3"/>
                    </a:cubicBezTo>
                    <a:cubicBezTo>
                      <a:pt x="2" y="6"/>
                      <a:pt x="3" y="6"/>
                      <a:pt x="4" y="5"/>
                    </a:cubicBezTo>
                    <a:cubicBezTo>
                      <a:pt x="5" y="3"/>
                      <a:pt x="5" y="1"/>
                      <a:pt x="5"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18" name="Freeform 139"/>
              <p:cNvSpPr>
                <a:spLocks/>
              </p:cNvSpPr>
              <p:nvPr/>
            </p:nvSpPr>
            <p:spPr bwMode="gray">
              <a:xfrm>
                <a:off x="1393" y="2417"/>
                <a:ext cx="18" cy="18"/>
              </a:xfrm>
              <a:custGeom>
                <a:avLst/>
                <a:gdLst>
                  <a:gd name="T0" fmla="*/ 4 w 7"/>
                  <a:gd name="T1" fmla="*/ 5 h 7"/>
                  <a:gd name="T2" fmla="*/ 6 w 7"/>
                  <a:gd name="T3" fmla="*/ 1 h 7"/>
                  <a:gd name="T4" fmla="*/ 2 w 7"/>
                  <a:gd name="T5" fmla="*/ 0 h 7"/>
                  <a:gd name="T6" fmla="*/ 1 w 7"/>
                  <a:gd name="T7" fmla="*/ 4 h 7"/>
                  <a:gd name="T8" fmla="*/ 3 w 7"/>
                  <a:gd name="T9" fmla="*/ 5 h 7"/>
                  <a:gd name="T10" fmla="*/ 4 w 7"/>
                  <a:gd name="T11" fmla="*/ 5 h 7"/>
                </a:gdLst>
                <a:ahLst/>
                <a:cxnLst>
                  <a:cxn ang="0">
                    <a:pos x="T0" y="T1"/>
                  </a:cxn>
                  <a:cxn ang="0">
                    <a:pos x="T2" y="T3"/>
                  </a:cxn>
                  <a:cxn ang="0">
                    <a:pos x="T4" y="T5"/>
                  </a:cxn>
                  <a:cxn ang="0">
                    <a:pos x="T6" y="T7"/>
                  </a:cxn>
                  <a:cxn ang="0">
                    <a:pos x="T8" y="T9"/>
                  </a:cxn>
                  <a:cxn ang="0">
                    <a:pos x="T10" y="T11"/>
                  </a:cxn>
                </a:cxnLst>
                <a:rect l="0" t="0" r="r" b="b"/>
                <a:pathLst>
                  <a:path w="7" h="7">
                    <a:moveTo>
                      <a:pt x="4" y="5"/>
                    </a:moveTo>
                    <a:cubicBezTo>
                      <a:pt x="7" y="4"/>
                      <a:pt x="7" y="1"/>
                      <a:pt x="6" y="1"/>
                    </a:cubicBezTo>
                    <a:cubicBezTo>
                      <a:pt x="5" y="0"/>
                      <a:pt x="4" y="0"/>
                      <a:pt x="2" y="0"/>
                    </a:cubicBezTo>
                    <a:cubicBezTo>
                      <a:pt x="0" y="1"/>
                      <a:pt x="0" y="3"/>
                      <a:pt x="1" y="4"/>
                    </a:cubicBezTo>
                    <a:cubicBezTo>
                      <a:pt x="1" y="4"/>
                      <a:pt x="3" y="3"/>
                      <a:pt x="3" y="5"/>
                    </a:cubicBezTo>
                    <a:cubicBezTo>
                      <a:pt x="2" y="7"/>
                      <a:pt x="4" y="5"/>
                      <a:pt x="4" y="5"/>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19" name="Freeform 140"/>
              <p:cNvSpPr>
                <a:spLocks/>
              </p:cNvSpPr>
              <p:nvPr/>
            </p:nvSpPr>
            <p:spPr bwMode="gray">
              <a:xfrm>
                <a:off x="1393" y="2440"/>
                <a:ext cx="16" cy="32"/>
              </a:xfrm>
              <a:custGeom>
                <a:avLst/>
                <a:gdLst>
                  <a:gd name="T0" fmla="*/ 4 w 6"/>
                  <a:gd name="T1" fmla="*/ 1 h 12"/>
                  <a:gd name="T2" fmla="*/ 5 w 6"/>
                  <a:gd name="T3" fmla="*/ 4 h 12"/>
                  <a:gd name="T4" fmla="*/ 3 w 6"/>
                  <a:gd name="T5" fmla="*/ 7 h 12"/>
                  <a:gd name="T6" fmla="*/ 5 w 6"/>
                  <a:gd name="T7" fmla="*/ 10 h 12"/>
                  <a:gd name="T8" fmla="*/ 2 w 6"/>
                  <a:gd name="T9" fmla="*/ 10 h 12"/>
                  <a:gd name="T10" fmla="*/ 0 w 6"/>
                  <a:gd name="T11" fmla="*/ 5 h 12"/>
                  <a:gd name="T12" fmla="*/ 1 w 6"/>
                  <a:gd name="T13" fmla="*/ 1 h 12"/>
                  <a:gd name="T14" fmla="*/ 4 w 6"/>
                  <a:gd name="T15" fmla="*/ 1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4" y="1"/>
                    </a:moveTo>
                    <a:cubicBezTo>
                      <a:pt x="5" y="2"/>
                      <a:pt x="6" y="3"/>
                      <a:pt x="5" y="4"/>
                    </a:cubicBezTo>
                    <a:cubicBezTo>
                      <a:pt x="4" y="5"/>
                      <a:pt x="3" y="5"/>
                      <a:pt x="3" y="7"/>
                    </a:cubicBezTo>
                    <a:cubicBezTo>
                      <a:pt x="4" y="8"/>
                      <a:pt x="5" y="8"/>
                      <a:pt x="5" y="10"/>
                    </a:cubicBezTo>
                    <a:cubicBezTo>
                      <a:pt x="4" y="11"/>
                      <a:pt x="3" y="12"/>
                      <a:pt x="2" y="10"/>
                    </a:cubicBezTo>
                    <a:cubicBezTo>
                      <a:pt x="1" y="8"/>
                      <a:pt x="0" y="7"/>
                      <a:pt x="0" y="5"/>
                    </a:cubicBezTo>
                    <a:cubicBezTo>
                      <a:pt x="1" y="3"/>
                      <a:pt x="0" y="3"/>
                      <a:pt x="1" y="1"/>
                    </a:cubicBezTo>
                    <a:cubicBezTo>
                      <a:pt x="2" y="0"/>
                      <a:pt x="4" y="1"/>
                      <a:pt x="4"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20" name="Freeform 141"/>
              <p:cNvSpPr>
                <a:spLocks/>
              </p:cNvSpPr>
              <p:nvPr/>
            </p:nvSpPr>
            <p:spPr bwMode="gray">
              <a:xfrm>
                <a:off x="1390" y="2472"/>
                <a:ext cx="5" cy="8"/>
              </a:xfrm>
              <a:custGeom>
                <a:avLst/>
                <a:gdLst>
                  <a:gd name="T0" fmla="*/ 1 w 2"/>
                  <a:gd name="T1" fmla="*/ 0 h 3"/>
                  <a:gd name="T2" fmla="*/ 1 w 2"/>
                  <a:gd name="T3" fmla="*/ 3 h 3"/>
                  <a:gd name="T4" fmla="*/ 1 w 2"/>
                  <a:gd name="T5" fmla="*/ 0 h 3"/>
                </a:gdLst>
                <a:ahLst/>
                <a:cxnLst>
                  <a:cxn ang="0">
                    <a:pos x="T0" y="T1"/>
                  </a:cxn>
                  <a:cxn ang="0">
                    <a:pos x="T2" y="T3"/>
                  </a:cxn>
                  <a:cxn ang="0">
                    <a:pos x="T4" y="T5"/>
                  </a:cxn>
                </a:cxnLst>
                <a:rect l="0" t="0" r="r" b="b"/>
                <a:pathLst>
                  <a:path w="2" h="3">
                    <a:moveTo>
                      <a:pt x="1" y="0"/>
                    </a:moveTo>
                    <a:cubicBezTo>
                      <a:pt x="0" y="1"/>
                      <a:pt x="0" y="3"/>
                      <a:pt x="1" y="3"/>
                    </a:cubicBezTo>
                    <a:cubicBezTo>
                      <a:pt x="2" y="3"/>
                      <a:pt x="2" y="0"/>
                      <a:pt x="1"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21" name="Freeform 142"/>
              <p:cNvSpPr>
                <a:spLocks/>
              </p:cNvSpPr>
              <p:nvPr/>
            </p:nvSpPr>
            <p:spPr bwMode="gray">
              <a:xfrm>
                <a:off x="1411" y="2338"/>
                <a:ext cx="42" cy="60"/>
              </a:xfrm>
              <a:custGeom>
                <a:avLst/>
                <a:gdLst>
                  <a:gd name="T0" fmla="*/ 2 w 16"/>
                  <a:gd name="T1" fmla="*/ 13 h 23"/>
                  <a:gd name="T2" fmla="*/ 1 w 16"/>
                  <a:gd name="T3" fmla="*/ 14 h 23"/>
                  <a:gd name="T4" fmla="*/ 2 w 16"/>
                  <a:gd name="T5" fmla="*/ 18 h 23"/>
                  <a:gd name="T6" fmla="*/ 1 w 16"/>
                  <a:gd name="T7" fmla="*/ 20 h 23"/>
                  <a:gd name="T8" fmla="*/ 4 w 16"/>
                  <a:gd name="T9" fmla="*/ 22 h 23"/>
                  <a:gd name="T10" fmla="*/ 6 w 16"/>
                  <a:gd name="T11" fmla="*/ 21 h 23"/>
                  <a:gd name="T12" fmla="*/ 7 w 16"/>
                  <a:gd name="T13" fmla="*/ 17 h 23"/>
                  <a:gd name="T14" fmla="*/ 7 w 16"/>
                  <a:gd name="T15" fmla="*/ 22 h 23"/>
                  <a:gd name="T16" fmla="*/ 10 w 16"/>
                  <a:gd name="T17" fmla="*/ 21 h 23"/>
                  <a:gd name="T18" fmla="*/ 12 w 16"/>
                  <a:gd name="T19" fmla="*/ 17 h 23"/>
                  <a:gd name="T20" fmla="*/ 11 w 16"/>
                  <a:gd name="T21" fmla="*/ 15 h 23"/>
                  <a:gd name="T22" fmla="*/ 14 w 16"/>
                  <a:gd name="T23" fmla="*/ 12 h 23"/>
                  <a:gd name="T24" fmla="*/ 14 w 16"/>
                  <a:gd name="T25" fmla="*/ 9 h 23"/>
                  <a:gd name="T26" fmla="*/ 16 w 16"/>
                  <a:gd name="T27" fmla="*/ 3 h 23"/>
                  <a:gd name="T28" fmla="*/ 14 w 16"/>
                  <a:gd name="T29" fmla="*/ 2 h 23"/>
                  <a:gd name="T30" fmla="*/ 8 w 16"/>
                  <a:gd name="T31" fmla="*/ 7 h 23"/>
                  <a:gd name="T32" fmla="*/ 5 w 16"/>
                  <a:gd name="T33" fmla="*/ 10 h 23"/>
                  <a:gd name="T34" fmla="*/ 2 w 16"/>
                  <a:gd name="T35"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 h="23">
                    <a:moveTo>
                      <a:pt x="2" y="13"/>
                    </a:moveTo>
                    <a:cubicBezTo>
                      <a:pt x="2" y="11"/>
                      <a:pt x="1" y="13"/>
                      <a:pt x="1" y="14"/>
                    </a:cubicBezTo>
                    <a:cubicBezTo>
                      <a:pt x="0" y="16"/>
                      <a:pt x="1" y="18"/>
                      <a:pt x="2" y="18"/>
                    </a:cubicBezTo>
                    <a:cubicBezTo>
                      <a:pt x="2" y="18"/>
                      <a:pt x="2" y="19"/>
                      <a:pt x="1" y="20"/>
                    </a:cubicBezTo>
                    <a:cubicBezTo>
                      <a:pt x="1" y="21"/>
                      <a:pt x="3" y="21"/>
                      <a:pt x="4" y="22"/>
                    </a:cubicBezTo>
                    <a:cubicBezTo>
                      <a:pt x="5" y="23"/>
                      <a:pt x="6" y="22"/>
                      <a:pt x="6" y="21"/>
                    </a:cubicBezTo>
                    <a:cubicBezTo>
                      <a:pt x="7" y="20"/>
                      <a:pt x="7" y="18"/>
                      <a:pt x="7" y="17"/>
                    </a:cubicBezTo>
                    <a:cubicBezTo>
                      <a:pt x="8" y="17"/>
                      <a:pt x="6" y="21"/>
                      <a:pt x="7" y="22"/>
                    </a:cubicBezTo>
                    <a:cubicBezTo>
                      <a:pt x="8" y="23"/>
                      <a:pt x="9" y="22"/>
                      <a:pt x="10" y="21"/>
                    </a:cubicBezTo>
                    <a:cubicBezTo>
                      <a:pt x="11" y="19"/>
                      <a:pt x="12" y="19"/>
                      <a:pt x="12" y="17"/>
                    </a:cubicBezTo>
                    <a:cubicBezTo>
                      <a:pt x="11" y="16"/>
                      <a:pt x="9" y="16"/>
                      <a:pt x="11" y="15"/>
                    </a:cubicBezTo>
                    <a:cubicBezTo>
                      <a:pt x="13" y="14"/>
                      <a:pt x="13" y="14"/>
                      <a:pt x="14" y="12"/>
                    </a:cubicBezTo>
                    <a:cubicBezTo>
                      <a:pt x="15" y="10"/>
                      <a:pt x="12" y="10"/>
                      <a:pt x="14" y="9"/>
                    </a:cubicBezTo>
                    <a:cubicBezTo>
                      <a:pt x="15" y="8"/>
                      <a:pt x="16" y="6"/>
                      <a:pt x="16" y="3"/>
                    </a:cubicBezTo>
                    <a:cubicBezTo>
                      <a:pt x="16" y="1"/>
                      <a:pt x="15" y="0"/>
                      <a:pt x="14" y="2"/>
                    </a:cubicBezTo>
                    <a:cubicBezTo>
                      <a:pt x="12" y="3"/>
                      <a:pt x="10" y="6"/>
                      <a:pt x="8" y="7"/>
                    </a:cubicBezTo>
                    <a:cubicBezTo>
                      <a:pt x="7" y="7"/>
                      <a:pt x="4" y="7"/>
                      <a:pt x="5" y="10"/>
                    </a:cubicBezTo>
                    <a:cubicBezTo>
                      <a:pt x="5" y="13"/>
                      <a:pt x="4" y="16"/>
                      <a:pt x="2" y="13"/>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22" name="Freeform 143"/>
              <p:cNvSpPr>
                <a:spLocks/>
              </p:cNvSpPr>
              <p:nvPr/>
            </p:nvSpPr>
            <p:spPr bwMode="gray">
              <a:xfrm>
                <a:off x="1577" y="2280"/>
                <a:ext cx="29" cy="32"/>
              </a:xfrm>
              <a:custGeom>
                <a:avLst/>
                <a:gdLst>
                  <a:gd name="T0" fmla="*/ 6 w 11"/>
                  <a:gd name="T1" fmla="*/ 6 h 12"/>
                  <a:gd name="T2" fmla="*/ 10 w 11"/>
                  <a:gd name="T3" fmla="*/ 8 h 12"/>
                  <a:gd name="T4" fmla="*/ 9 w 11"/>
                  <a:gd name="T5" fmla="*/ 12 h 12"/>
                  <a:gd name="T6" fmla="*/ 6 w 11"/>
                  <a:gd name="T7" fmla="*/ 10 h 12"/>
                  <a:gd name="T8" fmla="*/ 3 w 11"/>
                  <a:gd name="T9" fmla="*/ 10 h 12"/>
                  <a:gd name="T10" fmla="*/ 0 w 11"/>
                  <a:gd name="T11" fmla="*/ 5 h 12"/>
                  <a:gd name="T12" fmla="*/ 2 w 11"/>
                  <a:gd name="T13" fmla="*/ 1 h 12"/>
                  <a:gd name="T14" fmla="*/ 6 w 11"/>
                  <a:gd name="T15" fmla="*/ 6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2">
                    <a:moveTo>
                      <a:pt x="6" y="6"/>
                    </a:moveTo>
                    <a:cubicBezTo>
                      <a:pt x="8" y="7"/>
                      <a:pt x="9" y="8"/>
                      <a:pt x="10" y="8"/>
                    </a:cubicBezTo>
                    <a:cubicBezTo>
                      <a:pt x="11" y="9"/>
                      <a:pt x="9" y="11"/>
                      <a:pt x="9" y="12"/>
                    </a:cubicBezTo>
                    <a:cubicBezTo>
                      <a:pt x="8" y="12"/>
                      <a:pt x="7" y="11"/>
                      <a:pt x="6" y="10"/>
                    </a:cubicBezTo>
                    <a:cubicBezTo>
                      <a:pt x="5" y="10"/>
                      <a:pt x="4" y="10"/>
                      <a:pt x="3" y="10"/>
                    </a:cubicBezTo>
                    <a:cubicBezTo>
                      <a:pt x="2" y="10"/>
                      <a:pt x="1" y="7"/>
                      <a:pt x="0" y="5"/>
                    </a:cubicBezTo>
                    <a:cubicBezTo>
                      <a:pt x="0" y="3"/>
                      <a:pt x="1" y="0"/>
                      <a:pt x="2" y="1"/>
                    </a:cubicBezTo>
                    <a:cubicBezTo>
                      <a:pt x="3" y="2"/>
                      <a:pt x="4" y="6"/>
                      <a:pt x="6" y="6"/>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23" name="Freeform 144"/>
              <p:cNvSpPr>
                <a:spLocks/>
              </p:cNvSpPr>
              <p:nvPr/>
            </p:nvSpPr>
            <p:spPr bwMode="gray">
              <a:xfrm>
                <a:off x="1590" y="2312"/>
                <a:ext cx="8" cy="13"/>
              </a:xfrm>
              <a:custGeom>
                <a:avLst/>
                <a:gdLst>
                  <a:gd name="T0" fmla="*/ 1 w 3"/>
                  <a:gd name="T1" fmla="*/ 1 h 5"/>
                  <a:gd name="T2" fmla="*/ 1 w 3"/>
                  <a:gd name="T3" fmla="*/ 5 h 5"/>
                  <a:gd name="T4" fmla="*/ 1 w 3"/>
                  <a:gd name="T5" fmla="*/ 1 h 5"/>
                </a:gdLst>
                <a:ahLst/>
                <a:cxnLst>
                  <a:cxn ang="0">
                    <a:pos x="T0" y="T1"/>
                  </a:cxn>
                  <a:cxn ang="0">
                    <a:pos x="T2" y="T3"/>
                  </a:cxn>
                  <a:cxn ang="0">
                    <a:pos x="T4" y="T5"/>
                  </a:cxn>
                </a:cxnLst>
                <a:rect l="0" t="0" r="r" b="b"/>
                <a:pathLst>
                  <a:path w="3" h="5">
                    <a:moveTo>
                      <a:pt x="1" y="1"/>
                    </a:moveTo>
                    <a:cubicBezTo>
                      <a:pt x="0" y="2"/>
                      <a:pt x="0" y="5"/>
                      <a:pt x="1" y="5"/>
                    </a:cubicBezTo>
                    <a:cubicBezTo>
                      <a:pt x="3" y="5"/>
                      <a:pt x="3" y="0"/>
                      <a:pt x="1"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24" name="Freeform 145"/>
              <p:cNvSpPr>
                <a:spLocks/>
              </p:cNvSpPr>
              <p:nvPr/>
            </p:nvSpPr>
            <p:spPr bwMode="gray">
              <a:xfrm>
                <a:off x="1574" y="2304"/>
                <a:ext cx="8" cy="18"/>
              </a:xfrm>
              <a:custGeom>
                <a:avLst/>
                <a:gdLst>
                  <a:gd name="T0" fmla="*/ 2 w 3"/>
                  <a:gd name="T1" fmla="*/ 0 h 7"/>
                  <a:gd name="T2" fmla="*/ 1 w 3"/>
                  <a:gd name="T3" fmla="*/ 4 h 7"/>
                  <a:gd name="T4" fmla="*/ 3 w 3"/>
                  <a:gd name="T5" fmla="*/ 5 h 7"/>
                  <a:gd name="T6" fmla="*/ 2 w 3"/>
                  <a:gd name="T7" fmla="*/ 0 h 7"/>
                </a:gdLst>
                <a:ahLst/>
                <a:cxnLst>
                  <a:cxn ang="0">
                    <a:pos x="T0" y="T1"/>
                  </a:cxn>
                  <a:cxn ang="0">
                    <a:pos x="T2" y="T3"/>
                  </a:cxn>
                  <a:cxn ang="0">
                    <a:pos x="T4" y="T5"/>
                  </a:cxn>
                  <a:cxn ang="0">
                    <a:pos x="T6" y="T7"/>
                  </a:cxn>
                </a:cxnLst>
                <a:rect l="0" t="0" r="r" b="b"/>
                <a:pathLst>
                  <a:path w="3" h="7">
                    <a:moveTo>
                      <a:pt x="2" y="0"/>
                    </a:moveTo>
                    <a:cubicBezTo>
                      <a:pt x="1" y="0"/>
                      <a:pt x="0" y="1"/>
                      <a:pt x="1" y="4"/>
                    </a:cubicBezTo>
                    <a:cubicBezTo>
                      <a:pt x="1" y="7"/>
                      <a:pt x="2" y="7"/>
                      <a:pt x="3" y="5"/>
                    </a:cubicBezTo>
                    <a:cubicBezTo>
                      <a:pt x="3" y="4"/>
                      <a:pt x="3" y="2"/>
                      <a:pt x="2"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25" name="Freeform 146"/>
              <p:cNvSpPr>
                <a:spLocks/>
              </p:cNvSpPr>
              <p:nvPr/>
            </p:nvSpPr>
            <p:spPr bwMode="gray">
              <a:xfrm>
                <a:off x="1590" y="2259"/>
                <a:ext cx="10" cy="21"/>
              </a:xfrm>
              <a:custGeom>
                <a:avLst/>
                <a:gdLst>
                  <a:gd name="T0" fmla="*/ 2 w 4"/>
                  <a:gd name="T1" fmla="*/ 2 h 8"/>
                  <a:gd name="T2" fmla="*/ 1 w 4"/>
                  <a:gd name="T3" fmla="*/ 6 h 8"/>
                  <a:gd name="T4" fmla="*/ 3 w 4"/>
                  <a:gd name="T5" fmla="*/ 7 h 8"/>
                  <a:gd name="T6" fmla="*/ 2 w 4"/>
                  <a:gd name="T7" fmla="*/ 2 h 8"/>
                </a:gdLst>
                <a:ahLst/>
                <a:cxnLst>
                  <a:cxn ang="0">
                    <a:pos x="T0" y="T1"/>
                  </a:cxn>
                  <a:cxn ang="0">
                    <a:pos x="T2" y="T3"/>
                  </a:cxn>
                  <a:cxn ang="0">
                    <a:pos x="T4" y="T5"/>
                  </a:cxn>
                  <a:cxn ang="0">
                    <a:pos x="T6" y="T7"/>
                  </a:cxn>
                </a:cxnLst>
                <a:rect l="0" t="0" r="r" b="b"/>
                <a:pathLst>
                  <a:path w="4" h="8">
                    <a:moveTo>
                      <a:pt x="2" y="2"/>
                    </a:moveTo>
                    <a:cubicBezTo>
                      <a:pt x="1" y="0"/>
                      <a:pt x="0" y="3"/>
                      <a:pt x="1" y="6"/>
                    </a:cubicBezTo>
                    <a:cubicBezTo>
                      <a:pt x="1" y="8"/>
                      <a:pt x="2" y="8"/>
                      <a:pt x="3" y="7"/>
                    </a:cubicBezTo>
                    <a:cubicBezTo>
                      <a:pt x="4" y="7"/>
                      <a:pt x="3" y="4"/>
                      <a:pt x="2" y="2"/>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26" name="Freeform 147"/>
              <p:cNvSpPr>
                <a:spLocks/>
              </p:cNvSpPr>
              <p:nvPr/>
            </p:nvSpPr>
            <p:spPr bwMode="gray">
              <a:xfrm>
                <a:off x="1598" y="2275"/>
                <a:ext cx="5" cy="13"/>
              </a:xfrm>
              <a:custGeom>
                <a:avLst/>
                <a:gdLst>
                  <a:gd name="T0" fmla="*/ 1 w 2"/>
                  <a:gd name="T1" fmla="*/ 1 h 5"/>
                  <a:gd name="T2" fmla="*/ 1 w 2"/>
                  <a:gd name="T3" fmla="*/ 4 h 5"/>
                  <a:gd name="T4" fmla="*/ 1 w 2"/>
                  <a:gd name="T5" fmla="*/ 1 h 5"/>
                </a:gdLst>
                <a:ahLst/>
                <a:cxnLst>
                  <a:cxn ang="0">
                    <a:pos x="T0" y="T1"/>
                  </a:cxn>
                  <a:cxn ang="0">
                    <a:pos x="T2" y="T3"/>
                  </a:cxn>
                  <a:cxn ang="0">
                    <a:pos x="T4" y="T5"/>
                  </a:cxn>
                </a:cxnLst>
                <a:rect l="0" t="0" r="r" b="b"/>
                <a:pathLst>
                  <a:path w="2" h="5">
                    <a:moveTo>
                      <a:pt x="1" y="1"/>
                    </a:moveTo>
                    <a:cubicBezTo>
                      <a:pt x="0" y="0"/>
                      <a:pt x="0" y="4"/>
                      <a:pt x="1" y="4"/>
                    </a:cubicBezTo>
                    <a:cubicBezTo>
                      <a:pt x="2" y="5"/>
                      <a:pt x="2" y="1"/>
                      <a:pt x="1"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27" name="Freeform 148"/>
              <p:cNvSpPr>
                <a:spLocks/>
              </p:cNvSpPr>
              <p:nvPr/>
            </p:nvSpPr>
            <p:spPr bwMode="gray">
              <a:xfrm>
                <a:off x="1603" y="2270"/>
                <a:ext cx="13" cy="13"/>
              </a:xfrm>
              <a:custGeom>
                <a:avLst/>
                <a:gdLst>
                  <a:gd name="T0" fmla="*/ 3 w 5"/>
                  <a:gd name="T1" fmla="*/ 0 h 5"/>
                  <a:gd name="T2" fmla="*/ 1 w 5"/>
                  <a:gd name="T3" fmla="*/ 3 h 5"/>
                  <a:gd name="T4" fmla="*/ 3 w 5"/>
                  <a:gd name="T5" fmla="*/ 3 h 5"/>
                  <a:gd name="T6" fmla="*/ 3 w 5"/>
                  <a:gd name="T7" fmla="*/ 0 h 5"/>
                </a:gdLst>
                <a:ahLst/>
                <a:cxnLst>
                  <a:cxn ang="0">
                    <a:pos x="T0" y="T1"/>
                  </a:cxn>
                  <a:cxn ang="0">
                    <a:pos x="T2" y="T3"/>
                  </a:cxn>
                  <a:cxn ang="0">
                    <a:pos x="T4" y="T5"/>
                  </a:cxn>
                  <a:cxn ang="0">
                    <a:pos x="T6" y="T7"/>
                  </a:cxn>
                </a:cxnLst>
                <a:rect l="0" t="0" r="r" b="b"/>
                <a:pathLst>
                  <a:path w="5" h="5">
                    <a:moveTo>
                      <a:pt x="3" y="0"/>
                    </a:moveTo>
                    <a:cubicBezTo>
                      <a:pt x="2" y="0"/>
                      <a:pt x="2" y="2"/>
                      <a:pt x="1" y="3"/>
                    </a:cubicBezTo>
                    <a:cubicBezTo>
                      <a:pt x="0" y="5"/>
                      <a:pt x="2" y="4"/>
                      <a:pt x="3" y="3"/>
                    </a:cubicBezTo>
                    <a:cubicBezTo>
                      <a:pt x="5" y="2"/>
                      <a:pt x="5" y="0"/>
                      <a:pt x="3"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28" name="Freeform 149"/>
              <p:cNvSpPr>
                <a:spLocks/>
              </p:cNvSpPr>
              <p:nvPr/>
            </p:nvSpPr>
            <p:spPr bwMode="gray">
              <a:xfrm>
                <a:off x="1603" y="2285"/>
                <a:ext cx="10" cy="6"/>
              </a:xfrm>
              <a:custGeom>
                <a:avLst/>
                <a:gdLst>
                  <a:gd name="T0" fmla="*/ 3 w 4"/>
                  <a:gd name="T1" fmla="*/ 0 h 2"/>
                  <a:gd name="T2" fmla="*/ 2 w 4"/>
                  <a:gd name="T3" fmla="*/ 2 h 2"/>
                  <a:gd name="T4" fmla="*/ 4 w 4"/>
                  <a:gd name="T5" fmla="*/ 1 h 2"/>
                  <a:gd name="T6" fmla="*/ 3 w 4"/>
                  <a:gd name="T7" fmla="*/ 0 h 2"/>
                </a:gdLst>
                <a:ahLst/>
                <a:cxnLst>
                  <a:cxn ang="0">
                    <a:pos x="T0" y="T1"/>
                  </a:cxn>
                  <a:cxn ang="0">
                    <a:pos x="T2" y="T3"/>
                  </a:cxn>
                  <a:cxn ang="0">
                    <a:pos x="T4" y="T5"/>
                  </a:cxn>
                  <a:cxn ang="0">
                    <a:pos x="T6" y="T7"/>
                  </a:cxn>
                </a:cxnLst>
                <a:rect l="0" t="0" r="r" b="b"/>
                <a:pathLst>
                  <a:path w="4" h="2">
                    <a:moveTo>
                      <a:pt x="3" y="0"/>
                    </a:moveTo>
                    <a:cubicBezTo>
                      <a:pt x="2" y="0"/>
                      <a:pt x="0" y="2"/>
                      <a:pt x="2" y="2"/>
                    </a:cubicBezTo>
                    <a:cubicBezTo>
                      <a:pt x="3" y="2"/>
                      <a:pt x="4" y="2"/>
                      <a:pt x="4" y="1"/>
                    </a:cubicBezTo>
                    <a:cubicBezTo>
                      <a:pt x="4" y="0"/>
                      <a:pt x="4" y="1"/>
                      <a:pt x="3"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29" name="Freeform 150"/>
              <p:cNvSpPr>
                <a:spLocks/>
              </p:cNvSpPr>
              <p:nvPr/>
            </p:nvSpPr>
            <p:spPr bwMode="gray">
              <a:xfrm>
                <a:off x="1648" y="2157"/>
                <a:ext cx="29" cy="60"/>
              </a:xfrm>
              <a:custGeom>
                <a:avLst/>
                <a:gdLst>
                  <a:gd name="T0" fmla="*/ 8 w 11"/>
                  <a:gd name="T1" fmla="*/ 0 h 23"/>
                  <a:gd name="T2" fmla="*/ 9 w 11"/>
                  <a:gd name="T3" fmla="*/ 3 h 23"/>
                  <a:gd name="T4" fmla="*/ 11 w 11"/>
                  <a:gd name="T5" fmla="*/ 6 h 23"/>
                  <a:gd name="T6" fmla="*/ 10 w 11"/>
                  <a:gd name="T7" fmla="*/ 12 h 23"/>
                  <a:gd name="T8" fmla="*/ 8 w 11"/>
                  <a:gd name="T9" fmla="*/ 19 h 23"/>
                  <a:gd name="T10" fmla="*/ 7 w 11"/>
                  <a:gd name="T11" fmla="*/ 23 h 23"/>
                  <a:gd name="T12" fmla="*/ 6 w 11"/>
                  <a:gd name="T13" fmla="*/ 19 h 23"/>
                  <a:gd name="T14" fmla="*/ 7 w 11"/>
                  <a:gd name="T15" fmla="*/ 13 h 23"/>
                  <a:gd name="T16" fmla="*/ 4 w 11"/>
                  <a:gd name="T17" fmla="*/ 10 h 23"/>
                  <a:gd name="T18" fmla="*/ 1 w 11"/>
                  <a:gd name="T19" fmla="*/ 9 h 23"/>
                  <a:gd name="T20" fmla="*/ 3 w 11"/>
                  <a:gd name="T21" fmla="*/ 6 h 23"/>
                  <a:gd name="T22" fmla="*/ 7 w 11"/>
                  <a:gd name="T23" fmla="*/ 6 h 23"/>
                  <a:gd name="T24" fmla="*/ 8 w 11"/>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3">
                    <a:moveTo>
                      <a:pt x="8" y="0"/>
                    </a:moveTo>
                    <a:cubicBezTo>
                      <a:pt x="8" y="2"/>
                      <a:pt x="8" y="3"/>
                      <a:pt x="9" y="3"/>
                    </a:cubicBezTo>
                    <a:cubicBezTo>
                      <a:pt x="11" y="4"/>
                      <a:pt x="11" y="4"/>
                      <a:pt x="11" y="6"/>
                    </a:cubicBezTo>
                    <a:cubicBezTo>
                      <a:pt x="11" y="8"/>
                      <a:pt x="11" y="9"/>
                      <a:pt x="10" y="12"/>
                    </a:cubicBezTo>
                    <a:cubicBezTo>
                      <a:pt x="9" y="15"/>
                      <a:pt x="9" y="16"/>
                      <a:pt x="8" y="19"/>
                    </a:cubicBezTo>
                    <a:cubicBezTo>
                      <a:pt x="8" y="21"/>
                      <a:pt x="8" y="23"/>
                      <a:pt x="7" y="23"/>
                    </a:cubicBezTo>
                    <a:cubicBezTo>
                      <a:pt x="6" y="22"/>
                      <a:pt x="5" y="21"/>
                      <a:pt x="6" y="19"/>
                    </a:cubicBezTo>
                    <a:cubicBezTo>
                      <a:pt x="7" y="16"/>
                      <a:pt x="7" y="16"/>
                      <a:pt x="7" y="13"/>
                    </a:cubicBezTo>
                    <a:cubicBezTo>
                      <a:pt x="6" y="11"/>
                      <a:pt x="5" y="10"/>
                      <a:pt x="4" y="10"/>
                    </a:cubicBezTo>
                    <a:cubicBezTo>
                      <a:pt x="2" y="10"/>
                      <a:pt x="1" y="10"/>
                      <a:pt x="1" y="9"/>
                    </a:cubicBezTo>
                    <a:cubicBezTo>
                      <a:pt x="0" y="8"/>
                      <a:pt x="1" y="5"/>
                      <a:pt x="3" y="6"/>
                    </a:cubicBezTo>
                    <a:cubicBezTo>
                      <a:pt x="5" y="7"/>
                      <a:pt x="6" y="8"/>
                      <a:pt x="7" y="6"/>
                    </a:cubicBezTo>
                    <a:cubicBezTo>
                      <a:pt x="7" y="4"/>
                      <a:pt x="8" y="0"/>
                      <a:pt x="8"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30" name="Freeform 151"/>
              <p:cNvSpPr>
                <a:spLocks/>
              </p:cNvSpPr>
              <p:nvPr/>
            </p:nvSpPr>
            <p:spPr bwMode="gray">
              <a:xfrm>
                <a:off x="1653" y="2141"/>
                <a:ext cx="16" cy="29"/>
              </a:xfrm>
              <a:custGeom>
                <a:avLst/>
                <a:gdLst>
                  <a:gd name="T0" fmla="*/ 3 w 6"/>
                  <a:gd name="T1" fmla="*/ 10 h 11"/>
                  <a:gd name="T2" fmla="*/ 1 w 6"/>
                  <a:gd name="T3" fmla="*/ 5 h 11"/>
                  <a:gd name="T4" fmla="*/ 3 w 6"/>
                  <a:gd name="T5" fmla="*/ 3 h 11"/>
                  <a:gd name="T6" fmla="*/ 5 w 6"/>
                  <a:gd name="T7" fmla="*/ 0 h 11"/>
                  <a:gd name="T8" fmla="*/ 5 w 6"/>
                  <a:gd name="T9" fmla="*/ 5 h 11"/>
                  <a:gd name="T10" fmla="*/ 3 w 6"/>
                  <a:gd name="T11" fmla="*/ 10 h 11"/>
                </a:gdLst>
                <a:ahLst/>
                <a:cxnLst>
                  <a:cxn ang="0">
                    <a:pos x="T0" y="T1"/>
                  </a:cxn>
                  <a:cxn ang="0">
                    <a:pos x="T2" y="T3"/>
                  </a:cxn>
                  <a:cxn ang="0">
                    <a:pos x="T4" y="T5"/>
                  </a:cxn>
                  <a:cxn ang="0">
                    <a:pos x="T6" y="T7"/>
                  </a:cxn>
                  <a:cxn ang="0">
                    <a:pos x="T8" y="T9"/>
                  </a:cxn>
                  <a:cxn ang="0">
                    <a:pos x="T10" y="T11"/>
                  </a:cxn>
                </a:cxnLst>
                <a:rect l="0" t="0" r="r" b="b"/>
                <a:pathLst>
                  <a:path w="6" h="11">
                    <a:moveTo>
                      <a:pt x="3" y="10"/>
                    </a:moveTo>
                    <a:cubicBezTo>
                      <a:pt x="2" y="8"/>
                      <a:pt x="0" y="7"/>
                      <a:pt x="1" y="5"/>
                    </a:cubicBezTo>
                    <a:cubicBezTo>
                      <a:pt x="2" y="4"/>
                      <a:pt x="2" y="6"/>
                      <a:pt x="3" y="3"/>
                    </a:cubicBezTo>
                    <a:cubicBezTo>
                      <a:pt x="4" y="1"/>
                      <a:pt x="5" y="0"/>
                      <a:pt x="5" y="0"/>
                    </a:cubicBezTo>
                    <a:cubicBezTo>
                      <a:pt x="5" y="0"/>
                      <a:pt x="6" y="0"/>
                      <a:pt x="5" y="5"/>
                    </a:cubicBezTo>
                    <a:cubicBezTo>
                      <a:pt x="3" y="10"/>
                      <a:pt x="4" y="11"/>
                      <a:pt x="3" y="1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31" name="Freeform 152"/>
              <p:cNvSpPr>
                <a:spLocks/>
              </p:cNvSpPr>
              <p:nvPr/>
            </p:nvSpPr>
            <p:spPr bwMode="gray">
              <a:xfrm>
                <a:off x="1671" y="2135"/>
                <a:ext cx="8" cy="22"/>
              </a:xfrm>
              <a:custGeom>
                <a:avLst/>
                <a:gdLst>
                  <a:gd name="T0" fmla="*/ 2 w 3"/>
                  <a:gd name="T1" fmla="*/ 1 h 8"/>
                  <a:gd name="T2" fmla="*/ 1 w 3"/>
                  <a:gd name="T3" fmla="*/ 4 h 8"/>
                  <a:gd name="T4" fmla="*/ 2 w 3"/>
                  <a:gd name="T5" fmla="*/ 7 h 8"/>
                  <a:gd name="T6" fmla="*/ 2 w 3"/>
                  <a:gd name="T7" fmla="*/ 1 h 8"/>
                </a:gdLst>
                <a:ahLst/>
                <a:cxnLst>
                  <a:cxn ang="0">
                    <a:pos x="T0" y="T1"/>
                  </a:cxn>
                  <a:cxn ang="0">
                    <a:pos x="T2" y="T3"/>
                  </a:cxn>
                  <a:cxn ang="0">
                    <a:pos x="T4" y="T5"/>
                  </a:cxn>
                  <a:cxn ang="0">
                    <a:pos x="T6" y="T7"/>
                  </a:cxn>
                </a:cxnLst>
                <a:rect l="0" t="0" r="r" b="b"/>
                <a:pathLst>
                  <a:path w="3" h="8">
                    <a:moveTo>
                      <a:pt x="2" y="1"/>
                    </a:moveTo>
                    <a:cubicBezTo>
                      <a:pt x="1" y="0"/>
                      <a:pt x="0" y="1"/>
                      <a:pt x="1" y="4"/>
                    </a:cubicBezTo>
                    <a:cubicBezTo>
                      <a:pt x="1" y="7"/>
                      <a:pt x="1" y="8"/>
                      <a:pt x="2" y="7"/>
                    </a:cubicBezTo>
                    <a:cubicBezTo>
                      <a:pt x="3" y="6"/>
                      <a:pt x="3" y="1"/>
                      <a:pt x="2"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32" name="Freeform 153"/>
              <p:cNvSpPr>
                <a:spLocks/>
              </p:cNvSpPr>
              <p:nvPr/>
            </p:nvSpPr>
            <p:spPr bwMode="gray">
              <a:xfrm>
                <a:off x="1679" y="2122"/>
                <a:ext cx="8" cy="19"/>
              </a:xfrm>
              <a:custGeom>
                <a:avLst/>
                <a:gdLst>
                  <a:gd name="T0" fmla="*/ 1 w 3"/>
                  <a:gd name="T1" fmla="*/ 0 h 7"/>
                  <a:gd name="T2" fmla="*/ 1 w 3"/>
                  <a:gd name="T3" fmla="*/ 5 h 7"/>
                  <a:gd name="T4" fmla="*/ 3 w 3"/>
                  <a:gd name="T5" fmla="*/ 5 h 7"/>
                  <a:gd name="T6" fmla="*/ 1 w 3"/>
                  <a:gd name="T7" fmla="*/ 0 h 7"/>
                </a:gdLst>
                <a:ahLst/>
                <a:cxnLst>
                  <a:cxn ang="0">
                    <a:pos x="T0" y="T1"/>
                  </a:cxn>
                  <a:cxn ang="0">
                    <a:pos x="T2" y="T3"/>
                  </a:cxn>
                  <a:cxn ang="0">
                    <a:pos x="T4" y="T5"/>
                  </a:cxn>
                  <a:cxn ang="0">
                    <a:pos x="T6" y="T7"/>
                  </a:cxn>
                </a:cxnLst>
                <a:rect l="0" t="0" r="r" b="b"/>
                <a:pathLst>
                  <a:path w="3" h="7">
                    <a:moveTo>
                      <a:pt x="1" y="0"/>
                    </a:moveTo>
                    <a:cubicBezTo>
                      <a:pt x="1" y="0"/>
                      <a:pt x="0" y="4"/>
                      <a:pt x="1" y="5"/>
                    </a:cubicBezTo>
                    <a:cubicBezTo>
                      <a:pt x="2" y="7"/>
                      <a:pt x="3" y="7"/>
                      <a:pt x="3" y="5"/>
                    </a:cubicBezTo>
                    <a:cubicBezTo>
                      <a:pt x="3" y="3"/>
                      <a:pt x="3" y="1"/>
                      <a:pt x="1"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33" name="Freeform 154"/>
              <p:cNvSpPr>
                <a:spLocks/>
              </p:cNvSpPr>
              <p:nvPr/>
            </p:nvSpPr>
            <p:spPr bwMode="gray">
              <a:xfrm>
                <a:off x="1679" y="2143"/>
                <a:ext cx="11" cy="8"/>
              </a:xfrm>
              <a:custGeom>
                <a:avLst/>
                <a:gdLst>
                  <a:gd name="T0" fmla="*/ 2 w 4"/>
                  <a:gd name="T1" fmla="*/ 0 h 3"/>
                  <a:gd name="T2" fmla="*/ 2 w 4"/>
                  <a:gd name="T3" fmla="*/ 3 h 3"/>
                  <a:gd name="T4" fmla="*/ 2 w 4"/>
                  <a:gd name="T5" fmla="*/ 0 h 3"/>
                </a:gdLst>
                <a:ahLst/>
                <a:cxnLst>
                  <a:cxn ang="0">
                    <a:pos x="T0" y="T1"/>
                  </a:cxn>
                  <a:cxn ang="0">
                    <a:pos x="T2" y="T3"/>
                  </a:cxn>
                  <a:cxn ang="0">
                    <a:pos x="T4" y="T5"/>
                  </a:cxn>
                </a:cxnLst>
                <a:rect l="0" t="0" r="r" b="b"/>
                <a:pathLst>
                  <a:path w="4" h="3">
                    <a:moveTo>
                      <a:pt x="2" y="0"/>
                    </a:moveTo>
                    <a:cubicBezTo>
                      <a:pt x="1" y="0"/>
                      <a:pt x="0" y="2"/>
                      <a:pt x="2" y="3"/>
                    </a:cubicBezTo>
                    <a:cubicBezTo>
                      <a:pt x="3" y="3"/>
                      <a:pt x="4" y="1"/>
                      <a:pt x="2"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34" name="Freeform 155"/>
              <p:cNvSpPr>
                <a:spLocks/>
              </p:cNvSpPr>
              <p:nvPr/>
            </p:nvSpPr>
            <p:spPr bwMode="gray">
              <a:xfrm>
                <a:off x="3201" y="1683"/>
                <a:ext cx="28" cy="27"/>
              </a:xfrm>
              <a:custGeom>
                <a:avLst/>
                <a:gdLst>
                  <a:gd name="T0" fmla="*/ 6 w 11"/>
                  <a:gd name="T1" fmla="*/ 3 h 10"/>
                  <a:gd name="T2" fmla="*/ 2 w 11"/>
                  <a:gd name="T3" fmla="*/ 1 h 10"/>
                  <a:gd name="T4" fmla="*/ 3 w 11"/>
                  <a:gd name="T5" fmla="*/ 6 h 10"/>
                  <a:gd name="T6" fmla="*/ 7 w 11"/>
                  <a:gd name="T7" fmla="*/ 8 h 10"/>
                  <a:gd name="T8" fmla="*/ 10 w 11"/>
                  <a:gd name="T9" fmla="*/ 5 h 10"/>
                  <a:gd name="T10" fmla="*/ 6 w 11"/>
                  <a:gd name="T11" fmla="*/ 3 h 10"/>
                </a:gdLst>
                <a:ahLst/>
                <a:cxnLst>
                  <a:cxn ang="0">
                    <a:pos x="T0" y="T1"/>
                  </a:cxn>
                  <a:cxn ang="0">
                    <a:pos x="T2" y="T3"/>
                  </a:cxn>
                  <a:cxn ang="0">
                    <a:pos x="T4" y="T5"/>
                  </a:cxn>
                  <a:cxn ang="0">
                    <a:pos x="T6" y="T7"/>
                  </a:cxn>
                  <a:cxn ang="0">
                    <a:pos x="T8" y="T9"/>
                  </a:cxn>
                  <a:cxn ang="0">
                    <a:pos x="T10" y="T11"/>
                  </a:cxn>
                </a:cxnLst>
                <a:rect l="0" t="0" r="r" b="b"/>
                <a:pathLst>
                  <a:path w="11" h="10">
                    <a:moveTo>
                      <a:pt x="6" y="3"/>
                    </a:moveTo>
                    <a:cubicBezTo>
                      <a:pt x="4" y="0"/>
                      <a:pt x="4" y="1"/>
                      <a:pt x="2" y="1"/>
                    </a:cubicBezTo>
                    <a:cubicBezTo>
                      <a:pt x="0" y="1"/>
                      <a:pt x="2" y="3"/>
                      <a:pt x="3" y="6"/>
                    </a:cubicBezTo>
                    <a:cubicBezTo>
                      <a:pt x="5" y="10"/>
                      <a:pt x="6" y="9"/>
                      <a:pt x="7" y="8"/>
                    </a:cubicBezTo>
                    <a:cubicBezTo>
                      <a:pt x="9" y="7"/>
                      <a:pt x="11" y="5"/>
                      <a:pt x="10" y="5"/>
                    </a:cubicBezTo>
                    <a:cubicBezTo>
                      <a:pt x="8" y="5"/>
                      <a:pt x="6" y="5"/>
                      <a:pt x="6" y="3"/>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35" name="Freeform 156"/>
              <p:cNvSpPr>
                <a:spLocks/>
              </p:cNvSpPr>
              <p:nvPr/>
            </p:nvSpPr>
            <p:spPr bwMode="gray">
              <a:xfrm>
                <a:off x="3222" y="1681"/>
                <a:ext cx="15" cy="10"/>
              </a:xfrm>
              <a:custGeom>
                <a:avLst/>
                <a:gdLst>
                  <a:gd name="T0" fmla="*/ 3 w 6"/>
                  <a:gd name="T1" fmla="*/ 0 h 4"/>
                  <a:gd name="T2" fmla="*/ 2 w 6"/>
                  <a:gd name="T3" fmla="*/ 3 h 4"/>
                  <a:gd name="T4" fmla="*/ 3 w 6"/>
                  <a:gd name="T5" fmla="*/ 0 h 4"/>
                </a:gdLst>
                <a:ahLst/>
                <a:cxnLst>
                  <a:cxn ang="0">
                    <a:pos x="T0" y="T1"/>
                  </a:cxn>
                  <a:cxn ang="0">
                    <a:pos x="T2" y="T3"/>
                  </a:cxn>
                  <a:cxn ang="0">
                    <a:pos x="T4" y="T5"/>
                  </a:cxn>
                </a:cxnLst>
                <a:rect l="0" t="0" r="r" b="b"/>
                <a:pathLst>
                  <a:path w="6" h="4">
                    <a:moveTo>
                      <a:pt x="3" y="0"/>
                    </a:moveTo>
                    <a:cubicBezTo>
                      <a:pt x="2" y="0"/>
                      <a:pt x="0" y="2"/>
                      <a:pt x="2" y="3"/>
                    </a:cubicBezTo>
                    <a:cubicBezTo>
                      <a:pt x="4" y="4"/>
                      <a:pt x="6" y="1"/>
                      <a:pt x="3"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36" name="Freeform 157"/>
              <p:cNvSpPr>
                <a:spLocks/>
              </p:cNvSpPr>
              <p:nvPr/>
            </p:nvSpPr>
            <p:spPr bwMode="gray">
              <a:xfrm>
                <a:off x="3466" y="1513"/>
                <a:ext cx="16" cy="15"/>
              </a:xfrm>
              <a:custGeom>
                <a:avLst/>
                <a:gdLst>
                  <a:gd name="T0" fmla="*/ 3 w 6"/>
                  <a:gd name="T1" fmla="*/ 1 h 6"/>
                  <a:gd name="T2" fmla="*/ 3 w 6"/>
                  <a:gd name="T3" fmla="*/ 5 h 6"/>
                  <a:gd name="T4" fmla="*/ 3 w 6"/>
                  <a:gd name="T5" fmla="*/ 1 h 6"/>
                </a:gdLst>
                <a:ahLst/>
                <a:cxnLst>
                  <a:cxn ang="0">
                    <a:pos x="T0" y="T1"/>
                  </a:cxn>
                  <a:cxn ang="0">
                    <a:pos x="T2" y="T3"/>
                  </a:cxn>
                  <a:cxn ang="0">
                    <a:pos x="T4" y="T5"/>
                  </a:cxn>
                </a:cxnLst>
                <a:rect l="0" t="0" r="r" b="b"/>
                <a:pathLst>
                  <a:path w="6" h="6">
                    <a:moveTo>
                      <a:pt x="3" y="1"/>
                    </a:moveTo>
                    <a:cubicBezTo>
                      <a:pt x="2" y="0"/>
                      <a:pt x="0" y="5"/>
                      <a:pt x="3" y="5"/>
                    </a:cubicBezTo>
                    <a:cubicBezTo>
                      <a:pt x="5" y="6"/>
                      <a:pt x="6" y="2"/>
                      <a:pt x="3"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37" name="Freeform 158"/>
              <p:cNvSpPr>
                <a:spLocks/>
              </p:cNvSpPr>
              <p:nvPr/>
            </p:nvSpPr>
            <p:spPr bwMode="gray">
              <a:xfrm>
                <a:off x="3671" y="1237"/>
                <a:ext cx="81" cy="84"/>
              </a:xfrm>
              <a:custGeom>
                <a:avLst/>
                <a:gdLst>
                  <a:gd name="T0" fmla="*/ 27 w 31"/>
                  <a:gd name="T1" fmla="*/ 18 h 32"/>
                  <a:gd name="T2" fmla="*/ 23 w 31"/>
                  <a:gd name="T3" fmla="*/ 27 h 32"/>
                  <a:gd name="T4" fmla="*/ 15 w 31"/>
                  <a:gd name="T5" fmla="*/ 30 h 32"/>
                  <a:gd name="T6" fmla="*/ 9 w 31"/>
                  <a:gd name="T7" fmla="*/ 31 h 32"/>
                  <a:gd name="T8" fmla="*/ 3 w 31"/>
                  <a:gd name="T9" fmla="*/ 27 h 32"/>
                  <a:gd name="T10" fmla="*/ 1 w 31"/>
                  <a:gd name="T11" fmla="*/ 19 h 32"/>
                  <a:gd name="T12" fmla="*/ 1 w 31"/>
                  <a:gd name="T13" fmla="*/ 9 h 32"/>
                  <a:gd name="T14" fmla="*/ 7 w 31"/>
                  <a:gd name="T15" fmla="*/ 1 h 32"/>
                  <a:gd name="T16" fmla="*/ 16 w 31"/>
                  <a:gd name="T17" fmla="*/ 4 h 32"/>
                  <a:gd name="T18" fmla="*/ 25 w 31"/>
                  <a:gd name="T19" fmla="*/ 9 h 32"/>
                  <a:gd name="T20" fmla="*/ 31 w 31"/>
                  <a:gd name="T21" fmla="*/ 16 h 32"/>
                  <a:gd name="T22" fmla="*/ 27 w 31"/>
                  <a:gd name="T23"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32">
                    <a:moveTo>
                      <a:pt x="27" y="18"/>
                    </a:moveTo>
                    <a:cubicBezTo>
                      <a:pt x="25" y="24"/>
                      <a:pt x="25" y="26"/>
                      <a:pt x="23" y="27"/>
                    </a:cubicBezTo>
                    <a:cubicBezTo>
                      <a:pt x="20" y="29"/>
                      <a:pt x="17" y="29"/>
                      <a:pt x="15" y="30"/>
                    </a:cubicBezTo>
                    <a:cubicBezTo>
                      <a:pt x="12" y="30"/>
                      <a:pt x="10" y="32"/>
                      <a:pt x="9" y="31"/>
                    </a:cubicBezTo>
                    <a:cubicBezTo>
                      <a:pt x="7" y="30"/>
                      <a:pt x="6" y="27"/>
                      <a:pt x="3" y="27"/>
                    </a:cubicBezTo>
                    <a:cubicBezTo>
                      <a:pt x="1" y="26"/>
                      <a:pt x="2" y="22"/>
                      <a:pt x="1" y="19"/>
                    </a:cubicBezTo>
                    <a:cubicBezTo>
                      <a:pt x="0" y="16"/>
                      <a:pt x="0" y="12"/>
                      <a:pt x="1" y="9"/>
                    </a:cubicBezTo>
                    <a:cubicBezTo>
                      <a:pt x="2" y="6"/>
                      <a:pt x="5" y="2"/>
                      <a:pt x="7" y="1"/>
                    </a:cubicBezTo>
                    <a:cubicBezTo>
                      <a:pt x="9" y="0"/>
                      <a:pt x="13" y="1"/>
                      <a:pt x="16" y="4"/>
                    </a:cubicBezTo>
                    <a:cubicBezTo>
                      <a:pt x="19" y="6"/>
                      <a:pt x="23" y="7"/>
                      <a:pt x="25" y="9"/>
                    </a:cubicBezTo>
                    <a:cubicBezTo>
                      <a:pt x="28" y="10"/>
                      <a:pt x="31" y="10"/>
                      <a:pt x="31" y="16"/>
                    </a:cubicBezTo>
                    <a:cubicBezTo>
                      <a:pt x="31" y="22"/>
                      <a:pt x="29" y="14"/>
                      <a:pt x="27" y="18"/>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38" name="Freeform 159"/>
              <p:cNvSpPr>
                <a:spLocks/>
              </p:cNvSpPr>
              <p:nvPr/>
            </p:nvSpPr>
            <p:spPr bwMode="gray">
              <a:xfrm>
                <a:off x="3955" y="1294"/>
                <a:ext cx="18" cy="14"/>
              </a:xfrm>
              <a:custGeom>
                <a:avLst/>
                <a:gdLst>
                  <a:gd name="T0" fmla="*/ 3 w 7"/>
                  <a:gd name="T1" fmla="*/ 0 h 5"/>
                  <a:gd name="T2" fmla="*/ 2 w 7"/>
                  <a:gd name="T3" fmla="*/ 4 h 5"/>
                  <a:gd name="T4" fmla="*/ 3 w 7"/>
                  <a:gd name="T5" fmla="*/ 0 h 5"/>
                </a:gdLst>
                <a:ahLst/>
                <a:cxnLst>
                  <a:cxn ang="0">
                    <a:pos x="T0" y="T1"/>
                  </a:cxn>
                  <a:cxn ang="0">
                    <a:pos x="T2" y="T3"/>
                  </a:cxn>
                  <a:cxn ang="0">
                    <a:pos x="T4" y="T5"/>
                  </a:cxn>
                </a:cxnLst>
                <a:rect l="0" t="0" r="r" b="b"/>
                <a:pathLst>
                  <a:path w="7" h="5">
                    <a:moveTo>
                      <a:pt x="3" y="0"/>
                    </a:moveTo>
                    <a:cubicBezTo>
                      <a:pt x="0" y="1"/>
                      <a:pt x="0" y="3"/>
                      <a:pt x="2" y="4"/>
                    </a:cubicBezTo>
                    <a:cubicBezTo>
                      <a:pt x="5" y="5"/>
                      <a:pt x="7" y="2"/>
                      <a:pt x="3"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39" name="Freeform 160"/>
              <p:cNvSpPr>
                <a:spLocks/>
              </p:cNvSpPr>
              <p:nvPr/>
            </p:nvSpPr>
            <p:spPr bwMode="gray">
              <a:xfrm>
                <a:off x="4094" y="1255"/>
                <a:ext cx="24" cy="29"/>
              </a:xfrm>
              <a:custGeom>
                <a:avLst/>
                <a:gdLst>
                  <a:gd name="T0" fmla="*/ 6 w 9"/>
                  <a:gd name="T1" fmla="*/ 8 h 11"/>
                  <a:gd name="T2" fmla="*/ 9 w 9"/>
                  <a:gd name="T3" fmla="*/ 9 h 11"/>
                  <a:gd name="T4" fmla="*/ 6 w 9"/>
                  <a:gd name="T5" fmla="*/ 4 h 11"/>
                  <a:gd name="T6" fmla="*/ 1 w 9"/>
                  <a:gd name="T7" fmla="*/ 1 h 11"/>
                  <a:gd name="T8" fmla="*/ 6 w 9"/>
                  <a:gd name="T9" fmla="*/ 8 h 11"/>
                </a:gdLst>
                <a:ahLst/>
                <a:cxnLst>
                  <a:cxn ang="0">
                    <a:pos x="T0" y="T1"/>
                  </a:cxn>
                  <a:cxn ang="0">
                    <a:pos x="T2" y="T3"/>
                  </a:cxn>
                  <a:cxn ang="0">
                    <a:pos x="T4" y="T5"/>
                  </a:cxn>
                  <a:cxn ang="0">
                    <a:pos x="T6" y="T7"/>
                  </a:cxn>
                  <a:cxn ang="0">
                    <a:pos x="T8" y="T9"/>
                  </a:cxn>
                </a:cxnLst>
                <a:rect l="0" t="0" r="r" b="b"/>
                <a:pathLst>
                  <a:path w="9" h="11">
                    <a:moveTo>
                      <a:pt x="6" y="8"/>
                    </a:moveTo>
                    <a:cubicBezTo>
                      <a:pt x="8" y="9"/>
                      <a:pt x="9" y="11"/>
                      <a:pt x="9" y="9"/>
                    </a:cubicBezTo>
                    <a:cubicBezTo>
                      <a:pt x="9" y="7"/>
                      <a:pt x="8" y="4"/>
                      <a:pt x="6" y="4"/>
                    </a:cubicBezTo>
                    <a:cubicBezTo>
                      <a:pt x="4" y="3"/>
                      <a:pt x="3" y="0"/>
                      <a:pt x="1" y="1"/>
                    </a:cubicBezTo>
                    <a:cubicBezTo>
                      <a:pt x="0" y="2"/>
                      <a:pt x="4" y="5"/>
                      <a:pt x="6" y="8"/>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40" name="Freeform 161"/>
              <p:cNvSpPr>
                <a:spLocks/>
              </p:cNvSpPr>
              <p:nvPr/>
            </p:nvSpPr>
            <p:spPr bwMode="gray">
              <a:xfrm>
                <a:off x="2743" y="1689"/>
                <a:ext cx="24" cy="21"/>
              </a:xfrm>
              <a:custGeom>
                <a:avLst/>
                <a:gdLst>
                  <a:gd name="T0" fmla="*/ 4 w 9"/>
                  <a:gd name="T1" fmla="*/ 0 h 8"/>
                  <a:gd name="T2" fmla="*/ 1 w 9"/>
                  <a:gd name="T3" fmla="*/ 4 h 8"/>
                  <a:gd name="T4" fmla="*/ 6 w 9"/>
                  <a:gd name="T5" fmla="*/ 6 h 8"/>
                  <a:gd name="T6" fmla="*/ 4 w 9"/>
                  <a:gd name="T7" fmla="*/ 0 h 8"/>
                </a:gdLst>
                <a:ahLst/>
                <a:cxnLst>
                  <a:cxn ang="0">
                    <a:pos x="T0" y="T1"/>
                  </a:cxn>
                  <a:cxn ang="0">
                    <a:pos x="T2" y="T3"/>
                  </a:cxn>
                  <a:cxn ang="0">
                    <a:pos x="T4" y="T5"/>
                  </a:cxn>
                  <a:cxn ang="0">
                    <a:pos x="T6" y="T7"/>
                  </a:cxn>
                </a:cxnLst>
                <a:rect l="0" t="0" r="r" b="b"/>
                <a:pathLst>
                  <a:path w="9" h="8">
                    <a:moveTo>
                      <a:pt x="4" y="0"/>
                    </a:moveTo>
                    <a:cubicBezTo>
                      <a:pt x="2" y="0"/>
                      <a:pt x="0" y="1"/>
                      <a:pt x="1" y="4"/>
                    </a:cubicBezTo>
                    <a:cubicBezTo>
                      <a:pt x="2" y="7"/>
                      <a:pt x="4" y="8"/>
                      <a:pt x="6" y="6"/>
                    </a:cubicBezTo>
                    <a:cubicBezTo>
                      <a:pt x="9" y="4"/>
                      <a:pt x="8" y="1"/>
                      <a:pt x="4"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41" name="Freeform 162"/>
              <p:cNvSpPr>
                <a:spLocks/>
              </p:cNvSpPr>
              <p:nvPr/>
            </p:nvSpPr>
            <p:spPr bwMode="gray">
              <a:xfrm>
                <a:off x="2615" y="1862"/>
                <a:ext cx="13" cy="34"/>
              </a:xfrm>
              <a:custGeom>
                <a:avLst/>
                <a:gdLst>
                  <a:gd name="T0" fmla="*/ 3 w 5"/>
                  <a:gd name="T1" fmla="*/ 3 h 13"/>
                  <a:gd name="T2" fmla="*/ 1 w 5"/>
                  <a:gd name="T3" fmla="*/ 11 h 13"/>
                  <a:gd name="T4" fmla="*/ 5 w 5"/>
                  <a:gd name="T5" fmla="*/ 9 h 13"/>
                  <a:gd name="T6" fmla="*/ 3 w 5"/>
                  <a:gd name="T7" fmla="*/ 3 h 13"/>
                </a:gdLst>
                <a:ahLst/>
                <a:cxnLst>
                  <a:cxn ang="0">
                    <a:pos x="T0" y="T1"/>
                  </a:cxn>
                  <a:cxn ang="0">
                    <a:pos x="T2" y="T3"/>
                  </a:cxn>
                  <a:cxn ang="0">
                    <a:pos x="T4" y="T5"/>
                  </a:cxn>
                  <a:cxn ang="0">
                    <a:pos x="T6" y="T7"/>
                  </a:cxn>
                </a:cxnLst>
                <a:rect l="0" t="0" r="r" b="b"/>
                <a:pathLst>
                  <a:path w="5" h="13">
                    <a:moveTo>
                      <a:pt x="3" y="3"/>
                    </a:moveTo>
                    <a:cubicBezTo>
                      <a:pt x="1" y="6"/>
                      <a:pt x="0" y="10"/>
                      <a:pt x="1" y="11"/>
                    </a:cubicBezTo>
                    <a:cubicBezTo>
                      <a:pt x="2" y="13"/>
                      <a:pt x="5" y="12"/>
                      <a:pt x="5" y="9"/>
                    </a:cubicBezTo>
                    <a:cubicBezTo>
                      <a:pt x="4" y="6"/>
                      <a:pt x="4" y="0"/>
                      <a:pt x="3" y="3"/>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42" name="Freeform 163"/>
              <p:cNvSpPr>
                <a:spLocks/>
              </p:cNvSpPr>
              <p:nvPr/>
            </p:nvSpPr>
            <p:spPr bwMode="gray">
              <a:xfrm>
                <a:off x="2567" y="2159"/>
                <a:ext cx="37" cy="45"/>
              </a:xfrm>
              <a:custGeom>
                <a:avLst/>
                <a:gdLst>
                  <a:gd name="T0" fmla="*/ 6 w 14"/>
                  <a:gd name="T1" fmla="*/ 6 h 17"/>
                  <a:gd name="T2" fmla="*/ 4 w 14"/>
                  <a:gd name="T3" fmla="*/ 7 h 17"/>
                  <a:gd name="T4" fmla="*/ 2 w 14"/>
                  <a:gd name="T5" fmla="*/ 6 h 17"/>
                  <a:gd name="T6" fmla="*/ 1 w 14"/>
                  <a:gd name="T7" fmla="*/ 8 h 17"/>
                  <a:gd name="T8" fmla="*/ 3 w 14"/>
                  <a:gd name="T9" fmla="*/ 10 h 17"/>
                  <a:gd name="T10" fmla="*/ 5 w 14"/>
                  <a:gd name="T11" fmla="*/ 13 h 17"/>
                  <a:gd name="T12" fmla="*/ 8 w 14"/>
                  <a:gd name="T13" fmla="*/ 13 h 17"/>
                  <a:gd name="T14" fmla="*/ 10 w 14"/>
                  <a:gd name="T15" fmla="*/ 16 h 17"/>
                  <a:gd name="T16" fmla="*/ 12 w 14"/>
                  <a:gd name="T17" fmla="*/ 15 h 17"/>
                  <a:gd name="T18" fmla="*/ 13 w 14"/>
                  <a:gd name="T19" fmla="*/ 11 h 17"/>
                  <a:gd name="T20" fmla="*/ 10 w 14"/>
                  <a:gd name="T21" fmla="*/ 12 h 17"/>
                  <a:gd name="T22" fmla="*/ 10 w 14"/>
                  <a:gd name="T23" fmla="*/ 8 h 17"/>
                  <a:gd name="T24" fmla="*/ 13 w 14"/>
                  <a:gd name="T25" fmla="*/ 8 h 17"/>
                  <a:gd name="T26" fmla="*/ 10 w 14"/>
                  <a:gd name="T27" fmla="*/ 3 h 17"/>
                  <a:gd name="T28" fmla="*/ 8 w 14"/>
                  <a:gd name="T29" fmla="*/ 3 h 17"/>
                  <a:gd name="T30" fmla="*/ 5 w 14"/>
                  <a:gd name="T31" fmla="*/ 1 h 17"/>
                  <a:gd name="T32" fmla="*/ 6 w 14"/>
                  <a:gd name="T33" fmla="*/ 6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 h="17">
                    <a:moveTo>
                      <a:pt x="6" y="6"/>
                    </a:moveTo>
                    <a:cubicBezTo>
                      <a:pt x="6" y="7"/>
                      <a:pt x="5" y="9"/>
                      <a:pt x="4" y="7"/>
                    </a:cubicBezTo>
                    <a:cubicBezTo>
                      <a:pt x="4" y="6"/>
                      <a:pt x="3" y="4"/>
                      <a:pt x="2" y="6"/>
                    </a:cubicBezTo>
                    <a:cubicBezTo>
                      <a:pt x="2" y="7"/>
                      <a:pt x="1" y="7"/>
                      <a:pt x="1" y="8"/>
                    </a:cubicBezTo>
                    <a:cubicBezTo>
                      <a:pt x="0" y="9"/>
                      <a:pt x="3" y="9"/>
                      <a:pt x="3" y="10"/>
                    </a:cubicBezTo>
                    <a:cubicBezTo>
                      <a:pt x="4" y="12"/>
                      <a:pt x="4" y="13"/>
                      <a:pt x="5" y="13"/>
                    </a:cubicBezTo>
                    <a:cubicBezTo>
                      <a:pt x="5" y="14"/>
                      <a:pt x="7" y="12"/>
                      <a:pt x="8" y="13"/>
                    </a:cubicBezTo>
                    <a:cubicBezTo>
                      <a:pt x="9" y="13"/>
                      <a:pt x="8" y="15"/>
                      <a:pt x="10" y="16"/>
                    </a:cubicBezTo>
                    <a:cubicBezTo>
                      <a:pt x="11" y="17"/>
                      <a:pt x="12" y="16"/>
                      <a:pt x="12" y="15"/>
                    </a:cubicBezTo>
                    <a:cubicBezTo>
                      <a:pt x="12" y="13"/>
                      <a:pt x="14" y="11"/>
                      <a:pt x="13" y="11"/>
                    </a:cubicBezTo>
                    <a:cubicBezTo>
                      <a:pt x="11" y="12"/>
                      <a:pt x="11" y="15"/>
                      <a:pt x="10" y="12"/>
                    </a:cubicBezTo>
                    <a:cubicBezTo>
                      <a:pt x="9" y="9"/>
                      <a:pt x="9" y="7"/>
                      <a:pt x="10" y="8"/>
                    </a:cubicBezTo>
                    <a:cubicBezTo>
                      <a:pt x="12" y="10"/>
                      <a:pt x="13" y="11"/>
                      <a:pt x="13" y="8"/>
                    </a:cubicBezTo>
                    <a:cubicBezTo>
                      <a:pt x="12" y="6"/>
                      <a:pt x="11" y="5"/>
                      <a:pt x="10" y="3"/>
                    </a:cubicBezTo>
                    <a:cubicBezTo>
                      <a:pt x="9" y="2"/>
                      <a:pt x="9" y="5"/>
                      <a:pt x="8" y="3"/>
                    </a:cubicBezTo>
                    <a:cubicBezTo>
                      <a:pt x="7" y="0"/>
                      <a:pt x="6" y="1"/>
                      <a:pt x="5" y="1"/>
                    </a:cubicBezTo>
                    <a:cubicBezTo>
                      <a:pt x="4" y="1"/>
                      <a:pt x="4" y="4"/>
                      <a:pt x="6" y="6"/>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43" name="Freeform 164"/>
              <p:cNvSpPr>
                <a:spLocks/>
              </p:cNvSpPr>
              <p:nvPr/>
            </p:nvSpPr>
            <p:spPr bwMode="gray">
              <a:xfrm>
                <a:off x="2520" y="2256"/>
                <a:ext cx="18" cy="27"/>
              </a:xfrm>
              <a:custGeom>
                <a:avLst/>
                <a:gdLst>
                  <a:gd name="T0" fmla="*/ 1 w 7"/>
                  <a:gd name="T1" fmla="*/ 3 h 10"/>
                  <a:gd name="T2" fmla="*/ 3 w 7"/>
                  <a:gd name="T3" fmla="*/ 3 h 10"/>
                  <a:gd name="T4" fmla="*/ 4 w 7"/>
                  <a:gd name="T5" fmla="*/ 2 h 10"/>
                  <a:gd name="T6" fmla="*/ 6 w 7"/>
                  <a:gd name="T7" fmla="*/ 7 h 10"/>
                  <a:gd name="T8" fmla="*/ 4 w 7"/>
                  <a:gd name="T9" fmla="*/ 8 h 10"/>
                  <a:gd name="T10" fmla="*/ 1 w 7"/>
                  <a:gd name="T11" fmla="*/ 3 h 10"/>
                </a:gdLst>
                <a:ahLst/>
                <a:cxnLst>
                  <a:cxn ang="0">
                    <a:pos x="T0" y="T1"/>
                  </a:cxn>
                  <a:cxn ang="0">
                    <a:pos x="T2" y="T3"/>
                  </a:cxn>
                  <a:cxn ang="0">
                    <a:pos x="T4" y="T5"/>
                  </a:cxn>
                  <a:cxn ang="0">
                    <a:pos x="T6" y="T7"/>
                  </a:cxn>
                  <a:cxn ang="0">
                    <a:pos x="T8" y="T9"/>
                  </a:cxn>
                  <a:cxn ang="0">
                    <a:pos x="T10" y="T11"/>
                  </a:cxn>
                </a:cxnLst>
                <a:rect l="0" t="0" r="r" b="b"/>
                <a:pathLst>
                  <a:path w="7" h="10">
                    <a:moveTo>
                      <a:pt x="1" y="3"/>
                    </a:moveTo>
                    <a:cubicBezTo>
                      <a:pt x="1" y="2"/>
                      <a:pt x="3" y="4"/>
                      <a:pt x="3" y="3"/>
                    </a:cubicBezTo>
                    <a:cubicBezTo>
                      <a:pt x="4" y="2"/>
                      <a:pt x="4" y="0"/>
                      <a:pt x="4" y="2"/>
                    </a:cubicBezTo>
                    <a:cubicBezTo>
                      <a:pt x="5" y="3"/>
                      <a:pt x="7" y="5"/>
                      <a:pt x="6" y="7"/>
                    </a:cubicBezTo>
                    <a:cubicBezTo>
                      <a:pt x="6" y="9"/>
                      <a:pt x="5" y="10"/>
                      <a:pt x="4" y="8"/>
                    </a:cubicBezTo>
                    <a:cubicBezTo>
                      <a:pt x="3" y="7"/>
                      <a:pt x="0" y="5"/>
                      <a:pt x="1" y="3"/>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44" name="Freeform 165"/>
              <p:cNvSpPr>
                <a:spLocks/>
              </p:cNvSpPr>
              <p:nvPr/>
            </p:nvSpPr>
            <p:spPr bwMode="gray">
              <a:xfrm>
                <a:off x="2531" y="2243"/>
                <a:ext cx="7" cy="11"/>
              </a:xfrm>
              <a:custGeom>
                <a:avLst/>
                <a:gdLst>
                  <a:gd name="T0" fmla="*/ 2 w 3"/>
                  <a:gd name="T1" fmla="*/ 1 h 4"/>
                  <a:gd name="T2" fmla="*/ 1 w 3"/>
                  <a:gd name="T3" fmla="*/ 4 h 4"/>
                  <a:gd name="T4" fmla="*/ 3 w 3"/>
                  <a:gd name="T5" fmla="*/ 2 h 4"/>
                  <a:gd name="T6" fmla="*/ 2 w 3"/>
                  <a:gd name="T7" fmla="*/ 1 h 4"/>
                </a:gdLst>
                <a:ahLst/>
                <a:cxnLst>
                  <a:cxn ang="0">
                    <a:pos x="T0" y="T1"/>
                  </a:cxn>
                  <a:cxn ang="0">
                    <a:pos x="T2" y="T3"/>
                  </a:cxn>
                  <a:cxn ang="0">
                    <a:pos x="T4" y="T5"/>
                  </a:cxn>
                  <a:cxn ang="0">
                    <a:pos x="T6" y="T7"/>
                  </a:cxn>
                </a:cxnLst>
                <a:rect l="0" t="0" r="r" b="b"/>
                <a:pathLst>
                  <a:path w="3" h="4">
                    <a:moveTo>
                      <a:pt x="2" y="1"/>
                    </a:moveTo>
                    <a:cubicBezTo>
                      <a:pt x="0" y="2"/>
                      <a:pt x="0" y="3"/>
                      <a:pt x="1" y="4"/>
                    </a:cubicBezTo>
                    <a:cubicBezTo>
                      <a:pt x="3" y="4"/>
                      <a:pt x="3" y="3"/>
                      <a:pt x="3" y="2"/>
                    </a:cubicBezTo>
                    <a:cubicBezTo>
                      <a:pt x="3" y="1"/>
                      <a:pt x="2" y="0"/>
                      <a:pt x="2"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45" name="Freeform 166"/>
              <p:cNvSpPr>
                <a:spLocks/>
              </p:cNvSpPr>
              <p:nvPr/>
            </p:nvSpPr>
            <p:spPr bwMode="gray">
              <a:xfrm>
                <a:off x="2452" y="2443"/>
                <a:ext cx="29" cy="95"/>
              </a:xfrm>
              <a:custGeom>
                <a:avLst/>
                <a:gdLst>
                  <a:gd name="T0" fmla="*/ 0 w 11"/>
                  <a:gd name="T1" fmla="*/ 28 h 36"/>
                  <a:gd name="T2" fmla="*/ 2 w 11"/>
                  <a:gd name="T3" fmla="*/ 19 h 36"/>
                  <a:gd name="T4" fmla="*/ 6 w 11"/>
                  <a:gd name="T5" fmla="*/ 11 h 36"/>
                  <a:gd name="T6" fmla="*/ 10 w 11"/>
                  <a:gd name="T7" fmla="*/ 1 h 36"/>
                  <a:gd name="T8" fmla="*/ 11 w 11"/>
                  <a:gd name="T9" fmla="*/ 5 h 36"/>
                  <a:gd name="T10" fmla="*/ 8 w 11"/>
                  <a:gd name="T11" fmla="*/ 13 h 36"/>
                  <a:gd name="T12" fmla="*/ 6 w 11"/>
                  <a:gd name="T13" fmla="*/ 22 h 36"/>
                  <a:gd name="T14" fmla="*/ 2 w 11"/>
                  <a:gd name="T15" fmla="*/ 33 h 36"/>
                  <a:gd name="T16" fmla="*/ 0 w 11"/>
                  <a:gd name="T17" fmla="*/ 34 h 36"/>
                  <a:gd name="T18" fmla="*/ 0 w 11"/>
                  <a:gd name="T19"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36">
                    <a:moveTo>
                      <a:pt x="0" y="28"/>
                    </a:moveTo>
                    <a:cubicBezTo>
                      <a:pt x="0" y="24"/>
                      <a:pt x="0" y="21"/>
                      <a:pt x="2" y="19"/>
                    </a:cubicBezTo>
                    <a:cubicBezTo>
                      <a:pt x="4" y="16"/>
                      <a:pt x="5" y="14"/>
                      <a:pt x="6" y="11"/>
                    </a:cubicBezTo>
                    <a:cubicBezTo>
                      <a:pt x="7" y="8"/>
                      <a:pt x="9" y="2"/>
                      <a:pt x="10" y="1"/>
                    </a:cubicBezTo>
                    <a:cubicBezTo>
                      <a:pt x="11" y="0"/>
                      <a:pt x="11" y="3"/>
                      <a:pt x="11" y="5"/>
                    </a:cubicBezTo>
                    <a:cubicBezTo>
                      <a:pt x="10" y="7"/>
                      <a:pt x="8" y="10"/>
                      <a:pt x="8" y="13"/>
                    </a:cubicBezTo>
                    <a:cubicBezTo>
                      <a:pt x="7" y="17"/>
                      <a:pt x="6" y="18"/>
                      <a:pt x="6" y="22"/>
                    </a:cubicBezTo>
                    <a:cubicBezTo>
                      <a:pt x="6" y="26"/>
                      <a:pt x="3" y="29"/>
                      <a:pt x="2" y="33"/>
                    </a:cubicBezTo>
                    <a:cubicBezTo>
                      <a:pt x="2" y="36"/>
                      <a:pt x="1" y="36"/>
                      <a:pt x="0" y="34"/>
                    </a:cubicBezTo>
                    <a:cubicBezTo>
                      <a:pt x="0" y="31"/>
                      <a:pt x="0" y="28"/>
                      <a:pt x="0" y="28"/>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46" name="Freeform 167"/>
              <p:cNvSpPr>
                <a:spLocks/>
              </p:cNvSpPr>
              <p:nvPr/>
            </p:nvSpPr>
            <p:spPr bwMode="gray">
              <a:xfrm>
                <a:off x="2520" y="2390"/>
                <a:ext cx="42" cy="98"/>
              </a:xfrm>
              <a:custGeom>
                <a:avLst/>
                <a:gdLst>
                  <a:gd name="T0" fmla="*/ 1 w 16"/>
                  <a:gd name="T1" fmla="*/ 14 h 37"/>
                  <a:gd name="T2" fmla="*/ 2 w 16"/>
                  <a:gd name="T3" fmla="*/ 18 h 37"/>
                  <a:gd name="T4" fmla="*/ 2 w 16"/>
                  <a:gd name="T5" fmla="*/ 25 h 37"/>
                  <a:gd name="T6" fmla="*/ 4 w 16"/>
                  <a:gd name="T7" fmla="*/ 29 h 37"/>
                  <a:gd name="T8" fmla="*/ 4 w 16"/>
                  <a:gd name="T9" fmla="*/ 31 h 37"/>
                  <a:gd name="T10" fmla="*/ 2 w 16"/>
                  <a:gd name="T11" fmla="*/ 36 h 37"/>
                  <a:gd name="T12" fmla="*/ 5 w 16"/>
                  <a:gd name="T13" fmla="*/ 32 h 37"/>
                  <a:gd name="T14" fmla="*/ 7 w 16"/>
                  <a:gd name="T15" fmla="*/ 27 h 37"/>
                  <a:gd name="T16" fmla="*/ 12 w 16"/>
                  <a:gd name="T17" fmla="*/ 21 h 37"/>
                  <a:gd name="T18" fmla="*/ 14 w 16"/>
                  <a:gd name="T19" fmla="*/ 17 h 37"/>
                  <a:gd name="T20" fmla="*/ 12 w 16"/>
                  <a:gd name="T21" fmla="*/ 13 h 37"/>
                  <a:gd name="T22" fmla="*/ 13 w 16"/>
                  <a:gd name="T23" fmla="*/ 9 h 37"/>
                  <a:gd name="T24" fmla="*/ 16 w 16"/>
                  <a:gd name="T25" fmla="*/ 3 h 37"/>
                  <a:gd name="T26" fmla="*/ 14 w 16"/>
                  <a:gd name="T27" fmla="*/ 2 h 37"/>
                  <a:gd name="T28" fmla="*/ 8 w 16"/>
                  <a:gd name="T29" fmla="*/ 3 h 37"/>
                  <a:gd name="T30" fmla="*/ 5 w 16"/>
                  <a:gd name="T31" fmla="*/ 8 h 37"/>
                  <a:gd name="T32" fmla="*/ 1 w 16"/>
                  <a:gd name="T33" fmla="*/ 14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 h="37">
                    <a:moveTo>
                      <a:pt x="1" y="14"/>
                    </a:moveTo>
                    <a:cubicBezTo>
                      <a:pt x="0" y="15"/>
                      <a:pt x="1" y="16"/>
                      <a:pt x="2" y="18"/>
                    </a:cubicBezTo>
                    <a:cubicBezTo>
                      <a:pt x="2" y="20"/>
                      <a:pt x="2" y="21"/>
                      <a:pt x="2" y="25"/>
                    </a:cubicBezTo>
                    <a:cubicBezTo>
                      <a:pt x="2" y="28"/>
                      <a:pt x="3" y="28"/>
                      <a:pt x="4" y="29"/>
                    </a:cubicBezTo>
                    <a:cubicBezTo>
                      <a:pt x="5" y="30"/>
                      <a:pt x="5" y="30"/>
                      <a:pt x="4" y="31"/>
                    </a:cubicBezTo>
                    <a:cubicBezTo>
                      <a:pt x="3" y="33"/>
                      <a:pt x="1" y="35"/>
                      <a:pt x="2" y="36"/>
                    </a:cubicBezTo>
                    <a:cubicBezTo>
                      <a:pt x="3" y="37"/>
                      <a:pt x="6" y="34"/>
                      <a:pt x="5" y="32"/>
                    </a:cubicBezTo>
                    <a:cubicBezTo>
                      <a:pt x="5" y="30"/>
                      <a:pt x="5" y="29"/>
                      <a:pt x="7" y="27"/>
                    </a:cubicBezTo>
                    <a:cubicBezTo>
                      <a:pt x="9" y="26"/>
                      <a:pt x="11" y="24"/>
                      <a:pt x="12" y="21"/>
                    </a:cubicBezTo>
                    <a:cubicBezTo>
                      <a:pt x="13" y="19"/>
                      <a:pt x="16" y="18"/>
                      <a:pt x="14" y="17"/>
                    </a:cubicBezTo>
                    <a:cubicBezTo>
                      <a:pt x="13" y="17"/>
                      <a:pt x="11" y="15"/>
                      <a:pt x="12" y="13"/>
                    </a:cubicBezTo>
                    <a:cubicBezTo>
                      <a:pt x="12" y="12"/>
                      <a:pt x="11" y="10"/>
                      <a:pt x="13" y="9"/>
                    </a:cubicBezTo>
                    <a:cubicBezTo>
                      <a:pt x="15" y="7"/>
                      <a:pt x="16" y="4"/>
                      <a:pt x="16" y="3"/>
                    </a:cubicBezTo>
                    <a:cubicBezTo>
                      <a:pt x="16" y="2"/>
                      <a:pt x="15" y="0"/>
                      <a:pt x="14" y="2"/>
                    </a:cubicBezTo>
                    <a:cubicBezTo>
                      <a:pt x="12" y="3"/>
                      <a:pt x="10" y="2"/>
                      <a:pt x="8" y="3"/>
                    </a:cubicBezTo>
                    <a:cubicBezTo>
                      <a:pt x="7" y="4"/>
                      <a:pt x="6" y="5"/>
                      <a:pt x="5" y="8"/>
                    </a:cubicBezTo>
                    <a:cubicBezTo>
                      <a:pt x="3" y="10"/>
                      <a:pt x="4" y="11"/>
                      <a:pt x="1" y="14"/>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47" name="Freeform 168"/>
              <p:cNvSpPr>
                <a:spLocks/>
              </p:cNvSpPr>
              <p:nvPr/>
            </p:nvSpPr>
            <p:spPr bwMode="gray">
              <a:xfrm>
                <a:off x="2562" y="2346"/>
                <a:ext cx="8" cy="13"/>
              </a:xfrm>
              <a:custGeom>
                <a:avLst/>
                <a:gdLst>
                  <a:gd name="T0" fmla="*/ 1 w 3"/>
                  <a:gd name="T1" fmla="*/ 2 h 5"/>
                  <a:gd name="T2" fmla="*/ 2 w 3"/>
                  <a:gd name="T3" fmla="*/ 4 h 5"/>
                  <a:gd name="T4" fmla="*/ 1 w 3"/>
                  <a:gd name="T5" fmla="*/ 2 h 5"/>
                </a:gdLst>
                <a:ahLst/>
                <a:cxnLst>
                  <a:cxn ang="0">
                    <a:pos x="T0" y="T1"/>
                  </a:cxn>
                  <a:cxn ang="0">
                    <a:pos x="T2" y="T3"/>
                  </a:cxn>
                  <a:cxn ang="0">
                    <a:pos x="T4" y="T5"/>
                  </a:cxn>
                </a:cxnLst>
                <a:rect l="0" t="0" r="r" b="b"/>
                <a:pathLst>
                  <a:path w="3" h="5">
                    <a:moveTo>
                      <a:pt x="1" y="2"/>
                    </a:moveTo>
                    <a:cubicBezTo>
                      <a:pt x="0" y="3"/>
                      <a:pt x="1" y="5"/>
                      <a:pt x="2" y="4"/>
                    </a:cubicBezTo>
                    <a:cubicBezTo>
                      <a:pt x="3" y="4"/>
                      <a:pt x="2" y="0"/>
                      <a:pt x="1" y="2"/>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48" name="Freeform 169"/>
              <p:cNvSpPr>
                <a:spLocks/>
              </p:cNvSpPr>
              <p:nvPr/>
            </p:nvSpPr>
            <p:spPr bwMode="gray">
              <a:xfrm>
                <a:off x="2378" y="2614"/>
                <a:ext cx="21" cy="23"/>
              </a:xfrm>
              <a:custGeom>
                <a:avLst/>
                <a:gdLst>
                  <a:gd name="T0" fmla="*/ 5 w 8"/>
                  <a:gd name="T1" fmla="*/ 1 h 9"/>
                  <a:gd name="T2" fmla="*/ 1 w 8"/>
                  <a:gd name="T3" fmla="*/ 1 h 9"/>
                  <a:gd name="T4" fmla="*/ 1 w 8"/>
                  <a:gd name="T5" fmla="*/ 4 h 9"/>
                  <a:gd name="T6" fmla="*/ 6 w 8"/>
                  <a:gd name="T7" fmla="*/ 8 h 9"/>
                  <a:gd name="T8" fmla="*/ 8 w 8"/>
                  <a:gd name="T9" fmla="*/ 3 h 9"/>
                  <a:gd name="T10" fmla="*/ 5 w 8"/>
                  <a:gd name="T11" fmla="*/ 1 h 9"/>
                </a:gdLst>
                <a:ahLst/>
                <a:cxnLst>
                  <a:cxn ang="0">
                    <a:pos x="T0" y="T1"/>
                  </a:cxn>
                  <a:cxn ang="0">
                    <a:pos x="T2" y="T3"/>
                  </a:cxn>
                  <a:cxn ang="0">
                    <a:pos x="T4" y="T5"/>
                  </a:cxn>
                  <a:cxn ang="0">
                    <a:pos x="T6" y="T7"/>
                  </a:cxn>
                  <a:cxn ang="0">
                    <a:pos x="T8" y="T9"/>
                  </a:cxn>
                  <a:cxn ang="0">
                    <a:pos x="T10" y="T11"/>
                  </a:cxn>
                </a:cxnLst>
                <a:rect l="0" t="0" r="r" b="b"/>
                <a:pathLst>
                  <a:path w="8" h="9">
                    <a:moveTo>
                      <a:pt x="5" y="1"/>
                    </a:moveTo>
                    <a:cubicBezTo>
                      <a:pt x="3" y="0"/>
                      <a:pt x="2" y="0"/>
                      <a:pt x="1" y="1"/>
                    </a:cubicBezTo>
                    <a:cubicBezTo>
                      <a:pt x="1" y="2"/>
                      <a:pt x="0" y="3"/>
                      <a:pt x="1" y="4"/>
                    </a:cubicBezTo>
                    <a:cubicBezTo>
                      <a:pt x="3" y="6"/>
                      <a:pt x="4" y="7"/>
                      <a:pt x="6" y="8"/>
                    </a:cubicBezTo>
                    <a:cubicBezTo>
                      <a:pt x="7" y="9"/>
                      <a:pt x="8" y="4"/>
                      <a:pt x="8" y="3"/>
                    </a:cubicBezTo>
                    <a:cubicBezTo>
                      <a:pt x="8" y="2"/>
                      <a:pt x="6" y="0"/>
                      <a:pt x="5"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49" name="Freeform 170"/>
              <p:cNvSpPr>
                <a:spLocks/>
              </p:cNvSpPr>
              <p:nvPr/>
            </p:nvSpPr>
            <p:spPr bwMode="gray">
              <a:xfrm>
                <a:off x="2155" y="2624"/>
                <a:ext cx="21" cy="24"/>
              </a:xfrm>
              <a:custGeom>
                <a:avLst/>
                <a:gdLst>
                  <a:gd name="T0" fmla="*/ 1 w 8"/>
                  <a:gd name="T1" fmla="*/ 2 h 9"/>
                  <a:gd name="T2" fmla="*/ 4 w 8"/>
                  <a:gd name="T3" fmla="*/ 3 h 9"/>
                  <a:gd name="T4" fmla="*/ 7 w 8"/>
                  <a:gd name="T5" fmla="*/ 6 h 9"/>
                  <a:gd name="T6" fmla="*/ 4 w 8"/>
                  <a:gd name="T7" fmla="*/ 8 h 9"/>
                  <a:gd name="T8" fmla="*/ 1 w 8"/>
                  <a:gd name="T9" fmla="*/ 2 h 9"/>
                </a:gdLst>
                <a:ahLst/>
                <a:cxnLst>
                  <a:cxn ang="0">
                    <a:pos x="T0" y="T1"/>
                  </a:cxn>
                  <a:cxn ang="0">
                    <a:pos x="T2" y="T3"/>
                  </a:cxn>
                  <a:cxn ang="0">
                    <a:pos x="T4" y="T5"/>
                  </a:cxn>
                  <a:cxn ang="0">
                    <a:pos x="T6" y="T7"/>
                  </a:cxn>
                  <a:cxn ang="0">
                    <a:pos x="T8" y="T9"/>
                  </a:cxn>
                </a:cxnLst>
                <a:rect l="0" t="0" r="r" b="b"/>
                <a:pathLst>
                  <a:path w="8" h="9">
                    <a:moveTo>
                      <a:pt x="1" y="2"/>
                    </a:moveTo>
                    <a:cubicBezTo>
                      <a:pt x="1" y="0"/>
                      <a:pt x="3" y="2"/>
                      <a:pt x="4" y="3"/>
                    </a:cubicBezTo>
                    <a:cubicBezTo>
                      <a:pt x="6" y="4"/>
                      <a:pt x="8" y="5"/>
                      <a:pt x="7" y="6"/>
                    </a:cubicBezTo>
                    <a:cubicBezTo>
                      <a:pt x="6" y="8"/>
                      <a:pt x="5" y="9"/>
                      <a:pt x="4" y="8"/>
                    </a:cubicBezTo>
                    <a:cubicBezTo>
                      <a:pt x="3" y="6"/>
                      <a:pt x="0" y="3"/>
                      <a:pt x="1" y="2"/>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50" name="Freeform 171"/>
              <p:cNvSpPr>
                <a:spLocks/>
              </p:cNvSpPr>
              <p:nvPr/>
            </p:nvSpPr>
            <p:spPr bwMode="gray">
              <a:xfrm>
                <a:off x="2189" y="2559"/>
                <a:ext cx="8" cy="15"/>
              </a:xfrm>
              <a:custGeom>
                <a:avLst/>
                <a:gdLst>
                  <a:gd name="T0" fmla="*/ 1 w 3"/>
                  <a:gd name="T1" fmla="*/ 1 h 6"/>
                  <a:gd name="T2" fmla="*/ 1 w 3"/>
                  <a:gd name="T3" fmla="*/ 5 h 6"/>
                  <a:gd name="T4" fmla="*/ 3 w 3"/>
                  <a:gd name="T5" fmla="*/ 3 h 6"/>
                  <a:gd name="T6" fmla="*/ 1 w 3"/>
                  <a:gd name="T7" fmla="*/ 1 h 6"/>
                </a:gdLst>
                <a:ahLst/>
                <a:cxnLst>
                  <a:cxn ang="0">
                    <a:pos x="T0" y="T1"/>
                  </a:cxn>
                  <a:cxn ang="0">
                    <a:pos x="T2" y="T3"/>
                  </a:cxn>
                  <a:cxn ang="0">
                    <a:pos x="T4" y="T5"/>
                  </a:cxn>
                  <a:cxn ang="0">
                    <a:pos x="T6" y="T7"/>
                  </a:cxn>
                </a:cxnLst>
                <a:rect l="0" t="0" r="r" b="b"/>
                <a:pathLst>
                  <a:path w="3" h="6">
                    <a:moveTo>
                      <a:pt x="1" y="1"/>
                    </a:moveTo>
                    <a:cubicBezTo>
                      <a:pt x="2" y="2"/>
                      <a:pt x="0" y="4"/>
                      <a:pt x="1" y="5"/>
                    </a:cubicBezTo>
                    <a:cubicBezTo>
                      <a:pt x="2" y="6"/>
                      <a:pt x="3" y="5"/>
                      <a:pt x="3" y="3"/>
                    </a:cubicBezTo>
                    <a:cubicBezTo>
                      <a:pt x="3" y="2"/>
                      <a:pt x="1" y="0"/>
                      <a:pt x="1"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51" name="Freeform 172"/>
              <p:cNvSpPr>
                <a:spLocks/>
              </p:cNvSpPr>
              <p:nvPr/>
            </p:nvSpPr>
            <p:spPr bwMode="gray">
              <a:xfrm>
                <a:off x="2197" y="2627"/>
                <a:ext cx="13" cy="29"/>
              </a:xfrm>
              <a:custGeom>
                <a:avLst/>
                <a:gdLst>
                  <a:gd name="T0" fmla="*/ 4 w 5"/>
                  <a:gd name="T1" fmla="*/ 1 h 11"/>
                  <a:gd name="T2" fmla="*/ 0 w 5"/>
                  <a:gd name="T3" fmla="*/ 6 h 11"/>
                  <a:gd name="T4" fmla="*/ 2 w 5"/>
                  <a:gd name="T5" fmla="*/ 10 h 11"/>
                  <a:gd name="T6" fmla="*/ 4 w 5"/>
                  <a:gd name="T7" fmla="*/ 4 h 11"/>
                  <a:gd name="T8" fmla="*/ 4 w 5"/>
                  <a:gd name="T9" fmla="*/ 1 h 11"/>
                </a:gdLst>
                <a:ahLst/>
                <a:cxnLst>
                  <a:cxn ang="0">
                    <a:pos x="T0" y="T1"/>
                  </a:cxn>
                  <a:cxn ang="0">
                    <a:pos x="T2" y="T3"/>
                  </a:cxn>
                  <a:cxn ang="0">
                    <a:pos x="T4" y="T5"/>
                  </a:cxn>
                  <a:cxn ang="0">
                    <a:pos x="T6" y="T7"/>
                  </a:cxn>
                  <a:cxn ang="0">
                    <a:pos x="T8" y="T9"/>
                  </a:cxn>
                </a:cxnLst>
                <a:rect l="0" t="0" r="r" b="b"/>
                <a:pathLst>
                  <a:path w="5" h="11">
                    <a:moveTo>
                      <a:pt x="4" y="1"/>
                    </a:moveTo>
                    <a:cubicBezTo>
                      <a:pt x="2" y="3"/>
                      <a:pt x="1" y="4"/>
                      <a:pt x="0" y="6"/>
                    </a:cubicBezTo>
                    <a:cubicBezTo>
                      <a:pt x="0" y="9"/>
                      <a:pt x="1" y="11"/>
                      <a:pt x="2" y="10"/>
                    </a:cubicBezTo>
                    <a:cubicBezTo>
                      <a:pt x="3" y="8"/>
                      <a:pt x="4" y="6"/>
                      <a:pt x="4" y="4"/>
                    </a:cubicBezTo>
                    <a:cubicBezTo>
                      <a:pt x="5" y="3"/>
                      <a:pt x="5" y="0"/>
                      <a:pt x="4"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52" name="Freeform 173"/>
              <p:cNvSpPr>
                <a:spLocks/>
              </p:cNvSpPr>
              <p:nvPr/>
            </p:nvSpPr>
            <p:spPr bwMode="gray">
              <a:xfrm>
                <a:off x="2176" y="2635"/>
                <a:ext cx="16" cy="13"/>
              </a:xfrm>
              <a:custGeom>
                <a:avLst/>
                <a:gdLst>
                  <a:gd name="T0" fmla="*/ 2 w 6"/>
                  <a:gd name="T1" fmla="*/ 0 h 5"/>
                  <a:gd name="T2" fmla="*/ 1 w 6"/>
                  <a:gd name="T3" fmla="*/ 2 h 5"/>
                  <a:gd name="T4" fmla="*/ 5 w 6"/>
                  <a:gd name="T5" fmla="*/ 4 h 5"/>
                  <a:gd name="T6" fmla="*/ 2 w 6"/>
                  <a:gd name="T7" fmla="*/ 0 h 5"/>
                </a:gdLst>
                <a:ahLst/>
                <a:cxnLst>
                  <a:cxn ang="0">
                    <a:pos x="T0" y="T1"/>
                  </a:cxn>
                  <a:cxn ang="0">
                    <a:pos x="T2" y="T3"/>
                  </a:cxn>
                  <a:cxn ang="0">
                    <a:pos x="T4" y="T5"/>
                  </a:cxn>
                  <a:cxn ang="0">
                    <a:pos x="T6" y="T7"/>
                  </a:cxn>
                </a:cxnLst>
                <a:rect l="0" t="0" r="r" b="b"/>
                <a:pathLst>
                  <a:path w="6" h="5">
                    <a:moveTo>
                      <a:pt x="2" y="0"/>
                    </a:moveTo>
                    <a:cubicBezTo>
                      <a:pt x="1" y="0"/>
                      <a:pt x="0" y="1"/>
                      <a:pt x="1" y="2"/>
                    </a:cubicBezTo>
                    <a:cubicBezTo>
                      <a:pt x="2" y="3"/>
                      <a:pt x="3" y="5"/>
                      <a:pt x="5" y="4"/>
                    </a:cubicBezTo>
                    <a:cubicBezTo>
                      <a:pt x="6" y="4"/>
                      <a:pt x="5" y="1"/>
                      <a:pt x="2"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53" name="Freeform 174"/>
              <p:cNvSpPr>
                <a:spLocks/>
              </p:cNvSpPr>
              <p:nvPr/>
            </p:nvSpPr>
            <p:spPr bwMode="gray">
              <a:xfrm>
                <a:off x="2207" y="2545"/>
                <a:ext cx="79" cy="92"/>
              </a:xfrm>
              <a:custGeom>
                <a:avLst/>
                <a:gdLst>
                  <a:gd name="T0" fmla="*/ 5 w 30"/>
                  <a:gd name="T1" fmla="*/ 18 h 35"/>
                  <a:gd name="T2" fmla="*/ 1 w 30"/>
                  <a:gd name="T3" fmla="*/ 14 h 35"/>
                  <a:gd name="T4" fmla="*/ 4 w 30"/>
                  <a:gd name="T5" fmla="*/ 12 h 35"/>
                  <a:gd name="T6" fmla="*/ 8 w 30"/>
                  <a:gd name="T7" fmla="*/ 10 h 35"/>
                  <a:gd name="T8" fmla="*/ 10 w 30"/>
                  <a:gd name="T9" fmla="*/ 9 h 35"/>
                  <a:gd name="T10" fmla="*/ 10 w 30"/>
                  <a:gd name="T11" fmla="*/ 6 h 35"/>
                  <a:gd name="T12" fmla="*/ 14 w 30"/>
                  <a:gd name="T13" fmla="*/ 5 h 35"/>
                  <a:gd name="T14" fmla="*/ 14 w 30"/>
                  <a:gd name="T15" fmla="*/ 8 h 35"/>
                  <a:gd name="T16" fmla="*/ 14 w 30"/>
                  <a:gd name="T17" fmla="*/ 13 h 35"/>
                  <a:gd name="T18" fmla="*/ 17 w 30"/>
                  <a:gd name="T19" fmla="*/ 12 h 35"/>
                  <a:gd name="T20" fmla="*/ 18 w 30"/>
                  <a:gd name="T21" fmla="*/ 9 h 35"/>
                  <a:gd name="T22" fmla="*/ 18 w 30"/>
                  <a:gd name="T23" fmla="*/ 13 h 35"/>
                  <a:gd name="T24" fmla="*/ 20 w 30"/>
                  <a:gd name="T25" fmla="*/ 12 h 35"/>
                  <a:gd name="T26" fmla="*/ 18 w 30"/>
                  <a:gd name="T27" fmla="*/ 6 h 35"/>
                  <a:gd name="T28" fmla="*/ 20 w 30"/>
                  <a:gd name="T29" fmla="*/ 2 h 35"/>
                  <a:gd name="T30" fmla="*/ 23 w 30"/>
                  <a:gd name="T31" fmla="*/ 1 h 35"/>
                  <a:gd name="T32" fmla="*/ 28 w 30"/>
                  <a:gd name="T33" fmla="*/ 2 h 35"/>
                  <a:gd name="T34" fmla="*/ 29 w 30"/>
                  <a:gd name="T35" fmla="*/ 4 h 35"/>
                  <a:gd name="T36" fmla="*/ 28 w 30"/>
                  <a:gd name="T37" fmla="*/ 9 h 35"/>
                  <a:gd name="T38" fmla="*/ 28 w 30"/>
                  <a:gd name="T39" fmla="*/ 14 h 35"/>
                  <a:gd name="T40" fmla="*/ 24 w 30"/>
                  <a:gd name="T41" fmla="*/ 17 h 35"/>
                  <a:gd name="T42" fmla="*/ 23 w 30"/>
                  <a:gd name="T43" fmla="*/ 21 h 35"/>
                  <a:gd name="T44" fmla="*/ 27 w 30"/>
                  <a:gd name="T45" fmla="*/ 25 h 35"/>
                  <a:gd name="T46" fmla="*/ 25 w 30"/>
                  <a:gd name="T47" fmla="*/ 27 h 35"/>
                  <a:gd name="T48" fmla="*/ 22 w 30"/>
                  <a:gd name="T49" fmla="*/ 29 h 35"/>
                  <a:gd name="T50" fmla="*/ 23 w 30"/>
                  <a:gd name="T51" fmla="*/ 33 h 35"/>
                  <a:gd name="T52" fmla="*/ 25 w 30"/>
                  <a:gd name="T53" fmla="*/ 32 h 35"/>
                  <a:gd name="T54" fmla="*/ 28 w 30"/>
                  <a:gd name="T55" fmla="*/ 32 h 35"/>
                  <a:gd name="T56" fmla="*/ 27 w 30"/>
                  <a:gd name="T57" fmla="*/ 35 h 35"/>
                  <a:gd name="T58" fmla="*/ 22 w 30"/>
                  <a:gd name="T59" fmla="*/ 34 h 35"/>
                  <a:gd name="T60" fmla="*/ 18 w 30"/>
                  <a:gd name="T61" fmla="*/ 34 h 35"/>
                  <a:gd name="T62" fmla="*/ 14 w 30"/>
                  <a:gd name="T63" fmla="*/ 31 h 35"/>
                  <a:gd name="T64" fmla="*/ 10 w 30"/>
                  <a:gd name="T65" fmla="*/ 28 h 35"/>
                  <a:gd name="T66" fmla="*/ 7 w 30"/>
                  <a:gd name="T67" fmla="*/ 27 h 35"/>
                  <a:gd name="T68" fmla="*/ 4 w 30"/>
                  <a:gd name="T69" fmla="*/ 23 h 35"/>
                  <a:gd name="T70" fmla="*/ 5 w 30"/>
                  <a:gd name="T71"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35">
                    <a:moveTo>
                      <a:pt x="5" y="18"/>
                    </a:moveTo>
                    <a:cubicBezTo>
                      <a:pt x="4" y="16"/>
                      <a:pt x="1" y="16"/>
                      <a:pt x="1" y="14"/>
                    </a:cubicBezTo>
                    <a:cubicBezTo>
                      <a:pt x="0" y="12"/>
                      <a:pt x="2" y="12"/>
                      <a:pt x="4" y="12"/>
                    </a:cubicBezTo>
                    <a:cubicBezTo>
                      <a:pt x="6" y="12"/>
                      <a:pt x="8" y="12"/>
                      <a:pt x="8" y="10"/>
                    </a:cubicBezTo>
                    <a:cubicBezTo>
                      <a:pt x="9" y="9"/>
                      <a:pt x="9" y="9"/>
                      <a:pt x="10" y="9"/>
                    </a:cubicBezTo>
                    <a:cubicBezTo>
                      <a:pt x="11" y="8"/>
                      <a:pt x="11" y="6"/>
                      <a:pt x="10" y="6"/>
                    </a:cubicBezTo>
                    <a:cubicBezTo>
                      <a:pt x="9" y="5"/>
                      <a:pt x="13" y="6"/>
                      <a:pt x="14" y="5"/>
                    </a:cubicBezTo>
                    <a:cubicBezTo>
                      <a:pt x="15" y="5"/>
                      <a:pt x="15" y="6"/>
                      <a:pt x="14" y="8"/>
                    </a:cubicBezTo>
                    <a:cubicBezTo>
                      <a:pt x="13" y="9"/>
                      <a:pt x="13" y="11"/>
                      <a:pt x="14" y="13"/>
                    </a:cubicBezTo>
                    <a:cubicBezTo>
                      <a:pt x="15" y="15"/>
                      <a:pt x="16" y="14"/>
                      <a:pt x="17" y="12"/>
                    </a:cubicBezTo>
                    <a:cubicBezTo>
                      <a:pt x="17" y="10"/>
                      <a:pt x="18" y="7"/>
                      <a:pt x="18" y="9"/>
                    </a:cubicBezTo>
                    <a:cubicBezTo>
                      <a:pt x="19" y="10"/>
                      <a:pt x="17" y="13"/>
                      <a:pt x="18" y="13"/>
                    </a:cubicBezTo>
                    <a:cubicBezTo>
                      <a:pt x="19" y="14"/>
                      <a:pt x="20" y="14"/>
                      <a:pt x="20" y="12"/>
                    </a:cubicBezTo>
                    <a:cubicBezTo>
                      <a:pt x="20" y="10"/>
                      <a:pt x="20" y="9"/>
                      <a:pt x="18" y="6"/>
                    </a:cubicBezTo>
                    <a:cubicBezTo>
                      <a:pt x="17" y="3"/>
                      <a:pt x="18" y="2"/>
                      <a:pt x="20" y="2"/>
                    </a:cubicBezTo>
                    <a:cubicBezTo>
                      <a:pt x="21" y="1"/>
                      <a:pt x="21" y="1"/>
                      <a:pt x="23" y="1"/>
                    </a:cubicBezTo>
                    <a:cubicBezTo>
                      <a:pt x="25" y="0"/>
                      <a:pt x="26" y="1"/>
                      <a:pt x="28" y="2"/>
                    </a:cubicBezTo>
                    <a:cubicBezTo>
                      <a:pt x="29" y="3"/>
                      <a:pt x="30" y="3"/>
                      <a:pt x="29" y="4"/>
                    </a:cubicBezTo>
                    <a:cubicBezTo>
                      <a:pt x="28" y="6"/>
                      <a:pt x="28" y="6"/>
                      <a:pt x="28" y="9"/>
                    </a:cubicBezTo>
                    <a:cubicBezTo>
                      <a:pt x="29" y="11"/>
                      <a:pt x="30" y="14"/>
                      <a:pt x="28" y="14"/>
                    </a:cubicBezTo>
                    <a:cubicBezTo>
                      <a:pt x="27" y="15"/>
                      <a:pt x="25" y="15"/>
                      <a:pt x="24" y="17"/>
                    </a:cubicBezTo>
                    <a:cubicBezTo>
                      <a:pt x="23" y="19"/>
                      <a:pt x="21" y="20"/>
                      <a:pt x="23" y="21"/>
                    </a:cubicBezTo>
                    <a:cubicBezTo>
                      <a:pt x="26" y="21"/>
                      <a:pt x="26" y="23"/>
                      <a:pt x="27" y="25"/>
                    </a:cubicBezTo>
                    <a:cubicBezTo>
                      <a:pt x="27" y="26"/>
                      <a:pt x="27" y="26"/>
                      <a:pt x="25" y="27"/>
                    </a:cubicBezTo>
                    <a:cubicBezTo>
                      <a:pt x="23" y="28"/>
                      <a:pt x="22" y="26"/>
                      <a:pt x="22" y="29"/>
                    </a:cubicBezTo>
                    <a:cubicBezTo>
                      <a:pt x="22" y="32"/>
                      <a:pt x="23" y="32"/>
                      <a:pt x="23" y="33"/>
                    </a:cubicBezTo>
                    <a:cubicBezTo>
                      <a:pt x="23" y="34"/>
                      <a:pt x="23" y="33"/>
                      <a:pt x="25" y="32"/>
                    </a:cubicBezTo>
                    <a:cubicBezTo>
                      <a:pt x="26" y="32"/>
                      <a:pt x="27" y="31"/>
                      <a:pt x="28" y="32"/>
                    </a:cubicBezTo>
                    <a:cubicBezTo>
                      <a:pt x="29" y="34"/>
                      <a:pt x="28" y="35"/>
                      <a:pt x="27" y="35"/>
                    </a:cubicBezTo>
                    <a:cubicBezTo>
                      <a:pt x="25" y="35"/>
                      <a:pt x="24" y="33"/>
                      <a:pt x="22" y="34"/>
                    </a:cubicBezTo>
                    <a:cubicBezTo>
                      <a:pt x="21" y="35"/>
                      <a:pt x="21" y="35"/>
                      <a:pt x="18" y="34"/>
                    </a:cubicBezTo>
                    <a:cubicBezTo>
                      <a:pt x="16" y="33"/>
                      <a:pt x="14" y="33"/>
                      <a:pt x="14" y="31"/>
                    </a:cubicBezTo>
                    <a:cubicBezTo>
                      <a:pt x="14" y="28"/>
                      <a:pt x="11" y="27"/>
                      <a:pt x="10" y="28"/>
                    </a:cubicBezTo>
                    <a:cubicBezTo>
                      <a:pt x="9" y="29"/>
                      <a:pt x="7" y="29"/>
                      <a:pt x="7" y="27"/>
                    </a:cubicBezTo>
                    <a:cubicBezTo>
                      <a:pt x="6" y="25"/>
                      <a:pt x="4" y="26"/>
                      <a:pt x="4" y="23"/>
                    </a:cubicBezTo>
                    <a:cubicBezTo>
                      <a:pt x="4" y="21"/>
                      <a:pt x="6" y="19"/>
                      <a:pt x="5" y="18"/>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54" name="Freeform 175"/>
              <p:cNvSpPr>
                <a:spLocks/>
              </p:cNvSpPr>
              <p:nvPr/>
            </p:nvSpPr>
            <p:spPr bwMode="gray">
              <a:xfrm>
                <a:off x="2247" y="2635"/>
                <a:ext cx="21" cy="31"/>
              </a:xfrm>
              <a:custGeom>
                <a:avLst/>
                <a:gdLst>
                  <a:gd name="T0" fmla="*/ 1 w 8"/>
                  <a:gd name="T1" fmla="*/ 1 h 12"/>
                  <a:gd name="T2" fmla="*/ 1 w 8"/>
                  <a:gd name="T3" fmla="*/ 3 h 12"/>
                  <a:gd name="T4" fmla="*/ 2 w 8"/>
                  <a:gd name="T5" fmla="*/ 7 h 12"/>
                  <a:gd name="T6" fmla="*/ 4 w 8"/>
                  <a:gd name="T7" fmla="*/ 12 h 12"/>
                  <a:gd name="T8" fmla="*/ 6 w 8"/>
                  <a:gd name="T9" fmla="*/ 7 h 12"/>
                  <a:gd name="T10" fmla="*/ 7 w 8"/>
                  <a:gd name="T11" fmla="*/ 3 h 12"/>
                  <a:gd name="T12" fmla="*/ 3 w 8"/>
                  <a:gd name="T13" fmla="*/ 1 h 12"/>
                  <a:gd name="T14" fmla="*/ 1 w 8"/>
                  <a:gd name="T15" fmla="*/ 1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12">
                    <a:moveTo>
                      <a:pt x="1" y="1"/>
                    </a:moveTo>
                    <a:cubicBezTo>
                      <a:pt x="0" y="1"/>
                      <a:pt x="0" y="1"/>
                      <a:pt x="1" y="3"/>
                    </a:cubicBezTo>
                    <a:cubicBezTo>
                      <a:pt x="1" y="4"/>
                      <a:pt x="2" y="5"/>
                      <a:pt x="2" y="7"/>
                    </a:cubicBezTo>
                    <a:cubicBezTo>
                      <a:pt x="2" y="10"/>
                      <a:pt x="3" y="12"/>
                      <a:pt x="4" y="12"/>
                    </a:cubicBezTo>
                    <a:cubicBezTo>
                      <a:pt x="4" y="11"/>
                      <a:pt x="5" y="8"/>
                      <a:pt x="6" y="7"/>
                    </a:cubicBezTo>
                    <a:cubicBezTo>
                      <a:pt x="7" y="5"/>
                      <a:pt x="8" y="4"/>
                      <a:pt x="7" y="3"/>
                    </a:cubicBezTo>
                    <a:cubicBezTo>
                      <a:pt x="5" y="2"/>
                      <a:pt x="3" y="3"/>
                      <a:pt x="3" y="1"/>
                    </a:cubicBezTo>
                    <a:cubicBezTo>
                      <a:pt x="3" y="0"/>
                      <a:pt x="3" y="0"/>
                      <a:pt x="1"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55" name="Freeform 176"/>
              <p:cNvSpPr>
                <a:spLocks/>
              </p:cNvSpPr>
              <p:nvPr/>
            </p:nvSpPr>
            <p:spPr bwMode="gray">
              <a:xfrm>
                <a:off x="2213" y="2637"/>
                <a:ext cx="39" cy="24"/>
              </a:xfrm>
              <a:custGeom>
                <a:avLst/>
                <a:gdLst>
                  <a:gd name="T0" fmla="*/ 12 w 15"/>
                  <a:gd name="T1" fmla="*/ 2 h 9"/>
                  <a:gd name="T2" fmla="*/ 7 w 15"/>
                  <a:gd name="T3" fmla="*/ 2 h 9"/>
                  <a:gd name="T4" fmla="*/ 3 w 15"/>
                  <a:gd name="T5" fmla="*/ 0 h 9"/>
                  <a:gd name="T6" fmla="*/ 1 w 15"/>
                  <a:gd name="T7" fmla="*/ 2 h 9"/>
                  <a:gd name="T8" fmla="*/ 1 w 15"/>
                  <a:gd name="T9" fmla="*/ 5 h 9"/>
                  <a:gd name="T10" fmla="*/ 6 w 15"/>
                  <a:gd name="T11" fmla="*/ 8 h 9"/>
                  <a:gd name="T12" fmla="*/ 12 w 15"/>
                  <a:gd name="T13" fmla="*/ 8 h 9"/>
                  <a:gd name="T14" fmla="*/ 15 w 15"/>
                  <a:gd name="T15" fmla="*/ 7 h 9"/>
                  <a:gd name="T16" fmla="*/ 14 w 15"/>
                  <a:gd name="T17" fmla="*/ 2 h 9"/>
                  <a:gd name="T18" fmla="*/ 12 w 15"/>
                  <a:gd name="T19"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9">
                    <a:moveTo>
                      <a:pt x="12" y="2"/>
                    </a:moveTo>
                    <a:cubicBezTo>
                      <a:pt x="11" y="3"/>
                      <a:pt x="8" y="4"/>
                      <a:pt x="7" y="2"/>
                    </a:cubicBezTo>
                    <a:cubicBezTo>
                      <a:pt x="6" y="0"/>
                      <a:pt x="5" y="0"/>
                      <a:pt x="3" y="0"/>
                    </a:cubicBezTo>
                    <a:cubicBezTo>
                      <a:pt x="2" y="0"/>
                      <a:pt x="1" y="1"/>
                      <a:pt x="1" y="2"/>
                    </a:cubicBezTo>
                    <a:cubicBezTo>
                      <a:pt x="1" y="3"/>
                      <a:pt x="0" y="3"/>
                      <a:pt x="1" y="5"/>
                    </a:cubicBezTo>
                    <a:cubicBezTo>
                      <a:pt x="1" y="6"/>
                      <a:pt x="4" y="6"/>
                      <a:pt x="6" y="8"/>
                    </a:cubicBezTo>
                    <a:cubicBezTo>
                      <a:pt x="8" y="9"/>
                      <a:pt x="10" y="8"/>
                      <a:pt x="12" y="8"/>
                    </a:cubicBezTo>
                    <a:cubicBezTo>
                      <a:pt x="13" y="8"/>
                      <a:pt x="15" y="7"/>
                      <a:pt x="15" y="7"/>
                    </a:cubicBezTo>
                    <a:cubicBezTo>
                      <a:pt x="15" y="7"/>
                      <a:pt x="14" y="3"/>
                      <a:pt x="14" y="2"/>
                    </a:cubicBezTo>
                    <a:cubicBezTo>
                      <a:pt x="13" y="1"/>
                      <a:pt x="12" y="2"/>
                      <a:pt x="12" y="2"/>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56" name="Freeform 177"/>
              <p:cNvSpPr>
                <a:spLocks/>
              </p:cNvSpPr>
              <p:nvPr/>
            </p:nvSpPr>
            <p:spPr bwMode="gray">
              <a:xfrm>
                <a:off x="2092" y="2632"/>
                <a:ext cx="10" cy="19"/>
              </a:xfrm>
              <a:custGeom>
                <a:avLst/>
                <a:gdLst>
                  <a:gd name="T0" fmla="*/ 1 w 4"/>
                  <a:gd name="T1" fmla="*/ 1 h 7"/>
                  <a:gd name="T2" fmla="*/ 0 w 4"/>
                  <a:gd name="T3" fmla="*/ 4 h 7"/>
                  <a:gd name="T4" fmla="*/ 1 w 4"/>
                  <a:gd name="T5" fmla="*/ 6 h 7"/>
                  <a:gd name="T6" fmla="*/ 3 w 4"/>
                  <a:gd name="T7" fmla="*/ 4 h 7"/>
                  <a:gd name="T8" fmla="*/ 4 w 4"/>
                  <a:gd name="T9" fmla="*/ 3 h 7"/>
                  <a:gd name="T10" fmla="*/ 1 w 4"/>
                  <a:gd name="T11" fmla="*/ 1 h 7"/>
                </a:gdLst>
                <a:ahLst/>
                <a:cxnLst>
                  <a:cxn ang="0">
                    <a:pos x="T0" y="T1"/>
                  </a:cxn>
                  <a:cxn ang="0">
                    <a:pos x="T2" y="T3"/>
                  </a:cxn>
                  <a:cxn ang="0">
                    <a:pos x="T4" y="T5"/>
                  </a:cxn>
                  <a:cxn ang="0">
                    <a:pos x="T6" y="T7"/>
                  </a:cxn>
                  <a:cxn ang="0">
                    <a:pos x="T8" y="T9"/>
                  </a:cxn>
                  <a:cxn ang="0">
                    <a:pos x="T10" y="T11"/>
                  </a:cxn>
                </a:cxnLst>
                <a:rect l="0" t="0" r="r" b="b"/>
                <a:pathLst>
                  <a:path w="4" h="7">
                    <a:moveTo>
                      <a:pt x="1" y="1"/>
                    </a:moveTo>
                    <a:cubicBezTo>
                      <a:pt x="0" y="2"/>
                      <a:pt x="1" y="2"/>
                      <a:pt x="0" y="4"/>
                    </a:cubicBezTo>
                    <a:cubicBezTo>
                      <a:pt x="0" y="5"/>
                      <a:pt x="1" y="7"/>
                      <a:pt x="1" y="6"/>
                    </a:cubicBezTo>
                    <a:cubicBezTo>
                      <a:pt x="2" y="5"/>
                      <a:pt x="1" y="5"/>
                      <a:pt x="3" y="4"/>
                    </a:cubicBezTo>
                    <a:cubicBezTo>
                      <a:pt x="4" y="4"/>
                      <a:pt x="4" y="4"/>
                      <a:pt x="4" y="3"/>
                    </a:cubicBezTo>
                    <a:cubicBezTo>
                      <a:pt x="3" y="3"/>
                      <a:pt x="2" y="0"/>
                      <a:pt x="1"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57" name="Freeform 178"/>
              <p:cNvSpPr>
                <a:spLocks/>
              </p:cNvSpPr>
              <p:nvPr/>
            </p:nvSpPr>
            <p:spPr bwMode="gray">
              <a:xfrm>
                <a:off x="2097" y="2648"/>
                <a:ext cx="8" cy="10"/>
              </a:xfrm>
              <a:custGeom>
                <a:avLst/>
                <a:gdLst>
                  <a:gd name="T0" fmla="*/ 2 w 3"/>
                  <a:gd name="T1" fmla="*/ 1 h 4"/>
                  <a:gd name="T2" fmla="*/ 2 w 3"/>
                  <a:gd name="T3" fmla="*/ 4 h 4"/>
                  <a:gd name="T4" fmla="*/ 3 w 3"/>
                  <a:gd name="T5" fmla="*/ 2 h 4"/>
                  <a:gd name="T6" fmla="*/ 2 w 3"/>
                  <a:gd name="T7" fmla="*/ 1 h 4"/>
                </a:gdLst>
                <a:ahLst/>
                <a:cxnLst>
                  <a:cxn ang="0">
                    <a:pos x="T0" y="T1"/>
                  </a:cxn>
                  <a:cxn ang="0">
                    <a:pos x="T2" y="T3"/>
                  </a:cxn>
                  <a:cxn ang="0">
                    <a:pos x="T4" y="T5"/>
                  </a:cxn>
                  <a:cxn ang="0">
                    <a:pos x="T6" y="T7"/>
                  </a:cxn>
                </a:cxnLst>
                <a:rect l="0" t="0" r="r" b="b"/>
                <a:pathLst>
                  <a:path w="3" h="4">
                    <a:moveTo>
                      <a:pt x="2" y="1"/>
                    </a:moveTo>
                    <a:cubicBezTo>
                      <a:pt x="1" y="3"/>
                      <a:pt x="0" y="4"/>
                      <a:pt x="2" y="4"/>
                    </a:cubicBezTo>
                    <a:cubicBezTo>
                      <a:pt x="3" y="3"/>
                      <a:pt x="3" y="3"/>
                      <a:pt x="3" y="2"/>
                    </a:cubicBezTo>
                    <a:cubicBezTo>
                      <a:pt x="3" y="0"/>
                      <a:pt x="2" y="0"/>
                      <a:pt x="2"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58" name="Freeform 179"/>
              <p:cNvSpPr>
                <a:spLocks/>
              </p:cNvSpPr>
              <p:nvPr/>
            </p:nvSpPr>
            <p:spPr bwMode="gray">
              <a:xfrm>
                <a:off x="2094" y="2653"/>
                <a:ext cx="3" cy="11"/>
              </a:xfrm>
              <a:custGeom>
                <a:avLst/>
                <a:gdLst>
                  <a:gd name="T0" fmla="*/ 0 w 1"/>
                  <a:gd name="T1" fmla="*/ 2 h 4"/>
                  <a:gd name="T2" fmla="*/ 1 w 1"/>
                  <a:gd name="T3" fmla="*/ 3 h 4"/>
                  <a:gd name="T4" fmla="*/ 0 w 1"/>
                  <a:gd name="T5" fmla="*/ 2 h 4"/>
                </a:gdLst>
                <a:ahLst/>
                <a:cxnLst>
                  <a:cxn ang="0">
                    <a:pos x="T0" y="T1"/>
                  </a:cxn>
                  <a:cxn ang="0">
                    <a:pos x="T2" y="T3"/>
                  </a:cxn>
                  <a:cxn ang="0">
                    <a:pos x="T4" y="T5"/>
                  </a:cxn>
                </a:cxnLst>
                <a:rect l="0" t="0" r="r" b="b"/>
                <a:pathLst>
                  <a:path w="1" h="4">
                    <a:moveTo>
                      <a:pt x="0" y="2"/>
                    </a:moveTo>
                    <a:cubicBezTo>
                      <a:pt x="0" y="3"/>
                      <a:pt x="0" y="4"/>
                      <a:pt x="1" y="3"/>
                    </a:cubicBezTo>
                    <a:cubicBezTo>
                      <a:pt x="1" y="2"/>
                      <a:pt x="1" y="0"/>
                      <a:pt x="0" y="2"/>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59" name="Freeform 180"/>
              <p:cNvSpPr>
                <a:spLocks/>
              </p:cNvSpPr>
              <p:nvPr/>
            </p:nvSpPr>
            <p:spPr bwMode="gray">
              <a:xfrm>
                <a:off x="1826" y="2863"/>
                <a:ext cx="192" cy="124"/>
              </a:xfrm>
              <a:custGeom>
                <a:avLst/>
                <a:gdLst>
                  <a:gd name="T0" fmla="*/ 73 w 73"/>
                  <a:gd name="T1" fmla="*/ 34 h 47"/>
                  <a:gd name="T2" fmla="*/ 72 w 73"/>
                  <a:gd name="T3" fmla="*/ 33 h 47"/>
                  <a:gd name="T4" fmla="*/ 72 w 73"/>
                  <a:gd name="T5" fmla="*/ 32 h 47"/>
                  <a:gd name="T6" fmla="*/ 71 w 73"/>
                  <a:gd name="T7" fmla="*/ 32 h 47"/>
                  <a:gd name="T8" fmla="*/ 70 w 73"/>
                  <a:gd name="T9" fmla="*/ 32 h 47"/>
                  <a:gd name="T10" fmla="*/ 70 w 73"/>
                  <a:gd name="T11" fmla="*/ 31 h 47"/>
                  <a:gd name="T12" fmla="*/ 70 w 73"/>
                  <a:gd name="T13" fmla="*/ 30 h 47"/>
                  <a:gd name="T14" fmla="*/ 71 w 73"/>
                  <a:gd name="T15" fmla="*/ 30 h 47"/>
                  <a:gd name="T16" fmla="*/ 71 w 73"/>
                  <a:gd name="T17" fmla="*/ 29 h 47"/>
                  <a:gd name="T18" fmla="*/ 71 w 73"/>
                  <a:gd name="T19" fmla="*/ 28 h 47"/>
                  <a:gd name="T20" fmla="*/ 70 w 73"/>
                  <a:gd name="T21" fmla="*/ 28 h 47"/>
                  <a:gd name="T22" fmla="*/ 70 w 73"/>
                  <a:gd name="T23" fmla="*/ 28 h 47"/>
                  <a:gd name="T24" fmla="*/ 70 w 73"/>
                  <a:gd name="T25" fmla="*/ 27 h 47"/>
                  <a:gd name="T26" fmla="*/ 69 w 73"/>
                  <a:gd name="T27" fmla="*/ 25 h 47"/>
                  <a:gd name="T28" fmla="*/ 69 w 73"/>
                  <a:gd name="T29" fmla="*/ 25 h 47"/>
                  <a:gd name="T30" fmla="*/ 68 w 73"/>
                  <a:gd name="T31" fmla="*/ 24 h 47"/>
                  <a:gd name="T32" fmla="*/ 68 w 73"/>
                  <a:gd name="T33" fmla="*/ 23 h 47"/>
                  <a:gd name="T34" fmla="*/ 68 w 73"/>
                  <a:gd name="T35" fmla="*/ 22 h 47"/>
                  <a:gd name="T36" fmla="*/ 66 w 73"/>
                  <a:gd name="T37" fmla="*/ 23 h 47"/>
                  <a:gd name="T38" fmla="*/ 66 w 73"/>
                  <a:gd name="T39" fmla="*/ 23 h 47"/>
                  <a:gd name="T40" fmla="*/ 64 w 73"/>
                  <a:gd name="T41" fmla="*/ 22 h 47"/>
                  <a:gd name="T42" fmla="*/ 60 w 73"/>
                  <a:gd name="T43" fmla="*/ 17 h 47"/>
                  <a:gd name="T44" fmla="*/ 55 w 73"/>
                  <a:gd name="T45" fmla="*/ 16 h 47"/>
                  <a:gd name="T46" fmla="*/ 57 w 73"/>
                  <a:gd name="T47" fmla="*/ 11 h 47"/>
                  <a:gd name="T48" fmla="*/ 57 w 73"/>
                  <a:gd name="T49" fmla="*/ 7 h 47"/>
                  <a:gd name="T50" fmla="*/ 51 w 73"/>
                  <a:gd name="T51" fmla="*/ 5 h 47"/>
                  <a:gd name="T52" fmla="*/ 46 w 73"/>
                  <a:gd name="T53" fmla="*/ 4 h 47"/>
                  <a:gd name="T54" fmla="*/ 44 w 73"/>
                  <a:gd name="T55" fmla="*/ 1 h 47"/>
                  <a:gd name="T56" fmla="*/ 37 w 73"/>
                  <a:gd name="T57" fmla="*/ 1 h 47"/>
                  <a:gd name="T58" fmla="*/ 32 w 73"/>
                  <a:gd name="T59" fmla="*/ 2 h 47"/>
                  <a:gd name="T60" fmla="*/ 26 w 73"/>
                  <a:gd name="T61" fmla="*/ 5 h 47"/>
                  <a:gd name="T62" fmla="*/ 20 w 73"/>
                  <a:gd name="T63" fmla="*/ 5 h 47"/>
                  <a:gd name="T64" fmla="*/ 16 w 73"/>
                  <a:gd name="T65" fmla="*/ 5 h 47"/>
                  <a:gd name="T66" fmla="*/ 14 w 73"/>
                  <a:gd name="T67" fmla="*/ 2 h 47"/>
                  <a:gd name="T68" fmla="*/ 8 w 73"/>
                  <a:gd name="T69" fmla="*/ 5 h 47"/>
                  <a:gd name="T70" fmla="*/ 0 w 73"/>
                  <a:gd name="T71" fmla="*/ 9 h 47"/>
                  <a:gd name="T72" fmla="*/ 2 w 73"/>
                  <a:gd name="T73" fmla="*/ 12 h 47"/>
                  <a:gd name="T74" fmla="*/ 4 w 73"/>
                  <a:gd name="T75" fmla="*/ 18 h 47"/>
                  <a:gd name="T76" fmla="*/ 11 w 73"/>
                  <a:gd name="T77" fmla="*/ 18 h 47"/>
                  <a:gd name="T78" fmla="*/ 13 w 73"/>
                  <a:gd name="T79" fmla="*/ 22 h 47"/>
                  <a:gd name="T80" fmla="*/ 19 w 73"/>
                  <a:gd name="T81" fmla="*/ 23 h 47"/>
                  <a:gd name="T82" fmla="*/ 20 w 73"/>
                  <a:gd name="T83" fmla="*/ 27 h 47"/>
                  <a:gd name="T84" fmla="*/ 27 w 73"/>
                  <a:gd name="T85" fmla="*/ 28 h 47"/>
                  <a:gd name="T86" fmla="*/ 28 w 73"/>
                  <a:gd name="T87" fmla="*/ 32 h 47"/>
                  <a:gd name="T88" fmla="*/ 29 w 73"/>
                  <a:gd name="T89" fmla="*/ 36 h 47"/>
                  <a:gd name="T90" fmla="*/ 36 w 73"/>
                  <a:gd name="T91" fmla="*/ 35 h 47"/>
                  <a:gd name="T92" fmla="*/ 39 w 73"/>
                  <a:gd name="T93" fmla="*/ 32 h 47"/>
                  <a:gd name="T94" fmla="*/ 41 w 73"/>
                  <a:gd name="T95" fmla="*/ 39 h 47"/>
                  <a:gd name="T96" fmla="*/ 47 w 73"/>
                  <a:gd name="T97" fmla="*/ 42 h 47"/>
                  <a:gd name="T98" fmla="*/ 52 w 73"/>
                  <a:gd name="T99" fmla="*/ 47 h 47"/>
                  <a:gd name="T100" fmla="*/ 58 w 73"/>
                  <a:gd name="T101" fmla="*/ 47 h 47"/>
                  <a:gd name="T102" fmla="*/ 59 w 73"/>
                  <a:gd name="T103" fmla="*/ 43 h 47"/>
                  <a:gd name="T104" fmla="*/ 58 w 73"/>
                  <a:gd name="T105" fmla="*/ 42 h 47"/>
                  <a:gd name="T106" fmla="*/ 57 w 73"/>
                  <a:gd name="T107" fmla="*/ 35 h 47"/>
                  <a:gd name="T108" fmla="*/ 61 w 73"/>
                  <a:gd name="T109" fmla="*/ 30 h 47"/>
                  <a:gd name="T110" fmla="*/ 62 w 73"/>
                  <a:gd name="T111" fmla="*/ 32 h 47"/>
                  <a:gd name="T112" fmla="*/ 62 w 73"/>
                  <a:gd name="T113" fmla="*/ 32 h 47"/>
                  <a:gd name="T114" fmla="*/ 63 w 73"/>
                  <a:gd name="T115" fmla="*/ 33 h 47"/>
                  <a:gd name="T116" fmla="*/ 73 w 73"/>
                  <a:gd name="T117" fmla="*/ 34 h 47"/>
                  <a:gd name="T118" fmla="*/ 73 w 73"/>
                  <a:gd name="T119" fmla="*/ 3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 h="47">
                    <a:moveTo>
                      <a:pt x="73" y="34"/>
                    </a:moveTo>
                    <a:cubicBezTo>
                      <a:pt x="72" y="33"/>
                      <a:pt x="72" y="33"/>
                      <a:pt x="72" y="33"/>
                    </a:cubicBezTo>
                    <a:cubicBezTo>
                      <a:pt x="72" y="32"/>
                      <a:pt x="72" y="32"/>
                      <a:pt x="72" y="32"/>
                    </a:cubicBezTo>
                    <a:cubicBezTo>
                      <a:pt x="71" y="32"/>
                      <a:pt x="71" y="32"/>
                      <a:pt x="71" y="32"/>
                    </a:cubicBezTo>
                    <a:cubicBezTo>
                      <a:pt x="71" y="32"/>
                      <a:pt x="70" y="32"/>
                      <a:pt x="70" y="32"/>
                    </a:cubicBezTo>
                    <a:cubicBezTo>
                      <a:pt x="70" y="31"/>
                      <a:pt x="70" y="31"/>
                      <a:pt x="70" y="31"/>
                    </a:cubicBezTo>
                    <a:cubicBezTo>
                      <a:pt x="70" y="31"/>
                      <a:pt x="70" y="30"/>
                      <a:pt x="70" y="30"/>
                    </a:cubicBezTo>
                    <a:cubicBezTo>
                      <a:pt x="70" y="30"/>
                      <a:pt x="71" y="30"/>
                      <a:pt x="71" y="30"/>
                    </a:cubicBezTo>
                    <a:cubicBezTo>
                      <a:pt x="71" y="29"/>
                      <a:pt x="71" y="29"/>
                      <a:pt x="71" y="29"/>
                    </a:cubicBezTo>
                    <a:cubicBezTo>
                      <a:pt x="71" y="29"/>
                      <a:pt x="71" y="29"/>
                      <a:pt x="71" y="28"/>
                    </a:cubicBezTo>
                    <a:cubicBezTo>
                      <a:pt x="71" y="28"/>
                      <a:pt x="71" y="28"/>
                      <a:pt x="70" y="28"/>
                    </a:cubicBezTo>
                    <a:cubicBezTo>
                      <a:pt x="70" y="28"/>
                      <a:pt x="70" y="28"/>
                      <a:pt x="70" y="28"/>
                    </a:cubicBezTo>
                    <a:cubicBezTo>
                      <a:pt x="70" y="28"/>
                      <a:pt x="70" y="27"/>
                      <a:pt x="70" y="27"/>
                    </a:cubicBezTo>
                    <a:cubicBezTo>
                      <a:pt x="69" y="26"/>
                      <a:pt x="69" y="26"/>
                      <a:pt x="69" y="25"/>
                    </a:cubicBezTo>
                    <a:cubicBezTo>
                      <a:pt x="69" y="25"/>
                      <a:pt x="69" y="25"/>
                      <a:pt x="69" y="25"/>
                    </a:cubicBezTo>
                    <a:cubicBezTo>
                      <a:pt x="68" y="24"/>
                      <a:pt x="68" y="24"/>
                      <a:pt x="68" y="24"/>
                    </a:cubicBezTo>
                    <a:cubicBezTo>
                      <a:pt x="68" y="24"/>
                      <a:pt x="68" y="23"/>
                      <a:pt x="68" y="23"/>
                    </a:cubicBezTo>
                    <a:cubicBezTo>
                      <a:pt x="68" y="23"/>
                      <a:pt x="68" y="23"/>
                      <a:pt x="68" y="22"/>
                    </a:cubicBezTo>
                    <a:cubicBezTo>
                      <a:pt x="67" y="22"/>
                      <a:pt x="66" y="23"/>
                      <a:pt x="66" y="23"/>
                    </a:cubicBezTo>
                    <a:cubicBezTo>
                      <a:pt x="66" y="23"/>
                      <a:pt x="66" y="23"/>
                      <a:pt x="66" y="23"/>
                    </a:cubicBezTo>
                    <a:cubicBezTo>
                      <a:pt x="66" y="23"/>
                      <a:pt x="64" y="24"/>
                      <a:pt x="64" y="22"/>
                    </a:cubicBezTo>
                    <a:cubicBezTo>
                      <a:pt x="63" y="21"/>
                      <a:pt x="61" y="17"/>
                      <a:pt x="60" y="17"/>
                    </a:cubicBezTo>
                    <a:cubicBezTo>
                      <a:pt x="58" y="17"/>
                      <a:pt x="55" y="17"/>
                      <a:pt x="55" y="16"/>
                    </a:cubicBezTo>
                    <a:cubicBezTo>
                      <a:pt x="55" y="15"/>
                      <a:pt x="56" y="13"/>
                      <a:pt x="57" y="11"/>
                    </a:cubicBezTo>
                    <a:cubicBezTo>
                      <a:pt x="58" y="9"/>
                      <a:pt x="59" y="8"/>
                      <a:pt x="57" y="7"/>
                    </a:cubicBezTo>
                    <a:cubicBezTo>
                      <a:pt x="56" y="6"/>
                      <a:pt x="53" y="5"/>
                      <a:pt x="51" y="5"/>
                    </a:cubicBezTo>
                    <a:cubicBezTo>
                      <a:pt x="49" y="5"/>
                      <a:pt x="46" y="6"/>
                      <a:pt x="46" y="4"/>
                    </a:cubicBezTo>
                    <a:cubicBezTo>
                      <a:pt x="46" y="2"/>
                      <a:pt x="46" y="1"/>
                      <a:pt x="44" y="1"/>
                    </a:cubicBezTo>
                    <a:cubicBezTo>
                      <a:pt x="42" y="1"/>
                      <a:pt x="39" y="1"/>
                      <a:pt x="37" y="1"/>
                    </a:cubicBezTo>
                    <a:cubicBezTo>
                      <a:pt x="36" y="1"/>
                      <a:pt x="33" y="0"/>
                      <a:pt x="32" y="2"/>
                    </a:cubicBezTo>
                    <a:cubicBezTo>
                      <a:pt x="31" y="3"/>
                      <a:pt x="28" y="5"/>
                      <a:pt x="26" y="5"/>
                    </a:cubicBezTo>
                    <a:cubicBezTo>
                      <a:pt x="24" y="6"/>
                      <a:pt x="21" y="6"/>
                      <a:pt x="20" y="5"/>
                    </a:cubicBezTo>
                    <a:cubicBezTo>
                      <a:pt x="19" y="4"/>
                      <a:pt x="17" y="6"/>
                      <a:pt x="16" y="5"/>
                    </a:cubicBezTo>
                    <a:cubicBezTo>
                      <a:pt x="15" y="4"/>
                      <a:pt x="14" y="2"/>
                      <a:pt x="14" y="2"/>
                    </a:cubicBezTo>
                    <a:cubicBezTo>
                      <a:pt x="14" y="2"/>
                      <a:pt x="10" y="4"/>
                      <a:pt x="8" y="5"/>
                    </a:cubicBezTo>
                    <a:cubicBezTo>
                      <a:pt x="6" y="6"/>
                      <a:pt x="0" y="9"/>
                      <a:pt x="0" y="9"/>
                    </a:cubicBezTo>
                    <a:cubicBezTo>
                      <a:pt x="0" y="9"/>
                      <a:pt x="2" y="9"/>
                      <a:pt x="2" y="12"/>
                    </a:cubicBezTo>
                    <a:cubicBezTo>
                      <a:pt x="2" y="14"/>
                      <a:pt x="2" y="18"/>
                      <a:pt x="4" y="18"/>
                    </a:cubicBezTo>
                    <a:cubicBezTo>
                      <a:pt x="5" y="17"/>
                      <a:pt x="11" y="16"/>
                      <a:pt x="11" y="18"/>
                    </a:cubicBezTo>
                    <a:cubicBezTo>
                      <a:pt x="11" y="20"/>
                      <a:pt x="11" y="22"/>
                      <a:pt x="13" y="22"/>
                    </a:cubicBezTo>
                    <a:cubicBezTo>
                      <a:pt x="15" y="23"/>
                      <a:pt x="19" y="22"/>
                      <a:pt x="19" y="23"/>
                    </a:cubicBezTo>
                    <a:cubicBezTo>
                      <a:pt x="20" y="24"/>
                      <a:pt x="19" y="28"/>
                      <a:pt x="20" y="27"/>
                    </a:cubicBezTo>
                    <a:cubicBezTo>
                      <a:pt x="22" y="27"/>
                      <a:pt x="26" y="27"/>
                      <a:pt x="27" y="28"/>
                    </a:cubicBezTo>
                    <a:cubicBezTo>
                      <a:pt x="28" y="29"/>
                      <a:pt x="28" y="30"/>
                      <a:pt x="28" y="32"/>
                    </a:cubicBezTo>
                    <a:cubicBezTo>
                      <a:pt x="29" y="33"/>
                      <a:pt x="28" y="35"/>
                      <a:pt x="29" y="36"/>
                    </a:cubicBezTo>
                    <a:cubicBezTo>
                      <a:pt x="31" y="36"/>
                      <a:pt x="35" y="36"/>
                      <a:pt x="36" y="35"/>
                    </a:cubicBezTo>
                    <a:cubicBezTo>
                      <a:pt x="37" y="34"/>
                      <a:pt x="39" y="30"/>
                      <a:pt x="39" y="32"/>
                    </a:cubicBezTo>
                    <a:cubicBezTo>
                      <a:pt x="40" y="34"/>
                      <a:pt x="38" y="38"/>
                      <a:pt x="41" y="39"/>
                    </a:cubicBezTo>
                    <a:cubicBezTo>
                      <a:pt x="44" y="39"/>
                      <a:pt x="45" y="41"/>
                      <a:pt x="47" y="42"/>
                    </a:cubicBezTo>
                    <a:cubicBezTo>
                      <a:pt x="50" y="43"/>
                      <a:pt x="50" y="47"/>
                      <a:pt x="52" y="47"/>
                    </a:cubicBezTo>
                    <a:cubicBezTo>
                      <a:pt x="54" y="46"/>
                      <a:pt x="56" y="47"/>
                      <a:pt x="58" y="47"/>
                    </a:cubicBezTo>
                    <a:cubicBezTo>
                      <a:pt x="58" y="47"/>
                      <a:pt x="59" y="45"/>
                      <a:pt x="59" y="43"/>
                    </a:cubicBezTo>
                    <a:cubicBezTo>
                      <a:pt x="58" y="43"/>
                      <a:pt x="58" y="42"/>
                      <a:pt x="58" y="42"/>
                    </a:cubicBezTo>
                    <a:cubicBezTo>
                      <a:pt x="56" y="40"/>
                      <a:pt x="56" y="37"/>
                      <a:pt x="57" y="35"/>
                    </a:cubicBezTo>
                    <a:cubicBezTo>
                      <a:pt x="58" y="33"/>
                      <a:pt x="60" y="30"/>
                      <a:pt x="61" y="30"/>
                    </a:cubicBezTo>
                    <a:cubicBezTo>
                      <a:pt x="61" y="31"/>
                      <a:pt x="62" y="31"/>
                      <a:pt x="62" y="32"/>
                    </a:cubicBezTo>
                    <a:cubicBezTo>
                      <a:pt x="62" y="32"/>
                      <a:pt x="62" y="32"/>
                      <a:pt x="62" y="32"/>
                    </a:cubicBezTo>
                    <a:cubicBezTo>
                      <a:pt x="63" y="33"/>
                      <a:pt x="63" y="33"/>
                      <a:pt x="63" y="33"/>
                    </a:cubicBezTo>
                    <a:cubicBezTo>
                      <a:pt x="65" y="34"/>
                      <a:pt x="69" y="34"/>
                      <a:pt x="73" y="34"/>
                    </a:cubicBezTo>
                    <a:cubicBezTo>
                      <a:pt x="73" y="34"/>
                      <a:pt x="73" y="34"/>
                      <a:pt x="73" y="34"/>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60" name="Freeform 181"/>
              <p:cNvSpPr>
                <a:spLocks/>
              </p:cNvSpPr>
              <p:nvPr/>
            </p:nvSpPr>
            <p:spPr bwMode="gray">
              <a:xfrm>
                <a:off x="1474" y="2887"/>
                <a:ext cx="618" cy="586"/>
              </a:xfrm>
              <a:custGeom>
                <a:avLst/>
                <a:gdLst>
                  <a:gd name="T0" fmla="*/ 205 w 235"/>
                  <a:gd name="T1" fmla="*/ 153 h 223"/>
                  <a:gd name="T2" fmla="*/ 209 w 235"/>
                  <a:gd name="T3" fmla="*/ 129 h 223"/>
                  <a:gd name="T4" fmla="*/ 199 w 235"/>
                  <a:gd name="T5" fmla="*/ 116 h 223"/>
                  <a:gd name="T6" fmla="*/ 201 w 235"/>
                  <a:gd name="T7" fmla="*/ 105 h 223"/>
                  <a:gd name="T8" fmla="*/ 217 w 235"/>
                  <a:gd name="T9" fmla="*/ 89 h 223"/>
                  <a:gd name="T10" fmla="*/ 225 w 235"/>
                  <a:gd name="T11" fmla="*/ 83 h 223"/>
                  <a:gd name="T12" fmla="*/ 227 w 235"/>
                  <a:gd name="T13" fmla="*/ 77 h 223"/>
                  <a:gd name="T14" fmla="*/ 231 w 235"/>
                  <a:gd name="T15" fmla="*/ 72 h 223"/>
                  <a:gd name="T16" fmla="*/ 233 w 235"/>
                  <a:gd name="T17" fmla="*/ 69 h 223"/>
                  <a:gd name="T18" fmla="*/ 233 w 235"/>
                  <a:gd name="T19" fmla="*/ 65 h 223"/>
                  <a:gd name="T20" fmla="*/ 229 w 235"/>
                  <a:gd name="T21" fmla="*/ 63 h 223"/>
                  <a:gd name="T22" fmla="*/ 224 w 235"/>
                  <a:gd name="T23" fmla="*/ 63 h 223"/>
                  <a:gd name="T24" fmla="*/ 221 w 235"/>
                  <a:gd name="T25" fmla="*/ 60 h 223"/>
                  <a:gd name="T26" fmla="*/ 218 w 235"/>
                  <a:gd name="T27" fmla="*/ 61 h 223"/>
                  <a:gd name="T28" fmla="*/ 216 w 235"/>
                  <a:gd name="T29" fmla="*/ 60 h 223"/>
                  <a:gd name="T30" fmla="*/ 214 w 235"/>
                  <a:gd name="T31" fmla="*/ 58 h 223"/>
                  <a:gd name="T32" fmla="*/ 211 w 235"/>
                  <a:gd name="T33" fmla="*/ 59 h 223"/>
                  <a:gd name="T34" fmla="*/ 208 w 235"/>
                  <a:gd name="T35" fmla="*/ 53 h 223"/>
                  <a:gd name="T36" fmla="*/ 206 w 235"/>
                  <a:gd name="T37" fmla="*/ 51 h 223"/>
                  <a:gd name="T38" fmla="*/ 206 w 235"/>
                  <a:gd name="T39" fmla="*/ 48 h 223"/>
                  <a:gd name="T40" fmla="*/ 207 w 235"/>
                  <a:gd name="T41" fmla="*/ 45 h 223"/>
                  <a:gd name="T42" fmla="*/ 195 w 235"/>
                  <a:gd name="T43" fmla="*/ 42 h 223"/>
                  <a:gd name="T44" fmla="*/ 175 w 235"/>
                  <a:gd name="T45" fmla="*/ 29 h 223"/>
                  <a:gd name="T46" fmla="*/ 161 w 235"/>
                  <a:gd name="T47" fmla="*/ 19 h 223"/>
                  <a:gd name="T48" fmla="*/ 138 w 235"/>
                  <a:gd name="T49" fmla="*/ 9 h 223"/>
                  <a:gd name="T50" fmla="*/ 117 w 235"/>
                  <a:gd name="T51" fmla="*/ 12 h 223"/>
                  <a:gd name="T52" fmla="*/ 101 w 235"/>
                  <a:gd name="T53" fmla="*/ 29 h 223"/>
                  <a:gd name="T54" fmla="*/ 94 w 235"/>
                  <a:gd name="T55" fmla="*/ 40 h 223"/>
                  <a:gd name="T56" fmla="*/ 66 w 235"/>
                  <a:gd name="T57" fmla="*/ 39 h 223"/>
                  <a:gd name="T58" fmla="*/ 54 w 235"/>
                  <a:gd name="T59" fmla="*/ 36 h 223"/>
                  <a:gd name="T60" fmla="*/ 62 w 235"/>
                  <a:gd name="T61" fmla="*/ 59 h 223"/>
                  <a:gd name="T62" fmla="*/ 50 w 235"/>
                  <a:gd name="T63" fmla="*/ 60 h 223"/>
                  <a:gd name="T64" fmla="*/ 32 w 235"/>
                  <a:gd name="T65" fmla="*/ 57 h 223"/>
                  <a:gd name="T66" fmla="*/ 17 w 235"/>
                  <a:gd name="T67" fmla="*/ 58 h 223"/>
                  <a:gd name="T68" fmla="*/ 1 w 235"/>
                  <a:gd name="T69" fmla="*/ 67 h 223"/>
                  <a:gd name="T70" fmla="*/ 4 w 235"/>
                  <a:gd name="T71" fmla="*/ 69 h 223"/>
                  <a:gd name="T72" fmla="*/ 3 w 235"/>
                  <a:gd name="T73" fmla="*/ 75 h 223"/>
                  <a:gd name="T74" fmla="*/ 16 w 235"/>
                  <a:gd name="T75" fmla="*/ 79 h 223"/>
                  <a:gd name="T76" fmla="*/ 27 w 235"/>
                  <a:gd name="T77" fmla="*/ 84 h 223"/>
                  <a:gd name="T78" fmla="*/ 32 w 235"/>
                  <a:gd name="T79" fmla="*/ 85 h 223"/>
                  <a:gd name="T80" fmla="*/ 37 w 235"/>
                  <a:gd name="T81" fmla="*/ 88 h 223"/>
                  <a:gd name="T82" fmla="*/ 46 w 235"/>
                  <a:gd name="T83" fmla="*/ 94 h 223"/>
                  <a:gd name="T84" fmla="*/ 46 w 235"/>
                  <a:gd name="T85" fmla="*/ 98 h 223"/>
                  <a:gd name="T86" fmla="*/ 50 w 235"/>
                  <a:gd name="T87" fmla="*/ 109 h 223"/>
                  <a:gd name="T88" fmla="*/ 63 w 235"/>
                  <a:gd name="T89" fmla="*/ 127 h 223"/>
                  <a:gd name="T90" fmla="*/ 61 w 235"/>
                  <a:gd name="T91" fmla="*/ 130 h 223"/>
                  <a:gd name="T92" fmla="*/ 70 w 235"/>
                  <a:gd name="T93" fmla="*/ 150 h 223"/>
                  <a:gd name="T94" fmla="*/ 61 w 235"/>
                  <a:gd name="T95" fmla="*/ 159 h 223"/>
                  <a:gd name="T96" fmla="*/ 52 w 235"/>
                  <a:gd name="T97" fmla="*/ 197 h 223"/>
                  <a:gd name="T98" fmla="*/ 67 w 235"/>
                  <a:gd name="T99" fmla="*/ 208 h 223"/>
                  <a:gd name="T100" fmla="*/ 90 w 235"/>
                  <a:gd name="T101" fmla="*/ 213 h 223"/>
                  <a:gd name="T102" fmla="*/ 112 w 235"/>
                  <a:gd name="T103" fmla="*/ 216 h 223"/>
                  <a:gd name="T104" fmla="*/ 138 w 235"/>
                  <a:gd name="T105" fmla="*/ 220 h 223"/>
                  <a:gd name="T106" fmla="*/ 143 w 235"/>
                  <a:gd name="T107" fmla="*/ 198 h 223"/>
                  <a:gd name="T108" fmla="*/ 159 w 235"/>
                  <a:gd name="T109" fmla="*/ 192 h 223"/>
                  <a:gd name="T110" fmla="*/ 167 w 235"/>
                  <a:gd name="T111" fmla="*/ 190 h 223"/>
                  <a:gd name="T112" fmla="*/ 175 w 235"/>
                  <a:gd name="T113" fmla="*/ 193 h 223"/>
                  <a:gd name="T114" fmla="*/ 186 w 235"/>
                  <a:gd name="T115" fmla="*/ 201 h 223"/>
                  <a:gd name="T116" fmla="*/ 199 w 235"/>
                  <a:gd name="T117" fmla="*/ 202 h 223"/>
                  <a:gd name="T118" fmla="*/ 211 w 235"/>
                  <a:gd name="T119" fmla="*/ 190 h 223"/>
                  <a:gd name="T120" fmla="*/ 222 w 235"/>
                  <a:gd name="T121" fmla="*/ 174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5" h="223">
                    <a:moveTo>
                      <a:pt x="217" y="174"/>
                    </a:moveTo>
                    <a:cubicBezTo>
                      <a:pt x="214" y="174"/>
                      <a:pt x="212" y="173"/>
                      <a:pt x="210" y="170"/>
                    </a:cubicBezTo>
                    <a:cubicBezTo>
                      <a:pt x="208" y="168"/>
                      <a:pt x="207" y="165"/>
                      <a:pt x="208" y="163"/>
                    </a:cubicBezTo>
                    <a:cubicBezTo>
                      <a:pt x="210" y="162"/>
                      <a:pt x="212" y="159"/>
                      <a:pt x="210" y="157"/>
                    </a:cubicBezTo>
                    <a:cubicBezTo>
                      <a:pt x="209" y="156"/>
                      <a:pt x="207" y="155"/>
                      <a:pt x="205" y="153"/>
                    </a:cubicBezTo>
                    <a:cubicBezTo>
                      <a:pt x="204" y="150"/>
                      <a:pt x="204" y="149"/>
                      <a:pt x="206" y="148"/>
                    </a:cubicBezTo>
                    <a:cubicBezTo>
                      <a:pt x="208" y="148"/>
                      <a:pt x="211" y="147"/>
                      <a:pt x="212" y="145"/>
                    </a:cubicBezTo>
                    <a:cubicBezTo>
                      <a:pt x="213" y="143"/>
                      <a:pt x="213" y="143"/>
                      <a:pt x="212" y="140"/>
                    </a:cubicBezTo>
                    <a:cubicBezTo>
                      <a:pt x="212" y="138"/>
                      <a:pt x="211" y="137"/>
                      <a:pt x="209" y="134"/>
                    </a:cubicBezTo>
                    <a:cubicBezTo>
                      <a:pt x="207" y="132"/>
                      <a:pt x="208" y="131"/>
                      <a:pt x="209" y="129"/>
                    </a:cubicBezTo>
                    <a:cubicBezTo>
                      <a:pt x="210" y="129"/>
                      <a:pt x="211" y="128"/>
                      <a:pt x="211" y="128"/>
                    </a:cubicBezTo>
                    <a:cubicBezTo>
                      <a:pt x="211" y="127"/>
                      <a:pt x="209" y="124"/>
                      <a:pt x="208" y="122"/>
                    </a:cubicBezTo>
                    <a:cubicBezTo>
                      <a:pt x="206" y="120"/>
                      <a:pt x="207" y="118"/>
                      <a:pt x="207" y="116"/>
                    </a:cubicBezTo>
                    <a:cubicBezTo>
                      <a:pt x="207" y="113"/>
                      <a:pt x="207" y="113"/>
                      <a:pt x="204" y="113"/>
                    </a:cubicBezTo>
                    <a:cubicBezTo>
                      <a:pt x="201" y="114"/>
                      <a:pt x="201" y="114"/>
                      <a:pt x="199" y="116"/>
                    </a:cubicBezTo>
                    <a:cubicBezTo>
                      <a:pt x="197" y="117"/>
                      <a:pt x="197" y="120"/>
                      <a:pt x="195" y="121"/>
                    </a:cubicBezTo>
                    <a:cubicBezTo>
                      <a:pt x="194" y="122"/>
                      <a:pt x="192" y="122"/>
                      <a:pt x="194" y="120"/>
                    </a:cubicBezTo>
                    <a:cubicBezTo>
                      <a:pt x="195" y="117"/>
                      <a:pt x="195" y="118"/>
                      <a:pt x="194" y="116"/>
                    </a:cubicBezTo>
                    <a:cubicBezTo>
                      <a:pt x="194" y="114"/>
                      <a:pt x="194" y="112"/>
                      <a:pt x="195" y="111"/>
                    </a:cubicBezTo>
                    <a:cubicBezTo>
                      <a:pt x="196" y="109"/>
                      <a:pt x="200" y="107"/>
                      <a:pt x="201" y="105"/>
                    </a:cubicBezTo>
                    <a:cubicBezTo>
                      <a:pt x="202" y="102"/>
                      <a:pt x="202" y="103"/>
                      <a:pt x="203" y="101"/>
                    </a:cubicBezTo>
                    <a:cubicBezTo>
                      <a:pt x="205" y="99"/>
                      <a:pt x="208" y="97"/>
                      <a:pt x="209" y="95"/>
                    </a:cubicBezTo>
                    <a:cubicBezTo>
                      <a:pt x="210" y="93"/>
                      <a:pt x="211" y="91"/>
                      <a:pt x="211" y="89"/>
                    </a:cubicBezTo>
                    <a:cubicBezTo>
                      <a:pt x="211" y="87"/>
                      <a:pt x="211" y="87"/>
                      <a:pt x="214" y="88"/>
                    </a:cubicBezTo>
                    <a:cubicBezTo>
                      <a:pt x="216" y="89"/>
                      <a:pt x="216" y="89"/>
                      <a:pt x="217" y="89"/>
                    </a:cubicBezTo>
                    <a:cubicBezTo>
                      <a:pt x="218" y="90"/>
                      <a:pt x="221" y="88"/>
                      <a:pt x="222" y="87"/>
                    </a:cubicBezTo>
                    <a:cubicBezTo>
                      <a:pt x="222" y="87"/>
                      <a:pt x="223" y="86"/>
                      <a:pt x="224" y="86"/>
                    </a:cubicBezTo>
                    <a:cubicBezTo>
                      <a:pt x="224" y="85"/>
                      <a:pt x="224" y="85"/>
                      <a:pt x="224" y="85"/>
                    </a:cubicBezTo>
                    <a:cubicBezTo>
                      <a:pt x="225" y="85"/>
                      <a:pt x="225" y="84"/>
                      <a:pt x="225" y="84"/>
                    </a:cubicBezTo>
                    <a:cubicBezTo>
                      <a:pt x="225" y="84"/>
                      <a:pt x="225" y="84"/>
                      <a:pt x="225" y="83"/>
                    </a:cubicBezTo>
                    <a:cubicBezTo>
                      <a:pt x="225" y="83"/>
                      <a:pt x="225" y="82"/>
                      <a:pt x="225" y="82"/>
                    </a:cubicBezTo>
                    <a:cubicBezTo>
                      <a:pt x="225" y="81"/>
                      <a:pt x="226" y="81"/>
                      <a:pt x="226" y="81"/>
                    </a:cubicBezTo>
                    <a:cubicBezTo>
                      <a:pt x="226" y="80"/>
                      <a:pt x="226" y="80"/>
                      <a:pt x="226" y="80"/>
                    </a:cubicBezTo>
                    <a:cubicBezTo>
                      <a:pt x="226" y="79"/>
                      <a:pt x="227" y="79"/>
                      <a:pt x="227" y="79"/>
                    </a:cubicBezTo>
                    <a:cubicBezTo>
                      <a:pt x="227" y="78"/>
                      <a:pt x="227" y="78"/>
                      <a:pt x="227" y="77"/>
                    </a:cubicBezTo>
                    <a:cubicBezTo>
                      <a:pt x="227" y="76"/>
                      <a:pt x="228" y="76"/>
                      <a:pt x="228" y="76"/>
                    </a:cubicBezTo>
                    <a:cubicBezTo>
                      <a:pt x="228" y="75"/>
                      <a:pt x="228" y="75"/>
                      <a:pt x="228" y="74"/>
                    </a:cubicBezTo>
                    <a:cubicBezTo>
                      <a:pt x="229" y="74"/>
                      <a:pt x="229" y="74"/>
                      <a:pt x="230" y="73"/>
                    </a:cubicBezTo>
                    <a:cubicBezTo>
                      <a:pt x="230" y="73"/>
                      <a:pt x="230" y="73"/>
                      <a:pt x="230" y="72"/>
                    </a:cubicBezTo>
                    <a:cubicBezTo>
                      <a:pt x="231" y="72"/>
                      <a:pt x="231" y="72"/>
                      <a:pt x="231" y="72"/>
                    </a:cubicBezTo>
                    <a:cubicBezTo>
                      <a:pt x="231" y="72"/>
                      <a:pt x="232" y="72"/>
                      <a:pt x="232" y="72"/>
                    </a:cubicBezTo>
                    <a:cubicBezTo>
                      <a:pt x="232" y="72"/>
                      <a:pt x="232" y="72"/>
                      <a:pt x="233" y="71"/>
                    </a:cubicBezTo>
                    <a:cubicBezTo>
                      <a:pt x="233" y="71"/>
                      <a:pt x="233" y="71"/>
                      <a:pt x="233" y="71"/>
                    </a:cubicBezTo>
                    <a:cubicBezTo>
                      <a:pt x="233" y="71"/>
                      <a:pt x="233" y="71"/>
                      <a:pt x="233" y="70"/>
                    </a:cubicBezTo>
                    <a:cubicBezTo>
                      <a:pt x="233" y="70"/>
                      <a:pt x="233" y="70"/>
                      <a:pt x="233" y="69"/>
                    </a:cubicBezTo>
                    <a:cubicBezTo>
                      <a:pt x="233" y="69"/>
                      <a:pt x="233" y="69"/>
                      <a:pt x="233" y="68"/>
                    </a:cubicBezTo>
                    <a:cubicBezTo>
                      <a:pt x="234" y="68"/>
                      <a:pt x="234" y="68"/>
                      <a:pt x="234" y="67"/>
                    </a:cubicBezTo>
                    <a:cubicBezTo>
                      <a:pt x="234" y="67"/>
                      <a:pt x="234" y="67"/>
                      <a:pt x="235" y="66"/>
                    </a:cubicBezTo>
                    <a:cubicBezTo>
                      <a:pt x="234" y="66"/>
                      <a:pt x="234" y="66"/>
                      <a:pt x="234" y="66"/>
                    </a:cubicBezTo>
                    <a:cubicBezTo>
                      <a:pt x="234" y="66"/>
                      <a:pt x="234" y="65"/>
                      <a:pt x="233" y="65"/>
                    </a:cubicBezTo>
                    <a:cubicBezTo>
                      <a:pt x="233" y="65"/>
                      <a:pt x="233" y="65"/>
                      <a:pt x="233" y="65"/>
                    </a:cubicBezTo>
                    <a:cubicBezTo>
                      <a:pt x="232" y="64"/>
                      <a:pt x="232" y="64"/>
                      <a:pt x="232" y="64"/>
                    </a:cubicBezTo>
                    <a:cubicBezTo>
                      <a:pt x="232" y="64"/>
                      <a:pt x="231" y="64"/>
                      <a:pt x="231" y="64"/>
                    </a:cubicBezTo>
                    <a:cubicBezTo>
                      <a:pt x="231" y="64"/>
                      <a:pt x="231" y="64"/>
                      <a:pt x="230" y="63"/>
                    </a:cubicBezTo>
                    <a:cubicBezTo>
                      <a:pt x="230" y="63"/>
                      <a:pt x="230" y="63"/>
                      <a:pt x="229" y="63"/>
                    </a:cubicBezTo>
                    <a:cubicBezTo>
                      <a:pt x="229" y="63"/>
                      <a:pt x="229" y="63"/>
                      <a:pt x="229" y="63"/>
                    </a:cubicBezTo>
                    <a:cubicBezTo>
                      <a:pt x="228" y="63"/>
                      <a:pt x="228" y="63"/>
                      <a:pt x="228" y="63"/>
                    </a:cubicBezTo>
                    <a:cubicBezTo>
                      <a:pt x="227" y="63"/>
                      <a:pt x="227" y="63"/>
                      <a:pt x="227" y="63"/>
                    </a:cubicBezTo>
                    <a:cubicBezTo>
                      <a:pt x="227" y="64"/>
                      <a:pt x="226" y="63"/>
                      <a:pt x="226" y="64"/>
                    </a:cubicBezTo>
                    <a:cubicBezTo>
                      <a:pt x="225" y="63"/>
                      <a:pt x="225" y="63"/>
                      <a:pt x="224" y="63"/>
                    </a:cubicBezTo>
                    <a:cubicBezTo>
                      <a:pt x="224" y="63"/>
                      <a:pt x="224" y="63"/>
                      <a:pt x="223" y="63"/>
                    </a:cubicBezTo>
                    <a:cubicBezTo>
                      <a:pt x="223" y="62"/>
                      <a:pt x="223" y="62"/>
                      <a:pt x="223" y="62"/>
                    </a:cubicBezTo>
                    <a:cubicBezTo>
                      <a:pt x="222" y="62"/>
                      <a:pt x="222" y="61"/>
                      <a:pt x="222" y="61"/>
                    </a:cubicBezTo>
                    <a:cubicBezTo>
                      <a:pt x="222" y="61"/>
                      <a:pt x="222" y="60"/>
                      <a:pt x="222" y="60"/>
                    </a:cubicBezTo>
                    <a:cubicBezTo>
                      <a:pt x="222" y="60"/>
                      <a:pt x="222" y="60"/>
                      <a:pt x="221" y="60"/>
                    </a:cubicBezTo>
                    <a:cubicBezTo>
                      <a:pt x="221" y="59"/>
                      <a:pt x="221" y="59"/>
                      <a:pt x="220" y="59"/>
                    </a:cubicBezTo>
                    <a:cubicBezTo>
                      <a:pt x="220" y="60"/>
                      <a:pt x="220" y="60"/>
                      <a:pt x="220" y="60"/>
                    </a:cubicBezTo>
                    <a:cubicBezTo>
                      <a:pt x="220" y="60"/>
                      <a:pt x="220" y="60"/>
                      <a:pt x="220" y="60"/>
                    </a:cubicBezTo>
                    <a:cubicBezTo>
                      <a:pt x="220" y="61"/>
                      <a:pt x="219" y="61"/>
                      <a:pt x="219" y="61"/>
                    </a:cubicBezTo>
                    <a:cubicBezTo>
                      <a:pt x="219" y="61"/>
                      <a:pt x="219" y="61"/>
                      <a:pt x="218" y="61"/>
                    </a:cubicBezTo>
                    <a:cubicBezTo>
                      <a:pt x="218" y="61"/>
                      <a:pt x="218" y="61"/>
                      <a:pt x="217" y="60"/>
                    </a:cubicBezTo>
                    <a:cubicBezTo>
                      <a:pt x="217" y="60"/>
                      <a:pt x="217" y="60"/>
                      <a:pt x="217" y="60"/>
                    </a:cubicBezTo>
                    <a:cubicBezTo>
                      <a:pt x="217" y="60"/>
                      <a:pt x="217" y="60"/>
                      <a:pt x="216" y="60"/>
                    </a:cubicBezTo>
                    <a:cubicBezTo>
                      <a:pt x="216" y="60"/>
                      <a:pt x="216" y="60"/>
                      <a:pt x="216" y="60"/>
                    </a:cubicBezTo>
                    <a:cubicBezTo>
                      <a:pt x="216" y="60"/>
                      <a:pt x="216" y="60"/>
                      <a:pt x="216" y="60"/>
                    </a:cubicBezTo>
                    <a:cubicBezTo>
                      <a:pt x="215" y="60"/>
                      <a:pt x="215" y="60"/>
                      <a:pt x="215" y="60"/>
                    </a:cubicBezTo>
                    <a:cubicBezTo>
                      <a:pt x="215" y="60"/>
                      <a:pt x="215" y="60"/>
                      <a:pt x="215" y="60"/>
                    </a:cubicBezTo>
                    <a:cubicBezTo>
                      <a:pt x="215" y="59"/>
                      <a:pt x="214" y="59"/>
                      <a:pt x="214" y="59"/>
                    </a:cubicBezTo>
                    <a:cubicBezTo>
                      <a:pt x="214" y="59"/>
                      <a:pt x="214" y="59"/>
                      <a:pt x="214" y="58"/>
                    </a:cubicBezTo>
                    <a:cubicBezTo>
                      <a:pt x="214" y="58"/>
                      <a:pt x="214" y="58"/>
                      <a:pt x="214" y="58"/>
                    </a:cubicBezTo>
                    <a:cubicBezTo>
                      <a:pt x="213" y="58"/>
                      <a:pt x="213" y="58"/>
                      <a:pt x="213" y="58"/>
                    </a:cubicBezTo>
                    <a:cubicBezTo>
                      <a:pt x="213" y="58"/>
                      <a:pt x="213" y="58"/>
                      <a:pt x="213" y="59"/>
                    </a:cubicBezTo>
                    <a:cubicBezTo>
                      <a:pt x="212" y="59"/>
                      <a:pt x="212" y="59"/>
                      <a:pt x="212" y="59"/>
                    </a:cubicBezTo>
                    <a:cubicBezTo>
                      <a:pt x="212" y="59"/>
                      <a:pt x="212" y="59"/>
                      <a:pt x="211" y="59"/>
                    </a:cubicBezTo>
                    <a:cubicBezTo>
                      <a:pt x="211" y="59"/>
                      <a:pt x="211" y="59"/>
                      <a:pt x="211" y="59"/>
                    </a:cubicBezTo>
                    <a:cubicBezTo>
                      <a:pt x="210" y="58"/>
                      <a:pt x="210" y="58"/>
                      <a:pt x="210" y="57"/>
                    </a:cubicBezTo>
                    <a:cubicBezTo>
                      <a:pt x="210" y="57"/>
                      <a:pt x="210" y="57"/>
                      <a:pt x="210" y="56"/>
                    </a:cubicBezTo>
                    <a:cubicBezTo>
                      <a:pt x="209" y="56"/>
                      <a:pt x="209" y="56"/>
                      <a:pt x="209" y="55"/>
                    </a:cubicBezTo>
                    <a:cubicBezTo>
                      <a:pt x="208" y="55"/>
                      <a:pt x="208" y="54"/>
                      <a:pt x="208" y="54"/>
                    </a:cubicBezTo>
                    <a:cubicBezTo>
                      <a:pt x="208" y="54"/>
                      <a:pt x="208" y="53"/>
                      <a:pt x="208" y="53"/>
                    </a:cubicBezTo>
                    <a:cubicBezTo>
                      <a:pt x="208" y="53"/>
                      <a:pt x="208" y="52"/>
                      <a:pt x="208" y="52"/>
                    </a:cubicBezTo>
                    <a:cubicBezTo>
                      <a:pt x="208" y="52"/>
                      <a:pt x="208" y="52"/>
                      <a:pt x="208" y="52"/>
                    </a:cubicBezTo>
                    <a:cubicBezTo>
                      <a:pt x="208" y="51"/>
                      <a:pt x="208" y="51"/>
                      <a:pt x="207" y="51"/>
                    </a:cubicBezTo>
                    <a:cubicBezTo>
                      <a:pt x="207" y="51"/>
                      <a:pt x="207" y="51"/>
                      <a:pt x="207" y="51"/>
                    </a:cubicBezTo>
                    <a:cubicBezTo>
                      <a:pt x="206" y="51"/>
                      <a:pt x="206" y="51"/>
                      <a:pt x="206" y="51"/>
                    </a:cubicBezTo>
                    <a:cubicBezTo>
                      <a:pt x="205" y="51"/>
                      <a:pt x="205" y="51"/>
                      <a:pt x="205" y="50"/>
                    </a:cubicBezTo>
                    <a:cubicBezTo>
                      <a:pt x="205" y="50"/>
                      <a:pt x="205" y="50"/>
                      <a:pt x="205" y="50"/>
                    </a:cubicBezTo>
                    <a:cubicBezTo>
                      <a:pt x="205" y="49"/>
                      <a:pt x="205" y="49"/>
                      <a:pt x="205" y="49"/>
                    </a:cubicBezTo>
                    <a:cubicBezTo>
                      <a:pt x="205" y="49"/>
                      <a:pt x="205" y="49"/>
                      <a:pt x="205" y="48"/>
                    </a:cubicBezTo>
                    <a:cubicBezTo>
                      <a:pt x="206" y="48"/>
                      <a:pt x="206" y="48"/>
                      <a:pt x="206" y="48"/>
                    </a:cubicBezTo>
                    <a:cubicBezTo>
                      <a:pt x="206" y="48"/>
                      <a:pt x="206" y="48"/>
                      <a:pt x="206" y="48"/>
                    </a:cubicBezTo>
                    <a:cubicBezTo>
                      <a:pt x="206" y="48"/>
                      <a:pt x="206" y="47"/>
                      <a:pt x="206" y="47"/>
                    </a:cubicBezTo>
                    <a:cubicBezTo>
                      <a:pt x="206" y="47"/>
                      <a:pt x="206" y="47"/>
                      <a:pt x="206" y="46"/>
                    </a:cubicBezTo>
                    <a:cubicBezTo>
                      <a:pt x="206" y="46"/>
                      <a:pt x="206" y="46"/>
                      <a:pt x="206" y="46"/>
                    </a:cubicBezTo>
                    <a:cubicBezTo>
                      <a:pt x="207" y="45"/>
                      <a:pt x="207" y="45"/>
                      <a:pt x="207" y="45"/>
                    </a:cubicBezTo>
                    <a:cubicBezTo>
                      <a:pt x="207" y="44"/>
                      <a:pt x="207" y="44"/>
                      <a:pt x="207" y="44"/>
                    </a:cubicBezTo>
                    <a:cubicBezTo>
                      <a:pt x="207" y="43"/>
                      <a:pt x="207" y="43"/>
                      <a:pt x="207" y="42"/>
                    </a:cubicBezTo>
                    <a:cubicBezTo>
                      <a:pt x="207" y="42"/>
                      <a:pt x="207" y="42"/>
                      <a:pt x="207" y="42"/>
                    </a:cubicBezTo>
                    <a:cubicBezTo>
                      <a:pt x="207" y="42"/>
                      <a:pt x="207" y="42"/>
                      <a:pt x="207" y="42"/>
                    </a:cubicBezTo>
                    <a:cubicBezTo>
                      <a:pt x="206" y="42"/>
                      <a:pt x="199" y="46"/>
                      <a:pt x="195" y="42"/>
                    </a:cubicBezTo>
                    <a:cubicBezTo>
                      <a:pt x="194" y="41"/>
                      <a:pt x="193" y="38"/>
                      <a:pt x="192" y="38"/>
                    </a:cubicBezTo>
                    <a:cubicBezTo>
                      <a:pt x="192" y="38"/>
                      <a:pt x="192" y="38"/>
                      <a:pt x="192" y="38"/>
                    </a:cubicBezTo>
                    <a:cubicBezTo>
                      <a:pt x="190" y="38"/>
                      <a:pt x="188" y="37"/>
                      <a:pt x="186" y="38"/>
                    </a:cubicBezTo>
                    <a:cubicBezTo>
                      <a:pt x="184" y="38"/>
                      <a:pt x="184" y="34"/>
                      <a:pt x="181" y="33"/>
                    </a:cubicBezTo>
                    <a:cubicBezTo>
                      <a:pt x="179" y="32"/>
                      <a:pt x="178" y="30"/>
                      <a:pt x="175" y="29"/>
                    </a:cubicBezTo>
                    <a:cubicBezTo>
                      <a:pt x="172" y="29"/>
                      <a:pt x="174" y="25"/>
                      <a:pt x="173" y="23"/>
                    </a:cubicBezTo>
                    <a:cubicBezTo>
                      <a:pt x="173" y="21"/>
                      <a:pt x="171" y="25"/>
                      <a:pt x="170" y="26"/>
                    </a:cubicBezTo>
                    <a:cubicBezTo>
                      <a:pt x="169" y="27"/>
                      <a:pt x="165" y="27"/>
                      <a:pt x="163" y="27"/>
                    </a:cubicBezTo>
                    <a:cubicBezTo>
                      <a:pt x="162" y="26"/>
                      <a:pt x="163" y="24"/>
                      <a:pt x="162" y="23"/>
                    </a:cubicBezTo>
                    <a:cubicBezTo>
                      <a:pt x="162" y="21"/>
                      <a:pt x="162" y="20"/>
                      <a:pt x="161" y="19"/>
                    </a:cubicBezTo>
                    <a:cubicBezTo>
                      <a:pt x="160" y="18"/>
                      <a:pt x="156" y="18"/>
                      <a:pt x="154" y="18"/>
                    </a:cubicBezTo>
                    <a:cubicBezTo>
                      <a:pt x="153" y="19"/>
                      <a:pt x="154" y="15"/>
                      <a:pt x="153" y="14"/>
                    </a:cubicBezTo>
                    <a:cubicBezTo>
                      <a:pt x="153" y="13"/>
                      <a:pt x="149" y="14"/>
                      <a:pt x="147" y="13"/>
                    </a:cubicBezTo>
                    <a:cubicBezTo>
                      <a:pt x="145" y="13"/>
                      <a:pt x="145" y="11"/>
                      <a:pt x="145" y="9"/>
                    </a:cubicBezTo>
                    <a:cubicBezTo>
                      <a:pt x="145" y="7"/>
                      <a:pt x="139" y="8"/>
                      <a:pt x="138" y="9"/>
                    </a:cubicBezTo>
                    <a:cubicBezTo>
                      <a:pt x="136" y="9"/>
                      <a:pt x="136" y="6"/>
                      <a:pt x="136" y="3"/>
                    </a:cubicBezTo>
                    <a:cubicBezTo>
                      <a:pt x="136" y="0"/>
                      <a:pt x="134" y="0"/>
                      <a:pt x="134" y="0"/>
                    </a:cubicBezTo>
                    <a:cubicBezTo>
                      <a:pt x="134" y="0"/>
                      <a:pt x="130" y="1"/>
                      <a:pt x="127" y="2"/>
                    </a:cubicBezTo>
                    <a:cubicBezTo>
                      <a:pt x="124" y="2"/>
                      <a:pt x="120" y="3"/>
                      <a:pt x="118" y="4"/>
                    </a:cubicBezTo>
                    <a:cubicBezTo>
                      <a:pt x="117" y="6"/>
                      <a:pt x="117" y="9"/>
                      <a:pt x="117" y="12"/>
                    </a:cubicBezTo>
                    <a:cubicBezTo>
                      <a:pt x="117" y="15"/>
                      <a:pt x="118" y="16"/>
                      <a:pt x="116" y="17"/>
                    </a:cubicBezTo>
                    <a:cubicBezTo>
                      <a:pt x="115" y="18"/>
                      <a:pt x="116" y="20"/>
                      <a:pt x="116" y="21"/>
                    </a:cubicBezTo>
                    <a:cubicBezTo>
                      <a:pt x="117" y="22"/>
                      <a:pt x="117" y="22"/>
                      <a:pt x="115" y="23"/>
                    </a:cubicBezTo>
                    <a:cubicBezTo>
                      <a:pt x="113" y="23"/>
                      <a:pt x="111" y="26"/>
                      <a:pt x="108" y="27"/>
                    </a:cubicBezTo>
                    <a:cubicBezTo>
                      <a:pt x="106" y="28"/>
                      <a:pt x="102" y="29"/>
                      <a:pt x="101" y="29"/>
                    </a:cubicBezTo>
                    <a:cubicBezTo>
                      <a:pt x="99" y="29"/>
                      <a:pt x="96" y="30"/>
                      <a:pt x="94" y="32"/>
                    </a:cubicBezTo>
                    <a:cubicBezTo>
                      <a:pt x="91" y="33"/>
                      <a:pt x="91" y="34"/>
                      <a:pt x="90" y="36"/>
                    </a:cubicBezTo>
                    <a:cubicBezTo>
                      <a:pt x="89" y="38"/>
                      <a:pt x="90" y="40"/>
                      <a:pt x="91" y="40"/>
                    </a:cubicBezTo>
                    <a:cubicBezTo>
                      <a:pt x="93" y="40"/>
                      <a:pt x="95" y="39"/>
                      <a:pt x="96" y="38"/>
                    </a:cubicBezTo>
                    <a:cubicBezTo>
                      <a:pt x="97" y="38"/>
                      <a:pt x="96" y="40"/>
                      <a:pt x="94" y="40"/>
                    </a:cubicBezTo>
                    <a:cubicBezTo>
                      <a:pt x="92" y="41"/>
                      <a:pt x="90" y="42"/>
                      <a:pt x="88" y="42"/>
                    </a:cubicBezTo>
                    <a:cubicBezTo>
                      <a:pt x="86" y="43"/>
                      <a:pt x="83" y="44"/>
                      <a:pt x="81" y="43"/>
                    </a:cubicBezTo>
                    <a:cubicBezTo>
                      <a:pt x="79" y="42"/>
                      <a:pt x="76" y="42"/>
                      <a:pt x="74" y="41"/>
                    </a:cubicBezTo>
                    <a:cubicBezTo>
                      <a:pt x="72" y="41"/>
                      <a:pt x="69" y="42"/>
                      <a:pt x="68" y="42"/>
                    </a:cubicBezTo>
                    <a:cubicBezTo>
                      <a:pt x="67" y="43"/>
                      <a:pt x="67" y="41"/>
                      <a:pt x="66" y="39"/>
                    </a:cubicBezTo>
                    <a:cubicBezTo>
                      <a:pt x="66" y="38"/>
                      <a:pt x="65" y="37"/>
                      <a:pt x="65" y="36"/>
                    </a:cubicBezTo>
                    <a:cubicBezTo>
                      <a:pt x="66" y="35"/>
                      <a:pt x="66" y="34"/>
                      <a:pt x="64" y="34"/>
                    </a:cubicBezTo>
                    <a:cubicBezTo>
                      <a:pt x="63" y="33"/>
                      <a:pt x="62" y="35"/>
                      <a:pt x="60" y="35"/>
                    </a:cubicBezTo>
                    <a:cubicBezTo>
                      <a:pt x="59" y="35"/>
                      <a:pt x="56" y="33"/>
                      <a:pt x="54" y="33"/>
                    </a:cubicBezTo>
                    <a:cubicBezTo>
                      <a:pt x="53" y="33"/>
                      <a:pt x="54" y="34"/>
                      <a:pt x="54" y="36"/>
                    </a:cubicBezTo>
                    <a:cubicBezTo>
                      <a:pt x="55" y="38"/>
                      <a:pt x="55" y="38"/>
                      <a:pt x="55" y="41"/>
                    </a:cubicBezTo>
                    <a:cubicBezTo>
                      <a:pt x="56" y="44"/>
                      <a:pt x="57" y="43"/>
                      <a:pt x="59" y="44"/>
                    </a:cubicBezTo>
                    <a:cubicBezTo>
                      <a:pt x="61" y="46"/>
                      <a:pt x="59" y="46"/>
                      <a:pt x="59" y="48"/>
                    </a:cubicBezTo>
                    <a:cubicBezTo>
                      <a:pt x="58" y="50"/>
                      <a:pt x="59" y="54"/>
                      <a:pt x="59" y="56"/>
                    </a:cubicBezTo>
                    <a:cubicBezTo>
                      <a:pt x="58" y="58"/>
                      <a:pt x="61" y="58"/>
                      <a:pt x="62" y="59"/>
                    </a:cubicBezTo>
                    <a:cubicBezTo>
                      <a:pt x="63" y="60"/>
                      <a:pt x="60" y="60"/>
                      <a:pt x="57" y="60"/>
                    </a:cubicBezTo>
                    <a:cubicBezTo>
                      <a:pt x="55" y="60"/>
                      <a:pt x="55" y="61"/>
                      <a:pt x="54" y="59"/>
                    </a:cubicBezTo>
                    <a:cubicBezTo>
                      <a:pt x="54" y="58"/>
                      <a:pt x="53" y="57"/>
                      <a:pt x="52" y="59"/>
                    </a:cubicBezTo>
                    <a:cubicBezTo>
                      <a:pt x="51" y="60"/>
                      <a:pt x="52" y="62"/>
                      <a:pt x="52" y="62"/>
                    </a:cubicBezTo>
                    <a:cubicBezTo>
                      <a:pt x="51" y="62"/>
                      <a:pt x="51" y="61"/>
                      <a:pt x="50" y="60"/>
                    </a:cubicBezTo>
                    <a:cubicBezTo>
                      <a:pt x="50" y="59"/>
                      <a:pt x="49" y="60"/>
                      <a:pt x="47" y="60"/>
                    </a:cubicBezTo>
                    <a:cubicBezTo>
                      <a:pt x="46" y="60"/>
                      <a:pt x="46" y="58"/>
                      <a:pt x="45" y="59"/>
                    </a:cubicBezTo>
                    <a:cubicBezTo>
                      <a:pt x="43" y="60"/>
                      <a:pt x="42" y="60"/>
                      <a:pt x="40" y="61"/>
                    </a:cubicBezTo>
                    <a:cubicBezTo>
                      <a:pt x="38" y="62"/>
                      <a:pt x="37" y="62"/>
                      <a:pt x="36" y="60"/>
                    </a:cubicBezTo>
                    <a:cubicBezTo>
                      <a:pt x="35" y="57"/>
                      <a:pt x="34" y="57"/>
                      <a:pt x="32" y="57"/>
                    </a:cubicBezTo>
                    <a:cubicBezTo>
                      <a:pt x="31" y="57"/>
                      <a:pt x="32" y="55"/>
                      <a:pt x="31" y="54"/>
                    </a:cubicBezTo>
                    <a:cubicBezTo>
                      <a:pt x="31" y="53"/>
                      <a:pt x="28" y="54"/>
                      <a:pt x="26" y="55"/>
                    </a:cubicBezTo>
                    <a:cubicBezTo>
                      <a:pt x="24" y="55"/>
                      <a:pt x="23" y="56"/>
                      <a:pt x="23" y="57"/>
                    </a:cubicBezTo>
                    <a:cubicBezTo>
                      <a:pt x="23" y="59"/>
                      <a:pt x="21" y="58"/>
                      <a:pt x="20" y="58"/>
                    </a:cubicBezTo>
                    <a:cubicBezTo>
                      <a:pt x="18" y="58"/>
                      <a:pt x="18" y="58"/>
                      <a:pt x="17" y="58"/>
                    </a:cubicBezTo>
                    <a:cubicBezTo>
                      <a:pt x="15" y="59"/>
                      <a:pt x="15" y="57"/>
                      <a:pt x="14" y="58"/>
                    </a:cubicBezTo>
                    <a:cubicBezTo>
                      <a:pt x="13" y="58"/>
                      <a:pt x="11" y="60"/>
                      <a:pt x="10" y="59"/>
                    </a:cubicBezTo>
                    <a:cubicBezTo>
                      <a:pt x="9" y="59"/>
                      <a:pt x="9" y="58"/>
                      <a:pt x="8" y="59"/>
                    </a:cubicBezTo>
                    <a:cubicBezTo>
                      <a:pt x="6" y="60"/>
                      <a:pt x="2" y="61"/>
                      <a:pt x="1" y="62"/>
                    </a:cubicBezTo>
                    <a:cubicBezTo>
                      <a:pt x="1" y="63"/>
                      <a:pt x="0" y="65"/>
                      <a:pt x="1" y="67"/>
                    </a:cubicBezTo>
                    <a:cubicBezTo>
                      <a:pt x="1" y="68"/>
                      <a:pt x="5" y="66"/>
                      <a:pt x="6" y="65"/>
                    </a:cubicBezTo>
                    <a:cubicBezTo>
                      <a:pt x="7" y="65"/>
                      <a:pt x="7" y="65"/>
                      <a:pt x="8" y="66"/>
                    </a:cubicBezTo>
                    <a:cubicBezTo>
                      <a:pt x="8" y="68"/>
                      <a:pt x="9" y="67"/>
                      <a:pt x="10" y="67"/>
                    </a:cubicBezTo>
                    <a:cubicBezTo>
                      <a:pt x="11" y="67"/>
                      <a:pt x="9" y="68"/>
                      <a:pt x="8" y="68"/>
                    </a:cubicBezTo>
                    <a:cubicBezTo>
                      <a:pt x="7" y="68"/>
                      <a:pt x="5" y="68"/>
                      <a:pt x="4" y="69"/>
                    </a:cubicBezTo>
                    <a:cubicBezTo>
                      <a:pt x="3" y="69"/>
                      <a:pt x="4" y="71"/>
                      <a:pt x="5" y="71"/>
                    </a:cubicBezTo>
                    <a:cubicBezTo>
                      <a:pt x="6" y="70"/>
                      <a:pt x="8" y="70"/>
                      <a:pt x="9" y="70"/>
                    </a:cubicBezTo>
                    <a:cubicBezTo>
                      <a:pt x="10" y="71"/>
                      <a:pt x="8" y="73"/>
                      <a:pt x="7" y="73"/>
                    </a:cubicBezTo>
                    <a:cubicBezTo>
                      <a:pt x="5" y="73"/>
                      <a:pt x="4" y="72"/>
                      <a:pt x="2" y="73"/>
                    </a:cubicBezTo>
                    <a:cubicBezTo>
                      <a:pt x="0" y="74"/>
                      <a:pt x="2" y="75"/>
                      <a:pt x="3" y="75"/>
                    </a:cubicBezTo>
                    <a:cubicBezTo>
                      <a:pt x="4" y="76"/>
                      <a:pt x="7" y="77"/>
                      <a:pt x="7" y="77"/>
                    </a:cubicBezTo>
                    <a:cubicBezTo>
                      <a:pt x="7" y="78"/>
                      <a:pt x="8" y="81"/>
                      <a:pt x="9" y="81"/>
                    </a:cubicBezTo>
                    <a:cubicBezTo>
                      <a:pt x="10" y="80"/>
                      <a:pt x="10" y="79"/>
                      <a:pt x="11" y="79"/>
                    </a:cubicBezTo>
                    <a:cubicBezTo>
                      <a:pt x="13" y="79"/>
                      <a:pt x="13" y="78"/>
                      <a:pt x="14" y="78"/>
                    </a:cubicBezTo>
                    <a:cubicBezTo>
                      <a:pt x="15" y="77"/>
                      <a:pt x="15" y="77"/>
                      <a:pt x="16" y="79"/>
                    </a:cubicBezTo>
                    <a:cubicBezTo>
                      <a:pt x="16" y="81"/>
                      <a:pt x="17" y="81"/>
                      <a:pt x="18" y="81"/>
                    </a:cubicBezTo>
                    <a:cubicBezTo>
                      <a:pt x="20" y="81"/>
                      <a:pt x="21" y="81"/>
                      <a:pt x="22" y="81"/>
                    </a:cubicBezTo>
                    <a:cubicBezTo>
                      <a:pt x="23" y="82"/>
                      <a:pt x="24" y="83"/>
                      <a:pt x="25" y="82"/>
                    </a:cubicBezTo>
                    <a:cubicBezTo>
                      <a:pt x="26" y="82"/>
                      <a:pt x="26" y="80"/>
                      <a:pt x="27" y="81"/>
                    </a:cubicBezTo>
                    <a:cubicBezTo>
                      <a:pt x="27" y="82"/>
                      <a:pt x="26" y="83"/>
                      <a:pt x="27" y="84"/>
                    </a:cubicBezTo>
                    <a:cubicBezTo>
                      <a:pt x="27" y="85"/>
                      <a:pt x="28" y="82"/>
                      <a:pt x="29" y="82"/>
                    </a:cubicBezTo>
                    <a:cubicBezTo>
                      <a:pt x="30" y="81"/>
                      <a:pt x="28" y="83"/>
                      <a:pt x="28" y="84"/>
                    </a:cubicBezTo>
                    <a:cubicBezTo>
                      <a:pt x="28" y="85"/>
                      <a:pt x="29" y="86"/>
                      <a:pt x="29" y="88"/>
                    </a:cubicBezTo>
                    <a:cubicBezTo>
                      <a:pt x="29" y="89"/>
                      <a:pt x="30" y="88"/>
                      <a:pt x="30" y="87"/>
                    </a:cubicBezTo>
                    <a:cubicBezTo>
                      <a:pt x="30" y="85"/>
                      <a:pt x="31" y="84"/>
                      <a:pt x="32" y="85"/>
                    </a:cubicBezTo>
                    <a:cubicBezTo>
                      <a:pt x="33" y="86"/>
                      <a:pt x="34" y="87"/>
                      <a:pt x="33" y="86"/>
                    </a:cubicBezTo>
                    <a:cubicBezTo>
                      <a:pt x="33" y="85"/>
                      <a:pt x="34" y="85"/>
                      <a:pt x="35" y="85"/>
                    </a:cubicBezTo>
                    <a:cubicBezTo>
                      <a:pt x="36" y="85"/>
                      <a:pt x="38" y="85"/>
                      <a:pt x="37" y="86"/>
                    </a:cubicBezTo>
                    <a:cubicBezTo>
                      <a:pt x="35" y="86"/>
                      <a:pt x="34" y="88"/>
                      <a:pt x="34" y="88"/>
                    </a:cubicBezTo>
                    <a:cubicBezTo>
                      <a:pt x="34" y="88"/>
                      <a:pt x="36" y="88"/>
                      <a:pt x="37" y="88"/>
                    </a:cubicBezTo>
                    <a:cubicBezTo>
                      <a:pt x="38" y="87"/>
                      <a:pt x="41" y="87"/>
                      <a:pt x="41" y="87"/>
                    </a:cubicBezTo>
                    <a:cubicBezTo>
                      <a:pt x="42" y="88"/>
                      <a:pt x="42" y="88"/>
                      <a:pt x="41" y="89"/>
                    </a:cubicBezTo>
                    <a:cubicBezTo>
                      <a:pt x="40" y="90"/>
                      <a:pt x="39" y="92"/>
                      <a:pt x="40" y="93"/>
                    </a:cubicBezTo>
                    <a:cubicBezTo>
                      <a:pt x="41" y="94"/>
                      <a:pt x="42" y="93"/>
                      <a:pt x="42" y="94"/>
                    </a:cubicBezTo>
                    <a:cubicBezTo>
                      <a:pt x="43" y="95"/>
                      <a:pt x="44" y="95"/>
                      <a:pt x="46" y="94"/>
                    </a:cubicBezTo>
                    <a:cubicBezTo>
                      <a:pt x="47" y="92"/>
                      <a:pt x="50" y="93"/>
                      <a:pt x="52" y="94"/>
                    </a:cubicBezTo>
                    <a:cubicBezTo>
                      <a:pt x="54" y="95"/>
                      <a:pt x="54" y="96"/>
                      <a:pt x="53" y="95"/>
                    </a:cubicBezTo>
                    <a:cubicBezTo>
                      <a:pt x="51" y="95"/>
                      <a:pt x="50" y="94"/>
                      <a:pt x="48" y="94"/>
                    </a:cubicBezTo>
                    <a:cubicBezTo>
                      <a:pt x="47" y="93"/>
                      <a:pt x="46" y="94"/>
                      <a:pt x="46" y="95"/>
                    </a:cubicBezTo>
                    <a:cubicBezTo>
                      <a:pt x="45" y="97"/>
                      <a:pt x="44" y="98"/>
                      <a:pt x="46" y="98"/>
                    </a:cubicBezTo>
                    <a:cubicBezTo>
                      <a:pt x="47" y="97"/>
                      <a:pt x="48" y="99"/>
                      <a:pt x="48" y="99"/>
                    </a:cubicBezTo>
                    <a:cubicBezTo>
                      <a:pt x="49" y="100"/>
                      <a:pt x="48" y="101"/>
                      <a:pt x="48" y="102"/>
                    </a:cubicBezTo>
                    <a:cubicBezTo>
                      <a:pt x="47" y="103"/>
                      <a:pt x="46" y="101"/>
                      <a:pt x="45" y="101"/>
                    </a:cubicBezTo>
                    <a:cubicBezTo>
                      <a:pt x="44" y="101"/>
                      <a:pt x="45" y="103"/>
                      <a:pt x="46" y="104"/>
                    </a:cubicBezTo>
                    <a:cubicBezTo>
                      <a:pt x="46" y="105"/>
                      <a:pt x="49" y="108"/>
                      <a:pt x="50" y="109"/>
                    </a:cubicBezTo>
                    <a:cubicBezTo>
                      <a:pt x="52" y="111"/>
                      <a:pt x="51" y="113"/>
                      <a:pt x="53" y="114"/>
                    </a:cubicBezTo>
                    <a:cubicBezTo>
                      <a:pt x="56" y="115"/>
                      <a:pt x="57" y="116"/>
                      <a:pt x="59" y="117"/>
                    </a:cubicBezTo>
                    <a:cubicBezTo>
                      <a:pt x="62" y="119"/>
                      <a:pt x="62" y="118"/>
                      <a:pt x="63" y="118"/>
                    </a:cubicBezTo>
                    <a:cubicBezTo>
                      <a:pt x="64" y="117"/>
                      <a:pt x="63" y="119"/>
                      <a:pt x="63" y="121"/>
                    </a:cubicBezTo>
                    <a:cubicBezTo>
                      <a:pt x="62" y="123"/>
                      <a:pt x="64" y="125"/>
                      <a:pt x="63" y="127"/>
                    </a:cubicBezTo>
                    <a:cubicBezTo>
                      <a:pt x="63" y="130"/>
                      <a:pt x="64" y="132"/>
                      <a:pt x="65" y="133"/>
                    </a:cubicBezTo>
                    <a:cubicBezTo>
                      <a:pt x="65" y="134"/>
                      <a:pt x="65" y="133"/>
                      <a:pt x="64" y="132"/>
                    </a:cubicBezTo>
                    <a:cubicBezTo>
                      <a:pt x="62" y="131"/>
                      <a:pt x="63" y="130"/>
                      <a:pt x="62" y="128"/>
                    </a:cubicBezTo>
                    <a:cubicBezTo>
                      <a:pt x="62" y="126"/>
                      <a:pt x="60" y="125"/>
                      <a:pt x="59" y="126"/>
                    </a:cubicBezTo>
                    <a:cubicBezTo>
                      <a:pt x="58" y="127"/>
                      <a:pt x="60" y="129"/>
                      <a:pt x="61" y="130"/>
                    </a:cubicBezTo>
                    <a:cubicBezTo>
                      <a:pt x="62" y="132"/>
                      <a:pt x="60" y="132"/>
                      <a:pt x="60" y="134"/>
                    </a:cubicBezTo>
                    <a:cubicBezTo>
                      <a:pt x="61" y="136"/>
                      <a:pt x="67" y="138"/>
                      <a:pt x="68" y="139"/>
                    </a:cubicBezTo>
                    <a:cubicBezTo>
                      <a:pt x="70" y="141"/>
                      <a:pt x="70" y="145"/>
                      <a:pt x="70" y="147"/>
                    </a:cubicBezTo>
                    <a:cubicBezTo>
                      <a:pt x="70" y="149"/>
                      <a:pt x="73" y="152"/>
                      <a:pt x="72" y="153"/>
                    </a:cubicBezTo>
                    <a:cubicBezTo>
                      <a:pt x="72" y="154"/>
                      <a:pt x="71" y="151"/>
                      <a:pt x="70" y="150"/>
                    </a:cubicBezTo>
                    <a:cubicBezTo>
                      <a:pt x="69" y="149"/>
                      <a:pt x="69" y="145"/>
                      <a:pt x="68" y="143"/>
                    </a:cubicBezTo>
                    <a:cubicBezTo>
                      <a:pt x="68" y="141"/>
                      <a:pt x="64" y="139"/>
                      <a:pt x="63" y="138"/>
                    </a:cubicBezTo>
                    <a:cubicBezTo>
                      <a:pt x="62" y="138"/>
                      <a:pt x="62" y="141"/>
                      <a:pt x="62" y="145"/>
                    </a:cubicBezTo>
                    <a:cubicBezTo>
                      <a:pt x="61" y="149"/>
                      <a:pt x="59" y="156"/>
                      <a:pt x="59" y="158"/>
                    </a:cubicBezTo>
                    <a:cubicBezTo>
                      <a:pt x="58" y="160"/>
                      <a:pt x="60" y="159"/>
                      <a:pt x="61" y="159"/>
                    </a:cubicBezTo>
                    <a:cubicBezTo>
                      <a:pt x="62" y="159"/>
                      <a:pt x="62" y="161"/>
                      <a:pt x="61" y="161"/>
                    </a:cubicBezTo>
                    <a:cubicBezTo>
                      <a:pt x="60" y="162"/>
                      <a:pt x="59" y="164"/>
                      <a:pt x="59" y="166"/>
                    </a:cubicBezTo>
                    <a:cubicBezTo>
                      <a:pt x="59" y="168"/>
                      <a:pt x="55" y="187"/>
                      <a:pt x="53" y="191"/>
                    </a:cubicBezTo>
                    <a:cubicBezTo>
                      <a:pt x="51" y="195"/>
                      <a:pt x="48" y="194"/>
                      <a:pt x="48" y="195"/>
                    </a:cubicBezTo>
                    <a:cubicBezTo>
                      <a:pt x="49" y="196"/>
                      <a:pt x="50" y="197"/>
                      <a:pt x="52" y="197"/>
                    </a:cubicBezTo>
                    <a:cubicBezTo>
                      <a:pt x="54" y="197"/>
                      <a:pt x="55" y="197"/>
                      <a:pt x="54" y="199"/>
                    </a:cubicBezTo>
                    <a:cubicBezTo>
                      <a:pt x="54" y="202"/>
                      <a:pt x="53" y="203"/>
                      <a:pt x="55" y="203"/>
                    </a:cubicBezTo>
                    <a:cubicBezTo>
                      <a:pt x="56" y="204"/>
                      <a:pt x="57" y="203"/>
                      <a:pt x="58" y="204"/>
                    </a:cubicBezTo>
                    <a:cubicBezTo>
                      <a:pt x="59" y="204"/>
                      <a:pt x="62" y="206"/>
                      <a:pt x="64" y="206"/>
                    </a:cubicBezTo>
                    <a:cubicBezTo>
                      <a:pt x="66" y="207"/>
                      <a:pt x="66" y="205"/>
                      <a:pt x="67" y="208"/>
                    </a:cubicBezTo>
                    <a:cubicBezTo>
                      <a:pt x="68" y="210"/>
                      <a:pt x="69" y="210"/>
                      <a:pt x="72" y="210"/>
                    </a:cubicBezTo>
                    <a:cubicBezTo>
                      <a:pt x="74" y="209"/>
                      <a:pt x="74" y="209"/>
                      <a:pt x="76" y="210"/>
                    </a:cubicBezTo>
                    <a:cubicBezTo>
                      <a:pt x="78" y="211"/>
                      <a:pt x="79" y="213"/>
                      <a:pt x="81" y="213"/>
                    </a:cubicBezTo>
                    <a:cubicBezTo>
                      <a:pt x="83" y="212"/>
                      <a:pt x="83" y="212"/>
                      <a:pt x="85" y="213"/>
                    </a:cubicBezTo>
                    <a:cubicBezTo>
                      <a:pt x="86" y="213"/>
                      <a:pt x="88" y="213"/>
                      <a:pt x="90" y="213"/>
                    </a:cubicBezTo>
                    <a:cubicBezTo>
                      <a:pt x="92" y="213"/>
                      <a:pt x="93" y="211"/>
                      <a:pt x="93" y="209"/>
                    </a:cubicBezTo>
                    <a:cubicBezTo>
                      <a:pt x="94" y="208"/>
                      <a:pt x="94" y="208"/>
                      <a:pt x="96" y="209"/>
                    </a:cubicBezTo>
                    <a:cubicBezTo>
                      <a:pt x="99" y="211"/>
                      <a:pt x="102" y="211"/>
                      <a:pt x="103" y="211"/>
                    </a:cubicBezTo>
                    <a:cubicBezTo>
                      <a:pt x="105" y="211"/>
                      <a:pt x="105" y="214"/>
                      <a:pt x="106" y="214"/>
                    </a:cubicBezTo>
                    <a:cubicBezTo>
                      <a:pt x="108" y="214"/>
                      <a:pt x="112" y="215"/>
                      <a:pt x="112" y="216"/>
                    </a:cubicBezTo>
                    <a:cubicBezTo>
                      <a:pt x="113" y="218"/>
                      <a:pt x="116" y="219"/>
                      <a:pt x="117" y="221"/>
                    </a:cubicBezTo>
                    <a:cubicBezTo>
                      <a:pt x="118" y="223"/>
                      <a:pt x="120" y="221"/>
                      <a:pt x="121" y="221"/>
                    </a:cubicBezTo>
                    <a:cubicBezTo>
                      <a:pt x="122" y="220"/>
                      <a:pt x="126" y="222"/>
                      <a:pt x="127" y="223"/>
                    </a:cubicBezTo>
                    <a:cubicBezTo>
                      <a:pt x="128" y="223"/>
                      <a:pt x="131" y="221"/>
                      <a:pt x="133" y="219"/>
                    </a:cubicBezTo>
                    <a:cubicBezTo>
                      <a:pt x="134" y="218"/>
                      <a:pt x="138" y="220"/>
                      <a:pt x="138" y="220"/>
                    </a:cubicBezTo>
                    <a:cubicBezTo>
                      <a:pt x="138" y="220"/>
                      <a:pt x="137" y="216"/>
                      <a:pt x="137" y="215"/>
                    </a:cubicBezTo>
                    <a:cubicBezTo>
                      <a:pt x="137" y="214"/>
                      <a:pt x="136" y="211"/>
                      <a:pt x="135" y="210"/>
                    </a:cubicBezTo>
                    <a:cubicBezTo>
                      <a:pt x="135" y="208"/>
                      <a:pt x="136" y="207"/>
                      <a:pt x="136" y="206"/>
                    </a:cubicBezTo>
                    <a:cubicBezTo>
                      <a:pt x="137" y="204"/>
                      <a:pt x="137" y="202"/>
                      <a:pt x="138" y="202"/>
                    </a:cubicBezTo>
                    <a:cubicBezTo>
                      <a:pt x="139" y="202"/>
                      <a:pt x="141" y="198"/>
                      <a:pt x="143" y="198"/>
                    </a:cubicBezTo>
                    <a:cubicBezTo>
                      <a:pt x="145" y="198"/>
                      <a:pt x="146" y="196"/>
                      <a:pt x="147" y="195"/>
                    </a:cubicBezTo>
                    <a:cubicBezTo>
                      <a:pt x="148" y="194"/>
                      <a:pt x="148" y="194"/>
                      <a:pt x="150" y="194"/>
                    </a:cubicBezTo>
                    <a:cubicBezTo>
                      <a:pt x="151" y="194"/>
                      <a:pt x="153" y="191"/>
                      <a:pt x="155" y="190"/>
                    </a:cubicBezTo>
                    <a:cubicBezTo>
                      <a:pt x="156" y="188"/>
                      <a:pt x="156" y="190"/>
                      <a:pt x="157" y="192"/>
                    </a:cubicBezTo>
                    <a:cubicBezTo>
                      <a:pt x="157" y="193"/>
                      <a:pt x="159" y="192"/>
                      <a:pt x="159" y="192"/>
                    </a:cubicBezTo>
                    <a:cubicBezTo>
                      <a:pt x="159" y="192"/>
                      <a:pt x="159" y="192"/>
                      <a:pt x="160" y="192"/>
                    </a:cubicBezTo>
                    <a:cubicBezTo>
                      <a:pt x="161" y="193"/>
                      <a:pt x="163" y="193"/>
                      <a:pt x="164" y="193"/>
                    </a:cubicBezTo>
                    <a:cubicBezTo>
                      <a:pt x="166" y="193"/>
                      <a:pt x="165" y="194"/>
                      <a:pt x="166" y="195"/>
                    </a:cubicBezTo>
                    <a:cubicBezTo>
                      <a:pt x="167" y="196"/>
                      <a:pt x="168" y="195"/>
                      <a:pt x="168" y="194"/>
                    </a:cubicBezTo>
                    <a:cubicBezTo>
                      <a:pt x="169" y="194"/>
                      <a:pt x="168" y="191"/>
                      <a:pt x="167" y="190"/>
                    </a:cubicBezTo>
                    <a:cubicBezTo>
                      <a:pt x="167" y="190"/>
                      <a:pt x="168" y="192"/>
                      <a:pt x="169" y="193"/>
                    </a:cubicBezTo>
                    <a:cubicBezTo>
                      <a:pt x="169" y="194"/>
                      <a:pt x="170" y="194"/>
                      <a:pt x="171" y="194"/>
                    </a:cubicBezTo>
                    <a:cubicBezTo>
                      <a:pt x="172" y="193"/>
                      <a:pt x="173" y="194"/>
                      <a:pt x="173" y="193"/>
                    </a:cubicBezTo>
                    <a:cubicBezTo>
                      <a:pt x="173" y="193"/>
                      <a:pt x="173" y="191"/>
                      <a:pt x="174" y="191"/>
                    </a:cubicBezTo>
                    <a:cubicBezTo>
                      <a:pt x="175" y="191"/>
                      <a:pt x="175" y="192"/>
                      <a:pt x="175" y="193"/>
                    </a:cubicBezTo>
                    <a:cubicBezTo>
                      <a:pt x="175" y="194"/>
                      <a:pt x="173" y="195"/>
                      <a:pt x="174" y="195"/>
                    </a:cubicBezTo>
                    <a:cubicBezTo>
                      <a:pt x="174" y="196"/>
                      <a:pt x="174" y="195"/>
                      <a:pt x="175" y="195"/>
                    </a:cubicBezTo>
                    <a:cubicBezTo>
                      <a:pt x="176" y="195"/>
                      <a:pt x="179" y="196"/>
                      <a:pt x="180" y="197"/>
                    </a:cubicBezTo>
                    <a:cubicBezTo>
                      <a:pt x="181" y="198"/>
                      <a:pt x="181" y="198"/>
                      <a:pt x="182" y="200"/>
                    </a:cubicBezTo>
                    <a:cubicBezTo>
                      <a:pt x="182" y="201"/>
                      <a:pt x="184" y="200"/>
                      <a:pt x="186" y="201"/>
                    </a:cubicBezTo>
                    <a:cubicBezTo>
                      <a:pt x="188" y="202"/>
                      <a:pt x="187" y="204"/>
                      <a:pt x="188" y="203"/>
                    </a:cubicBezTo>
                    <a:cubicBezTo>
                      <a:pt x="189" y="203"/>
                      <a:pt x="189" y="202"/>
                      <a:pt x="191" y="202"/>
                    </a:cubicBezTo>
                    <a:cubicBezTo>
                      <a:pt x="192" y="202"/>
                      <a:pt x="193" y="204"/>
                      <a:pt x="194" y="203"/>
                    </a:cubicBezTo>
                    <a:cubicBezTo>
                      <a:pt x="194" y="203"/>
                      <a:pt x="196" y="201"/>
                      <a:pt x="197" y="202"/>
                    </a:cubicBezTo>
                    <a:cubicBezTo>
                      <a:pt x="198" y="203"/>
                      <a:pt x="198" y="203"/>
                      <a:pt x="199" y="202"/>
                    </a:cubicBezTo>
                    <a:cubicBezTo>
                      <a:pt x="199" y="201"/>
                      <a:pt x="201" y="199"/>
                      <a:pt x="202" y="199"/>
                    </a:cubicBezTo>
                    <a:cubicBezTo>
                      <a:pt x="204" y="200"/>
                      <a:pt x="204" y="199"/>
                      <a:pt x="203" y="198"/>
                    </a:cubicBezTo>
                    <a:cubicBezTo>
                      <a:pt x="203" y="197"/>
                      <a:pt x="203" y="196"/>
                      <a:pt x="204" y="194"/>
                    </a:cubicBezTo>
                    <a:cubicBezTo>
                      <a:pt x="206" y="193"/>
                      <a:pt x="208" y="193"/>
                      <a:pt x="208" y="192"/>
                    </a:cubicBezTo>
                    <a:cubicBezTo>
                      <a:pt x="208" y="191"/>
                      <a:pt x="209" y="190"/>
                      <a:pt x="211" y="190"/>
                    </a:cubicBezTo>
                    <a:cubicBezTo>
                      <a:pt x="212" y="190"/>
                      <a:pt x="213" y="190"/>
                      <a:pt x="213" y="188"/>
                    </a:cubicBezTo>
                    <a:cubicBezTo>
                      <a:pt x="213" y="186"/>
                      <a:pt x="213" y="187"/>
                      <a:pt x="215" y="186"/>
                    </a:cubicBezTo>
                    <a:cubicBezTo>
                      <a:pt x="217" y="186"/>
                      <a:pt x="219" y="184"/>
                      <a:pt x="219" y="184"/>
                    </a:cubicBezTo>
                    <a:cubicBezTo>
                      <a:pt x="219" y="184"/>
                      <a:pt x="219" y="181"/>
                      <a:pt x="221" y="179"/>
                    </a:cubicBezTo>
                    <a:cubicBezTo>
                      <a:pt x="222" y="178"/>
                      <a:pt x="223" y="177"/>
                      <a:pt x="222" y="174"/>
                    </a:cubicBezTo>
                    <a:cubicBezTo>
                      <a:pt x="221" y="172"/>
                      <a:pt x="220" y="174"/>
                      <a:pt x="217" y="174"/>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61" name="Freeform 182"/>
              <p:cNvSpPr>
                <a:spLocks/>
              </p:cNvSpPr>
              <p:nvPr/>
            </p:nvSpPr>
            <p:spPr bwMode="gray">
              <a:xfrm>
                <a:off x="1973" y="2942"/>
                <a:ext cx="45" cy="66"/>
              </a:xfrm>
              <a:custGeom>
                <a:avLst/>
                <a:gdLst>
                  <a:gd name="T0" fmla="*/ 16 w 17"/>
                  <a:gd name="T1" fmla="*/ 20 h 25"/>
                  <a:gd name="T2" fmla="*/ 15 w 17"/>
                  <a:gd name="T3" fmla="*/ 20 h 25"/>
                  <a:gd name="T4" fmla="*/ 14 w 17"/>
                  <a:gd name="T5" fmla="*/ 19 h 25"/>
                  <a:gd name="T6" fmla="*/ 14 w 17"/>
                  <a:gd name="T7" fmla="*/ 18 h 25"/>
                  <a:gd name="T8" fmla="*/ 13 w 17"/>
                  <a:gd name="T9" fmla="*/ 17 h 25"/>
                  <a:gd name="T10" fmla="*/ 13 w 17"/>
                  <a:gd name="T11" fmla="*/ 17 h 25"/>
                  <a:gd name="T12" fmla="*/ 12 w 17"/>
                  <a:gd name="T13" fmla="*/ 16 h 25"/>
                  <a:gd name="T14" fmla="*/ 12 w 17"/>
                  <a:gd name="T15" fmla="*/ 15 h 25"/>
                  <a:gd name="T16" fmla="*/ 12 w 17"/>
                  <a:gd name="T17" fmla="*/ 14 h 25"/>
                  <a:gd name="T18" fmla="*/ 13 w 17"/>
                  <a:gd name="T19" fmla="*/ 13 h 25"/>
                  <a:gd name="T20" fmla="*/ 12 w 17"/>
                  <a:gd name="T21" fmla="*/ 12 h 25"/>
                  <a:gd name="T22" fmla="*/ 12 w 17"/>
                  <a:gd name="T23" fmla="*/ 12 h 25"/>
                  <a:gd name="T24" fmla="*/ 13 w 17"/>
                  <a:gd name="T25" fmla="*/ 11 h 25"/>
                  <a:gd name="T26" fmla="*/ 14 w 17"/>
                  <a:gd name="T27" fmla="*/ 10 h 25"/>
                  <a:gd name="T28" fmla="*/ 14 w 17"/>
                  <a:gd name="T29" fmla="*/ 9 h 25"/>
                  <a:gd name="T30" fmla="*/ 15 w 17"/>
                  <a:gd name="T31" fmla="*/ 8 h 25"/>
                  <a:gd name="T32" fmla="*/ 16 w 17"/>
                  <a:gd name="T33" fmla="*/ 7 h 25"/>
                  <a:gd name="T34" fmla="*/ 17 w 17"/>
                  <a:gd name="T35" fmla="*/ 7 h 25"/>
                  <a:gd name="T36" fmla="*/ 17 w 17"/>
                  <a:gd name="T37" fmla="*/ 7 h 25"/>
                  <a:gd name="T38" fmla="*/ 16 w 17"/>
                  <a:gd name="T39" fmla="*/ 5 h 25"/>
                  <a:gd name="T40" fmla="*/ 17 w 17"/>
                  <a:gd name="T41" fmla="*/ 5 h 25"/>
                  <a:gd name="T42" fmla="*/ 17 w 17"/>
                  <a:gd name="T43" fmla="*/ 4 h 25"/>
                  <a:gd name="T44" fmla="*/ 7 w 17"/>
                  <a:gd name="T45" fmla="*/ 3 h 25"/>
                  <a:gd name="T46" fmla="*/ 5 w 17"/>
                  <a:gd name="T47" fmla="*/ 0 h 25"/>
                  <a:gd name="T48" fmla="*/ 1 w 17"/>
                  <a:gd name="T49" fmla="*/ 5 h 25"/>
                  <a:gd name="T50" fmla="*/ 2 w 17"/>
                  <a:gd name="T51" fmla="*/ 12 h 25"/>
                  <a:gd name="T52" fmla="*/ 2 w 17"/>
                  <a:gd name="T53" fmla="*/ 17 h 25"/>
                  <a:gd name="T54" fmla="*/ 5 w 17"/>
                  <a:gd name="T55" fmla="*/ 21 h 25"/>
                  <a:gd name="T56" fmla="*/ 17 w 17"/>
                  <a:gd name="T57" fmla="*/ 21 h 25"/>
                  <a:gd name="T58" fmla="*/ 16 w 17"/>
                  <a:gd name="T59" fmla="*/ 2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 h="25">
                    <a:moveTo>
                      <a:pt x="16" y="20"/>
                    </a:moveTo>
                    <a:cubicBezTo>
                      <a:pt x="16" y="20"/>
                      <a:pt x="16" y="20"/>
                      <a:pt x="15" y="20"/>
                    </a:cubicBezTo>
                    <a:cubicBezTo>
                      <a:pt x="15" y="19"/>
                      <a:pt x="15" y="19"/>
                      <a:pt x="14" y="19"/>
                    </a:cubicBezTo>
                    <a:cubicBezTo>
                      <a:pt x="14" y="18"/>
                      <a:pt x="14" y="18"/>
                      <a:pt x="14" y="18"/>
                    </a:cubicBezTo>
                    <a:cubicBezTo>
                      <a:pt x="14" y="18"/>
                      <a:pt x="14" y="17"/>
                      <a:pt x="13" y="17"/>
                    </a:cubicBezTo>
                    <a:cubicBezTo>
                      <a:pt x="13" y="17"/>
                      <a:pt x="13" y="17"/>
                      <a:pt x="13" y="17"/>
                    </a:cubicBezTo>
                    <a:cubicBezTo>
                      <a:pt x="13" y="16"/>
                      <a:pt x="12" y="16"/>
                      <a:pt x="12" y="16"/>
                    </a:cubicBezTo>
                    <a:cubicBezTo>
                      <a:pt x="12" y="15"/>
                      <a:pt x="12" y="15"/>
                      <a:pt x="12" y="15"/>
                    </a:cubicBezTo>
                    <a:cubicBezTo>
                      <a:pt x="12" y="14"/>
                      <a:pt x="12" y="14"/>
                      <a:pt x="12" y="14"/>
                    </a:cubicBezTo>
                    <a:cubicBezTo>
                      <a:pt x="12" y="13"/>
                      <a:pt x="12" y="13"/>
                      <a:pt x="13" y="13"/>
                    </a:cubicBezTo>
                    <a:cubicBezTo>
                      <a:pt x="12" y="13"/>
                      <a:pt x="12" y="13"/>
                      <a:pt x="12" y="12"/>
                    </a:cubicBezTo>
                    <a:cubicBezTo>
                      <a:pt x="12" y="12"/>
                      <a:pt x="12" y="12"/>
                      <a:pt x="12" y="12"/>
                    </a:cubicBezTo>
                    <a:cubicBezTo>
                      <a:pt x="13" y="11"/>
                      <a:pt x="13" y="11"/>
                      <a:pt x="13" y="11"/>
                    </a:cubicBezTo>
                    <a:cubicBezTo>
                      <a:pt x="13" y="10"/>
                      <a:pt x="13" y="10"/>
                      <a:pt x="14" y="10"/>
                    </a:cubicBezTo>
                    <a:cubicBezTo>
                      <a:pt x="14" y="9"/>
                      <a:pt x="14" y="9"/>
                      <a:pt x="14" y="9"/>
                    </a:cubicBezTo>
                    <a:cubicBezTo>
                      <a:pt x="15" y="8"/>
                      <a:pt x="15" y="8"/>
                      <a:pt x="15" y="8"/>
                    </a:cubicBezTo>
                    <a:cubicBezTo>
                      <a:pt x="15" y="8"/>
                      <a:pt x="16" y="8"/>
                      <a:pt x="16" y="7"/>
                    </a:cubicBezTo>
                    <a:cubicBezTo>
                      <a:pt x="16" y="7"/>
                      <a:pt x="16" y="7"/>
                      <a:pt x="17" y="7"/>
                    </a:cubicBezTo>
                    <a:cubicBezTo>
                      <a:pt x="17" y="7"/>
                      <a:pt x="17" y="7"/>
                      <a:pt x="17" y="7"/>
                    </a:cubicBezTo>
                    <a:cubicBezTo>
                      <a:pt x="17" y="6"/>
                      <a:pt x="17" y="6"/>
                      <a:pt x="16" y="5"/>
                    </a:cubicBezTo>
                    <a:cubicBezTo>
                      <a:pt x="17" y="5"/>
                      <a:pt x="17" y="5"/>
                      <a:pt x="17" y="5"/>
                    </a:cubicBezTo>
                    <a:cubicBezTo>
                      <a:pt x="17" y="4"/>
                      <a:pt x="17" y="4"/>
                      <a:pt x="17" y="4"/>
                    </a:cubicBezTo>
                    <a:cubicBezTo>
                      <a:pt x="13" y="4"/>
                      <a:pt x="9" y="4"/>
                      <a:pt x="7" y="3"/>
                    </a:cubicBezTo>
                    <a:cubicBezTo>
                      <a:pt x="7" y="3"/>
                      <a:pt x="6" y="1"/>
                      <a:pt x="5" y="0"/>
                    </a:cubicBezTo>
                    <a:cubicBezTo>
                      <a:pt x="4" y="0"/>
                      <a:pt x="2" y="3"/>
                      <a:pt x="1" y="5"/>
                    </a:cubicBezTo>
                    <a:cubicBezTo>
                      <a:pt x="0" y="7"/>
                      <a:pt x="0" y="10"/>
                      <a:pt x="2" y="12"/>
                    </a:cubicBezTo>
                    <a:cubicBezTo>
                      <a:pt x="4" y="14"/>
                      <a:pt x="2" y="17"/>
                      <a:pt x="2" y="17"/>
                    </a:cubicBezTo>
                    <a:cubicBezTo>
                      <a:pt x="3" y="17"/>
                      <a:pt x="4" y="20"/>
                      <a:pt x="5" y="21"/>
                    </a:cubicBezTo>
                    <a:cubicBezTo>
                      <a:pt x="9" y="25"/>
                      <a:pt x="17" y="21"/>
                      <a:pt x="17" y="21"/>
                    </a:cubicBezTo>
                    <a:cubicBezTo>
                      <a:pt x="17" y="20"/>
                      <a:pt x="17" y="20"/>
                      <a:pt x="16" y="2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62" name="Freeform 183"/>
              <p:cNvSpPr>
                <a:spLocks/>
              </p:cNvSpPr>
              <p:nvPr/>
            </p:nvSpPr>
            <p:spPr bwMode="gray">
              <a:xfrm>
                <a:off x="1863" y="2737"/>
                <a:ext cx="210" cy="190"/>
              </a:xfrm>
              <a:custGeom>
                <a:avLst/>
                <a:gdLst>
                  <a:gd name="T0" fmla="*/ 55 w 80"/>
                  <a:gd name="T1" fmla="*/ 69 h 72"/>
                  <a:gd name="T2" fmla="*/ 54 w 80"/>
                  <a:gd name="T3" fmla="*/ 66 h 72"/>
                  <a:gd name="T4" fmla="*/ 55 w 80"/>
                  <a:gd name="T5" fmla="*/ 65 h 72"/>
                  <a:gd name="T6" fmla="*/ 57 w 80"/>
                  <a:gd name="T7" fmla="*/ 63 h 72"/>
                  <a:gd name="T8" fmla="*/ 56 w 80"/>
                  <a:gd name="T9" fmla="*/ 62 h 72"/>
                  <a:gd name="T10" fmla="*/ 56 w 80"/>
                  <a:gd name="T11" fmla="*/ 60 h 72"/>
                  <a:gd name="T12" fmla="*/ 58 w 80"/>
                  <a:gd name="T13" fmla="*/ 57 h 72"/>
                  <a:gd name="T14" fmla="*/ 58 w 80"/>
                  <a:gd name="T15" fmla="*/ 54 h 72"/>
                  <a:gd name="T16" fmla="*/ 57 w 80"/>
                  <a:gd name="T17" fmla="*/ 53 h 72"/>
                  <a:gd name="T18" fmla="*/ 57 w 80"/>
                  <a:gd name="T19" fmla="*/ 50 h 72"/>
                  <a:gd name="T20" fmla="*/ 55 w 80"/>
                  <a:gd name="T21" fmla="*/ 47 h 72"/>
                  <a:gd name="T22" fmla="*/ 55 w 80"/>
                  <a:gd name="T23" fmla="*/ 45 h 72"/>
                  <a:gd name="T24" fmla="*/ 58 w 80"/>
                  <a:gd name="T25" fmla="*/ 44 h 72"/>
                  <a:gd name="T26" fmla="*/ 60 w 80"/>
                  <a:gd name="T27" fmla="*/ 45 h 72"/>
                  <a:gd name="T28" fmla="*/ 62 w 80"/>
                  <a:gd name="T29" fmla="*/ 45 h 72"/>
                  <a:gd name="T30" fmla="*/ 64 w 80"/>
                  <a:gd name="T31" fmla="*/ 44 h 72"/>
                  <a:gd name="T32" fmla="*/ 66 w 80"/>
                  <a:gd name="T33" fmla="*/ 44 h 72"/>
                  <a:gd name="T34" fmla="*/ 68 w 80"/>
                  <a:gd name="T35" fmla="*/ 43 h 72"/>
                  <a:gd name="T36" fmla="*/ 67 w 80"/>
                  <a:gd name="T37" fmla="*/ 40 h 72"/>
                  <a:gd name="T38" fmla="*/ 68 w 80"/>
                  <a:gd name="T39" fmla="*/ 39 h 72"/>
                  <a:gd name="T40" fmla="*/ 70 w 80"/>
                  <a:gd name="T41" fmla="*/ 36 h 72"/>
                  <a:gd name="T42" fmla="*/ 73 w 80"/>
                  <a:gd name="T43" fmla="*/ 35 h 72"/>
                  <a:gd name="T44" fmla="*/ 73 w 80"/>
                  <a:gd name="T45" fmla="*/ 32 h 72"/>
                  <a:gd name="T46" fmla="*/ 72 w 80"/>
                  <a:gd name="T47" fmla="*/ 30 h 72"/>
                  <a:gd name="T48" fmla="*/ 71 w 80"/>
                  <a:gd name="T49" fmla="*/ 28 h 72"/>
                  <a:gd name="T50" fmla="*/ 70 w 80"/>
                  <a:gd name="T51" fmla="*/ 29 h 72"/>
                  <a:gd name="T52" fmla="*/ 68 w 80"/>
                  <a:gd name="T53" fmla="*/ 28 h 72"/>
                  <a:gd name="T54" fmla="*/ 69 w 80"/>
                  <a:gd name="T55" fmla="*/ 26 h 72"/>
                  <a:gd name="T56" fmla="*/ 68 w 80"/>
                  <a:gd name="T57" fmla="*/ 25 h 72"/>
                  <a:gd name="T58" fmla="*/ 69 w 80"/>
                  <a:gd name="T59" fmla="*/ 24 h 72"/>
                  <a:gd name="T60" fmla="*/ 71 w 80"/>
                  <a:gd name="T61" fmla="*/ 24 h 72"/>
                  <a:gd name="T62" fmla="*/ 73 w 80"/>
                  <a:gd name="T63" fmla="*/ 24 h 72"/>
                  <a:gd name="T64" fmla="*/ 74 w 80"/>
                  <a:gd name="T65" fmla="*/ 20 h 72"/>
                  <a:gd name="T66" fmla="*/ 75 w 80"/>
                  <a:gd name="T67" fmla="*/ 16 h 72"/>
                  <a:gd name="T68" fmla="*/ 76 w 80"/>
                  <a:gd name="T69" fmla="*/ 14 h 72"/>
                  <a:gd name="T70" fmla="*/ 76 w 80"/>
                  <a:gd name="T71" fmla="*/ 10 h 72"/>
                  <a:gd name="T72" fmla="*/ 77 w 80"/>
                  <a:gd name="T73" fmla="*/ 7 h 72"/>
                  <a:gd name="T74" fmla="*/ 78 w 80"/>
                  <a:gd name="T75" fmla="*/ 7 h 72"/>
                  <a:gd name="T76" fmla="*/ 79 w 80"/>
                  <a:gd name="T77" fmla="*/ 8 h 72"/>
                  <a:gd name="T78" fmla="*/ 79 w 80"/>
                  <a:gd name="T79" fmla="*/ 6 h 72"/>
                  <a:gd name="T80" fmla="*/ 76 w 80"/>
                  <a:gd name="T81" fmla="*/ 5 h 72"/>
                  <a:gd name="T82" fmla="*/ 73 w 80"/>
                  <a:gd name="T83" fmla="*/ 4 h 72"/>
                  <a:gd name="T84" fmla="*/ 63 w 80"/>
                  <a:gd name="T85" fmla="*/ 2 h 72"/>
                  <a:gd name="T86" fmla="*/ 52 w 80"/>
                  <a:gd name="T87" fmla="*/ 0 h 72"/>
                  <a:gd name="T88" fmla="*/ 40 w 80"/>
                  <a:gd name="T89" fmla="*/ 7 h 72"/>
                  <a:gd name="T90" fmla="*/ 26 w 80"/>
                  <a:gd name="T91" fmla="*/ 14 h 72"/>
                  <a:gd name="T92" fmla="*/ 18 w 80"/>
                  <a:gd name="T93" fmla="*/ 33 h 72"/>
                  <a:gd name="T94" fmla="*/ 24 w 80"/>
                  <a:gd name="T95" fmla="*/ 42 h 72"/>
                  <a:gd name="T96" fmla="*/ 16 w 80"/>
                  <a:gd name="T97" fmla="*/ 43 h 72"/>
                  <a:gd name="T98" fmla="*/ 13 w 80"/>
                  <a:gd name="T99" fmla="*/ 43 h 72"/>
                  <a:gd name="T100" fmla="*/ 8 w 80"/>
                  <a:gd name="T101" fmla="*/ 43 h 72"/>
                  <a:gd name="T102" fmla="*/ 16 w 80"/>
                  <a:gd name="T103" fmla="*/ 49 h 72"/>
                  <a:gd name="T104" fmla="*/ 4 w 80"/>
                  <a:gd name="T105" fmla="*/ 45 h 72"/>
                  <a:gd name="T106" fmla="*/ 10 w 80"/>
                  <a:gd name="T107" fmla="*/ 50 h 72"/>
                  <a:gd name="T108" fmla="*/ 13 w 80"/>
                  <a:gd name="T109" fmla="*/ 50 h 72"/>
                  <a:gd name="T110" fmla="*/ 1 w 80"/>
                  <a:gd name="T111" fmla="*/ 49 h 72"/>
                  <a:gd name="T112" fmla="*/ 6 w 80"/>
                  <a:gd name="T113" fmla="*/ 53 h 72"/>
                  <a:gd name="T114" fmla="*/ 23 w 80"/>
                  <a:gd name="T115" fmla="*/ 49 h 72"/>
                  <a:gd name="T116" fmla="*/ 37 w 80"/>
                  <a:gd name="T117" fmla="*/ 53 h 72"/>
                  <a:gd name="T118" fmla="*/ 41 w 80"/>
                  <a:gd name="T119" fmla="*/ 64 h 72"/>
                  <a:gd name="T120" fmla="*/ 52 w 80"/>
                  <a:gd name="T121" fmla="*/ 7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0" h="72">
                    <a:moveTo>
                      <a:pt x="54" y="70"/>
                    </a:moveTo>
                    <a:cubicBezTo>
                      <a:pt x="55" y="70"/>
                      <a:pt x="55" y="70"/>
                      <a:pt x="55" y="70"/>
                    </a:cubicBezTo>
                    <a:cubicBezTo>
                      <a:pt x="55" y="69"/>
                      <a:pt x="55" y="69"/>
                      <a:pt x="55" y="69"/>
                    </a:cubicBezTo>
                    <a:cubicBezTo>
                      <a:pt x="55" y="68"/>
                      <a:pt x="55" y="68"/>
                      <a:pt x="55" y="68"/>
                    </a:cubicBezTo>
                    <a:cubicBezTo>
                      <a:pt x="55" y="67"/>
                      <a:pt x="54" y="67"/>
                      <a:pt x="54" y="67"/>
                    </a:cubicBezTo>
                    <a:cubicBezTo>
                      <a:pt x="54" y="67"/>
                      <a:pt x="54" y="66"/>
                      <a:pt x="54" y="66"/>
                    </a:cubicBezTo>
                    <a:cubicBezTo>
                      <a:pt x="54" y="66"/>
                      <a:pt x="54" y="66"/>
                      <a:pt x="54" y="65"/>
                    </a:cubicBezTo>
                    <a:cubicBezTo>
                      <a:pt x="54" y="65"/>
                      <a:pt x="54" y="65"/>
                      <a:pt x="54" y="65"/>
                    </a:cubicBezTo>
                    <a:cubicBezTo>
                      <a:pt x="54" y="65"/>
                      <a:pt x="55" y="65"/>
                      <a:pt x="55" y="65"/>
                    </a:cubicBezTo>
                    <a:cubicBezTo>
                      <a:pt x="55" y="65"/>
                      <a:pt x="56" y="65"/>
                      <a:pt x="56" y="65"/>
                    </a:cubicBezTo>
                    <a:cubicBezTo>
                      <a:pt x="56" y="64"/>
                      <a:pt x="56" y="64"/>
                      <a:pt x="57" y="64"/>
                    </a:cubicBezTo>
                    <a:cubicBezTo>
                      <a:pt x="57" y="63"/>
                      <a:pt x="57" y="63"/>
                      <a:pt x="57" y="63"/>
                    </a:cubicBezTo>
                    <a:cubicBezTo>
                      <a:pt x="57" y="63"/>
                      <a:pt x="57" y="62"/>
                      <a:pt x="57" y="62"/>
                    </a:cubicBezTo>
                    <a:cubicBezTo>
                      <a:pt x="57" y="62"/>
                      <a:pt x="56" y="62"/>
                      <a:pt x="56" y="62"/>
                    </a:cubicBezTo>
                    <a:cubicBezTo>
                      <a:pt x="56" y="62"/>
                      <a:pt x="56" y="62"/>
                      <a:pt x="56" y="62"/>
                    </a:cubicBezTo>
                    <a:cubicBezTo>
                      <a:pt x="56" y="61"/>
                      <a:pt x="56" y="61"/>
                      <a:pt x="55" y="61"/>
                    </a:cubicBezTo>
                    <a:cubicBezTo>
                      <a:pt x="55" y="61"/>
                      <a:pt x="55" y="61"/>
                      <a:pt x="56" y="60"/>
                    </a:cubicBezTo>
                    <a:cubicBezTo>
                      <a:pt x="56" y="60"/>
                      <a:pt x="56" y="60"/>
                      <a:pt x="56" y="60"/>
                    </a:cubicBezTo>
                    <a:cubicBezTo>
                      <a:pt x="56" y="59"/>
                      <a:pt x="57" y="59"/>
                      <a:pt x="57" y="59"/>
                    </a:cubicBezTo>
                    <a:cubicBezTo>
                      <a:pt x="57" y="58"/>
                      <a:pt x="57" y="58"/>
                      <a:pt x="58" y="58"/>
                    </a:cubicBezTo>
                    <a:cubicBezTo>
                      <a:pt x="58" y="58"/>
                      <a:pt x="58" y="58"/>
                      <a:pt x="58" y="57"/>
                    </a:cubicBezTo>
                    <a:cubicBezTo>
                      <a:pt x="58" y="57"/>
                      <a:pt x="58" y="57"/>
                      <a:pt x="58" y="56"/>
                    </a:cubicBezTo>
                    <a:cubicBezTo>
                      <a:pt x="58" y="56"/>
                      <a:pt x="58" y="56"/>
                      <a:pt x="58" y="55"/>
                    </a:cubicBezTo>
                    <a:cubicBezTo>
                      <a:pt x="58" y="55"/>
                      <a:pt x="58" y="55"/>
                      <a:pt x="58" y="54"/>
                    </a:cubicBezTo>
                    <a:cubicBezTo>
                      <a:pt x="58" y="54"/>
                      <a:pt x="58" y="54"/>
                      <a:pt x="58" y="54"/>
                    </a:cubicBezTo>
                    <a:cubicBezTo>
                      <a:pt x="58" y="54"/>
                      <a:pt x="58" y="53"/>
                      <a:pt x="58" y="53"/>
                    </a:cubicBezTo>
                    <a:cubicBezTo>
                      <a:pt x="57" y="53"/>
                      <a:pt x="57" y="53"/>
                      <a:pt x="57" y="53"/>
                    </a:cubicBezTo>
                    <a:cubicBezTo>
                      <a:pt x="56" y="52"/>
                      <a:pt x="56" y="52"/>
                      <a:pt x="56" y="52"/>
                    </a:cubicBezTo>
                    <a:cubicBezTo>
                      <a:pt x="56" y="51"/>
                      <a:pt x="56" y="51"/>
                      <a:pt x="56" y="51"/>
                    </a:cubicBezTo>
                    <a:cubicBezTo>
                      <a:pt x="56" y="50"/>
                      <a:pt x="57" y="50"/>
                      <a:pt x="57" y="50"/>
                    </a:cubicBezTo>
                    <a:cubicBezTo>
                      <a:pt x="57" y="49"/>
                      <a:pt x="56" y="49"/>
                      <a:pt x="56" y="49"/>
                    </a:cubicBezTo>
                    <a:cubicBezTo>
                      <a:pt x="56" y="49"/>
                      <a:pt x="56" y="48"/>
                      <a:pt x="56" y="48"/>
                    </a:cubicBezTo>
                    <a:cubicBezTo>
                      <a:pt x="56" y="48"/>
                      <a:pt x="55" y="48"/>
                      <a:pt x="55" y="47"/>
                    </a:cubicBezTo>
                    <a:cubicBezTo>
                      <a:pt x="55" y="47"/>
                      <a:pt x="55" y="47"/>
                      <a:pt x="55" y="46"/>
                    </a:cubicBezTo>
                    <a:cubicBezTo>
                      <a:pt x="55" y="46"/>
                      <a:pt x="55" y="46"/>
                      <a:pt x="55" y="45"/>
                    </a:cubicBezTo>
                    <a:cubicBezTo>
                      <a:pt x="55" y="45"/>
                      <a:pt x="55" y="45"/>
                      <a:pt x="55" y="45"/>
                    </a:cubicBezTo>
                    <a:cubicBezTo>
                      <a:pt x="56" y="45"/>
                      <a:pt x="56" y="45"/>
                      <a:pt x="57" y="45"/>
                    </a:cubicBezTo>
                    <a:cubicBezTo>
                      <a:pt x="57" y="45"/>
                      <a:pt x="57" y="45"/>
                      <a:pt x="58" y="44"/>
                    </a:cubicBezTo>
                    <a:cubicBezTo>
                      <a:pt x="58" y="44"/>
                      <a:pt x="58" y="44"/>
                      <a:pt x="58" y="44"/>
                    </a:cubicBezTo>
                    <a:cubicBezTo>
                      <a:pt x="58" y="44"/>
                      <a:pt x="59" y="44"/>
                      <a:pt x="59" y="44"/>
                    </a:cubicBezTo>
                    <a:cubicBezTo>
                      <a:pt x="59" y="44"/>
                      <a:pt x="59" y="44"/>
                      <a:pt x="60" y="45"/>
                    </a:cubicBezTo>
                    <a:cubicBezTo>
                      <a:pt x="60" y="45"/>
                      <a:pt x="60" y="45"/>
                      <a:pt x="60" y="45"/>
                    </a:cubicBezTo>
                    <a:cubicBezTo>
                      <a:pt x="60" y="45"/>
                      <a:pt x="61" y="46"/>
                      <a:pt x="61" y="46"/>
                    </a:cubicBezTo>
                    <a:cubicBezTo>
                      <a:pt x="61" y="46"/>
                      <a:pt x="61" y="46"/>
                      <a:pt x="61" y="45"/>
                    </a:cubicBezTo>
                    <a:cubicBezTo>
                      <a:pt x="62" y="45"/>
                      <a:pt x="62" y="45"/>
                      <a:pt x="62" y="45"/>
                    </a:cubicBezTo>
                    <a:cubicBezTo>
                      <a:pt x="62" y="45"/>
                      <a:pt x="62" y="45"/>
                      <a:pt x="62" y="44"/>
                    </a:cubicBezTo>
                    <a:cubicBezTo>
                      <a:pt x="63" y="44"/>
                      <a:pt x="63" y="44"/>
                      <a:pt x="63" y="45"/>
                    </a:cubicBezTo>
                    <a:cubicBezTo>
                      <a:pt x="63" y="44"/>
                      <a:pt x="63" y="44"/>
                      <a:pt x="64" y="44"/>
                    </a:cubicBezTo>
                    <a:cubicBezTo>
                      <a:pt x="64" y="44"/>
                      <a:pt x="64" y="44"/>
                      <a:pt x="64" y="44"/>
                    </a:cubicBezTo>
                    <a:cubicBezTo>
                      <a:pt x="64" y="44"/>
                      <a:pt x="65" y="43"/>
                      <a:pt x="65" y="43"/>
                    </a:cubicBezTo>
                    <a:cubicBezTo>
                      <a:pt x="65" y="43"/>
                      <a:pt x="65" y="43"/>
                      <a:pt x="66" y="44"/>
                    </a:cubicBezTo>
                    <a:cubicBezTo>
                      <a:pt x="66" y="44"/>
                      <a:pt x="66" y="44"/>
                      <a:pt x="66" y="44"/>
                    </a:cubicBezTo>
                    <a:cubicBezTo>
                      <a:pt x="66" y="44"/>
                      <a:pt x="67" y="44"/>
                      <a:pt x="67" y="44"/>
                    </a:cubicBezTo>
                    <a:cubicBezTo>
                      <a:pt x="67" y="43"/>
                      <a:pt x="67" y="43"/>
                      <a:pt x="68" y="43"/>
                    </a:cubicBezTo>
                    <a:cubicBezTo>
                      <a:pt x="68" y="42"/>
                      <a:pt x="68" y="42"/>
                      <a:pt x="68" y="42"/>
                    </a:cubicBezTo>
                    <a:cubicBezTo>
                      <a:pt x="68" y="41"/>
                      <a:pt x="68" y="41"/>
                      <a:pt x="68" y="40"/>
                    </a:cubicBezTo>
                    <a:cubicBezTo>
                      <a:pt x="68" y="40"/>
                      <a:pt x="67" y="40"/>
                      <a:pt x="67" y="40"/>
                    </a:cubicBezTo>
                    <a:cubicBezTo>
                      <a:pt x="67" y="40"/>
                      <a:pt x="67" y="40"/>
                      <a:pt x="67" y="39"/>
                    </a:cubicBezTo>
                    <a:cubicBezTo>
                      <a:pt x="67" y="39"/>
                      <a:pt x="67" y="39"/>
                      <a:pt x="67" y="39"/>
                    </a:cubicBezTo>
                    <a:cubicBezTo>
                      <a:pt x="68" y="39"/>
                      <a:pt x="68" y="39"/>
                      <a:pt x="68" y="39"/>
                    </a:cubicBezTo>
                    <a:cubicBezTo>
                      <a:pt x="68" y="38"/>
                      <a:pt x="68" y="38"/>
                      <a:pt x="69" y="38"/>
                    </a:cubicBezTo>
                    <a:cubicBezTo>
                      <a:pt x="69" y="38"/>
                      <a:pt x="69" y="38"/>
                      <a:pt x="69" y="37"/>
                    </a:cubicBezTo>
                    <a:cubicBezTo>
                      <a:pt x="70" y="37"/>
                      <a:pt x="70" y="36"/>
                      <a:pt x="70" y="36"/>
                    </a:cubicBezTo>
                    <a:cubicBezTo>
                      <a:pt x="71" y="36"/>
                      <a:pt x="71" y="36"/>
                      <a:pt x="71" y="36"/>
                    </a:cubicBezTo>
                    <a:cubicBezTo>
                      <a:pt x="72" y="36"/>
                      <a:pt x="72" y="36"/>
                      <a:pt x="72" y="36"/>
                    </a:cubicBezTo>
                    <a:cubicBezTo>
                      <a:pt x="72" y="35"/>
                      <a:pt x="73" y="35"/>
                      <a:pt x="73" y="35"/>
                    </a:cubicBezTo>
                    <a:cubicBezTo>
                      <a:pt x="73" y="35"/>
                      <a:pt x="73" y="35"/>
                      <a:pt x="73" y="34"/>
                    </a:cubicBezTo>
                    <a:cubicBezTo>
                      <a:pt x="73" y="34"/>
                      <a:pt x="73" y="34"/>
                      <a:pt x="73" y="33"/>
                    </a:cubicBezTo>
                    <a:cubicBezTo>
                      <a:pt x="73" y="33"/>
                      <a:pt x="73" y="33"/>
                      <a:pt x="73" y="32"/>
                    </a:cubicBezTo>
                    <a:cubicBezTo>
                      <a:pt x="73" y="32"/>
                      <a:pt x="73" y="32"/>
                      <a:pt x="73" y="32"/>
                    </a:cubicBezTo>
                    <a:cubicBezTo>
                      <a:pt x="72" y="31"/>
                      <a:pt x="72" y="31"/>
                      <a:pt x="72" y="31"/>
                    </a:cubicBezTo>
                    <a:cubicBezTo>
                      <a:pt x="72" y="31"/>
                      <a:pt x="72" y="31"/>
                      <a:pt x="72" y="30"/>
                    </a:cubicBezTo>
                    <a:cubicBezTo>
                      <a:pt x="72" y="30"/>
                      <a:pt x="72" y="30"/>
                      <a:pt x="72" y="30"/>
                    </a:cubicBezTo>
                    <a:cubicBezTo>
                      <a:pt x="72" y="29"/>
                      <a:pt x="72" y="29"/>
                      <a:pt x="72" y="29"/>
                    </a:cubicBezTo>
                    <a:cubicBezTo>
                      <a:pt x="72" y="29"/>
                      <a:pt x="71" y="29"/>
                      <a:pt x="71" y="28"/>
                    </a:cubicBezTo>
                    <a:cubicBezTo>
                      <a:pt x="71" y="28"/>
                      <a:pt x="71" y="28"/>
                      <a:pt x="71" y="29"/>
                    </a:cubicBezTo>
                    <a:cubicBezTo>
                      <a:pt x="71" y="29"/>
                      <a:pt x="70" y="29"/>
                      <a:pt x="70" y="29"/>
                    </a:cubicBezTo>
                    <a:cubicBezTo>
                      <a:pt x="70" y="29"/>
                      <a:pt x="70" y="29"/>
                      <a:pt x="70" y="29"/>
                    </a:cubicBezTo>
                    <a:cubicBezTo>
                      <a:pt x="69" y="29"/>
                      <a:pt x="69" y="29"/>
                      <a:pt x="69" y="29"/>
                    </a:cubicBezTo>
                    <a:cubicBezTo>
                      <a:pt x="69" y="29"/>
                      <a:pt x="69" y="29"/>
                      <a:pt x="68" y="29"/>
                    </a:cubicBezTo>
                    <a:cubicBezTo>
                      <a:pt x="68" y="28"/>
                      <a:pt x="68" y="28"/>
                      <a:pt x="68" y="28"/>
                    </a:cubicBezTo>
                    <a:cubicBezTo>
                      <a:pt x="68" y="28"/>
                      <a:pt x="68" y="27"/>
                      <a:pt x="68" y="27"/>
                    </a:cubicBezTo>
                    <a:cubicBezTo>
                      <a:pt x="68" y="27"/>
                      <a:pt x="68" y="27"/>
                      <a:pt x="68" y="27"/>
                    </a:cubicBezTo>
                    <a:cubicBezTo>
                      <a:pt x="69" y="26"/>
                      <a:pt x="69" y="26"/>
                      <a:pt x="69" y="26"/>
                    </a:cubicBezTo>
                    <a:cubicBezTo>
                      <a:pt x="69" y="26"/>
                      <a:pt x="69" y="26"/>
                      <a:pt x="69" y="26"/>
                    </a:cubicBezTo>
                    <a:cubicBezTo>
                      <a:pt x="69" y="25"/>
                      <a:pt x="69" y="25"/>
                      <a:pt x="69" y="25"/>
                    </a:cubicBezTo>
                    <a:cubicBezTo>
                      <a:pt x="69" y="25"/>
                      <a:pt x="69" y="25"/>
                      <a:pt x="68" y="25"/>
                    </a:cubicBezTo>
                    <a:cubicBezTo>
                      <a:pt x="68" y="25"/>
                      <a:pt x="68" y="24"/>
                      <a:pt x="68" y="24"/>
                    </a:cubicBezTo>
                    <a:cubicBezTo>
                      <a:pt x="68" y="24"/>
                      <a:pt x="68" y="24"/>
                      <a:pt x="68" y="24"/>
                    </a:cubicBezTo>
                    <a:cubicBezTo>
                      <a:pt x="69" y="24"/>
                      <a:pt x="69" y="24"/>
                      <a:pt x="69" y="24"/>
                    </a:cubicBezTo>
                    <a:cubicBezTo>
                      <a:pt x="69" y="24"/>
                      <a:pt x="69" y="24"/>
                      <a:pt x="70" y="24"/>
                    </a:cubicBezTo>
                    <a:cubicBezTo>
                      <a:pt x="70" y="24"/>
                      <a:pt x="70" y="24"/>
                      <a:pt x="71" y="24"/>
                    </a:cubicBezTo>
                    <a:cubicBezTo>
                      <a:pt x="71" y="24"/>
                      <a:pt x="71" y="24"/>
                      <a:pt x="71" y="24"/>
                    </a:cubicBezTo>
                    <a:cubicBezTo>
                      <a:pt x="72" y="24"/>
                      <a:pt x="72" y="24"/>
                      <a:pt x="72" y="24"/>
                    </a:cubicBezTo>
                    <a:cubicBezTo>
                      <a:pt x="72" y="24"/>
                      <a:pt x="72" y="24"/>
                      <a:pt x="73" y="24"/>
                    </a:cubicBezTo>
                    <a:cubicBezTo>
                      <a:pt x="73" y="24"/>
                      <a:pt x="73" y="24"/>
                      <a:pt x="73" y="24"/>
                    </a:cubicBezTo>
                    <a:cubicBezTo>
                      <a:pt x="73" y="23"/>
                      <a:pt x="73" y="23"/>
                      <a:pt x="73" y="22"/>
                    </a:cubicBezTo>
                    <a:cubicBezTo>
                      <a:pt x="73" y="22"/>
                      <a:pt x="73" y="22"/>
                      <a:pt x="74" y="21"/>
                    </a:cubicBezTo>
                    <a:cubicBezTo>
                      <a:pt x="74" y="21"/>
                      <a:pt x="74" y="20"/>
                      <a:pt x="74" y="20"/>
                    </a:cubicBezTo>
                    <a:cubicBezTo>
                      <a:pt x="74" y="19"/>
                      <a:pt x="74" y="19"/>
                      <a:pt x="74" y="18"/>
                    </a:cubicBezTo>
                    <a:cubicBezTo>
                      <a:pt x="74" y="18"/>
                      <a:pt x="74" y="17"/>
                      <a:pt x="75" y="17"/>
                    </a:cubicBezTo>
                    <a:cubicBezTo>
                      <a:pt x="75" y="17"/>
                      <a:pt x="75" y="17"/>
                      <a:pt x="75" y="16"/>
                    </a:cubicBezTo>
                    <a:cubicBezTo>
                      <a:pt x="76" y="16"/>
                      <a:pt x="76" y="16"/>
                      <a:pt x="76" y="16"/>
                    </a:cubicBezTo>
                    <a:cubicBezTo>
                      <a:pt x="76" y="15"/>
                      <a:pt x="76" y="15"/>
                      <a:pt x="76" y="15"/>
                    </a:cubicBezTo>
                    <a:cubicBezTo>
                      <a:pt x="76" y="14"/>
                      <a:pt x="76" y="14"/>
                      <a:pt x="76" y="14"/>
                    </a:cubicBezTo>
                    <a:cubicBezTo>
                      <a:pt x="76" y="14"/>
                      <a:pt x="76" y="13"/>
                      <a:pt x="76" y="13"/>
                    </a:cubicBezTo>
                    <a:cubicBezTo>
                      <a:pt x="76" y="12"/>
                      <a:pt x="76" y="12"/>
                      <a:pt x="76" y="12"/>
                    </a:cubicBezTo>
                    <a:cubicBezTo>
                      <a:pt x="76" y="11"/>
                      <a:pt x="76" y="11"/>
                      <a:pt x="76" y="10"/>
                    </a:cubicBezTo>
                    <a:cubicBezTo>
                      <a:pt x="76" y="10"/>
                      <a:pt x="76" y="10"/>
                      <a:pt x="77" y="9"/>
                    </a:cubicBezTo>
                    <a:cubicBezTo>
                      <a:pt x="77" y="9"/>
                      <a:pt x="77" y="8"/>
                      <a:pt x="77" y="8"/>
                    </a:cubicBezTo>
                    <a:cubicBezTo>
                      <a:pt x="77" y="8"/>
                      <a:pt x="77" y="8"/>
                      <a:pt x="77" y="7"/>
                    </a:cubicBezTo>
                    <a:cubicBezTo>
                      <a:pt x="77" y="7"/>
                      <a:pt x="77" y="7"/>
                      <a:pt x="77" y="6"/>
                    </a:cubicBezTo>
                    <a:cubicBezTo>
                      <a:pt x="77" y="6"/>
                      <a:pt x="77" y="6"/>
                      <a:pt x="77" y="6"/>
                    </a:cubicBezTo>
                    <a:cubicBezTo>
                      <a:pt x="77" y="7"/>
                      <a:pt x="77" y="7"/>
                      <a:pt x="78" y="7"/>
                    </a:cubicBezTo>
                    <a:cubicBezTo>
                      <a:pt x="78" y="7"/>
                      <a:pt x="78" y="7"/>
                      <a:pt x="78" y="7"/>
                    </a:cubicBezTo>
                    <a:cubicBezTo>
                      <a:pt x="78" y="8"/>
                      <a:pt x="78" y="8"/>
                      <a:pt x="79" y="8"/>
                    </a:cubicBezTo>
                    <a:cubicBezTo>
                      <a:pt x="79" y="8"/>
                      <a:pt x="79" y="8"/>
                      <a:pt x="79" y="8"/>
                    </a:cubicBezTo>
                    <a:cubicBezTo>
                      <a:pt x="79" y="8"/>
                      <a:pt x="79" y="8"/>
                      <a:pt x="80" y="7"/>
                    </a:cubicBezTo>
                    <a:cubicBezTo>
                      <a:pt x="79" y="7"/>
                      <a:pt x="79" y="7"/>
                      <a:pt x="79" y="7"/>
                    </a:cubicBezTo>
                    <a:cubicBezTo>
                      <a:pt x="79" y="6"/>
                      <a:pt x="79" y="6"/>
                      <a:pt x="79" y="6"/>
                    </a:cubicBezTo>
                    <a:cubicBezTo>
                      <a:pt x="78" y="6"/>
                      <a:pt x="78" y="6"/>
                      <a:pt x="78" y="5"/>
                    </a:cubicBezTo>
                    <a:cubicBezTo>
                      <a:pt x="77" y="5"/>
                      <a:pt x="77" y="5"/>
                      <a:pt x="77" y="5"/>
                    </a:cubicBezTo>
                    <a:cubicBezTo>
                      <a:pt x="76" y="5"/>
                      <a:pt x="76" y="5"/>
                      <a:pt x="76" y="5"/>
                    </a:cubicBezTo>
                    <a:cubicBezTo>
                      <a:pt x="75" y="5"/>
                      <a:pt x="75" y="5"/>
                      <a:pt x="75" y="5"/>
                    </a:cubicBezTo>
                    <a:cubicBezTo>
                      <a:pt x="74" y="5"/>
                      <a:pt x="74" y="5"/>
                      <a:pt x="74" y="5"/>
                    </a:cubicBezTo>
                    <a:cubicBezTo>
                      <a:pt x="74" y="4"/>
                      <a:pt x="74" y="4"/>
                      <a:pt x="73" y="4"/>
                    </a:cubicBezTo>
                    <a:cubicBezTo>
                      <a:pt x="73" y="4"/>
                      <a:pt x="73" y="4"/>
                      <a:pt x="73" y="4"/>
                    </a:cubicBezTo>
                    <a:cubicBezTo>
                      <a:pt x="70" y="5"/>
                      <a:pt x="67" y="6"/>
                      <a:pt x="66" y="6"/>
                    </a:cubicBezTo>
                    <a:cubicBezTo>
                      <a:pt x="65" y="6"/>
                      <a:pt x="64" y="4"/>
                      <a:pt x="63" y="2"/>
                    </a:cubicBezTo>
                    <a:cubicBezTo>
                      <a:pt x="61" y="1"/>
                      <a:pt x="61" y="2"/>
                      <a:pt x="59" y="2"/>
                    </a:cubicBezTo>
                    <a:cubicBezTo>
                      <a:pt x="56" y="1"/>
                      <a:pt x="54" y="2"/>
                      <a:pt x="52" y="2"/>
                    </a:cubicBezTo>
                    <a:cubicBezTo>
                      <a:pt x="50" y="3"/>
                      <a:pt x="52" y="1"/>
                      <a:pt x="52" y="0"/>
                    </a:cubicBezTo>
                    <a:cubicBezTo>
                      <a:pt x="53" y="0"/>
                      <a:pt x="52" y="0"/>
                      <a:pt x="51" y="1"/>
                    </a:cubicBezTo>
                    <a:cubicBezTo>
                      <a:pt x="50" y="3"/>
                      <a:pt x="47" y="2"/>
                      <a:pt x="45" y="3"/>
                    </a:cubicBezTo>
                    <a:cubicBezTo>
                      <a:pt x="43" y="4"/>
                      <a:pt x="42" y="6"/>
                      <a:pt x="40" y="7"/>
                    </a:cubicBezTo>
                    <a:cubicBezTo>
                      <a:pt x="38" y="8"/>
                      <a:pt x="33" y="13"/>
                      <a:pt x="32" y="14"/>
                    </a:cubicBezTo>
                    <a:cubicBezTo>
                      <a:pt x="30" y="15"/>
                      <a:pt x="28" y="16"/>
                      <a:pt x="28" y="15"/>
                    </a:cubicBezTo>
                    <a:cubicBezTo>
                      <a:pt x="28" y="14"/>
                      <a:pt x="25" y="13"/>
                      <a:pt x="26" y="14"/>
                    </a:cubicBezTo>
                    <a:cubicBezTo>
                      <a:pt x="26" y="15"/>
                      <a:pt x="24" y="20"/>
                      <a:pt x="23" y="22"/>
                    </a:cubicBezTo>
                    <a:cubicBezTo>
                      <a:pt x="23" y="24"/>
                      <a:pt x="22" y="27"/>
                      <a:pt x="20" y="29"/>
                    </a:cubicBezTo>
                    <a:cubicBezTo>
                      <a:pt x="19" y="31"/>
                      <a:pt x="19" y="32"/>
                      <a:pt x="18" y="33"/>
                    </a:cubicBezTo>
                    <a:cubicBezTo>
                      <a:pt x="17" y="34"/>
                      <a:pt x="13" y="37"/>
                      <a:pt x="13" y="38"/>
                    </a:cubicBezTo>
                    <a:cubicBezTo>
                      <a:pt x="13" y="39"/>
                      <a:pt x="14" y="41"/>
                      <a:pt x="16" y="42"/>
                    </a:cubicBezTo>
                    <a:cubicBezTo>
                      <a:pt x="18" y="43"/>
                      <a:pt x="22" y="43"/>
                      <a:pt x="24" y="42"/>
                    </a:cubicBezTo>
                    <a:cubicBezTo>
                      <a:pt x="25" y="41"/>
                      <a:pt x="26" y="41"/>
                      <a:pt x="26" y="42"/>
                    </a:cubicBezTo>
                    <a:cubicBezTo>
                      <a:pt x="26" y="43"/>
                      <a:pt x="23" y="43"/>
                      <a:pt x="22" y="43"/>
                    </a:cubicBezTo>
                    <a:cubicBezTo>
                      <a:pt x="20" y="43"/>
                      <a:pt x="18" y="43"/>
                      <a:pt x="16" y="43"/>
                    </a:cubicBezTo>
                    <a:cubicBezTo>
                      <a:pt x="15" y="44"/>
                      <a:pt x="14" y="41"/>
                      <a:pt x="12" y="40"/>
                    </a:cubicBezTo>
                    <a:cubicBezTo>
                      <a:pt x="11" y="39"/>
                      <a:pt x="11" y="40"/>
                      <a:pt x="11" y="40"/>
                    </a:cubicBezTo>
                    <a:cubicBezTo>
                      <a:pt x="11" y="41"/>
                      <a:pt x="12" y="42"/>
                      <a:pt x="13" y="43"/>
                    </a:cubicBezTo>
                    <a:cubicBezTo>
                      <a:pt x="15" y="43"/>
                      <a:pt x="16" y="45"/>
                      <a:pt x="14" y="44"/>
                    </a:cubicBezTo>
                    <a:cubicBezTo>
                      <a:pt x="13" y="44"/>
                      <a:pt x="11" y="42"/>
                      <a:pt x="10" y="41"/>
                    </a:cubicBezTo>
                    <a:cubicBezTo>
                      <a:pt x="9" y="41"/>
                      <a:pt x="7" y="42"/>
                      <a:pt x="8" y="43"/>
                    </a:cubicBezTo>
                    <a:cubicBezTo>
                      <a:pt x="8" y="44"/>
                      <a:pt x="10" y="43"/>
                      <a:pt x="11" y="44"/>
                    </a:cubicBezTo>
                    <a:cubicBezTo>
                      <a:pt x="12" y="45"/>
                      <a:pt x="14" y="47"/>
                      <a:pt x="16" y="47"/>
                    </a:cubicBezTo>
                    <a:cubicBezTo>
                      <a:pt x="17" y="47"/>
                      <a:pt x="17" y="49"/>
                      <a:pt x="16" y="49"/>
                    </a:cubicBezTo>
                    <a:cubicBezTo>
                      <a:pt x="15" y="49"/>
                      <a:pt x="12" y="48"/>
                      <a:pt x="12" y="47"/>
                    </a:cubicBezTo>
                    <a:cubicBezTo>
                      <a:pt x="12" y="46"/>
                      <a:pt x="10" y="46"/>
                      <a:pt x="9" y="45"/>
                    </a:cubicBezTo>
                    <a:cubicBezTo>
                      <a:pt x="8" y="45"/>
                      <a:pt x="5" y="44"/>
                      <a:pt x="4" y="45"/>
                    </a:cubicBezTo>
                    <a:cubicBezTo>
                      <a:pt x="3" y="46"/>
                      <a:pt x="2" y="47"/>
                      <a:pt x="3" y="48"/>
                    </a:cubicBezTo>
                    <a:cubicBezTo>
                      <a:pt x="4" y="49"/>
                      <a:pt x="6" y="49"/>
                      <a:pt x="7" y="49"/>
                    </a:cubicBezTo>
                    <a:cubicBezTo>
                      <a:pt x="8" y="50"/>
                      <a:pt x="8" y="50"/>
                      <a:pt x="10" y="50"/>
                    </a:cubicBezTo>
                    <a:cubicBezTo>
                      <a:pt x="11" y="50"/>
                      <a:pt x="11" y="49"/>
                      <a:pt x="13" y="49"/>
                    </a:cubicBezTo>
                    <a:cubicBezTo>
                      <a:pt x="14" y="50"/>
                      <a:pt x="15" y="50"/>
                      <a:pt x="15" y="51"/>
                    </a:cubicBezTo>
                    <a:cubicBezTo>
                      <a:pt x="15" y="51"/>
                      <a:pt x="14" y="51"/>
                      <a:pt x="13" y="50"/>
                    </a:cubicBezTo>
                    <a:cubicBezTo>
                      <a:pt x="12" y="50"/>
                      <a:pt x="11" y="50"/>
                      <a:pt x="10" y="51"/>
                    </a:cubicBezTo>
                    <a:cubicBezTo>
                      <a:pt x="9" y="51"/>
                      <a:pt x="7" y="51"/>
                      <a:pt x="6" y="51"/>
                    </a:cubicBezTo>
                    <a:cubicBezTo>
                      <a:pt x="5" y="50"/>
                      <a:pt x="3" y="50"/>
                      <a:pt x="1" y="49"/>
                    </a:cubicBezTo>
                    <a:cubicBezTo>
                      <a:pt x="0" y="49"/>
                      <a:pt x="0" y="50"/>
                      <a:pt x="0" y="50"/>
                    </a:cubicBezTo>
                    <a:cubicBezTo>
                      <a:pt x="0" y="50"/>
                      <a:pt x="1" y="52"/>
                      <a:pt x="2" y="53"/>
                    </a:cubicBezTo>
                    <a:cubicBezTo>
                      <a:pt x="3" y="54"/>
                      <a:pt x="5" y="52"/>
                      <a:pt x="6" y="53"/>
                    </a:cubicBezTo>
                    <a:cubicBezTo>
                      <a:pt x="7" y="54"/>
                      <a:pt x="10" y="54"/>
                      <a:pt x="12" y="53"/>
                    </a:cubicBezTo>
                    <a:cubicBezTo>
                      <a:pt x="14" y="53"/>
                      <a:pt x="17" y="51"/>
                      <a:pt x="18" y="50"/>
                    </a:cubicBezTo>
                    <a:cubicBezTo>
                      <a:pt x="19" y="48"/>
                      <a:pt x="22" y="49"/>
                      <a:pt x="23" y="49"/>
                    </a:cubicBezTo>
                    <a:cubicBezTo>
                      <a:pt x="25" y="49"/>
                      <a:pt x="28" y="49"/>
                      <a:pt x="30" y="49"/>
                    </a:cubicBezTo>
                    <a:cubicBezTo>
                      <a:pt x="32" y="49"/>
                      <a:pt x="32" y="50"/>
                      <a:pt x="32" y="52"/>
                    </a:cubicBezTo>
                    <a:cubicBezTo>
                      <a:pt x="32" y="54"/>
                      <a:pt x="35" y="53"/>
                      <a:pt x="37" y="53"/>
                    </a:cubicBezTo>
                    <a:cubicBezTo>
                      <a:pt x="39" y="53"/>
                      <a:pt x="42" y="54"/>
                      <a:pt x="43" y="55"/>
                    </a:cubicBezTo>
                    <a:cubicBezTo>
                      <a:pt x="45" y="56"/>
                      <a:pt x="44" y="57"/>
                      <a:pt x="43" y="59"/>
                    </a:cubicBezTo>
                    <a:cubicBezTo>
                      <a:pt x="42" y="61"/>
                      <a:pt x="41" y="63"/>
                      <a:pt x="41" y="64"/>
                    </a:cubicBezTo>
                    <a:cubicBezTo>
                      <a:pt x="41" y="65"/>
                      <a:pt x="44" y="65"/>
                      <a:pt x="46" y="65"/>
                    </a:cubicBezTo>
                    <a:cubicBezTo>
                      <a:pt x="47" y="65"/>
                      <a:pt x="49" y="69"/>
                      <a:pt x="50" y="70"/>
                    </a:cubicBezTo>
                    <a:cubicBezTo>
                      <a:pt x="50" y="72"/>
                      <a:pt x="52" y="71"/>
                      <a:pt x="52" y="71"/>
                    </a:cubicBezTo>
                    <a:cubicBezTo>
                      <a:pt x="53" y="71"/>
                      <a:pt x="53" y="71"/>
                      <a:pt x="54" y="71"/>
                    </a:cubicBezTo>
                    <a:cubicBezTo>
                      <a:pt x="54" y="70"/>
                      <a:pt x="54" y="70"/>
                      <a:pt x="54" y="7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63" name="Freeform 184"/>
              <p:cNvSpPr>
                <a:spLocks/>
              </p:cNvSpPr>
              <p:nvPr/>
            </p:nvSpPr>
            <p:spPr bwMode="gray">
              <a:xfrm>
                <a:off x="2084" y="2719"/>
                <a:ext cx="5" cy="5"/>
              </a:xfrm>
              <a:custGeom>
                <a:avLst/>
                <a:gdLst>
                  <a:gd name="T0" fmla="*/ 1 w 2"/>
                  <a:gd name="T1" fmla="*/ 2 h 2"/>
                  <a:gd name="T2" fmla="*/ 1 w 2"/>
                  <a:gd name="T3" fmla="*/ 2 h 2"/>
                  <a:gd name="T4" fmla="*/ 1 w 2"/>
                  <a:gd name="T5" fmla="*/ 1 h 2"/>
                  <a:gd name="T6" fmla="*/ 2 w 2"/>
                  <a:gd name="T7" fmla="*/ 1 h 2"/>
                  <a:gd name="T8" fmla="*/ 2 w 2"/>
                  <a:gd name="T9" fmla="*/ 1 h 2"/>
                  <a:gd name="T10" fmla="*/ 2 w 2"/>
                  <a:gd name="T11" fmla="*/ 0 h 2"/>
                  <a:gd name="T12" fmla="*/ 1 w 2"/>
                  <a:gd name="T13" fmla="*/ 0 h 2"/>
                  <a:gd name="T14" fmla="*/ 0 w 2"/>
                  <a:gd name="T15" fmla="*/ 1 h 2"/>
                  <a:gd name="T16" fmla="*/ 0 w 2"/>
                  <a:gd name="T17" fmla="*/ 1 h 2"/>
                  <a:gd name="T18" fmla="*/ 0 w 2"/>
                  <a:gd name="T19" fmla="*/ 2 h 2"/>
                  <a:gd name="T20" fmla="*/ 0 w 2"/>
                  <a:gd name="T21" fmla="*/ 2 h 2"/>
                  <a:gd name="T22" fmla="*/ 1 w 2"/>
                  <a:gd name="T2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2">
                    <a:moveTo>
                      <a:pt x="1" y="2"/>
                    </a:moveTo>
                    <a:cubicBezTo>
                      <a:pt x="1" y="2"/>
                      <a:pt x="1" y="2"/>
                      <a:pt x="1" y="2"/>
                    </a:cubicBezTo>
                    <a:cubicBezTo>
                      <a:pt x="1" y="2"/>
                      <a:pt x="1" y="2"/>
                      <a:pt x="1" y="1"/>
                    </a:cubicBezTo>
                    <a:cubicBezTo>
                      <a:pt x="1" y="1"/>
                      <a:pt x="1" y="1"/>
                      <a:pt x="2" y="1"/>
                    </a:cubicBezTo>
                    <a:cubicBezTo>
                      <a:pt x="2" y="1"/>
                      <a:pt x="2" y="1"/>
                      <a:pt x="2" y="1"/>
                    </a:cubicBezTo>
                    <a:cubicBezTo>
                      <a:pt x="2" y="1"/>
                      <a:pt x="2" y="1"/>
                      <a:pt x="2" y="0"/>
                    </a:cubicBezTo>
                    <a:cubicBezTo>
                      <a:pt x="1" y="0"/>
                      <a:pt x="1" y="0"/>
                      <a:pt x="1" y="0"/>
                    </a:cubicBezTo>
                    <a:cubicBezTo>
                      <a:pt x="1" y="0"/>
                      <a:pt x="0" y="1"/>
                      <a:pt x="0" y="1"/>
                    </a:cubicBezTo>
                    <a:cubicBezTo>
                      <a:pt x="0" y="1"/>
                      <a:pt x="0" y="1"/>
                      <a:pt x="0" y="1"/>
                    </a:cubicBezTo>
                    <a:cubicBezTo>
                      <a:pt x="0" y="2"/>
                      <a:pt x="0" y="2"/>
                      <a:pt x="0" y="2"/>
                    </a:cubicBezTo>
                    <a:cubicBezTo>
                      <a:pt x="0" y="2"/>
                      <a:pt x="0" y="2"/>
                      <a:pt x="0" y="2"/>
                    </a:cubicBezTo>
                    <a:cubicBezTo>
                      <a:pt x="0" y="2"/>
                      <a:pt x="1" y="2"/>
                      <a:pt x="1" y="2"/>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64" name="Freeform 185"/>
              <p:cNvSpPr>
                <a:spLocks/>
              </p:cNvSpPr>
              <p:nvPr/>
            </p:nvSpPr>
            <p:spPr bwMode="gray">
              <a:xfrm>
                <a:off x="2076" y="2722"/>
                <a:ext cx="5" cy="2"/>
              </a:xfrm>
              <a:custGeom>
                <a:avLst/>
                <a:gdLst>
                  <a:gd name="T0" fmla="*/ 0 w 2"/>
                  <a:gd name="T1" fmla="*/ 1 h 1"/>
                  <a:gd name="T2" fmla="*/ 1 w 2"/>
                  <a:gd name="T3" fmla="*/ 1 h 1"/>
                  <a:gd name="T4" fmla="*/ 2 w 2"/>
                  <a:gd name="T5" fmla="*/ 1 h 1"/>
                  <a:gd name="T6" fmla="*/ 2 w 2"/>
                  <a:gd name="T7" fmla="*/ 1 h 1"/>
                  <a:gd name="T8" fmla="*/ 1 w 2"/>
                  <a:gd name="T9" fmla="*/ 0 h 1"/>
                  <a:gd name="T10" fmla="*/ 0 w 2"/>
                  <a:gd name="T11" fmla="*/ 0 h 1"/>
                  <a:gd name="T12" fmla="*/ 0 w 2"/>
                  <a:gd name="T13" fmla="*/ 0 h 1"/>
                  <a:gd name="T14" fmla="*/ 0 w 2"/>
                  <a:gd name="T15" fmla="*/ 1 h 1"/>
                  <a:gd name="T16" fmla="*/ 0 w 2"/>
                  <a:gd name="T1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1">
                    <a:moveTo>
                      <a:pt x="0" y="1"/>
                    </a:moveTo>
                    <a:cubicBezTo>
                      <a:pt x="0" y="1"/>
                      <a:pt x="0" y="1"/>
                      <a:pt x="1" y="1"/>
                    </a:cubicBezTo>
                    <a:cubicBezTo>
                      <a:pt x="1" y="1"/>
                      <a:pt x="1" y="1"/>
                      <a:pt x="2" y="1"/>
                    </a:cubicBezTo>
                    <a:cubicBezTo>
                      <a:pt x="2" y="1"/>
                      <a:pt x="2" y="1"/>
                      <a:pt x="2" y="1"/>
                    </a:cubicBezTo>
                    <a:cubicBezTo>
                      <a:pt x="1" y="0"/>
                      <a:pt x="1" y="0"/>
                      <a:pt x="1" y="0"/>
                    </a:cubicBezTo>
                    <a:cubicBezTo>
                      <a:pt x="1" y="0"/>
                      <a:pt x="1" y="0"/>
                      <a:pt x="0" y="0"/>
                    </a:cubicBezTo>
                    <a:cubicBezTo>
                      <a:pt x="0" y="0"/>
                      <a:pt x="0" y="0"/>
                      <a:pt x="0" y="0"/>
                    </a:cubicBezTo>
                    <a:cubicBezTo>
                      <a:pt x="0" y="1"/>
                      <a:pt x="0" y="1"/>
                      <a:pt x="0" y="1"/>
                    </a:cubicBezTo>
                    <a:cubicBezTo>
                      <a:pt x="0" y="1"/>
                      <a:pt x="0" y="1"/>
                      <a:pt x="0"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65" name="Freeform 186"/>
              <p:cNvSpPr>
                <a:spLocks/>
              </p:cNvSpPr>
              <p:nvPr/>
            </p:nvSpPr>
            <p:spPr bwMode="gray">
              <a:xfrm>
                <a:off x="2063" y="2724"/>
                <a:ext cx="8" cy="3"/>
              </a:xfrm>
              <a:custGeom>
                <a:avLst/>
                <a:gdLst>
                  <a:gd name="T0" fmla="*/ 2 w 3"/>
                  <a:gd name="T1" fmla="*/ 1 h 1"/>
                  <a:gd name="T2" fmla="*/ 3 w 3"/>
                  <a:gd name="T3" fmla="*/ 0 h 1"/>
                  <a:gd name="T4" fmla="*/ 2 w 3"/>
                  <a:gd name="T5" fmla="*/ 0 h 1"/>
                  <a:gd name="T6" fmla="*/ 0 w 3"/>
                  <a:gd name="T7" fmla="*/ 0 h 1"/>
                  <a:gd name="T8" fmla="*/ 0 w 3"/>
                  <a:gd name="T9" fmla="*/ 0 h 1"/>
                  <a:gd name="T10" fmla="*/ 0 w 3"/>
                  <a:gd name="T11" fmla="*/ 1 h 1"/>
                  <a:gd name="T12" fmla="*/ 1 w 3"/>
                  <a:gd name="T13" fmla="*/ 1 h 1"/>
                  <a:gd name="T14" fmla="*/ 2 w 3"/>
                  <a:gd name="T15" fmla="*/ 1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
                    <a:moveTo>
                      <a:pt x="2" y="1"/>
                    </a:moveTo>
                    <a:cubicBezTo>
                      <a:pt x="2" y="1"/>
                      <a:pt x="2" y="1"/>
                      <a:pt x="3" y="0"/>
                    </a:cubicBezTo>
                    <a:cubicBezTo>
                      <a:pt x="2" y="0"/>
                      <a:pt x="2" y="0"/>
                      <a:pt x="2" y="0"/>
                    </a:cubicBezTo>
                    <a:cubicBezTo>
                      <a:pt x="1" y="0"/>
                      <a:pt x="1" y="0"/>
                      <a:pt x="0" y="0"/>
                    </a:cubicBezTo>
                    <a:cubicBezTo>
                      <a:pt x="0" y="0"/>
                      <a:pt x="0" y="0"/>
                      <a:pt x="0" y="0"/>
                    </a:cubicBezTo>
                    <a:cubicBezTo>
                      <a:pt x="0" y="0"/>
                      <a:pt x="0" y="1"/>
                      <a:pt x="0" y="1"/>
                    </a:cubicBezTo>
                    <a:cubicBezTo>
                      <a:pt x="0" y="1"/>
                      <a:pt x="1" y="1"/>
                      <a:pt x="1" y="1"/>
                    </a:cubicBezTo>
                    <a:cubicBezTo>
                      <a:pt x="1" y="1"/>
                      <a:pt x="1" y="1"/>
                      <a:pt x="2"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66" name="Freeform 187"/>
              <p:cNvSpPr>
                <a:spLocks/>
              </p:cNvSpPr>
              <p:nvPr/>
            </p:nvSpPr>
            <p:spPr bwMode="gray">
              <a:xfrm>
                <a:off x="2050" y="2727"/>
                <a:ext cx="10" cy="2"/>
              </a:xfrm>
              <a:custGeom>
                <a:avLst/>
                <a:gdLst>
                  <a:gd name="T0" fmla="*/ 1 w 4"/>
                  <a:gd name="T1" fmla="*/ 1 h 1"/>
                  <a:gd name="T2" fmla="*/ 2 w 4"/>
                  <a:gd name="T3" fmla="*/ 1 h 1"/>
                  <a:gd name="T4" fmla="*/ 4 w 4"/>
                  <a:gd name="T5" fmla="*/ 1 h 1"/>
                  <a:gd name="T6" fmla="*/ 4 w 4"/>
                  <a:gd name="T7" fmla="*/ 1 h 1"/>
                  <a:gd name="T8" fmla="*/ 4 w 4"/>
                  <a:gd name="T9" fmla="*/ 0 h 1"/>
                  <a:gd name="T10" fmla="*/ 3 w 4"/>
                  <a:gd name="T11" fmla="*/ 0 h 1"/>
                  <a:gd name="T12" fmla="*/ 2 w 4"/>
                  <a:gd name="T13" fmla="*/ 0 h 1"/>
                  <a:gd name="T14" fmla="*/ 1 w 4"/>
                  <a:gd name="T15" fmla="*/ 0 h 1"/>
                  <a:gd name="T16" fmla="*/ 0 w 4"/>
                  <a:gd name="T17" fmla="*/ 1 h 1"/>
                  <a:gd name="T18" fmla="*/ 1 w 4"/>
                  <a:gd name="T19" fmla="*/ 1 h 1"/>
                  <a:gd name="T20" fmla="*/ 1 w 4"/>
                  <a:gd name="T21"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1">
                    <a:moveTo>
                      <a:pt x="1" y="1"/>
                    </a:moveTo>
                    <a:cubicBezTo>
                      <a:pt x="2" y="1"/>
                      <a:pt x="2" y="1"/>
                      <a:pt x="2" y="1"/>
                    </a:cubicBezTo>
                    <a:cubicBezTo>
                      <a:pt x="3" y="1"/>
                      <a:pt x="3" y="1"/>
                      <a:pt x="4" y="1"/>
                    </a:cubicBezTo>
                    <a:cubicBezTo>
                      <a:pt x="4" y="1"/>
                      <a:pt x="4" y="1"/>
                      <a:pt x="4" y="1"/>
                    </a:cubicBezTo>
                    <a:cubicBezTo>
                      <a:pt x="4" y="1"/>
                      <a:pt x="4" y="1"/>
                      <a:pt x="4" y="0"/>
                    </a:cubicBezTo>
                    <a:cubicBezTo>
                      <a:pt x="4" y="0"/>
                      <a:pt x="3" y="0"/>
                      <a:pt x="3" y="0"/>
                    </a:cubicBezTo>
                    <a:cubicBezTo>
                      <a:pt x="3" y="0"/>
                      <a:pt x="2" y="0"/>
                      <a:pt x="2" y="0"/>
                    </a:cubicBezTo>
                    <a:cubicBezTo>
                      <a:pt x="1" y="0"/>
                      <a:pt x="1" y="0"/>
                      <a:pt x="1" y="0"/>
                    </a:cubicBezTo>
                    <a:cubicBezTo>
                      <a:pt x="1" y="0"/>
                      <a:pt x="1" y="0"/>
                      <a:pt x="0" y="1"/>
                    </a:cubicBezTo>
                    <a:cubicBezTo>
                      <a:pt x="1" y="1"/>
                      <a:pt x="1" y="1"/>
                      <a:pt x="1" y="1"/>
                    </a:cubicBezTo>
                    <a:cubicBezTo>
                      <a:pt x="1" y="1"/>
                      <a:pt x="1" y="1"/>
                      <a:pt x="1"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67" name="Freeform 188"/>
              <p:cNvSpPr>
                <a:spLocks/>
              </p:cNvSpPr>
              <p:nvPr/>
            </p:nvSpPr>
            <p:spPr bwMode="gray">
              <a:xfrm>
                <a:off x="2042" y="2732"/>
                <a:ext cx="5" cy="5"/>
              </a:xfrm>
              <a:custGeom>
                <a:avLst/>
                <a:gdLst>
                  <a:gd name="T0" fmla="*/ 0 w 2"/>
                  <a:gd name="T1" fmla="*/ 2 h 2"/>
                  <a:gd name="T2" fmla="*/ 0 w 2"/>
                  <a:gd name="T3" fmla="*/ 2 h 2"/>
                  <a:gd name="T4" fmla="*/ 1 w 2"/>
                  <a:gd name="T5" fmla="*/ 2 h 2"/>
                  <a:gd name="T6" fmla="*/ 2 w 2"/>
                  <a:gd name="T7" fmla="*/ 2 h 2"/>
                  <a:gd name="T8" fmla="*/ 2 w 2"/>
                  <a:gd name="T9" fmla="*/ 1 h 2"/>
                  <a:gd name="T10" fmla="*/ 2 w 2"/>
                  <a:gd name="T11" fmla="*/ 0 h 2"/>
                  <a:gd name="T12" fmla="*/ 1 w 2"/>
                  <a:gd name="T13" fmla="*/ 0 h 2"/>
                  <a:gd name="T14" fmla="*/ 1 w 2"/>
                  <a:gd name="T15" fmla="*/ 1 h 2"/>
                  <a:gd name="T16" fmla="*/ 0 w 2"/>
                  <a:gd name="T17" fmla="*/ 2 h 2"/>
                  <a:gd name="T18" fmla="*/ 0 w 2"/>
                  <a:gd name="T19" fmla="*/ 2 h 2"/>
                  <a:gd name="T20" fmla="*/ 0 w 2"/>
                  <a:gd name="T21"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2">
                    <a:moveTo>
                      <a:pt x="0" y="2"/>
                    </a:moveTo>
                    <a:cubicBezTo>
                      <a:pt x="0" y="2"/>
                      <a:pt x="0" y="2"/>
                      <a:pt x="0" y="2"/>
                    </a:cubicBezTo>
                    <a:cubicBezTo>
                      <a:pt x="1" y="2"/>
                      <a:pt x="1" y="2"/>
                      <a:pt x="1" y="2"/>
                    </a:cubicBezTo>
                    <a:cubicBezTo>
                      <a:pt x="1" y="2"/>
                      <a:pt x="2" y="2"/>
                      <a:pt x="2" y="2"/>
                    </a:cubicBezTo>
                    <a:cubicBezTo>
                      <a:pt x="2" y="1"/>
                      <a:pt x="2" y="1"/>
                      <a:pt x="2" y="1"/>
                    </a:cubicBezTo>
                    <a:cubicBezTo>
                      <a:pt x="2" y="0"/>
                      <a:pt x="2" y="0"/>
                      <a:pt x="2" y="0"/>
                    </a:cubicBezTo>
                    <a:cubicBezTo>
                      <a:pt x="2" y="0"/>
                      <a:pt x="2" y="0"/>
                      <a:pt x="1" y="0"/>
                    </a:cubicBezTo>
                    <a:cubicBezTo>
                      <a:pt x="1" y="0"/>
                      <a:pt x="1" y="1"/>
                      <a:pt x="1" y="1"/>
                    </a:cubicBezTo>
                    <a:cubicBezTo>
                      <a:pt x="0" y="1"/>
                      <a:pt x="0" y="1"/>
                      <a:pt x="0" y="2"/>
                    </a:cubicBezTo>
                    <a:cubicBezTo>
                      <a:pt x="0" y="2"/>
                      <a:pt x="0" y="2"/>
                      <a:pt x="0" y="2"/>
                    </a:cubicBezTo>
                    <a:cubicBezTo>
                      <a:pt x="0" y="2"/>
                      <a:pt x="0" y="2"/>
                      <a:pt x="0" y="2"/>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68" name="Freeform 189"/>
              <p:cNvSpPr>
                <a:spLocks/>
              </p:cNvSpPr>
              <p:nvPr/>
            </p:nvSpPr>
            <p:spPr bwMode="gray">
              <a:xfrm>
                <a:off x="2215" y="2669"/>
                <a:ext cx="11" cy="13"/>
              </a:xfrm>
              <a:custGeom>
                <a:avLst/>
                <a:gdLst>
                  <a:gd name="T0" fmla="*/ 1 w 4"/>
                  <a:gd name="T1" fmla="*/ 3 h 5"/>
                  <a:gd name="T2" fmla="*/ 2 w 4"/>
                  <a:gd name="T3" fmla="*/ 4 h 5"/>
                  <a:gd name="T4" fmla="*/ 2 w 4"/>
                  <a:gd name="T5" fmla="*/ 5 h 5"/>
                  <a:gd name="T6" fmla="*/ 3 w 4"/>
                  <a:gd name="T7" fmla="*/ 5 h 5"/>
                  <a:gd name="T8" fmla="*/ 2 w 4"/>
                  <a:gd name="T9" fmla="*/ 4 h 5"/>
                  <a:gd name="T10" fmla="*/ 2 w 4"/>
                  <a:gd name="T11" fmla="*/ 3 h 5"/>
                  <a:gd name="T12" fmla="*/ 3 w 4"/>
                  <a:gd name="T13" fmla="*/ 3 h 5"/>
                  <a:gd name="T14" fmla="*/ 4 w 4"/>
                  <a:gd name="T15" fmla="*/ 3 h 5"/>
                  <a:gd name="T16" fmla="*/ 4 w 4"/>
                  <a:gd name="T17" fmla="*/ 3 h 5"/>
                  <a:gd name="T18" fmla="*/ 4 w 4"/>
                  <a:gd name="T19" fmla="*/ 2 h 5"/>
                  <a:gd name="T20" fmla="*/ 3 w 4"/>
                  <a:gd name="T21" fmla="*/ 1 h 5"/>
                  <a:gd name="T22" fmla="*/ 3 w 4"/>
                  <a:gd name="T23" fmla="*/ 0 h 5"/>
                  <a:gd name="T24" fmla="*/ 2 w 4"/>
                  <a:gd name="T25" fmla="*/ 0 h 5"/>
                  <a:gd name="T26" fmla="*/ 1 w 4"/>
                  <a:gd name="T27" fmla="*/ 0 h 5"/>
                  <a:gd name="T28" fmla="*/ 0 w 4"/>
                  <a:gd name="T29" fmla="*/ 0 h 5"/>
                  <a:gd name="T30" fmla="*/ 0 w 4"/>
                  <a:gd name="T31" fmla="*/ 1 h 5"/>
                  <a:gd name="T32" fmla="*/ 0 w 4"/>
                  <a:gd name="T33" fmla="*/ 2 h 5"/>
                  <a:gd name="T34" fmla="*/ 1 w 4"/>
                  <a:gd name="T35" fmla="*/ 3 h 5"/>
                  <a:gd name="T36" fmla="*/ 1 w 4"/>
                  <a:gd name="T3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 h="5">
                    <a:moveTo>
                      <a:pt x="1" y="3"/>
                    </a:moveTo>
                    <a:cubicBezTo>
                      <a:pt x="1" y="3"/>
                      <a:pt x="2" y="3"/>
                      <a:pt x="2" y="4"/>
                    </a:cubicBezTo>
                    <a:cubicBezTo>
                      <a:pt x="2" y="4"/>
                      <a:pt x="2" y="5"/>
                      <a:pt x="2" y="5"/>
                    </a:cubicBezTo>
                    <a:cubicBezTo>
                      <a:pt x="2" y="5"/>
                      <a:pt x="2" y="5"/>
                      <a:pt x="3" y="5"/>
                    </a:cubicBezTo>
                    <a:cubicBezTo>
                      <a:pt x="2" y="4"/>
                      <a:pt x="2" y="4"/>
                      <a:pt x="2" y="4"/>
                    </a:cubicBezTo>
                    <a:cubicBezTo>
                      <a:pt x="2" y="4"/>
                      <a:pt x="2" y="3"/>
                      <a:pt x="2" y="3"/>
                    </a:cubicBezTo>
                    <a:cubicBezTo>
                      <a:pt x="3" y="3"/>
                      <a:pt x="3" y="3"/>
                      <a:pt x="3" y="3"/>
                    </a:cubicBezTo>
                    <a:cubicBezTo>
                      <a:pt x="3" y="3"/>
                      <a:pt x="4" y="3"/>
                      <a:pt x="4" y="3"/>
                    </a:cubicBezTo>
                    <a:cubicBezTo>
                      <a:pt x="4" y="3"/>
                      <a:pt x="4" y="3"/>
                      <a:pt x="4" y="3"/>
                    </a:cubicBezTo>
                    <a:cubicBezTo>
                      <a:pt x="4" y="2"/>
                      <a:pt x="4" y="2"/>
                      <a:pt x="4" y="2"/>
                    </a:cubicBezTo>
                    <a:cubicBezTo>
                      <a:pt x="4" y="2"/>
                      <a:pt x="4" y="2"/>
                      <a:pt x="3" y="1"/>
                    </a:cubicBezTo>
                    <a:cubicBezTo>
                      <a:pt x="3" y="1"/>
                      <a:pt x="3" y="1"/>
                      <a:pt x="3" y="0"/>
                    </a:cubicBezTo>
                    <a:cubicBezTo>
                      <a:pt x="2" y="0"/>
                      <a:pt x="2" y="0"/>
                      <a:pt x="2" y="0"/>
                    </a:cubicBezTo>
                    <a:cubicBezTo>
                      <a:pt x="2" y="0"/>
                      <a:pt x="1" y="0"/>
                      <a:pt x="1" y="0"/>
                    </a:cubicBezTo>
                    <a:cubicBezTo>
                      <a:pt x="1" y="0"/>
                      <a:pt x="1" y="0"/>
                      <a:pt x="0" y="0"/>
                    </a:cubicBezTo>
                    <a:cubicBezTo>
                      <a:pt x="0" y="0"/>
                      <a:pt x="0" y="1"/>
                      <a:pt x="0" y="1"/>
                    </a:cubicBezTo>
                    <a:cubicBezTo>
                      <a:pt x="0" y="1"/>
                      <a:pt x="0" y="2"/>
                      <a:pt x="0" y="2"/>
                    </a:cubicBezTo>
                    <a:cubicBezTo>
                      <a:pt x="0" y="2"/>
                      <a:pt x="0" y="2"/>
                      <a:pt x="1" y="3"/>
                    </a:cubicBezTo>
                    <a:cubicBezTo>
                      <a:pt x="1" y="3"/>
                      <a:pt x="1" y="3"/>
                      <a:pt x="1" y="3"/>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69" name="Freeform 190"/>
              <p:cNvSpPr>
                <a:spLocks/>
              </p:cNvSpPr>
              <p:nvPr/>
            </p:nvSpPr>
            <p:spPr bwMode="gray">
              <a:xfrm>
                <a:off x="2131" y="2666"/>
                <a:ext cx="3" cy="6"/>
              </a:xfrm>
              <a:custGeom>
                <a:avLst/>
                <a:gdLst>
                  <a:gd name="T0" fmla="*/ 1 w 1"/>
                  <a:gd name="T1" fmla="*/ 2 h 2"/>
                  <a:gd name="T2" fmla="*/ 1 w 1"/>
                  <a:gd name="T3" fmla="*/ 1 h 2"/>
                  <a:gd name="T4" fmla="*/ 1 w 1"/>
                  <a:gd name="T5" fmla="*/ 0 h 2"/>
                  <a:gd name="T6" fmla="*/ 0 w 1"/>
                  <a:gd name="T7" fmla="*/ 0 h 2"/>
                  <a:gd name="T8" fmla="*/ 0 w 1"/>
                  <a:gd name="T9" fmla="*/ 1 h 2"/>
                  <a:gd name="T10" fmla="*/ 0 w 1"/>
                  <a:gd name="T11" fmla="*/ 2 h 2"/>
                  <a:gd name="T12" fmla="*/ 0 w 1"/>
                  <a:gd name="T13" fmla="*/ 2 h 2"/>
                  <a:gd name="T14" fmla="*/ 1 w 1"/>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 h="2">
                    <a:moveTo>
                      <a:pt x="1" y="2"/>
                    </a:moveTo>
                    <a:cubicBezTo>
                      <a:pt x="1" y="2"/>
                      <a:pt x="1" y="2"/>
                      <a:pt x="1" y="1"/>
                    </a:cubicBezTo>
                    <a:cubicBezTo>
                      <a:pt x="1" y="1"/>
                      <a:pt x="1" y="1"/>
                      <a:pt x="1" y="0"/>
                    </a:cubicBezTo>
                    <a:cubicBezTo>
                      <a:pt x="0" y="0"/>
                      <a:pt x="0" y="0"/>
                      <a:pt x="0" y="0"/>
                    </a:cubicBezTo>
                    <a:cubicBezTo>
                      <a:pt x="0" y="1"/>
                      <a:pt x="0" y="1"/>
                      <a:pt x="0" y="1"/>
                    </a:cubicBezTo>
                    <a:cubicBezTo>
                      <a:pt x="0" y="1"/>
                      <a:pt x="0" y="2"/>
                      <a:pt x="0" y="2"/>
                    </a:cubicBezTo>
                    <a:cubicBezTo>
                      <a:pt x="0" y="2"/>
                      <a:pt x="0" y="2"/>
                      <a:pt x="0" y="2"/>
                    </a:cubicBezTo>
                    <a:cubicBezTo>
                      <a:pt x="0" y="2"/>
                      <a:pt x="1" y="2"/>
                      <a:pt x="1" y="2"/>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70" name="Freeform 191"/>
              <p:cNvSpPr>
                <a:spLocks/>
              </p:cNvSpPr>
              <p:nvPr/>
            </p:nvSpPr>
            <p:spPr bwMode="gray">
              <a:xfrm>
                <a:off x="2121" y="2664"/>
                <a:ext cx="5" cy="5"/>
              </a:xfrm>
              <a:custGeom>
                <a:avLst/>
                <a:gdLst>
                  <a:gd name="T0" fmla="*/ 0 w 2"/>
                  <a:gd name="T1" fmla="*/ 1 h 2"/>
                  <a:gd name="T2" fmla="*/ 0 w 2"/>
                  <a:gd name="T3" fmla="*/ 1 h 2"/>
                  <a:gd name="T4" fmla="*/ 0 w 2"/>
                  <a:gd name="T5" fmla="*/ 2 h 2"/>
                  <a:gd name="T6" fmla="*/ 1 w 2"/>
                  <a:gd name="T7" fmla="*/ 2 h 2"/>
                  <a:gd name="T8" fmla="*/ 1 w 2"/>
                  <a:gd name="T9" fmla="*/ 2 h 2"/>
                  <a:gd name="T10" fmla="*/ 2 w 2"/>
                  <a:gd name="T11" fmla="*/ 1 h 2"/>
                  <a:gd name="T12" fmla="*/ 2 w 2"/>
                  <a:gd name="T13" fmla="*/ 0 h 2"/>
                  <a:gd name="T14" fmla="*/ 1 w 2"/>
                  <a:gd name="T15" fmla="*/ 0 h 2"/>
                  <a:gd name="T16" fmla="*/ 0 w 2"/>
                  <a:gd name="T17" fmla="*/ 0 h 2"/>
                  <a:gd name="T18" fmla="*/ 0 w 2"/>
                  <a:gd name="T19" fmla="*/ 1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0" y="1"/>
                    </a:moveTo>
                    <a:cubicBezTo>
                      <a:pt x="0" y="1"/>
                      <a:pt x="0" y="1"/>
                      <a:pt x="0" y="1"/>
                    </a:cubicBezTo>
                    <a:cubicBezTo>
                      <a:pt x="0" y="2"/>
                      <a:pt x="0" y="2"/>
                      <a:pt x="0" y="2"/>
                    </a:cubicBezTo>
                    <a:cubicBezTo>
                      <a:pt x="0" y="2"/>
                      <a:pt x="0" y="2"/>
                      <a:pt x="1" y="2"/>
                    </a:cubicBezTo>
                    <a:cubicBezTo>
                      <a:pt x="1" y="2"/>
                      <a:pt x="1" y="2"/>
                      <a:pt x="1" y="2"/>
                    </a:cubicBezTo>
                    <a:cubicBezTo>
                      <a:pt x="2" y="2"/>
                      <a:pt x="2" y="2"/>
                      <a:pt x="2" y="1"/>
                    </a:cubicBezTo>
                    <a:cubicBezTo>
                      <a:pt x="2" y="1"/>
                      <a:pt x="2" y="1"/>
                      <a:pt x="2" y="0"/>
                    </a:cubicBezTo>
                    <a:cubicBezTo>
                      <a:pt x="1" y="0"/>
                      <a:pt x="1" y="0"/>
                      <a:pt x="1" y="0"/>
                    </a:cubicBezTo>
                    <a:cubicBezTo>
                      <a:pt x="1" y="0"/>
                      <a:pt x="1" y="0"/>
                      <a:pt x="0" y="0"/>
                    </a:cubicBezTo>
                    <a:cubicBezTo>
                      <a:pt x="0" y="0"/>
                      <a:pt x="0" y="0"/>
                      <a:pt x="0"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71" name="Freeform 192"/>
              <p:cNvSpPr>
                <a:spLocks/>
              </p:cNvSpPr>
              <p:nvPr/>
            </p:nvSpPr>
            <p:spPr bwMode="gray">
              <a:xfrm>
                <a:off x="2115" y="2648"/>
                <a:ext cx="3" cy="8"/>
              </a:xfrm>
              <a:custGeom>
                <a:avLst/>
                <a:gdLst>
                  <a:gd name="T0" fmla="*/ 1 w 1"/>
                  <a:gd name="T1" fmla="*/ 2 h 3"/>
                  <a:gd name="T2" fmla="*/ 1 w 1"/>
                  <a:gd name="T3" fmla="*/ 1 h 3"/>
                  <a:gd name="T4" fmla="*/ 1 w 1"/>
                  <a:gd name="T5" fmla="*/ 0 h 3"/>
                  <a:gd name="T6" fmla="*/ 0 w 1"/>
                  <a:gd name="T7" fmla="*/ 1 h 3"/>
                  <a:gd name="T8" fmla="*/ 0 w 1"/>
                  <a:gd name="T9" fmla="*/ 1 h 3"/>
                  <a:gd name="T10" fmla="*/ 0 w 1"/>
                  <a:gd name="T11" fmla="*/ 2 h 3"/>
                  <a:gd name="T12" fmla="*/ 0 w 1"/>
                  <a:gd name="T13" fmla="*/ 2 h 3"/>
                  <a:gd name="T14" fmla="*/ 1 w 1"/>
                  <a:gd name="T15" fmla="*/ 3 h 3"/>
                  <a:gd name="T16" fmla="*/ 1 w 1"/>
                  <a:gd name="T17" fmla="*/ 2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 h="3">
                    <a:moveTo>
                      <a:pt x="1" y="2"/>
                    </a:moveTo>
                    <a:cubicBezTo>
                      <a:pt x="1" y="1"/>
                      <a:pt x="1" y="1"/>
                      <a:pt x="1" y="1"/>
                    </a:cubicBezTo>
                    <a:cubicBezTo>
                      <a:pt x="1" y="0"/>
                      <a:pt x="1" y="0"/>
                      <a:pt x="1" y="0"/>
                    </a:cubicBezTo>
                    <a:cubicBezTo>
                      <a:pt x="1" y="1"/>
                      <a:pt x="0" y="1"/>
                      <a:pt x="0" y="1"/>
                    </a:cubicBezTo>
                    <a:cubicBezTo>
                      <a:pt x="0" y="1"/>
                      <a:pt x="0" y="1"/>
                      <a:pt x="0" y="1"/>
                    </a:cubicBezTo>
                    <a:cubicBezTo>
                      <a:pt x="0" y="2"/>
                      <a:pt x="0" y="2"/>
                      <a:pt x="0" y="2"/>
                    </a:cubicBezTo>
                    <a:cubicBezTo>
                      <a:pt x="0" y="2"/>
                      <a:pt x="0" y="2"/>
                      <a:pt x="0" y="2"/>
                    </a:cubicBezTo>
                    <a:cubicBezTo>
                      <a:pt x="1" y="3"/>
                      <a:pt x="1" y="3"/>
                      <a:pt x="1" y="3"/>
                    </a:cubicBezTo>
                    <a:cubicBezTo>
                      <a:pt x="1" y="2"/>
                      <a:pt x="1" y="2"/>
                      <a:pt x="1" y="2"/>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72" name="Freeform 193"/>
              <p:cNvSpPr>
                <a:spLocks/>
              </p:cNvSpPr>
              <p:nvPr/>
            </p:nvSpPr>
            <p:spPr bwMode="gray">
              <a:xfrm>
                <a:off x="2110" y="2651"/>
                <a:ext cx="5" cy="10"/>
              </a:xfrm>
              <a:custGeom>
                <a:avLst/>
                <a:gdLst>
                  <a:gd name="T0" fmla="*/ 1 w 2"/>
                  <a:gd name="T1" fmla="*/ 1 h 4"/>
                  <a:gd name="T2" fmla="*/ 0 w 2"/>
                  <a:gd name="T3" fmla="*/ 0 h 4"/>
                  <a:gd name="T4" fmla="*/ 0 w 2"/>
                  <a:gd name="T5" fmla="*/ 1 h 4"/>
                  <a:gd name="T6" fmla="*/ 0 w 2"/>
                  <a:gd name="T7" fmla="*/ 2 h 4"/>
                  <a:gd name="T8" fmla="*/ 0 w 2"/>
                  <a:gd name="T9" fmla="*/ 3 h 4"/>
                  <a:gd name="T10" fmla="*/ 0 w 2"/>
                  <a:gd name="T11" fmla="*/ 4 h 4"/>
                  <a:gd name="T12" fmla="*/ 1 w 2"/>
                  <a:gd name="T13" fmla="*/ 4 h 4"/>
                  <a:gd name="T14" fmla="*/ 2 w 2"/>
                  <a:gd name="T15" fmla="*/ 4 h 4"/>
                  <a:gd name="T16" fmla="*/ 2 w 2"/>
                  <a:gd name="T17" fmla="*/ 3 h 4"/>
                  <a:gd name="T18" fmla="*/ 2 w 2"/>
                  <a:gd name="T19" fmla="*/ 3 h 4"/>
                  <a:gd name="T20" fmla="*/ 1 w 2"/>
                  <a:gd name="T21"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4">
                    <a:moveTo>
                      <a:pt x="1" y="1"/>
                    </a:moveTo>
                    <a:cubicBezTo>
                      <a:pt x="1" y="1"/>
                      <a:pt x="0" y="1"/>
                      <a:pt x="0" y="0"/>
                    </a:cubicBezTo>
                    <a:cubicBezTo>
                      <a:pt x="0" y="0"/>
                      <a:pt x="0" y="1"/>
                      <a:pt x="0" y="1"/>
                    </a:cubicBezTo>
                    <a:cubicBezTo>
                      <a:pt x="0" y="1"/>
                      <a:pt x="0" y="1"/>
                      <a:pt x="0" y="2"/>
                    </a:cubicBezTo>
                    <a:cubicBezTo>
                      <a:pt x="0" y="2"/>
                      <a:pt x="0" y="2"/>
                      <a:pt x="0" y="3"/>
                    </a:cubicBezTo>
                    <a:cubicBezTo>
                      <a:pt x="0" y="3"/>
                      <a:pt x="0" y="4"/>
                      <a:pt x="0" y="4"/>
                    </a:cubicBezTo>
                    <a:cubicBezTo>
                      <a:pt x="0" y="4"/>
                      <a:pt x="1" y="4"/>
                      <a:pt x="1" y="4"/>
                    </a:cubicBezTo>
                    <a:cubicBezTo>
                      <a:pt x="1" y="4"/>
                      <a:pt x="2" y="4"/>
                      <a:pt x="2" y="4"/>
                    </a:cubicBezTo>
                    <a:cubicBezTo>
                      <a:pt x="2" y="4"/>
                      <a:pt x="2" y="3"/>
                      <a:pt x="2" y="3"/>
                    </a:cubicBezTo>
                    <a:cubicBezTo>
                      <a:pt x="2" y="3"/>
                      <a:pt x="2" y="3"/>
                      <a:pt x="2" y="3"/>
                    </a:cubicBezTo>
                    <a:cubicBezTo>
                      <a:pt x="2" y="2"/>
                      <a:pt x="1" y="2"/>
                      <a:pt x="1" y="1"/>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73" name="Freeform 194"/>
              <p:cNvSpPr>
                <a:spLocks/>
              </p:cNvSpPr>
              <p:nvPr/>
            </p:nvSpPr>
            <p:spPr bwMode="gray">
              <a:xfrm>
                <a:off x="2107" y="2614"/>
                <a:ext cx="14" cy="31"/>
              </a:xfrm>
              <a:custGeom>
                <a:avLst/>
                <a:gdLst>
                  <a:gd name="T0" fmla="*/ 1 w 5"/>
                  <a:gd name="T1" fmla="*/ 12 h 12"/>
                  <a:gd name="T2" fmla="*/ 1 w 5"/>
                  <a:gd name="T3" fmla="*/ 10 h 12"/>
                  <a:gd name="T4" fmla="*/ 2 w 5"/>
                  <a:gd name="T5" fmla="*/ 8 h 12"/>
                  <a:gd name="T6" fmla="*/ 2 w 5"/>
                  <a:gd name="T7" fmla="*/ 6 h 12"/>
                  <a:gd name="T8" fmla="*/ 3 w 5"/>
                  <a:gd name="T9" fmla="*/ 7 h 12"/>
                  <a:gd name="T10" fmla="*/ 4 w 5"/>
                  <a:gd name="T11" fmla="*/ 7 h 12"/>
                  <a:gd name="T12" fmla="*/ 4 w 5"/>
                  <a:gd name="T13" fmla="*/ 7 h 12"/>
                  <a:gd name="T14" fmla="*/ 4 w 5"/>
                  <a:gd name="T15" fmla="*/ 5 h 12"/>
                  <a:gd name="T16" fmla="*/ 4 w 5"/>
                  <a:gd name="T17" fmla="*/ 4 h 12"/>
                  <a:gd name="T18" fmla="*/ 4 w 5"/>
                  <a:gd name="T19" fmla="*/ 3 h 12"/>
                  <a:gd name="T20" fmla="*/ 5 w 5"/>
                  <a:gd name="T21" fmla="*/ 2 h 12"/>
                  <a:gd name="T22" fmla="*/ 5 w 5"/>
                  <a:gd name="T23" fmla="*/ 1 h 12"/>
                  <a:gd name="T24" fmla="*/ 4 w 5"/>
                  <a:gd name="T25" fmla="*/ 0 h 12"/>
                  <a:gd name="T26" fmla="*/ 4 w 5"/>
                  <a:gd name="T27" fmla="*/ 0 h 12"/>
                  <a:gd name="T28" fmla="*/ 4 w 5"/>
                  <a:gd name="T29" fmla="*/ 1 h 12"/>
                  <a:gd name="T30" fmla="*/ 4 w 5"/>
                  <a:gd name="T31" fmla="*/ 2 h 12"/>
                  <a:gd name="T32" fmla="*/ 3 w 5"/>
                  <a:gd name="T33" fmla="*/ 3 h 12"/>
                  <a:gd name="T34" fmla="*/ 1 w 5"/>
                  <a:gd name="T35" fmla="*/ 5 h 12"/>
                  <a:gd name="T36" fmla="*/ 1 w 5"/>
                  <a:gd name="T37" fmla="*/ 7 h 12"/>
                  <a:gd name="T38" fmla="*/ 0 w 5"/>
                  <a:gd name="T39" fmla="*/ 9 h 12"/>
                  <a:gd name="T40" fmla="*/ 0 w 5"/>
                  <a:gd name="T41" fmla="*/ 12 h 12"/>
                  <a:gd name="T42" fmla="*/ 1 w 5"/>
                  <a:gd name="T43" fmla="*/ 12 h 12"/>
                  <a:gd name="T44" fmla="*/ 1 w 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 h="12">
                    <a:moveTo>
                      <a:pt x="1" y="12"/>
                    </a:moveTo>
                    <a:cubicBezTo>
                      <a:pt x="1" y="11"/>
                      <a:pt x="1" y="11"/>
                      <a:pt x="1" y="10"/>
                    </a:cubicBezTo>
                    <a:cubicBezTo>
                      <a:pt x="1" y="9"/>
                      <a:pt x="1" y="9"/>
                      <a:pt x="2" y="8"/>
                    </a:cubicBezTo>
                    <a:cubicBezTo>
                      <a:pt x="2" y="7"/>
                      <a:pt x="2" y="7"/>
                      <a:pt x="2" y="6"/>
                    </a:cubicBezTo>
                    <a:cubicBezTo>
                      <a:pt x="3" y="6"/>
                      <a:pt x="3" y="6"/>
                      <a:pt x="3" y="7"/>
                    </a:cubicBezTo>
                    <a:cubicBezTo>
                      <a:pt x="3" y="7"/>
                      <a:pt x="4" y="7"/>
                      <a:pt x="4" y="7"/>
                    </a:cubicBezTo>
                    <a:cubicBezTo>
                      <a:pt x="4" y="7"/>
                      <a:pt x="4" y="7"/>
                      <a:pt x="4" y="7"/>
                    </a:cubicBezTo>
                    <a:cubicBezTo>
                      <a:pt x="4" y="6"/>
                      <a:pt x="4" y="6"/>
                      <a:pt x="4" y="5"/>
                    </a:cubicBezTo>
                    <a:cubicBezTo>
                      <a:pt x="4" y="5"/>
                      <a:pt x="4" y="5"/>
                      <a:pt x="4" y="4"/>
                    </a:cubicBezTo>
                    <a:cubicBezTo>
                      <a:pt x="4" y="3"/>
                      <a:pt x="4" y="3"/>
                      <a:pt x="4" y="3"/>
                    </a:cubicBezTo>
                    <a:cubicBezTo>
                      <a:pt x="4" y="2"/>
                      <a:pt x="5" y="2"/>
                      <a:pt x="5" y="2"/>
                    </a:cubicBezTo>
                    <a:cubicBezTo>
                      <a:pt x="5" y="1"/>
                      <a:pt x="5" y="1"/>
                      <a:pt x="5" y="1"/>
                    </a:cubicBezTo>
                    <a:cubicBezTo>
                      <a:pt x="5" y="0"/>
                      <a:pt x="5" y="0"/>
                      <a:pt x="4" y="0"/>
                    </a:cubicBezTo>
                    <a:cubicBezTo>
                      <a:pt x="4" y="0"/>
                      <a:pt x="4" y="0"/>
                      <a:pt x="4" y="0"/>
                    </a:cubicBezTo>
                    <a:cubicBezTo>
                      <a:pt x="4" y="0"/>
                      <a:pt x="4" y="1"/>
                      <a:pt x="4" y="1"/>
                    </a:cubicBezTo>
                    <a:cubicBezTo>
                      <a:pt x="4" y="1"/>
                      <a:pt x="4" y="2"/>
                      <a:pt x="4" y="2"/>
                    </a:cubicBezTo>
                    <a:cubicBezTo>
                      <a:pt x="3" y="3"/>
                      <a:pt x="3" y="3"/>
                      <a:pt x="3" y="3"/>
                    </a:cubicBezTo>
                    <a:cubicBezTo>
                      <a:pt x="2" y="4"/>
                      <a:pt x="2" y="4"/>
                      <a:pt x="1" y="5"/>
                    </a:cubicBezTo>
                    <a:cubicBezTo>
                      <a:pt x="1" y="6"/>
                      <a:pt x="1" y="6"/>
                      <a:pt x="1" y="7"/>
                    </a:cubicBezTo>
                    <a:cubicBezTo>
                      <a:pt x="0" y="8"/>
                      <a:pt x="0" y="8"/>
                      <a:pt x="0" y="9"/>
                    </a:cubicBezTo>
                    <a:cubicBezTo>
                      <a:pt x="0" y="10"/>
                      <a:pt x="0" y="11"/>
                      <a:pt x="0" y="12"/>
                    </a:cubicBezTo>
                    <a:cubicBezTo>
                      <a:pt x="0" y="12"/>
                      <a:pt x="0" y="12"/>
                      <a:pt x="1" y="12"/>
                    </a:cubicBezTo>
                    <a:cubicBezTo>
                      <a:pt x="1" y="12"/>
                      <a:pt x="1" y="12"/>
                      <a:pt x="1" y="12"/>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74" name="Freeform 195"/>
              <p:cNvSpPr>
                <a:spLocks/>
              </p:cNvSpPr>
              <p:nvPr/>
            </p:nvSpPr>
            <p:spPr bwMode="gray">
              <a:xfrm>
                <a:off x="2326" y="2698"/>
                <a:ext cx="18" cy="21"/>
              </a:xfrm>
              <a:custGeom>
                <a:avLst/>
                <a:gdLst>
                  <a:gd name="T0" fmla="*/ 1 w 7"/>
                  <a:gd name="T1" fmla="*/ 4 h 8"/>
                  <a:gd name="T2" fmla="*/ 1 w 7"/>
                  <a:gd name="T3" fmla="*/ 5 h 8"/>
                  <a:gd name="T4" fmla="*/ 2 w 7"/>
                  <a:gd name="T5" fmla="*/ 4 h 8"/>
                  <a:gd name="T6" fmla="*/ 2 w 7"/>
                  <a:gd name="T7" fmla="*/ 4 h 8"/>
                  <a:gd name="T8" fmla="*/ 2 w 7"/>
                  <a:gd name="T9" fmla="*/ 3 h 8"/>
                  <a:gd name="T10" fmla="*/ 3 w 7"/>
                  <a:gd name="T11" fmla="*/ 2 h 8"/>
                  <a:gd name="T12" fmla="*/ 3 w 7"/>
                  <a:gd name="T13" fmla="*/ 3 h 8"/>
                  <a:gd name="T14" fmla="*/ 3 w 7"/>
                  <a:gd name="T15" fmla="*/ 4 h 8"/>
                  <a:gd name="T16" fmla="*/ 3 w 7"/>
                  <a:gd name="T17" fmla="*/ 5 h 8"/>
                  <a:gd name="T18" fmla="*/ 3 w 7"/>
                  <a:gd name="T19" fmla="*/ 5 h 8"/>
                  <a:gd name="T20" fmla="*/ 2 w 7"/>
                  <a:gd name="T21" fmla="*/ 5 h 8"/>
                  <a:gd name="T22" fmla="*/ 1 w 7"/>
                  <a:gd name="T23" fmla="*/ 5 h 8"/>
                  <a:gd name="T24" fmla="*/ 1 w 7"/>
                  <a:gd name="T25" fmla="*/ 6 h 8"/>
                  <a:gd name="T26" fmla="*/ 2 w 7"/>
                  <a:gd name="T27" fmla="*/ 7 h 8"/>
                  <a:gd name="T28" fmla="*/ 2 w 7"/>
                  <a:gd name="T29" fmla="*/ 8 h 8"/>
                  <a:gd name="T30" fmla="*/ 3 w 7"/>
                  <a:gd name="T31" fmla="*/ 8 h 8"/>
                  <a:gd name="T32" fmla="*/ 4 w 7"/>
                  <a:gd name="T33" fmla="*/ 8 h 8"/>
                  <a:gd name="T34" fmla="*/ 5 w 7"/>
                  <a:gd name="T35" fmla="*/ 8 h 8"/>
                  <a:gd name="T36" fmla="*/ 6 w 7"/>
                  <a:gd name="T37" fmla="*/ 8 h 8"/>
                  <a:gd name="T38" fmla="*/ 6 w 7"/>
                  <a:gd name="T39" fmla="*/ 7 h 8"/>
                  <a:gd name="T40" fmla="*/ 7 w 7"/>
                  <a:gd name="T41" fmla="*/ 6 h 8"/>
                  <a:gd name="T42" fmla="*/ 7 w 7"/>
                  <a:gd name="T43" fmla="*/ 5 h 8"/>
                  <a:gd name="T44" fmla="*/ 6 w 7"/>
                  <a:gd name="T45" fmla="*/ 4 h 8"/>
                  <a:gd name="T46" fmla="*/ 6 w 7"/>
                  <a:gd name="T47" fmla="*/ 3 h 8"/>
                  <a:gd name="T48" fmla="*/ 5 w 7"/>
                  <a:gd name="T49" fmla="*/ 3 h 8"/>
                  <a:gd name="T50" fmla="*/ 4 w 7"/>
                  <a:gd name="T51" fmla="*/ 2 h 8"/>
                  <a:gd name="T52" fmla="*/ 4 w 7"/>
                  <a:gd name="T53" fmla="*/ 2 h 8"/>
                  <a:gd name="T54" fmla="*/ 3 w 7"/>
                  <a:gd name="T55" fmla="*/ 1 h 8"/>
                  <a:gd name="T56" fmla="*/ 2 w 7"/>
                  <a:gd name="T57" fmla="*/ 0 h 8"/>
                  <a:gd name="T58" fmla="*/ 1 w 7"/>
                  <a:gd name="T59" fmla="*/ 0 h 8"/>
                  <a:gd name="T60" fmla="*/ 1 w 7"/>
                  <a:gd name="T61" fmla="*/ 0 h 8"/>
                  <a:gd name="T62" fmla="*/ 0 w 7"/>
                  <a:gd name="T63" fmla="*/ 1 h 8"/>
                  <a:gd name="T64" fmla="*/ 0 w 7"/>
                  <a:gd name="T65" fmla="*/ 2 h 8"/>
                  <a:gd name="T66" fmla="*/ 1 w 7"/>
                  <a:gd name="T67" fmla="*/ 3 h 8"/>
                  <a:gd name="T68" fmla="*/ 1 w 7"/>
                  <a:gd name="T69"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 h="8">
                    <a:moveTo>
                      <a:pt x="1" y="4"/>
                    </a:moveTo>
                    <a:cubicBezTo>
                      <a:pt x="1" y="4"/>
                      <a:pt x="1" y="4"/>
                      <a:pt x="1" y="5"/>
                    </a:cubicBezTo>
                    <a:cubicBezTo>
                      <a:pt x="1" y="5"/>
                      <a:pt x="2" y="5"/>
                      <a:pt x="2" y="4"/>
                    </a:cubicBezTo>
                    <a:cubicBezTo>
                      <a:pt x="2" y="4"/>
                      <a:pt x="2" y="4"/>
                      <a:pt x="2" y="4"/>
                    </a:cubicBezTo>
                    <a:cubicBezTo>
                      <a:pt x="2" y="3"/>
                      <a:pt x="2" y="3"/>
                      <a:pt x="2" y="3"/>
                    </a:cubicBezTo>
                    <a:cubicBezTo>
                      <a:pt x="2" y="3"/>
                      <a:pt x="3" y="3"/>
                      <a:pt x="3" y="2"/>
                    </a:cubicBezTo>
                    <a:cubicBezTo>
                      <a:pt x="3" y="3"/>
                      <a:pt x="3" y="3"/>
                      <a:pt x="3" y="3"/>
                    </a:cubicBezTo>
                    <a:cubicBezTo>
                      <a:pt x="3" y="3"/>
                      <a:pt x="3" y="4"/>
                      <a:pt x="3" y="4"/>
                    </a:cubicBezTo>
                    <a:cubicBezTo>
                      <a:pt x="3" y="4"/>
                      <a:pt x="3" y="5"/>
                      <a:pt x="3" y="5"/>
                    </a:cubicBezTo>
                    <a:cubicBezTo>
                      <a:pt x="3" y="5"/>
                      <a:pt x="3" y="5"/>
                      <a:pt x="3" y="5"/>
                    </a:cubicBezTo>
                    <a:cubicBezTo>
                      <a:pt x="2" y="5"/>
                      <a:pt x="2" y="5"/>
                      <a:pt x="2" y="5"/>
                    </a:cubicBezTo>
                    <a:cubicBezTo>
                      <a:pt x="2" y="5"/>
                      <a:pt x="2" y="5"/>
                      <a:pt x="1" y="5"/>
                    </a:cubicBezTo>
                    <a:cubicBezTo>
                      <a:pt x="1" y="6"/>
                      <a:pt x="1" y="6"/>
                      <a:pt x="1" y="6"/>
                    </a:cubicBezTo>
                    <a:cubicBezTo>
                      <a:pt x="2" y="6"/>
                      <a:pt x="2" y="7"/>
                      <a:pt x="2" y="7"/>
                    </a:cubicBezTo>
                    <a:cubicBezTo>
                      <a:pt x="2" y="7"/>
                      <a:pt x="2" y="7"/>
                      <a:pt x="2" y="8"/>
                    </a:cubicBezTo>
                    <a:cubicBezTo>
                      <a:pt x="2" y="8"/>
                      <a:pt x="3" y="8"/>
                      <a:pt x="3" y="8"/>
                    </a:cubicBezTo>
                    <a:cubicBezTo>
                      <a:pt x="3" y="8"/>
                      <a:pt x="4" y="8"/>
                      <a:pt x="4" y="8"/>
                    </a:cubicBezTo>
                    <a:cubicBezTo>
                      <a:pt x="4" y="8"/>
                      <a:pt x="5" y="8"/>
                      <a:pt x="5" y="8"/>
                    </a:cubicBezTo>
                    <a:cubicBezTo>
                      <a:pt x="5" y="8"/>
                      <a:pt x="6" y="8"/>
                      <a:pt x="6" y="8"/>
                    </a:cubicBezTo>
                    <a:cubicBezTo>
                      <a:pt x="6" y="7"/>
                      <a:pt x="6" y="7"/>
                      <a:pt x="6" y="7"/>
                    </a:cubicBezTo>
                    <a:cubicBezTo>
                      <a:pt x="6" y="6"/>
                      <a:pt x="7" y="6"/>
                      <a:pt x="7" y="6"/>
                    </a:cubicBezTo>
                    <a:cubicBezTo>
                      <a:pt x="7" y="5"/>
                      <a:pt x="7" y="5"/>
                      <a:pt x="7" y="5"/>
                    </a:cubicBezTo>
                    <a:cubicBezTo>
                      <a:pt x="6" y="4"/>
                      <a:pt x="6" y="4"/>
                      <a:pt x="6" y="4"/>
                    </a:cubicBezTo>
                    <a:cubicBezTo>
                      <a:pt x="6" y="4"/>
                      <a:pt x="6" y="3"/>
                      <a:pt x="6" y="3"/>
                    </a:cubicBezTo>
                    <a:cubicBezTo>
                      <a:pt x="5" y="3"/>
                      <a:pt x="5" y="3"/>
                      <a:pt x="5" y="3"/>
                    </a:cubicBezTo>
                    <a:cubicBezTo>
                      <a:pt x="5" y="3"/>
                      <a:pt x="4" y="3"/>
                      <a:pt x="4" y="2"/>
                    </a:cubicBezTo>
                    <a:cubicBezTo>
                      <a:pt x="4" y="2"/>
                      <a:pt x="4" y="2"/>
                      <a:pt x="4" y="2"/>
                    </a:cubicBezTo>
                    <a:cubicBezTo>
                      <a:pt x="3" y="1"/>
                      <a:pt x="3" y="1"/>
                      <a:pt x="3" y="1"/>
                    </a:cubicBezTo>
                    <a:cubicBezTo>
                      <a:pt x="2" y="0"/>
                      <a:pt x="2" y="0"/>
                      <a:pt x="2" y="0"/>
                    </a:cubicBezTo>
                    <a:cubicBezTo>
                      <a:pt x="2" y="0"/>
                      <a:pt x="2" y="0"/>
                      <a:pt x="1" y="0"/>
                    </a:cubicBezTo>
                    <a:cubicBezTo>
                      <a:pt x="1" y="0"/>
                      <a:pt x="1" y="0"/>
                      <a:pt x="1" y="0"/>
                    </a:cubicBezTo>
                    <a:cubicBezTo>
                      <a:pt x="1" y="1"/>
                      <a:pt x="1" y="1"/>
                      <a:pt x="0" y="1"/>
                    </a:cubicBezTo>
                    <a:cubicBezTo>
                      <a:pt x="0" y="1"/>
                      <a:pt x="0" y="2"/>
                      <a:pt x="0" y="2"/>
                    </a:cubicBezTo>
                    <a:cubicBezTo>
                      <a:pt x="0" y="2"/>
                      <a:pt x="1" y="2"/>
                      <a:pt x="1" y="3"/>
                    </a:cubicBezTo>
                    <a:cubicBezTo>
                      <a:pt x="1" y="3"/>
                      <a:pt x="1" y="4"/>
                      <a:pt x="1" y="4"/>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75" name="Freeform 196"/>
              <p:cNvSpPr>
                <a:spLocks/>
              </p:cNvSpPr>
              <p:nvPr/>
            </p:nvSpPr>
            <p:spPr bwMode="gray">
              <a:xfrm>
                <a:off x="2326" y="2643"/>
                <a:ext cx="501" cy="376"/>
              </a:xfrm>
              <a:custGeom>
                <a:avLst/>
                <a:gdLst>
                  <a:gd name="T0" fmla="*/ 178 w 191"/>
                  <a:gd name="T1" fmla="*/ 82 h 143"/>
                  <a:gd name="T2" fmla="*/ 170 w 191"/>
                  <a:gd name="T3" fmla="*/ 66 h 143"/>
                  <a:gd name="T4" fmla="*/ 182 w 191"/>
                  <a:gd name="T5" fmla="*/ 53 h 143"/>
                  <a:gd name="T6" fmla="*/ 174 w 191"/>
                  <a:gd name="T7" fmla="*/ 26 h 143"/>
                  <a:gd name="T8" fmla="*/ 163 w 191"/>
                  <a:gd name="T9" fmla="*/ 13 h 143"/>
                  <a:gd name="T10" fmla="*/ 136 w 191"/>
                  <a:gd name="T11" fmla="*/ 14 h 143"/>
                  <a:gd name="T12" fmla="*/ 100 w 191"/>
                  <a:gd name="T13" fmla="*/ 16 h 143"/>
                  <a:gd name="T14" fmla="*/ 88 w 191"/>
                  <a:gd name="T15" fmla="*/ 10 h 143"/>
                  <a:gd name="T16" fmla="*/ 90 w 191"/>
                  <a:gd name="T17" fmla="*/ 5 h 143"/>
                  <a:gd name="T18" fmla="*/ 65 w 191"/>
                  <a:gd name="T19" fmla="*/ 4 h 143"/>
                  <a:gd name="T20" fmla="*/ 47 w 191"/>
                  <a:gd name="T21" fmla="*/ 15 h 143"/>
                  <a:gd name="T22" fmla="*/ 21 w 191"/>
                  <a:gd name="T23" fmla="*/ 23 h 143"/>
                  <a:gd name="T24" fmla="*/ 6 w 191"/>
                  <a:gd name="T25" fmla="*/ 28 h 143"/>
                  <a:gd name="T26" fmla="*/ 4 w 191"/>
                  <a:gd name="T27" fmla="*/ 29 h 143"/>
                  <a:gd name="T28" fmla="*/ 2 w 191"/>
                  <a:gd name="T29" fmla="*/ 28 h 143"/>
                  <a:gd name="T30" fmla="*/ 0 w 191"/>
                  <a:gd name="T31" fmla="*/ 27 h 143"/>
                  <a:gd name="T32" fmla="*/ 1 w 191"/>
                  <a:gd name="T33" fmla="*/ 29 h 143"/>
                  <a:gd name="T34" fmla="*/ 2 w 191"/>
                  <a:gd name="T35" fmla="*/ 31 h 143"/>
                  <a:gd name="T36" fmla="*/ 4 w 191"/>
                  <a:gd name="T37" fmla="*/ 31 h 143"/>
                  <a:gd name="T38" fmla="*/ 6 w 191"/>
                  <a:gd name="T39" fmla="*/ 32 h 143"/>
                  <a:gd name="T40" fmla="*/ 8 w 191"/>
                  <a:gd name="T41" fmla="*/ 33 h 143"/>
                  <a:gd name="T42" fmla="*/ 8 w 191"/>
                  <a:gd name="T43" fmla="*/ 36 h 143"/>
                  <a:gd name="T44" fmla="*/ 9 w 191"/>
                  <a:gd name="T45" fmla="*/ 40 h 143"/>
                  <a:gd name="T46" fmla="*/ 9 w 191"/>
                  <a:gd name="T47" fmla="*/ 43 h 143"/>
                  <a:gd name="T48" fmla="*/ 11 w 191"/>
                  <a:gd name="T49" fmla="*/ 46 h 143"/>
                  <a:gd name="T50" fmla="*/ 8 w 191"/>
                  <a:gd name="T51" fmla="*/ 51 h 143"/>
                  <a:gd name="T52" fmla="*/ 6 w 191"/>
                  <a:gd name="T53" fmla="*/ 54 h 143"/>
                  <a:gd name="T54" fmla="*/ 5 w 191"/>
                  <a:gd name="T55" fmla="*/ 56 h 143"/>
                  <a:gd name="T56" fmla="*/ 9 w 191"/>
                  <a:gd name="T57" fmla="*/ 58 h 143"/>
                  <a:gd name="T58" fmla="*/ 11 w 191"/>
                  <a:gd name="T59" fmla="*/ 60 h 143"/>
                  <a:gd name="T60" fmla="*/ 13 w 191"/>
                  <a:gd name="T61" fmla="*/ 63 h 143"/>
                  <a:gd name="T62" fmla="*/ 14 w 191"/>
                  <a:gd name="T63" fmla="*/ 65 h 143"/>
                  <a:gd name="T64" fmla="*/ 13 w 191"/>
                  <a:gd name="T65" fmla="*/ 67 h 143"/>
                  <a:gd name="T66" fmla="*/ 13 w 191"/>
                  <a:gd name="T67" fmla="*/ 70 h 143"/>
                  <a:gd name="T68" fmla="*/ 15 w 191"/>
                  <a:gd name="T69" fmla="*/ 72 h 143"/>
                  <a:gd name="T70" fmla="*/ 16 w 191"/>
                  <a:gd name="T71" fmla="*/ 76 h 143"/>
                  <a:gd name="T72" fmla="*/ 15 w 191"/>
                  <a:gd name="T73" fmla="*/ 78 h 143"/>
                  <a:gd name="T74" fmla="*/ 15 w 191"/>
                  <a:gd name="T75" fmla="*/ 81 h 143"/>
                  <a:gd name="T76" fmla="*/ 14 w 191"/>
                  <a:gd name="T77" fmla="*/ 83 h 143"/>
                  <a:gd name="T78" fmla="*/ 15 w 191"/>
                  <a:gd name="T79" fmla="*/ 85 h 143"/>
                  <a:gd name="T80" fmla="*/ 16 w 191"/>
                  <a:gd name="T81" fmla="*/ 86 h 143"/>
                  <a:gd name="T82" fmla="*/ 17 w 191"/>
                  <a:gd name="T83" fmla="*/ 87 h 143"/>
                  <a:gd name="T84" fmla="*/ 17 w 191"/>
                  <a:gd name="T85" fmla="*/ 89 h 143"/>
                  <a:gd name="T86" fmla="*/ 19 w 191"/>
                  <a:gd name="T87" fmla="*/ 91 h 143"/>
                  <a:gd name="T88" fmla="*/ 20 w 191"/>
                  <a:gd name="T89" fmla="*/ 93 h 143"/>
                  <a:gd name="T90" fmla="*/ 20 w 191"/>
                  <a:gd name="T91" fmla="*/ 95 h 143"/>
                  <a:gd name="T92" fmla="*/ 28 w 191"/>
                  <a:gd name="T93" fmla="*/ 95 h 143"/>
                  <a:gd name="T94" fmla="*/ 40 w 191"/>
                  <a:gd name="T95" fmla="*/ 100 h 143"/>
                  <a:gd name="T96" fmla="*/ 57 w 191"/>
                  <a:gd name="T97" fmla="*/ 111 h 143"/>
                  <a:gd name="T98" fmla="*/ 68 w 191"/>
                  <a:gd name="T99" fmla="*/ 110 h 143"/>
                  <a:gd name="T100" fmla="*/ 84 w 191"/>
                  <a:gd name="T101" fmla="*/ 119 h 143"/>
                  <a:gd name="T102" fmla="*/ 95 w 191"/>
                  <a:gd name="T103" fmla="*/ 126 h 143"/>
                  <a:gd name="T104" fmla="*/ 99 w 191"/>
                  <a:gd name="T105" fmla="*/ 131 h 143"/>
                  <a:gd name="T106" fmla="*/ 110 w 191"/>
                  <a:gd name="T107" fmla="*/ 130 h 143"/>
                  <a:gd name="T108" fmla="*/ 120 w 191"/>
                  <a:gd name="T109" fmla="*/ 137 h 143"/>
                  <a:gd name="T110" fmla="*/ 137 w 191"/>
                  <a:gd name="T111" fmla="*/ 135 h 143"/>
                  <a:gd name="T112" fmla="*/ 154 w 191"/>
                  <a:gd name="T113" fmla="*/ 136 h 143"/>
                  <a:gd name="T114" fmla="*/ 168 w 191"/>
                  <a:gd name="T115" fmla="*/ 140 h 143"/>
                  <a:gd name="T116" fmla="*/ 175 w 191"/>
                  <a:gd name="T117" fmla="*/ 119 h 143"/>
                  <a:gd name="T118" fmla="*/ 188 w 191"/>
                  <a:gd name="T119" fmla="*/ 102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1" h="143">
                    <a:moveTo>
                      <a:pt x="189" y="99"/>
                    </a:moveTo>
                    <a:cubicBezTo>
                      <a:pt x="191" y="98"/>
                      <a:pt x="186" y="95"/>
                      <a:pt x="184" y="93"/>
                    </a:cubicBezTo>
                    <a:cubicBezTo>
                      <a:pt x="183" y="90"/>
                      <a:pt x="179" y="83"/>
                      <a:pt x="178" y="82"/>
                    </a:cubicBezTo>
                    <a:cubicBezTo>
                      <a:pt x="178" y="81"/>
                      <a:pt x="178" y="80"/>
                      <a:pt x="178" y="78"/>
                    </a:cubicBezTo>
                    <a:cubicBezTo>
                      <a:pt x="179" y="77"/>
                      <a:pt x="179" y="72"/>
                      <a:pt x="179" y="70"/>
                    </a:cubicBezTo>
                    <a:cubicBezTo>
                      <a:pt x="178" y="68"/>
                      <a:pt x="172" y="67"/>
                      <a:pt x="170" y="66"/>
                    </a:cubicBezTo>
                    <a:cubicBezTo>
                      <a:pt x="169" y="66"/>
                      <a:pt x="171" y="63"/>
                      <a:pt x="173" y="60"/>
                    </a:cubicBezTo>
                    <a:cubicBezTo>
                      <a:pt x="176" y="57"/>
                      <a:pt x="177" y="58"/>
                      <a:pt x="180" y="57"/>
                    </a:cubicBezTo>
                    <a:cubicBezTo>
                      <a:pt x="183" y="56"/>
                      <a:pt x="182" y="56"/>
                      <a:pt x="182" y="53"/>
                    </a:cubicBezTo>
                    <a:cubicBezTo>
                      <a:pt x="182" y="50"/>
                      <a:pt x="182" y="47"/>
                      <a:pt x="181" y="45"/>
                    </a:cubicBezTo>
                    <a:cubicBezTo>
                      <a:pt x="180" y="42"/>
                      <a:pt x="176" y="34"/>
                      <a:pt x="175" y="32"/>
                    </a:cubicBezTo>
                    <a:cubicBezTo>
                      <a:pt x="174" y="29"/>
                      <a:pt x="174" y="26"/>
                      <a:pt x="174" y="26"/>
                    </a:cubicBezTo>
                    <a:cubicBezTo>
                      <a:pt x="174" y="26"/>
                      <a:pt x="173" y="22"/>
                      <a:pt x="173" y="21"/>
                    </a:cubicBezTo>
                    <a:cubicBezTo>
                      <a:pt x="173" y="19"/>
                      <a:pt x="171" y="19"/>
                      <a:pt x="168" y="17"/>
                    </a:cubicBezTo>
                    <a:cubicBezTo>
                      <a:pt x="166" y="16"/>
                      <a:pt x="165" y="14"/>
                      <a:pt x="163" y="13"/>
                    </a:cubicBezTo>
                    <a:cubicBezTo>
                      <a:pt x="162" y="13"/>
                      <a:pt x="158" y="13"/>
                      <a:pt x="158" y="13"/>
                    </a:cubicBezTo>
                    <a:cubicBezTo>
                      <a:pt x="158" y="13"/>
                      <a:pt x="158" y="13"/>
                      <a:pt x="158" y="13"/>
                    </a:cubicBezTo>
                    <a:cubicBezTo>
                      <a:pt x="158" y="13"/>
                      <a:pt x="146" y="14"/>
                      <a:pt x="136" y="14"/>
                    </a:cubicBezTo>
                    <a:cubicBezTo>
                      <a:pt x="126" y="14"/>
                      <a:pt x="112" y="13"/>
                      <a:pt x="109" y="12"/>
                    </a:cubicBezTo>
                    <a:cubicBezTo>
                      <a:pt x="109" y="12"/>
                      <a:pt x="106" y="14"/>
                      <a:pt x="104" y="16"/>
                    </a:cubicBezTo>
                    <a:cubicBezTo>
                      <a:pt x="101" y="17"/>
                      <a:pt x="99" y="17"/>
                      <a:pt x="100" y="16"/>
                    </a:cubicBezTo>
                    <a:cubicBezTo>
                      <a:pt x="101" y="14"/>
                      <a:pt x="104" y="14"/>
                      <a:pt x="102" y="13"/>
                    </a:cubicBezTo>
                    <a:cubicBezTo>
                      <a:pt x="100" y="13"/>
                      <a:pt x="96" y="14"/>
                      <a:pt x="94" y="14"/>
                    </a:cubicBezTo>
                    <a:cubicBezTo>
                      <a:pt x="93" y="14"/>
                      <a:pt x="89" y="12"/>
                      <a:pt x="88" y="10"/>
                    </a:cubicBezTo>
                    <a:cubicBezTo>
                      <a:pt x="87" y="9"/>
                      <a:pt x="86" y="5"/>
                      <a:pt x="85" y="4"/>
                    </a:cubicBezTo>
                    <a:cubicBezTo>
                      <a:pt x="84" y="3"/>
                      <a:pt x="87" y="4"/>
                      <a:pt x="89" y="5"/>
                    </a:cubicBezTo>
                    <a:cubicBezTo>
                      <a:pt x="90" y="6"/>
                      <a:pt x="92" y="5"/>
                      <a:pt x="90" y="5"/>
                    </a:cubicBezTo>
                    <a:cubicBezTo>
                      <a:pt x="89" y="5"/>
                      <a:pt x="86" y="2"/>
                      <a:pt x="83" y="1"/>
                    </a:cubicBezTo>
                    <a:cubicBezTo>
                      <a:pt x="81" y="0"/>
                      <a:pt x="77" y="0"/>
                      <a:pt x="73" y="1"/>
                    </a:cubicBezTo>
                    <a:cubicBezTo>
                      <a:pt x="70" y="3"/>
                      <a:pt x="69" y="3"/>
                      <a:pt x="65" y="4"/>
                    </a:cubicBezTo>
                    <a:cubicBezTo>
                      <a:pt x="62" y="5"/>
                      <a:pt x="60" y="7"/>
                      <a:pt x="58" y="8"/>
                    </a:cubicBezTo>
                    <a:cubicBezTo>
                      <a:pt x="55" y="9"/>
                      <a:pt x="52" y="8"/>
                      <a:pt x="51" y="9"/>
                    </a:cubicBezTo>
                    <a:cubicBezTo>
                      <a:pt x="50" y="11"/>
                      <a:pt x="49" y="14"/>
                      <a:pt x="47" y="15"/>
                    </a:cubicBezTo>
                    <a:cubicBezTo>
                      <a:pt x="45" y="17"/>
                      <a:pt x="45" y="16"/>
                      <a:pt x="41" y="17"/>
                    </a:cubicBezTo>
                    <a:cubicBezTo>
                      <a:pt x="37" y="19"/>
                      <a:pt x="33" y="19"/>
                      <a:pt x="30" y="20"/>
                    </a:cubicBezTo>
                    <a:cubicBezTo>
                      <a:pt x="27" y="21"/>
                      <a:pt x="24" y="21"/>
                      <a:pt x="21" y="23"/>
                    </a:cubicBezTo>
                    <a:cubicBezTo>
                      <a:pt x="20" y="24"/>
                      <a:pt x="12" y="25"/>
                      <a:pt x="7" y="26"/>
                    </a:cubicBezTo>
                    <a:cubicBezTo>
                      <a:pt x="7" y="26"/>
                      <a:pt x="7" y="26"/>
                      <a:pt x="7" y="27"/>
                    </a:cubicBezTo>
                    <a:cubicBezTo>
                      <a:pt x="7" y="27"/>
                      <a:pt x="6" y="27"/>
                      <a:pt x="6" y="28"/>
                    </a:cubicBezTo>
                    <a:cubicBezTo>
                      <a:pt x="6" y="28"/>
                      <a:pt x="6" y="28"/>
                      <a:pt x="6" y="29"/>
                    </a:cubicBezTo>
                    <a:cubicBezTo>
                      <a:pt x="6" y="29"/>
                      <a:pt x="5" y="29"/>
                      <a:pt x="5" y="29"/>
                    </a:cubicBezTo>
                    <a:cubicBezTo>
                      <a:pt x="5" y="29"/>
                      <a:pt x="4" y="29"/>
                      <a:pt x="4" y="29"/>
                    </a:cubicBezTo>
                    <a:cubicBezTo>
                      <a:pt x="4" y="29"/>
                      <a:pt x="3" y="29"/>
                      <a:pt x="3" y="29"/>
                    </a:cubicBezTo>
                    <a:cubicBezTo>
                      <a:pt x="3" y="29"/>
                      <a:pt x="2" y="29"/>
                      <a:pt x="2" y="29"/>
                    </a:cubicBezTo>
                    <a:cubicBezTo>
                      <a:pt x="2" y="28"/>
                      <a:pt x="2" y="28"/>
                      <a:pt x="2" y="28"/>
                    </a:cubicBezTo>
                    <a:cubicBezTo>
                      <a:pt x="2" y="28"/>
                      <a:pt x="2" y="27"/>
                      <a:pt x="1" y="27"/>
                    </a:cubicBezTo>
                    <a:cubicBezTo>
                      <a:pt x="1" y="27"/>
                      <a:pt x="1" y="27"/>
                      <a:pt x="1" y="27"/>
                    </a:cubicBezTo>
                    <a:cubicBezTo>
                      <a:pt x="1" y="27"/>
                      <a:pt x="1" y="27"/>
                      <a:pt x="0" y="27"/>
                    </a:cubicBezTo>
                    <a:cubicBezTo>
                      <a:pt x="0" y="27"/>
                      <a:pt x="0" y="27"/>
                      <a:pt x="0" y="27"/>
                    </a:cubicBezTo>
                    <a:cubicBezTo>
                      <a:pt x="0" y="28"/>
                      <a:pt x="1" y="28"/>
                      <a:pt x="1" y="28"/>
                    </a:cubicBezTo>
                    <a:cubicBezTo>
                      <a:pt x="1" y="28"/>
                      <a:pt x="1" y="29"/>
                      <a:pt x="1" y="29"/>
                    </a:cubicBezTo>
                    <a:cubicBezTo>
                      <a:pt x="1" y="29"/>
                      <a:pt x="1" y="30"/>
                      <a:pt x="1" y="30"/>
                    </a:cubicBezTo>
                    <a:cubicBezTo>
                      <a:pt x="1" y="30"/>
                      <a:pt x="1" y="30"/>
                      <a:pt x="1" y="30"/>
                    </a:cubicBezTo>
                    <a:cubicBezTo>
                      <a:pt x="2" y="31"/>
                      <a:pt x="2" y="31"/>
                      <a:pt x="2" y="31"/>
                    </a:cubicBezTo>
                    <a:cubicBezTo>
                      <a:pt x="3" y="31"/>
                      <a:pt x="3" y="31"/>
                      <a:pt x="3" y="31"/>
                    </a:cubicBezTo>
                    <a:cubicBezTo>
                      <a:pt x="3" y="31"/>
                      <a:pt x="4" y="31"/>
                      <a:pt x="4" y="31"/>
                    </a:cubicBezTo>
                    <a:cubicBezTo>
                      <a:pt x="4" y="31"/>
                      <a:pt x="4" y="31"/>
                      <a:pt x="4" y="31"/>
                    </a:cubicBezTo>
                    <a:cubicBezTo>
                      <a:pt x="4" y="32"/>
                      <a:pt x="4" y="32"/>
                      <a:pt x="4" y="32"/>
                    </a:cubicBezTo>
                    <a:cubicBezTo>
                      <a:pt x="5" y="32"/>
                      <a:pt x="5" y="32"/>
                      <a:pt x="5" y="32"/>
                    </a:cubicBezTo>
                    <a:cubicBezTo>
                      <a:pt x="5" y="32"/>
                      <a:pt x="5" y="32"/>
                      <a:pt x="6" y="32"/>
                    </a:cubicBezTo>
                    <a:cubicBezTo>
                      <a:pt x="6" y="32"/>
                      <a:pt x="6" y="32"/>
                      <a:pt x="7" y="32"/>
                    </a:cubicBezTo>
                    <a:cubicBezTo>
                      <a:pt x="7" y="32"/>
                      <a:pt x="7" y="32"/>
                      <a:pt x="7" y="32"/>
                    </a:cubicBezTo>
                    <a:cubicBezTo>
                      <a:pt x="7" y="33"/>
                      <a:pt x="8" y="33"/>
                      <a:pt x="8" y="33"/>
                    </a:cubicBezTo>
                    <a:cubicBezTo>
                      <a:pt x="8" y="34"/>
                      <a:pt x="8" y="34"/>
                      <a:pt x="8" y="34"/>
                    </a:cubicBezTo>
                    <a:cubicBezTo>
                      <a:pt x="8" y="35"/>
                      <a:pt x="8" y="35"/>
                      <a:pt x="8" y="35"/>
                    </a:cubicBezTo>
                    <a:cubicBezTo>
                      <a:pt x="8" y="36"/>
                      <a:pt x="8" y="36"/>
                      <a:pt x="8" y="36"/>
                    </a:cubicBezTo>
                    <a:cubicBezTo>
                      <a:pt x="8" y="37"/>
                      <a:pt x="9" y="37"/>
                      <a:pt x="9" y="38"/>
                    </a:cubicBezTo>
                    <a:cubicBezTo>
                      <a:pt x="9" y="38"/>
                      <a:pt x="9" y="39"/>
                      <a:pt x="9" y="39"/>
                    </a:cubicBezTo>
                    <a:cubicBezTo>
                      <a:pt x="9" y="40"/>
                      <a:pt x="9" y="40"/>
                      <a:pt x="9" y="40"/>
                    </a:cubicBezTo>
                    <a:cubicBezTo>
                      <a:pt x="9" y="40"/>
                      <a:pt x="9" y="40"/>
                      <a:pt x="9" y="41"/>
                    </a:cubicBezTo>
                    <a:cubicBezTo>
                      <a:pt x="9" y="41"/>
                      <a:pt x="9" y="41"/>
                      <a:pt x="10" y="42"/>
                    </a:cubicBezTo>
                    <a:cubicBezTo>
                      <a:pt x="10" y="42"/>
                      <a:pt x="9" y="42"/>
                      <a:pt x="9" y="43"/>
                    </a:cubicBezTo>
                    <a:cubicBezTo>
                      <a:pt x="10" y="43"/>
                      <a:pt x="10" y="43"/>
                      <a:pt x="10" y="44"/>
                    </a:cubicBezTo>
                    <a:cubicBezTo>
                      <a:pt x="10" y="44"/>
                      <a:pt x="10" y="44"/>
                      <a:pt x="11" y="45"/>
                    </a:cubicBezTo>
                    <a:cubicBezTo>
                      <a:pt x="11" y="45"/>
                      <a:pt x="11" y="45"/>
                      <a:pt x="11" y="46"/>
                    </a:cubicBezTo>
                    <a:cubicBezTo>
                      <a:pt x="11" y="46"/>
                      <a:pt x="10" y="47"/>
                      <a:pt x="10" y="47"/>
                    </a:cubicBezTo>
                    <a:cubicBezTo>
                      <a:pt x="10" y="48"/>
                      <a:pt x="10" y="48"/>
                      <a:pt x="9" y="49"/>
                    </a:cubicBezTo>
                    <a:cubicBezTo>
                      <a:pt x="9" y="50"/>
                      <a:pt x="8" y="50"/>
                      <a:pt x="8" y="51"/>
                    </a:cubicBezTo>
                    <a:cubicBezTo>
                      <a:pt x="8" y="51"/>
                      <a:pt x="8" y="52"/>
                      <a:pt x="8" y="52"/>
                    </a:cubicBezTo>
                    <a:cubicBezTo>
                      <a:pt x="7" y="52"/>
                      <a:pt x="7" y="53"/>
                      <a:pt x="7" y="53"/>
                    </a:cubicBezTo>
                    <a:cubicBezTo>
                      <a:pt x="7" y="53"/>
                      <a:pt x="6" y="53"/>
                      <a:pt x="6" y="54"/>
                    </a:cubicBezTo>
                    <a:cubicBezTo>
                      <a:pt x="6" y="54"/>
                      <a:pt x="6" y="54"/>
                      <a:pt x="6" y="54"/>
                    </a:cubicBezTo>
                    <a:cubicBezTo>
                      <a:pt x="6" y="55"/>
                      <a:pt x="6" y="55"/>
                      <a:pt x="5" y="55"/>
                    </a:cubicBezTo>
                    <a:cubicBezTo>
                      <a:pt x="5" y="56"/>
                      <a:pt x="5" y="56"/>
                      <a:pt x="5" y="56"/>
                    </a:cubicBezTo>
                    <a:cubicBezTo>
                      <a:pt x="6" y="56"/>
                      <a:pt x="6" y="56"/>
                      <a:pt x="7" y="57"/>
                    </a:cubicBezTo>
                    <a:cubicBezTo>
                      <a:pt x="7" y="57"/>
                      <a:pt x="7" y="57"/>
                      <a:pt x="7" y="57"/>
                    </a:cubicBezTo>
                    <a:cubicBezTo>
                      <a:pt x="8" y="57"/>
                      <a:pt x="8" y="58"/>
                      <a:pt x="9" y="58"/>
                    </a:cubicBezTo>
                    <a:cubicBezTo>
                      <a:pt x="9" y="58"/>
                      <a:pt x="9" y="58"/>
                      <a:pt x="9" y="58"/>
                    </a:cubicBezTo>
                    <a:cubicBezTo>
                      <a:pt x="9" y="59"/>
                      <a:pt x="10" y="59"/>
                      <a:pt x="10" y="59"/>
                    </a:cubicBezTo>
                    <a:cubicBezTo>
                      <a:pt x="10" y="59"/>
                      <a:pt x="10" y="59"/>
                      <a:pt x="11" y="60"/>
                    </a:cubicBezTo>
                    <a:cubicBezTo>
                      <a:pt x="11" y="60"/>
                      <a:pt x="11" y="60"/>
                      <a:pt x="11" y="61"/>
                    </a:cubicBezTo>
                    <a:cubicBezTo>
                      <a:pt x="12" y="61"/>
                      <a:pt x="12" y="61"/>
                      <a:pt x="12" y="62"/>
                    </a:cubicBezTo>
                    <a:cubicBezTo>
                      <a:pt x="13" y="62"/>
                      <a:pt x="13" y="62"/>
                      <a:pt x="13" y="63"/>
                    </a:cubicBezTo>
                    <a:cubicBezTo>
                      <a:pt x="14" y="63"/>
                      <a:pt x="14" y="63"/>
                      <a:pt x="14" y="63"/>
                    </a:cubicBezTo>
                    <a:cubicBezTo>
                      <a:pt x="14" y="64"/>
                      <a:pt x="14" y="64"/>
                      <a:pt x="14" y="64"/>
                    </a:cubicBezTo>
                    <a:cubicBezTo>
                      <a:pt x="14" y="65"/>
                      <a:pt x="14" y="65"/>
                      <a:pt x="14" y="65"/>
                    </a:cubicBezTo>
                    <a:cubicBezTo>
                      <a:pt x="14" y="65"/>
                      <a:pt x="14" y="65"/>
                      <a:pt x="14" y="66"/>
                    </a:cubicBezTo>
                    <a:cubicBezTo>
                      <a:pt x="14" y="66"/>
                      <a:pt x="13" y="66"/>
                      <a:pt x="13" y="66"/>
                    </a:cubicBezTo>
                    <a:cubicBezTo>
                      <a:pt x="13" y="67"/>
                      <a:pt x="13" y="67"/>
                      <a:pt x="13" y="67"/>
                    </a:cubicBezTo>
                    <a:cubicBezTo>
                      <a:pt x="13" y="68"/>
                      <a:pt x="13" y="68"/>
                      <a:pt x="13" y="68"/>
                    </a:cubicBezTo>
                    <a:cubicBezTo>
                      <a:pt x="13" y="69"/>
                      <a:pt x="13" y="69"/>
                      <a:pt x="13" y="69"/>
                    </a:cubicBezTo>
                    <a:cubicBezTo>
                      <a:pt x="13" y="69"/>
                      <a:pt x="13" y="70"/>
                      <a:pt x="13" y="70"/>
                    </a:cubicBezTo>
                    <a:cubicBezTo>
                      <a:pt x="14" y="70"/>
                      <a:pt x="14" y="70"/>
                      <a:pt x="14" y="71"/>
                    </a:cubicBezTo>
                    <a:cubicBezTo>
                      <a:pt x="14" y="71"/>
                      <a:pt x="15" y="71"/>
                      <a:pt x="15" y="71"/>
                    </a:cubicBezTo>
                    <a:cubicBezTo>
                      <a:pt x="15" y="71"/>
                      <a:pt x="15" y="71"/>
                      <a:pt x="15" y="72"/>
                    </a:cubicBezTo>
                    <a:cubicBezTo>
                      <a:pt x="15" y="72"/>
                      <a:pt x="15" y="72"/>
                      <a:pt x="16" y="73"/>
                    </a:cubicBezTo>
                    <a:cubicBezTo>
                      <a:pt x="16" y="74"/>
                      <a:pt x="16" y="74"/>
                      <a:pt x="16" y="74"/>
                    </a:cubicBezTo>
                    <a:cubicBezTo>
                      <a:pt x="16" y="75"/>
                      <a:pt x="16" y="75"/>
                      <a:pt x="16" y="76"/>
                    </a:cubicBezTo>
                    <a:cubicBezTo>
                      <a:pt x="16" y="76"/>
                      <a:pt x="16" y="76"/>
                      <a:pt x="16" y="77"/>
                    </a:cubicBezTo>
                    <a:cubicBezTo>
                      <a:pt x="16" y="77"/>
                      <a:pt x="16" y="77"/>
                      <a:pt x="16" y="78"/>
                    </a:cubicBezTo>
                    <a:cubicBezTo>
                      <a:pt x="16" y="78"/>
                      <a:pt x="16" y="78"/>
                      <a:pt x="15" y="78"/>
                    </a:cubicBezTo>
                    <a:cubicBezTo>
                      <a:pt x="15" y="79"/>
                      <a:pt x="15" y="79"/>
                      <a:pt x="15" y="79"/>
                    </a:cubicBezTo>
                    <a:cubicBezTo>
                      <a:pt x="15" y="80"/>
                      <a:pt x="15" y="80"/>
                      <a:pt x="15" y="80"/>
                    </a:cubicBezTo>
                    <a:cubicBezTo>
                      <a:pt x="15" y="80"/>
                      <a:pt x="15" y="81"/>
                      <a:pt x="15" y="81"/>
                    </a:cubicBezTo>
                    <a:cubicBezTo>
                      <a:pt x="15" y="81"/>
                      <a:pt x="15" y="81"/>
                      <a:pt x="15" y="81"/>
                    </a:cubicBezTo>
                    <a:cubicBezTo>
                      <a:pt x="14" y="82"/>
                      <a:pt x="14" y="82"/>
                      <a:pt x="14" y="82"/>
                    </a:cubicBezTo>
                    <a:cubicBezTo>
                      <a:pt x="14" y="82"/>
                      <a:pt x="14" y="83"/>
                      <a:pt x="14" y="83"/>
                    </a:cubicBezTo>
                    <a:cubicBezTo>
                      <a:pt x="14" y="83"/>
                      <a:pt x="14" y="83"/>
                      <a:pt x="14" y="84"/>
                    </a:cubicBezTo>
                    <a:cubicBezTo>
                      <a:pt x="14" y="84"/>
                      <a:pt x="14" y="84"/>
                      <a:pt x="15" y="84"/>
                    </a:cubicBezTo>
                    <a:cubicBezTo>
                      <a:pt x="15" y="84"/>
                      <a:pt x="15" y="84"/>
                      <a:pt x="15" y="85"/>
                    </a:cubicBezTo>
                    <a:cubicBezTo>
                      <a:pt x="15" y="85"/>
                      <a:pt x="15" y="85"/>
                      <a:pt x="15" y="85"/>
                    </a:cubicBezTo>
                    <a:cubicBezTo>
                      <a:pt x="15" y="85"/>
                      <a:pt x="15" y="85"/>
                      <a:pt x="15" y="85"/>
                    </a:cubicBezTo>
                    <a:cubicBezTo>
                      <a:pt x="15" y="86"/>
                      <a:pt x="15" y="86"/>
                      <a:pt x="16" y="86"/>
                    </a:cubicBezTo>
                    <a:cubicBezTo>
                      <a:pt x="16" y="86"/>
                      <a:pt x="16" y="86"/>
                      <a:pt x="16" y="86"/>
                    </a:cubicBezTo>
                    <a:cubicBezTo>
                      <a:pt x="16" y="86"/>
                      <a:pt x="16" y="87"/>
                      <a:pt x="16" y="87"/>
                    </a:cubicBezTo>
                    <a:cubicBezTo>
                      <a:pt x="17" y="87"/>
                      <a:pt x="17" y="87"/>
                      <a:pt x="17" y="87"/>
                    </a:cubicBezTo>
                    <a:cubicBezTo>
                      <a:pt x="17" y="87"/>
                      <a:pt x="17" y="87"/>
                      <a:pt x="17" y="88"/>
                    </a:cubicBezTo>
                    <a:cubicBezTo>
                      <a:pt x="17" y="88"/>
                      <a:pt x="17" y="88"/>
                      <a:pt x="17" y="89"/>
                    </a:cubicBezTo>
                    <a:cubicBezTo>
                      <a:pt x="17" y="89"/>
                      <a:pt x="17" y="89"/>
                      <a:pt x="17" y="89"/>
                    </a:cubicBezTo>
                    <a:cubicBezTo>
                      <a:pt x="17" y="89"/>
                      <a:pt x="16" y="90"/>
                      <a:pt x="16" y="90"/>
                    </a:cubicBezTo>
                    <a:cubicBezTo>
                      <a:pt x="17" y="90"/>
                      <a:pt x="17" y="90"/>
                      <a:pt x="17" y="90"/>
                    </a:cubicBezTo>
                    <a:cubicBezTo>
                      <a:pt x="18" y="90"/>
                      <a:pt x="18" y="90"/>
                      <a:pt x="19" y="91"/>
                    </a:cubicBezTo>
                    <a:cubicBezTo>
                      <a:pt x="19" y="91"/>
                      <a:pt x="19" y="91"/>
                      <a:pt x="20" y="91"/>
                    </a:cubicBezTo>
                    <a:cubicBezTo>
                      <a:pt x="20" y="92"/>
                      <a:pt x="20" y="92"/>
                      <a:pt x="20" y="92"/>
                    </a:cubicBezTo>
                    <a:cubicBezTo>
                      <a:pt x="20" y="93"/>
                      <a:pt x="20" y="93"/>
                      <a:pt x="20" y="93"/>
                    </a:cubicBezTo>
                    <a:cubicBezTo>
                      <a:pt x="20" y="93"/>
                      <a:pt x="20" y="94"/>
                      <a:pt x="20" y="94"/>
                    </a:cubicBezTo>
                    <a:cubicBezTo>
                      <a:pt x="20" y="94"/>
                      <a:pt x="20" y="94"/>
                      <a:pt x="20" y="95"/>
                    </a:cubicBezTo>
                    <a:cubicBezTo>
                      <a:pt x="20" y="95"/>
                      <a:pt x="20" y="95"/>
                      <a:pt x="20" y="95"/>
                    </a:cubicBezTo>
                    <a:cubicBezTo>
                      <a:pt x="21" y="95"/>
                      <a:pt x="22" y="97"/>
                      <a:pt x="23" y="99"/>
                    </a:cubicBezTo>
                    <a:cubicBezTo>
                      <a:pt x="24" y="100"/>
                      <a:pt x="25" y="98"/>
                      <a:pt x="26" y="98"/>
                    </a:cubicBezTo>
                    <a:cubicBezTo>
                      <a:pt x="28" y="98"/>
                      <a:pt x="28" y="95"/>
                      <a:pt x="28" y="95"/>
                    </a:cubicBezTo>
                    <a:cubicBezTo>
                      <a:pt x="28" y="95"/>
                      <a:pt x="31" y="96"/>
                      <a:pt x="32" y="95"/>
                    </a:cubicBezTo>
                    <a:cubicBezTo>
                      <a:pt x="34" y="95"/>
                      <a:pt x="34" y="97"/>
                      <a:pt x="34" y="99"/>
                    </a:cubicBezTo>
                    <a:cubicBezTo>
                      <a:pt x="35" y="100"/>
                      <a:pt x="37" y="100"/>
                      <a:pt x="40" y="100"/>
                    </a:cubicBezTo>
                    <a:cubicBezTo>
                      <a:pt x="42" y="101"/>
                      <a:pt x="44" y="102"/>
                      <a:pt x="46" y="103"/>
                    </a:cubicBezTo>
                    <a:cubicBezTo>
                      <a:pt x="49" y="104"/>
                      <a:pt x="52" y="102"/>
                      <a:pt x="53" y="104"/>
                    </a:cubicBezTo>
                    <a:cubicBezTo>
                      <a:pt x="54" y="105"/>
                      <a:pt x="55" y="109"/>
                      <a:pt x="57" y="111"/>
                    </a:cubicBezTo>
                    <a:cubicBezTo>
                      <a:pt x="59" y="113"/>
                      <a:pt x="60" y="115"/>
                      <a:pt x="61" y="115"/>
                    </a:cubicBezTo>
                    <a:cubicBezTo>
                      <a:pt x="61" y="115"/>
                      <a:pt x="61" y="115"/>
                      <a:pt x="62" y="114"/>
                    </a:cubicBezTo>
                    <a:cubicBezTo>
                      <a:pt x="63" y="112"/>
                      <a:pt x="66" y="109"/>
                      <a:pt x="68" y="110"/>
                    </a:cubicBezTo>
                    <a:cubicBezTo>
                      <a:pt x="70" y="111"/>
                      <a:pt x="73" y="113"/>
                      <a:pt x="74" y="112"/>
                    </a:cubicBezTo>
                    <a:cubicBezTo>
                      <a:pt x="75" y="111"/>
                      <a:pt x="77" y="117"/>
                      <a:pt x="79" y="118"/>
                    </a:cubicBezTo>
                    <a:cubicBezTo>
                      <a:pt x="80" y="120"/>
                      <a:pt x="82" y="119"/>
                      <a:pt x="84" y="119"/>
                    </a:cubicBezTo>
                    <a:cubicBezTo>
                      <a:pt x="86" y="118"/>
                      <a:pt x="88" y="121"/>
                      <a:pt x="90" y="121"/>
                    </a:cubicBezTo>
                    <a:cubicBezTo>
                      <a:pt x="91" y="122"/>
                      <a:pt x="92" y="121"/>
                      <a:pt x="92" y="123"/>
                    </a:cubicBezTo>
                    <a:cubicBezTo>
                      <a:pt x="93" y="124"/>
                      <a:pt x="94" y="125"/>
                      <a:pt x="95" y="126"/>
                    </a:cubicBezTo>
                    <a:cubicBezTo>
                      <a:pt x="95" y="126"/>
                      <a:pt x="96" y="127"/>
                      <a:pt x="96" y="127"/>
                    </a:cubicBezTo>
                    <a:cubicBezTo>
                      <a:pt x="97" y="128"/>
                      <a:pt x="97" y="129"/>
                      <a:pt x="98" y="129"/>
                    </a:cubicBezTo>
                    <a:cubicBezTo>
                      <a:pt x="98" y="130"/>
                      <a:pt x="99" y="131"/>
                      <a:pt x="99" y="131"/>
                    </a:cubicBezTo>
                    <a:cubicBezTo>
                      <a:pt x="101" y="131"/>
                      <a:pt x="101" y="131"/>
                      <a:pt x="101" y="133"/>
                    </a:cubicBezTo>
                    <a:cubicBezTo>
                      <a:pt x="101" y="135"/>
                      <a:pt x="104" y="133"/>
                      <a:pt x="106" y="131"/>
                    </a:cubicBezTo>
                    <a:cubicBezTo>
                      <a:pt x="108" y="129"/>
                      <a:pt x="110" y="129"/>
                      <a:pt x="110" y="130"/>
                    </a:cubicBezTo>
                    <a:cubicBezTo>
                      <a:pt x="111" y="131"/>
                      <a:pt x="111" y="134"/>
                      <a:pt x="113" y="134"/>
                    </a:cubicBezTo>
                    <a:cubicBezTo>
                      <a:pt x="116" y="134"/>
                      <a:pt x="115" y="135"/>
                      <a:pt x="116" y="137"/>
                    </a:cubicBezTo>
                    <a:cubicBezTo>
                      <a:pt x="116" y="138"/>
                      <a:pt x="118" y="140"/>
                      <a:pt x="120" y="137"/>
                    </a:cubicBezTo>
                    <a:cubicBezTo>
                      <a:pt x="123" y="135"/>
                      <a:pt x="124" y="134"/>
                      <a:pt x="126" y="134"/>
                    </a:cubicBezTo>
                    <a:cubicBezTo>
                      <a:pt x="128" y="134"/>
                      <a:pt x="130" y="134"/>
                      <a:pt x="132" y="134"/>
                    </a:cubicBezTo>
                    <a:cubicBezTo>
                      <a:pt x="133" y="135"/>
                      <a:pt x="135" y="137"/>
                      <a:pt x="137" y="135"/>
                    </a:cubicBezTo>
                    <a:cubicBezTo>
                      <a:pt x="139" y="133"/>
                      <a:pt x="141" y="132"/>
                      <a:pt x="143" y="132"/>
                    </a:cubicBezTo>
                    <a:cubicBezTo>
                      <a:pt x="146" y="133"/>
                      <a:pt x="149" y="133"/>
                      <a:pt x="150" y="133"/>
                    </a:cubicBezTo>
                    <a:cubicBezTo>
                      <a:pt x="152" y="134"/>
                      <a:pt x="152" y="134"/>
                      <a:pt x="154" y="136"/>
                    </a:cubicBezTo>
                    <a:cubicBezTo>
                      <a:pt x="156" y="139"/>
                      <a:pt x="161" y="141"/>
                      <a:pt x="164" y="142"/>
                    </a:cubicBezTo>
                    <a:cubicBezTo>
                      <a:pt x="165" y="142"/>
                      <a:pt x="168" y="142"/>
                      <a:pt x="170" y="143"/>
                    </a:cubicBezTo>
                    <a:cubicBezTo>
                      <a:pt x="172" y="143"/>
                      <a:pt x="170" y="141"/>
                      <a:pt x="168" y="140"/>
                    </a:cubicBezTo>
                    <a:cubicBezTo>
                      <a:pt x="167" y="138"/>
                      <a:pt x="168" y="136"/>
                      <a:pt x="166" y="133"/>
                    </a:cubicBezTo>
                    <a:cubicBezTo>
                      <a:pt x="165" y="131"/>
                      <a:pt x="165" y="129"/>
                      <a:pt x="167" y="128"/>
                    </a:cubicBezTo>
                    <a:cubicBezTo>
                      <a:pt x="168" y="127"/>
                      <a:pt x="174" y="120"/>
                      <a:pt x="175" y="119"/>
                    </a:cubicBezTo>
                    <a:cubicBezTo>
                      <a:pt x="176" y="117"/>
                      <a:pt x="180" y="113"/>
                      <a:pt x="182" y="111"/>
                    </a:cubicBezTo>
                    <a:cubicBezTo>
                      <a:pt x="184" y="110"/>
                      <a:pt x="187" y="109"/>
                      <a:pt x="188" y="108"/>
                    </a:cubicBezTo>
                    <a:cubicBezTo>
                      <a:pt x="189" y="107"/>
                      <a:pt x="189" y="103"/>
                      <a:pt x="188" y="102"/>
                    </a:cubicBezTo>
                    <a:cubicBezTo>
                      <a:pt x="187" y="100"/>
                      <a:pt x="187" y="99"/>
                      <a:pt x="189" y="99"/>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76" name="Freeform 197"/>
              <p:cNvSpPr>
                <a:spLocks/>
              </p:cNvSpPr>
              <p:nvPr/>
            </p:nvSpPr>
            <p:spPr bwMode="gray">
              <a:xfrm>
                <a:off x="2299" y="2651"/>
                <a:ext cx="27" cy="39"/>
              </a:xfrm>
              <a:custGeom>
                <a:avLst/>
                <a:gdLst>
                  <a:gd name="T0" fmla="*/ 1 w 10"/>
                  <a:gd name="T1" fmla="*/ 9 h 15"/>
                  <a:gd name="T2" fmla="*/ 1 w 10"/>
                  <a:gd name="T3" fmla="*/ 10 h 15"/>
                  <a:gd name="T4" fmla="*/ 1 w 10"/>
                  <a:gd name="T5" fmla="*/ 10 h 15"/>
                  <a:gd name="T6" fmla="*/ 1 w 10"/>
                  <a:gd name="T7" fmla="*/ 11 h 15"/>
                  <a:gd name="T8" fmla="*/ 0 w 10"/>
                  <a:gd name="T9" fmla="*/ 11 h 15"/>
                  <a:gd name="T10" fmla="*/ 0 w 10"/>
                  <a:gd name="T11" fmla="*/ 12 h 15"/>
                  <a:gd name="T12" fmla="*/ 0 w 10"/>
                  <a:gd name="T13" fmla="*/ 13 h 15"/>
                  <a:gd name="T14" fmla="*/ 1 w 10"/>
                  <a:gd name="T15" fmla="*/ 13 h 15"/>
                  <a:gd name="T16" fmla="*/ 2 w 10"/>
                  <a:gd name="T17" fmla="*/ 14 h 15"/>
                  <a:gd name="T18" fmla="*/ 3 w 10"/>
                  <a:gd name="T19" fmla="*/ 15 h 15"/>
                  <a:gd name="T20" fmla="*/ 4 w 10"/>
                  <a:gd name="T21" fmla="*/ 15 h 15"/>
                  <a:gd name="T22" fmla="*/ 5 w 10"/>
                  <a:gd name="T23" fmla="*/ 15 h 15"/>
                  <a:gd name="T24" fmla="*/ 5 w 10"/>
                  <a:gd name="T25" fmla="*/ 14 h 15"/>
                  <a:gd name="T26" fmla="*/ 5 w 10"/>
                  <a:gd name="T27" fmla="*/ 13 h 15"/>
                  <a:gd name="T28" fmla="*/ 5 w 10"/>
                  <a:gd name="T29" fmla="*/ 12 h 15"/>
                  <a:gd name="T30" fmla="*/ 6 w 10"/>
                  <a:gd name="T31" fmla="*/ 12 h 15"/>
                  <a:gd name="T32" fmla="*/ 7 w 10"/>
                  <a:gd name="T33" fmla="*/ 11 h 15"/>
                  <a:gd name="T34" fmla="*/ 7 w 10"/>
                  <a:gd name="T35" fmla="*/ 12 h 15"/>
                  <a:gd name="T36" fmla="*/ 8 w 10"/>
                  <a:gd name="T37" fmla="*/ 12 h 15"/>
                  <a:gd name="T38" fmla="*/ 8 w 10"/>
                  <a:gd name="T39" fmla="*/ 13 h 15"/>
                  <a:gd name="T40" fmla="*/ 8 w 10"/>
                  <a:gd name="T41" fmla="*/ 13 h 15"/>
                  <a:gd name="T42" fmla="*/ 8 w 10"/>
                  <a:gd name="T43" fmla="*/ 14 h 15"/>
                  <a:gd name="T44" fmla="*/ 8 w 10"/>
                  <a:gd name="T45" fmla="*/ 14 h 15"/>
                  <a:gd name="T46" fmla="*/ 8 w 10"/>
                  <a:gd name="T47" fmla="*/ 14 h 15"/>
                  <a:gd name="T48" fmla="*/ 9 w 10"/>
                  <a:gd name="T49" fmla="*/ 14 h 15"/>
                  <a:gd name="T50" fmla="*/ 10 w 10"/>
                  <a:gd name="T51" fmla="*/ 13 h 15"/>
                  <a:gd name="T52" fmla="*/ 10 w 10"/>
                  <a:gd name="T53" fmla="*/ 12 h 15"/>
                  <a:gd name="T54" fmla="*/ 9 w 10"/>
                  <a:gd name="T55" fmla="*/ 11 h 15"/>
                  <a:gd name="T56" fmla="*/ 9 w 10"/>
                  <a:gd name="T57" fmla="*/ 10 h 15"/>
                  <a:gd name="T58" fmla="*/ 8 w 10"/>
                  <a:gd name="T59" fmla="*/ 9 h 15"/>
                  <a:gd name="T60" fmla="*/ 7 w 10"/>
                  <a:gd name="T61" fmla="*/ 8 h 15"/>
                  <a:gd name="T62" fmla="*/ 7 w 10"/>
                  <a:gd name="T63" fmla="*/ 7 h 15"/>
                  <a:gd name="T64" fmla="*/ 7 w 10"/>
                  <a:gd name="T65" fmla="*/ 7 h 15"/>
                  <a:gd name="T66" fmla="*/ 7 w 10"/>
                  <a:gd name="T67" fmla="*/ 6 h 15"/>
                  <a:gd name="T68" fmla="*/ 8 w 10"/>
                  <a:gd name="T69" fmla="*/ 6 h 15"/>
                  <a:gd name="T70" fmla="*/ 8 w 10"/>
                  <a:gd name="T71" fmla="*/ 5 h 15"/>
                  <a:gd name="T72" fmla="*/ 7 w 10"/>
                  <a:gd name="T73" fmla="*/ 4 h 15"/>
                  <a:gd name="T74" fmla="*/ 6 w 10"/>
                  <a:gd name="T75" fmla="*/ 4 h 15"/>
                  <a:gd name="T76" fmla="*/ 5 w 10"/>
                  <a:gd name="T77" fmla="*/ 4 h 15"/>
                  <a:gd name="T78" fmla="*/ 4 w 10"/>
                  <a:gd name="T79" fmla="*/ 3 h 15"/>
                  <a:gd name="T80" fmla="*/ 4 w 10"/>
                  <a:gd name="T81" fmla="*/ 2 h 15"/>
                  <a:gd name="T82" fmla="*/ 4 w 10"/>
                  <a:gd name="T83" fmla="*/ 1 h 15"/>
                  <a:gd name="T84" fmla="*/ 4 w 10"/>
                  <a:gd name="T85" fmla="*/ 1 h 15"/>
                  <a:gd name="T86" fmla="*/ 3 w 10"/>
                  <a:gd name="T87" fmla="*/ 0 h 15"/>
                  <a:gd name="T88" fmla="*/ 2 w 10"/>
                  <a:gd name="T89" fmla="*/ 1 h 15"/>
                  <a:gd name="T90" fmla="*/ 2 w 10"/>
                  <a:gd name="T91" fmla="*/ 1 h 15"/>
                  <a:gd name="T92" fmla="*/ 1 w 10"/>
                  <a:gd name="T93" fmla="*/ 2 h 15"/>
                  <a:gd name="T94" fmla="*/ 1 w 10"/>
                  <a:gd name="T95" fmla="*/ 3 h 15"/>
                  <a:gd name="T96" fmla="*/ 1 w 10"/>
                  <a:gd name="T97" fmla="*/ 4 h 15"/>
                  <a:gd name="T98" fmla="*/ 1 w 10"/>
                  <a:gd name="T99" fmla="*/ 4 h 15"/>
                  <a:gd name="T100" fmla="*/ 2 w 10"/>
                  <a:gd name="T101" fmla="*/ 5 h 15"/>
                  <a:gd name="T102" fmla="*/ 3 w 10"/>
                  <a:gd name="T103" fmla="*/ 5 h 15"/>
                  <a:gd name="T104" fmla="*/ 3 w 10"/>
                  <a:gd name="T105" fmla="*/ 6 h 15"/>
                  <a:gd name="T106" fmla="*/ 2 w 10"/>
                  <a:gd name="T107" fmla="*/ 6 h 15"/>
                  <a:gd name="T108" fmla="*/ 1 w 10"/>
                  <a:gd name="T109" fmla="*/ 6 h 15"/>
                  <a:gd name="T110" fmla="*/ 0 w 10"/>
                  <a:gd name="T111" fmla="*/ 6 h 15"/>
                  <a:gd name="T112" fmla="*/ 0 w 10"/>
                  <a:gd name="T113" fmla="*/ 6 h 15"/>
                  <a:gd name="T114" fmla="*/ 0 w 10"/>
                  <a:gd name="T115" fmla="*/ 7 h 15"/>
                  <a:gd name="T116" fmla="*/ 0 w 10"/>
                  <a:gd name="T117" fmla="*/ 7 h 15"/>
                  <a:gd name="T118" fmla="*/ 0 w 10"/>
                  <a:gd name="T119" fmla="*/ 8 h 15"/>
                  <a:gd name="T120" fmla="*/ 1 w 10"/>
                  <a:gd name="T121" fmla="*/ 9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 h="15">
                    <a:moveTo>
                      <a:pt x="1" y="9"/>
                    </a:moveTo>
                    <a:cubicBezTo>
                      <a:pt x="1" y="9"/>
                      <a:pt x="1" y="9"/>
                      <a:pt x="1" y="10"/>
                    </a:cubicBezTo>
                    <a:cubicBezTo>
                      <a:pt x="1" y="10"/>
                      <a:pt x="1" y="10"/>
                      <a:pt x="1" y="10"/>
                    </a:cubicBezTo>
                    <a:cubicBezTo>
                      <a:pt x="1" y="11"/>
                      <a:pt x="1" y="11"/>
                      <a:pt x="1" y="11"/>
                    </a:cubicBezTo>
                    <a:cubicBezTo>
                      <a:pt x="1" y="11"/>
                      <a:pt x="0" y="11"/>
                      <a:pt x="0" y="11"/>
                    </a:cubicBezTo>
                    <a:cubicBezTo>
                      <a:pt x="0" y="11"/>
                      <a:pt x="0" y="12"/>
                      <a:pt x="0" y="12"/>
                    </a:cubicBezTo>
                    <a:cubicBezTo>
                      <a:pt x="0" y="12"/>
                      <a:pt x="0" y="13"/>
                      <a:pt x="0" y="13"/>
                    </a:cubicBezTo>
                    <a:cubicBezTo>
                      <a:pt x="1" y="13"/>
                      <a:pt x="1" y="13"/>
                      <a:pt x="1" y="13"/>
                    </a:cubicBezTo>
                    <a:cubicBezTo>
                      <a:pt x="1" y="14"/>
                      <a:pt x="1" y="14"/>
                      <a:pt x="2" y="14"/>
                    </a:cubicBezTo>
                    <a:cubicBezTo>
                      <a:pt x="2" y="15"/>
                      <a:pt x="2" y="15"/>
                      <a:pt x="3" y="15"/>
                    </a:cubicBezTo>
                    <a:cubicBezTo>
                      <a:pt x="3" y="15"/>
                      <a:pt x="3" y="15"/>
                      <a:pt x="4" y="15"/>
                    </a:cubicBezTo>
                    <a:cubicBezTo>
                      <a:pt x="4" y="15"/>
                      <a:pt x="4" y="15"/>
                      <a:pt x="5" y="15"/>
                    </a:cubicBezTo>
                    <a:cubicBezTo>
                      <a:pt x="5" y="14"/>
                      <a:pt x="5" y="14"/>
                      <a:pt x="5" y="14"/>
                    </a:cubicBezTo>
                    <a:cubicBezTo>
                      <a:pt x="5" y="14"/>
                      <a:pt x="5" y="13"/>
                      <a:pt x="5" y="13"/>
                    </a:cubicBezTo>
                    <a:cubicBezTo>
                      <a:pt x="5" y="13"/>
                      <a:pt x="5" y="12"/>
                      <a:pt x="5" y="12"/>
                    </a:cubicBezTo>
                    <a:cubicBezTo>
                      <a:pt x="6" y="12"/>
                      <a:pt x="6" y="12"/>
                      <a:pt x="6" y="12"/>
                    </a:cubicBezTo>
                    <a:cubicBezTo>
                      <a:pt x="6" y="11"/>
                      <a:pt x="6" y="11"/>
                      <a:pt x="7" y="11"/>
                    </a:cubicBezTo>
                    <a:cubicBezTo>
                      <a:pt x="7" y="11"/>
                      <a:pt x="7" y="11"/>
                      <a:pt x="7" y="12"/>
                    </a:cubicBezTo>
                    <a:cubicBezTo>
                      <a:pt x="8" y="12"/>
                      <a:pt x="8" y="12"/>
                      <a:pt x="8" y="12"/>
                    </a:cubicBezTo>
                    <a:cubicBezTo>
                      <a:pt x="8" y="12"/>
                      <a:pt x="8" y="13"/>
                      <a:pt x="8" y="13"/>
                    </a:cubicBezTo>
                    <a:cubicBezTo>
                      <a:pt x="8" y="13"/>
                      <a:pt x="8" y="13"/>
                      <a:pt x="8" y="13"/>
                    </a:cubicBezTo>
                    <a:cubicBezTo>
                      <a:pt x="8" y="14"/>
                      <a:pt x="8" y="14"/>
                      <a:pt x="8" y="14"/>
                    </a:cubicBezTo>
                    <a:cubicBezTo>
                      <a:pt x="8" y="14"/>
                      <a:pt x="8" y="14"/>
                      <a:pt x="8" y="14"/>
                    </a:cubicBezTo>
                    <a:cubicBezTo>
                      <a:pt x="8" y="14"/>
                      <a:pt x="8" y="14"/>
                      <a:pt x="8" y="14"/>
                    </a:cubicBezTo>
                    <a:cubicBezTo>
                      <a:pt x="9" y="14"/>
                      <a:pt x="9" y="14"/>
                      <a:pt x="9" y="14"/>
                    </a:cubicBezTo>
                    <a:cubicBezTo>
                      <a:pt x="10" y="13"/>
                      <a:pt x="10" y="13"/>
                      <a:pt x="10" y="13"/>
                    </a:cubicBezTo>
                    <a:cubicBezTo>
                      <a:pt x="10" y="12"/>
                      <a:pt x="10" y="12"/>
                      <a:pt x="10" y="12"/>
                    </a:cubicBezTo>
                    <a:cubicBezTo>
                      <a:pt x="10" y="11"/>
                      <a:pt x="10" y="11"/>
                      <a:pt x="9" y="11"/>
                    </a:cubicBezTo>
                    <a:cubicBezTo>
                      <a:pt x="9" y="10"/>
                      <a:pt x="9" y="10"/>
                      <a:pt x="9" y="10"/>
                    </a:cubicBezTo>
                    <a:cubicBezTo>
                      <a:pt x="8" y="10"/>
                      <a:pt x="8" y="9"/>
                      <a:pt x="8" y="9"/>
                    </a:cubicBezTo>
                    <a:cubicBezTo>
                      <a:pt x="8" y="9"/>
                      <a:pt x="8" y="9"/>
                      <a:pt x="7" y="8"/>
                    </a:cubicBezTo>
                    <a:cubicBezTo>
                      <a:pt x="7" y="8"/>
                      <a:pt x="7" y="8"/>
                      <a:pt x="7" y="7"/>
                    </a:cubicBezTo>
                    <a:cubicBezTo>
                      <a:pt x="7" y="7"/>
                      <a:pt x="7" y="7"/>
                      <a:pt x="7" y="7"/>
                    </a:cubicBezTo>
                    <a:cubicBezTo>
                      <a:pt x="7" y="6"/>
                      <a:pt x="7" y="6"/>
                      <a:pt x="7" y="6"/>
                    </a:cubicBezTo>
                    <a:cubicBezTo>
                      <a:pt x="8" y="6"/>
                      <a:pt x="8" y="6"/>
                      <a:pt x="8" y="6"/>
                    </a:cubicBezTo>
                    <a:cubicBezTo>
                      <a:pt x="8" y="5"/>
                      <a:pt x="8" y="5"/>
                      <a:pt x="8" y="5"/>
                    </a:cubicBezTo>
                    <a:cubicBezTo>
                      <a:pt x="8" y="4"/>
                      <a:pt x="7" y="4"/>
                      <a:pt x="7" y="4"/>
                    </a:cubicBezTo>
                    <a:cubicBezTo>
                      <a:pt x="7" y="4"/>
                      <a:pt x="7" y="4"/>
                      <a:pt x="6" y="4"/>
                    </a:cubicBezTo>
                    <a:cubicBezTo>
                      <a:pt x="6" y="4"/>
                      <a:pt x="6" y="4"/>
                      <a:pt x="5" y="4"/>
                    </a:cubicBezTo>
                    <a:cubicBezTo>
                      <a:pt x="5" y="4"/>
                      <a:pt x="5" y="3"/>
                      <a:pt x="4" y="3"/>
                    </a:cubicBezTo>
                    <a:cubicBezTo>
                      <a:pt x="4" y="3"/>
                      <a:pt x="4" y="2"/>
                      <a:pt x="4" y="2"/>
                    </a:cubicBezTo>
                    <a:cubicBezTo>
                      <a:pt x="4" y="2"/>
                      <a:pt x="4" y="1"/>
                      <a:pt x="4" y="1"/>
                    </a:cubicBezTo>
                    <a:cubicBezTo>
                      <a:pt x="4" y="1"/>
                      <a:pt x="4" y="1"/>
                      <a:pt x="4" y="1"/>
                    </a:cubicBezTo>
                    <a:cubicBezTo>
                      <a:pt x="4" y="0"/>
                      <a:pt x="3" y="0"/>
                      <a:pt x="3" y="0"/>
                    </a:cubicBezTo>
                    <a:cubicBezTo>
                      <a:pt x="3" y="1"/>
                      <a:pt x="3" y="1"/>
                      <a:pt x="2" y="1"/>
                    </a:cubicBezTo>
                    <a:cubicBezTo>
                      <a:pt x="2" y="1"/>
                      <a:pt x="2" y="1"/>
                      <a:pt x="2" y="1"/>
                    </a:cubicBezTo>
                    <a:cubicBezTo>
                      <a:pt x="1" y="2"/>
                      <a:pt x="1" y="2"/>
                      <a:pt x="1" y="2"/>
                    </a:cubicBezTo>
                    <a:cubicBezTo>
                      <a:pt x="1" y="2"/>
                      <a:pt x="1" y="3"/>
                      <a:pt x="1" y="3"/>
                    </a:cubicBezTo>
                    <a:cubicBezTo>
                      <a:pt x="1" y="3"/>
                      <a:pt x="1" y="4"/>
                      <a:pt x="1" y="4"/>
                    </a:cubicBezTo>
                    <a:cubicBezTo>
                      <a:pt x="1" y="4"/>
                      <a:pt x="1" y="4"/>
                      <a:pt x="1" y="4"/>
                    </a:cubicBezTo>
                    <a:cubicBezTo>
                      <a:pt x="2" y="4"/>
                      <a:pt x="2" y="4"/>
                      <a:pt x="2" y="5"/>
                    </a:cubicBezTo>
                    <a:cubicBezTo>
                      <a:pt x="2" y="5"/>
                      <a:pt x="2" y="5"/>
                      <a:pt x="3" y="5"/>
                    </a:cubicBezTo>
                    <a:cubicBezTo>
                      <a:pt x="3" y="5"/>
                      <a:pt x="3" y="5"/>
                      <a:pt x="3" y="6"/>
                    </a:cubicBezTo>
                    <a:cubicBezTo>
                      <a:pt x="2" y="6"/>
                      <a:pt x="2" y="6"/>
                      <a:pt x="2" y="6"/>
                    </a:cubicBezTo>
                    <a:cubicBezTo>
                      <a:pt x="2" y="6"/>
                      <a:pt x="2" y="6"/>
                      <a:pt x="1" y="6"/>
                    </a:cubicBezTo>
                    <a:cubicBezTo>
                      <a:pt x="1" y="6"/>
                      <a:pt x="1" y="6"/>
                      <a:pt x="0" y="6"/>
                    </a:cubicBezTo>
                    <a:cubicBezTo>
                      <a:pt x="0" y="6"/>
                      <a:pt x="0" y="6"/>
                      <a:pt x="0" y="6"/>
                    </a:cubicBezTo>
                    <a:cubicBezTo>
                      <a:pt x="0" y="7"/>
                      <a:pt x="0" y="7"/>
                      <a:pt x="0" y="7"/>
                    </a:cubicBezTo>
                    <a:cubicBezTo>
                      <a:pt x="0" y="7"/>
                      <a:pt x="0" y="7"/>
                      <a:pt x="0" y="7"/>
                    </a:cubicBezTo>
                    <a:cubicBezTo>
                      <a:pt x="0" y="7"/>
                      <a:pt x="0" y="8"/>
                      <a:pt x="0" y="8"/>
                    </a:cubicBezTo>
                    <a:cubicBezTo>
                      <a:pt x="0" y="8"/>
                      <a:pt x="0" y="8"/>
                      <a:pt x="1" y="9"/>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77" name="Freeform 198"/>
              <p:cNvSpPr>
                <a:spLocks/>
              </p:cNvSpPr>
              <p:nvPr/>
            </p:nvSpPr>
            <p:spPr bwMode="gray">
              <a:xfrm>
                <a:off x="2005" y="2635"/>
                <a:ext cx="376" cy="544"/>
              </a:xfrm>
              <a:custGeom>
                <a:avLst/>
                <a:gdLst>
                  <a:gd name="T0" fmla="*/ 138 w 143"/>
                  <a:gd name="T1" fmla="*/ 89 h 207"/>
                  <a:gd name="T2" fmla="*/ 138 w 143"/>
                  <a:gd name="T3" fmla="*/ 77 h 207"/>
                  <a:gd name="T4" fmla="*/ 133 w 143"/>
                  <a:gd name="T5" fmla="*/ 64 h 207"/>
                  <a:gd name="T6" fmla="*/ 133 w 143"/>
                  <a:gd name="T7" fmla="*/ 49 h 207"/>
                  <a:gd name="T8" fmla="*/ 127 w 143"/>
                  <a:gd name="T9" fmla="*/ 35 h 207"/>
                  <a:gd name="T10" fmla="*/ 121 w 143"/>
                  <a:gd name="T11" fmla="*/ 27 h 207"/>
                  <a:gd name="T12" fmla="*/ 113 w 143"/>
                  <a:gd name="T13" fmla="*/ 22 h 207"/>
                  <a:gd name="T14" fmla="*/ 107 w 143"/>
                  <a:gd name="T15" fmla="*/ 17 h 207"/>
                  <a:gd name="T16" fmla="*/ 103 w 143"/>
                  <a:gd name="T17" fmla="*/ 17 h 207"/>
                  <a:gd name="T18" fmla="*/ 100 w 143"/>
                  <a:gd name="T19" fmla="*/ 18 h 207"/>
                  <a:gd name="T20" fmla="*/ 91 w 143"/>
                  <a:gd name="T21" fmla="*/ 24 h 207"/>
                  <a:gd name="T22" fmla="*/ 85 w 143"/>
                  <a:gd name="T23" fmla="*/ 30 h 207"/>
                  <a:gd name="T24" fmla="*/ 76 w 143"/>
                  <a:gd name="T25" fmla="*/ 33 h 207"/>
                  <a:gd name="T26" fmla="*/ 78 w 143"/>
                  <a:gd name="T27" fmla="*/ 26 h 207"/>
                  <a:gd name="T28" fmla="*/ 74 w 143"/>
                  <a:gd name="T29" fmla="*/ 18 h 207"/>
                  <a:gd name="T30" fmla="*/ 64 w 143"/>
                  <a:gd name="T31" fmla="*/ 14 h 207"/>
                  <a:gd name="T32" fmla="*/ 65 w 143"/>
                  <a:gd name="T33" fmla="*/ 7 h 207"/>
                  <a:gd name="T34" fmla="*/ 51 w 143"/>
                  <a:gd name="T35" fmla="*/ 1 h 207"/>
                  <a:gd name="T36" fmla="*/ 46 w 143"/>
                  <a:gd name="T37" fmla="*/ 8 h 207"/>
                  <a:gd name="T38" fmla="*/ 45 w 143"/>
                  <a:gd name="T39" fmla="*/ 17 h 207"/>
                  <a:gd name="T40" fmla="*/ 47 w 143"/>
                  <a:gd name="T41" fmla="*/ 23 h 207"/>
                  <a:gd name="T42" fmla="*/ 51 w 143"/>
                  <a:gd name="T43" fmla="*/ 31 h 207"/>
                  <a:gd name="T44" fmla="*/ 44 w 143"/>
                  <a:gd name="T45" fmla="*/ 31 h 207"/>
                  <a:gd name="T46" fmla="*/ 39 w 143"/>
                  <a:gd name="T47" fmla="*/ 38 h 207"/>
                  <a:gd name="T48" fmla="*/ 36 w 143"/>
                  <a:gd name="T49" fmla="*/ 38 h 207"/>
                  <a:gd name="T50" fmla="*/ 27 w 143"/>
                  <a:gd name="T51" fmla="*/ 36 h 207"/>
                  <a:gd name="T52" fmla="*/ 20 w 143"/>
                  <a:gd name="T53" fmla="*/ 41 h 207"/>
                  <a:gd name="T54" fmla="*/ 24 w 143"/>
                  <a:gd name="T55" fmla="*/ 46 h 207"/>
                  <a:gd name="T56" fmla="*/ 20 w 143"/>
                  <a:gd name="T57" fmla="*/ 60 h 207"/>
                  <a:gd name="T58" fmla="*/ 14 w 143"/>
                  <a:gd name="T59" fmla="*/ 66 h 207"/>
                  <a:gd name="T60" fmla="*/ 19 w 143"/>
                  <a:gd name="T61" fmla="*/ 74 h 207"/>
                  <a:gd name="T62" fmla="*/ 11 w 143"/>
                  <a:gd name="T63" fmla="*/ 82 h 207"/>
                  <a:gd name="T64" fmla="*/ 1 w 143"/>
                  <a:gd name="T65" fmla="*/ 85 h 207"/>
                  <a:gd name="T66" fmla="*/ 2 w 143"/>
                  <a:gd name="T67" fmla="*/ 99 h 207"/>
                  <a:gd name="T68" fmla="*/ 1 w 143"/>
                  <a:gd name="T69" fmla="*/ 109 h 207"/>
                  <a:gd name="T70" fmla="*/ 4 w 143"/>
                  <a:gd name="T71" fmla="*/ 119 h 207"/>
                  <a:gd name="T72" fmla="*/ 0 w 143"/>
                  <a:gd name="T73" fmla="*/ 132 h 207"/>
                  <a:gd name="T74" fmla="*/ 4 w 143"/>
                  <a:gd name="T75" fmla="*/ 144 h 207"/>
                  <a:gd name="T76" fmla="*/ 9 w 143"/>
                  <a:gd name="T77" fmla="*/ 155 h 207"/>
                  <a:gd name="T78" fmla="*/ 18 w 143"/>
                  <a:gd name="T79" fmla="*/ 156 h 207"/>
                  <a:gd name="T80" fmla="*/ 30 w 143"/>
                  <a:gd name="T81" fmla="*/ 160 h 207"/>
                  <a:gd name="T82" fmla="*/ 26 w 143"/>
                  <a:gd name="T83" fmla="*/ 172 h 207"/>
                  <a:gd name="T84" fmla="*/ 20 w 143"/>
                  <a:gd name="T85" fmla="*/ 190 h 207"/>
                  <a:gd name="T86" fmla="*/ 23 w 143"/>
                  <a:gd name="T87" fmla="*/ 199 h 207"/>
                  <a:gd name="T88" fmla="*/ 33 w 143"/>
                  <a:gd name="T89" fmla="*/ 198 h 207"/>
                  <a:gd name="T90" fmla="*/ 37 w 143"/>
                  <a:gd name="T91" fmla="*/ 193 h 207"/>
                  <a:gd name="T92" fmla="*/ 43 w 143"/>
                  <a:gd name="T93" fmla="*/ 195 h 207"/>
                  <a:gd name="T94" fmla="*/ 45 w 143"/>
                  <a:gd name="T95" fmla="*/ 193 h 207"/>
                  <a:gd name="T96" fmla="*/ 58 w 143"/>
                  <a:gd name="T97" fmla="*/ 199 h 207"/>
                  <a:gd name="T98" fmla="*/ 64 w 143"/>
                  <a:gd name="T99" fmla="*/ 207 h 207"/>
                  <a:gd name="T100" fmla="*/ 70 w 143"/>
                  <a:gd name="T101" fmla="*/ 200 h 207"/>
                  <a:gd name="T102" fmla="*/ 80 w 143"/>
                  <a:gd name="T103" fmla="*/ 204 h 207"/>
                  <a:gd name="T104" fmla="*/ 97 w 143"/>
                  <a:gd name="T105" fmla="*/ 199 h 207"/>
                  <a:gd name="T106" fmla="*/ 107 w 143"/>
                  <a:gd name="T107" fmla="*/ 198 h 207"/>
                  <a:gd name="T108" fmla="*/ 113 w 143"/>
                  <a:gd name="T109" fmla="*/ 202 h 207"/>
                  <a:gd name="T110" fmla="*/ 110 w 143"/>
                  <a:gd name="T111" fmla="*/ 190 h 207"/>
                  <a:gd name="T112" fmla="*/ 115 w 143"/>
                  <a:gd name="T113" fmla="*/ 181 h 207"/>
                  <a:gd name="T114" fmla="*/ 118 w 143"/>
                  <a:gd name="T115" fmla="*/ 163 h 207"/>
                  <a:gd name="T116" fmla="*/ 104 w 143"/>
                  <a:gd name="T117" fmla="*/ 146 h 207"/>
                  <a:gd name="T118" fmla="*/ 106 w 143"/>
                  <a:gd name="T119" fmla="*/ 124 h 207"/>
                  <a:gd name="T120" fmla="*/ 130 w 143"/>
                  <a:gd name="T121" fmla="*/ 113 h 207"/>
                  <a:gd name="T122" fmla="*/ 138 w 143"/>
                  <a:gd name="T123" fmla="*/ 112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3" h="207">
                    <a:moveTo>
                      <a:pt x="142" y="99"/>
                    </a:moveTo>
                    <a:cubicBezTo>
                      <a:pt x="142" y="98"/>
                      <a:pt x="142" y="98"/>
                      <a:pt x="142" y="98"/>
                    </a:cubicBezTo>
                    <a:cubicBezTo>
                      <a:pt x="142" y="97"/>
                      <a:pt x="142" y="97"/>
                      <a:pt x="142" y="97"/>
                    </a:cubicBezTo>
                    <a:cubicBezTo>
                      <a:pt x="142" y="97"/>
                      <a:pt x="142" y="96"/>
                      <a:pt x="142" y="96"/>
                    </a:cubicBezTo>
                    <a:cubicBezTo>
                      <a:pt x="142" y="96"/>
                      <a:pt x="142" y="96"/>
                      <a:pt x="142" y="95"/>
                    </a:cubicBezTo>
                    <a:cubicBezTo>
                      <a:pt x="142" y="95"/>
                      <a:pt x="142" y="95"/>
                      <a:pt x="142" y="94"/>
                    </a:cubicBezTo>
                    <a:cubicBezTo>
                      <a:pt x="141" y="94"/>
                      <a:pt x="141" y="94"/>
                      <a:pt x="141" y="94"/>
                    </a:cubicBezTo>
                    <a:cubicBezTo>
                      <a:pt x="140" y="93"/>
                      <a:pt x="140" y="93"/>
                      <a:pt x="139" y="93"/>
                    </a:cubicBezTo>
                    <a:cubicBezTo>
                      <a:pt x="139" y="93"/>
                      <a:pt x="139" y="93"/>
                      <a:pt x="138" y="93"/>
                    </a:cubicBezTo>
                    <a:cubicBezTo>
                      <a:pt x="138" y="93"/>
                      <a:pt x="139" y="92"/>
                      <a:pt x="139" y="92"/>
                    </a:cubicBezTo>
                    <a:cubicBezTo>
                      <a:pt x="139" y="92"/>
                      <a:pt x="139" y="92"/>
                      <a:pt x="139" y="92"/>
                    </a:cubicBezTo>
                    <a:cubicBezTo>
                      <a:pt x="139" y="91"/>
                      <a:pt x="139" y="91"/>
                      <a:pt x="139" y="91"/>
                    </a:cubicBezTo>
                    <a:cubicBezTo>
                      <a:pt x="139" y="90"/>
                      <a:pt x="139" y="90"/>
                      <a:pt x="139" y="90"/>
                    </a:cubicBezTo>
                    <a:cubicBezTo>
                      <a:pt x="139" y="90"/>
                      <a:pt x="139" y="90"/>
                      <a:pt x="138" y="90"/>
                    </a:cubicBezTo>
                    <a:cubicBezTo>
                      <a:pt x="138" y="90"/>
                      <a:pt x="138" y="89"/>
                      <a:pt x="138" y="89"/>
                    </a:cubicBezTo>
                    <a:cubicBezTo>
                      <a:pt x="138" y="89"/>
                      <a:pt x="138" y="89"/>
                      <a:pt x="138" y="89"/>
                    </a:cubicBezTo>
                    <a:cubicBezTo>
                      <a:pt x="137" y="89"/>
                      <a:pt x="137" y="89"/>
                      <a:pt x="137" y="88"/>
                    </a:cubicBezTo>
                    <a:cubicBezTo>
                      <a:pt x="137" y="88"/>
                      <a:pt x="137" y="88"/>
                      <a:pt x="137" y="88"/>
                    </a:cubicBezTo>
                    <a:cubicBezTo>
                      <a:pt x="137" y="88"/>
                      <a:pt x="137" y="88"/>
                      <a:pt x="137" y="88"/>
                    </a:cubicBezTo>
                    <a:cubicBezTo>
                      <a:pt x="137" y="87"/>
                      <a:pt x="137" y="87"/>
                      <a:pt x="137" y="87"/>
                    </a:cubicBezTo>
                    <a:cubicBezTo>
                      <a:pt x="136" y="87"/>
                      <a:pt x="136" y="87"/>
                      <a:pt x="136" y="87"/>
                    </a:cubicBezTo>
                    <a:cubicBezTo>
                      <a:pt x="136" y="86"/>
                      <a:pt x="136" y="86"/>
                      <a:pt x="136" y="86"/>
                    </a:cubicBezTo>
                    <a:cubicBezTo>
                      <a:pt x="136" y="86"/>
                      <a:pt x="136" y="85"/>
                      <a:pt x="136" y="85"/>
                    </a:cubicBezTo>
                    <a:cubicBezTo>
                      <a:pt x="136" y="85"/>
                      <a:pt x="136" y="85"/>
                      <a:pt x="137" y="84"/>
                    </a:cubicBezTo>
                    <a:cubicBezTo>
                      <a:pt x="137" y="84"/>
                      <a:pt x="137" y="84"/>
                      <a:pt x="137" y="84"/>
                    </a:cubicBezTo>
                    <a:cubicBezTo>
                      <a:pt x="137" y="84"/>
                      <a:pt x="137" y="83"/>
                      <a:pt x="137" y="83"/>
                    </a:cubicBezTo>
                    <a:cubicBezTo>
                      <a:pt x="137" y="83"/>
                      <a:pt x="137" y="83"/>
                      <a:pt x="137" y="82"/>
                    </a:cubicBezTo>
                    <a:cubicBezTo>
                      <a:pt x="137" y="82"/>
                      <a:pt x="137" y="82"/>
                      <a:pt x="137" y="81"/>
                    </a:cubicBezTo>
                    <a:cubicBezTo>
                      <a:pt x="138" y="81"/>
                      <a:pt x="138" y="81"/>
                      <a:pt x="138" y="81"/>
                    </a:cubicBezTo>
                    <a:cubicBezTo>
                      <a:pt x="138" y="80"/>
                      <a:pt x="138" y="80"/>
                      <a:pt x="138" y="80"/>
                    </a:cubicBezTo>
                    <a:cubicBezTo>
                      <a:pt x="138" y="79"/>
                      <a:pt x="138" y="79"/>
                      <a:pt x="138" y="79"/>
                    </a:cubicBezTo>
                    <a:cubicBezTo>
                      <a:pt x="138" y="78"/>
                      <a:pt x="138" y="78"/>
                      <a:pt x="138" y="77"/>
                    </a:cubicBezTo>
                    <a:cubicBezTo>
                      <a:pt x="138" y="77"/>
                      <a:pt x="138" y="77"/>
                      <a:pt x="138" y="76"/>
                    </a:cubicBezTo>
                    <a:cubicBezTo>
                      <a:pt x="137" y="75"/>
                      <a:pt x="137" y="75"/>
                      <a:pt x="137" y="75"/>
                    </a:cubicBezTo>
                    <a:cubicBezTo>
                      <a:pt x="137" y="74"/>
                      <a:pt x="137" y="74"/>
                      <a:pt x="137" y="74"/>
                    </a:cubicBezTo>
                    <a:cubicBezTo>
                      <a:pt x="137" y="74"/>
                      <a:pt x="136" y="74"/>
                      <a:pt x="136" y="74"/>
                    </a:cubicBezTo>
                    <a:cubicBezTo>
                      <a:pt x="136" y="73"/>
                      <a:pt x="136" y="73"/>
                      <a:pt x="135" y="73"/>
                    </a:cubicBezTo>
                    <a:cubicBezTo>
                      <a:pt x="135" y="73"/>
                      <a:pt x="135" y="72"/>
                      <a:pt x="135" y="72"/>
                    </a:cubicBezTo>
                    <a:cubicBezTo>
                      <a:pt x="135" y="72"/>
                      <a:pt x="135" y="72"/>
                      <a:pt x="135" y="71"/>
                    </a:cubicBezTo>
                    <a:cubicBezTo>
                      <a:pt x="135" y="71"/>
                      <a:pt x="135" y="71"/>
                      <a:pt x="135" y="70"/>
                    </a:cubicBezTo>
                    <a:cubicBezTo>
                      <a:pt x="135" y="70"/>
                      <a:pt x="135" y="70"/>
                      <a:pt x="135" y="69"/>
                    </a:cubicBezTo>
                    <a:cubicBezTo>
                      <a:pt x="135" y="69"/>
                      <a:pt x="136" y="69"/>
                      <a:pt x="136" y="69"/>
                    </a:cubicBezTo>
                    <a:cubicBezTo>
                      <a:pt x="136" y="68"/>
                      <a:pt x="136" y="68"/>
                      <a:pt x="136" y="68"/>
                    </a:cubicBezTo>
                    <a:cubicBezTo>
                      <a:pt x="136" y="68"/>
                      <a:pt x="136" y="68"/>
                      <a:pt x="136" y="67"/>
                    </a:cubicBezTo>
                    <a:cubicBezTo>
                      <a:pt x="136" y="67"/>
                      <a:pt x="136" y="67"/>
                      <a:pt x="136" y="66"/>
                    </a:cubicBezTo>
                    <a:cubicBezTo>
                      <a:pt x="136" y="66"/>
                      <a:pt x="136" y="66"/>
                      <a:pt x="135" y="66"/>
                    </a:cubicBezTo>
                    <a:cubicBezTo>
                      <a:pt x="135" y="65"/>
                      <a:pt x="135" y="65"/>
                      <a:pt x="134" y="65"/>
                    </a:cubicBezTo>
                    <a:cubicBezTo>
                      <a:pt x="134" y="64"/>
                      <a:pt x="134" y="64"/>
                      <a:pt x="133" y="64"/>
                    </a:cubicBezTo>
                    <a:cubicBezTo>
                      <a:pt x="133" y="63"/>
                      <a:pt x="133" y="63"/>
                      <a:pt x="133" y="63"/>
                    </a:cubicBezTo>
                    <a:cubicBezTo>
                      <a:pt x="132" y="62"/>
                      <a:pt x="132" y="62"/>
                      <a:pt x="132" y="62"/>
                    </a:cubicBezTo>
                    <a:cubicBezTo>
                      <a:pt x="132" y="62"/>
                      <a:pt x="131" y="62"/>
                      <a:pt x="131" y="61"/>
                    </a:cubicBezTo>
                    <a:cubicBezTo>
                      <a:pt x="131" y="61"/>
                      <a:pt x="131" y="61"/>
                      <a:pt x="131" y="61"/>
                    </a:cubicBezTo>
                    <a:cubicBezTo>
                      <a:pt x="130" y="61"/>
                      <a:pt x="130" y="60"/>
                      <a:pt x="129" y="60"/>
                    </a:cubicBezTo>
                    <a:cubicBezTo>
                      <a:pt x="129" y="60"/>
                      <a:pt x="129" y="60"/>
                      <a:pt x="129" y="60"/>
                    </a:cubicBezTo>
                    <a:cubicBezTo>
                      <a:pt x="128" y="59"/>
                      <a:pt x="128" y="59"/>
                      <a:pt x="127" y="59"/>
                    </a:cubicBezTo>
                    <a:cubicBezTo>
                      <a:pt x="127" y="59"/>
                      <a:pt x="127" y="59"/>
                      <a:pt x="127" y="58"/>
                    </a:cubicBezTo>
                    <a:cubicBezTo>
                      <a:pt x="128" y="58"/>
                      <a:pt x="128" y="58"/>
                      <a:pt x="128" y="57"/>
                    </a:cubicBezTo>
                    <a:cubicBezTo>
                      <a:pt x="128" y="57"/>
                      <a:pt x="128" y="57"/>
                      <a:pt x="128" y="57"/>
                    </a:cubicBezTo>
                    <a:cubicBezTo>
                      <a:pt x="128" y="56"/>
                      <a:pt x="129" y="56"/>
                      <a:pt x="129" y="56"/>
                    </a:cubicBezTo>
                    <a:cubicBezTo>
                      <a:pt x="129" y="56"/>
                      <a:pt x="129" y="55"/>
                      <a:pt x="130" y="55"/>
                    </a:cubicBezTo>
                    <a:cubicBezTo>
                      <a:pt x="130" y="55"/>
                      <a:pt x="130" y="54"/>
                      <a:pt x="130" y="54"/>
                    </a:cubicBezTo>
                    <a:cubicBezTo>
                      <a:pt x="130" y="53"/>
                      <a:pt x="131" y="53"/>
                      <a:pt x="131" y="52"/>
                    </a:cubicBezTo>
                    <a:cubicBezTo>
                      <a:pt x="132" y="51"/>
                      <a:pt x="132" y="51"/>
                      <a:pt x="132" y="50"/>
                    </a:cubicBezTo>
                    <a:cubicBezTo>
                      <a:pt x="132" y="50"/>
                      <a:pt x="133" y="49"/>
                      <a:pt x="133" y="49"/>
                    </a:cubicBezTo>
                    <a:cubicBezTo>
                      <a:pt x="133" y="48"/>
                      <a:pt x="133" y="48"/>
                      <a:pt x="133" y="48"/>
                    </a:cubicBezTo>
                    <a:cubicBezTo>
                      <a:pt x="132" y="47"/>
                      <a:pt x="132" y="47"/>
                      <a:pt x="132" y="47"/>
                    </a:cubicBezTo>
                    <a:cubicBezTo>
                      <a:pt x="132" y="46"/>
                      <a:pt x="132" y="46"/>
                      <a:pt x="131" y="46"/>
                    </a:cubicBezTo>
                    <a:cubicBezTo>
                      <a:pt x="131" y="45"/>
                      <a:pt x="132" y="45"/>
                      <a:pt x="132" y="45"/>
                    </a:cubicBezTo>
                    <a:cubicBezTo>
                      <a:pt x="131" y="44"/>
                      <a:pt x="131" y="44"/>
                      <a:pt x="131" y="44"/>
                    </a:cubicBezTo>
                    <a:cubicBezTo>
                      <a:pt x="131" y="43"/>
                      <a:pt x="131" y="43"/>
                      <a:pt x="131" y="43"/>
                    </a:cubicBezTo>
                    <a:cubicBezTo>
                      <a:pt x="131" y="43"/>
                      <a:pt x="131" y="43"/>
                      <a:pt x="131" y="42"/>
                    </a:cubicBezTo>
                    <a:cubicBezTo>
                      <a:pt x="131" y="42"/>
                      <a:pt x="131" y="41"/>
                      <a:pt x="131" y="41"/>
                    </a:cubicBezTo>
                    <a:cubicBezTo>
                      <a:pt x="131" y="40"/>
                      <a:pt x="130" y="40"/>
                      <a:pt x="130" y="39"/>
                    </a:cubicBezTo>
                    <a:cubicBezTo>
                      <a:pt x="130" y="39"/>
                      <a:pt x="130" y="39"/>
                      <a:pt x="130" y="38"/>
                    </a:cubicBezTo>
                    <a:cubicBezTo>
                      <a:pt x="130" y="38"/>
                      <a:pt x="130" y="38"/>
                      <a:pt x="130" y="37"/>
                    </a:cubicBezTo>
                    <a:cubicBezTo>
                      <a:pt x="130" y="37"/>
                      <a:pt x="130" y="37"/>
                      <a:pt x="130" y="36"/>
                    </a:cubicBezTo>
                    <a:cubicBezTo>
                      <a:pt x="130" y="36"/>
                      <a:pt x="129" y="36"/>
                      <a:pt x="129" y="35"/>
                    </a:cubicBezTo>
                    <a:cubicBezTo>
                      <a:pt x="129" y="35"/>
                      <a:pt x="129" y="35"/>
                      <a:pt x="129" y="35"/>
                    </a:cubicBezTo>
                    <a:cubicBezTo>
                      <a:pt x="128" y="35"/>
                      <a:pt x="128" y="35"/>
                      <a:pt x="128" y="35"/>
                    </a:cubicBezTo>
                    <a:cubicBezTo>
                      <a:pt x="127" y="35"/>
                      <a:pt x="127" y="35"/>
                      <a:pt x="127" y="35"/>
                    </a:cubicBezTo>
                    <a:cubicBezTo>
                      <a:pt x="127" y="35"/>
                      <a:pt x="127" y="35"/>
                      <a:pt x="126" y="35"/>
                    </a:cubicBezTo>
                    <a:cubicBezTo>
                      <a:pt x="126" y="35"/>
                      <a:pt x="126" y="35"/>
                      <a:pt x="126" y="34"/>
                    </a:cubicBezTo>
                    <a:cubicBezTo>
                      <a:pt x="126" y="34"/>
                      <a:pt x="126" y="34"/>
                      <a:pt x="126" y="34"/>
                    </a:cubicBezTo>
                    <a:cubicBezTo>
                      <a:pt x="126" y="34"/>
                      <a:pt x="125" y="34"/>
                      <a:pt x="125" y="34"/>
                    </a:cubicBezTo>
                    <a:cubicBezTo>
                      <a:pt x="125" y="34"/>
                      <a:pt x="125" y="34"/>
                      <a:pt x="124" y="34"/>
                    </a:cubicBezTo>
                    <a:cubicBezTo>
                      <a:pt x="124" y="34"/>
                      <a:pt x="124" y="34"/>
                      <a:pt x="123" y="33"/>
                    </a:cubicBezTo>
                    <a:cubicBezTo>
                      <a:pt x="123" y="33"/>
                      <a:pt x="123" y="33"/>
                      <a:pt x="123" y="33"/>
                    </a:cubicBezTo>
                    <a:cubicBezTo>
                      <a:pt x="123" y="33"/>
                      <a:pt x="123" y="32"/>
                      <a:pt x="123" y="32"/>
                    </a:cubicBezTo>
                    <a:cubicBezTo>
                      <a:pt x="123" y="32"/>
                      <a:pt x="123" y="31"/>
                      <a:pt x="123" y="31"/>
                    </a:cubicBezTo>
                    <a:cubicBezTo>
                      <a:pt x="123" y="31"/>
                      <a:pt x="122" y="31"/>
                      <a:pt x="122" y="30"/>
                    </a:cubicBezTo>
                    <a:cubicBezTo>
                      <a:pt x="122" y="30"/>
                      <a:pt x="122" y="30"/>
                      <a:pt x="122" y="30"/>
                    </a:cubicBezTo>
                    <a:cubicBezTo>
                      <a:pt x="122" y="29"/>
                      <a:pt x="122" y="29"/>
                      <a:pt x="122" y="29"/>
                    </a:cubicBezTo>
                    <a:cubicBezTo>
                      <a:pt x="122" y="29"/>
                      <a:pt x="122" y="29"/>
                      <a:pt x="122" y="28"/>
                    </a:cubicBezTo>
                    <a:cubicBezTo>
                      <a:pt x="122" y="28"/>
                      <a:pt x="122" y="28"/>
                      <a:pt x="122" y="28"/>
                    </a:cubicBezTo>
                    <a:cubicBezTo>
                      <a:pt x="122" y="28"/>
                      <a:pt x="122" y="28"/>
                      <a:pt x="121" y="27"/>
                    </a:cubicBezTo>
                    <a:cubicBezTo>
                      <a:pt x="121" y="27"/>
                      <a:pt x="121" y="27"/>
                      <a:pt x="121" y="27"/>
                    </a:cubicBezTo>
                    <a:cubicBezTo>
                      <a:pt x="121" y="26"/>
                      <a:pt x="121" y="26"/>
                      <a:pt x="121" y="26"/>
                    </a:cubicBezTo>
                    <a:cubicBezTo>
                      <a:pt x="121" y="26"/>
                      <a:pt x="121" y="26"/>
                      <a:pt x="121" y="25"/>
                    </a:cubicBezTo>
                    <a:cubicBezTo>
                      <a:pt x="121" y="25"/>
                      <a:pt x="121" y="25"/>
                      <a:pt x="122" y="25"/>
                    </a:cubicBezTo>
                    <a:cubicBezTo>
                      <a:pt x="122" y="24"/>
                      <a:pt x="122" y="24"/>
                      <a:pt x="122" y="24"/>
                    </a:cubicBezTo>
                    <a:cubicBezTo>
                      <a:pt x="121" y="24"/>
                      <a:pt x="121" y="24"/>
                      <a:pt x="121" y="23"/>
                    </a:cubicBezTo>
                    <a:cubicBezTo>
                      <a:pt x="121" y="23"/>
                      <a:pt x="121" y="23"/>
                      <a:pt x="120" y="23"/>
                    </a:cubicBezTo>
                    <a:cubicBezTo>
                      <a:pt x="120" y="23"/>
                      <a:pt x="120" y="23"/>
                      <a:pt x="119" y="23"/>
                    </a:cubicBezTo>
                    <a:cubicBezTo>
                      <a:pt x="119" y="23"/>
                      <a:pt x="119" y="23"/>
                      <a:pt x="118" y="23"/>
                    </a:cubicBezTo>
                    <a:cubicBezTo>
                      <a:pt x="118" y="23"/>
                      <a:pt x="117" y="23"/>
                      <a:pt x="117" y="23"/>
                    </a:cubicBezTo>
                    <a:cubicBezTo>
                      <a:pt x="117" y="23"/>
                      <a:pt x="117" y="24"/>
                      <a:pt x="117" y="24"/>
                    </a:cubicBezTo>
                    <a:cubicBezTo>
                      <a:pt x="117" y="24"/>
                      <a:pt x="117" y="24"/>
                      <a:pt x="116" y="24"/>
                    </a:cubicBezTo>
                    <a:cubicBezTo>
                      <a:pt x="116" y="24"/>
                      <a:pt x="116" y="24"/>
                      <a:pt x="116" y="23"/>
                    </a:cubicBezTo>
                    <a:cubicBezTo>
                      <a:pt x="116" y="23"/>
                      <a:pt x="116" y="23"/>
                      <a:pt x="116" y="23"/>
                    </a:cubicBezTo>
                    <a:cubicBezTo>
                      <a:pt x="115" y="22"/>
                      <a:pt x="115" y="22"/>
                      <a:pt x="115" y="22"/>
                    </a:cubicBezTo>
                    <a:cubicBezTo>
                      <a:pt x="115" y="22"/>
                      <a:pt x="114" y="22"/>
                      <a:pt x="114" y="22"/>
                    </a:cubicBezTo>
                    <a:cubicBezTo>
                      <a:pt x="114" y="22"/>
                      <a:pt x="114" y="22"/>
                      <a:pt x="113" y="22"/>
                    </a:cubicBezTo>
                    <a:cubicBezTo>
                      <a:pt x="113" y="22"/>
                      <a:pt x="113" y="22"/>
                      <a:pt x="113" y="21"/>
                    </a:cubicBezTo>
                    <a:cubicBezTo>
                      <a:pt x="112" y="21"/>
                      <a:pt x="112" y="21"/>
                      <a:pt x="111" y="21"/>
                    </a:cubicBezTo>
                    <a:cubicBezTo>
                      <a:pt x="111" y="21"/>
                      <a:pt x="111" y="20"/>
                      <a:pt x="111" y="20"/>
                    </a:cubicBezTo>
                    <a:cubicBezTo>
                      <a:pt x="111" y="20"/>
                      <a:pt x="111" y="20"/>
                      <a:pt x="111" y="19"/>
                    </a:cubicBezTo>
                    <a:cubicBezTo>
                      <a:pt x="111" y="19"/>
                      <a:pt x="111" y="19"/>
                      <a:pt x="111" y="19"/>
                    </a:cubicBezTo>
                    <a:cubicBezTo>
                      <a:pt x="111" y="19"/>
                      <a:pt x="111" y="18"/>
                      <a:pt x="111" y="18"/>
                    </a:cubicBezTo>
                    <a:cubicBezTo>
                      <a:pt x="111" y="18"/>
                      <a:pt x="111" y="18"/>
                      <a:pt x="111" y="17"/>
                    </a:cubicBezTo>
                    <a:cubicBezTo>
                      <a:pt x="111" y="17"/>
                      <a:pt x="111" y="17"/>
                      <a:pt x="111" y="16"/>
                    </a:cubicBezTo>
                    <a:cubicBezTo>
                      <a:pt x="110" y="16"/>
                      <a:pt x="110" y="16"/>
                      <a:pt x="110" y="16"/>
                    </a:cubicBezTo>
                    <a:cubicBezTo>
                      <a:pt x="110" y="16"/>
                      <a:pt x="110" y="16"/>
                      <a:pt x="110" y="16"/>
                    </a:cubicBezTo>
                    <a:cubicBezTo>
                      <a:pt x="110" y="16"/>
                      <a:pt x="109" y="16"/>
                      <a:pt x="109" y="17"/>
                    </a:cubicBezTo>
                    <a:cubicBezTo>
                      <a:pt x="109" y="16"/>
                      <a:pt x="109" y="16"/>
                      <a:pt x="109" y="16"/>
                    </a:cubicBezTo>
                    <a:cubicBezTo>
                      <a:pt x="109" y="16"/>
                      <a:pt x="109" y="16"/>
                      <a:pt x="108" y="16"/>
                    </a:cubicBezTo>
                    <a:cubicBezTo>
                      <a:pt x="108" y="16"/>
                      <a:pt x="108" y="16"/>
                      <a:pt x="108" y="16"/>
                    </a:cubicBezTo>
                    <a:cubicBezTo>
                      <a:pt x="108" y="17"/>
                      <a:pt x="108" y="17"/>
                      <a:pt x="108" y="17"/>
                    </a:cubicBezTo>
                    <a:cubicBezTo>
                      <a:pt x="107" y="17"/>
                      <a:pt x="107" y="17"/>
                      <a:pt x="107" y="17"/>
                    </a:cubicBezTo>
                    <a:cubicBezTo>
                      <a:pt x="107" y="17"/>
                      <a:pt x="107" y="17"/>
                      <a:pt x="107" y="17"/>
                    </a:cubicBezTo>
                    <a:cubicBezTo>
                      <a:pt x="107" y="17"/>
                      <a:pt x="106" y="17"/>
                      <a:pt x="106" y="17"/>
                    </a:cubicBezTo>
                    <a:cubicBezTo>
                      <a:pt x="106" y="17"/>
                      <a:pt x="106" y="17"/>
                      <a:pt x="106" y="17"/>
                    </a:cubicBezTo>
                    <a:cubicBezTo>
                      <a:pt x="106" y="17"/>
                      <a:pt x="105" y="17"/>
                      <a:pt x="105" y="17"/>
                    </a:cubicBezTo>
                    <a:cubicBezTo>
                      <a:pt x="105" y="17"/>
                      <a:pt x="105" y="17"/>
                      <a:pt x="104" y="17"/>
                    </a:cubicBezTo>
                    <a:cubicBezTo>
                      <a:pt x="104" y="17"/>
                      <a:pt x="104" y="17"/>
                      <a:pt x="104" y="17"/>
                    </a:cubicBezTo>
                    <a:cubicBezTo>
                      <a:pt x="104" y="17"/>
                      <a:pt x="104" y="17"/>
                      <a:pt x="103" y="18"/>
                    </a:cubicBezTo>
                    <a:cubicBezTo>
                      <a:pt x="103" y="18"/>
                      <a:pt x="103" y="18"/>
                      <a:pt x="103" y="19"/>
                    </a:cubicBezTo>
                    <a:cubicBezTo>
                      <a:pt x="103" y="19"/>
                      <a:pt x="103" y="19"/>
                      <a:pt x="102" y="20"/>
                    </a:cubicBezTo>
                    <a:cubicBezTo>
                      <a:pt x="102" y="20"/>
                      <a:pt x="102" y="20"/>
                      <a:pt x="102" y="20"/>
                    </a:cubicBezTo>
                    <a:cubicBezTo>
                      <a:pt x="102" y="21"/>
                      <a:pt x="102" y="21"/>
                      <a:pt x="102" y="21"/>
                    </a:cubicBezTo>
                    <a:cubicBezTo>
                      <a:pt x="102" y="21"/>
                      <a:pt x="102" y="21"/>
                      <a:pt x="101" y="20"/>
                    </a:cubicBezTo>
                    <a:cubicBezTo>
                      <a:pt x="102" y="20"/>
                      <a:pt x="102" y="20"/>
                      <a:pt x="102" y="19"/>
                    </a:cubicBezTo>
                    <a:cubicBezTo>
                      <a:pt x="102" y="19"/>
                      <a:pt x="102" y="19"/>
                      <a:pt x="102" y="19"/>
                    </a:cubicBezTo>
                    <a:cubicBezTo>
                      <a:pt x="102" y="18"/>
                      <a:pt x="102" y="18"/>
                      <a:pt x="102" y="18"/>
                    </a:cubicBezTo>
                    <a:cubicBezTo>
                      <a:pt x="102" y="17"/>
                      <a:pt x="102" y="17"/>
                      <a:pt x="103" y="17"/>
                    </a:cubicBezTo>
                    <a:cubicBezTo>
                      <a:pt x="103" y="17"/>
                      <a:pt x="103" y="16"/>
                      <a:pt x="103" y="16"/>
                    </a:cubicBezTo>
                    <a:cubicBezTo>
                      <a:pt x="104" y="16"/>
                      <a:pt x="104" y="16"/>
                      <a:pt x="104" y="16"/>
                    </a:cubicBezTo>
                    <a:cubicBezTo>
                      <a:pt x="105" y="16"/>
                      <a:pt x="105" y="16"/>
                      <a:pt x="106" y="15"/>
                    </a:cubicBezTo>
                    <a:cubicBezTo>
                      <a:pt x="106" y="15"/>
                      <a:pt x="106" y="15"/>
                      <a:pt x="107" y="15"/>
                    </a:cubicBezTo>
                    <a:cubicBezTo>
                      <a:pt x="107" y="15"/>
                      <a:pt x="107" y="15"/>
                      <a:pt x="107" y="15"/>
                    </a:cubicBezTo>
                    <a:cubicBezTo>
                      <a:pt x="106" y="15"/>
                      <a:pt x="106" y="15"/>
                      <a:pt x="106" y="15"/>
                    </a:cubicBezTo>
                    <a:cubicBezTo>
                      <a:pt x="105" y="15"/>
                      <a:pt x="105" y="15"/>
                      <a:pt x="105" y="15"/>
                    </a:cubicBezTo>
                    <a:cubicBezTo>
                      <a:pt x="105" y="14"/>
                      <a:pt x="104" y="14"/>
                      <a:pt x="104" y="14"/>
                    </a:cubicBezTo>
                    <a:cubicBezTo>
                      <a:pt x="104" y="14"/>
                      <a:pt x="104" y="14"/>
                      <a:pt x="103" y="14"/>
                    </a:cubicBezTo>
                    <a:cubicBezTo>
                      <a:pt x="103" y="14"/>
                      <a:pt x="103" y="14"/>
                      <a:pt x="102" y="14"/>
                    </a:cubicBezTo>
                    <a:cubicBezTo>
                      <a:pt x="102" y="14"/>
                      <a:pt x="102" y="14"/>
                      <a:pt x="102" y="15"/>
                    </a:cubicBezTo>
                    <a:cubicBezTo>
                      <a:pt x="101" y="15"/>
                      <a:pt x="101" y="15"/>
                      <a:pt x="101" y="15"/>
                    </a:cubicBezTo>
                    <a:cubicBezTo>
                      <a:pt x="101" y="15"/>
                      <a:pt x="101" y="16"/>
                      <a:pt x="101" y="16"/>
                    </a:cubicBezTo>
                    <a:cubicBezTo>
                      <a:pt x="101" y="16"/>
                      <a:pt x="101" y="16"/>
                      <a:pt x="101" y="17"/>
                    </a:cubicBezTo>
                    <a:cubicBezTo>
                      <a:pt x="101" y="17"/>
                      <a:pt x="101" y="17"/>
                      <a:pt x="101" y="18"/>
                    </a:cubicBezTo>
                    <a:cubicBezTo>
                      <a:pt x="100" y="18"/>
                      <a:pt x="100" y="18"/>
                      <a:pt x="100" y="18"/>
                    </a:cubicBezTo>
                    <a:cubicBezTo>
                      <a:pt x="100" y="19"/>
                      <a:pt x="99" y="19"/>
                      <a:pt x="99" y="20"/>
                    </a:cubicBezTo>
                    <a:cubicBezTo>
                      <a:pt x="98" y="21"/>
                      <a:pt x="98" y="21"/>
                      <a:pt x="97" y="22"/>
                    </a:cubicBezTo>
                    <a:cubicBezTo>
                      <a:pt x="97" y="22"/>
                      <a:pt x="97" y="22"/>
                      <a:pt x="97" y="23"/>
                    </a:cubicBezTo>
                    <a:cubicBezTo>
                      <a:pt x="97" y="23"/>
                      <a:pt x="97" y="23"/>
                      <a:pt x="97" y="24"/>
                    </a:cubicBezTo>
                    <a:cubicBezTo>
                      <a:pt x="97" y="24"/>
                      <a:pt x="97" y="24"/>
                      <a:pt x="97" y="24"/>
                    </a:cubicBezTo>
                    <a:cubicBezTo>
                      <a:pt x="97" y="24"/>
                      <a:pt x="96" y="24"/>
                      <a:pt x="96" y="24"/>
                    </a:cubicBezTo>
                    <a:cubicBezTo>
                      <a:pt x="96" y="24"/>
                      <a:pt x="96" y="24"/>
                      <a:pt x="96" y="24"/>
                    </a:cubicBezTo>
                    <a:cubicBezTo>
                      <a:pt x="96" y="24"/>
                      <a:pt x="96" y="24"/>
                      <a:pt x="96" y="24"/>
                    </a:cubicBezTo>
                    <a:cubicBezTo>
                      <a:pt x="96" y="23"/>
                      <a:pt x="96" y="23"/>
                      <a:pt x="96" y="23"/>
                    </a:cubicBezTo>
                    <a:cubicBezTo>
                      <a:pt x="95" y="23"/>
                      <a:pt x="95" y="23"/>
                      <a:pt x="95" y="23"/>
                    </a:cubicBezTo>
                    <a:cubicBezTo>
                      <a:pt x="95" y="23"/>
                      <a:pt x="95" y="23"/>
                      <a:pt x="95" y="23"/>
                    </a:cubicBezTo>
                    <a:cubicBezTo>
                      <a:pt x="95" y="23"/>
                      <a:pt x="94" y="23"/>
                      <a:pt x="94" y="23"/>
                    </a:cubicBezTo>
                    <a:cubicBezTo>
                      <a:pt x="94" y="24"/>
                      <a:pt x="94" y="24"/>
                      <a:pt x="94" y="24"/>
                    </a:cubicBezTo>
                    <a:cubicBezTo>
                      <a:pt x="94" y="24"/>
                      <a:pt x="94" y="24"/>
                      <a:pt x="93" y="25"/>
                    </a:cubicBezTo>
                    <a:cubicBezTo>
                      <a:pt x="93" y="25"/>
                      <a:pt x="93" y="24"/>
                      <a:pt x="93" y="24"/>
                    </a:cubicBezTo>
                    <a:cubicBezTo>
                      <a:pt x="92" y="24"/>
                      <a:pt x="92" y="24"/>
                      <a:pt x="91" y="24"/>
                    </a:cubicBezTo>
                    <a:cubicBezTo>
                      <a:pt x="90" y="25"/>
                      <a:pt x="90" y="25"/>
                      <a:pt x="90" y="25"/>
                    </a:cubicBezTo>
                    <a:cubicBezTo>
                      <a:pt x="89" y="25"/>
                      <a:pt x="89" y="25"/>
                      <a:pt x="89" y="25"/>
                    </a:cubicBezTo>
                    <a:cubicBezTo>
                      <a:pt x="89" y="25"/>
                      <a:pt x="89" y="25"/>
                      <a:pt x="88" y="25"/>
                    </a:cubicBezTo>
                    <a:cubicBezTo>
                      <a:pt x="88" y="26"/>
                      <a:pt x="88" y="26"/>
                      <a:pt x="88" y="26"/>
                    </a:cubicBezTo>
                    <a:cubicBezTo>
                      <a:pt x="88" y="26"/>
                      <a:pt x="88" y="26"/>
                      <a:pt x="88" y="26"/>
                    </a:cubicBezTo>
                    <a:cubicBezTo>
                      <a:pt x="89" y="26"/>
                      <a:pt x="89" y="26"/>
                      <a:pt x="89" y="27"/>
                    </a:cubicBezTo>
                    <a:cubicBezTo>
                      <a:pt x="89" y="27"/>
                      <a:pt x="89" y="27"/>
                      <a:pt x="89" y="27"/>
                    </a:cubicBezTo>
                    <a:cubicBezTo>
                      <a:pt x="89" y="28"/>
                      <a:pt x="89" y="28"/>
                      <a:pt x="89" y="28"/>
                    </a:cubicBezTo>
                    <a:cubicBezTo>
                      <a:pt x="89" y="28"/>
                      <a:pt x="89" y="29"/>
                      <a:pt x="88" y="29"/>
                    </a:cubicBezTo>
                    <a:cubicBezTo>
                      <a:pt x="88" y="29"/>
                      <a:pt x="88" y="30"/>
                      <a:pt x="88" y="30"/>
                    </a:cubicBezTo>
                    <a:cubicBezTo>
                      <a:pt x="88" y="30"/>
                      <a:pt x="88" y="31"/>
                      <a:pt x="88" y="31"/>
                    </a:cubicBezTo>
                    <a:cubicBezTo>
                      <a:pt x="87" y="31"/>
                      <a:pt x="87" y="31"/>
                      <a:pt x="87" y="31"/>
                    </a:cubicBezTo>
                    <a:cubicBezTo>
                      <a:pt x="87" y="31"/>
                      <a:pt x="87" y="31"/>
                      <a:pt x="87" y="31"/>
                    </a:cubicBezTo>
                    <a:cubicBezTo>
                      <a:pt x="86" y="31"/>
                      <a:pt x="86" y="31"/>
                      <a:pt x="86" y="31"/>
                    </a:cubicBezTo>
                    <a:cubicBezTo>
                      <a:pt x="86" y="30"/>
                      <a:pt x="86" y="30"/>
                      <a:pt x="86" y="30"/>
                    </a:cubicBezTo>
                    <a:cubicBezTo>
                      <a:pt x="85" y="30"/>
                      <a:pt x="85" y="30"/>
                      <a:pt x="85" y="30"/>
                    </a:cubicBezTo>
                    <a:cubicBezTo>
                      <a:pt x="85" y="30"/>
                      <a:pt x="85" y="30"/>
                      <a:pt x="85" y="30"/>
                    </a:cubicBezTo>
                    <a:cubicBezTo>
                      <a:pt x="84" y="30"/>
                      <a:pt x="84" y="30"/>
                      <a:pt x="84" y="30"/>
                    </a:cubicBezTo>
                    <a:cubicBezTo>
                      <a:pt x="84" y="31"/>
                      <a:pt x="84" y="31"/>
                      <a:pt x="83" y="31"/>
                    </a:cubicBezTo>
                    <a:cubicBezTo>
                      <a:pt x="83" y="31"/>
                      <a:pt x="83" y="31"/>
                      <a:pt x="83" y="30"/>
                    </a:cubicBezTo>
                    <a:cubicBezTo>
                      <a:pt x="83" y="30"/>
                      <a:pt x="83" y="30"/>
                      <a:pt x="82" y="30"/>
                    </a:cubicBezTo>
                    <a:cubicBezTo>
                      <a:pt x="82" y="30"/>
                      <a:pt x="82" y="30"/>
                      <a:pt x="82" y="29"/>
                    </a:cubicBezTo>
                    <a:cubicBezTo>
                      <a:pt x="82" y="29"/>
                      <a:pt x="82" y="29"/>
                      <a:pt x="82" y="29"/>
                    </a:cubicBezTo>
                    <a:cubicBezTo>
                      <a:pt x="82" y="28"/>
                      <a:pt x="82" y="28"/>
                      <a:pt x="82" y="28"/>
                    </a:cubicBezTo>
                    <a:cubicBezTo>
                      <a:pt x="82" y="28"/>
                      <a:pt x="82" y="28"/>
                      <a:pt x="82" y="27"/>
                    </a:cubicBezTo>
                    <a:cubicBezTo>
                      <a:pt x="82" y="27"/>
                      <a:pt x="82" y="28"/>
                      <a:pt x="82" y="28"/>
                    </a:cubicBezTo>
                    <a:cubicBezTo>
                      <a:pt x="81" y="28"/>
                      <a:pt x="81" y="28"/>
                      <a:pt x="81" y="28"/>
                    </a:cubicBezTo>
                    <a:cubicBezTo>
                      <a:pt x="81" y="28"/>
                      <a:pt x="80" y="29"/>
                      <a:pt x="80" y="29"/>
                    </a:cubicBezTo>
                    <a:cubicBezTo>
                      <a:pt x="80" y="29"/>
                      <a:pt x="80" y="30"/>
                      <a:pt x="79" y="30"/>
                    </a:cubicBezTo>
                    <a:cubicBezTo>
                      <a:pt x="79" y="31"/>
                      <a:pt x="79" y="31"/>
                      <a:pt x="78" y="31"/>
                    </a:cubicBezTo>
                    <a:cubicBezTo>
                      <a:pt x="78" y="32"/>
                      <a:pt x="78" y="32"/>
                      <a:pt x="77" y="32"/>
                    </a:cubicBezTo>
                    <a:cubicBezTo>
                      <a:pt x="77" y="33"/>
                      <a:pt x="77" y="33"/>
                      <a:pt x="76" y="33"/>
                    </a:cubicBezTo>
                    <a:cubicBezTo>
                      <a:pt x="76" y="34"/>
                      <a:pt x="76" y="34"/>
                      <a:pt x="76" y="34"/>
                    </a:cubicBezTo>
                    <a:cubicBezTo>
                      <a:pt x="76" y="34"/>
                      <a:pt x="76" y="34"/>
                      <a:pt x="76" y="33"/>
                    </a:cubicBezTo>
                    <a:cubicBezTo>
                      <a:pt x="76" y="33"/>
                      <a:pt x="76" y="33"/>
                      <a:pt x="76" y="32"/>
                    </a:cubicBezTo>
                    <a:cubicBezTo>
                      <a:pt x="76" y="32"/>
                      <a:pt x="76" y="32"/>
                      <a:pt x="76" y="31"/>
                    </a:cubicBezTo>
                    <a:cubicBezTo>
                      <a:pt x="76" y="31"/>
                      <a:pt x="76" y="31"/>
                      <a:pt x="77" y="31"/>
                    </a:cubicBezTo>
                    <a:cubicBezTo>
                      <a:pt x="77" y="30"/>
                      <a:pt x="77" y="30"/>
                      <a:pt x="77" y="30"/>
                    </a:cubicBezTo>
                    <a:cubicBezTo>
                      <a:pt x="77" y="30"/>
                      <a:pt x="78" y="29"/>
                      <a:pt x="78" y="29"/>
                    </a:cubicBezTo>
                    <a:cubicBezTo>
                      <a:pt x="78" y="29"/>
                      <a:pt x="78" y="29"/>
                      <a:pt x="78" y="28"/>
                    </a:cubicBezTo>
                    <a:cubicBezTo>
                      <a:pt x="77" y="28"/>
                      <a:pt x="77" y="28"/>
                      <a:pt x="77" y="27"/>
                    </a:cubicBezTo>
                    <a:cubicBezTo>
                      <a:pt x="77" y="27"/>
                      <a:pt x="77" y="27"/>
                      <a:pt x="76" y="27"/>
                    </a:cubicBezTo>
                    <a:cubicBezTo>
                      <a:pt x="76" y="27"/>
                      <a:pt x="76" y="26"/>
                      <a:pt x="76" y="26"/>
                    </a:cubicBezTo>
                    <a:cubicBezTo>
                      <a:pt x="76" y="26"/>
                      <a:pt x="76" y="25"/>
                      <a:pt x="76" y="25"/>
                    </a:cubicBezTo>
                    <a:cubicBezTo>
                      <a:pt x="76" y="25"/>
                      <a:pt x="76" y="25"/>
                      <a:pt x="76" y="25"/>
                    </a:cubicBezTo>
                    <a:cubicBezTo>
                      <a:pt x="77" y="25"/>
                      <a:pt x="77" y="25"/>
                      <a:pt x="77" y="25"/>
                    </a:cubicBezTo>
                    <a:cubicBezTo>
                      <a:pt x="77" y="25"/>
                      <a:pt x="77" y="25"/>
                      <a:pt x="77" y="26"/>
                    </a:cubicBezTo>
                    <a:cubicBezTo>
                      <a:pt x="78" y="26"/>
                      <a:pt x="78" y="26"/>
                      <a:pt x="78" y="26"/>
                    </a:cubicBezTo>
                    <a:cubicBezTo>
                      <a:pt x="78" y="26"/>
                      <a:pt x="78" y="26"/>
                      <a:pt x="79" y="26"/>
                    </a:cubicBezTo>
                    <a:cubicBezTo>
                      <a:pt x="79" y="25"/>
                      <a:pt x="79" y="25"/>
                      <a:pt x="80" y="25"/>
                    </a:cubicBezTo>
                    <a:cubicBezTo>
                      <a:pt x="80" y="24"/>
                      <a:pt x="80" y="24"/>
                      <a:pt x="80" y="24"/>
                    </a:cubicBezTo>
                    <a:cubicBezTo>
                      <a:pt x="80" y="24"/>
                      <a:pt x="80" y="23"/>
                      <a:pt x="80" y="23"/>
                    </a:cubicBezTo>
                    <a:cubicBezTo>
                      <a:pt x="80" y="22"/>
                      <a:pt x="81" y="22"/>
                      <a:pt x="81" y="21"/>
                    </a:cubicBezTo>
                    <a:cubicBezTo>
                      <a:pt x="81" y="21"/>
                      <a:pt x="81" y="21"/>
                      <a:pt x="81" y="20"/>
                    </a:cubicBezTo>
                    <a:cubicBezTo>
                      <a:pt x="81" y="19"/>
                      <a:pt x="81" y="19"/>
                      <a:pt x="81" y="18"/>
                    </a:cubicBezTo>
                    <a:cubicBezTo>
                      <a:pt x="81" y="18"/>
                      <a:pt x="81" y="18"/>
                      <a:pt x="81" y="17"/>
                    </a:cubicBezTo>
                    <a:cubicBezTo>
                      <a:pt x="81" y="17"/>
                      <a:pt x="80" y="17"/>
                      <a:pt x="80" y="16"/>
                    </a:cubicBezTo>
                    <a:cubicBezTo>
                      <a:pt x="80" y="16"/>
                      <a:pt x="79" y="16"/>
                      <a:pt x="79" y="16"/>
                    </a:cubicBezTo>
                    <a:cubicBezTo>
                      <a:pt x="79" y="17"/>
                      <a:pt x="78" y="17"/>
                      <a:pt x="78" y="17"/>
                    </a:cubicBezTo>
                    <a:cubicBezTo>
                      <a:pt x="78" y="17"/>
                      <a:pt x="78" y="17"/>
                      <a:pt x="78" y="18"/>
                    </a:cubicBezTo>
                    <a:cubicBezTo>
                      <a:pt x="77" y="18"/>
                      <a:pt x="77" y="18"/>
                      <a:pt x="77" y="19"/>
                    </a:cubicBezTo>
                    <a:cubicBezTo>
                      <a:pt x="76" y="19"/>
                      <a:pt x="76" y="19"/>
                      <a:pt x="76" y="19"/>
                    </a:cubicBezTo>
                    <a:cubicBezTo>
                      <a:pt x="75" y="18"/>
                      <a:pt x="75" y="18"/>
                      <a:pt x="74" y="18"/>
                    </a:cubicBezTo>
                    <a:cubicBezTo>
                      <a:pt x="74" y="18"/>
                      <a:pt x="74" y="18"/>
                      <a:pt x="74" y="18"/>
                    </a:cubicBezTo>
                    <a:cubicBezTo>
                      <a:pt x="73" y="17"/>
                      <a:pt x="73" y="17"/>
                      <a:pt x="72" y="17"/>
                    </a:cubicBezTo>
                    <a:cubicBezTo>
                      <a:pt x="72" y="16"/>
                      <a:pt x="72" y="16"/>
                      <a:pt x="71" y="16"/>
                    </a:cubicBezTo>
                    <a:cubicBezTo>
                      <a:pt x="71" y="15"/>
                      <a:pt x="71" y="15"/>
                      <a:pt x="71" y="15"/>
                    </a:cubicBezTo>
                    <a:cubicBezTo>
                      <a:pt x="70" y="15"/>
                      <a:pt x="70" y="15"/>
                      <a:pt x="70" y="15"/>
                    </a:cubicBezTo>
                    <a:cubicBezTo>
                      <a:pt x="70" y="16"/>
                      <a:pt x="70" y="16"/>
                      <a:pt x="70" y="16"/>
                    </a:cubicBezTo>
                    <a:cubicBezTo>
                      <a:pt x="70" y="17"/>
                      <a:pt x="69" y="17"/>
                      <a:pt x="69" y="17"/>
                    </a:cubicBezTo>
                    <a:cubicBezTo>
                      <a:pt x="69" y="17"/>
                      <a:pt x="69" y="18"/>
                      <a:pt x="69" y="18"/>
                    </a:cubicBezTo>
                    <a:cubicBezTo>
                      <a:pt x="69" y="18"/>
                      <a:pt x="69" y="18"/>
                      <a:pt x="68" y="18"/>
                    </a:cubicBezTo>
                    <a:cubicBezTo>
                      <a:pt x="68" y="17"/>
                      <a:pt x="68" y="17"/>
                      <a:pt x="68" y="17"/>
                    </a:cubicBezTo>
                    <a:cubicBezTo>
                      <a:pt x="68" y="16"/>
                      <a:pt x="68" y="16"/>
                      <a:pt x="68" y="16"/>
                    </a:cubicBezTo>
                    <a:cubicBezTo>
                      <a:pt x="68" y="15"/>
                      <a:pt x="68" y="15"/>
                      <a:pt x="67" y="15"/>
                    </a:cubicBezTo>
                    <a:cubicBezTo>
                      <a:pt x="67" y="15"/>
                      <a:pt x="67" y="15"/>
                      <a:pt x="66" y="15"/>
                    </a:cubicBezTo>
                    <a:cubicBezTo>
                      <a:pt x="66" y="15"/>
                      <a:pt x="65" y="15"/>
                      <a:pt x="65" y="15"/>
                    </a:cubicBezTo>
                    <a:cubicBezTo>
                      <a:pt x="64" y="15"/>
                      <a:pt x="64" y="15"/>
                      <a:pt x="63" y="15"/>
                    </a:cubicBezTo>
                    <a:cubicBezTo>
                      <a:pt x="63" y="15"/>
                      <a:pt x="63" y="15"/>
                      <a:pt x="63" y="14"/>
                    </a:cubicBezTo>
                    <a:cubicBezTo>
                      <a:pt x="64" y="14"/>
                      <a:pt x="64" y="14"/>
                      <a:pt x="64" y="14"/>
                    </a:cubicBezTo>
                    <a:cubicBezTo>
                      <a:pt x="64" y="14"/>
                      <a:pt x="64" y="13"/>
                      <a:pt x="64" y="13"/>
                    </a:cubicBezTo>
                    <a:cubicBezTo>
                      <a:pt x="64" y="12"/>
                      <a:pt x="64" y="12"/>
                      <a:pt x="65" y="12"/>
                    </a:cubicBezTo>
                    <a:cubicBezTo>
                      <a:pt x="64" y="11"/>
                      <a:pt x="64" y="11"/>
                      <a:pt x="64" y="10"/>
                    </a:cubicBezTo>
                    <a:cubicBezTo>
                      <a:pt x="64" y="10"/>
                      <a:pt x="64" y="10"/>
                      <a:pt x="64" y="10"/>
                    </a:cubicBezTo>
                    <a:cubicBezTo>
                      <a:pt x="64" y="10"/>
                      <a:pt x="64" y="10"/>
                      <a:pt x="64" y="10"/>
                    </a:cubicBezTo>
                    <a:cubicBezTo>
                      <a:pt x="63" y="10"/>
                      <a:pt x="63" y="10"/>
                      <a:pt x="63" y="11"/>
                    </a:cubicBezTo>
                    <a:cubicBezTo>
                      <a:pt x="63" y="11"/>
                      <a:pt x="63" y="11"/>
                      <a:pt x="63" y="11"/>
                    </a:cubicBezTo>
                    <a:cubicBezTo>
                      <a:pt x="63" y="12"/>
                      <a:pt x="63" y="12"/>
                      <a:pt x="63" y="12"/>
                    </a:cubicBezTo>
                    <a:cubicBezTo>
                      <a:pt x="62" y="12"/>
                      <a:pt x="62" y="12"/>
                      <a:pt x="61" y="12"/>
                    </a:cubicBezTo>
                    <a:cubicBezTo>
                      <a:pt x="61" y="12"/>
                      <a:pt x="61" y="12"/>
                      <a:pt x="60" y="12"/>
                    </a:cubicBezTo>
                    <a:cubicBezTo>
                      <a:pt x="61" y="11"/>
                      <a:pt x="61" y="11"/>
                      <a:pt x="62" y="11"/>
                    </a:cubicBezTo>
                    <a:cubicBezTo>
                      <a:pt x="62" y="11"/>
                      <a:pt x="62" y="10"/>
                      <a:pt x="62" y="10"/>
                    </a:cubicBezTo>
                    <a:cubicBezTo>
                      <a:pt x="63" y="10"/>
                      <a:pt x="63" y="10"/>
                      <a:pt x="63" y="9"/>
                    </a:cubicBezTo>
                    <a:cubicBezTo>
                      <a:pt x="63" y="9"/>
                      <a:pt x="63" y="9"/>
                      <a:pt x="64" y="9"/>
                    </a:cubicBezTo>
                    <a:cubicBezTo>
                      <a:pt x="64" y="8"/>
                      <a:pt x="64" y="8"/>
                      <a:pt x="65" y="8"/>
                    </a:cubicBezTo>
                    <a:cubicBezTo>
                      <a:pt x="65" y="8"/>
                      <a:pt x="65" y="7"/>
                      <a:pt x="65" y="7"/>
                    </a:cubicBezTo>
                    <a:cubicBezTo>
                      <a:pt x="65" y="7"/>
                      <a:pt x="65" y="6"/>
                      <a:pt x="65" y="6"/>
                    </a:cubicBezTo>
                    <a:cubicBezTo>
                      <a:pt x="65" y="5"/>
                      <a:pt x="65" y="5"/>
                      <a:pt x="65" y="5"/>
                    </a:cubicBezTo>
                    <a:cubicBezTo>
                      <a:pt x="64" y="4"/>
                      <a:pt x="64" y="4"/>
                      <a:pt x="64" y="4"/>
                    </a:cubicBezTo>
                    <a:cubicBezTo>
                      <a:pt x="63" y="4"/>
                      <a:pt x="63" y="4"/>
                      <a:pt x="63" y="3"/>
                    </a:cubicBezTo>
                    <a:cubicBezTo>
                      <a:pt x="62" y="3"/>
                      <a:pt x="62" y="3"/>
                      <a:pt x="61" y="3"/>
                    </a:cubicBezTo>
                    <a:cubicBezTo>
                      <a:pt x="61" y="3"/>
                      <a:pt x="61" y="3"/>
                      <a:pt x="60" y="3"/>
                    </a:cubicBezTo>
                    <a:cubicBezTo>
                      <a:pt x="60" y="3"/>
                      <a:pt x="60" y="3"/>
                      <a:pt x="60" y="2"/>
                    </a:cubicBezTo>
                    <a:cubicBezTo>
                      <a:pt x="60" y="2"/>
                      <a:pt x="59" y="2"/>
                      <a:pt x="59" y="2"/>
                    </a:cubicBezTo>
                    <a:cubicBezTo>
                      <a:pt x="59" y="2"/>
                      <a:pt x="59" y="2"/>
                      <a:pt x="58" y="2"/>
                    </a:cubicBezTo>
                    <a:cubicBezTo>
                      <a:pt x="58" y="2"/>
                      <a:pt x="58" y="2"/>
                      <a:pt x="57" y="2"/>
                    </a:cubicBezTo>
                    <a:cubicBezTo>
                      <a:pt x="57" y="3"/>
                      <a:pt x="57" y="3"/>
                      <a:pt x="57" y="4"/>
                    </a:cubicBezTo>
                    <a:cubicBezTo>
                      <a:pt x="57" y="4"/>
                      <a:pt x="56" y="4"/>
                      <a:pt x="56" y="4"/>
                    </a:cubicBezTo>
                    <a:cubicBezTo>
                      <a:pt x="55" y="4"/>
                      <a:pt x="55" y="4"/>
                      <a:pt x="55" y="3"/>
                    </a:cubicBezTo>
                    <a:cubicBezTo>
                      <a:pt x="54" y="3"/>
                      <a:pt x="54" y="3"/>
                      <a:pt x="53" y="2"/>
                    </a:cubicBezTo>
                    <a:cubicBezTo>
                      <a:pt x="53" y="2"/>
                      <a:pt x="52" y="2"/>
                      <a:pt x="52" y="1"/>
                    </a:cubicBezTo>
                    <a:cubicBezTo>
                      <a:pt x="51" y="1"/>
                      <a:pt x="51" y="1"/>
                      <a:pt x="51" y="1"/>
                    </a:cubicBezTo>
                    <a:cubicBezTo>
                      <a:pt x="50" y="1"/>
                      <a:pt x="50" y="1"/>
                      <a:pt x="49" y="1"/>
                    </a:cubicBezTo>
                    <a:cubicBezTo>
                      <a:pt x="49" y="1"/>
                      <a:pt x="49" y="1"/>
                      <a:pt x="49" y="2"/>
                    </a:cubicBezTo>
                    <a:cubicBezTo>
                      <a:pt x="49" y="2"/>
                      <a:pt x="49" y="2"/>
                      <a:pt x="49" y="2"/>
                    </a:cubicBezTo>
                    <a:cubicBezTo>
                      <a:pt x="48" y="2"/>
                      <a:pt x="48" y="2"/>
                      <a:pt x="48" y="1"/>
                    </a:cubicBezTo>
                    <a:cubicBezTo>
                      <a:pt x="48" y="1"/>
                      <a:pt x="48" y="1"/>
                      <a:pt x="47" y="1"/>
                    </a:cubicBezTo>
                    <a:cubicBezTo>
                      <a:pt x="47" y="0"/>
                      <a:pt x="47" y="0"/>
                      <a:pt x="46" y="0"/>
                    </a:cubicBezTo>
                    <a:cubicBezTo>
                      <a:pt x="46" y="0"/>
                      <a:pt x="45" y="0"/>
                      <a:pt x="45" y="0"/>
                    </a:cubicBezTo>
                    <a:cubicBezTo>
                      <a:pt x="45" y="0"/>
                      <a:pt x="45" y="0"/>
                      <a:pt x="44" y="1"/>
                    </a:cubicBezTo>
                    <a:cubicBezTo>
                      <a:pt x="44" y="1"/>
                      <a:pt x="45" y="1"/>
                      <a:pt x="45" y="2"/>
                    </a:cubicBezTo>
                    <a:cubicBezTo>
                      <a:pt x="45" y="2"/>
                      <a:pt x="45" y="2"/>
                      <a:pt x="45" y="3"/>
                    </a:cubicBezTo>
                    <a:cubicBezTo>
                      <a:pt x="45" y="3"/>
                      <a:pt x="45" y="3"/>
                      <a:pt x="45" y="3"/>
                    </a:cubicBezTo>
                    <a:cubicBezTo>
                      <a:pt x="46" y="3"/>
                      <a:pt x="46" y="3"/>
                      <a:pt x="46" y="4"/>
                    </a:cubicBezTo>
                    <a:cubicBezTo>
                      <a:pt x="46" y="4"/>
                      <a:pt x="46" y="4"/>
                      <a:pt x="47" y="5"/>
                    </a:cubicBezTo>
                    <a:cubicBezTo>
                      <a:pt x="47" y="5"/>
                      <a:pt x="47" y="5"/>
                      <a:pt x="47" y="6"/>
                    </a:cubicBezTo>
                    <a:cubicBezTo>
                      <a:pt x="46" y="6"/>
                      <a:pt x="46" y="6"/>
                      <a:pt x="46" y="7"/>
                    </a:cubicBezTo>
                    <a:cubicBezTo>
                      <a:pt x="46" y="7"/>
                      <a:pt x="46" y="7"/>
                      <a:pt x="46" y="8"/>
                    </a:cubicBezTo>
                    <a:cubicBezTo>
                      <a:pt x="46" y="8"/>
                      <a:pt x="46" y="8"/>
                      <a:pt x="46" y="8"/>
                    </a:cubicBezTo>
                    <a:cubicBezTo>
                      <a:pt x="46" y="9"/>
                      <a:pt x="47" y="9"/>
                      <a:pt x="47" y="9"/>
                    </a:cubicBezTo>
                    <a:cubicBezTo>
                      <a:pt x="47" y="9"/>
                      <a:pt x="47" y="9"/>
                      <a:pt x="47" y="9"/>
                    </a:cubicBezTo>
                    <a:cubicBezTo>
                      <a:pt x="47" y="10"/>
                      <a:pt x="47" y="10"/>
                      <a:pt x="48" y="10"/>
                    </a:cubicBezTo>
                    <a:cubicBezTo>
                      <a:pt x="48" y="10"/>
                      <a:pt x="48" y="10"/>
                      <a:pt x="49" y="10"/>
                    </a:cubicBezTo>
                    <a:cubicBezTo>
                      <a:pt x="49" y="11"/>
                      <a:pt x="49" y="11"/>
                      <a:pt x="49" y="11"/>
                    </a:cubicBezTo>
                    <a:cubicBezTo>
                      <a:pt x="50" y="11"/>
                      <a:pt x="50" y="11"/>
                      <a:pt x="50" y="12"/>
                    </a:cubicBezTo>
                    <a:cubicBezTo>
                      <a:pt x="50" y="12"/>
                      <a:pt x="50" y="12"/>
                      <a:pt x="50" y="13"/>
                    </a:cubicBezTo>
                    <a:cubicBezTo>
                      <a:pt x="50" y="13"/>
                      <a:pt x="50" y="13"/>
                      <a:pt x="50" y="14"/>
                    </a:cubicBezTo>
                    <a:cubicBezTo>
                      <a:pt x="50" y="14"/>
                      <a:pt x="50" y="14"/>
                      <a:pt x="50" y="15"/>
                    </a:cubicBezTo>
                    <a:cubicBezTo>
                      <a:pt x="50" y="15"/>
                      <a:pt x="50" y="15"/>
                      <a:pt x="49" y="15"/>
                    </a:cubicBezTo>
                    <a:cubicBezTo>
                      <a:pt x="49" y="16"/>
                      <a:pt x="49" y="16"/>
                      <a:pt x="49" y="16"/>
                    </a:cubicBezTo>
                    <a:cubicBezTo>
                      <a:pt x="48" y="16"/>
                      <a:pt x="48" y="16"/>
                      <a:pt x="48" y="16"/>
                    </a:cubicBezTo>
                    <a:cubicBezTo>
                      <a:pt x="48" y="16"/>
                      <a:pt x="48" y="16"/>
                      <a:pt x="47" y="16"/>
                    </a:cubicBezTo>
                    <a:cubicBezTo>
                      <a:pt x="47" y="17"/>
                      <a:pt x="47" y="17"/>
                      <a:pt x="46" y="17"/>
                    </a:cubicBezTo>
                    <a:cubicBezTo>
                      <a:pt x="46" y="17"/>
                      <a:pt x="46" y="17"/>
                      <a:pt x="45" y="17"/>
                    </a:cubicBezTo>
                    <a:cubicBezTo>
                      <a:pt x="45" y="18"/>
                      <a:pt x="45" y="18"/>
                      <a:pt x="45" y="18"/>
                    </a:cubicBezTo>
                    <a:cubicBezTo>
                      <a:pt x="45" y="18"/>
                      <a:pt x="45" y="18"/>
                      <a:pt x="44" y="19"/>
                    </a:cubicBezTo>
                    <a:cubicBezTo>
                      <a:pt x="44" y="19"/>
                      <a:pt x="44" y="19"/>
                      <a:pt x="44" y="19"/>
                    </a:cubicBezTo>
                    <a:cubicBezTo>
                      <a:pt x="45" y="20"/>
                      <a:pt x="45" y="20"/>
                      <a:pt x="45" y="20"/>
                    </a:cubicBezTo>
                    <a:cubicBezTo>
                      <a:pt x="45" y="20"/>
                      <a:pt x="45" y="20"/>
                      <a:pt x="45" y="20"/>
                    </a:cubicBezTo>
                    <a:cubicBezTo>
                      <a:pt x="46" y="20"/>
                      <a:pt x="46" y="20"/>
                      <a:pt x="46" y="19"/>
                    </a:cubicBezTo>
                    <a:cubicBezTo>
                      <a:pt x="47" y="19"/>
                      <a:pt x="47" y="19"/>
                      <a:pt x="47" y="19"/>
                    </a:cubicBezTo>
                    <a:cubicBezTo>
                      <a:pt x="48" y="19"/>
                      <a:pt x="48" y="19"/>
                      <a:pt x="48" y="18"/>
                    </a:cubicBezTo>
                    <a:cubicBezTo>
                      <a:pt x="48" y="18"/>
                      <a:pt x="48" y="18"/>
                      <a:pt x="49" y="18"/>
                    </a:cubicBezTo>
                    <a:cubicBezTo>
                      <a:pt x="49" y="19"/>
                      <a:pt x="49" y="19"/>
                      <a:pt x="49" y="19"/>
                    </a:cubicBezTo>
                    <a:cubicBezTo>
                      <a:pt x="49" y="19"/>
                      <a:pt x="49" y="19"/>
                      <a:pt x="49" y="19"/>
                    </a:cubicBezTo>
                    <a:cubicBezTo>
                      <a:pt x="49" y="20"/>
                      <a:pt x="49" y="20"/>
                      <a:pt x="48" y="20"/>
                    </a:cubicBezTo>
                    <a:cubicBezTo>
                      <a:pt x="48" y="20"/>
                      <a:pt x="48" y="20"/>
                      <a:pt x="48" y="21"/>
                    </a:cubicBezTo>
                    <a:cubicBezTo>
                      <a:pt x="48" y="21"/>
                      <a:pt x="47" y="21"/>
                      <a:pt x="47" y="21"/>
                    </a:cubicBezTo>
                    <a:cubicBezTo>
                      <a:pt x="47" y="22"/>
                      <a:pt x="47" y="22"/>
                      <a:pt x="47" y="22"/>
                    </a:cubicBezTo>
                    <a:cubicBezTo>
                      <a:pt x="47" y="23"/>
                      <a:pt x="47" y="23"/>
                      <a:pt x="47" y="23"/>
                    </a:cubicBezTo>
                    <a:cubicBezTo>
                      <a:pt x="47" y="23"/>
                      <a:pt x="47" y="23"/>
                      <a:pt x="48" y="23"/>
                    </a:cubicBezTo>
                    <a:cubicBezTo>
                      <a:pt x="48" y="23"/>
                      <a:pt x="48" y="23"/>
                      <a:pt x="49" y="23"/>
                    </a:cubicBezTo>
                    <a:cubicBezTo>
                      <a:pt x="49" y="23"/>
                      <a:pt x="49" y="23"/>
                      <a:pt x="50" y="23"/>
                    </a:cubicBezTo>
                    <a:cubicBezTo>
                      <a:pt x="50" y="24"/>
                      <a:pt x="50" y="24"/>
                      <a:pt x="50" y="24"/>
                    </a:cubicBezTo>
                    <a:cubicBezTo>
                      <a:pt x="50" y="24"/>
                      <a:pt x="50" y="24"/>
                      <a:pt x="51" y="25"/>
                    </a:cubicBezTo>
                    <a:cubicBezTo>
                      <a:pt x="51" y="25"/>
                      <a:pt x="51" y="25"/>
                      <a:pt x="51" y="25"/>
                    </a:cubicBezTo>
                    <a:cubicBezTo>
                      <a:pt x="51" y="26"/>
                      <a:pt x="51" y="26"/>
                      <a:pt x="51" y="26"/>
                    </a:cubicBezTo>
                    <a:cubicBezTo>
                      <a:pt x="51" y="26"/>
                      <a:pt x="50" y="26"/>
                      <a:pt x="50" y="27"/>
                    </a:cubicBezTo>
                    <a:cubicBezTo>
                      <a:pt x="50" y="27"/>
                      <a:pt x="50" y="27"/>
                      <a:pt x="50" y="27"/>
                    </a:cubicBezTo>
                    <a:cubicBezTo>
                      <a:pt x="49" y="27"/>
                      <a:pt x="49" y="27"/>
                      <a:pt x="49" y="27"/>
                    </a:cubicBezTo>
                    <a:cubicBezTo>
                      <a:pt x="49" y="26"/>
                      <a:pt x="49" y="26"/>
                      <a:pt x="48" y="26"/>
                    </a:cubicBezTo>
                    <a:cubicBezTo>
                      <a:pt x="48" y="27"/>
                      <a:pt x="48" y="27"/>
                      <a:pt x="48" y="27"/>
                    </a:cubicBezTo>
                    <a:cubicBezTo>
                      <a:pt x="48" y="27"/>
                      <a:pt x="48" y="28"/>
                      <a:pt x="48" y="28"/>
                    </a:cubicBezTo>
                    <a:cubicBezTo>
                      <a:pt x="49" y="28"/>
                      <a:pt x="49" y="29"/>
                      <a:pt x="49" y="29"/>
                    </a:cubicBezTo>
                    <a:cubicBezTo>
                      <a:pt x="49" y="29"/>
                      <a:pt x="49" y="30"/>
                      <a:pt x="50" y="30"/>
                    </a:cubicBezTo>
                    <a:cubicBezTo>
                      <a:pt x="50" y="30"/>
                      <a:pt x="51" y="30"/>
                      <a:pt x="51" y="31"/>
                    </a:cubicBezTo>
                    <a:cubicBezTo>
                      <a:pt x="52" y="31"/>
                      <a:pt x="52" y="31"/>
                      <a:pt x="53" y="31"/>
                    </a:cubicBezTo>
                    <a:cubicBezTo>
                      <a:pt x="53" y="32"/>
                      <a:pt x="54" y="32"/>
                      <a:pt x="54" y="32"/>
                    </a:cubicBezTo>
                    <a:cubicBezTo>
                      <a:pt x="55" y="32"/>
                      <a:pt x="55" y="33"/>
                      <a:pt x="56" y="33"/>
                    </a:cubicBezTo>
                    <a:cubicBezTo>
                      <a:pt x="56" y="34"/>
                      <a:pt x="56" y="34"/>
                      <a:pt x="57" y="34"/>
                    </a:cubicBezTo>
                    <a:cubicBezTo>
                      <a:pt x="57" y="35"/>
                      <a:pt x="57" y="36"/>
                      <a:pt x="58" y="36"/>
                    </a:cubicBezTo>
                    <a:cubicBezTo>
                      <a:pt x="58" y="37"/>
                      <a:pt x="58" y="37"/>
                      <a:pt x="58" y="38"/>
                    </a:cubicBezTo>
                    <a:cubicBezTo>
                      <a:pt x="57" y="37"/>
                      <a:pt x="56" y="36"/>
                      <a:pt x="55" y="35"/>
                    </a:cubicBezTo>
                    <a:cubicBezTo>
                      <a:pt x="55" y="35"/>
                      <a:pt x="55" y="34"/>
                      <a:pt x="54" y="33"/>
                    </a:cubicBezTo>
                    <a:cubicBezTo>
                      <a:pt x="54" y="33"/>
                      <a:pt x="53" y="33"/>
                      <a:pt x="53" y="33"/>
                    </a:cubicBezTo>
                    <a:cubicBezTo>
                      <a:pt x="52" y="33"/>
                      <a:pt x="52" y="32"/>
                      <a:pt x="51" y="32"/>
                    </a:cubicBezTo>
                    <a:cubicBezTo>
                      <a:pt x="51" y="32"/>
                      <a:pt x="50" y="33"/>
                      <a:pt x="50" y="33"/>
                    </a:cubicBezTo>
                    <a:cubicBezTo>
                      <a:pt x="49" y="33"/>
                      <a:pt x="49" y="33"/>
                      <a:pt x="48" y="33"/>
                    </a:cubicBezTo>
                    <a:cubicBezTo>
                      <a:pt x="48" y="33"/>
                      <a:pt x="48" y="33"/>
                      <a:pt x="47" y="33"/>
                    </a:cubicBezTo>
                    <a:cubicBezTo>
                      <a:pt x="47" y="32"/>
                      <a:pt x="46" y="32"/>
                      <a:pt x="46" y="31"/>
                    </a:cubicBezTo>
                    <a:cubicBezTo>
                      <a:pt x="46" y="31"/>
                      <a:pt x="46" y="31"/>
                      <a:pt x="45" y="31"/>
                    </a:cubicBezTo>
                    <a:cubicBezTo>
                      <a:pt x="45" y="31"/>
                      <a:pt x="45" y="31"/>
                      <a:pt x="44" y="31"/>
                    </a:cubicBezTo>
                    <a:cubicBezTo>
                      <a:pt x="44" y="31"/>
                      <a:pt x="44" y="31"/>
                      <a:pt x="43" y="31"/>
                    </a:cubicBezTo>
                    <a:cubicBezTo>
                      <a:pt x="43" y="32"/>
                      <a:pt x="43" y="32"/>
                      <a:pt x="43" y="33"/>
                    </a:cubicBezTo>
                    <a:cubicBezTo>
                      <a:pt x="43" y="33"/>
                      <a:pt x="43" y="34"/>
                      <a:pt x="42" y="34"/>
                    </a:cubicBezTo>
                    <a:cubicBezTo>
                      <a:pt x="42" y="34"/>
                      <a:pt x="42" y="35"/>
                      <a:pt x="42" y="35"/>
                    </a:cubicBezTo>
                    <a:cubicBezTo>
                      <a:pt x="42" y="36"/>
                      <a:pt x="42" y="36"/>
                      <a:pt x="42" y="36"/>
                    </a:cubicBezTo>
                    <a:cubicBezTo>
                      <a:pt x="42" y="36"/>
                      <a:pt x="42" y="36"/>
                      <a:pt x="43" y="36"/>
                    </a:cubicBezTo>
                    <a:cubicBezTo>
                      <a:pt x="43" y="36"/>
                      <a:pt x="43" y="36"/>
                      <a:pt x="43" y="36"/>
                    </a:cubicBezTo>
                    <a:cubicBezTo>
                      <a:pt x="43" y="36"/>
                      <a:pt x="43" y="36"/>
                      <a:pt x="43" y="36"/>
                    </a:cubicBezTo>
                    <a:cubicBezTo>
                      <a:pt x="42" y="36"/>
                      <a:pt x="42" y="36"/>
                      <a:pt x="42" y="36"/>
                    </a:cubicBezTo>
                    <a:cubicBezTo>
                      <a:pt x="42" y="37"/>
                      <a:pt x="42" y="37"/>
                      <a:pt x="42" y="38"/>
                    </a:cubicBezTo>
                    <a:cubicBezTo>
                      <a:pt x="42" y="38"/>
                      <a:pt x="42" y="39"/>
                      <a:pt x="42" y="39"/>
                    </a:cubicBezTo>
                    <a:cubicBezTo>
                      <a:pt x="42" y="39"/>
                      <a:pt x="42" y="39"/>
                      <a:pt x="42" y="40"/>
                    </a:cubicBezTo>
                    <a:cubicBezTo>
                      <a:pt x="41" y="40"/>
                      <a:pt x="41" y="40"/>
                      <a:pt x="41" y="40"/>
                    </a:cubicBezTo>
                    <a:cubicBezTo>
                      <a:pt x="41" y="39"/>
                      <a:pt x="41" y="39"/>
                      <a:pt x="40" y="39"/>
                    </a:cubicBezTo>
                    <a:cubicBezTo>
                      <a:pt x="40" y="39"/>
                      <a:pt x="40" y="38"/>
                      <a:pt x="40" y="38"/>
                    </a:cubicBezTo>
                    <a:cubicBezTo>
                      <a:pt x="39" y="38"/>
                      <a:pt x="39" y="38"/>
                      <a:pt x="39" y="38"/>
                    </a:cubicBezTo>
                    <a:cubicBezTo>
                      <a:pt x="39" y="38"/>
                      <a:pt x="38" y="38"/>
                      <a:pt x="38" y="38"/>
                    </a:cubicBezTo>
                    <a:cubicBezTo>
                      <a:pt x="38" y="39"/>
                      <a:pt x="38" y="39"/>
                      <a:pt x="38" y="39"/>
                    </a:cubicBezTo>
                    <a:cubicBezTo>
                      <a:pt x="38" y="40"/>
                      <a:pt x="38" y="40"/>
                      <a:pt x="38" y="40"/>
                    </a:cubicBezTo>
                    <a:cubicBezTo>
                      <a:pt x="38" y="41"/>
                      <a:pt x="38" y="41"/>
                      <a:pt x="39" y="41"/>
                    </a:cubicBezTo>
                    <a:cubicBezTo>
                      <a:pt x="39" y="42"/>
                      <a:pt x="39" y="42"/>
                      <a:pt x="39" y="42"/>
                    </a:cubicBezTo>
                    <a:cubicBezTo>
                      <a:pt x="39" y="43"/>
                      <a:pt x="39" y="43"/>
                      <a:pt x="38" y="43"/>
                    </a:cubicBezTo>
                    <a:cubicBezTo>
                      <a:pt x="38" y="44"/>
                      <a:pt x="38" y="44"/>
                      <a:pt x="38" y="44"/>
                    </a:cubicBezTo>
                    <a:cubicBezTo>
                      <a:pt x="37" y="44"/>
                      <a:pt x="37" y="44"/>
                      <a:pt x="37" y="44"/>
                    </a:cubicBezTo>
                    <a:cubicBezTo>
                      <a:pt x="37" y="44"/>
                      <a:pt x="37" y="43"/>
                      <a:pt x="36" y="43"/>
                    </a:cubicBezTo>
                    <a:cubicBezTo>
                      <a:pt x="36" y="43"/>
                      <a:pt x="36" y="42"/>
                      <a:pt x="36" y="42"/>
                    </a:cubicBezTo>
                    <a:cubicBezTo>
                      <a:pt x="36" y="42"/>
                      <a:pt x="35" y="41"/>
                      <a:pt x="35" y="41"/>
                    </a:cubicBezTo>
                    <a:cubicBezTo>
                      <a:pt x="35" y="41"/>
                      <a:pt x="35" y="41"/>
                      <a:pt x="35" y="41"/>
                    </a:cubicBezTo>
                    <a:cubicBezTo>
                      <a:pt x="35" y="40"/>
                      <a:pt x="35" y="40"/>
                      <a:pt x="36" y="40"/>
                    </a:cubicBezTo>
                    <a:cubicBezTo>
                      <a:pt x="36" y="40"/>
                      <a:pt x="36" y="40"/>
                      <a:pt x="36" y="40"/>
                    </a:cubicBezTo>
                    <a:cubicBezTo>
                      <a:pt x="36" y="39"/>
                      <a:pt x="36" y="39"/>
                      <a:pt x="36" y="39"/>
                    </a:cubicBezTo>
                    <a:cubicBezTo>
                      <a:pt x="36" y="39"/>
                      <a:pt x="36" y="39"/>
                      <a:pt x="36" y="38"/>
                    </a:cubicBezTo>
                    <a:cubicBezTo>
                      <a:pt x="36" y="38"/>
                      <a:pt x="36" y="38"/>
                      <a:pt x="35" y="38"/>
                    </a:cubicBezTo>
                    <a:cubicBezTo>
                      <a:pt x="35" y="38"/>
                      <a:pt x="35" y="37"/>
                      <a:pt x="35" y="37"/>
                    </a:cubicBezTo>
                    <a:cubicBezTo>
                      <a:pt x="35" y="37"/>
                      <a:pt x="35" y="37"/>
                      <a:pt x="35" y="36"/>
                    </a:cubicBezTo>
                    <a:cubicBezTo>
                      <a:pt x="35" y="36"/>
                      <a:pt x="35" y="36"/>
                      <a:pt x="35" y="36"/>
                    </a:cubicBezTo>
                    <a:cubicBezTo>
                      <a:pt x="34" y="35"/>
                      <a:pt x="34" y="35"/>
                      <a:pt x="34" y="35"/>
                    </a:cubicBezTo>
                    <a:cubicBezTo>
                      <a:pt x="33" y="35"/>
                      <a:pt x="33" y="35"/>
                      <a:pt x="32" y="35"/>
                    </a:cubicBezTo>
                    <a:cubicBezTo>
                      <a:pt x="32" y="35"/>
                      <a:pt x="32" y="35"/>
                      <a:pt x="32" y="35"/>
                    </a:cubicBezTo>
                    <a:cubicBezTo>
                      <a:pt x="31" y="35"/>
                      <a:pt x="31" y="35"/>
                      <a:pt x="31" y="36"/>
                    </a:cubicBezTo>
                    <a:cubicBezTo>
                      <a:pt x="31" y="36"/>
                      <a:pt x="31" y="36"/>
                      <a:pt x="31" y="36"/>
                    </a:cubicBezTo>
                    <a:cubicBezTo>
                      <a:pt x="30" y="36"/>
                      <a:pt x="30" y="35"/>
                      <a:pt x="30" y="35"/>
                    </a:cubicBezTo>
                    <a:cubicBezTo>
                      <a:pt x="30" y="35"/>
                      <a:pt x="30" y="35"/>
                      <a:pt x="30" y="35"/>
                    </a:cubicBezTo>
                    <a:cubicBezTo>
                      <a:pt x="30" y="35"/>
                      <a:pt x="29" y="35"/>
                      <a:pt x="29" y="35"/>
                    </a:cubicBezTo>
                    <a:cubicBezTo>
                      <a:pt x="29" y="35"/>
                      <a:pt x="29" y="35"/>
                      <a:pt x="28" y="36"/>
                    </a:cubicBezTo>
                    <a:cubicBezTo>
                      <a:pt x="28" y="36"/>
                      <a:pt x="28" y="36"/>
                      <a:pt x="28" y="36"/>
                    </a:cubicBezTo>
                    <a:cubicBezTo>
                      <a:pt x="28" y="36"/>
                      <a:pt x="28" y="36"/>
                      <a:pt x="27" y="36"/>
                    </a:cubicBezTo>
                    <a:cubicBezTo>
                      <a:pt x="27" y="36"/>
                      <a:pt x="27" y="36"/>
                      <a:pt x="27" y="36"/>
                    </a:cubicBezTo>
                    <a:cubicBezTo>
                      <a:pt x="26" y="36"/>
                      <a:pt x="26" y="36"/>
                      <a:pt x="26" y="36"/>
                    </a:cubicBezTo>
                    <a:cubicBezTo>
                      <a:pt x="26" y="36"/>
                      <a:pt x="26" y="36"/>
                      <a:pt x="25" y="36"/>
                    </a:cubicBezTo>
                    <a:cubicBezTo>
                      <a:pt x="25" y="36"/>
                      <a:pt x="25" y="36"/>
                      <a:pt x="25" y="36"/>
                    </a:cubicBezTo>
                    <a:cubicBezTo>
                      <a:pt x="24" y="36"/>
                      <a:pt x="24" y="36"/>
                      <a:pt x="24" y="36"/>
                    </a:cubicBezTo>
                    <a:cubicBezTo>
                      <a:pt x="23" y="36"/>
                      <a:pt x="23" y="36"/>
                      <a:pt x="23" y="36"/>
                    </a:cubicBezTo>
                    <a:cubicBezTo>
                      <a:pt x="23" y="36"/>
                      <a:pt x="23" y="37"/>
                      <a:pt x="23" y="37"/>
                    </a:cubicBezTo>
                    <a:cubicBezTo>
                      <a:pt x="22" y="37"/>
                      <a:pt x="22" y="37"/>
                      <a:pt x="22" y="37"/>
                    </a:cubicBezTo>
                    <a:cubicBezTo>
                      <a:pt x="22" y="37"/>
                      <a:pt x="22" y="37"/>
                      <a:pt x="22" y="37"/>
                    </a:cubicBezTo>
                    <a:cubicBezTo>
                      <a:pt x="22" y="38"/>
                      <a:pt x="22" y="38"/>
                      <a:pt x="21" y="38"/>
                    </a:cubicBezTo>
                    <a:cubicBezTo>
                      <a:pt x="21" y="38"/>
                      <a:pt x="21" y="38"/>
                      <a:pt x="21" y="38"/>
                    </a:cubicBezTo>
                    <a:cubicBezTo>
                      <a:pt x="21" y="38"/>
                      <a:pt x="21" y="39"/>
                      <a:pt x="21" y="39"/>
                    </a:cubicBezTo>
                    <a:cubicBezTo>
                      <a:pt x="21" y="39"/>
                      <a:pt x="21" y="39"/>
                      <a:pt x="21" y="39"/>
                    </a:cubicBezTo>
                    <a:cubicBezTo>
                      <a:pt x="21" y="39"/>
                      <a:pt x="21" y="39"/>
                      <a:pt x="22" y="40"/>
                    </a:cubicBezTo>
                    <a:cubicBezTo>
                      <a:pt x="21" y="40"/>
                      <a:pt x="21" y="40"/>
                      <a:pt x="21" y="40"/>
                    </a:cubicBezTo>
                    <a:cubicBezTo>
                      <a:pt x="21" y="40"/>
                      <a:pt x="21" y="40"/>
                      <a:pt x="21" y="40"/>
                    </a:cubicBezTo>
                    <a:cubicBezTo>
                      <a:pt x="21" y="41"/>
                      <a:pt x="20" y="41"/>
                      <a:pt x="20" y="41"/>
                    </a:cubicBezTo>
                    <a:cubicBezTo>
                      <a:pt x="20" y="41"/>
                      <a:pt x="20" y="41"/>
                      <a:pt x="20" y="41"/>
                    </a:cubicBezTo>
                    <a:cubicBezTo>
                      <a:pt x="20" y="41"/>
                      <a:pt x="19" y="41"/>
                      <a:pt x="19" y="42"/>
                    </a:cubicBezTo>
                    <a:cubicBezTo>
                      <a:pt x="19" y="42"/>
                      <a:pt x="19" y="42"/>
                      <a:pt x="19" y="42"/>
                    </a:cubicBezTo>
                    <a:cubicBezTo>
                      <a:pt x="19" y="43"/>
                      <a:pt x="19" y="43"/>
                      <a:pt x="19" y="43"/>
                    </a:cubicBezTo>
                    <a:cubicBezTo>
                      <a:pt x="20" y="43"/>
                      <a:pt x="20" y="43"/>
                      <a:pt x="20" y="44"/>
                    </a:cubicBezTo>
                    <a:cubicBezTo>
                      <a:pt x="20" y="44"/>
                      <a:pt x="20" y="44"/>
                      <a:pt x="21" y="44"/>
                    </a:cubicBezTo>
                    <a:cubicBezTo>
                      <a:pt x="21" y="44"/>
                      <a:pt x="21" y="44"/>
                      <a:pt x="22" y="44"/>
                    </a:cubicBezTo>
                    <a:cubicBezTo>
                      <a:pt x="22" y="44"/>
                      <a:pt x="22" y="44"/>
                      <a:pt x="23" y="44"/>
                    </a:cubicBezTo>
                    <a:cubicBezTo>
                      <a:pt x="23" y="44"/>
                      <a:pt x="23" y="44"/>
                      <a:pt x="24" y="44"/>
                    </a:cubicBezTo>
                    <a:cubicBezTo>
                      <a:pt x="24" y="45"/>
                      <a:pt x="24" y="45"/>
                      <a:pt x="25" y="45"/>
                    </a:cubicBezTo>
                    <a:cubicBezTo>
                      <a:pt x="25" y="45"/>
                      <a:pt x="25" y="45"/>
                      <a:pt x="25" y="46"/>
                    </a:cubicBezTo>
                    <a:cubicBezTo>
                      <a:pt x="25" y="46"/>
                      <a:pt x="25" y="46"/>
                      <a:pt x="26" y="46"/>
                    </a:cubicBezTo>
                    <a:cubicBezTo>
                      <a:pt x="25" y="47"/>
                      <a:pt x="25" y="47"/>
                      <a:pt x="25" y="47"/>
                    </a:cubicBezTo>
                    <a:cubicBezTo>
                      <a:pt x="25" y="47"/>
                      <a:pt x="25" y="47"/>
                      <a:pt x="25" y="47"/>
                    </a:cubicBezTo>
                    <a:cubicBezTo>
                      <a:pt x="24" y="47"/>
                      <a:pt x="24" y="47"/>
                      <a:pt x="24" y="46"/>
                    </a:cubicBezTo>
                    <a:cubicBezTo>
                      <a:pt x="24" y="46"/>
                      <a:pt x="24" y="46"/>
                      <a:pt x="24" y="46"/>
                    </a:cubicBezTo>
                    <a:cubicBezTo>
                      <a:pt x="23" y="46"/>
                      <a:pt x="23" y="46"/>
                      <a:pt x="23" y="45"/>
                    </a:cubicBezTo>
                    <a:cubicBezTo>
                      <a:pt x="23" y="45"/>
                      <a:pt x="23" y="45"/>
                      <a:pt x="23" y="45"/>
                    </a:cubicBezTo>
                    <a:cubicBezTo>
                      <a:pt x="23" y="46"/>
                      <a:pt x="23" y="46"/>
                      <a:pt x="23" y="46"/>
                    </a:cubicBezTo>
                    <a:cubicBezTo>
                      <a:pt x="23" y="47"/>
                      <a:pt x="23" y="47"/>
                      <a:pt x="23" y="47"/>
                    </a:cubicBezTo>
                    <a:cubicBezTo>
                      <a:pt x="23" y="47"/>
                      <a:pt x="23" y="48"/>
                      <a:pt x="23" y="48"/>
                    </a:cubicBezTo>
                    <a:cubicBezTo>
                      <a:pt x="22" y="49"/>
                      <a:pt x="22" y="49"/>
                      <a:pt x="22" y="49"/>
                    </a:cubicBezTo>
                    <a:cubicBezTo>
                      <a:pt x="22" y="50"/>
                      <a:pt x="22" y="50"/>
                      <a:pt x="22" y="51"/>
                    </a:cubicBezTo>
                    <a:cubicBezTo>
                      <a:pt x="22" y="51"/>
                      <a:pt x="22" y="51"/>
                      <a:pt x="22" y="52"/>
                    </a:cubicBezTo>
                    <a:cubicBezTo>
                      <a:pt x="22" y="52"/>
                      <a:pt x="22" y="53"/>
                      <a:pt x="22" y="53"/>
                    </a:cubicBezTo>
                    <a:cubicBezTo>
                      <a:pt x="22" y="53"/>
                      <a:pt x="22" y="53"/>
                      <a:pt x="22" y="54"/>
                    </a:cubicBezTo>
                    <a:cubicBezTo>
                      <a:pt x="22" y="54"/>
                      <a:pt x="22" y="54"/>
                      <a:pt x="22" y="55"/>
                    </a:cubicBezTo>
                    <a:cubicBezTo>
                      <a:pt x="22" y="55"/>
                      <a:pt x="22" y="55"/>
                      <a:pt x="21" y="55"/>
                    </a:cubicBezTo>
                    <a:cubicBezTo>
                      <a:pt x="21" y="56"/>
                      <a:pt x="21" y="56"/>
                      <a:pt x="21" y="56"/>
                    </a:cubicBezTo>
                    <a:cubicBezTo>
                      <a:pt x="20" y="56"/>
                      <a:pt x="20" y="57"/>
                      <a:pt x="20" y="57"/>
                    </a:cubicBezTo>
                    <a:cubicBezTo>
                      <a:pt x="20" y="58"/>
                      <a:pt x="20" y="58"/>
                      <a:pt x="20" y="59"/>
                    </a:cubicBezTo>
                    <a:cubicBezTo>
                      <a:pt x="20" y="59"/>
                      <a:pt x="20" y="60"/>
                      <a:pt x="20" y="60"/>
                    </a:cubicBezTo>
                    <a:cubicBezTo>
                      <a:pt x="19" y="61"/>
                      <a:pt x="19" y="61"/>
                      <a:pt x="19" y="61"/>
                    </a:cubicBezTo>
                    <a:cubicBezTo>
                      <a:pt x="19" y="62"/>
                      <a:pt x="19" y="62"/>
                      <a:pt x="19" y="63"/>
                    </a:cubicBezTo>
                    <a:cubicBezTo>
                      <a:pt x="19" y="63"/>
                      <a:pt x="19" y="63"/>
                      <a:pt x="19" y="63"/>
                    </a:cubicBezTo>
                    <a:cubicBezTo>
                      <a:pt x="18" y="63"/>
                      <a:pt x="18" y="63"/>
                      <a:pt x="18" y="63"/>
                    </a:cubicBezTo>
                    <a:cubicBezTo>
                      <a:pt x="18" y="63"/>
                      <a:pt x="18" y="63"/>
                      <a:pt x="17" y="63"/>
                    </a:cubicBezTo>
                    <a:cubicBezTo>
                      <a:pt x="17" y="63"/>
                      <a:pt x="17" y="63"/>
                      <a:pt x="17" y="63"/>
                    </a:cubicBezTo>
                    <a:cubicBezTo>
                      <a:pt x="16" y="63"/>
                      <a:pt x="16" y="63"/>
                      <a:pt x="16" y="63"/>
                    </a:cubicBezTo>
                    <a:cubicBezTo>
                      <a:pt x="15" y="63"/>
                      <a:pt x="15" y="63"/>
                      <a:pt x="15" y="63"/>
                    </a:cubicBezTo>
                    <a:cubicBezTo>
                      <a:pt x="15" y="63"/>
                      <a:pt x="15" y="63"/>
                      <a:pt x="14" y="63"/>
                    </a:cubicBezTo>
                    <a:cubicBezTo>
                      <a:pt x="14" y="63"/>
                      <a:pt x="14" y="63"/>
                      <a:pt x="14" y="63"/>
                    </a:cubicBezTo>
                    <a:cubicBezTo>
                      <a:pt x="14" y="63"/>
                      <a:pt x="14" y="64"/>
                      <a:pt x="14" y="64"/>
                    </a:cubicBezTo>
                    <a:cubicBezTo>
                      <a:pt x="15" y="64"/>
                      <a:pt x="15" y="64"/>
                      <a:pt x="15" y="64"/>
                    </a:cubicBezTo>
                    <a:cubicBezTo>
                      <a:pt x="15" y="64"/>
                      <a:pt x="15" y="64"/>
                      <a:pt x="15" y="65"/>
                    </a:cubicBezTo>
                    <a:cubicBezTo>
                      <a:pt x="15" y="65"/>
                      <a:pt x="15" y="65"/>
                      <a:pt x="15" y="65"/>
                    </a:cubicBezTo>
                    <a:cubicBezTo>
                      <a:pt x="15" y="65"/>
                      <a:pt x="15" y="65"/>
                      <a:pt x="14" y="66"/>
                    </a:cubicBezTo>
                    <a:cubicBezTo>
                      <a:pt x="14" y="66"/>
                      <a:pt x="14" y="66"/>
                      <a:pt x="14" y="66"/>
                    </a:cubicBezTo>
                    <a:cubicBezTo>
                      <a:pt x="14" y="66"/>
                      <a:pt x="14" y="67"/>
                      <a:pt x="14" y="67"/>
                    </a:cubicBezTo>
                    <a:cubicBezTo>
                      <a:pt x="14" y="67"/>
                      <a:pt x="14" y="67"/>
                      <a:pt x="14" y="68"/>
                    </a:cubicBezTo>
                    <a:cubicBezTo>
                      <a:pt x="15" y="68"/>
                      <a:pt x="15" y="68"/>
                      <a:pt x="15" y="68"/>
                    </a:cubicBezTo>
                    <a:cubicBezTo>
                      <a:pt x="15" y="68"/>
                      <a:pt x="15" y="68"/>
                      <a:pt x="16" y="68"/>
                    </a:cubicBezTo>
                    <a:cubicBezTo>
                      <a:pt x="16" y="68"/>
                      <a:pt x="16" y="68"/>
                      <a:pt x="16" y="68"/>
                    </a:cubicBezTo>
                    <a:cubicBezTo>
                      <a:pt x="16" y="68"/>
                      <a:pt x="17" y="68"/>
                      <a:pt x="17" y="68"/>
                    </a:cubicBezTo>
                    <a:cubicBezTo>
                      <a:pt x="17" y="67"/>
                      <a:pt x="17" y="67"/>
                      <a:pt x="17" y="67"/>
                    </a:cubicBezTo>
                    <a:cubicBezTo>
                      <a:pt x="17" y="68"/>
                      <a:pt x="18" y="68"/>
                      <a:pt x="18" y="68"/>
                    </a:cubicBezTo>
                    <a:cubicBezTo>
                      <a:pt x="18" y="68"/>
                      <a:pt x="18" y="68"/>
                      <a:pt x="18" y="69"/>
                    </a:cubicBezTo>
                    <a:cubicBezTo>
                      <a:pt x="18" y="69"/>
                      <a:pt x="18" y="69"/>
                      <a:pt x="18" y="69"/>
                    </a:cubicBezTo>
                    <a:cubicBezTo>
                      <a:pt x="18" y="70"/>
                      <a:pt x="18" y="70"/>
                      <a:pt x="18" y="70"/>
                    </a:cubicBezTo>
                    <a:cubicBezTo>
                      <a:pt x="18" y="70"/>
                      <a:pt x="18" y="70"/>
                      <a:pt x="19" y="71"/>
                    </a:cubicBezTo>
                    <a:cubicBezTo>
                      <a:pt x="19" y="71"/>
                      <a:pt x="19" y="71"/>
                      <a:pt x="19" y="71"/>
                    </a:cubicBezTo>
                    <a:cubicBezTo>
                      <a:pt x="19" y="72"/>
                      <a:pt x="19" y="72"/>
                      <a:pt x="19" y="72"/>
                    </a:cubicBezTo>
                    <a:cubicBezTo>
                      <a:pt x="19" y="73"/>
                      <a:pt x="19" y="73"/>
                      <a:pt x="19" y="73"/>
                    </a:cubicBezTo>
                    <a:cubicBezTo>
                      <a:pt x="19" y="74"/>
                      <a:pt x="19" y="74"/>
                      <a:pt x="19" y="74"/>
                    </a:cubicBezTo>
                    <a:cubicBezTo>
                      <a:pt x="19" y="74"/>
                      <a:pt x="18" y="74"/>
                      <a:pt x="18" y="75"/>
                    </a:cubicBezTo>
                    <a:cubicBezTo>
                      <a:pt x="18" y="75"/>
                      <a:pt x="18" y="75"/>
                      <a:pt x="17" y="75"/>
                    </a:cubicBezTo>
                    <a:cubicBezTo>
                      <a:pt x="17" y="75"/>
                      <a:pt x="17" y="75"/>
                      <a:pt x="16" y="75"/>
                    </a:cubicBezTo>
                    <a:cubicBezTo>
                      <a:pt x="16" y="75"/>
                      <a:pt x="16" y="76"/>
                      <a:pt x="15" y="76"/>
                    </a:cubicBezTo>
                    <a:cubicBezTo>
                      <a:pt x="15" y="77"/>
                      <a:pt x="15" y="77"/>
                      <a:pt x="15" y="77"/>
                    </a:cubicBezTo>
                    <a:cubicBezTo>
                      <a:pt x="14" y="77"/>
                      <a:pt x="14" y="77"/>
                      <a:pt x="14" y="78"/>
                    </a:cubicBezTo>
                    <a:cubicBezTo>
                      <a:pt x="14" y="78"/>
                      <a:pt x="14" y="78"/>
                      <a:pt x="13" y="78"/>
                    </a:cubicBezTo>
                    <a:cubicBezTo>
                      <a:pt x="13" y="78"/>
                      <a:pt x="13" y="78"/>
                      <a:pt x="13" y="78"/>
                    </a:cubicBezTo>
                    <a:cubicBezTo>
                      <a:pt x="13" y="79"/>
                      <a:pt x="13" y="79"/>
                      <a:pt x="13" y="79"/>
                    </a:cubicBezTo>
                    <a:cubicBezTo>
                      <a:pt x="13" y="79"/>
                      <a:pt x="14" y="79"/>
                      <a:pt x="14" y="79"/>
                    </a:cubicBezTo>
                    <a:cubicBezTo>
                      <a:pt x="14" y="80"/>
                      <a:pt x="14" y="80"/>
                      <a:pt x="14" y="81"/>
                    </a:cubicBezTo>
                    <a:cubicBezTo>
                      <a:pt x="14" y="81"/>
                      <a:pt x="14" y="81"/>
                      <a:pt x="14" y="82"/>
                    </a:cubicBezTo>
                    <a:cubicBezTo>
                      <a:pt x="13" y="82"/>
                      <a:pt x="13" y="82"/>
                      <a:pt x="13" y="83"/>
                    </a:cubicBezTo>
                    <a:cubicBezTo>
                      <a:pt x="13" y="83"/>
                      <a:pt x="12" y="83"/>
                      <a:pt x="12" y="83"/>
                    </a:cubicBezTo>
                    <a:cubicBezTo>
                      <a:pt x="12" y="83"/>
                      <a:pt x="12" y="83"/>
                      <a:pt x="12" y="83"/>
                    </a:cubicBezTo>
                    <a:cubicBezTo>
                      <a:pt x="11" y="82"/>
                      <a:pt x="11" y="82"/>
                      <a:pt x="11" y="82"/>
                    </a:cubicBezTo>
                    <a:cubicBezTo>
                      <a:pt x="11" y="82"/>
                      <a:pt x="10" y="83"/>
                      <a:pt x="10" y="83"/>
                    </a:cubicBezTo>
                    <a:cubicBezTo>
                      <a:pt x="10" y="83"/>
                      <a:pt x="10" y="83"/>
                      <a:pt x="10" y="83"/>
                    </a:cubicBezTo>
                    <a:cubicBezTo>
                      <a:pt x="9" y="83"/>
                      <a:pt x="9" y="83"/>
                      <a:pt x="9" y="84"/>
                    </a:cubicBezTo>
                    <a:cubicBezTo>
                      <a:pt x="9" y="83"/>
                      <a:pt x="9" y="83"/>
                      <a:pt x="8" y="83"/>
                    </a:cubicBezTo>
                    <a:cubicBezTo>
                      <a:pt x="8" y="84"/>
                      <a:pt x="8" y="84"/>
                      <a:pt x="8" y="84"/>
                    </a:cubicBezTo>
                    <a:cubicBezTo>
                      <a:pt x="8" y="84"/>
                      <a:pt x="8" y="84"/>
                      <a:pt x="7" y="84"/>
                    </a:cubicBezTo>
                    <a:cubicBezTo>
                      <a:pt x="7" y="85"/>
                      <a:pt x="7" y="85"/>
                      <a:pt x="7" y="85"/>
                    </a:cubicBezTo>
                    <a:cubicBezTo>
                      <a:pt x="7" y="85"/>
                      <a:pt x="6" y="84"/>
                      <a:pt x="6" y="84"/>
                    </a:cubicBezTo>
                    <a:cubicBezTo>
                      <a:pt x="6" y="84"/>
                      <a:pt x="6" y="84"/>
                      <a:pt x="6" y="84"/>
                    </a:cubicBezTo>
                    <a:cubicBezTo>
                      <a:pt x="5" y="83"/>
                      <a:pt x="5" y="83"/>
                      <a:pt x="5" y="83"/>
                    </a:cubicBezTo>
                    <a:cubicBezTo>
                      <a:pt x="5" y="83"/>
                      <a:pt x="4" y="83"/>
                      <a:pt x="4" y="83"/>
                    </a:cubicBezTo>
                    <a:cubicBezTo>
                      <a:pt x="4" y="83"/>
                      <a:pt x="4" y="83"/>
                      <a:pt x="4" y="83"/>
                    </a:cubicBezTo>
                    <a:cubicBezTo>
                      <a:pt x="3" y="84"/>
                      <a:pt x="3" y="84"/>
                      <a:pt x="3" y="84"/>
                    </a:cubicBezTo>
                    <a:cubicBezTo>
                      <a:pt x="2" y="84"/>
                      <a:pt x="2" y="84"/>
                      <a:pt x="1" y="84"/>
                    </a:cubicBezTo>
                    <a:cubicBezTo>
                      <a:pt x="1" y="84"/>
                      <a:pt x="1" y="84"/>
                      <a:pt x="1" y="84"/>
                    </a:cubicBezTo>
                    <a:cubicBezTo>
                      <a:pt x="1" y="85"/>
                      <a:pt x="1" y="85"/>
                      <a:pt x="1" y="85"/>
                    </a:cubicBezTo>
                    <a:cubicBezTo>
                      <a:pt x="1" y="86"/>
                      <a:pt x="1" y="86"/>
                      <a:pt x="1" y="86"/>
                    </a:cubicBezTo>
                    <a:cubicBezTo>
                      <a:pt x="1" y="87"/>
                      <a:pt x="2" y="87"/>
                      <a:pt x="2" y="87"/>
                    </a:cubicBezTo>
                    <a:cubicBezTo>
                      <a:pt x="2" y="87"/>
                      <a:pt x="2" y="88"/>
                      <a:pt x="2" y="88"/>
                    </a:cubicBezTo>
                    <a:cubicBezTo>
                      <a:pt x="2" y="88"/>
                      <a:pt x="3" y="88"/>
                      <a:pt x="3" y="89"/>
                    </a:cubicBezTo>
                    <a:cubicBezTo>
                      <a:pt x="3" y="89"/>
                      <a:pt x="2" y="89"/>
                      <a:pt x="2" y="90"/>
                    </a:cubicBezTo>
                    <a:cubicBezTo>
                      <a:pt x="2" y="90"/>
                      <a:pt x="2" y="90"/>
                      <a:pt x="2" y="91"/>
                    </a:cubicBezTo>
                    <a:cubicBezTo>
                      <a:pt x="2" y="91"/>
                      <a:pt x="2" y="91"/>
                      <a:pt x="3" y="92"/>
                    </a:cubicBezTo>
                    <a:cubicBezTo>
                      <a:pt x="3" y="92"/>
                      <a:pt x="3" y="92"/>
                      <a:pt x="4" y="92"/>
                    </a:cubicBezTo>
                    <a:cubicBezTo>
                      <a:pt x="4" y="92"/>
                      <a:pt x="4" y="93"/>
                      <a:pt x="4" y="93"/>
                    </a:cubicBezTo>
                    <a:cubicBezTo>
                      <a:pt x="4" y="93"/>
                      <a:pt x="4" y="93"/>
                      <a:pt x="4" y="93"/>
                    </a:cubicBezTo>
                    <a:cubicBezTo>
                      <a:pt x="4" y="94"/>
                      <a:pt x="4" y="94"/>
                      <a:pt x="4" y="94"/>
                    </a:cubicBezTo>
                    <a:cubicBezTo>
                      <a:pt x="4" y="95"/>
                      <a:pt x="4" y="95"/>
                      <a:pt x="4" y="95"/>
                    </a:cubicBezTo>
                    <a:cubicBezTo>
                      <a:pt x="4" y="96"/>
                      <a:pt x="4" y="96"/>
                      <a:pt x="4" y="96"/>
                    </a:cubicBezTo>
                    <a:cubicBezTo>
                      <a:pt x="4" y="97"/>
                      <a:pt x="4" y="97"/>
                      <a:pt x="4" y="97"/>
                    </a:cubicBezTo>
                    <a:cubicBezTo>
                      <a:pt x="3" y="97"/>
                      <a:pt x="3" y="97"/>
                      <a:pt x="3" y="98"/>
                    </a:cubicBezTo>
                    <a:cubicBezTo>
                      <a:pt x="3" y="98"/>
                      <a:pt x="2" y="98"/>
                      <a:pt x="2" y="99"/>
                    </a:cubicBezTo>
                    <a:cubicBezTo>
                      <a:pt x="2" y="99"/>
                      <a:pt x="2" y="99"/>
                      <a:pt x="2" y="99"/>
                    </a:cubicBezTo>
                    <a:cubicBezTo>
                      <a:pt x="1" y="100"/>
                      <a:pt x="1" y="100"/>
                      <a:pt x="1" y="100"/>
                    </a:cubicBezTo>
                    <a:cubicBezTo>
                      <a:pt x="2" y="100"/>
                      <a:pt x="2" y="100"/>
                      <a:pt x="2" y="101"/>
                    </a:cubicBezTo>
                    <a:cubicBezTo>
                      <a:pt x="2" y="101"/>
                      <a:pt x="2" y="101"/>
                      <a:pt x="2" y="101"/>
                    </a:cubicBezTo>
                    <a:cubicBezTo>
                      <a:pt x="2" y="101"/>
                      <a:pt x="3" y="101"/>
                      <a:pt x="3" y="101"/>
                    </a:cubicBezTo>
                    <a:cubicBezTo>
                      <a:pt x="3" y="101"/>
                      <a:pt x="3" y="102"/>
                      <a:pt x="3" y="102"/>
                    </a:cubicBezTo>
                    <a:cubicBezTo>
                      <a:pt x="3" y="102"/>
                      <a:pt x="3" y="102"/>
                      <a:pt x="3" y="103"/>
                    </a:cubicBezTo>
                    <a:cubicBezTo>
                      <a:pt x="2" y="103"/>
                      <a:pt x="2" y="103"/>
                      <a:pt x="2" y="104"/>
                    </a:cubicBezTo>
                    <a:cubicBezTo>
                      <a:pt x="2" y="104"/>
                      <a:pt x="1" y="104"/>
                      <a:pt x="1" y="104"/>
                    </a:cubicBezTo>
                    <a:cubicBezTo>
                      <a:pt x="1" y="104"/>
                      <a:pt x="0" y="104"/>
                      <a:pt x="0" y="104"/>
                    </a:cubicBezTo>
                    <a:cubicBezTo>
                      <a:pt x="0" y="104"/>
                      <a:pt x="0" y="104"/>
                      <a:pt x="0" y="104"/>
                    </a:cubicBezTo>
                    <a:cubicBezTo>
                      <a:pt x="0" y="105"/>
                      <a:pt x="0" y="105"/>
                      <a:pt x="0" y="105"/>
                    </a:cubicBezTo>
                    <a:cubicBezTo>
                      <a:pt x="0" y="105"/>
                      <a:pt x="0" y="106"/>
                      <a:pt x="0" y="106"/>
                    </a:cubicBezTo>
                    <a:cubicBezTo>
                      <a:pt x="0" y="106"/>
                      <a:pt x="1" y="106"/>
                      <a:pt x="1" y="107"/>
                    </a:cubicBezTo>
                    <a:cubicBezTo>
                      <a:pt x="1" y="107"/>
                      <a:pt x="1" y="107"/>
                      <a:pt x="1" y="108"/>
                    </a:cubicBezTo>
                    <a:cubicBezTo>
                      <a:pt x="1" y="108"/>
                      <a:pt x="1" y="108"/>
                      <a:pt x="1" y="109"/>
                    </a:cubicBezTo>
                    <a:cubicBezTo>
                      <a:pt x="1" y="109"/>
                      <a:pt x="1" y="109"/>
                      <a:pt x="0" y="109"/>
                    </a:cubicBezTo>
                    <a:cubicBezTo>
                      <a:pt x="0" y="110"/>
                      <a:pt x="0" y="110"/>
                      <a:pt x="0" y="110"/>
                    </a:cubicBezTo>
                    <a:cubicBezTo>
                      <a:pt x="0" y="110"/>
                      <a:pt x="0" y="111"/>
                      <a:pt x="0" y="111"/>
                    </a:cubicBezTo>
                    <a:cubicBezTo>
                      <a:pt x="0" y="111"/>
                      <a:pt x="0" y="111"/>
                      <a:pt x="1" y="112"/>
                    </a:cubicBezTo>
                    <a:cubicBezTo>
                      <a:pt x="1" y="112"/>
                      <a:pt x="1" y="112"/>
                      <a:pt x="1" y="112"/>
                    </a:cubicBezTo>
                    <a:cubicBezTo>
                      <a:pt x="1" y="113"/>
                      <a:pt x="1" y="113"/>
                      <a:pt x="2" y="114"/>
                    </a:cubicBezTo>
                    <a:cubicBezTo>
                      <a:pt x="2" y="114"/>
                      <a:pt x="2" y="115"/>
                      <a:pt x="2" y="115"/>
                    </a:cubicBezTo>
                    <a:cubicBezTo>
                      <a:pt x="2" y="115"/>
                      <a:pt x="2" y="115"/>
                      <a:pt x="2" y="115"/>
                    </a:cubicBezTo>
                    <a:cubicBezTo>
                      <a:pt x="3" y="115"/>
                      <a:pt x="3" y="115"/>
                      <a:pt x="3" y="115"/>
                    </a:cubicBezTo>
                    <a:cubicBezTo>
                      <a:pt x="3" y="116"/>
                      <a:pt x="3" y="116"/>
                      <a:pt x="3" y="116"/>
                    </a:cubicBezTo>
                    <a:cubicBezTo>
                      <a:pt x="3" y="116"/>
                      <a:pt x="3" y="116"/>
                      <a:pt x="3" y="117"/>
                    </a:cubicBezTo>
                    <a:cubicBezTo>
                      <a:pt x="3" y="117"/>
                      <a:pt x="2" y="117"/>
                      <a:pt x="2" y="117"/>
                    </a:cubicBezTo>
                    <a:cubicBezTo>
                      <a:pt x="2" y="117"/>
                      <a:pt x="2" y="118"/>
                      <a:pt x="2" y="118"/>
                    </a:cubicBezTo>
                    <a:cubicBezTo>
                      <a:pt x="2" y="118"/>
                      <a:pt x="2" y="118"/>
                      <a:pt x="2" y="119"/>
                    </a:cubicBezTo>
                    <a:cubicBezTo>
                      <a:pt x="2" y="119"/>
                      <a:pt x="3" y="119"/>
                      <a:pt x="3" y="119"/>
                    </a:cubicBezTo>
                    <a:cubicBezTo>
                      <a:pt x="3" y="119"/>
                      <a:pt x="3" y="119"/>
                      <a:pt x="4" y="119"/>
                    </a:cubicBezTo>
                    <a:cubicBezTo>
                      <a:pt x="4" y="119"/>
                      <a:pt x="4" y="119"/>
                      <a:pt x="4" y="120"/>
                    </a:cubicBezTo>
                    <a:cubicBezTo>
                      <a:pt x="4" y="120"/>
                      <a:pt x="4" y="120"/>
                      <a:pt x="5" y="121"/>
                    </a:cubicBezTo>
                    <a:cubicBezTo>
                      <a:pt x="5" y="121"/>
                      <a:pt x="5" y="121"/>
                      <a:pt x="5" y="122"/>
                    </a:cubicBezTo>
                    <a:cubicBezTo>
                      <a:pt x="5" y="122"/>
                      <a:pt x="5" y="122"/>
                      <a:pt x="4" y="122"/>
                    </a:cubicBezTo>
                    <a:cubicBezTo>
                      <a:pt x="5" y="123"/>
                      <a:pt x="5" y="123"/>
                      <a:pt x="5" y="124"/>
                    </a:cubicBezTo>
                    <a:cubicBezTo>
                      <a:pt x="5" y="124"/>
                      <a:pt x="5" y="124"/>
                      <a:pt x="5" y="124"/>
                    </a:cubicBezTo>
                    <a:cubicBezTo>
                      <a:pt x="4" y="124"/>
                      <a:pt x="4" y="124"/>
                      <a:pt x="4" y="124"/>
                    </a:cubicBezTo>
                    <a:cubicBezTo>
                      <a:pt x="4" y="125"/>
                      <a:pt x="3" y="125"/>
                      <a:pt x="3" y="125"/>
                    </a:cubicBezTo>
                    <a:cubicBezTo>
                      <a:pt x="3" y="125"/>
                      <a:pt x="3" y="125"/>
                      <a:pt x="2" y="126"/>
                    </a:cubicBezTo>
                    <a:cubicBezTo>
                      <a:pt x="2" y="126"/>
                      <a:pt x="2" y="126"/>
                      <a:pt x="2" y="127"/>
                    </a:cubicBezTo>
                    <a:cubicBezTo>
                      <a:pt x="1" y="127"/>
                      <a:pt x="1" y="127"/>
                      <a:pt x="1" y="128"/>
                    </a:cubicBezTo>
                    <a:cubicBezTo>
                      <a:pt x="1" y="128"/>
                      <a:pt x="1" y="128"/>
                      <a:pt x="0" y="129"/>
                    </a:cubicBezTo>
                    <a:cubicBezTo>
                      <a:pt x="0" y="129"/>
                      <a:pt x="0" y="129"/>
                      <a:pt x="0" y="129"/>
                    </a:cubicBezTo>
                    <a:cubicBezTo>
                      <a:pt x="0" y="130"/>
                      <a:pt x="0" y="130"/>
                      <a:pt x="1" y="130"/>
                    </a:cubicBezTo>
                    <a:cubicBezTo>
                      <a:pt x="0" y="130"/>
                      <a:pt x="0" y="130"/>
                      <a:pt x="0" y="131"/>
                    </a:cubicBezTo>
                    <a:cubicBezTo>
                      <a:pt x="0" y="131"/>
                      <a:pt x="0" y="131"/>
                      <a:pt x="0" y="132"/>
                    </a:cubicBezTo>
                    <a:cubicBezTo>
                      <a:pt x="0" y="132"/>
                      <a:pt x="0" y="132"/>
                      <a:pt x="0" y="133"/>
                    </a:cubicBezTo>
                    <a:cubicBezTo>
                      <a:pt x="0" y="133"/>
                      <a:pt x="1" y="133"/>
                      <a:pt x="1" y="134"/>
                    </a:cubicBezTo>
                    <a:cubicBezTo>
                      <a:pt x="1" y="134"/>
                      <a:pt x="1" y="134"/>
                      <a:pt x="1" y="134"/>
                    </a:cubicBezTo>
                    <a:cubicBezTo>
                      <a:pt x="2" y="134"/>
                      <a:pt x="2" y="135"/>
                      <a:pt x="2" y="135"/>
                    </a:cubicBezTo>
                    <a:cubicBezTo>
                      <a:pt x="2" y="135"/>
                      <a:pt x="2" y="135"/>
                      <a:pt x="2" y="136"/>
                    </a:cubicBezTo>
                    <a:cubicBezTo>
                      <a:pt x="3" y="136"/>
                      <a:pt x="3" y="136"/>
                      <a:pt x="3" y="137"/>
                    </a:cubicBezTo>
                    <a:cubicBezTo>
                      <a:pt x="4" y="137"/>
                      <a:pt x="4" y="137"/>
                      <a:pt x="4" y="137"/>
                    </a:cubicBezTo>
                    <a:cubicBezTo>
                      <a:pt x="5" y="137"/>
                      <a:pt x="5" y="137"/>
                      <a:pt x="5" y="138"/>
                    </a:cubicBezTo>
                    <a:cubicBezTo>
                      <a:pt x="5" y="138"/>
                      <a:pt x="5" y="138"/>
                      <a:pt x="5" y="138"/>
                    </a:cubicBezTo>
                    <a:cubicBezTo>
                      <a:pt x="5" y="139"/>
                      <a:pt x="5" y="139"/>
                      <a:pt x="5" y="140"/>
                    </a:cubicBezTo>
                    <a:cubicBezTo>
                      <a:pt x="5" y="140"/>
                      <a:pt x="5" y="140"/>
                      <a:pt x="5" y="141"/>
                    </a:cubicBezTo>
                    <a:cubicBezTo>
                      <a:pt x="5" y="141"/>
                      <a:pt x="5" y="141"/>
                      <a:pt x="4" y="142"/>
                    </a:cubicBezTo>
                    <a:cubicBezTo>
                      <a:pt x="4" y="142"/>
                      <a:pt x="4" y="142"/>
                      <a:pt x="4" y="142"/>
                    </a:cubicBezTo>
                    <a:cubicBezTo>
                      <a:pt x="4" y="143"/>
                      <a:pt x="4" y="143"/>
                      <a:pt x="4" y="143"/>
                    </a:cubicBezTo>
                    <a:cubicBezTo>
                      <a:pt x="4" y="143"/>
                      <a:pt x="4" y="144"/>
                      <a:pt x="4" y="144"/>
                    </a:cubicBezTo>
                    <a:cubicBezTo>
                      <a:pt x="4" y="144"/>
                      <a:pt x="4" y="144"/>
                      <a:pt x="4" y="144"/>
                    </a:cubicBezTo>
                    <a:cubicBezTo>
                      <a:pt x="4" y="144"/>
                      <a:pt x="4" y="144"/>
                      <a:pt x="3" y="144"/>
                    </a:cubicBezTo>
                    <a:cubicBezTo>
                      <a:pt x="3" y="145"/>
                      <a:pt x="3" y="145"/>
                      <a:pt x="3" y="145"/>
                    </a:cubicBezTo>
                    <a:cubicBezTo>
                      <a:pt x="3" y="145"/>
                      <a:pt x="3" y="145"/>
                      <a:pt x="3" y="146"/>
                    </a:cubicBezTo>
                    <a:cubicBezTo>
                      <a:pt x="3" y="146"/>
                      <a:pt x="3" y="146"/>
                      <a:pt x="3" y="146"/>
                    </a:cubicBezTo>
                    <a:cubicBezTo>
                      <a:pt x="3" y="147"/>
                      <a:pt x="3" y="147"/>
                      <a:pt x="4" y="147"/>
                    </a:cubicBezTo>
                    <a:cubicBezTo>
                      <a:pt x="4" y="147"/>
                      <a:pt x="4" y="147"/>
                      <a:pt x="5" y="147"/>
                    </a:cubicBezTo>
                    <a:cubicBezTo>
                      <a:pt x="5" y="147"/>
                      <a:pt x="5" y="147"/>
                      <a:pt x="5" y="147"/>
                    </a:cubicBezTo>
                    <a:cubicBezTo>
                      <a:pt x="6" y="147"/>
                      <a:pt x="6" y="147"/>
                      <a:pt x="6" y="148"/>
                    </a:cubicBezTo>
                    <a:cubicBezTo>
                      <a:pt x="6" y="148"/>
                      <a:pt x="6" y="148"/>
                      <a:pt x="6" y="148"/>
                    </a:cubicBezTo>
                    <a:cubicBezTo>
                      <a:pt x="6" y="148"/>
                      <a:pt x="6" y="149"/>
                      <a:pt x="6" y="149"/>
                    </a:cubicBezTo>
                    <a:cubicBezTo>
                      <a:pt x="6" y="149"/>
                      <a:pt x="6" y="150"/>
                      <a:pt x="6" y="150"/>
                    </a:cubicBezTo>
                    <a:cubicBezTo>
                      <a:pt x="6" y="150"/>
                      <a:pt x="6" y="151"/>
                      <a:pt x="7" y="151"/>
                    </a:cubicBezTo>
                    <a:cubicBezTo>
                      <a:pt x="7" y="152"/>
                      <a:pt x="7" y="152"/>
                      <a:pt x="8" y="152"/>
                    </a:cubicBezTo>
                    <a:cubicBezTo>
                      <a:pt x="8" y="153"/>
                      <a:pt x="8" y="153"/>
                      <a:pt x="8" y="153"/>
                    </a:cubicBezTo>
                    <a:cubicBezTo>
                      <a:pt x="8" y="154"/>
                      <a:pt x="8" y="154"/>
                      <a:pt x="9" y="155"/>
                    </a:cubicBezTo>
                    <a:cubicBezTo>
                      <a:pt x="9" y="155"/>
                      <a:pt x="9" y="155"/>
                      <a:pt x="9" y="155"/>
                    </a:cubicBezTo>
                    <a:cubicBezTo>
                      <a:pt x="10" y="155"/>
                      <a:pt x="10" y="155"/>
                      <a:pt x="10" y="155"/>
                    </a:cubicBezTo>
                    <a:cubicBezTo>
                      <a:pt x="10" y="155"/>
                      <a:pt x="10" y="155"/>
                      <a:pt x="11" y="155"/>
                    </a:cubicBezTo>
                    <a:cubicBezTo>
                      <a:pt x="11" y="154"/>
                      <a:pt x="11" y="154"/>
                      <a:pt x="11" y="154"/>
                    </a:cubicBezTo>
                    <a:cubicBezTo>
                      <a:pt x="11" y="154"/>
                      <a:pt x="11" y="154"/>
                      <a:pt x="12" y="154"/>
                    </a:cubicBezTo>
                    <a:cubicBezTo>
                      <a:pt x="12" y="154"/>
                      <a:pt x="12" y="154"/>
                      <a:pt x="12" y="154"/>
                    </a:cubicBezTo>
                    <a:cubicBezTo>
                      <a:pt x="12" y="155"/>
                      <a:pt x="12" y="155"/>
                      <a:pt x="12" y="155"/>
                    </a:cubicBezTo>
                    <a:cubicBezTo>
                      <a:pt x="12" y="155"/>
                      <a:pt x="13" y="155"/>
                      <a:pt x="13" y="156"/>
                    </a:cubicBezTo>
                    <a:cubicBezTo>
                      <a:pt x="13" y="156"/>
                      <a:pt x="13" y="156"/>
                      <a:pt x="13" y="156"/>
                    </a:cubicBezTo>
                    <a:cubicBezTo>
                      <a:pt x="13" y="156"/>
                      <a:pt x="13" y="156"/>
                      <a:pt x="14" y="156"/>
                    </a:cubicBezTo>
                    <a:cubicBezTo>
                      <a:pt x="14" y="156"/>
                      <a:pt x="14" y="156"/>
                      <a:pt x="14" y="156"/>
                    </a:cubicBezTo>
                    <a:cubicBezTo>
                      <a:pt x="14" y="156"/>
                      <a:pt x="14" y="156"/>
                      <a:pt x="14" y="156"/>
                    </a:cubicBezTo>
                    <a:cubicBezTo>
                      <a:pt x="15" y="156"/>
                      <a:pt x="15" y="156"/>
                      <a:pt x="15" y="156"/>
                    </a:cubicBezTo>
                    <a:cubicBezTo>
                      <a:pt x="15" y="156"/>
                      <a:pt x="15" y="156"/>
                      <a:pt x="15" y="156"/>
                    </a:cubicBezTo>
                    <a:cubicBezTo>
                      <a:pt x="16" y="157"/>
                      <a:pt x="16" y="157"/>
                      <a:pt x="16" y="157"/>
                    </a:cubicBezTo>
                    <a:cubicBezTo>
                      <a:pt x="17" y="157"/>
                      <a:pt x="17" y="157"/>
                      <a:pt x="17" y="157"/>
                    </a:cubicBezTo>
                    <a:cubicBezTo>
                      <a:pt x="17" y="157"/>
                      <a:pt x="18" y="157"/>
                      <a:pt x="18" y="156"/>
                    </a:cubicBezTo>
                    <a:cubicBezTo>
                      <a:pt x="18" y="156"/>
                      <a:pt x="18" y="156"/>
                      <a:pt x="18" y="156"/>
                    </a:cubicBezTo>
                    <a:cubicBezTo>
                      <a:pt x="18" y="156"/>
                      <a:pt x="18" y="156"/>
                      <a:pt x="18" y="155"/>
                    </a:cubicBezTo>
                    <a:cubicBezTo>
                      <a:pt x="19" y="155"/>
                      <a:pt x="19" y="155"/>
                      <a:pt x="19" y="156"/>
                    </a:cubicBezTo>
                    <a:cubicBezTo>
                      <a:pt x="20" y="156"/>
                      <a:pt x="20" y="156"/>
                      <a:pt x="20" y="156"/>
                    </a:cubicBezTo>
                    <a:cubicBezTo>
                      <a:pt x="20" y="156"/>
                      <a:pt x="20" y="157"/>
                      <a:pt x="20" y="157"/>
                    </a:cubicBezTo>
                    <a:cubicBezTo>
                      <a:pt x="20" y="157"/>
                      <a:pt x="20" y="158"/>
                      <a:pt x="21" y="158"/>
                    </a:cubicBezTo>
                    <a:cubicBezTo>
                      <a:pt x="21" y="158"/>
                      <a:pt x="21" y="158"/>
                      <a:pt x="21" y="159"/>
                    </a:cubicBezTo>
                    <a:cubicBezTo>
                      <a:pt x="22" y="159"/>
                      <a:pt x="22" y="159"/>
                      <a:pt x="22" y="159"/>
                    </a:cubicBezTo>
                    <a:cubicBezTo>
                      <a:pt x="23" y="159"/>
                      <a:pt x="23" y="159"/>
                      <a:pt x="24" y="160"/>
                    </a:cubicBezTo>
                    <a:cubicBezTo>
                      <a:pt x="24" y="159"/>
                      <a:pt x="25" y="160"/>
                      <a:pt x="25" y="159"/>
                    </a:cubicBezTo>
                    <a:cubicBezTo>
                      <a:pt x="25" y="159"/>
                      <a:pt x="25" y="159"/>
                      <a:pt x="26" y="159"/>
                    </a:cubicBezTo>
                    <a:cubicBezTo>
                      <a:pt x="26" y="159"/>
                      <a:pt x="26" y="159"/>
                      <a:pt x="27" y="159"/>
                    </a:cubicBezTo>
                    <a:cubicBezTo>
                      <a:pt x="27" y="159"/>
                      <a:pt x="27" y="159"/>
                      <a:pt x="27" y="159"/>
                    </a:cubicBezTo>
                    <a:cubicBezTo>
                      <a:pt x="28" y="159"/>
                      <a:pt x="28" y="159"/>
                      <a:pt x="28" y="159"/>
                    </a:cubicBezTo>
                    <a:cubicBezTo>
                      <a:pt x="29" y="160"/>
                      <a:pt x="29" y="160"/>
                      <a:pt x="29" y="160"/>
                    </a:cubicBezTo>
                    <a:cubicBezTo>
                      <a:pt x="29" y="160"/>
                      <a:pt x="30" y="160"/>
                      <a:pt x="30" y="160"/>
                    </a:cubicBezTo>
                    <a:cubicBezTo>
                      <a:pt x="30" y="160"/>
                      <a:pt x="30" y="160"/>
                      <a:pt x="31" y="161"/>
                    </a:cubicBezTo>
                    <a:cubicBezTo>
                      <a:pt x="31" y="161"/>
                      <a:pt x="31" y="161"/>
                      <a:pt x="31" y="161"/>
                    </a:cubicBezTo>
                    <a:cubicBezTo>
                      <a:pt x="32" y="161"/>
                      <a:pt x="32" y="162"/>
                      <a:pt x="32" y="162"/>
                    </a:cubicBezTo>
                    <a:cubicBezTo>
                      <a:pt x="32" y="162"/>
                      <a:pt x="32" y="162"/>
                      <a:pt x="33" y="162"/>
                    </a:cubicBezTo>
                    <a:cubicBezTo>
                      <a:pt x="32" y="163"/>
                      <a:pt x="32" y="163"/>
                      <a:pt x="32" y="163"/>
                    </a:cubicBezTo>
                    <a:cubicBezTo>
                      <a:pt x="32" y="164"/>
                      <a:pt x="32" y="164"/>
                      <a:pt x="31" y="164"/>
                    </a:cubicBezTo>
                    <a:cubicBezTo>
                      <a:pt x="31" y="165"/>
                      <a:pt x="31" y="165"/>
                      <a:pt x="31" y="165"/>
                    </a:cubicBezTo>
                    <a:cubicBezTo>
                      <a:pt x="31" y="166"/>
                      <a:pt x="31" y="166"/>
                      <a:pt x="31" y="166"/>
                    </a:cubicBezTo>
                    <a:cubicBezTo>
                      <a:pt x="31" y="167"/>
                      <a:pt x="31" y="167"/>
                      <a:pt x="31" y="167"/>
                    </a:cubicBezTo>
                    <a:cubicBezTo>
                      <a:pt x="31" y="167"/>
                      <a:pt x="31" y="167"/>
                      <a:pt x="31" y="167"/>
                    </a:cubicBezTo>
                    <a:cubicBezTo>
                      <a:pt x="30" y="168"/>
                      <a:pt x="30" y="168"/>
                      <a:pt x="30" y="168"/>
                    </a:cubicBezTo>
                    <a:cubicBezTo>
                      <a:pt x="30" y="168"/>
                      <a:pt x="29" y="168"/>
                      <a:pt x="29" y="168"/>
                    </a:cubicBezTo>
                    <a:cubicBezTo>
                      <a:pt x="29" y="168"/>
                      <a:pt x="29" y="168"/>
                      <a:pt x="28" y="168"/>
                    </a:cubicBezTo>
                    <a:cubicBezTo>
                      <a:pt x="28" y="169"/>
                      <a:pt x="28" y="169"/>
                      <a:pt x="28" y="169"/>
                    </a:cubicBezTo>
                    <a:cubicBezTo>
                      <a:pt x="27" y="170"/>
                      <a:pt x="27" y="170"/>
                      <a:pt x="26" y="170"/>
                    </a:cubicBezTo>
                    <a:cubicBezTo>
                      <a:pt x="26" y="171"/>
                      <a:pt x="26" y="171"/>
                      <a:pt x="26" y="172"/>
                    </a:cubicBezTo>
                    <a:cubicBezTo>
                      <a:pt x="26" y="172"/>
                      <a:pt x="25" y="172"/>
                      <a:pt x="25" y="173"/>
                    </a:cubicBezTo>
                    <a:cubicBezTo>
                      <a:pt x="25" y="174"/>
                      <a:pt x="25" y="174"/>
                      <a:pt x="25" y="175"/>
                    </a:cubicBezTo>
                    <a:cubicBezTo>
                      <a:pt x="25" y="175"/>
                      <a:pt x="24" y="175"/>
                      <a:pt x="24" y="176"/>
                    </a:cubicBezTo>
                    <a:cubicBezTo>
                      <a:pt x="24" y="176"/>
                      <a:pt x="24" y="176"/>
                      <a:pt x="24" y="177"/>
                    </a:cubicBezTo>
                    <a:cubicBezTo>
                      <a:pt x="24" y="177"/>
                      <a:pt x="23" y="177"/>
                      <a:pt x="23" y="178"/>
                    </a:cubicBezTo>
                    <a:cubicBezTo>
                      <a:pt x="23" y="178"/>
                      <a:pt x="23" y="179"/>
                      <a:pt x="23" y="179"/>
                    </a:cubicBezTo>
                    <a:cubicBezTo>
                      <a:pt x="23" y="180"/>
                      <a:pt x="23" y="180"/>
                      <a:pt x="23" y="180"/>
                    </a:cubicBezTo>
                    <a:cubicBezTo>
                      <a:pt x="23" y="180"/>
                      <a:pt x="23" y="181"/>
                      <a:pt x="22" y="181"/>
                    </a:cubicBezTo>
                    <a:cubicBezTo>
                      <a:pt x="22" y="182"/>
                      <a:pt x="22" y="182"/>
                      <a:pt x="22" y="182"/>
                    </a:cubicBezTo>
                    <a:cubicBezTo>
                      <a:pt x="22" y="183"/>
                      <a:pt x="21" y="183"/>
                      <a:pt x="21" y="184"/>
                    </a:cubicBezTo>
                    <a:cubicBezTo>
                      <a:pt x="21" y="184"/>
                      <a:pt x="21" y="184"/>
                      <a:pt x="21" y="185"/>
                    </a:cubicBezTo>
                    <a:cubicBezTo>
                      <a:pt x="21" y="185"/>
                      <a:pt x="21" y="185"/>
                      <a:pt x="21" y="185"/>
                    </a:cubicBezTo>
                    <a:cubicBezTo>
                      <a:pt x="21" y="186"/>
                      <a:pt x="21" y="187"/>
                      <a:pt x="21" y="188"/>
                    </a:cubicBezTo>
                    <a:cubicBezTo>
                      <a:pt x="21" y="188"/>
                      <a:pt x="21" y="188"/>
                      <a:pt x="21" y="189"/>
                    </a:cubicBezTo>
                    <a:cubicBezTo>
                      <a:pt x="21" y="189"/>
                      <a:pt x="21" y="189"/>
                      <a:pt x="20" y="189"/>
                    </a:cubicBezTo>
                    <a:cubicBezTo>
                      <a:pt x="20" y="190"/>
                      <a:pt x="20" y="190"/>
                      <a:pt x="20" y="190"/>
                    </a:cubicBezTo>
                    <a:cubicBezTo>
                      <a:pt x="20" y="190"/>
                      <a:pt x="20" y="190"/>
                      <a:pt x="19" y="191"/>
                    </a:cubicBezTo>
                    <a:cubicBezTo>
                      <a:pt x="19" y="191"/>
                      <a:pt x="19" y="191"/>
                      <a:pt x="19" y="191"/>
                    </a:cubicBezTo>
                    <a:cubicBezTo>
                      <a:pt x="19" y="191"/>
                      <a:pt x="19" y="191"/>
                      <a:pt x="18" y="192"/>
                    </a:cubicBezTo>
                    <a:cubicBezTo>
                      <a:pt x="19" y="192"/>
                      <a:pt x="19" y="192"/>
                      <a:pt x="19" y="192"/>
                    </a:cubicBezTo>
                    <a:cubicBezTo>
                      <a:pt x="19" y="193"/>
                      <a:pt x="19" y="193"/>
                      <a:pt x="19" y="193"/>
                    </a:cubicBezTo>
                    <a:cubicBezTo>
                      <a:pt x="19" y="194"/>
                      <a:pt x="19" y="194"/>
                      <a:pt x="19" y="194"/>
                    </a:cubicBezTo>
                    <a:cubicBezTo>
                      <a:pt x="19" y="195"/>
                      <a:pt x="19" y="195"/>
                      <a:pt x="19" y="195"/>
                    </a:cubicBezTo>
                    <a:cubicBezTo>
                      <a:pt x="19" y="195"/>
                      <a:pt x="19" y="196"/>
                      <a:pt x="19" y="196"/>
                    </a:cubicBezTo>
                    <a:cubicBezTo>
                      <a:pt x="20" y="196"/>
                      <a:pt x="20" y="196"/>
                      <a:pt x="20" y="196"/>
                    </a:cubicBezTo>
                    <a:cubicBezTo>
                      <a:pt x="20" y="196"/>
                      <a:pt x="21" y="196"/>
                      <a:pt x="21" y="196"/>
                    </a:cubicBezTo>
                    <a:cubicBezTo>
                      <a:pt x="21" y="196"/>
                      <a:pt x="21" y="196"/>
                      <a:pt x="21" y="196"/>
                    </a:cubicBezTo>
                    <a:cubicBezTo>
                      <a:pt x="22" y="196"/>
                      <a:pt x="22" y="196"/>
                      <a:pt x="22" y="196"/>
                    </a:cubicBezTo>
                    <a:cubicBezTo>
                      <a:pt x="22" y="196"/>
                      <a:pt x="22" y="197"/>
                      <a:pt x="22" y="197"/>
                    </a:cubicBezTo>
                    <a:cubicBezTo>
                      <a:pt x="22" y="197"/>
                      <a:pt x="22" y="197"/>
                      <a:pt x="22" y="198"/>
                    </a:cubicBezTo>
                    <a:cubicBezTo>
                      <a:pt x="22" y="198"/>
                      <a:pt x="22" y="198"/>
                      <a:pt x="22" y="198"/>
                    </a:cubicBezTo>
                    <a:cubicBezTo>
                      <a:pt x="23" y="199"/>
                      <a:pt x="23" y="199"/>
                      <a:pt x="23" y="199"/>
                    </a:cubicBezTo>
                    <a:cubicBezTo>
                      <a:pt x="23" y="199"/>
                      <a:pt x="23" y="199"/>
                      <a:pt x="23" y="199"/>
                    </a:cubicBezTo>
                    <a:cubicBezTo>
                      <a:pt x="24" y="198"/>
                      <a:pt x="24" y="198"/>
                      <a:pt x="24" y="198"/>
                    </a:cubicBezTo>
                    <a:cubicBezTo>
                      <a:pt x="24" y="198"/>
                      <a:pt x="24" y="198"/>
                      <a:pt x="24" y="198"/>
                    </a:cubicBezTo>
                    <a:cubicBezTo>
                      <a:pt x="24" y="198"/>
                      <a:pt x="24" y="198"/>
                      <a:pt x="25" y="198"/>
                    </a:cubicBezTo>
                    <a:cubicBezTo>
                      <a:pt x="25" y="198"/>
                      <a:pt x="25" y="198"/>
                      <a:pt x="25" y="198"/>
                    </a:cubicBezTo>
                    <a:cubicBezTo>
                      <a:pt x="25" y="198"/>
                      <a:pt x="26" y="198"/>
                      <a:pt x="26" y="198"/>
                    </a:cubicBezTo>
                    <a:cubicBezTo>
                      <a:pt x="26" y="198"/>
                      <a:pt x="27" y="198"/>
                      <a:pt x="27" y="198"/>
                    </a:cubicBezTo>
                    <a:cubicBezTo>
                      <a:pt x="27" y="198"/>
                      <a:pt x="28" y="198"/>
                      <a:pt x="28" y="198"/>
                    </a:cubicBezTo>
                    <a:cubicBezTo>
                      <a:pt x="28" y="198"/>
                      <a:pt x="29" y="197"/>
                      <a:pt x="29" y="197"/>
                    </a:cubicBezTo>
                    <a:cubicBezTo>
                      <a:pt x="29" y="197"/>
                      <a:pt x="29" y="197"/>
                      <a:pt x="29" y="197"/>
                    </a:cubicBezTo>
                    <a:cubicBezTo>
                      <a:pt x="29" y="196"/>
                      <a:pt x="30" y="196"/>
                      <a:pt x="30" y="196"/>
                    </a:cubicBezTo>
                    <a:cubicBezTo>
                      <a:pt x="30" y="196"/>
                      <a:pt x="30" y="196"/>
                      <a:pt x="31" y="196"/>
                    </a:cubicBezTo>
                    <a:cubicBezTo>
                      <a:pt x="31" y="197"/>
                      <a:pt x="31" y="197"/>
                      <a:pt x="31" y="197"/>
                    </a:cubicBezTo>
                    <a:cubicBezTo>
                      <a:pt x="31" y="197"/>
                      <a:pt x="32" y="198"/>
                      <a:pt x="32" y="198"/>
                    </a:cubicBezTo>
                    <a:cubicBezTo>
                      <a:pt x="32" y="198"/>
                      <a:pt x="32" y="198"/>
                      <a:pt x="32" y="198"/>
                    </a:cubicBezTo>
                    <a:cubicBezTo>
                      <a:pt x="33" y="198"/>
                      <a:pt x="33" y="198"/>
                      <a:pt x="33" y="198"/>
                    </a:cubicBezTo>
                    <a:cubicBezTo>
                      <a:pt x="33" y="198"/>
                      <a:pt x="34" y="198"/>
                      <a:pt x="34" y="198"/>
                    </a:cubicBezTo>
                    <a:cubicBezTo>
                      <a:pt x="35" y="198"/>
                      <a:pt x="35" y="198"/>
                      <a:pt x="35" y="198"/>
                    </a:cubicBezTo>
                    <a:cubicBezTo>
                      <a:pt x="35" y="198"/>
                      <a:pt x="35" y="198"/>
                      <a:pt x="35" y="198"/>
                    </a:cubicBezTo>
                    <a:cubicBezTo>
                      <a:pt x="35" y="197"/>
                      <a:pt x="35" y="197"/>
                      <a:pt x="35" y="197"/>
                    </a:cubicBezTo>
                    <a:cubicBezTo>
                      <a:pt x="35" y="197"/>
                      <a:pt x="35" y="197"/>
                      <a:pt x="35" y="197"/>
                    </a:cubicBezTo>
                    <a:cubicBezTo>
                      <a:pt x="34" y="197"/>
                      <a:pt x="34" y="197"/>
                      <a:pt x="34" y="197"/>
                    </a:cubicBezTo>
                    <a:cubicBezTo>
                      <a:pt x="34" y="197"/>
                      <a:pt x="34" y="197"/>
                      <a:pt x="33" y="197"/>
                    </a:cubicBezTo>
                    <a:cubicBezTo>
                      <a:pt x="33" y="196"/>
                      <a:pt x="33" y="196"/>
                      <a:pt x="33" y="196"/>
                    </a:cubicBezTo>
                    <a:cubicBezTo>
                      <a:pt x="33" y="196"/>
                      <a:pt x="33" y="196"/>
                      <a:pt x="33" y="195"/>
                    </a:cubicBezTo>
                    <a:cubicBezTo>
                      <a:pt x="34" y="195"/>
                      <a:pt x="34" y="195"/>
                      <a:pt x="34" y="194"/>
                    </a:cubicBezTo>
                    <a:cubicBezTo>
                      <a:pt x="34" y="194"/>
                      <a:pt x="34" y="194"/>
                      <a:pt x="35" y="193"/>
                    </a:cubicBezTo>
                    <a:cubicBezTo>
                      <a:pt x="35" y="193"/>
                      <a:pt x="35" y="193"/>
                      <a:pt x="35" y="193"/>
                    </a:cubicBezTo>
                    <a:cubicBezTo>
                      <a:pt x="36" y="193"/>
                      <a:pt x="36" y="192"/>
                      <a:pt x="36" y="192"/>
                    </a:cubicBezTo>
                    <a:cubicBezTo>
                      <a:pt x="36" y="192"/>
                      <a:pt x="36" y="192"/>
                      <a:pt x="36" y="192"/>
                    </a:cubicBezTo>
                    <a:cubicBezTo>
                      <a:pt x="36" y="192"/>
                      <a:pt x="37" y="193"/>
                      <a:pt x="37" y="193"/>
                    </a:cubicBezTo>
                    <a:cubicBezTo>
                      <a:pt x="37" y="193"/>
                      <a:pt x="37" y="193"/>
                      <a:pt x="37" y="193"/>
                    </a:cubicBezTo>
                    <a:cubicBezTo>
                      <a:pt x="37" y="193"/>
                      <a:pt x="38" y="193"/>
                      <a:pt x="38" y="193"/>
                    </a:cubicBezTo>
                    <a:cubicBezTo>
                      <a:pt x="38" y="193"/>
                      <a:pt x="38" y="193"/>
                      <a:pt x="39" y="193"/>
                    </a:cubicBezTo>
                    <a:cubicBezTo>
                      <a:pt x="39" y="193"/>
                      <a:pt x="39" y="193"/>
                      <a:pt x="39" y="194"/>
                    </a:cubicBezTo>
                    <a:cubicBezTo>
                      <a:pt x="40" y="194"/>
                      <a:pt x="40" y="194"/>
                      <a:pt x="40" y="194"/>
                    </a:cubicBezTo>
                    <a:cubicBezTo>
                      <a:pt x="40" y="194"/>
                      <a:pt x="40" y="194"/>
                      <a:pt x="40" y="194"/>
                    </a:cubicBezTo>
                    <a:cubicBezTo>
                      <a:pt x="40" y="195"/>
                      <a:pt x="40" y="195"/>
                      <a:pt x="39" y="195"/>
                    </a:cubicBezTo>
                    <a:cubicBezTo>
                      <a:pt x="39" y="195"/>
                      <a:pt x="39" y="195"/>
                      <a:pt x="39" y="195"/>
                    </a:cubicBezTo>
                    <a:cubicBezTo>
                      <a:pt x="39" y="195"/>
                      <a:pt x="39" y="195"/>
                      <a:pt x="39" y="196"/>
                    </a:cubicBezTo>
                    <a:cubicBezTo>
                      <a:pt x="39" y="196"/>
                      <a:pt x="39" y="196"/>
                      <a:pt x="39" y="196"/>
                    </a:cubicBezTo>
                    <a:cubicBezTo>
                      <a:pt x="39" y="197"/>
                      <a:pt x="39" y="197"/>
                      <a:pt x="39" y="197"/>
                    </a:cubicBezTo>
                    <a:cubicBezTo>
                      <a:pt x="39" y="197"/>
                      <a:pt x="40" y="197"/>
                      <a:pt x="40" y="197"/>
                    </a:cubicBezTo>
                    <a:cubicBezTo>
                      <a:pt x="40" y="196"/>
                      <a:pt x="40" y="196"/>
                      <a:pt x="40" y="196"/>
                    </a:cubicBezTo>
                    <a:cubicBezTo>
                      <a:pt x="40" y="196"/>
                      <a:pt x="40" y="196"/>
                      <a:pt x="41" y="195"/>
                    </a:cubicBezTo>
                    <a:cubicBezTo>
                      <a:pt x="41" y="195"/>
                      <a:pt x="41" y="195"/>
                      <a:pt x="41" y="195"/>
                    </a:cubicBezTo>
                    <a:cubicBezTo>
                      <a:pt x="41" y="195"/>
                      <a:pt x="41" y="195"/>
                      <a:pt x="42" y="195"/>
                    </a:cubicBezTo>
                    <a:cubicBezTo>
                      <a:pt x="42" y="195"/>
                      <a:pt x="42" y="195"/>
                      <a:pt x="43" y="195"/>
                    </a:cubicBezTo>
                    <a:cubicBezTo>
                      <a:pt x="43" y="195"/>
                      <a:pt x="43" y="195"/>
                      <a:pt x="44" y="195"/>
                    </a:cubicBezTo>
                    <a:cubicBezTo>
                      <a:pt x="44" y="195"/>
                      <a:pt x="44" y="195"/>
                      <a:pt x="44" y="195"/>
                    </a:cubicBezTo>
                    <a:cubicBezTo>
                      <a:pt x="44" y="195"/>
                      <a:pt x="45" y="195"/>
                      <a:pt x="45" y="195"/>
                    </a:cubicBezTo>
                    <a:cubicBezTo>
                      <a:pt x="45" y="195"/>
                      <a:pt x="45" y="195"/>
                      <a:pt x="45" y="195"/>
                    </a:cubicBezTo>
                    <a:cubicBezTo>
                      <a:pt x="46" y="196"/>
                      <a:pt x="46" y="196"/>
                      <a:pt x="46" y="196"/>
                    </a:cubicBezTo>
                    <a:cubicBezTo>
                      <a:pt x="46" y="196"/>
                      <a:pt x="46" y="196"/>
                      <a:pt x="47" y="197"/>
                    </a:cubicBezTo>
                    <a:cubicBezTo>
                      <a:pt x="47" y="197"/>
                      <a:pt x="47" y="197"/>
                      <a:pt x="47" y="197"/>
                    </a:cubicBezTo>
                    <a:cubicBezTo>
                      <a:pt x="47" y="197"/>
                      <a:pt x="47" y="196"/>
                      <a:pt x="47" y="196"/>
                    </a:cubicBezTo>
                    <a:cubicBezTo>
                      <a:pt x="47" y="196"/>
                      <a:pt x="47" y="196"/>
                      <a:pt x="47" y="196"/>
                    </a:cubicBezTo>
                    <a:cubicBezTo>
                      <a:pt x="46" y="195"/>
                      <a:pt x="46" y="195"/>
                      <a:pt x="46" y="195"/>
                    </a:cubicBezTo>
                    <a:cubicBezTo>
                      <a:pt x="46" y="195"/>
                      <a:pt x="45" y="194"/>
                      <a:pt x="45" y="194"/>
                    </a:cubicBezTo>
                    <a:cubicBezTo>
                      <a:pt x="45" y="194"/>
                      <a:pt x="45" y="194"/>
                      <a:pt x="44" y="194"/>
                    </a:cubicBezTo>
                    <a:cubicBezTo>
                      <a:pt x="44" y="193"/>
                      <a:pt x="44" y="193"/>
                      <a:pt x="44" y="193"/>
                    </a:cubicBezTo>
                    <a:cubicBezTo>
                      <a:pt x="44" y="193"/>
                      <a:pt x="44" y="193"/>
                      <a:pt x="44" y="193"/>
                    </a:cubicBezTo>
                    <a:cubicBezTo>
                      <a:pt x="44" y="193"/>
                      <a:pt x="45" y="193"/>
                      <a:pt x="45" y="193"/>
                    </a:cubicBezTo>
                    <a:cubicBezTo>
                      <a:pt x="45" y="193"/>
                      <a:pt x="45" y="193"/>
                      <a:pt x="45" y="193"/>
                    </a:cubicBezTo>
                    <a:cubicBezTo>
                      <a:pt x="46" y="193"/>
                      <a:pt x="46" y="194"/>
                      <a:pt x="46" y="194"/>
                    </a:cubicBezTo>
                    <a:cubicBezTo>
                      <a:pt x="46" y="194"/>
                      <a:pt x="47" y="194"/>
                      <a:pt x="47" y="195"/>
                    </a:cubicBezTo>
                    <a:cubicBezTo>
                      <a:pt x="47" y="195"/>
                      <a:pt x="47" y="195"/>
                      <a:pt x="48" y="195"/>
                    </a:cubicBezTo>
                    <a:cubicBezTo>
                      <a:pt x="48" y="195"/>
                      <a:pt x="48" y="196"/>
                      <a:pt x="49" y="196"/>
                    </a:cubicBezTo>
                    <a:cubicBezTo>
                      <a:pt x="49" y="196"/>
                      <a:pt x="49" y="196"/>
                      <a:pt x="50" y="196"/>
                    </a:cubicBezTo>
                    <a:cubicBezTo>
                      <a:pt x="50" y="196"/>
                      <a:pt x="50" y="196"/>
                      <a:pt x="51" y="196"/>
                    </a:cubicBezTo>
                    <a:cubicBezTo>
                      <a:pt x="51" y="196"/>
                      <a:pt x="51" y="196"/>
                      <a:pt x="51" y="197"/>
                    </a:cubicBezTo>
                    <a:cubicBezTo>
                      <a:pt x="51" y="197"/>
                      <a:pt x="51" y="197"/>
                      <a:pt x="51" y="197"/>
                    </a:cubicBezTo>
                    <a:cubicBezTo>
                      <a:pt x="52" y="197"/>
                      <a:pt x="52" y="197"/>
                      <a:pt x="52" y="197"/>
                    </a:cubicBezTo>
                    <a:cubicBezTo>
                      <a:pt x="53" y="197"/>
                      <a:pt x="53" y="197"/>
                      <a:pt x="53" y="197"/>
                    </a:cubicBezTo>
                    <a:cubicBezTo>
                      <a:pt x="53" y="197"/>
                      <a:pt x="54" y="198"/>
                      <a:pt x="54" y="198"/>
                    </a:cubicBezTo>
                    <a:cubicBezTo>
                      <a:pt x="54" y="198"/>
                      <a:pt x="54" y="198"/>
                      <a:pt x="54" y="199"/>
                    </a:cubicBezTo>
                    <a:cubicBezTo>
                      <a:pt x="55" y="199"/>
                      <a:pt x="55" y="199"/>
                      <a:pt x="55" y="199"/>
                    </a:cubicBezTo>
                    <a:cubicBezTo>
                      <a:pt x="56" y="199"/>
                      <a:pt x="56" y="199"/>
                      <a:pt x="56" y="199"/>
                    </a:cubicBezTo>
                    <a:cubicBezTo>
                      <a:pt x="56" y="199"/>
                      <a:pt x="57" y="199"/>
                      <a:pt x="57" y="199"/>
                    </a:cubicBezTo>
                    <a:cubicBezTo>
                      <a:pt x="57" y="199"/>
                      <a:pt x="58" y="199"/>
                      <a:pt x="58" y="199"/>
                    </a:cubicBezTo>
                    <a:cubicBezTo>
                      <a:pt x="58" y="199"/>
                      <a:pt x="58" y="199"/>
                      <a:pt x="58" y="200"/>
                    </a:cubicBezTo>
                    <a:cubicBezTo>
                      <a:pt x="58" y="200"/>
                      <a:pt x="58" y="200"/>
                      <a:pt x="59" y="200"/>
                    </a:cubicBezTo>
                    <a:cubicBezTo>
                      <a:pt x="59" y="200"/>
                      <a:pt x="59" y="200"/>
                      <a:pt x="60" y="200"/>
                    </a:cubicBezTo>
                    <a:cubicBezTo>
                      <a:pt x="60" y="201"/>
                      <a:pt x="60" y="201"/>
                      <a:pt x="60" y="201"/>
                    </a:cubicBezTo>
                    <a:cubicBezTo>
                      <a:pt x="61" y="201"/>
                      <a:pt x="61" y="201"/>
                      <a:pt x="61" y="202"/>
                    </a:cubicBezTo>
                    <a:cubicBezTo>
                      <a:pt x="61" y="202"/>
                      <a:pt x="61" y="202"/>
                      <a:pt x="62" y="202"/>
                    </a:cubicBezTo>
                    <a:cubicBezTo>
                      <a:pt x="62" y="202"/>
                      <a:pt x="62" y="202"/>
                      <a:pt x="62" y="202"/>
                    </a:cubicBezTo>
                    <a:cubicBezTo>
                      <a:pt x="62" y="203"/>
                      <a:pt x="62" y="203"/>
                      <a:pt x="62" y="203"/>
                    </a:cubicBezTo>
                    <a:cubicBezTo>
                      <a:pt x="62" y="203"/>
                      <a:pt x="62" y="204"/>
                      <a:pt x="62" y="204"/>
                    </a:cubicBezTo>
                    <a:cubicBezTo>
                      <a:pt x="63" y="204"/>
                      <a:pt x="63" y="204"/>
                      <a:pt x="63" y="204"/>
                    </a:cubicBezTo>
                    <a:cubicBezTo>
                      <a:pt x="63" y="204"/>
                      <a:pt x="63" y="204"/>
                      <a:pt x="64" y="204"/>
                    </a:cubicBezTo>
                    <a:cubicBezTo>
                      <a:pt x="64" y="204"/>
                      <a:pt x="64" y="204"/>
                      <a:pt x="64" y="205"/>
                    </a:cubicBezTo>
                    <a:cubicBezTo>
                      <a:pt x="64" y="205"/>
                      <a:pt x="64" y="205"/>
                      <a:pt x="64" y="205"/>
                    </a:cubicBezTo>
                    <a:cubicBezTo>
                      <a:pt x="64" y="205"/>
                      <a:pt x="64" y="205"/>
                      <a:pt x="64" y="206"/>
                    </a:cubicBezTo>
                    <a:cubicBezTo>
                      <a:pt x="64" y="206"/>
                      <a:pt x="64" y="206"/>
                      <a:pt x="64" y="206"/>
                    </a:cubicBezTo>
                    <a:cubicBezTo>
                      <a:pt x="64" y="207"/>
                      <a:pt x="64" y="207"/>
                      <a:pt x="64" y="207"/>
                    </a:cubicBezTo>
                    <a:cubicBezTo>
                      <a:pt x="64" y="207"/>
                      <a:pt x="64" y="207"/>
                      <a:pt x="65" y="207"/>
                    </a:cubicBezTo>
                    <a:cubicBezTo>
                      <a:pt x="65" y="207"/>
                      <a:pt x="65" y="207"/>
                      <a:pt x="65" y="207"/>
                    </a:cubicBezTo>
                    <a:cubicBezTo>
                      <a:pt x="65" y="207"/>
                      <a:pt x="65" y="207"/>
                      <a:pt x="66" y="207"/>
                    </a:cubicBezTo>
                    <a:cubicBezTo>
                      <a:pt x="66" y="206"/>
                      <a:pt x="66" y="206"/>
                      <a:pt x="67" y="206"/>
                    </a:cubicBezTo>
                    <a:cubicBezTo>
                      <a:pt x="67" y="205"/>
                      <a:pt x="67" y="205"/>
                      <a:pt x="67" y="205"/>
                    </a:cubicBezTo>
                    <a:cubicBezTo>
                      <a:pt x="67" y="205"/>
                      <a:pt x="68" y="205"/>
                      <a:pt x="68" y="204"/>
                    </a:cubicBezTo>
                    <a:cubicBezTo>
                      <a:pt x="68" y="204"/>
                      <a:pt x="68" y="204"/>
                      <a:pt x="67" y="204"/>
                    </a:cubicBezTo>
                    <a:cubicBezTo>
                      <a:pt x="67" y="203"/>
                      <a:pt x="67" y="203"/>
                      <a:pt x="67" y="202"/>
                    </a:cubicBezTo>
                    <a:cubicBezTo>
                      <a:pt x="67" y="202"/>
                      <a:pt x="67" y="202"/>
                      <a:pt x="67" y="201"/>
                    </a:cubicBezTo>
                    <a:cubicBezTo>
                      <a:pt x="67" y="201"/>
                      <a:pt x="67" y="201"/>
                      <a:pt x="67" y="200"/>
                    </a:cubicBezTo>
                    <a:cubicBezTo>
                      <a:pt x="67" y="200"/>
                      <a:pt x="67" y="200"/>
                      <a:pt x="68" y="200"/>
                    </a:cubicBezTo>
                    <a:cubicBezTo>
                      <a:pt x="68" y="199"/>
                      <a:pt x="68" y="199"/>
                      <a:pt x="68" y="199"/>
                    </a:cubicBezTo>
                    <a:cubicBezTo>
                      <a:pt x="68" y="199"/>
                      <a:pt x="68" y="199"/>
                      <a:pt x="68" y="198"/>
                    </a:cubicBezTo>
                    <a:cubicBezTo>
                      <a:pt x="69" y="198"/>
                      <a:pt x="69" y="198"/>
                      <a:pt x="69" y="198"/>
                    </a:cubicBezTo>
                    <a:cubicBezTo>
                      <a:pt x="69" y="199"/>
                      <a:pt x="69" y="199"/>
                      <a:pt x="69" y="199"/>
                    </a:cubicBezTo>
                    <a:cubicBezTo>
                      <a:pt x="69" y="200"/>
                      <a:pt x="69" y="200"/>
                      <a:pt x="70" y="200"/>
                    </a:cubicBezTo>
                    <a:cubicBezTo>
                      <a:pt x="70" y="201"/>
                      <a:pt x="70" y="201"/>
                      <a:pt x="70" y="201"/>
                    </a:cubicBezTo>
                    <a:cubicBezTo>
                      <a:pt x="70" y="201"/>
                      <a:pt x="71" y="201"/>
                      <a:pt x="71" y="201"/>
                    </a:cubicBezTo>
                    <a:cubicBezTo>
                      <a:pt x="71" y="201"/>
                      <a:pt x="71" y="201"/>
                      <a:pt x="71" y="200"/>
                    </a:cubicBezTo>
                    <a:cubicBezTo>
                      <a:pt x="72" y="200"/>
                      <a:pt x="72" y="200"/>
                      <a:pt x="72" y="200"/>
                    </a:cubicBezTo>
                    <a:cubicBezTo>
                      <a:pt x="73" y="200"/>
                      <a:pt x="73" y="200"/>
                      <a:pt x="73" y="200"/>
                    </a:cubicBezTo>
                    <a:cubicBezTo>
                      <a:pt x="74" y="200"/>
                      <a:pt x="74" y="201"/>
                      <a:pt x="74" y="201"/>
                    </a:cubicBezTo>
                    <a:cubicBezTo>
                      <a:pt x="74" y="201"/>
                      <a:pt x="75" y="201"/>
                      <a:pt x="75" y="201"/>
                    </a:cubicBezTo>
                    <a:cubicBezTo>
                      <a:pt x="75" y="201"/>
                      <a:pt x="75" y="201"/>
                      <a:pt x="76" y="202"/>
                    </a:cubicBezTo>
                    <a:cubicBezTo>
                      <a:pt x="76" y="202"/>
                      <a:pt x="76" y="202"/>
                      <a:pt x="76" y="202"/>
                    </a:cubicBezTo>
                    <a:cubicBezTo>
                      <a:pt x="76" y="202"/>
                      <a:pt x="76" y="202"/>
                      <a:pt x="77" y="202"/>
                    </a:cubicBezTo>
                    <a:cubicBezTo>
                      <a:pt x="77" y="203"/>
                      <a:pt x="77" y="203"/>
                      <a:pt x="77" y="203"/>
                    </a:cubicBezTo>
                    <a:cubicBezTo>
                      <a:pt x="77" y="203"/>
                      <a:pt x="77" y="204"/>
                      <a:pt x="77" y="204"/>
                    </a:cubicBezTo>
                    <a:cubicBezTo>
                      <a:pt x="77" y="204"/>
                      <a:pt x="77" y="204"/>
                      <a:pt x="77" y="205"/>
                    </a:cubicBezTo>
                    <a:cubicBezTo>
                      <a:pt x="78" y="205"/>
                      <a:pt x="78" y="205"/>
                      <a:pt x="78" y="205"/>
                    </a:cubicBezTo>
                    <a:cubicBezTo>
                      <a:pt x="79" y="205"/>
                      <a:pt x="79" y="205"/>
                      <a:pt x="79" y="205"/>
                    </a:cubicBezTo>
                    <a:cubicBezTo>
                      <a:pt x="79" y="204"/>
                      <a:pt x="79" y="204"/>
                      <a:pt x="80" y="204"/>
                    </a:cubicBezTo>
                    <a:cubicBezTo>
                      <a:pt x="80" y="204"/>
                      <a:pt x="80" y="204"/>
                      <a:pt x="80" y="204"/>
                    </a:cubicBezTo>
                    <a:cubicBezTo>
                      <a:pt x="81" y="204"/>
                      <a:pt x="81" y="204"/>
                      <a:pt x="81" y="204"/>
                    </a:cubicBezTo>
                    <a:cubicBezTo>
                      <a:pt x="81" y="204"/>
                      <a:pt x="81" y="204"/>
                      <a:pt x="82" y="204"/>
                    </a:cubicBezTo>
                    <a:cubicBezTo>
                      <a:pt x="82" y="204"/>
                      <a:pt x="82" y="204"/>
                      <a:pt x="83" y="204"/>
                    </a:cubicBezTo>
                    <a:cubicBezTo>
                      <a:pt x="83" y="203"/>
                      <a:pt x="83" y="203"/>
                      <a:pt x="83" y="203"/>
                    </a:cubicBezTo>
                    <a:cubicBezTo>
                      <a:pt x="84" y="203"/>
                      <a:pt x="84" y="203"/>
                      <a:pt x="85" y="202"/>
                    </a:cubicBezTo>
                    <a:cubicBezTo>
                      <a:pt x="85" y="202"/>
                      <a:pt x="85" y="202"/>
                      <a:pt x="86" y="202"/>
                    </a:cubicBezTo>
                    <a:cubicBezTo>
                      <a:pt x="86" y="202"/>
                      <a:pt x="86" y="202"/>
                      <a:pt x="87" y="202"/>
                    </a:cubicBezTo>
                    <a:cubicBezTo>
                      <a:pt x="87" y="202"/>
                      <a:pt x="88" y="202"/>
                      <a:pt x="88" y="202"/>
                    </a:cubicBezTo>
                    <a:cubicBezTo>
                      <a:pt x="89" y="202"/>
                      <a:pt x="89" y="202"/>
                      <a:pt x="89" y="201"/>
                    </a:cubicBezTo>
                    <a:cubicBezTo>
                      <a:pt x="89" y="201"/>
                      <a:pt x="90" y="201"/>
                      <a:pt x="90" y="200"/>
                    </a:cubicBezTo>
                    <a:cubicBezTo>
                      <a:pt x="90" y="200"/>
                      <a:pt x="91" y="200"/>
                      <a:pt x="91" y="199"/>
                    </a:cubicBezTo>
                    <a:cubicBezTo>
                      <a:pt x="91" y="199"/>
                      <a:pt x="92" y="199"/>
                      <a:pt x="92" y="199"/>
                    </a:cubicBezTo>
                    <a:cubicBezTo>
                      <a:pt x="93" y="199"/>
                      <a:pt x="93" y="199"/>
                      <a:pt x="94" y="199"/>
                    </a:cubicBezTo>
                    <a:cubicBezTo>
                      <a:pt x="94" y="199"/>
                      <a:pt x="95" y="199"/>
                      <a:pt x="95" y="199"/>
                    </a:cubicBezTo>
                    <a:cubicBezTo>
                      <a:pt x="96" y="199"/>
                      <a:pt x="96" y="199"/>
                      <a:pt x="97" y="199"/>
                    </a:cubicBezTo>
                    <a:cubicBezTo>
                      <a:pt x="97" y="199"/>
                      <a:pt x="97" y="199"/>
                      <a:pt x="98" y="199"/>
                    </a:cubicBezTo>
                    <a:cubicBezTo>
                      <a:pt x="98" y="199"/>
                      <a:pt x="98" y="199"/>
                      <a:pt x="98" y="198"/>
                    </a:cubicBezTo>
                    <a:cubicBezTo>
                      <a:pt x="98" y="198"/>
                      <a:pt x="99" y="198"/>
                      <a:pt x="99" y="198"/>
                    </a:cubicBezTo>
                    <a:cubicBezTo>
                      <a:pt x="99" y="197"/>
                      <a:pt x="99" y="197"/>
                      <a:pt x="99" y="197"/>
                    </a:cubicBezTo>
                    <a:cubicBezTo>
                      <a:pt x="99" y="196"/>
                      <a:pt x="100" y="196"/>
                      <a:pt x="100" y="196"/>
                    </a:cubicBezTo>
                    <a:cubicBezTo>
                      <a:pt x="100" y="196"/>
                      <a:pt x="100" y="196"/>
                      <a:pt x="101" y="196"/>
                    </a:cubicBezTo>
                    <a:cubicBezTo>
                      <a:pt x="101" y="196"/>
                      <a:pt x="101" y="197"/>
                      <a:pt x="101" y="197"/>
                    </a:cubicBezTo>
                    <a:cubicBezTo>
                      <a:pt x="101" y="197"/>
                      <a:pt x="101" y="197"/>
                      <a:pt x="102" y="197"/>
                    </a:cubicBezTo>
                    <a:cubicBezTo>
                      <a:pt x="102" y="198"/>
                      <a:pt x="102" y="198"/>
                      <a:pt x="102" y="198"/>
                    </a:cubicBezTo>
                    <a:cubicBezTo>
                      <a:pt x="103" y="198"/>
                      <a:pt x="103" y="198"/>
                      <a:pt x="103" y="198"/>
                    </a:cubicBezTo>
                    <a:cubicBezTo>
                      <a:pt x="103" y="198"/>
                      <a:pt x="103" y="198"/>
                      <a:pt x="104" y="199"/>
                    </a:cubicBezTo>
                    <a:cubicBezTo>
                      <a:pt x="104" y="199"/>
                      <a:pt x="104" y="199"/>
                      <a:pt x="104" y="199"/>
                    </a:cubicBezTo>
                    <a:cubicBezTo>
                      <a:pt x="105" y="199"/>
                      <a:pt x="105" y="199"/>
                      <a:pt x="105" y="199"/>
                    </a:cubicBezTo>
                    <a:cubicBezTo>
                      <a:pt x="105" y="199"/>
                      <a:pt x="105" y="198"/>
                      <a:pt x="105" y="198"/>
                    </a:cubicBezTo>
                    <a:cubicBezTo>
                      <a:pt x="105" y="198"/>
                      <a:pt x="106" y="198"/>
                      <a:pt x="106" y="198"/>
                    </a:cubicBezTo>
                    <a:cubicBezTo>
                      <a:pt x="106" y="198"/>
                      <a:pt x="106" y="198"/>
                      <a:pt x="107" y="198"/>
                    </a:cubicBezTo>
                    <a:cubicBezTo>
                      <a:pt x="107" y="198"/>
                      <a:pt x="107" y="198"/>
                      <a:pt x="107" y="198"/>
                    </a:cubicBezTo>
                    <a:cubicBezTo>
                      <a:pt x="107" y="198"/>
                      <a:pt x="107" y="198"/>
                      <a:pt x="108" y="198"/>
                    </a:cubicBezTo>
                    <a:cubicBezTo>
                      <a:pt x="108" y="198"/>
                      <a:pt x="108" y="198"/>
                      <a:pt x="108" y="198"/>
                    </a:cubicBezTo>
                    <a:cubicBezTo>
                      <a:pt x="108" y="198"/>
                      <a:pt x="108" y="198"/>
                      <a:pt x="108" y="197"/>
                    </a:cubicBezTo>
                    <a:cubicBezTo>
                      <a:pt x="109" y="198"/>
                      <a:pt x="109" y="198"/>
                      <a:pt x="109" y="198"/>
                    </a:cubicBezTo>
                    <a:cubicBezTo>
                      <a:pt x="109" y="198"/>
                      <a:pt x="109" y="198"/>
                      <a:pt x="109" y="198"/>
                    </a:cubicBezTo>
                    <a:cubicBezTo>
                      <a:pt x="109" y="199"/>
                      <a:pt x="109" y="199"/>
                      <a:pt x="109" y="199"/>
                    </a:cubicBezTo>
                    <a:cubicBezTo>
                      <a:pt x="109" y="199"/>
                      <a:pt x="109" y="199"/>
                      <a:pt x="109" y="200"/>
                    </a:cubicBezTo>
                    <a:cubicBezTo>
                      <a:pt x="109" y="200"/>
                      <a:pt x="109" y="200"/>
                      <a:pt x="109" y="200"/>
                    </a:cubicBezTo>
                    <a:cubicBezTo>
                      <a:pt x="109" y="200"/>
                      <a:pt x="109" y="200"/>
                      <a:pt x="109" y="201"/>
                    </a:cubicBezTo>
                    <a:cubicBezTo>
                      <a:pt x="110" y="201"/>
                      <a:pt x="110" y="201"/>
                      <a:pt x="110" y="201"/>
                    </a:cubicBezTo>
                    <a:cubicBezTo>
                      <a:pt x="110" y="201"/>
                      <a:pt x="110" y="201"/>
                      <a:pt x="111" y="202"/>
                    </a:cubicBezTo>
                    <a:cubicBezTo>
                      <a:pt x="111" y="202"/>
                      <a:pt x="111" y="202"/>
                      <a:pt x="111" y="202"/>
                    </a:cubicBezTo>
                    <a:cubicBezTo>
                      <a:pt x="111" y="203"/>
                      <a:pt x="112" y="203"/>
                      <a:pt x="112" y="203"/>
                    </a:cubicBezTo>
                    <a:cubicBezTo>
                      <a:pt x="112" y="203"/>
                      <a:pt x="112" y="203"/>
                      <a:pt x="113" y="203"/>
                    </a:cubicBezTo>
                    <a:cubicBezTo>
                      <a:pt x="113" y="203"/>
                      <a:pt x="113" y="203"/>
                      <a:pt x="113" y="202"/>
                    </a:cubicBezTo>
                    <a:cubicBezTo>
                      <a:pt x="114" y="202"/>
                      <a:pt x="114" y="201"/>
                      <a:pt x="114" y="201"/>
                    </a:cubicBezTo>
                    <a:cubicBezTo>
                      <a:pt x="114" y="200"/>
                      <a:pt x="114" y="200"/>
                      <a:pt x="114" y="199"/>
                    </a:cubicBezTo>
                    <a:cubicBezTo>
                      <a:pt x="114" y="199"/>
                      <a:pt x="114" y="199"/>
                      <a:pt x="114" y="198"/>
                    </a:cubicBezTo>
                    <a:cubicBezTo>
                      <a:pt x="114" y="198"/>
                      <a:pt x="113" y="198"/>
                      <a:pt x="113" y="198"/>
                    </a:cubicBezTo>
                    <a:cubicBezTo>
                      <a:pt x="113" y="198"/>
                      <a:pt x="113" y="198"/>
                      <a:pt x="112" y="197"/>
                    </a:cubicBezTo>
                    <a:cubicBezTo>
                      <a:pt x="112" y="197"/>
                      <a:pt x="112" y="197"/>
                      <a:pt x="111" y="197"/>
                    </a:cubicBezTo>
                    <a:cubicBezTo>
                      <a:pt x="111" y="196"/>
                      <a:pt x="111" y="196"/>
                      <a:pt x="111" y="196"/>
                    </a:cubicBezTo>
                    <a:cubicBezTo>
                      <a:pt x="111" y="196"/>
                      <a:pt x="111" y="196"/>
                      <a:pt x="112" y="195"/>
                    </a:cubicBezTo>
                    <a:cubicBezTo>
                      <a:pt x="112" y="195"/>
                      <a:pt x="112" y="195"/>
                      <a:pt x="112" y="194"/>
                    </a:cubicBezTo>
                    <a:cubicBezTo>
                      <a:pt x="112" y="194"/>
                      <a:pt x="113" y="194"/>
                      <a:pt x="113" y="193"/>
                    </a:cubicBezTo>
                    <a:cubicBezTo>
                      <a:pt x="113" y="193"/>
                      <a:pt x="113" y="193"/>
                      <a:pt x="113" y="193"/>
                    </a:cubicBezTo>
                    <a:cubicBezTo>
                      <a:pt x="113" y="192"/>
                      <a:pt x="113" y="192"/>
                      <a:pt x="113" y="191"/>
                    </a:cubicBezTo>
                    <a:cubicBezTo>
                      <a:pt x="113" y="191"/>
                      <a:pt x="113" y="191"/>
                      <a:pt x="112" y="191"/>
                    </a:cubicBezTo>
                    <a:cubicBezTo>
                      <a:pt x="112" y="191"/>
                      <a:pt x="112" y="190"/>
                      <a:pt x="112" y="190"/>
                    </a:cubicBezTo>
                    <a:cubicBezTo>
                      <a:pt x="111" y="190"/>
                      <a:pt x="111" y="190"/>
                      <a:pt x="111" y="190"/>
                    </a:cubicBezTo>
                    <a:cubicBezTo>
                      <a:pt x="110" y="190"/>
                      <a:pt x="110" y="190"/>
                      <a:pt x="110" y="190"/>
                    </a:cubicBezTo>
                    <a:cubicBezTo>
                      <a:pt x="110" y="190"/>
                      <a:pt x="110" y="190"/>
                      <a:pt x="110" y="189"/>
                    </a:cubicBezTo>
                    <a:cubicBezTo>
                      <a:pt x="110" y="189"/>
                      <a:pt x="110" y="189"/>
                      <a:pt x="110" y="189"/>
                    </a:cubicBezTo>
                    <a:cubicBezTo>
                      <a:pt x="109" y="188"/>
                      <a:pt x="109" y="188"/>
                      <a:pt x="109" y="188"/>
                    </a:cubicBezTo>
                    <a:cubicBezTo>
                      <a:pt x="109" y="188"/>
                      <a:pt x="109" y="188"/>
                      <a:pt x="109" y="187"/>
                    </a:cubicBezTo>
                    <a:cubicBezTo>
                      <a:pt x="109" y="187"/>
                      <a:pt x="109" y="187"/>
                      <a:pt x="108" y="187"/>
                    </a:cubicBezTo>
                    <a:cubicBezTo>
                      <a:pt x="109" y="186"/>
                      <a:pt x="109" y="186"/>
                      <a:pt x="109" y="186"/>
                    </a:cubicBezTo>
                    <a:cubicBezTo>
                      <a:pt x="109" y="185"/>
                      <a:pt x="109" y="185"/>
                      <a:pt x="110" y="185"/>
                    </a:cubicBezTo>
                    <a:cubicBezTo>
                      <a:pt x="110" y="184"/>
                      <a:pt x="110" y="184"/>
                      <a:pt x="110" y="184"/>
                    </a:cubicBezTo>
                    <a:cubicBezTo>
                      <a:pt x="111" y="184"/>
                      <a:pt x="111" y="184"/>
                      <a:pt x="111" y="184"/>
                    </a:cubicBezTo>
                    <a:cubicBezTo>
                      <a:pt x="111" y="184"/>
                      <a:pt x="112" y="184"/>
                      <a:pt x="112" y="184"/>
                    </a:cubicBezTo>
                    <a:cubicBezTo>
                      <a:pt x="112" y="184"/>
                      <a:pt x="112" y="184"/>
                      <a:pt x="112" y="183"/>
                    </a:cubicBezTo>
                    <a:cubicBezTo>
                      <a:pt x="112" y="183"/>
                      <a:pt x="112" y="183"/>
                      <a:pt x="113" y="183"/>
                    </a:cubicBezTo>
                    <a:cubicBezTo>
                      <a:pt x="113" y="182"/>
                      <a:pt x="113" y="182"/>
                      <a:pt x="113" y="182"/>
                    </a:cubicBezTo>
                    <a:cubicBezTo>
                      <a:pt x="113" y="182"/>
                      <a:pt x="113" y="182"/>
                      <a:pt x="114" y="181"/>
                    </a:cubicBezTo>
                    <a:cubicBezTo>
                      <a:pt x="114" y="181"/>
                      <a:pt x="114" y="181"/>
                      <a:pt x="115" y="181"/>
                    </a:cubicBezTo>
                    <a:cubicBezTo>
                      <a:pt x="115" y="181"/>
                      <a:pt x="115" y="181"/>
                      <a:pt x="115" y="181"/>
                    </a:cubicBezTo>
                    <a:cubicBezTo>
                      <a:pt x="116" y="181"/>
                      <a:pt x="116" y="181"/>
                      <a:pt x="117" y="180"/>
                    </a:cubicBezTo>
                    <a:cubicBezTo>
                      <a:pt x="117" y="180"/>
                      <a:pt x="118" y="180"/>
                      <a:pt x="118" y="179"/>
                    </a:cubicBezTo>
                    <a:cubicBezTo>
                      <a:pt x="118" y="179"/>
                      <a:pt x="119" y="178"/>
                      <a:pt x="119" y="178"/>
                    </a:cubicBezTo>
                    <a:cubicBezTo>
                      <a:pt x="119" y="177"/>
                      <a:pt x="119" y="177"/>
                      <a:pt x="119" y="177"/>
                    </a:cubicBezTo>
                    <a:cubicBezTo>
                      <a:pt x="119" y="176"/>
                      <a:pt x="119" y="175"/>
                      <a:pt x="120" y="175"/>
                    </a:cubicBezTo>
                    <a:cubicBezTo>
                      <a:pt x="120" y="174"/>
                      <a:pt x="120" y="174"/>
                      <a:pt x="120" y="174"/>
                    </a:cubicBezTo>
                    <a:cubicBezTo>
                      <a:pt x="120" y="174"/>
                      <a:pt x="120" y="173"/>
                      <a:pt x="121" y="173"/>
                    </a:cubicBezTo>
                    <a:cubicBezTo>
                      <a:pt x="121" y="173"/>
                      <a:pt x="122" y="173"/>
                      <a:pt x="122" y="173"/>
                    </a:cubicBezTo>
                    <a:cubicBezTo>
                      <a:pt x="123" y="173"/>
                      <a:pt x="123" y="173"/>
                      <a:pt x="124" y="173"/>
                    </a:cubicBezTo>
                    <a:cubicBezTo>
                      <a:pt x="124" y="173"/>
                      <a:pt x="124" y="173"/>
                      <a:pt x="124" y="172"/>
                    </a:cubicBezTo>
                    <a:cubicBezTo>
                      <a:pt x="124" y="172"/>
                      <a:pt x="124" y="172"/>
                      <a:pt x="124" y="171"/>
                    </a:cubicBezTo>
                    <a:cubicBezTo>
                      <a:pt x="124" y="170"/>
                      <a:pt x="124" y="169"/>
                      <a:pt x="124" y="168"/>
                    </a:cubicBezTo>
                    <a:cubicBezTo>
                      <a:pt x="124" y="167"/>
                      <a:pt x="124" y="167"/>
                      <a:pt x="124" y="166"/>
                    </a:cubicBezTo>
                    <a:cubicBezTo>
                      <a:pt x="123" y="166"/>
                      <a:pt x="122" y="166"/>
                      <a:pt x="121" y="165"/>
                    </a:cubicBezTo>
                    <a:cubicBezTo>
                      <a:pt x="121" y="165"/>
                      <a:pt x="121" y="165"/>
                      <a:pt x="120" y="164"/>
                    </a:cubicBezTo>
                    <a:cubicBezTo>
                      <a:pt x="119" y="164"/>
                      <a:pt x="119" y="164"/>
                      <a:pt x="118" y="163"/>
                    </a:cubicBezTo>
                    <a:cubicBezTo>
                      <a:pt x="118" y="163"/>
                      <a:pt x="118" y="163"/>
                      <a:pt x="118" y="162"/>
                    </a:cubicBezTo>
                    <a:cubicBezTo>
                      <a:pt x="118" y="162"/>
                      <a:pt x="118" y="161"/>
                      <a:pt x="118" y="161"/>
                    </a:cubicBezTo>
                    <a:cubicBezTo>
                      <a:pt x="117" y="161"/>
                      <a:pt x="117" y="160"/>
                      <a:pt x="117" y="160"/>
                    </a:cubicBezTo>
                    <a:cubicBezTo>
                      <a:pt x="117" y="160"/>
                      <a:pt x="117" y="160"/>
                      <a:pt x="116" y="159"/>
                    </a:cubicBezTo>
                    <a:cubicBezTo>
                      <a:pt x="116" y="159"/>
                      <a:pt x="116" y="159"/>
                      <a:pt x="115" y="159"/>
                    </a:cubicBezTo>
                    <a:cubicBezTo>
                      <a:pt x="115" y="159"/>
                      <a:pt x="115" y="159"/>
                      <a:pt x="114" y="159"/>
                    </a:cubicBezTo>
                    <a:cubicBezTo>
                      <a:pt x="114" y="159"/>
                      <a:pt x="114" y="159"/>
                      <a:pt x="114" y="158"/>
                    </a:cubicBezTo>
                    <a:cubicBezTo>
                      <a:pt x="113" y="157"/>
                      <a:pt x="113" y="157"/>
                      <a:pt x="113" y="156"/>
                    </a:cubicBezTo>
                    <a:cubicBezTo>
                      <a:pt x="112" y="155"/>
                      <a:pt x="111" y="154"/>
                      <a:pt x="110" y="153"/>
                    </a:cubicBezTo>
                    <a:cubicBezTo>
                      <a:pt x="110" y="153"/>
                      <a:pt x="110" y="153"/>
                      <a:pt x="110" y="153"/>
                    </a:cubicBezTo>
                    <a:cubicBezTo>
                      <a:pt x="109" y="153"/>
                      <a:pt x="109" y="153"/>
                      <a:pt x="108" y="153"/>
                    </a:cubicBezTo>
                    <a:cubicBezTo>
                      <a:pt x="108" y="153"/>
                      <a:pt x="107" y="153"/>
                      <a:pt x="107" y="153"/>
                    </a:cubicBezTo>
                    <a:cubicBezTo>
                      <a:pt x="107" y="152"/>
                      <a:pt x="106" y="152"/>
                      <a:pt x="106" y="151"/>
                    </a:cubicBezTo>
                    <a:cubicBezTo>
                      <a:pt x="106" y="150"/>
                      <a:pt x="105" y="150"/>
                      <a:pt x="105" y="149"/>
                    </a:cubicBezTo>
                    <a:cubicBezTo>
                      <a:pt x="105" y="148"/>
                      <a:pt x="104" y="148"/>
                      <a:pt x="104" y="147"/>
                    </a:cubicBezTo>
                    <a:cubicBezTo>
                      <a:pt x="104" y="147"/>
                      <a:pt x="104" y="147"/>
                      <a:pt x="104" y="146"/>
                    </a:cubicBezTo>
                    <a:cubicBezTo>
                      <a:pt x="103" y="145"/>
                      <a:pt x="103" y="145"/>
                      <a:pt x="102" y="144"/>
                    </a:cubicBezTo>
                    <a:cubicBezTo>
                      <a:pt x="102" y="143"/>
                      <a:pt x="102" y="143"/>
                      <a:pt x="102" y="142"/>
                    </a:cubicBezTo>
                    <a:cubicBezTo>
                      <a:pt x="102" y="142"/>
                      <a:pt x="102" y="142"/>
                      <a:pt x="101" y="141"/>
                    </a:cubicBezTo>
                    <a:cubicBezTo>
                      <a:pt x="102" y="140"/>
                      <a:pt x="102" y="140"/>
                      <a:pt x="102" y="139"/>
                    </a:cubicBezTo>
                    <a:cubicBezTo>
                      <a:pt x="102" y="138"/>
                      <a:pt x="102" y="138"/>
                      <a:pt x="103" y="138"/>
                    </a:cubicBezTo>
                    <a:cubicBezTo>
                      <a:pt x="102" y="137"/>
                      <a:pt x="102" y="137"/>
                      <a:pt x="102" y="136"/>
                    </a:cubicBezTo>
                    <a:cubicBezTo>
                      <a:pt x="101" y="135"/>
                      <a:pt x="101" y="135"/>
                      <a:pt x="101" y="134"/>
                    </a:cubicBezTo>
                    <a:cubicBezTo>
                      <a:pt x="100" y="134"/>
                      <a:pt x="99" y="133"/>
                      <a:pt x="99" y="132"/>
                    </a:cubicBezTo>
                    <a:cubicBezTo>
                      <a:pt x="98" y="132"/>
                      <a:pt x="98" y="131"/>
                      <a:pt x="97" y="131"/>
                    </a:cubicBezTo>
                    <a:cubicBezTo>
                      <a:pt x="97" y="130"/>
                      <a:pt x="97" y="130"/>
                      <a:pt x="97" y="130"/>
                    </a:cubicBezTo>
                    <a:cubicBezTo>
                      <a:pt x="97" y="129"/>
                      <a:pt x="97" y="129"/>
                      <a:pt x="97" y="129"/>
                    </a:cubicBezTo>
                    <a:cubicBezTo>
                      <a:pt x="97" y="129"/>
                      <a:pt x="97" y="129"/>
                      <a:pt x="98" y="128"/>
                    </a:cubicBezTo>
                    <a:cubicBezTo>
                      <a:pt x="99" y="128"/>
                      <a:pt x="99" y="128"/>
                      <a:pt x="101" y="129"/>
                    </a:cubicBezTo>
                    <a:cubicBezTo>
                      <a:pt x="101" y="128"/>
                      <a:pt x="102" y="128"/>
                      <a:pt x="102" y="127"/>
                    </a:cubicBezTo>
                    <a:cubicBezTo>
                      <a:pt x="103" y="126"/>
                      <a:pt x="103" y="126"/>
                      <a:pt x="104" y="125"/>
                    </a:cubicBezTo>
                    <a:cubicBezTo>
                      <a:pt x="105" y="125"/>
                      <a:pt x="105" y="124"/>
                      <a:pt x="106" y="124"/>
                    </a:cubicBezTo>
                    <a:cubicBezTo>
                      <a:pt x="107" y="124"/>
                      <a:pt x="107" y="124"/>
                      <a:pt x="108" y="123"/>
                    </a:cubicBezTo>
                    <a:cubicBezTo>
                      <a:pt x="109" y="124"/>
                      <a:pt x="109" y="124"/>
                      <a:pt x="110" y="124"/>
                    </a:cubicBezTo>
                    <a:cubicBezTo>
                      <a:pt x="110" y="124"/>
                      <a:pt x="111" y="123"/>
                      <a:pt x="111" y="123"/>
                    </a:cubicBezTo>
                    <a:cubicBezTo>
                      <a:pt x="112" y="122"/>
                      <a:pt x="112" y="122"/>
                      <a:pt x="113" y="121"/>
                    </a:cubicBezTo>
                    <a:cubicBezTo>
                      <a:pt x="114" y="120"/>
                      <a:pt x="114" y="120"/>
                      <a:pt x="115" y="119"/>
                    </a:cubicBezTo>
                    <a:cubicBezTo>
                      <a:pt x="116" y="119"/>
                      <a:pt x="117" y="119"/>
                      <a:pt x="118" y="118"/>
                    </a:cubicBezTo>
                    <a:cubicBezTo>
                      <a:pt x="118" y="118"/>
                      <a:pt x="119" y="118"/>
                      <a:pt x="119" y="118"/>
                    </a:cubicBezTo>
                    <a:cubicBezTo>
                      <a:pt x="120" y="117"/>
                      <a:pt x="120" y="117"/>
                      <a:pt x="120" y="117"/>
                    </a:cubicBezTo>
                    <a:cubicBezTo>
                      <a:pt x="120" y="116"/>
                      <a:pt x="120" y="116"/>
                      <a:pt x="120" y="116"/>
                    </a:cubicBezTo>
                    <a:cubicBezTo>
                      <a:pt x="120" y="116"/>
                      <a:pt x="121" y="116"/>
                      <a:pt x="121" y="116"/>
                    </a:cubicBezTo>
                    <a:cubicBezTo>
                      <a:pt x="122" y="116"/>
                      <a:pt x="122" y="116"/>
                      <a:pt x="123" y="116"/>
                    </a:cubicBezTo>
                    <a:cubicBezTo>
                      <a:pt x="123" y="115"/>
                      <a:pt x="124" y="115"/>
                      <a:pt x="125" y="115"/>
                    </a:cubicBezTo>
                    <a:cubicBezTo>
                      <a:pt x="125" y="115"/>
                      <a:pt x="126" y="115"/>
                      <a:pt x="126" y="114"/>
                    </a:cubicBezTo>
                    <a:cubicBezTo>
                      <a:pt x="127" y="114"/>
                      <a:pt x="127" y="114"/>
                      <a:pt x="127" y="113"/>
                    </a:cubicBezTo>
                    <a:cubicBezTo>
                      <a:pt x="128" y="113"/>
                      <a:pt x="128" y="113"/>
                      <a:pt x="129" y="113"/>
                    </a:cubicBezTo>
                    <a:cubicBezTo>
                      <a:pt x="130" y="113"/>
                      <a:pt x="130" y="113"/>
                      <a:pt x="130" y="113"/>
                    </a:cubicBezTo>
                    <a:cubicBezTo>
                      <a:pt x="131" y="112"/>
                      <a:pt x="131" y="112"/>
                      <a:pt x="132" y="111"/>
                    </a:cubicBezTo>
                    <a:cubicBezTo>
                      <a:pt x="132" y="111"/>
                      <a:pt x="132" y="111"/>
                      <a:pt x="133" y="110"/>
                    </a:cubicBezTo>
                    <a:cubicBezTo>
                      <a:pt x="133" y="110"/>
                      <a:pt x="133" y="110"/>
                      <a:pt x="133" y="109"/>
                    </a:cubicBezTo>
                    <a:cubicBezTo>
                      <a:pt x="133" y="109"/>
                      <a:pt x="133" y="109"/>
                      <a:pt x="132" y="108"/>
                    </a:cubicBezTo>
                    <a:cubicBezTo>
                      <a:pt x="132" y="108"/>
                      <a:pt x="132" y="108"/>
                      <a:pt x="132" y="107"/>
                    </a:cubicBezTo>
                    <a:cubicBezTo>
                      <a:pt x="132" y="107"/>
                      <a:pt x="132" y="107"/>
                      <a:pt x="132" y="107"/>
                    </a:cubicBezTo>
                    <a:cubicBezTo>
                      <a:pt x="132" y="107"/>
                      <a:pt x="132" y="107"/>
                      <a:pt x="133" y="106"/>
                    </a:cubicBezTo>
                    <a:cubicBezTo>
                      <a:pt x="133" y="106"/>
                      <a:pt x="134" y="106"/>
                      <a:pt x="134" y="107"/>
                    </a:cubicBezTo>
                    <a:cubicBezTo>
                      <a:pt x="135" y="107"/>
                      <a:pt x="135" y="107"/>
                      <a:pt x="136" y="107"/>
                    </a:cubicBezTo>
                    <a:cubicBezTo>
                      <a:pt x="136" y="107"/>
                      <a:pt x="136" y="108"/>
                      <a:pt x="136" y="108"/>
                    </a:cubicBezTo>
                    <a:cubicBezTo>
                      <a:pt x="137" y="108"/>
                      <a:pt x="137" y="109"/>
                      <a:pt x="137" y="109"/>
                    </a:cubicBezTo>
                    <a:cubicBezTo>
                      <a:pt x="137" y="109"/>
                      <a:pt x="137" y="110"/>
                      <a:pt x="137" y="110"/>
                    </a:cubicBezTo>
                    <a:cubicBezTo>
                      <a:pt x="137" y="110"/>
                      <a:pt x="137" y="110"/>
                      <a:pt x="137" y="110"/>
                    </a:cubicBezTo>
                    <a:cubicBezTo>
                      <a:pt x="138" y="110"/>
                      <a:pt x="138" y="111"/>
                      <a:pt x="138" y="111"/>
                    </a:cubicBezTo>
                    <a:cubicBezTo>
                      <a:pt x="138" y="111"/>
                      <a:pt x="138" y="111"/>
                      <a:pt x="138" y="111"/>
                    </a:cubicBezTo>
                    <a:cubicBezTo>
                      <a:pt x="138" y="112"/>
                      <a:pt x="138" y="112"/>
                      <a:pt x="138" y="112"/>
                    </a:cubicBezTo>
                    <a:cubicBezTo>
                      <a:pt x="138" y="113"/>
                      <a:pt x="139" y="113"/>
                      <a:pt x="139" y="113"/>
                    </a:cubicBezTo>
                    <a:cubicBezTo>
                      <a:pt x="139" y="113"/>
                      <a:pt x="139" y="113"/>
                      <a:pt x="140" y="113"/>
                    </a:cubicBezTo>
                    <a:cubicBezTo>
                      <a:pt x="140" y="113"/>
                      <a:pt x="140" y="113"/>
                      <a:pt x="141" y="113"/>
                    </a:cubicBezTo>
                    <a:cubicBezTo>
                      <a:pt x="141" y="112"/>
                      <a:pt x="141" y="111"/>
                      <a:pt x="142" y="110"/>
                    </a:cubicBezTo>
                    <a:cubicBezTo>
                      <a:pt x="142" y="109"/>
                      <a:pt x="142" y="108"/>
                      <a:pt x="142" y="107"/>
                    </a:cubicBezTo>
                    <a:cubicBezTo>
                      <a:pt x="142" y="106"/>
                      <a:pt x="143" y="105"/>
                      <a:pt x="143" y="104"/>
                    </a:cubicBezTo>
                    <a:cubicBezTo>
                      <a:pt x="143" y="103"/>
                      <a:pt x="143" y="103"/>
                      <a:pt x="143" y="102"/>
                    </a:cubicBezTo>
                    <a:cubicBezTo>
                      <a:pt x="143" y="102"/>
                      <a:pt x="143" y="101"/>
                      <a:pt x="143" y="101"/>
                    </a:cubicBezTo>
                    <a:cubicBezTo>
                      <a:pt x="143" y="100"/>
                      <a:pt x="143" y="100"/>
                      <a:pt x="142" y="99"/>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78" name="Freeform 199"/>
              <p:cNvSpPr>
                <a:spLocks/>
              </p:cNvSpPr>
              <p:nvPr/>
            </p:nvSpPr>
            <p:spPr bwMode="gray">
              <a:xfrm>
                <a:off x="2160" y="3016"/>
                <a:ext cx="347" cy="194"/>
              </a:xfrm>
              <a:custGeom>
                <a:avLst/>
                <a:gdLst>
                  <a:gd name="T0" fmla="*/ 126 w 132"/>
                  <a:gd name="T1" fmla="*/ 8 h 74"/>
                  <a:gd name="T2" fmla="*/ 111 w 132"/>
                  <a:gd name="T3" fmla="*/ 6 h 74"/>
                  <a:gd name="T4" fmla="*/ 91 w 132"/>
                  <a:gd name="T5" fmla="*/ 7 h 74"/>
                  <a:gd name="T6" fmla="*/ 78 w 132"/>
                  <a:gd name="T7" fmla="*/ 17 h 74"/>
                  <a:gd name="T8" fmla="*/ 74 w 132"/>
                  <a:gd name="T9" fmla="*/ 16 h 74"/>
                  <a:gd name="T10" fmla="*/ 66 w 132"/>
                  <a:gd name="T11" fmla="*/ 26 h 74"/>
                  <a:gd name="T12" fmla="*/ 64 w 132"/>
                  <a:gd name="T13" fmla="*/ 28 h 74"/>
                  <a:gd name="T14" fmla="*/ 60 w 132"/>
                  <a:gd name="T15" fmla="*/ 32 h 74"/>
                  <a:gd name="T16" fmla="*/ 56 w 132"/>
                  <a:gd name="T17" fmla="*/ 36 h 74"/>
                  <a:gd name="T18" fmla="*/ 54 w 132"/>
                  <a:gd name="T19" fmla="*/ 38 h 74"/>
                  <a:gd name="T20" fmla="*/ 51 w 132"/>
                  <a:gd name="T21" fmla="*/ 39 h 74"/>
                  <a:gd name="T22" fmla="*/ 50 w 132"/>
                  <a:gd name="T23" fmla="*/ 42 h 74"/>
                  <a:gd name="T24" fmla="*/ 51 w 132"/>
                  <a:gd name="T25" fmla="*/ 45 h 74"/>
                  <a:gd name="T26" fmla="*/ 54 w 132"/>
                  <a:gd name="T27" fmla="*/ 46 h 74"/>
                  <a:gd name="T28" fmla="*/ 53 w 132"/>
                  <a:gd name="T29" fmla="*/ 50 h 74"/>
                  <a:gd name="T30" fmla="*/ 54 w 132"/>
                  <a:gd name="T31" fmla="*/ 53 h 74"/>
                  <a:gd name="T32" fmla="*/ 54 w 132"/>
                  <a:gd name="T33" fmla="*/ 57 h 74"/>
                  <a:gd name="T34" fmla="*/ 52 w 132"/>
                  <a:gd name="T35" fmla="*/ 57 h 74"/>
                  <a:gd name="T36" fmla="*/ 50 w 132"/>
                  <a:gd name="T37" fmla="*/ 55 h 74"/>
                  <a:gd name="T38" fmla="*/ 49 w 132"/>
                  <a:gd name="T39" fmla="*/ 52 h 74"/>
                  <a:gd name="T40" fmla="*/ 48 w 132"/>
                  <a:gd name="T41" fmla="*/ 53 h 74"/>
                  <a:gd name="T42" fmla="*/ 45 w 132"/>
                  <a:gd name="T43" fmla="*/ 54 h 74"/>
                  <a:gd name="T44" fmla="*/ 43 w 132"/>
                  <a:gd name="T45" fmla="*/ 52 h 74"/>
                  <a:gd name="T46" fmla="*/ 40 w 132"/>
                  <a:gd name="T47" fmla="*/ 52 h 74"/>
                  <a:gd name="T48" fmla="*/ 38 w 132"/>
                  <a:gd name="T49" fmla="*/ 54 h 74"/>
                  <a:gd name="T50" fmla="*/ 32 w 132"/>
                  <a:gd name="T51" fmla="*/ 54 h 74"/>
                  <a:gd name="T52" fmla="*/ 28 w 132"/>
                  <a:gd name="T53" fmla="*/ 57 h 74"/>
                  <a:gd name="T54" fmla="*/ 24 w 132"/>
                  <a:gd name="T55" fmla="*/ 59 h 74"/>
                  <a:gd name="T56" fmla="*/ 21 w 132"/>
                  <a:gd name="T57" fmla="*/ 59 h 74"/>
                  <a:gd name="T58" fmla="*/ 18 w 132"/>
                  <a:gd name="T59" fmla="*/ 59 h 74"/>
                  <a:gd name="T60" fmla="*/ 17 w 132"/>
                  <a:gd name="T61" fmla="*/ 57 h 74"/>
                  <a:gd name="T62" fmla="*/ 13 w 132"/>
                  <a:gd name="T63" fmla="*/ 55 h 74"/>
                  <a:gd name="T64" fmla="*/ 11 w 132"/>
                  <a:gd name="T65" fmla="*/ 55 h 74"/>
                  <a:gd name="T66" fmla="*/ 9 w 132"/>
                  <a:gd name="T67" fmla="*/ 54 h 74"/>
                  <a:gd name="T68" fmla="*/ 8 w 132"/>
                  <a:gd name="T69" fmla="*/ 57 h 74"/>
                  <a:gd name="T70" fmla="*/ 8 w 132"/>
                  <a:gd name="T71" fmla="*/ 61 h 74"/>
                  <a:gd name="T72" fmla="*/ 5 w 132"/>
                  <a:gd name="T73" fmla="*/ 62 h 74"/>
                  <a:gd name="T74" fmla="*/ 5 w 132"/>
                  <a:gd name="T75" fmla="*/ 60 h 74"/>
                  <a:gd name="T76" fmla="*/ 3 w 132"/>
                  <a:gd name="T77" fmla="*/ 58 h 74"/>
                  <a:gd name="T78" fmla="*/ 2 w 132"/>
                  <a:gd name="T79" fmla="*/ 60 h 74"/>
                  <a:gd name="T80" fmla="*/ 11 w 132"/>
                  <a:gd name="T81" fmla="*/ 72 h 74"/>
                  <a:gd name="T82" fmla="*/ 19 w 132"/>
                  <a:gd name="T83" fmla="*/ 71 h 74"/>
                  <a:gd name="T84" fmla="*/ 42 w 132"/>
                  <a:gd name="T85" fmla="*/ 65 h 74"/>
                  <a:gd name="T86" fmla="*/ 68 w 132"/>
                  <a:gd name="T87" fmla="*/ 71 h 74"/>
                  <a:gd name="T88" fmla="*/ 78 w 132"/>
                  <a:gd name="T89" fmla="*/ 65 h 74"/>
                  <a:gd name="T90" fmla="*/ 101 w 132"/>
                  <a:gd name="T91" fmla="*/ 61 h 74"/>
                  <a:gd name="T92" fmla="*/ 114 w 132"/>
                  <a:gd name="T93" fmla="*/ 59 h 74"/>
                  <a:gd name="T94" fmla="*/ 117 w 132"/>
                  <a:gd name="T95" fmla="*/ 55 h 74"/>
                  <a:gd name="T96" fmla="*/ 124 w 132"/>
                  <a:gd name="T97" fmla="*/ 39 h 74"/>
                  <a:gd name="T98" fmla="*/ 130 w 132"/>
                  <a:gd name="T99" fmla="*/ 33 h 74"/>
                  <a:gd name="T100" fmla="*/ 128 w 132"/>
                  <a:gd name="T101" fmla="*/ 1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2" h="74">
                    <a:moveTo>
                      <a:pt x="128" y="15"/>
                    </a:moveTo>
                    <a:cubicBezTo>
                      <a:pt x="129" y="13"/>
                      <a:pt x="129" y="9"/>
                      <a:pt x="129" y="9"/>
                    </a:cubicBezTo>
                    <a:cubicBezTo>
                      <a:pt x="128" y="9"/>
                      <a:pt x="128" y="9"/>
                      <a:pt x="127" y="9"/>
                    </a:cubicBezTo>
                    <a:cubicBezTo>
                      <a:pt x="127" y="9"/>
                      <a:pt x="127" y="8"/>
                      <a:pt x="126" y="8"/>
                    </a:cubicBezTo>
                    <a:cubicBezTo>
                      <a:pt x="126" y="7"/>
                      <a:pt x="126" y="7"/>
                      <a:pt x="125" y="7"/>
                    </a:cubicBezTo>
                    <a:cubicBezTo>
                      <a:pt x="125" y="7"/>
                      <a:pt x="125" y="7"/>
                      <a:pt x="125" y="6"/>
                    </a:cubicBezTo>
                    <a:cubicBezTo>
                      <a:pt x="123" y="5"/>
                      <a:pt x="121" y="6"/>
                      <a:pt x="119" y="7"/>
                    </a:cubicBezTo>
                    <a:cubicBezTo>
                      <a:pt x="117" y="9"/>
                      <a:pt x="113" y="8"/>
                      <a:pt x="111" y="6"/>
                    </a:cubicBezTo>
                    <a:cubicBezTo>
                      <a:pt x="108" y="4"/>
                      <a:pt x="104" y="3"/>
                      <a:pt x="102" y="3"/>
                    </a:cubicBezTo>
                    <a:cubicBezTo>
                      <a:pt x="101" y="3"/>
                      <a:pt x="99" y="3"/>
                      <a:pt x="97" y="3"/>
                    </a:cubicBezTo>
                    <a:cubicBezTo>
                      <a:pt x="95" y="3"/>
                      <a:pt x="95" y="0"/>
                      <a:pt x="93" y="2"/>
                    </a:cubicBezTo>
                    <a:cubicBezTo>
                      <a:pt x="92" y="5"/>
                      <a:pt x="93" y="6"/>
                      <a:pt x="91" y="7"/>
                    </a:cubicBezTo>
                    <a:cubicBezTo>
                      <a:pt x="90" y="8"/>
                      <a:pt x="88" y="9"/>
                      <a:pt x="88" y="10"/>
                    </a:cubicBezTo>
                    <a:cubicBezTo>
                      <a:pt x="87" y="11"/>
                      <a:pt x="86" y="11"/>
                      <a:pt x="84" y="10"/>
                    </a:cubicBezTo>
                    <a:cubicBezTo>
                      <a:pt x="82" y="10"/>
                      <a:pt x="80" y="8"/>
                      <a:pt x="79" y="11"/>
                    </a:cubicBezTo>
                    <a:cubicBezTo>
                      <a:pt x="79" y="13"/>
                      <a:pt x="79" y="15"/>
                      <a:pt x="78" y="17"/>
                    </a:cubicBezTo>
                    <a:cubicBezTo>
                      <a:pt x="78" y="17"/>
                      <a:pt x="77" y="15"/>
                      <a:pt x="76" y="14"/>
                    </a:cubicBezTo>
                    <a:cubicBezTo>
                      <a:pt x="76" y="14"/>
                      <a:pt x="76" y="14"/>
                      <a:pt x="76" y="14"/>
                    </a:cubicBezTo>
                    <a:cubicBezTo>
                      <a:pt x="75" y="14"/>
                      <a:pt x="75" y="14"/>
                      <a:pt x="75" y="14"/>
                    </a:cubicBezTo>
                    <a:cubicBezTo>
                      <a:pt x="75" y="14"/>
                      <a:pt x="75" y="15"/>
                      <a:pt x="74" y="16"/>
                    </a:cubicBezTo>
                    <a:cubicBezTo>
                      <a:pt x="74" y="16"/>
                      <a:pt x="74" y="18"/>
                      <a:pt x="73" y="20"/>
                    </a:cubicBezTo>
                    <a:cubicBezTo>
                      <a:pt x="71" y="22"/>
                      <a:pt x="71" y="19"/>
                      <a:pt x="69" y="20"/>
                    </a:cubicBezTo>
                    <a:cubicBezTo>
                      <a:pt x="68" y="21"/>
                      <a:pt x="68" y="24"/>
                      <a:pt x="68" y="26"/>
                    </a:cubicBezTo>
                    <a:cubicBezTo>
                      <a:pt x="68" y="26"/>
                      <a:pt x="67" y="26"/>
                      <a:pt x="66" y="26"/>
                    </a:cubicBezTo>
                    <a:cubicBezTo>
                      <a:pt x="66" y="26"/>
                      <a:pt x="66" y="27"/>
                      <a:pt x="65" y="27"/>
                    </a:cubicBezTo>
                    <a:cubicBezTo>
                      <a:pt x="65" y="27"/>
                      <a:pt x="65" y="27"/>
                      <a:pt x="65" y="27"/>
                    </a:cubicBezTo>
                    <a:cubicBezTo>
                      <a:pt x="65" y="28"/>
                      <a:pt x="65" y="28"/>
                      <a:pt x="65" y="28"/>
                    </a:cubicBezTo>
                    <a:cubicBezTo>
                      <a:pt x="64" y="28"/>
                      <a:pt x="64" y="28"/>
                      <a:pt x="64" y="28"/>
                    </a:cubicBezTo>
                    <a:cubicBezTo>
                      <a:pt x="63" y="29"/>
                      <a:pt x="62" y="29"/>
                      <a:pt x="61" y="29"/>
                    </a:cubicBezTo>
                    <a:cubicBezTo>
                      <a:pt x="61" y="29"/>
                      <a:pt x="61" y="29"/>
                      <a:pt x="61" y="29"/>
                    </a:cubicBezTo>
                    <a:cubicBezTo>
                      <a:pt x="61" y="29"/>
                      <a:pt x="61" y="29"/>
                      <a:pt x="61" y="30"/>
                    </a:cubicBezTo>
                    <a:cubicBezTo>
                      <a:pt x="60" y="30"/>
                      <a:pt x="60" y="31"/>
                      <a:pt x="60" y="32"/>
                    </a:cubicBezTo>
                    <a:cubicBezTo>
                      <a:pt x="60" y="32"/>
                      <a:pt x="60" y="32"/>
                      <a:pt x="60" y="33"/>
                    </a:cubicBezTo>
                    <a:cubicBezTo>
                      <a:pt x="60" y="33"/>
                      <a:pt x="59" y="34"/>
                      <a:pt x="59" y="34"/>
                    </a:cubicBezTo>
                    <a:cubicBezTo>
                      <a:pt x="59" y="35"/>
                      <a:pt x="58" y="35"/>
                      <a:pt x="58" y="35"/>
                    </a:cubicBezTo>
                    <a:cubicBezTo>
                      <a:pt x="57" y="36"/>
                      <a:pt x="57" y="36"/>
                      <a:pt x="56" y="36"/>
                    </a:cubicBezTo>
                    <a:cubicBezTo>
                      <a:pt x="56" y="36"/>
                      <a:pt x="56" y="36"/>
                      <a:pt x="56" y="36"/>
                    </a:cubicBezTo>
                    <a:cubicBezTo>
                      <a:pt x="55" y="36"/>
                      <a:pt x="55" y="36"/>
                      <a:pt x="55" y="36"/>
                    </a:cubicBezTo>
                    <a:cubicBezTo>
                      <a:pt x="54" y="37"/>
                      <a:pt x="54" y="37"/>
                      <a:pt x="54" y="37"/>
                    </a:cubicBezTo>
                    <a:cubicBezTo>
                      <a:pt x="54" y="37"/>
                      <a:pt x="54" y="37"/>
                      <a:pt x="54" y="38"/>
                    </a:cubicBezTo>
                    <a:cubicBezTo>
                      <a:pt x="53" y="38"/>
                      <a:pt x="53" y="38"/>
                      <a:pt x="53" y="38"/>
                    </a:cubicBezTo>
                    <a:cubicBezTo>
                      <a:pt x="53" y="39"/>
                      <a:pt x="53" y="39"/>
                      <a:pt x="53" y="39"/>
                    </a:cubicBezTo>
                    <a:cubicBezTo>
                      <a:pt x="53" y="39"/>
                      <a:pt x="52" y="39"/>
                      <a:pt x="52" y="39"/>
                    </a:cubicBezTo>
                    <a:cubicBezTo>
                      <a:pt x="52" y="39"/>
                      <a:pt x="52" y="39"/>
                      <a:pt x="51" y="39"/>
                    </a:cubicBezTo>
                    <a:cubicBezTo>
                      <a:pt x="51" y="39"/>
                      <a:pt x="51" y="39"/>
                      <a:pt x="51" y="40"/>
                    </a:cubicBezTo>
                    <a:cubicBezTo>
                      <a:pt x="50" y="40"/>
                      <a:pt x="50" y="40"/>
                      <a:pt x="50" y="41"/>
                    </a:cubicBezTo>
                    <a:cubicBezTo>
                      <a:pt x="50" y="41"/>
                      <a:pt x="50" y="41"/>
                      <a:pt x="49" y="42"/>
                    </a:cubicBezTo>
                    <a:cubicBezTo>
                      <a:pt x="50" y="42"/>
                      <a:pt x="50" y="42"/>
                      <a:pt x="50" y="42"/>
                    </a:cubicBezTo>
                    <a:cubicBezTo>
                      <a:pt x="50" y="43"/>
                      <a:pt x="50" y="43"/>
                      <a:pt x="50" y="43"/>
                    </a:cubicBezTo>
                    <a:cubicBezTo>
                      <a:pt x="50" y="43"/>
                      <a:pt x="50" y="43"/>
                      <a:pt x="51" y="44"/>
                    </a:cubicBezTo>
                    <a:cubicBezTo>
                      <a:pt x="51" y="44"/>
                      <a:pt x="51" y="44"/>
                      <a:pt x="51" y="44"/>
                    </a:cubicBezTo>
                    <a:cubicBezTo>
                      <a:pt x="51" y="45"/>
                      <a:pt x="51" y="45"/>
                      <a:pt x="51" y="45"/>
                    </a:cubicBezTo>
                    <a:cubicBezTo>
                      <a:pt x="51" y="45"/>
                      <a:pt x="51" y="45"/>
                      <a:pt x="52" y="45"/>
                    </a:cubicBezTo>
                    <a:cubicBezTo>
                      <a:pt x="52" y="45"/>
                      <a:pt x="52" y="45"/>
                      <a:pt x="53" y="45"/>
                    </a:cubicBezTo>
                    <a:cubicBezTo>
                      <a:pt x="53" y="45"/>
                      <a:pt x="53" y="46"/>
                      <a:pt x="53" y="46"/>
                    </a:cubicBezTo>
                    <a:cubicBezTo>
                      <a:pt x="54" y="46"/>
                      <a:pt x="54" y="46"/>
                      <a:pt x="54" y="46"/>
                    </a:cubicBezTo>
                    <a:cubicBezTo>
                      <a:pt x="54" y="47"/>
                      <a:pt x="54" y="47"/>
                      <a:pt x="54" y="48"/>
                    </a:cubicBezTo>
                    <a:cubicBezTo>
                      <a:pt x="54" y="48"/>
                      <a:pt x="54" y="48"/>
                      <a:pt x="54" y="48"/>
                    </a:cubicBezTo>
                    <a:cubicBezTo>
                      <a:pt x="54" y="49"/>
                      <a:pt x="53" y="49"/>
                      <a:pt x="53" y="49"/>
                    </a:cubicBezTo>
                    <a:cubicBezTo>
                      <a:pt x="53" y="50"/>
                      <a:pt x="53" y="50"/>
                      <a:pt x="53" y="50"/>
                    </a:cubicBezTo>
                    <a:cubicBezTo>
                      <a:pt x="52" y="51"/>
                      <a:pt x="52" y="51"/>
                      <a:pt x="52" y="51"/>
                    </a:cubicBezTo>
                    <a:cubicBezTo>
                      <a:pt x="52" y="51"/>
                      <a:pt x="52" y="51"/>
                      <a:pt x="52" y="52"/>
                    </a:cubicBezTo>
                    <a:cubicBezTo>
                      <a:pt x="53" y="52"/>
                      <a:pt x="53" y="52"/>
                      <a:pt x="53" y="52"/>
                    </a:cubicBezTo>
                    <a:cubicBezTo>
                      <a:pt x="54" y="53"/>
                      <a:pt x="54" y="53"/>
                      <a:pt x="54" y="53"/>
                    </a:cubicBezTo>
                    <a:cubicBezTo>
                      <a:pt x="54" y="53"/>
                      <a:pt x="55" y="53"/>
                      <a:pt x="55" y="53"/>
                    </a:cubicBezTo>
                    <a:cubicBezTo>
                      <a:pt x="55" y="54"/>
                      <a:pt x="55" y="54"/>
                      <a:pt x="55" y="54"/>
                    </a:cubicBezTo>
                    <a:cubicBezTo>
                      <a:pt x="55" y="55"/>
                      <a:pt x="55" y="55"/>
                      <a:pt x="55" y="56"/>
                    </a:cubicBezTo>
                    <a:cubicBezTo>
                      <a:pt x="55" y="56"/>
                      <a:pt x="55" y="57"/>
                      <a:pt x="54" y="57"/>
                    </a:cubicBezTo>
                    <a:cubicBezTo>
                      <a:pt x="54" y="58"/>
                      <a:pt x="54" y="58"/>
                      <a:pt x="54" y="58"/>
                    </a:cubicBezTo>
                    <a:cubicBezTo>
                      <a:pt x="53" y="58"/>
                      <a:pt x="53" y="58"/>
                      <a:pt x="53" y="58"/>
                    </a:cubicBezTo>
                    <a:cubicBezTo>
                      <a:pt x="53" y="58"/>
                      <a:pt x="52" y="58"/>
                      <a:pt x="52" y="57"/>
                    </a:cubicBezTo>
                    <a:cubicBezTo>
                      <a:pt x="52" y="57"/>
                      <a:pt x="52" y="57"/>
                      <a:pt x="52" y="57"/>
                    </a:cubicBezTo>
                    <a:cubicBezTo>
                      <a:pt x="51" y="56"/>
                      <a:pt x="51" y="56"/>
                      <a:pt x="51" y="56"/>
                    </a:cubicBezTo>
                    <a:cubicBezTo>
                      <a:pt x="51" y="56"/>
                      <a:pt x="51" y="56"/>
                      <a:pt x="50" y="56"/>
                    </a:cubicBezTo>
                    <a:cubicBezTo>
                      <a:pt x="50" y="55"/>
                      <a:pt x="50" y="55"/>
                      <a:pt x="50" y="55"/>
                    </a:cubicBezTo>
                    <a:cubicBezTo>
                      <a:pt x="50" y="55"/>
                      <a:pt x="50" y="55"/>
                      <a:pt x="50" y="55"/>
                    </a:cubicBezTo>
                    <a:cubicBezTo>
                      <a:pt x="50" y="54"/>
                      <a:pt x="50" y="54"/>
                      <a:pt x="50" y="54"/>
                    </a:cubicBezTo>
                    <a:cubicBezTo>
                      <a:pt x="50" y="54"/>
                      <a:pt x="50" y="54"/>
                      <a:pt x="50" y="53"/>
                    </a:cubicBezTo>
                    <a:cubicBezTo>
                      <a:pt x="50" y="53"/>
                      <a:pt x="50" y="53"/>
                      <a:pt x="50" y="53"/>
                    </a:cubicBezTo>
                    <a:cubicBezTo>
                      <a:pt x="50" y="53"/>
                      <a:pt x="50" y="53"/>
                      <a:pt x="49" y="52"/>
                    </a:cubicBezTo>
                    <a:cubicBezTo>
                      <a:pt x="49" y="53"/>
                      <a:pt x="49" y="53"/>
                      <a:pt x="49" y="53"/>
                    </a:cubicBezTo>
                    <a:cubicBezTo>
                      <a:pt x="49" y="53"/>
                      <a:pt x="49" y="53"/>
                      <a:pt x="49" y="53"/>
                    </a:cubicBezTo>
                    <a:cubicBezTo>
                      <a:pt x="48" y="53"/>
                      <a:pt x="48" y="53"/>
                      <a:pt x="48" y="53"/>
                    </a:cubicBezTo>
                    <a:cubicBezTo>
                      <a:pt x="48" y="53"/>
                      <a:pt x="48" y="53"/>
                      <a:pt x="48" y="53"/>
                    </a:cubicBezTo>
                    <a:cubicBezTo>
                      <a:pt x="47" y="53"/>
                      <a:pt x="47" y="53"/>
                      <a:pt x="47" y="53"/>
                    </a:cubicBezTo>
                    <a:cubicBezTo>
                      <a:pt x="47" y="53"/>
                      <a:pt x="46" y="53"/>
                      <a:pt x="46" y="53"/>
                    </a:cubicBezTo>
                    <a:cubicBezTo>
                      <a:pt x="46" y="53"/>
                      <a:pt x="46" y="54"/>
                      <a:pt x="46" y="54"/>
                    </a:cubicBezTo>
                    <a:cubicBezTo>
                      <a:pt x="46" y="54"/>
                      <a:pt x="46" y="54"/>
                      <a:pt x="45" y="54"/>
                    </a:cubicBezTo>
                    <a:cubicBezTo>
                      <a:pt x="45" y="54"/>
                      <a:pt x="45" y="54"/>
                      <a:pt x="45" y="54"/>
                    </a:cubicBezTo>
                    <a:cubicBezTo>
                      <a:pt x="44" y="53"/>
                      <a:pt x="44" y="53"/>
                      <a:pt x="44" y="53"/>
                    </a:cubicBezTo>
                    <a:cubicBezTo>
                      <a:pt x="44" y="53"/>
                      <a:pt x="44" y="53"/>
                      <a:pt x="43" y="53"/>
                    </a:cubicBezTo>
                    <a:cubicBezTo>
                      <a:pt x="43" y="53"/>
                      <a:pt x="43" y="53"/>
                      <a:pt x="43" y="52"/>
                    </a:cubicBezTo>
                    <a:cubicBezTo>
                      <a:pt x="42" y="52"/>
                      <a:pt x="42" y="52"/>
                      <a:pt x="42" y="52"/>
                    </a:cubicBezTo>
                    <a:cubicBezTo>
                      <a:pt x="42" y="52"/>
                      <a:pt x="42" y="51"/>
                      <a:pt x="42" y="51"/>
                    </a:cubicBezTo>
                    <a:cubicBezTo>
                      <a:pt x="41" y="51"/>
                      <a:pt x="41" y="51"/>
                      <a:pt x="41" y="51"/>
                    </a:cubicBezTo>
                    <a:cubicBezTo>
                      <a:pt x="41" y="51"/>
                      <a:pt x="40" y="51"/>
                      <a:pt x="40" y="52"/>
                    </a:cubicBezTo>
                    <a:cubicBezTo>
                      <a:pt x="40" y="52"/>
                      <a:pt x="40" y="52"/>
                      <a:pt x="40" y="53"/>
                    </a:cubicBezTo>
                    <a:cubicBezTo>
                      <a:pt x="40" y="53"/>
                      <a:pt x="39" y="53"/>
                      <a:pt x="39" y="53"/>
                    </a:cubicBezTo>
                    <a:cubicBezTo>
                      <a:pt x="39" y="54"/>
                      <a:pt x="39" y="54"/>
                      <a:pt x="39" y="54"/>
                    </a:cubicBezTo>
                    <a:cubicBezTo>
                      <a:pt x="38" y="54"/>
                      <a:pt x="38" y="54"/>
                      <a:pt x="38" y="54"/>
                    </a:cubicBezTo>
                    <a:cubicBezTo>
                      <a:pt x="37" y="54"/>
                      <a:pt x="37" y="54"/>
                      <a:pt x="36" y="54"/>
                    </a:cubicBezTo>
                    <a:cubicBezTo>
                      <a:pt x="36" y="54"/>
                      <a:pt x="35" y="54"/>
                      <a:pt x="35" y="54"/>
                    </a:cubicBezTo>
                    <a:cubicBezTo>
                      <a:pt x="34" y="54"/>
                      <a:pt x="34" y="54"/>
                      <a:pt x="33" y="54"/>
                    </a:cubicBezTo>
                    <a:cubicBezTo>
                      <a:pt x="33" y="54"/>
                      <a:pt x="32" y="54"/>
                      <a:pt x="32" y="54"/>
                    </a:cubicBezTo>
                    <a:cubicBezTo>
                      <a:pt x="32" y="55"/>
                      <a:pt x="31" y="55"/>
                      <a:pt x="31" y="55"/>
                    </a:cubicBezTo>
                    <a:cubicBezTo>
                      <a:pt x="31" y="56"/>
                      <a:pt x="30" y="56"/>
                      <a:pt x="30" y="56"/>
                    </a:cubicBezTo>
                    <a:cubicBezTo>
                      <a:pt x="30" y="57"/>
                      <a:pt x="30" y="57"/>
                      <a:pt x="29" y="57"/>
                    </a:cubicBezTo>
                    <a:cubicBezTo>
                      <a:pt x="29" y="57"/>
                      <a:pt x="28" y="57"/>
                      <a:pt x="28" y="57"/>
                    </a:cubicBezTo>
                    <a:cubicBezTo>
                      <a:pt x="27" y="57"/>
                      <a:pt x="27" y="57"/>
                      <a:pt x="27" y="57"/>
                    </a:cubicBezTo>
                    <a:cubicBezTo>
                      <a:pt x="26" y="57"/>
                      <a:pt x="26" y="57"/>
                      <a:pt x="26" y="57"/>
                    </a:cubicBezTo>
                    <a:cubicBezTo>
                      <a:pt x="25" y="58"/>
                      <a:pt x="25" y="58"/>
                      <a:pt x="24" y="58"/>
                    </a:cubicBezTo>
                    <a:cubicBezTo>
                      <a:pt x="24" y="58"/>
                      <a:pt x="24" y="58"/>
                      <a:pt x="24" y="59"/>
                    </a:cubicBezTo>
                    <a:cubicBezTo>
                      <a:pt x="23" y="59"/>
                      <a:pt x="23" y="59"/>
                      <a:pt x="23" y="59"/>
                    </a:cubicBezTo>
                    <a:cubicBezTo>
                      <a:pt x="22" y="59"/>
                      <a:pt x="22" y="59"/>
                      <a:pt x="22" y="59"/>
                    </a:cubicBezTo>
                    <a:cubicBezTo>
                      <a:pt x="22" y="59"/>
                      <a:pt x="22" y="59"/>
                      <a:pt x="21" y="59"/>
                    </a:cubicBezTo>
                    <a:cubicBezTo>
                      <a:pt x="21" y="59"/>
                      <a:pt x="21" y="59"/>
                      <a:pt x="21" y="59"/>
                    </a:cubicBezTo>
                    <a:cubicBezTo>
                      <a:pt x="20" y="59"/>
                      <a:pt x="20" y="59"/>
                      <a:pt x="20" y="60"/>
                    </a:cubicBezTo>
                    <a:cubicBezTo>
                      <a:pt x="20" y="60"/>
                      <a:pt x="20" y="60"/>
                      <a:pt x="19" y="60"/>
                    </a:cubicBezTo>
                    <a:cubicBezTo>
                      <a:pt x="19" y="60"/>
                      <a:pt x="19" y="60"/>
                      <a:pt x="18" y="60"/>
                    </a:cubicBezTo>
                    <a:cubicBezTo>
                      <a:pt x="18" y="59"/>
                      <a:pt x="18" y="59"/>
                      <a:pt x="18" y="59"/>
                    </a:cubicBezTo>
                    <a:cubicBezTo>
                      <a:pt x="18" y="59"/>
                      <a:pt x="18" y="58"/>
                      <a:pt x="18" y="58"/>
                    </a:cubicBezTo>
                    <a:cubicBezTo>
                      <a:pt x="18" y="58"/>
                      <a:pt x="18" y="58"/>
                      <a:pt x="18" y="57"/>
                    </a:cubicBezTo>
                    <a:cubicBezTo>
                      <a:pt x="17" y="57"/>
                      <a:pt x="17" y="57"/>
                      <a:pt x="17" y="57"/>
                    </a:cubicBezTo>
                    <a:cubicBezTo>
                      <a:pt x="17" y="57"/>
                      <a:pt x="17" y="57"/>
                      <a:pt x="17" y="57"/>
                    </a:cubicBezTo>
                    <a:cubicBezTo>
                      <a:pt x="16" y="56"/>
                      <a:pt x="16" y="56"/>
                      <a:pt x="16" y="56"/>
                    </a:cubicBezTo>
                    <a:cubicBezTo>
                      <a:pt x="16" y="56"/>
                      <a:pt x="15" y="56"/>
                      <a:pt x="15" y="56"/>
                    </a:cubicBezTo>
                    <a:cubicBezTo>
                      <a:pt x="15" y="56"/>
                      <a:pt x="15" y="55"/>
                      <a:pt x="14" y="55"/>
                    </a:cubicBezTo>
                    <a:cubicBezTo>
                      <a:pt x="14" y="55"/>
                      <a:pt x="14" y="55"/>
                      <a:pt x="13" y="55"/>
                    </a:cubicBezTo>
                    <a:cubicBezTo>
                      <a:pt x="13" y="55"/>
                      <a:pt x="13" y="55"/>
                      <a:pt x="12" y="55"/>
                    </a:cubicBezTo>
                    <a:cubicBezTo>
                      <a:pt x="12" y="56"/>
                      <a:pt x="12" y="56"/>
                      <a:pt x="12" y="56"/>
                    </a:cubicBezTo>
                    <a:cubicBezTo>
                      <a:pt x="12" y="56"/>
                      <a:pt x="11" y="56"/>
                      <a:pt x="11" y="56"/>
                    </a:cubicBezTo>
                    <a:cubicBezTo>
                      <a:pt x="11" y="56"/>
                      <a:pt x="11" y="56"/>
                      <a:pt x="11" y="55"/>
                    </a:cubicBezTo>
                    <a:cubicBezTo>
                      <a:pt x="10" y="55"/>
                      <a:pt x="10" y="55"/>
                      <a:pt x="10" y="54"/>
                    </a:cubicBezTo>
                    <a:cubicBezTo>
                      <a:pt x="10" y="54"/>
                      <a:pt x="10" y="54"/>
                      <a:pt x="10" y="53"/>
                    </a:cubicBezTo>
                    <a:cubicBezTo>
                      <a:pt x="10" y="53"/>
                      <a:pt x="10" y="53"/>
                      <a:pt x="9" y="53"/>
                    </a:cubicBezTo>
                    <a:cubicBezTo>
                      <a:pt x="9" y="54"/>
                      <a:pt x="9" y="54"/>
                      <a:pt x="9" y="54"/>
                    </a:cubicBezTo>
                    <a:cubicBezTo>
                      <a:pt x="9" y="54"/>
                      <a:pt x="9" y="54"/>
                      <a:pt x="9" y="55"/>
                    </a:cubicBezTo>
                    <a:cubicBezTo>
                      <a:pt x="8" y="55"/>
                      <a:pt x="8" y="55"/>
                      <a:pt x="8" y="55"/>
                    </a:cubicBezTo>
                    <a:cubicBezTo>
                      <a:pt x="8" y="56"/>
                      <a:pt x="8" y="56"/>
                      <a:pt x="8" y="56"/>
                    </a:cubicBezTo>
                    <a:cubicBezTo>
                      <a:pt x="8" y="57"/>
                      <a:pt x="8" y="57"/>
                      <a:pt x="8" y="57"/>
                    </a:cubicBezTo>
                    <a:cubicBezTo>
                      <a:pt x="8" y="58"/>
                      <a:pt x="8" y="58"/>
                      <a:pt x="8" y="59"/>
                    </a:cubicBezTo>
                    <a:cubicBezTo>
                      <a:pt x="9" y="59"/>
                      <a:pt x="9" y="59"/>
                      <a:pt x="9" y="59"/>
                    </a:cubicBezTo>
                    <a:cubicBezTo>
                      <a:pt x="9" y="60"/>
                      <a:pt x="8" y="60"/>
                      <a:pt x="8" y="60"/>
                    </a:cubicBezTo>
                    <a:cubicBezTo>
                      <a:pt x="8" y="60"/>
                      <a:pt x="8" y="60"/>
                      <a:pt x="8" y="61"/>
                    </a:cubicBezTo>
                    <a:cubicBezTo>
                      <a:pt x="7" y="61"/>
                      <a:pt x="7" y="61"/>
                      <a:pt x="7" y="62"/>
                    </a:cubicBezTo>
                    <a:cubicBezTo>
                      <a:pt x="6" y="62"/>
                      <a:pt x="6" y="62"/>
                      <a:pt x="6" y="62"/>
                    </a:cubicBezTo>
                    <a:cubicBezTo>
                      <a:pt x="6" y="62"/>
                      <a:pt x="6" y="62"/>
                      <a:pt x="6" y="62"/>
                    </a:cubicBezTo>
                    <a:cubicBezTo>
                      <a:pt x="5" y="62"/>
                      <a:pt x="5" y="62"/>
                      <a:pt x="5" y="62"/>
                    </a:cubicBezTo>
                    <a:cubicBezTo>
                      <a:pt x="5" y="62"/>
                      <a:pt x="5" y="62"/>
                      <a:pt x="5" y="61"/>
                    </a:cubicBezTo>
                    <a:cubicBezTo>
                      <a:pt x="5" y="61"/>
                      <a:pt x="5" y="61"/>
                      <a:pt x="5" y="61"/>
                    </a:cubicBezTo>
                    <a:cubicBezTo>
                      <a:pt x="5" y="60"/>
                      <a:pt x="5" y="60"/>
                      <a:pt x="5" y="60"/>
                    </a:cubicBezTo>
                    <a:cubicBezTo>
                      <a:pt x="5" y="60"/>
                      <a:pt x="5" y="60"/>
                      <a:pt x="5" y="60"/>
                    </a:cubicBezTo>
                    <a:cubicBezTo>
                      <a:pt x="5" y="59"/>
                      <a:pt x="5" y="59"/>
                      <a:pt x="5" y="59"/>
                    </a:cubicBezTo>
                    <a:cubicBezTo>
                      <a:pt x="4" y="59"/>
                      <a:pt x="4" y="59"/>
                      <a:pt x="4" y="59"/>
                    </a:cubicBezTo>
                    <a:cubicBezTo>
                      <a:pt x="4" y="59"/>
                      <a:pt x="4" y="59"/>
                      <a:pt x="3" y="59"/>
                    </a:cubicBezTo>
                    <a:cubicBezTo>
                      <a:pt x="3" y="59"/>
                      <a:pt x="3" y="58"/>
                      <a:pt x="3" y="58"/>
                    </a:cubicBezTo>
                    <a:cubicBezTo>
                      <a:pt x="3" y="58"/>
                      <a:pt x="3" y="58"/>
                      <a:pt x="3" y="57"/>
                    </a:cubicBezTo>
                    <a:cubicBezTo>
                      <a:pt x="3" y="57"/>
                      <a:pt x="3" y="57"/>
                      <a:pt x="3" y="57"/>
                    </a:cubicBezTo>
                    <a:cubicBezTo>
                      <a:pt x="3" y="57"/>
                      <a:pt x="3" y="57"/>
                      <a:pt x="3" y="57"/>
                    </a:cubicBezTo>
                    <a:cubicBezTo>
                      <a:pt x="3" y="58"/>
                      <a:pt x="2" y="59"/>
                      <a:pt x="2" y="60"/>
                    </a:cubicBezTo>
                    <a:cubicBezTo>
                      <a:pt x="2" y="62"/>
                      <a:pt x="0" y="66"/>
                      <a:pt x="1" y="67"/>
                    </a:cubicBezTo>
                    <a:cubicBezTo>
                      <a:pt x="3" y="68"/>
                      <a:pt x="5" y="67"/>
                      <a:pt x="7" y="68"/>
                    </a:cubicBezTo>
                    <a:cubicBezTo>
                      <a:pt x="8" y="68"/>
                      <a:pt x="7" y="70"/>
                      <a:pt x="9" y="71"/>
                    </a:cubicBezTo>
                    <a:cubicBezTo>
                      <a:pt x="10" y="72"/>
                      <a:pt x="10" y="70"/>
                      <a:pt x="11" y="72"/>
                    </a:cubicBezTo>
                    <a:cubicBezTo>
                      <a:pt x="11" y="74"/>
                      <a:pt x="13" y="72"/>
                      <a:pt x="15" y="70"/>
                    </a:cubicBezTo>
                    <a:cubicBezTo>
                      <a:pt x="18" y="67"/>
                      <a:pt x="17" y="68"/>
                      <a:pt x="18" y="68"/>
                    </a:cubicBezTo>
                    <a:cubicBezTo>
                      <a:pt x="19" y="69"/>
                      <a:pt x="19" y="71"/>
                      <a:pt x="19" y="71"/>
                    </a:cubicBezTo>
                    <a:cubicBezTo>
                      <a:pt x="19" y="71"/>
                      <a:pt x="19" y="71"/>
                      <a:pt x="19" y="71"/>
                    </a:cubicBezTo>
                    <a:cubicBezTo>
                      <a:pt x="21" y="71"/>
                      <a:pt x="24" y="72"/>
                      <a:pt x="25" y="73"/>
                    </a:cubicBezTo>
                    <a:cubicBezTo>
                      <a:pt x="26" y="73"/>
                      <a:pt x="28" y="73"/>
                      <a:pt x="29" y="71"/>
                    </a:cubicBezTo>
                    <a:cubicBezTo>
                      <a:pt x="30" y="69"/>
                      <a:pt x="32" y="67"/>
                      <a:pt x="35" y="66"/>
                    </a:cubicBezTo>
                    <a:cubicBezTo>
                      <a:pt x="37" y="65"/>
                      <a:pt x="40" y="67"/>
                      <a:pt x="42" y="65"/>
                    </a:cubicBezTo>
                    <a:cubicBezTo>
                      <a:pt x="44" y="63"/>
                      <a:pt x="48" y="61"/>
                      <a:pt x="47" y="63"/>
                    </a:cubicBezTo>
                    <a:cubicBezTo>
                      <a:pt x="47" y="65"/>
                      <a:pt x="48" y="65"/>
                      <a:pt x="49" y="66"/>
                    </a:cubicBezTo>
                    <a:cubicBezTo>
                      <a:pt x="49" y="68"/>
                      <a:pt x="51" y="71"/>
                      <a:pt x="54" y="71"/>
                    </a:cubicBezTo>
                    <a:cubicBezTo>
                      <a:pt x="57" y="71"/>
                      <a:pt x="65" y="71"/>
                      <a:pt x="68" y="71"/>
                    </a:cubicBezTo>
                    <a:cubicBezTo>
                      <a:pt x="68" y="71"/>
                      <a:pt x="68" y="71"/>
                      <a:pt x="68" y="71"/>
                    </a:cubicBezTo>
                    <a:cubicBezTo>
                      <a:pt x="66" y="71"/>
                      <a:pt x="64" y="70"/>
                      <a:pt x="66" y="68"/>
                    </a:cubicBezTo>
                    <a:cubicBezTo>
                      <a:pt x="67" y="67"/>
                      <a:pt x="70" y="65"/>
                      <a:pt x="72" y="64"/>
                    </a:cubicBezTo>
                    <a:cubicBezTo>
                      <a:pt x="74" y="64"/>
                      <a:pt x="76" y="64"/>
                      <a:pt x="78" y="65"/>
                    </a:cubicBezTo>
                    <a:cubicBezTo>
                      <a:pt x="80" y="66"/>
                      <a:pt x="84" y="67"/>
                      <a:pt x="86" y="67"/>
                    </a:cubicBezTo>
                    <a:cubicBezTo>
                      <a:pt x="88" y="67"/>
                      <a:pt x="89" y="65"/>
                      <a:pt x="90" y="64"/>
                    </a:cubicBezTo>
                    <a:cubicBezTo>
                      <a:pt x="91" y="63"/>
                      <a:pt x="93" y="62"/>
                      <a:pt x="95" y="61"/>
                    </a:cubicBezTo>
                    <a:cubicBezTo>
                      <a:pt x="96" y="60"/>
                      <a:pt x="100" y="60"/>
                      <a:pt x="101" y="61"/>
                    </a:cubicBezTo>
                    <a:cubicBezTo>
                      <a:pt x="102" y="61"/>
                      <a:pt x="104" y="61"/>
                      <a:pt x="105" y="60"/>
                    </a:cubicBezTo>
                    <a:cubicBezTo>
                      <a:pt x="106" y="59"/>
                      <a:pt x="107" y="58"/>
                      <a:pt x="109" y="58"/>
                    </a:cubicBezTo>
                    <a:cubicBezTo>
                      <a:pt x="110" y="58"/>
                      <a:pt x="112" y="60"/>
                      <a:pt x="114" y="61"/>
                    </a:cubicBezTo>
                    <a:cubicBezTo>
                      <a:pt x="114" y="61"/>
                      <a:pt x="114" y="60"/>
                      <a:pt x="114" y="59"/>
                    </a:cubicBezTo>
                    <a:cubicBezTo>
                      <a:pt x="114" y="59"/>
                      <a:pt x="113" y="58"/>
                      <a:pt x="113" y="58"/>
                    </a:cubicBezTo>
                    <a:cubicBezTo>
                      <a:pt x="113" y="57"/>
                      <a:pt x="113" y="56"/>
                      <a:pt x="113" y="55"/>
                    </a:cubicBezTo>
                    <a:cubicBezTo>
                      <a:pt x="113" y="54"/>
                      <a:pt x="116" y="54"/>
                      <a:pt x="116" y="54"/>
                    </a:cubicBezTo>
                    <a:cubicBezTo>
                      <a:pt x="116" y="54"/>
                      <a:pt x="116" y="54"/>
                      <a:pt x="117" y="55"/>
                    </a:cubicBezTo>
                    <a:cubicBezTo>
                      <a:pt x="117" y="54"/>
                      <a:pt x="118" y="53"/>
                      <a:pt x="119" y="52"/>
                    </a:cubicBezTo>
                    <a:cubicBezTo>
                      <a:pt x="122" y="51"/>
                      <a:pt x="122" y="52"/>
                      <a:pt x="121" y="49"/>
                    </a:cubicBezTo>
                    <a:cubicBezTo>
                      <a:pt x="121" y="46"/>
                      <a:pt x="120" y="45"/>
                      <a:pt x="121" y="43"/>
                    </a:cubicBezTo>
                    <a:cubicBezTo>
                      <a:pt x="121" y="41"/>
                      <a:pt x="123" y="40"/>
                      <a:pt x="124" y="39"/>
                    </a:cubicBezTo>
                    <a:cubicBezTo>
                      <a:pt x="125" y="38"/>
                      <a:pt x="125" y="37"/>
                      <a:pt x="124" y="37"/>
                    </a:cubicBezTo>
                    <a:cubicBezTo>
                      <a:pt x="123" y="36"/>
                      <a:pt x="120" y="36"/>
                      <a:pt x="121" y="34"/>
                    </a:cubicBezTo>
                    <a:cubicBezTo>
                      <a:pt x="121" y="33"/>
                      <a:pt x="124" y="32"/>
                      <a:pt x="125" y="33"/>
                    </a:cubicBezTo>
                    <a:cubicBezTo>
                      <a:pt x="127" y="35"/>
                      <a:pt x="130" y="34"/>
                      <a:pt x="130" y="33"/>
                    </a:cubicBezTo>
                    <a:cubicBezTo>
                      <a:pt x="131" y="32"/>
                      <a:pt x="130" y="30"/>
                      <a:pt x="131" y="29"/>
                    </a:cubicBezTo>
                    <a:cubicBezTo>
                      <a:pt x="132" y="28"/>
                      <a:pt x="132" y="24"/>
                      <a:pt x="132" y="24"/>
                    </a:cubicBezTo>
                    <a:cubicBezTo>
                      <a:pt x="131" y="23"/>
                      <a:pt x="130" y="21"/>
                      <a:pt x="128" y="19"/>
                    </a:cubicBezTo>
                    <a:cubicBezTo>
                      <a:pt x="127" y="17"/>
                      <a:pt x="127" y="17"/>
                      <a:pt x="128" y="15"/>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79" name="Freeform 200"/>
              <p:cNvSpPr>
                <a:spLocks/>
              </p:cNvSpPr>
              <p:nvPr/>
            </p:nvSpPr>
            <p:spPr bwMode="gray">
              <a:xfrm>
                <a:off x="2331" y="3084"/>
                <a:ext cx="0" cy="3"/>
              </a:xfrm>
              <a:custGeom>
                <a:avLst/>
                <a:gdLst>
                  <a:gd name="T0" fmla="*/ 0 h 1"/>
                  <a:gd name="T1" fmla="*/ 1 h 1"/>
                  <a:gd name="T2" fmla="*/ 1 h 1"/>
                  <a:gd name="T3" fmla="*/ 0 h 1"/>
                </a:gdLst>
                <a:ahLst/>
                <a:cxnLst>
                  <a:cxn ang="0">
                    <a:pos x="0" y="T0"/>
                  </a:cxn>
                  <a:cxn ang="0">
                    <a:pos x="0" y="T1"/>
                  </a:cxn>
                  <a:cxn ang="0">
                    <a:pos x="0" y="T2"/>
                  </a:cxn>
                  <a:cxn ang="0">
                    <a:pos x="0" y="T3"/>
                  </a:cxn>
                </a:cxnLst>
                <a:rect l="0" t="0" r="r" b="b"/>
                <a:pathLst>
                  <a:path h="1">
                    <a:moveTo>
                      <a:pt x="0" y="0"/>
                    </a:moveTo>
                    <a:cubicBezTo>
                      <a:pt x="0" y="0"/>
                      <a:pt x="0" y="1"/>
                      <a:pt x="0" y="1"/>
                    </a:cubicBezTo>
                    <a:cubicBezTo>
                      <a:pt x="0" y="1"/>
                      <a:pt x="0" y="1"/>
                      <a:pt x="0" y="1"/>
                    </a:cubicBezTo>
                    <a:cubicBezTo>
                      <a:pt x="0" y="1"/>
                      <a:pt x="0" y="0"/>
                      <a:pt x="0"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80" name="Freeform 201"/>
              <p:cNvSpPr>
                <a:spLocks/>
              </p:cNvSpPr>
              <p:nvPr/>
            </p:nvSpPr>
            <p:spPr bwMode="gray">
              <a:xfrm>
                <a:off x="2320" y="3090"/>
                <a:ext cx="8" cy="2"/>
              </a:xfrm>
              <a:custGeom>
                <a:avLst/>
                <a:gdLst>
                  <a:gd name="T0" fmla="*/ 1 w 3"/>
                  <a:gd name="T1" fmla="*/ 0 h 1"/>
                  <a:gd name="T2" fmla="*/ 0 w 3"/>
                  <a:gd name="T3" fmla="*/ 1 h 1"/>
                  <a:gd name="T4" fmla="*/ 0 w 3"/>
                  <a:gd name="T5" fmla="*/ 1 h 1"/>
                  <a:gd name="T6" fmla="*/ 3 w 3"/>
                  <a:gd name="T7" fmla="*/ 0 h 1"/>
                  <a:gd name="T8" fmla="*/ 2 w 3"/>
                  <a:gd name="T9" fmla="*/ 0 h 1"/>
                  <a:gd name="T10" fmla="*/ 1 w 3"/>
                  <a:gd name="T11" fmla="*/ 0 h 1"/>
                </a:gdLst>
                <a:ahLst/>
                <a:cxnLst>
                  <a:cxn ang="0">
                    <a:pos x="T0" y="T1"/>
                  </a:cxn>
                  <a:cxn ang="0">
                    <a:pos x="T2" y="T3"/>
                  </a:cxn>
                  <a:cxn ang="0">
                    <a:pos x="T4" y="T5"/>
                  </a:cxn>
                  <a:cxn ang="0">
                    <a:pos x="T6" y="T7"/>
                  </a:cxn>
                  <a:cxn ang="0">
                    <a:pos x="T8" y="T9"/>
                  </a:cxn>
                  <a:cxn ang="0">
                    <a:pos x="T10" y="T11"/>
                  </a:cxn>
                </a:cxnLst>
                <a:rect l="0" t="0" r="r" b="b"/>
                <a:pathLst>
                  <a:path w="3" h="1">
                    <a:moveTo>
                      <a:pt x="1" y="0"/>
                    </a:moveTo>
                    <a:cubicBezTo>
                      <a:pt x="0" y="0"/>
                      <a:pt x="0" y="1"/>
                      <a:pt x="0" y="1"/>
                    </a:cubicBezTo>
                    <a:cubicBezTo>
                      <a:pt x="0" y="1"/>
                      <a:pt x="0" y="1"/>
                      <a:pt x="0" y="1"/>
                    </a:cubicBezTo>
                    <a:cubicBezTo>
                      <a:pt x="1" y="1"/>
                      <a:pt x="2" y="1"/>
                      <a:pt x="3" y="0"/>
                    </a:cubicBezTo>
                    <a:cubicBezTo>
                      <a:pt x="2" y="0"/>
                      <a:pt x="2" y="0"/>
                      <a:pt x="2" y="0"/>
                    </a:cubicBezTo>
                    <a:cubicBezTo>
                      <a:pt x="2" y="0"/>
                      <a:pt x="1" y="0"/>
                      <a:pt x="1"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81" name="Freeform 202"/>
              <p:cNvSpPr>
                <a:spLocks/>
              </p:cNvSpPr>
              <p:nvPr/>
            </p:nvSpPr>
            <p:spPr bwMode="gray">
              <a:xfrm>
                <a:off x="2260" y="2892"/>
                <a:ext cx="326" cy="195"/>
              </a:xfrm>
              <a:custGeom>
                <a:avLst/>
                <a:gdLst>
                  <a:gd name="T0" fmla="*/ 115 w 124"/>
                  <a:gd name="T1" fmla="*/ 26 h 74"/>
                  <a:gd name="T2" fmla="*/ 99 w 124"/>
                  <a:gd name="T3" fmla="*/ 17 h 74"/>
                  <a:gd name="T4" fmla="*/ 82 w 124"/>
                  <a:gd name="T5" fmla="*/ 16 h 74"/>
                  <a:gd name="T6" fmla="*/ 65 w 124"/>
                  <a:gd name="T7" fmla="*/ 5 h 74"/>
                  <a:gd name="T8" fmla="*/ 53 w 124"/>
                  <a:gd name="T9" fmla="*/ 0 h 74"/>
                  <a:gd name="T10" fmla="*/ 45 w 124"/>
                  <a:gd name="T11" fmla="*/ 0 h 74"/>
                  <a:gd name="T12" fmla="*/ 46 w 124"/>
                  <a:gd name="T13" fmla="*/ 4 h 74"/>
                  <a:gd name="T14" fmla="*/ 45 w 124"/>
                  <a:gd name="T15" fmla="*/ 12 h 74"/>
                  <a:gd name="T16" fmla="*/ 42 w 124"/>
                  <a:gd name="T17" fmla="*/ 15 h 74"/>
                  <a:gd name="T18" fmla="*/ 41 w 124"/>
                  <a:gd name="T19" fmla="*/ 13 h 74"/>
                  <a:gd name="T20" fmla="*/ 40 w 124"/>
                  <a:gd name="T21" fmla="*/ 11 h 74"/>
                  <a:gd name="T22" fmla="*/ 37 w 124"/>
                  <a:gd name="T23" fmla="*/ 9 h 74"/>
                  <a:gd name="T24" fmla="*/ 35 w 124"/>
                  <a:gd name="T25" fmla="*/ 9 h 74"/>
                  <a:gd name="T26" fmla="*/ 36 w 124"/>
                  <a:gd name="T27" fmla="*/ 12 h 74"/>
                  <a:gd name="T28" fmla="*/ 32 w 124"/>
                  <a:gd name="T29" fmla="*/ 15 h 74"/>
                  <a:gd name="T30" fmla="*/ 28 w 124"/>
                  <a:gd name="T31" fmla="*/ 17 h 74"/>
                  <a:gd name="T32" fmla="*/ 23 w 124"/>
                  <a:gd name="T33" fmla="*/ 18 h 74"/>
                  <a:gd name="T34" fmla="*/ 21 w 124"/>
                  <a:gd name="T35" fmla="*/ 20 h 74"/>
                  <a:gd name="T36" fmla="*/ 14 w 124"/>
                  <a:gd name="T37" fmla="*/ 25 h 74"/>
                  <a:gd name="T38" fmla="*/ 9 w 124"/>
                  <a:gd name="T39" fmla="*/ 26 h 74"/>
                  <a:gd name="T40" fmla="*/ 4 w 124"/>
                  <a:gd name="T41" fmla="*/ 31 h 74"/>
                  <a:gd name="T42" fmla="*/ 0 w 124"/>
                  <a:gd name="T43" fmla="*/ 32 h 74"/>
                  <a:gd name="T44" fmla="*/ 4 w 124"/>
                  <a:gd name="T45" fmla="*/ 36 h 74"/>
                  <a:gd name="T46" fmla="*/ 5 w 124"/>
                  <a:gd name="T47" fmla="*/ 41 h 74"/>
                  <a:gd name="T48" fmla="*/ 5 w 124"/>
                  <a:gd name="T49" fmla="*/ 46 h 74"/>
                  <a:gd name="T50" fmla="*/ 8 w 124"/>
                  <a:gd name="T51" fmla="*/ 51 h 74"/>
                  <a:gd name="T52" fmla="*/ 11 w 124"/>
                  <a:gd name="T53" fmla="*/ 55 h 74"/>
                  <a:gd name="T54" fmla="*/ 16 w 124"/>
                  <a:gd name="T55" fmla="*/ 58 h 74"/>
                  <a:gd name="T56" fmla="*/ 18 w 124"/>
                  <a:gd name="T57" fmla="*/ 61 h 74"/>
                  <a:gd name="T58" fmla="*/ 21 w 124"/>
                  <a:gd name="T59" fmla="*/ 63 h 74"/>
                  <a:gd name="T60" fmla="*/ 23 w 124"/>
                  <a:gd name="T61" fmla="*/ 66 h 74"/>
                  <a:gd name="T62" fmla="*/ 27 w 124"/>
                  <a:gd name="T63" fmla="*/ 70 h 74"/>
                  <a:gd name="T64" fmla="*/ 27 w 124"/>
                  <a:gd name="T65" fmla="*/ 74 h 74"/>
                  <a:gd name="T66" fmla="*/ 31 w 124"/>
                  <a:gd name="T67" fmla="*/ 67 h 74"/>
                  <a:gd name="T68" fmla="*/ 37 w 124"/>
                  <a:gd name="T69" fmla="*/ 61 h 74"/>
                  <a:gd name="T70" fmla="*/ 40 w 124"/>
                  <a:gd name="T71" fmla="*/ 63 h 74"/>
                  <a:gd name="T72" fmla="*/ 46 w 124"/>
                  <a:gd name="T73" fmla="*/ 57 h 74"/>
                  <a:gd name="T74" fmla="*/ 55 w 124"/>
                  <a:gd name="T75" fmla="*/ 49 h 74"/>
                  <a:gd name="T76" fmla="*/ 73 w 124"/>
                  <a:gd name="T77" fmla="*/ 53 h 74"/>
                  <a:gd name="T78" fmla="*/ 88 w 124"/>
                  <a:gd name="T79" fmla="*/ 55 h 74"/>
                  <a:gd name="T80" fmla="*/ 95 w 124"/>
                  <a:gd name="T81" fmla="*/ 52 h 74"/>
                  <a:gd name="T82" fmla="*/ 111 w 124"/>
                  <a:gd name="T83" fmla="*/ 42 h 74"/>
                  <a:gd name="T84" fmla="*/ 124 w 124"/>
                  <a:gd name="T85" fmla="*/ 3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4" h="74">
                    <a:moveTo>
                      <a:pt x="121" y="32"/>
                    </a:moveTo>
                    <a:cubicBezTo>
                      <a:pt x="120" y="31"/>
                      <a:pt x="118" y="30"/>
                      <a:pt x="117" y="28"/>
                    </a:cubicBezTo>
                    <a:cubicBezTo>
                      <a:pt x="117" y="26"/>
                      <a:pt x="116" y="27"/>
                      <a:pt x="115" y="26"/>
                    </a:cubicBezTo>
                    <a:cubicBezTo>
                      <a:pt x="113" y="26"/>
                      <a:pt x="111" y="23"/>
                      <a:pt x="109" y="24"/>
                    </a:cubicBezTo>
                    <a:cubicBezTo>
                      <a:pt x="107" y="24"/>
                      <a:pt x="105" y="25"/>
                      <a:pt x="104" y="23"/>
                    </a:cubicBezTo>
                    <a:cubicBezTo>
                      <a:pt x="102" y="22"/>
                      <a:pt x="100" y="16"/>
                      <a:pt x="99" y="17"/>
                    </a:cubicBezTo>
                    <a:cubicBezTo>
                      <a:pt x="98" y="18"/>
                      <a:pt x="95" y="16"/>
                      <a:pt x="93" y="15"/>
                    </a:cubicBezTo>
                    <a:cubicBezTo>
                      <a:pt x="91" y="14"/>
                      <a:pt x="88" y="17"/>
                      <a:pt x="87" y="19"/>
                    </a:cubicBezTo>
                    <a:cubicBezTo>
                      <a:pt x="85" y="21"/>
                      <a:pt x="84" y="18"/>
                      <a:pt x="82" y="16"/>
                    </a:cubicBezTo>
                    <a:cubicBezTo>
                      <a:pt x="80" y="14"/>
                      <a:pt x="79" y="10"/>
                      <a:pt x="78" y="9"/>
                    </a:cubicBezTo>
                    <a:cubicBezTo>
                      <a:pt x="77" y="7"/>
                      <a:pt x="74" y="9"/>
                      <a:pt x="71" y="8"/>
                    </a:cubicBezTo>
                    <a:cubicBezTo>
                      <a:pt x="69" y="7"/>
                      <a:pt x="67" y="6"/>
                      <a:pt x="65" y="5"/>
                    </a:cubicBezTo>
                    <a:cubicBezTo>
                      <a:pt x="62" y="5"/>
                      <a:pt x="60" y="5"/>
                      <a:pt x="59" y="4"/>
                    </a:cubicBezTo>
                    <a:cubicBezTo>
                      <a:pt x="59" y="2"/>
                      <a:pt x="59" y="0"/>
                      <a:pt x="57" y="0"/>
                    </a:cubicBezTo>
                    <a:cubicBezTo>
                      <a:pt x="56" y="1"/>
                      <a:pt x="53" y="0"/>
                      <a:pt x="53" y="0"/>
                    </a:cubicBezTo>
                    <a:cubicBezTo>
                      <a:pt x="53" y="0"/>
                      <a:pt x="53" y="3"/>
                      <a:pt x="51" y="3"/>
                    </a:cubicBezTo>
                    <a:cubicBezTo>
                      <a:pt x="50" y="3"/>
                      <a:pt x="49" y="5"/>
                      <a:pt x="48" y="4"/>
                    </a:cubicBezTo>
                    <a:cubicBezTo>
                      <a:pt x="47" y="2"/>
                      <a:pt x="46" y="0"/>
                      <a:pt x="45" y="0"/>
                    </a:cubicBezTo>
                    <a:cubicBezTo>
                      <a:pt x="45" y="0"/>
                      <a:pt x="45" y="1"/>
                      <a:pt x="45" y="1"/>
                    </a:cubicBezTo>
                    <a:cubicBezTo>
                      <a:pt x="46" y="2"/>
                      <a:pt x="46" y="2"/>
                      <a:pt x="46" y="3"/>
                    </a:cubicBezTo>
                    <a:cubicBezTo>
                      <a:pt x="46" y="3"/>
                      <a:pt x="46" y="4"/>
                      <a:pt x="46" y="4"/>
                    </a:cubicBezTo>
                    <a:cubicBezTo>
                      <a:pt x="46" y="5"/>
                      <a:pt x="46" y="5"/>
                      <a:pt x="46" y="6"/>
                    </a:cubicBezTo>
                    <a:cubicBezTo>
                      <a:pt x="46" y="7"/>
                      <a:pt x="45" y="8"/>
                      <a:pt x="45" y="9"/>
                    </a:cubicBezTo>
                    <a:cubicBezTo>
                      <a:pt x="45" y="10"/>
                      <a:pt x="45" y="11"/>
                      <a:pt x="45" y="12"/>
                    </a:cubicBezTo>
                    <a:cubicBezTo>
                      <a:pt x="44" y="13"/>
                      <a:pt x="44" y="14"/>
                      <a:pt x="44" y="15"/>
                    </a:cubicBezTo>
                    <a:cubicBezTo>
                      <a:pt x="43" y="15"/>
                      <a:pt x="43" y="15"/>
                      <a:pt x="43" y="15"/>
                    </a:cubicBezTo>
                    <a:cubicBezTo>
                      <a:pt x="42" y="15"/>
                      <a:pt x="42" y="15"/>
                      <a:pt x="42" y="15"/>
                    </a:cubicBezTo>
                    <a:cubicBezTo>
                      <a:pt x="42" y="15"/>
                      <a:pt x="41" y="15"/>
                      <a:pt x="41" y="14"/>
                    </a:cubicBezTo>
                    <a:cubicBezTo>
                      <a:pt x="41" y="14"/>
                      <a:pt x="41" y="14"/>
                      <a:pt x="41" y="13"/>
                    </a:cubicBezTo>
                    <a:cubicBezTo>
                      <a:pt x="41" y="13"/>
                      <a:pt x="41" y="13"/>
                      <a:pt x="41" y="13"/>
                    </a:cubicBezTo>
                    <a:cubicBezTo>
                      <a:pt x="41" y="13"/>
                      <a:pt x="41" y="12"/>
                      <a:pt x="40" y="12"/>
                    </a:cubicBezTo>
                    <a:cubicBezTo>
                      <a:pt x="40" y="12"/>
                      <a:pt x="40" y="12"/>
                      <a:pt x="40" y="12"/>
                    </a:cubicBezTo>
                    <a:cubicBezTo>
                      <a:pt x="40" y="12"/>
                      <a:pt x="40" y="11"/>
                      <a:pt x="40" y="11"/>
                    </a:cubicBezTo>
                    <a:cubicBezTo>
                      <a:pt x="40" y="11"/>
                      <a:pt x="40" y="10"/>
                      <a:pt x="39" y="10"/>
                    </a:cubicBezTo>
                    <a:cubicBezTo>
                      <a:pt x="39" y="10"/>
                      <a:pt x="39" y="9"/>
                      <a:pt x="39" y="9"/>
                    </a:cubicBezTo>
                    <a:cubicBezTo>
                      <a:pt x="38" y="9"/>
                      <a:pt x="38" y="9"/>
                      <a:pt x="37" y="9"/>
                    </a:cubicBezTo>
                    <a:cubicBezTo>
                      <a:pt x="37" y="8"/>
                      <a:pt x="36" y="8"/>
                      <a:pt x="36" y="8"/>
                    </a:cubicBezTo>
                    <a:cubicBezTo>
                      <a:pt x="35" y="9"/>
                      <a:pt x="35" y="9"/>
                      <a:pt x="35" y="9"/>
                    </a:cubicBezTo>
                    <a:cubicBezTo>
                      <a:pt x="35" y="9"/>
                      <a:pt x="35" y="9"/>
                      <a:pt x="35" y="9"/>
                    </a:cubicBezTo>
                    <a:cubicBezTo>
                      <a:pt x="35" y="10"/>
                      <a:pt x="35" y="10"/>
                      <a:pt x="35" y="10"/>
                    </a:cubicBezTo>
                    <a:cubicBezTo>
                      <a:pt x="36" y="11"/>
                      <a:pt x="36" y="11"/>
                      <a:pt x="36" y="11"/>
                    </a:cubicBezTo>
                    <a:cubicBezTo>
                      <a:pt x="36" y="12"/>
                      <a:pt x="36" y="12"/>
                      <a:pt x="36" y="12"/>
                    </a:cubicBezTo>
                    <a:cubicBezTo>
                      <a:pt x="35" y="13"/>
                      <a:pt x="35" y="13"/>
                      <a:pt x="35" y="13"/>
                    </a:cubicBezTo>
                    <a:cubicBezTo>
                      <a:pt x="34" y="14"/>
                      <a:pt x="34" y="14"/>
                      <a:pt x="33" y="15"/>
                    </a:cubicBezTo>
                    <a:cubicBezTo>
                      <a:pt x="33" y="15"/>
                      <a:pt x="33" y="15"/>
                      <a:pt x="32" y="15"/>
                    </a:cubicBezTo>
                    <a:cubicBezTo>
                      <a:pt x="31" y="15"/>
                      <a:pt x="31" y="15"/>
                      <a:pt x="30" y="15"/>
                    </a:cubicBezTo>
                    <a:cubicBezTo>
                      <a:pt x="30" y="16"/>
                      <a:pt x="30" y="16"/>
                      <a:pt x="29" y="16"/>
                    </a:cubicBezTo>
                    <a:cubicBezTo>
                      <a:pt x="29" y="17"/>
                      <a:pt x="28" y="17"/>
                      <a:pt x="28" y="17"/>
                    </a:cubicBezTo>
                    <a:cubicBezTo>
                      <a:pt x="27" y="17"/>
                      <a:pt x="26" y="17"/>
                      <a:pt x="26" y="18"/>
                    </a:cubicBezTo>
                    <a:cubicBezTo>
                      <a:pt x="25" y="18"/>
                      <a:pt x="25" y="18"/>
                      <a:pt x="24" y="18"/>
                    </a:cubicBezTo>
                    <a:cubicBezTo>
                      <a:pt x="24" y="18"/>
                      <a:pt x="23" y="18"/>
                      <a:pt x="23" y="18"/>
                    </a:cubicBezTo>
                    <a:cubicBezTo>
                      <a:pt x="23" y="18"/>
                      <a:pt x="23" y="18"/>
                      <a:pt x="23" y="19"/>
                    </a:cubicBezTo>
                    <a:cubicBezTo>
                      <a:pt x="23" y="19"/>
                      <a:pt x="23" y="19"/>
                      <a:pt x="22" y="20"/>
                    </a:cubicBezTo>
                    <a:cubicBezTo>
                      <a:pt x="22" y="20"/>
                      <a:pt x="21" y="20"/>
                      <a:pt x="21" y="20"/>
                    </a:cubicBezTo>
                    <a:cubicBezTo>
                      <a:pt x="20" y="21"/>
                      <a:pt x="19" y="21"/>
                      <a:pt x="18" y="21"/>
                    </a:cubicBezTo>
                    <a:cubicBezTo>
                      <a:pt x="17" y="22"/>
                      <a:pt x="17" y="22"/>
                      <a:pt x="16" y="23"/>
                    </a:cubicBezTo>
                    <a:cubicBezTo>
                      <a:pt x="15" y="24"/>
                      <a:pt x="15" y="24"/>
                      <a:pt x="14" y="25"/>
                    </a:cubicBezTo>
                    <a:cubicBezTo>
                      <a:pt x="14" y="25"/>
                      <a:pt x="13" y="26"/>
                      <a:pt x="13" y="26"/>
                    </a:cubicBezTo>
                    <a:cubicBezTo>
                      <a:pt x="12" y="26"/>
                      <a:pt x="12" y="26"/>
                      <a:pt x="11" y="25"/>
                    </a:cubicBezTo>
                    <a:cubicBezTo>
                      <a:pt x="10" y="26"/>
                      <a:pt x="10" y="26"/>
                      <a:pt x="9" y="26"/>
                    </a:cubicBezTo>
                    <a:cubicBezTo>
                      <a:pt x="8" y="26"/>
                      <a:pt x="8" y="27"/>
                      <a:pt x="7" y="27"/>
                    </a:cubicBezTo>
                    <a:cubicBezTo>
                      <a:pt x="6" y="28"/>
                      <a:pt x="6" y="28"/>
                      <a:pt x="5" y="29"/>
                    </a:cubicBezTo>
                    <a:cubicBezTo>
                      <a:pt x="5" y="30"/>
                      <a:pt x="4" y="30"/>
                      <a:pt x="4" y="31"/>
                    </a:cubicBezTo>
                    <a:cubicBezTo>
                      <a:pt x="2" y="30"/>
                      <a:pt x="2" y="30"/>
                      <a:pt x="1" y="30"/>
                    </a:cubicBezTo>
                    <a:cubicBezTo>
                      <a:pt x="0" y="31"/>
                      <a:pt x="0" y="31"/>
                      <a:pt x="0" y="31"/>
                    </a:cubicBezTo>
                    <a:cubicBezTo>
                      <a:pt x="0" y="31"/>
                      <a:pt x="0" y="31"/>
                      <a:pt x="0" y="32"/>
                    </a:cubicBezTo>
                    <a:cubicBezTo>
                      <a:pt x="0" y="32"/>
                      <a:pt x="0" y="32"/>
                      <a:pt x="0" y="33"/>
                    </a:cubicBezTo>
                    <a:cubicBezTo>
                      <a:pt x="1" y="33"/>
                      <a:pt x="1" y="34"/>
                      <a:pt x="2" y="34"/>
                    </a:cubicBezTo>
                    <a:cubicBezTo>
                      <a:pt x="2" y="35"/>
                      <a:pt x="3" y="36"/>
                      <a:pt x="4" y="36"/>
                    </a:cubicBezTo>
                    <a:cubicBezTo>
                      <a:pt x="4" y="37"/>
                      <a:pt x="4" y="37"/>
                      <a:pt x="5" y="38"/>
                    </a:cubicBezTo>
                    <a:cubicBezTo>
                      <a:pt x="5" y="39"/>
                      <a:pt x="5" y="39"/>
                      <a:pt x="6" y="40"/>
                    </a:cubicBezTo>
                    <a:cubicBezTo>
                      <a:pt x="5" y="40"/>
                      <a:pt x="5" y="40"/>
                      <a:pt x="5" y="41"/>
                    </a:cubicBezTo>
                    <a:cubicBezTo>
                      <a:pt x="5" y="42"/>
                      <a:pt x="5" y="42"/>
                      <a:pt x="4" y="43"/>
                    </a:cubicBezTo>
                    <a:cubicBezTo>
                      <a:pt x="5" y="44"/>
                      <a:pt x="5" y="44"/>
                      <a:pt x="5" y="44"/>
                    </a:cubicBezTo>
                    <a:cubicBezTo>
                      <a:pt x="5" y="45"/>
                      <a:pt x="5" y="45"/>
                      <a:pt x="5" y="46"/>
                    </a:cubicBezTo>
                    <a:cubicBezTo>
                      <a:pt x="6" y="47"/>
                      <a:pt x="6" y="47"/>
                      <a:pt x="7" y="48"/>
                    </a:cubicBezTo>
                    <a:cubicBezTo>
                      <a:pt x="7" y="49"/>
                      <a:pt x="7" y="49"/>
                      <a:pt x="7" y="49"/>
                    </a:cubicBezTo>
                    <a:cubicBezTo>
                      <a:pt x="7" y="50"/>
                      <a:pt x="8" y="50"/>
                      <a:pt x="8" y="51"/>
                    </a:cubicBezTo>
                    <a:cubicBezTo>
                      <a:pt x="8" y="52"/>
                      <a:pt x="9" y="52"/>
                      <a:pt x="9" y="53"/>
                    </a:cubicBezTo>
                    <a:cubicBezTo>
                      <a:pt x="9" y="54"/>
                      <a:pt x="10" y="54"/>
                      <a:pt x="10" y="55"/>
                    </a:cubicBezTo>
                    <a:cubicBezTo>
                      <a:pt x="10" y="55"/>
                      <a:pt x="11" y="55"/>
                      <a:pt x="11" y="55"/>
                    </a:cubicBezTo>
                    <a:cubicBezTo>
                      <a:pt x="12" y="55"/>
                      <a:pt x="12" y="55"/>
                      <a:pt x="13" y="55"/>
                    </a:cubicBezTo>
                    <a:cubicBezTo>
                      <a:pt x="13" y="55"/>
                      <a:pt x="13" y="55"/>
                      <a:pt x="13" y="55"/>
                    </a:cubicBezTo>
                    <a:cubicBezTo>
                      <a:pt x="14" y="56"/>
                      <a:pt x="15" y="57"/>
                      <a:pt x="16" y="58"/>
                    </a:cubicBezTo>
                    <a:cubicBezTo>
                      <a:pt x="16" y="59"/>
                      <a:pt x="16" y="59"/>
                      <a:pt x="17" y="60"/>
                    </a:cubicBezTo>
                    <a:cubicBezTo>
                      <a:pt x="17" y="61"/>
                      <a:pt x="17" y="61"/>
                      <a:pt x="17" y="61"/>
                    </a:cubicBezTo>
                    <a:cubicBezTo>
                      <a:pt x="18" y="61"/>
                      <a:pt x="18" y="61"/>
                      <a:pt x="18" y="61"/>
                    </a:cubicBezTo>
                    <a:cubicBezTo>
                      <a:pt x="19" y="61"/>
                      <a:pt x="19" y="61"/>
                      <a:pt x="19" y="61"/>
                    </a:cubicBezTo>
                    <a:cubicBezTo>
                      <a:pt x="20" y="62"/>
                      <a:pt x="20" y="62"/>
                      <a:pt x="20" y="62"/>
                    </a:cubicBezTo>
                    <a:cubicBezTo>
                      <a:pt x="20" y="62"/>
                      <a:pt x="20" y="63"/>
                      <a:pt x="21" y="63"/>
                    </a:cubicBezTo>
                    <a:cubicBezTo>
                      <a:pt x="21" y="63"/>
                      <a:pt x="21" y="64"/>
                      <a:pt x="21" y="64"/>
                    </a:cubicBezTo>
                    <a:cubicBezTo>
                      <a:pt x="21" y="65"/>
                      <a:pt x="21" y="65"/>
                      <a:pt x="21" y="65"/>
                    </a:cubicBezTo>
                    <a:cubicBezTo>
                      <a:pt x="22" y="66"/>
                      <a:pt x="22" y="66"/>
                      <a:pt x="23" y="66"/>
                    </a:cubicBezTo>
                    <a:cubicBezTo>
                      <a:pt x="24" y="67"/>
                      <a:pt x="24" y="67"/>
                      <a:pt x="24" y="67"/>
                    </a:cubicBezTo>
                    <a:cubicBezTo>
                      <a:pt x="25" y="68"/>
                      <a:pt x="26" y="68"/>
                      <a:pt x="27" y="68"/>
                    </a:cubicBezTo>
                    <a:cubicBezTo>
                      <a:pt x="27" y="69"/>
                      <a:pt x="27" y="69"/>
                      <a:pt x="27" y="70"/>
                    </a:cubicBezTo>
                    <a:cubicBezTo>
                      <a:pt x="27" y="71"/>
                      <a:pt x="27" y="72"/>
                      <a:pt x="27" y="73"/>
                    </a:cubicBezTo>
                    <a:cubicBezTo>
                      <a:pt x="27" y="74"/>
                      <a:pt x="27" y="74"/>
                      <a:pt x="27" y="74"/>
                    </a:cubicBezTo>
                    <a:cubicBezTo>
                      <a:pt x="27" y="74"/>
                      <a:pt x="27" y="74"/>
                      <a:pt x="27" y="74"/>
                    </a:cubicBezTo>
                    <a:cubicBezTo>
                      <a:pt x="28" y="74"/>
                      <a:pt x="28" y="73"/>
                      <a:pt x="28" y="73"/>
                    </a:cubicBezTo>
                    <a:cubicBezTo>
                      <a:pt x="29" y="73"/>
                      <a:pt x="30" y="73"/>
                      <a:pt x="30" y="73"/>
                    </a:cubicBezTo>
                    <a:cubicBezTo>
                      <a:pt x="30" y="71"/>
                      <a:pt x="30" y="68"/>
                      <a:pt x="31" y="67"/>
                    </a:cubicBezTo>
                    <a:cubicBezTo>
                      <a:pt x="33" y="66"/>
                      <a:pt x="33" y="69"/>
                      <a:pt x="35" y="67"/>
                    </a:cubicBezTo>
                    <a:cubicBezTo>
                      <a:pt x="36" y="65"/>
                      <a:pt x="36" y="63"/>
                      <a:pt x="36" y="63"/>
                    </a:cubicBezTo>
                    <a:cubicBezTo>
                      <a:pt x="37" y="62"/>
                      <a:pt x="37" y="61"/>
                      <a:pt x="37" y="61"/>
                    </a:cubicBezTo>
                    <a:cubicBezTo>
                      <a:pt x="37" y="61"/>
                      <a:pt x="37" y="61"/>
                      <a:pt x="38" y="61"/>
                    </a:cubicBezTo>
                    <a:cubicBezTo>
                      <a:pt x="38" y="61"/>
                      <a:pt x="38" y="61"/>
                      <a:pt x="38" y="61"/>
                    </a:cubicBezTo>
                    <a:cubicBezTo>
                      <a:pt x="39" y="62"/>
                      <a:pt x="40" y="64"/>
                      <a:pt x="40" y="63"/>
                    </a:cubicBezTo>
                    <a:cubicBezTo>
                      <a:pt x="40" y="63"/>
                      <a:pt x="40" y="62"/>
                      <a:pt x="41" y="62"/>
                    </a:cubicBezTo>
                    <a:cubicBezTo>
                      <a:pt x="41" y="60"/>
                      <a:pt x="41" y="60"/>
                      <a:pt x="41" y="58"/>
                    </a:cubicBezTo>
                    <a:cubicBezTo>
                      <a:pt x="42" y="55"/>
                      <a:pt x="44" y="57"/>
                      <a:pt x="46" y="57"/>
                    </a:cubicBezTo>
                    <a:cubicBezTo>
                      <a:pt x="48" y="58"/>
                      <a:pt x="49" y="58"/>
                      <a:pt x="50" y="57"/>
                    </a:cubicBezTo>
                    <a:cubicBezTo>
                      <a:pt x="50" y="56"/>
                      <a:pt x="52" y="55"/>
                      <a:pt x="53" y="54"/>
                    </a:cubicBezTo>
                    <a:cubicBezTo>
                      <a:pt x="55" y="53"/>
                      <a:pt x="54" y="52"/>
                      <a:pt x="55" y="49"/>
                    </a:cubicBezTo>
                    <a:cubicBezTo>
                      <a:pt x="57" y="47"/>
                      <a:pt x="57" y="50"/>
                      <a:pt x="59" y="50"/>
                    </a:cubicBezTo>
                    <a:cubicBezTo>
                      <a:pt x="61" y="50"/>
                      <a:pt x="63" y="50"/>
                      <a:pt x="64" y="50"/>
                    </a:cubicBezTo>
                    <a:cubicBezTo>
                      <a:pt x="66" y="50"/>
                      <a:pt x="70" y="51"/>
                      <a:pt x="73" y="53"/>
                    </a:cubicBezTo>
                    <a:cubicBezTo>
                      <a:pt x="75" y="55"/>
                      <a:pt x="79" y="56"/>
                      <a:pt x="81" y="54"/>
                    </a:cubicBezTo>
                    <a:cubicBezTo>
                      <a:pt x="84" y="52"/>
                      <a:pt x="86" y="52"/>
                      <a:pt x="87" y="54"/>
                    </a:cubicBezTo>
                    <a:cubicBezTo>
                      <a:pt x="88" y="54"/>
                      <a:pt x="88" y="54"/>
                      <a:pt x="88" y="55"/>
                    </a:cubicBezTo>
                    <a:cubicBezTo>
                      <a:pt x="89" y="55"/>
                      <a:pt x="89" y="56"/>
                      <a:pt x="89" y="56"/>
                    </a:cubicBezTo>
                    <a:cubicBezTo>
                      <a:pt x="90" y="56"/>
                      <a:pt x="90" y="56"/>
                      <a:pt x="91" y="56"/>
                    </a:cubicBezTo>
                    <a:cubicBezTo>
                      <a:pt x="92" y="55"/>
                      <a:pt x="92" y="51"/>
                      <a:pt x="95" y="52"/>
                    </a:cubicBezTo>
                    <a:cubicBezTo>
                      <a:pt x="98" y="53"/>
                      <a:pt x="100" y="53"/>
                      <a:pt x="103" y="51"/>
                    </a:cubicBezTo>
                    <a:cubicBezTo>
                      <a:pt x="106" y="50"/>
                      <a:pt x="109" y="48"/>
                      <a:pt x="110" y="47"/>
                    </a:cubicBezTo>
                    <a:cubicBezTo>
                      <a:pt x="111" y="46"/>
                      <a:pt x="110" y="43"/>
                      <a:pt x="111" y="42"/>
                    </a:cubicBezTo>
                    <a:cubicBezTo>
                      <a:pt x="112" y="40"/>
                      <a:pt x="115" y="40"/>
                      <a:pt x="117" y="39"/>
                    </a:cubicBezTo>
                    <a:cubicBezTo>
                      <a:pt x="119" y="38"/>
                      <a:pt x="118" y="37"/>
                      <a:pt x="120" y="37"/>
                    </a:cubicBezTo>
                    <a:cubicBezTo>
                      <a:pt x="122" y="36"/>
                      <a:pt x="124" y="36"/>
                      <a:pt x="124" y="36"/>
                    </a:cubicBezTo>
                    <a:cubicBezTo>
                      <a:pt x="123" y="36"/>
                      <a:pt x="123" y="33"/>
                      <a:pt x="121" y="32"/>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282" name="Freeform 203"/>
              <p:cNvSpPr>
                <a:spLocks/>
              </p:cNvSpPr>
              <p:nvPr/>
            </p:nvSpPr>
            <p:spPr bwMode="gray">
              <a:xfrm>
                <a:off x="2010" y="3176"/>
                <a:ext cx="581" cy="615"/>
              </a:xfrm>
              <a:custGeom>
                <a:avLst/>
                <a:gdLst>
                  <a:gd name="T0" fmla="*/ 210 w 221"/>
                  <a:gd name="T1" fmla="*/ 159 h 234"/>
                  <a:gd name="T2" fmla="*/ 188 w 221"/>
                  <a:gd name="T3" fmla="*/ 145 h 234"/>
                  <a:gd name="T4" fmla="*/ 172 w 221"/>
                  <a:gd name="T5" fmla="*/ 132 h 234"/>
                  <a:gd name="T6" fmla="*/ 168 w 221"/>
                  <a:gd name="T7" fmla="*/ 124 h 234"/>
                  <a:gd name="T8" fmla="*/ 149 w 221"/>
                  <a:gd name="T9" fmla="*/ 118 h 234"/>
                  <a:gd name="T10" fmla="*/ 132 w 221"/>
                  <a:gd name="T11" fmla="*/ 95 h 234"/>
                  <a:gd name="T12" fmla="*/ 116 w 221"/>
                  <a:gd name="T13" fmla="*/ 72 h 234"/>
                  <a:gd name="T14" fmla="*/ 104 w 221"/>
                  <a:gd name="T15" fmla="*/ 58 h 234"/>
                  <a:gd name="T16" fmla="*/ 106 w 221"/>
                  <a:gd name="T17" fmla="*/ 46 h 234"/>
                  <a:gd name="T18" fmla="*/ 103 w 221"/>
                  <a:gd name="T19" fmla="*/ 38 h 234"/>
                  <a:gd name="T20" fmla="*/ 102 w 221"/>
                  <a:gd name="T21" fmla="*/ 31 h 234"/>
                  <a:gd name="T22" fmla="*/ 110 w 221"/>
                  <a:gd name="T23" fmla="*/ 29 h 234"/>
                  <a:gd name="T24" fmla="*/ 119 w 221"/>
                  <a:gd name="T25" fmla="*/ 22 h 234"/>
                  <a:gd name="T26" fmla="*/ 127 w 221"/>
                  <a:gd name="T27" fmla="*/ 22 h 234"/>
                  <a:gd name="T28" fmla="*/ 128 w 221"/>
                  <a:gd name="T29" fmla="*/ 12 h 234"/>
                  <a:gd name="T30" fmla="*/ 111 w 221"/>
                  <a:gd name="T31" fmla="*/ 10 h 234"/>
                  <a:gd name="T32" fmla="*/ 99 w 221"/>
                  <a:gd name="T33" fmla="*/ 4 h 234"/>
                  <a:gd name="T34" fmla="*/ 82 w 221"/>
                  <a:gd name="T35" fmla="*/ 12 h 234"/>
                  <a:gd name="T36" fmla="*/ 75 w 221"/>
                  <a:gd name="T37" fmla="*/ 7 h 234"/>
                  <a:gd name="T38" fmla="*/ 66 w 221"/>
                  <a:gd name="T39" fmla="*/ 10 h 234"/>
                  <a:gd name="T40" fmla="*/ 60 w 221"/>
                  <a:gd name="T41" fmla="*/ 7 h 234"/>
                  <a:gd name="T42" fmla="*/ 49 w 221"/>
                  <a:gd name="T43" fmla="*/ 3 h 234"/>
                  <a:gd name="T44" fmla="*/ 42 w 221"/>
                  <a:gd name="T45" fmla="*/ 19 h 234"/>
                  <a:gd name="T46" fmla="*/ 33 w 221"/>
                  <a:gd name="T47" fmla="*/ 10 h 234"/>
                  <a:gd name="T48" fmla="*/ 26 w 221"/>
                  <a:gd name="T49" fmla="*/ 9 h 234"/>
                  <a:gd name="T50" fmla="*/ 23 w 221"/>
                  <a:gd name="T51" fmla="*/ 17 h 234"/>
                  <a:gd name="T52" fmla="*/ 9 w 221"/>
                  <a:gd name="T53" fmla="*/ 18 h 234"/>
                  <a:gd name="T54" fmla="*/ 5 w 221"/>
                  <a:gd name="T55" fmla="*/ 24 h 234"/>
                  <a:gd name="T56" fmla="*/ 2 w 221"/>
                  <a:gd name="T57" fmla="*/ 38 h 234"/>
                  <a:gd name="T58" fmla="*/ 4 w 221"/>
                  <a:gd name="T59" fmla="*/ 53 h 234"/>
                  <a:gd name="T60" fmla="*/ 18 w 221"/>
                  <a:gd name="T61" fmla="*/ 64 h 234"/>
                  <a:gd name="T62" fmla="*/ 18 w 221"/>
                  <a:gd name="T63" fmla="*/ 74 h 234"/>
                  <a:gd name="T64" fmla="*/ 31 w 221"/>
                  <a:gd name="T65" fmla="*/ 64 h 234"/>
                  <a:gd name="T66" fmla="*/ 47 w 221"/>
                  <a:gd name="T67" fmla="*/ 59 h 234"/>
                  <a:gd name="T68" fmla="*/ 61 w 221"/>
                  <a:gd name="T69" fmla="*/ 67 h 234"/>
                  <a:gd name="T70" fmla="*/ 70 w 221"/>
                  <a:gd name="T71" fmla="*/ 87 h 234"/>
                  <a:gd name="T72" fmla="*/ 77 w 221"/>
                  <a:gd name="T73" fmla="*/ 101 h 234"/>
                  <a:gd name="T74" fmla="*/ 88 w 221"/>
                  <a:gd name="T75" fmla="*/ 112 h 234"/>
                  <a:gd name="T76" fmla="*/ 101 w 221"/>
                  <a:gd name="T77" fmla="*/ 125 h 234"/>
                  <a:gd name="T78" fmla="*/ 115 w 221"/>
                  <a:gd name="T79" fmla="*/ 139 h 234"/>
                  <a:gd name="T80" fmla="*/ 130 w 221"/>
                  <a:gd name="T81" fmla="*/ 142 h 234"/>
                  <a:gd name="T82" fmla="*/ 143 w 221"/>
                  <a:gd name="T83" fmla="*/ 153 h 234"/>
                  <a:gd name="T84" fmla="*/ 152 w 221"/>
                  <a:gd name="T85" fmla="*/ 160 h 234"/>
                  <a:gd name="T86" fmla="*/ 158 w 221"/>
                  <a:gd name="T87" fmla="*/ 172 h 234"/>
                  <a:gd name="T88" fmla="*/ 168 w 221"/>
                  <a:gd name="T89" fmla="*/ 177 h 234"/>
                  <a:gd name="T90" fmla="*/ 175 w 221"/>
                  <a:gd name="T91" fmla="*/ 198 h 234"/>
                  <a:gd name="T92" fmla="*/ 174 w 221"/>
                  <a:gd name="T93" fmla="*/ 211 h 234"/>
                  <a:gd name="T94" fmla="*/ 168 w 221"/>
                  <a:gd name="T95" fmla="*/ 226 h 234"/>
                  <a:gd name="T96" fmla="*/ 179 w 221"/>
                  <a:gd name="T97" fmla="*/ 226 h 234"/>
                  <a:gd name="T98" fmla="*/ 185 w 221"/>
                  <a:gd name="T99" fmla="*/ 210 h 234"/>
                  <a:gd name="T100" fmla="*/ 196 w 221"/>
                  <a:gd name="T101" fmla="*/ 199 h 234"/>
                  <a:gd name="T102" fmla="*/ 188 w 221"/>
                  <a:gd name="T103" fmla="*/ 186 h 234"/>
                  <a:gd name="T104" fmla="*/ 185 w 221"/>
                  <a:gd name="T105" fmla="*/ 177 h 234"/>
                  <a:gd name="T106" fmla="*/ 193 w 221"/>
                  <a:gd name="T107" fmla="*/ 162 h 234"/>
                  <a:gd name="T108" fmla="*/ 200 w 221"/>
                  <a:gd name="T109" fmla="*/ 167 h 234"/>
                  <a:gd name="T110" fmla="*/ 212 w 221"/>
                  <a:gd name="T111" fmla="*/ 177 h 234"/>
                  <a:gd name="T112" fmla="*/ 220 w 221"/>
                  <a:gd name="T113" fmla="*/ 17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1" h="234">
                    <a:moveTo>
                      <a:pt x="220" y="170"/>
                    </a:moveTo>
                    <a:cubicBezTo>
                      <a:pt x="219" y="167"/>
                      <a:pt x="218" y="166"/>
                      <a:pt x="216" y="165"/>
                    </a:cubicBezTo>
                    <a:cubicBezTo>
                      <a:pt x="214" y="163"/>
                      <a:pt x="211" y="161"/>
                      <a:pt x="210" y="159"/>
                    </a:cubicBezTo>
                    <a:cubicBezTo>
                      <a:pt x="210" y="158"/>
                      <a:pt x="207" y="156"/>
                      <a:pt x="205" y="155"/>
                    </a:cubicBezTo>
                    <a:cubicBezTo>
                      <a:pt x="203" y="155"/>
                      <a:pt x="201" y="153"/>
                      <a:pt x="198" y="151"/>
                    </a:cubicBezTo>
                    <a:cubicBezTo>
                      <a:pt x="195" y="148"/>
                      <a:pt x="191" y="146"/>
                      <a:pt x="188" y="145"/>
                    </a:cubicBezTo>
                    <a:cubicBezTo>
                      <a:pt x="185" y="143"/>
                      <a:pt x="181" y="141"/>
                      <a:pt x="179" y="140"/>
                    </a:cubicBezTo>
                    <a:cubicBezTo>
                      <a:pt x="177" y="139"/>
                      <a:pt x="173" y="137"/>
                      <a:pt x="172" y="135"/>
                    </a:cubicBezTo>
                    <a:cubicBezTo>
                      <a:pt x="170" y="134"/>
                      <a:pt x="171" y="133"/>
                      <a:pt x="172" y="132"/>
                    </a:cubicBezTo>
                    <a:cubicBezTo>
                      <a:pt x="173" y="131"/>
                      <a:pt x="175" y="129"/>
                      <a:pt x="176" y="128"/>
                    </a:cubicBezTo>
                    <a:cubicBezTo>
                      <a:pt x="176" y="127"/>
                      <a:pt x="176" y="124"/>
                      <a:pt x="175" y="124"/>
                    </a:cubicBezTo>
                    <a:cubicBezTo>
                      <a:pt x="173" y="123"/>
                      <a:pt x="171" y="123"/>
                      <a:pt x="168" y="124"/>
                    </a:cubicBezTo>
                    <a:cubicBezTo>
                      <a:pt x="166" y="124"/>
                      <a:pt x="161" y="124"/>
                      <a:pt x="160" y="124"/>
                    </a:cubicBezTo>
                    <a:cubicBezTo>
                      <a:pt x="158" y="123"/>
                      <a:pt x="156" y="123"/>
                      <a:pt x="154" y="122"/>
                    </a:cubicBezTo>
                    <a:cubicBezTo>
                      <a:pt x="152" y="121"/>
                      <a:pt x="150" y="120"/>
                      <a:pt x="149" y="118"/>
                    </a:cubicBezTo>
                    <a:cubicBezTo>
                      <a:pt x="148" y="117"/>
                      <a:pt x="147" y="116"/>
                      <a:pt x="145" y="115"/>
                    </a:cubicBezTo>
                    <a:cubicBezTo>
                      <a:pt x="144" y="113"/>
                      <a:pt x="141" y="110"/>
                      <a:pt x="138" y="108"/>
                    </a:cubicBezTo>
                    <a:cubicBezTo>
                      <a:pt x="136" y="105"/>
                      <a:pt x="134" y="99"/>
                      <a:pt x="132" y="95"/>
                    </a:cubicBezTo>
                    <a:cubicBezTo>
                      <a:pt x="131" y="90"/>
                      <a:pt x="128" y="83"/>
                      <a:pt x="127" y="81"/>
                    </a:cubicBezTo>
                    <a:cubicBezTo>
                      <a:pt x="127" y="79"/>
                      <a:pt x="126" y="78"/>
                      <a:pt x="123" y="77"/>
                    </a:cubicBezTo>
                    <a:cubicBezTo>
                      <a:pt x="120" y="76"/>
                      <a:pt x="118" y="73"/>
                      <a:pt x="116" y="72"/>
                    </a:cubicBezTo>
                    <a:cubicBezTo>
                      <a:pt x="115" y="70"/>
                      <a:pt x="111" y="69"/>
                      <a:pt x="110" y="68"/>
                    </a:cubicBezTo>
                    <a:cubicBezTo>
                      <a:pt x="109" y="68"/>
                      <a:pt x="108" y="65"/>
                      <a:pt x="106" y="63"/>
                    </a:cubicBezTo>
                    <a:cubicBezTo>
                      <a:pt x="105" y="61"/>
                      <a:pt x="104" y="61"/>
                      <a:pt x="104" y="58"/>
                    </a:cubicBezTo>
                    <a:cubicBezTo>
                      <a:pt x="103" y="55"/>
                      <a:pt x="103" y="52"/>
                      <a:pt x="102" y="50"/>
                    </a:cubicBezTo>
                    <a:cubicBezTo>
                      <a:pt x="102" y="48"/>
                      <a:pt x="102" y="46"/>
                      <a:pt x="103" y="46"/>
                    </a:cubicBezTo>
                    <a:cubicBezTo>
                      <a:pt x="104" y="47"/>
                      <a:pt x="105" y="48"/>
                      <a:pt x="106" y="46"/>
                    </a:cubicBezTo>
                    <a:cubicBezTo>
                      <a:pt x="107" y="45"/>
                      <a:pt x="108" y="45"/>
                      <a:pt x="108" y="44"/>
                    </a:cubicBezTo>
                    <a:cubicBezTo>
                      <a:pt x="108" y="43"/>
                      <a:pt x="106" y="41"/>
                      <a:pt x="105" y="41"/>
                    </a:cubicBezTo>
                    <a:cubicBezTo>
                      <a:pt x="104" y="41"/>
                      <a:pt x="103" y="39"/>
                      <a:pt x="103" y="38"/>
                    </a:cubicBezTo>
                    <a:cubicBezTo>
                      <a:pt x="103" y="36"/>
                      <a:pt x="102" y="37"/>
                      <a:pt x="102" y="37"/>
                    </a:cubicBezTo>
                    <a:cubicBezTo>
                      <a:pt x="101" y="37"/>
                      <a:pt x="101" y="35"/>
                      <a:pt x="101" y="35"/>
                    </a:cubicBezTo>
                    <a:cubicBezTo>
                      <a:pt x="101" y="34"/>
                      <a:pt x="102" y="32"/>
                      <a:pt x="102" y="31"/>
                    </a:cubicBezTo>
                    <a:cubicBezTo>
                      <a:pt x="102" y="30"/>
                      <a:pt x="104" y="29"/>
                      <a:pt x="105" y="29"/>
                    </a:cubicBezTo>
                    <a:cubicBezTo>
                      <a:pt x="106" y="29"/>
                      <a:pt x="105" y="30"/>
                      <a:pt x="106" y="30"/>
                    </a:cubicBezTo>
                    <a:cubicBezTo>
                      <a:pt x="107" y="30"/>
                      <a:pt x="109" y="30"/>
                      <a:pt x="110" y="29"/>
                    </a:cubicBezTo>
                    <a:cubicBezTo>
                      <a:pt x="111" y="28"/>
                      <a:pt x="113" y="26"/>
                      <a:pt x="115" y="26"/>
                    </a:cubicBezTo>
                    <a:cubicBezTo>
                      <a:pt x="117" y="26"/>
                      <a:pt x="118" y="25"/>
                      <a:pt x="118" y="25"/>
                    </a:cubicBezTo>
                    <a:cubicBezTo>
                      <a:pt x="118" y="24"/>
                      <a:pt x="118" y="23"/>
                      <a:pt x="119" y="22"/>
                    </a:cubicBezTo>
                    <a:cubicBezTo>
                      <a:pt x="120" y="21"/>
                      <a:pt x="122" y="23"/>
                      <a:pt x="123" y="24"/>
                    </a:cubicBezTo>
                    <a:cubicBezTo>
                      <a:pt x="123" y="25"/>
                      <a:pt x="124" y="24"/>
                      <a:pt x="125" y="22"/>
                    </a:cubicBezTo>
                    <a:cubicBezTo>
                      <a:pt x="126" y="21"/>
                      <a:pt x="127" y="22"/>
                      <a:pt x="127" y="22"/>
                    </a:cubicBezTo>
                    <a:cubicBezTo>
                      <a:pt x="127" y="21"/>
                      <a:pt x="127" y="20"/>
                      <a:pt x="126" y="20"/>
                    </a:cubicBezTo>
                    <a:cubicBezTo>
                      <a:pt x="126" y="19"/>
                      <a:pt x="126" y="17"/>
                      <a:pt x="125" y="15"/>
                    </a:cubicBezTo>
                    <a:cubicBezTo>
                      <a:pt x="125" y="13"/>
                      <a:pt x="126" y="13"/>
                      <a:pt x="128" y="12"/>
                    </a:cubicBezTo>
                    <a:cubicBezTo>
                      <a:pt x="129" y="11"/>
                      <a:pt x="128" y="10"/>
                      <a:pt x="126" y="10"/>
                    </a:cubicBezTo>
                    <a:cubicBezTo>
                      <a:pt x="126" y="10"/>
                      <a:pt x="125" y="10"/>
                      <a:pt x="125" y="10"/>
                    </a:cubicBezTo>
                    <a:cubicBezTo>
                      <a:pt x="122" y="10"/>
                      <a:pt x="114" y="10"/>
                      <a:pt x="111" y="10"/>
                    </a:cubicBezTo>
                    <a:cubicBezTo>
                      <a:pt x="108" y="10"/>
                      <a:pt x="106" y="7"/>
                      <a:pt x="106" y="5"/>
                    </a:cubicBezTo>
                    <a:cubicBezTo>
                      <a:pt x="105" y="4"/>
                      <a:pt x="104" y="4"/>
                      <a:pt x="104" y="2"/>
                    </a:cubicBezTo>
                    <a:cubicBezTo>
                      <a:pt x="105" y="0"/>
                      <a:pt x="101" y="2"/>
                      <a:pt x="99" y="4"/>
                    </a:cubicBezTo>
                    <a:cubicBezTo>
                      <a:pt x="97" y="6"/>
                      <a:pt x="94" y="4"/>
                      <a:pt x="92" y="5"/>
                    </a:cubicBezTo>
                    <a:cubicBezTo>
                      <a:pt x="89" y="6"/>
                      <a:pt x="87" y="8"/>
                      <a:pt x="86" y="10"/>
                    </a:cubicBezTo>
                    <a:cubicBezTo>
                      <a:pt x="85" y="12"/>
                      <a:pt x="83" y="12"/>
                      <a:pt x="82" y="12"/>
                    </a:cubicBezTo>
                    <a:cubicBezTo>
                      <a:pt x="81" y="11"/>
                      <a:pt x="78" y="10"/>
                      <a:pt x="76" y="10"/>
                    </a:cubicBezTo>
                    <a:cubicBezTo>
                      <a:pt x="76" y="10"/>
                      <a:pt x="76" y="10"/>
                      <a:pt x="76" y="10"/>
                    </a:cubicBezTo>
                    <a:cubicBezTo>
                      <a:pt x="76" y="10"/>
                      <a:pt x="76" y="8"/>
                      <a:pt x="75" y="7"/>
                    </a:cubicBezTo>
                    <a:cubicBezTo>
                      <a:pt x="74" y="7"/>
                      <a:pt x="75" y="6"/>
                      <a:pt x="72" y="9"/>
                    </a:cubicBezTo>
                    <a:cubicBezTo>
                      <a:pt x="70" y="11"/>
                      <a:pt x="68" y="13"/>
                      <a:pt x="68" y="11"/>
                    </a:cubicBezTo>
                    <a:cubicBezTo>
                      <a:pt x="67" y="9"/>
                      <a:pt x="67" y="11"/>
                      <a:pt x="66" y="10"/>
                    </a:cubicBezTo>
                    <a:cubicBezTo>
                      <a:pt x="65" y="9"/>
                      <a:pt x="65" y="8"/>
                      <a:pt x="64" y="7"/>
                    </a:cubicBezTo>
                    <a:cubicBezTo>
                      <a:pt x="64" y="8"/>
                      <a:pt x="63" y="8"/>
                      <a:pt x="63" y="9"/>
                    </a:cubicBezTo>
                    <a:cubicBezTo>
                      <a:pt x="62" y="11"/>
                      <a:pt x="61" y="7"/>
                      <a:pt x="60" y="7"/>
                    </a:cubicBezTo>
                    <a:cubicBezTo>
                      <a:pt x="59" y="6"/>
                      <a:pt x="58" y="6"/>
                      <a:pt x="56" y="7"/>
                    </a:cubicBezTo>
                    <a:cubicBezTo>
                      <a:pt x="54" y="9"/>
                      <a:pt x="53" y="8"/>
                      <a:pt x="52" y="7"/>
                    </a:cubicBezTo>
                    <a:cubicBezTo>
                      <a:pt x="51" y="6"/>
                      <a:pt x="51" y="2"/>
                      <a:pt x="49" y="3"/>
                    </a:cubicBezTo>
                    <a:cubicBezTo>
                      <a:pt x="48" y="3"/>
                      <a:pt x="49" y="6"/>
                      <a:pt x="48" y="8"/>
                    </a:cubicBezTo>
                    <a:cubicBezTo>
                      <a:pt x="47" y="10"/>
                      <a:pt x="45" y="11"/>
                      <a:pt x="44" y="14"/>
                    </a:cubicBezTo>
                    <a:cubicBezTo>
                      <a:pt x="44" y="16"/>
                      <a:pt x="44" y="18"/>
                      <a:pt x="42" y="19"/>
                    </a:cubicBezTo>
                    <a:cubicBezTo>
                      <a:pt x="40" y="20"/>
                      <a:pt x="40" y="18"/>
                      <a:pt x="40" y="16"/>
                    </a:cubicBezTo>
                    <a:cubicBezTo>
                      <a:pt x="39" y="14"/>
                      <a:pt x="38" y="13"/>
                      <a:pt x="37" y="13"/>
                    </a:cubicBezTo>
                    <a:cubicBezTo>
                      <a:pt x="36" y="13"/>
                      <a:pt x="34" y="11"/>
                      <a:pt x="33" y="10"/>
                    </a:cubicBezTo>
                    <a:cubicBezTo>
                      <a:pt x="32" y="8"/>
                      <a:pt x="32" y="7"/>
                      <a:pt x="32" y="5"/>
                    </a:cubicBezTo>
                    <a:cubicBezTo>
                      <a:pt x="32" y="4"/>
                      <a:pt x="29" y="7"/>
                      <a:pt x="27" y="9"/>
                    </a:cubicBezTo>
                    <a:cubicBezTo>
                      <a:pt x="27" y="9"/>
                      <a:pt x="26" y="9"/>
                      <a:pt x="26" y="9"/>
                    </a:cubicBezTo>
                    <a:cubicBezTo>
                      <a:pt x="26" y="10"/>
                      <a:pt x="27" y="11"/>
                      <a:pt x="27" y="11"/>
                    </a:cubicBezTo>
                    <a:cubicBezTo>
                      <a:pt x="27" y="12"/>
                      <a:pt x="27" y="12"/>
                      <a:pt x="27" y="12"/>
                    </a:cubicBezTo>
                    <a:cubicBezTo>
                      <a:pt x="26" y="14"/>
                      <a:pt x="24" y="15"/>
                      <a:pt x="23" y="17"/>
                    </a:cubicBezTo>
                    <a:cubicBezTo>
                      <a:pt x="21" y="19"/>
                      <a:pt x="21" y="18"/>
                      <a:pt x="19" y="17"/>
                    </a:cubicBezTo>
                    <a:cubicBezTo>
                      <a:pt x="17" y="16"/>
                      <a:pt x="15" y="16"/>
                      <a:pt x="12" y="18"/>
                    </a:cubicBezTo>
                    <a:cubicBezTo>
                      <a:pt x="10" y="20"/>
                      <a:pt x="10" y="18"/>
                      <a:pt x="9" y="18"/>
                    </a:cubicBezTo>
                    <a:cubicBezTo>
                      <a:pt x="8" y="18"/>
                      <a:pt x="7" y="18"/>
                      <a:pt x="7" y="18"/>
                    </a:cubicBezTo>
                    <a:cubicBezTo>
                      <a:pt x="7" y="18"/>
                      <a:pt x="6" y="19"/>
                      <a:pt x="5" y="19"/>
                    </a:cubicBezTo>
                    <a:cubicBezTo>
                      <a:pt x="4" y="21"/>
                      <a:pt x="3" y="22"/>
                      <a:pt x="5" y="24"/>
                    </a:cubicBezTo>
                    <a:cubicBezTo>
                      <a:pt x="7" y="27"/>
                      <a:pt x="8" y="28"/>
                      <a:pt x="8" y="30"/>
                    </a:cubicBezTo>
                    <a:cubicBezTo>
                      <a:pt x="9" y="33"/>
                      <a:pt x="9" y="33"/>
                      <a:pt x="8" y="35"/>
                    </a:cubicBezTo>
                    <a:cubicBezTo>
                      <a:pt x="7" y="37"/>
                      <a:pt x="4" y="38"/>
                      <a:pt x="2" y="38"/>
                    </a:cubicBezTo>
                    <a:cubicBezTo>
                      <a:pt x="0" y="39"/>
                      <a:pt x="0" y="40"/>
                      <a:pt x="1" y="43"/>
                    </a:cubicBezTo>
                    <a:cubicBezTo>
                      <a:pt x="3" y="45"/>
                      <a:pt x="5" y="46"/>
                      <a:pt x="6" y="47"/>
                    </a:cubicBezTo>
                    <a:cubicBezTo>
                      <a:pt x="8" y="49"/>
                      <a:pt x="6" y="52"/>
                      <a:pt x="4" y="53"/>
                    </a:cubicBezTo>
                    <a:cubicBezTo>
                      <a:pt x="3" y="55"/>
                      <a:pt x="4" y="58"/>
                      <a:pt x="6" y="60"/>
                    </a:cubicBezTo>
                    <a:cubicBezTo>
                      <a:pt x="8" y="63"/>
                      <a:pt x="10" y="64"/>
                      <a:pt x="13" y="64"/>
                    </a:cubicBezTo>
                    <a:cubicBezTo>
                      <a:pt x="16" y="64"/>
                      <a:pt x="17" y="62"/>
                      <a:pt x="18" y="64"/>
                    </a:cubicBezTo>
                    <a:cubicBezTo>
                      <a:pt x="19" y="67"/>
                      <a:pt x="18" y="68"/>
                      <a:pt x="17" y="69"/>
                    </a:cubicBezTo>
                    <a:cubicBezTo>
                      <a:pt x="15" y="71"/>
                      <a:pt x="15" y="74"/>
                      <a:pt x="15" y="74"/>
                    </a:cubicBezTo>
                    <a:cubicBezTo>
                      <a:pt x="15" y="74"/>
                      <a:pt x="16" y="74"/>
                      <a:pt x="18" y="74"/>
                    </a:cubicBezTo>
                    <a:cubicBezTo>
                      <a:pt x="20" y="73"/>
                      <a:pt x="23" y="72"/>
                      <a:pt x="25" y="71"/>
                    </a:cubicBezTo>
                    <a:cubicBezTo>
                      <a:pt x="27" y="70"/>
                      <a:pt x="28" y="68"/>
                      <a:pt x="29" y="67"/>
                    </a:cubicBezTo>
                    <a:cubicBezTo>
                      <a:pt x="29" y="66"/>
                      <a:pt x="29" y="65"/>
                      <a:pt x="31" y="64"/>
                    </a:cubicBezTo>
                    <a:cubicBezTo>
                      <a:pt x="32" y="63"/>
                      <a:pt x="34" y="59"/>
                      <a:pt x="35" y="58"/>
                    </a:cubicBezTo>
                    <a:cubicBezTo>
                      <a:pt x="37" y="58"/>
                      <a:pt x="39" y="57"/>
                      <a:pt x="41" y="58"/>
                    </a:cubicBezTo>
                    <a:cubicBezTo>
                      <a:pt x="42" y="59"/>
                      <a:pt x="46" y="59"/>
                      <a:pt x="47" y="59"/>
                    </a:cubicBezTo>
                    <a:cubicBezTo>
                      <a:pt x="48" y="60"/>
                      <a:pt x="49" y="61"/>
                      <a:pt x="50" y="62"/>
                    </a:cubicBezTo>
                    <a:cubicBezTo>
                      <a:pt x="52" y="63"/>
                      <a:pt x="53" y="64"/>
                      <a:pt x="54" y="65"/>
                    </a:cubicBezTo>
                    <a:cubicBezTo>
                      <a:pt x="55" y="66"/>
                      <a:pt x="58" y="66"/>
                      <a:pt x="61" y="67"/>
                    </a:cubicBezTo>
                    <a:cubicBezTo>
                      <a:pt x="63" y="68"/>
                      <a:pt x="64" y="70"/>
                      <a:pt x="65" y="71"/>
                    </a:cubicBezTo>
                    <a:cubicBezTo>
                      <a:pt x="66" y="73"/>
                      <a:pt x="66" y="77"/>
                      <a:pt x="66" y="80"/>
                    </a:cubicBezTo>
                    <a:cubicBezTo>
                      <a:pt x="67" y="82"/>
                      <a:pt x="69" y="85"/>
                      <a:pt x="70" y="87"/>
                    </a:cubicBezTo>
                    <a:cubicBezTo>
                      <a:pt x="72" y="89"/>
                      <a:pt x="71" y="93"/>
                      <a:pt x="71" y="95"/>
                    </a:cubicBezTo>
                    <a:cubicBezTo>
                      <a:pt x="71" y="97"/>
                      <a:pt x="74" y="96"/>
                      <a:pt x="75" y="97"/>
                    </a:cubicBezTo>
                    <a:cubicBezTo>
                      <a:pt x="75" y="97"/>
                      <a:pt x="75" y="100"/>
                      <a:pt x="77" y="101"/>
                    </a:cubicBezTo>
                    <a:cubicBezTo>
                      <a:pt x="78" y="102"/>
                      <a:pt x="81" y="105"/>
                      <a:pt x="82" y="106"/>
                    </a:cubicBezTo>
                    <a:cubicBezTo>
                      <a:pt x="83" y="107"/>
                      <a:pt x="82" y="109"/>
                      <a:pt x="82" y="111"/>
                    </a:cubicBezTo>
                    <a:cubicBezTo>
                      <a:pt x="82" y="113"/>
                      <a:pt x="86" y="111"/>
                      <a:pt x="88" y="112"/>
                    </a:cubicBezTo>
                    <a:cubicBezTo>
                      <a:pt x="91" y="114"/>
                      <a:pt x="91" y="114"/>
                      <a:pt x="93" y="117"/>
                    </a:cubicBezTo>
                    <a:cubicBezTo>
                      <a:pt x="94" y="119"/>
                      <a:pt x="95" y="121"/>
                      <a:pt x="96" y="121"/>
                    </a:cubicBezTo>
                    <a:cubicBezTo>
                      <a:pt x="97" y="121"/>
                      <a:pt x="100" y="123"/>
                      <a:pt x="101" y="125"/>
                    </a:cubicBezTo>
                    <a:cubicBezTo>
                      <a:pt x="102" y="126"/>
                      <a:pt x="102" y="129"/>
                      <a:pt x="104" y="130"/>
                    </a:cubicBezTo>
                    <a:cubicBezTo>
                      <a:pt x="106" y="131"/>
                      <a:pt x="108" y="135"/>
                      <a:pt x="110" y="136"/>
                    </a:cubicBezTo>
                    <a:cubicBezTo>
                      <a:pt x="111" y="138"/>
                      <a:pt x="113" y="138"/>
                      <a:pt x="115" y="139"/>
                    </a:cubicBezTo>
                    <a:cubicBezTo>
                      <a:pt x="117" y="140"/>
                      <a:pt x="118" y="142"/>
                      <a:pt x="120" y="142"/>
                    </a:cubicBezTo>
                    <a:cubicBezTo>
                      <a:pt x="121" y="141"/>
                      <a:pt x="124" y="141"/>
                      <a:pt x="125" y="142"/>
                    </a:cubicBezTo>
                    <a:cubicBezTo>
                      <a:pt x="127" y="143"/>
                      <a:pt x="129" y="142"/>
                      <a:pt x="130" y="142"/>
                    </a:cubicBezTo>
                    <a:cubicBezTo>
                      <a:pt x="131" y="142"/>
                      <a:pt x="133" y="145"/>
                      <a:pt x="134" y="147"/>
                    </a:cubicBezTo>
                    <a:cubicBezTo>
                      <a:pt x="135" y="149"/>
                      <a:pt x="137" y="152"/>
                      <a:pt x="137" y="153"/>
                    </a:cubicBezTo>
                    <a:cubicBezTo>
                      <a:pt x="138" y="154"/>
                      <a:pt x="141" y="153"/>
                      <a:pt x="143" y="153"/>
                    </a:cubicBezTo>
                    <a:cubicBezTo>
                      <a:pt x="145" y="154"/>
                      <a:pt x="143" y="158"/>
                      <a:pt x="142" y="160"/>
                    </a:cubicBezTo>
                    <a:cubicBezTo>
                      <a:pt x="142" y="161"/>
                      <a:pt x="145" y="159"/>
                      <a:pt x="147" y="158"/>
                    </a:cubicBezTo>
                    <a:cubicBezTo>
                      <a:pt x="148" y="157"/>
                      <a:pt x="150" y="157"/>
                      <a:pt x="152" y="160"/>
                    </a:cubicBezTo>
                    <a:cubicBezTo>
                      <a:pt x="154" y="163"/>
                      <a:pt x="154" y="166"/>
                      <a:pt x="154" y="167"/>
                    </a:cubicBezTo>
                    <a:cubicBezTo>
                      <a:pt x="153" y="169"/>
                      <a:pt x="154" y="169"/>
                      <a:pt x="155" y="171"/>
                    </a:cubicBezTo>
                    <a:cubicBezTo>
                      <a:pt x="155" y="172"/>
                      <a:pt x="156" y="171"/>
                      <a:pt x="158" y="172"/>
                    </a:cubicBezTo>
                    <a:cubicBezTo>
                      <a:pt x="160" y="173"/>
                      <a:pt x="161" y="177"/>
                      <a:pt x="162" y="176"/>
                    </a:cubicBezTo>
                    <a:cubicBezTo>
                      <a:pt x="163" y="176"/>
                      <a:pt x="165" y="174"/>
                      <a:pt x="166" y="174"/>
                    </a:cubicBezTo>
                    <a:cubicBezTo>
                      <a:pt x="166" y="175"/>
                      <a:pt x="168" y="176"/>
                      <a:pt x="168" y="177"/>
                    </a:cubicBezTo>
                    <a:cubicBezTo>
                      <a:pt x="169" y="178"/>
                      <a:pt x="170" y="183"/>
                      <a:pt x="171" y="184"/>
                    </a:cubicBezTo>
                    <a:cubicBezTo>
                      <a:pt x="171" y="186"/>
                      <a:pt x="172" y="189"/>
                      <a:pt x="173" y="191"/>
                    </a:cubicBezTo>
                    <a:cubicBezTo>
                      <a:pt x="175" y="193"/>
                      <a:pt x="175" y="196"/>
                      <a:pt x="175" y="198"/>
                    </a:cubicBezTo>
                    <a:cubicBezTo>
                      <a:pt x="175" y="200"/>
                      <a:pt x="176" y="202"/>
                      <a:pt x="177" y="204"/>
                    </a:cubicBezTo>
                    <a:cubicBezTo>
                      <a:pt x="178" y="206"/>
                      <a:pt x="179" y="208"/>
                      <a:pt x="178" y="209"/>
                    </a:cubicBezTo>
                    <a:cubicBezTo>
                      <a:pt x="178" y="211"/>
                      <a:pt x="175" y="211"/>
                      <a:pt x="174" y="211"/>
                    </a:cubicBezTo>
                    <a:cubicBezTo>
                      <a:pt x="172" y="211"/>
                      <a:pt x="172" y="213"/>
                      <a:pt x="173" y="215"/>
                    </a:cubicBezTo>
                    <a:cubicBezTo>
                      <a:pt x="174" y="217"/>
                      <a:pt x="172" y="221"/>
                      <a:pt x="170" y="222"/>
                    </a:cubicBezTo>
                    <a:cubicBezTo>
                      <a:pt x="169" y="224"/>
                      <a:pt x="168" y="224"/>
                      <a:pt x="168" y="226"/>
                    </a:cubicBezTo>
                    <a:cubicBezTo>
                      <a:pt x="167" y="229"/>
                      <a:pt x="169" y="232"/>
                      <a:pt x="169" y="233"/>
                    </a:cubicBezTo>
                    <a:cubicBezTo>
                      <a:pt x="170" y="234"/>
                      <a:pt x="175" y="233"/>
                      <a:pt x="176" y="232"/>
                    </a:cubicBezTo>
                    <a:cubicBezTo>
                      <a:pt x="177" y="232"/>
                      <a:pt x="178" y="229"/>
                      <a:pt x="179" y="226"/>
                    </a:cubicBezTo>
                    <a:cubicBezTo>
                      <a:pt x="180" y="223"/>
                      <a:pt x="183" y="222"/>
                      <a:pt x="184" y="220"/>
                    </a:cubicBezTo>
                    <a:cubicBezTo>
                      <a:pt x="186" y="219"/>
                      <a:pt x="185" y="216"/>
                      <a:pt x="185" y="214"/>
                    </a:cubicBezTo>
                    <a:cubicBezTo>
                      <a:pt x="185" y="212"/>
                      <a:pt x="184" y="211"/>
                      <a:pt x="185" y="210"/>
                    </a:cubicBezTo>
                    <a:cubicBezTo>
                      <a:pt x="185" y="209"/>
                      <a:pt x="187" y="208"/>
                      <a:pt x="189" y="206"/>
                    </a:cubicBezTo>
                    <a:cubicBezTo>
                      <a:pt x="192" y="204"/>
                      <a:pt x="195" y="206"/>
                      <a:pt x="196" y="205"/>
                    </a:cubicBezTo>
                    <a:cubicBezTo>
                      <a:pt x="196" y="205"/>
                      <a:pt x="196" y="202"/>
                      <a:pt x="196" y="199"/>
                    </a:cubicBezTo>
                    <a:cubicBezTo>
                      <a:pt x="196" y="195"/>
                      <a:pt x="195" y="193"/>
                      <a:pt x="195" y="192"/>
                    </a:cubicBezTo>
                    <a:cubicBezTo>
                      <a:pt x="195" y="190"/>
                      <a:pt x="193" y="190"/>
                      <a:pt x="192" y="189"/>
                    </a:cubicBezTo>
                    <a:cubicBezTo>
                      <a:pt x="190" y="189"/>
                      <a:pt x="189" y="187"/>
                      <a:pt x="188" y="186"/>
                    </a:cubicBezTo>
                    <a:cubicBezTo>
                      <a:pt x="187" y="186"/>
                      <a:pt x="186" y="187"/>
                      <a:pt x="185" y="185"/>
                    </a:cubicBezTo>
                    <a:cubicBezTo>
                      <a:pt x="183" y="183"/>
                      <a:pt x="183" y="183"/>
                      <a:pt x="183" y="181"/>
                    </a:cubicBezTo>
                    <a:cubicBezTo>
                      <a:pt x="184" y="179"/>
                      <a:pt x="185" y="178"/>
                      <a:pt x="185" y="177"/>
                    </a:cubicBezTo>
                    <a:cubicBezTo>
                      <a:pt x="185" y="175"/>
                      <a:pt x="185" y="174"/>
                      <a:pt x="186" y="173"/>
                    </a:cubicBezTo>
                    <a:cubicBezTo>
                      <a:pt x="187" y="172"/>
                      <a:pt x="189" y="168"/>
                      <a:pt x="189" y="168"/>
                    </a:cubicBezTo>
                    <a:cubicBezTo>
                      <a:pt x="189" y="168"/>
                      <a:pt x="192" y="163"/>
                      <a:pt x="193" y="162"/>
                    </a:cubicBezTo>
                    <a:cubicBezTo>
                      <a:pt x="194" y="162"/>
                      <a:pt x="195" y="162"/>
                      <a:pt x="196" y="162"/>
                    </a:cubicBezTo>
                    <a:cubicBezTo>
                      <a:pt x="198" y="163"/>
                      <a:pt x="197" y="163"/>
                      <a:pt x="197" y="165"/>
                    </a:cubicBezTo>
                    <a:cubicBezTo>
                      <a:pt x="197" y="167"/>
                      <a:pt x="199" y="167"/>
                      <a:pt x="200" y="167"/>
                    </a:cubicBezTo>
                    <a:cubicBezTo>
                      <a:pt x="202" y="168"/>
                      <a:pt x="206" y="168"/>
                      <a:pt x="207" y="168"/>
                    </a:cubicBezTo>
                    <a:cubicBezTo>
                      <a:pt x="209" y="168"/>
                      <a:pt x="210" y="170"/>
                      <a:pt x="210" y="172"/>
                    </a:cubicBezTo>
                    <a:cubicBezTo>
                      <a:pt x="211" y="173"/>
                      <a:pt x="212" y="175"/>
                      <a:pt x="212" y="177"/>
                    </a:cubicBezTo>
                    <a:cubicBezTo>
                      <a:pt x="212" y="179"/>
                      <a:pt x="214" y="180"/>
                      <a:pt x="215" y="180"/>
                    </a:cubicBezTo>
                    <a:cubicBezTo>
                      <a:pt x="217" y="181"/>
                      <a:pt x="219" y="180"/>
                      <a:pt x="219" y="178"/>
                    </a:cubicBezTo>
                    <a:cubicBezTo>
                      <a:pt x="220" y="175"/>
                      <a:pt x="221" y="173"/>
                      <a:pt x="220" y="17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83" name="Freeform 204"/>
              <p:cNvSpPr>
                <a:spLocks/>
              </p:cNvSpPr>
              <p:nvPr/>
            </p:nvSpPr>
            <p:spPr bwMode="gray">
              <a:xfrm>
                <a:off x="1979" y="3113"/>
                <a:ext cx="199" cy="116"/>
              </a:xfrm>
              <a:custGeom>
                <a:avLst/>
                <a:gdLst>
                  <a:gd name="T0" fmla="*/ 71 w 76"/>
                  <a:gd name="T1" fmla="*/ 23 h 44"/>
                  <a:gd name="T2" fmla="*/ 70 w 76"/>
                  <a:gd name="T3" fmla="*/ 19 h 44"/>
                  <a:gd name="T4" fmla="*/ 68 w 76"/>
                  <a:gd name="T5" fmla="*/ 18 h 44"/>
                  <a:gd name="T6" fmla="*/ 66 w 76"/>
                  <a:gd name="T7" fmla="*/ 17 h 44"/>
                  <a:gd name="T8" fmla="*/ 64 w 76"/>
                  <a:gd name="T9" fmla="*/ 16 h 44"/>
                  <a:gd name="T10" fmla="*/ 61 w 76"/>
                  <a:gd name="T11" fmla="*/ 15 h 44"/>
                  <a:gd name="T12" fmla="*/ 60 w 76"/>
                  <a:gd name="T13" fmla="*/ 14 h 44"/>
                  <a:gd name="T14" fmla="*/ 57 w 76"/>
                  <a:gd name="T15" fmla="*/ 13 h 44"/>
                  <a:gd name="T16" fmla="*/ 55 w 76"/>
                  <a:gd name="T17" fmla="*/ 11 h 44"/>
                  <a:gd name="T18" fmla="*/ 54 w 76"/>
                  <a:gd name="T19" fmla="*/ 12 h 44"/>
                  <a:gd name="T20" fmla="*/ 57 w 76"/>
                  <a:gd name="T21" fmla="*/ 14 h 44"/>
                  <a:gd name="T22" fmla="*/ 57 w 76"/>
                  <a:gd name="T23" fmla="*/ 15 h 44"/>
                  <a:gd name="T24" fmla="*/ 55 w 76"/>
                  <a:gd name="T25" fmla="*/ 13 h 44"/>
                  <a:gd name="T26" fmla="*/ 53 w 76"/>
                  <a:gd name="T27" fmla="*/ 13 h 44"/>
                  <a:gd name="T28" fmla="*/ 51 w 76"/>
                  <a:gd name="T29" fmla="*/ 13 h 44"/>
                  <a:gd name="T30" fmla="*/ 49 w 76"/>
                  <a:gd name="T31" fmla="*/ 15 h 44"/>
                  <a:gd name="T32" fmla="*/ 49 w 76"/>
                  <a:gd name="T33" fmla="*/ 13 h 44"/>
                  <a:gd name="T34" fmla="*/ 50 w 76"/>
                  <a:gd name="T35" fmla="*/ 12 h 44"/>
                  <a:gd name="T36" fmla="*/ 48 w 76"/>
                  <a:gd name="T37" fmla="*/ 11 h 44"/>
                  <a:gd name="T38" fmla="*/ 46 w 76"/>
                  <a:gd name="T39" fmla="*/ 10 h 44"/>
                  <a:gd name="T40" fmla="*/ 45 w 76"/>
                  <a:gd name="T41" fmla="*/ 11 h 44"/>
                  <a:gd name="T42" fmla="*/ 43 w 76"/>
                  <a:gd name="T43" fmla="*/ 14 h 44"/>
                  <a:gd name="T44" fmla="*/ 45 w 76"/>
                  <a:gd name="T45" fmla="*/ 15 h 44"/>
                  <a:gd name="T46" fmla="*/ 45 w 76"/>
                  <a:gd name="T47" fmla="*/ 16 h 44"/>
                  <a:gd name="T48" fmla="*/ 42 w 76"/>
                  <a:gd name="T49" fmla="*/ 16 h 44"/>
                  <a:gd name="T50" fmla="*/ 41 w 76"/>
                  <a:gd name="T51" fmla="*/ 14 h 44"/>
                  <a:gd name="T52" fmla="*/ 39 w 76"/>
                  <a:gd name="T53" fmla="*/ 15 h 44"/>
                  <a:gd name="T54" fmla="*/ 36 w 76"/>
                  <a:gd name="T55" fmla="*/ 16 h 44"/>
                  <a:gd name="T56" fmla="*/ 34 w 76"/>
                  <a:gd name="T57" fmla="*/ 16 h 44"/>
                  <a:gd name="T58" fmla="*/ 33 w 76"/>
                  <a:gd name="T59" fmla="*/ 17 h 44"/>
                  <a:gd name="T60" fmla="*/ 32 w 76"/>
                  <a:gd name="T61" fmla="*/ 15 h 44"/>
                  <a:gd name="T62" fmla="*/ 31 w 76"/>
                  <a:gd name="T63" fmla="*/ 14 h 44"/>
                  <a:gd name="T64" fmla="*/ 29 w 76"/>
                  <a:gd name="T65" fmla="*/ 13 h 44"/>
                  <a:gd name="T66" fmla="*/ 29 w 76"/>
                  <a:gd name="T67" fmla="*/ 10 h 44"/>
                  <a:gd name="T68" fmla="*/ 29 w 76"/>
                  <a:gd name="T69" fmla="*/ 9 h 44"/>
                  <a:gd name="T70" fmla="*/ 31 w 76"/>
                  <a:gd name="T71" fmla="*/ 7 h 44"/>
                  <a:gd name="T72" fmla="*/ 31 w 76"/>
                  <a:gd name="T73" fmla="*/ 3 h 44"/>
                  <a:gd name="T74" fmla="*/ 32 w 76"/>
                  <a:gd name="T75" fmla="*/ 0 h 44"/>
                  <a:gd name="T76" fmla="*/ 22 w 76"/>
                  <a:gd name="T77" fmla="*/ 2 h 44"/>
                  <a:gd name="T78" fmla="*/ 11 w 76"/>
                  <a:gd name="T79" fmla="*/ 15 h 44"/>
                  <a:gd name="T80" fmla="*/ 2 w 76"/>
                  <a:gd name="T81" fmla="*/ 30 h 44"/>
                  <a:gd name="T82" fmla="*/ 7 w 76"/>
                  <a:gd name="T83" fmla="*/ 30 h 44"/>
                  <a:gd name="T84" fmla="*/ 16 w 76"/>
                  <a:gd name="T85" fmla="*/ 36 h 44"/>
                  <a:gd name="T86" fmla="*/ 24 w 76"/>
                  <a:gd name="T87" fmla="*/ 42 h 44"/>
                  <a:gd name="T88" fmla="*/ 39 w 76"/>
                  <a:gd name="T89" fmla="*/ 36 h 44"/>
                  <a:gd name="T90" fmla="*/ 45 w 76"/>
                  <a:gd name="T91" fmla="*/ 34 h 44"/>
                  <a:gd name="T92" fmla="*/ 54 w 76"/>
                  <a:gd name="T93" fmla="*/ 43 h 44"/>
                  <a:gd name="T94" fmla="*/ 61 w 76"/>
                  <a:gd name="T95" fmla="*/ 27 h 44"/>
                  <a:gd name="T96" fmla="*/ 72 w 76"/>
                  <a:gd name="T97" fmla="*/ 31 h 44"/>
                  <a:gd name="T98" fmla="*/ 76 w 76"/>
                  <a:gd name="T99" fmla="*/ 3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6" h="44">
                    <a:moveTo>
                      <a:pt x="76" y="31"/>
                    </a:moveTo>
                    <a:cubicBezTo>
                      <a:pt x="74" y="30"/>
                      <a:pt x="72" y="31"/>
                      <a:pt x="70" y="30"/>
                    </a:cubicBezTo>
                    <a:cubicBezTo>
                      <a:pt x="69" y="29"/>
                      <a:pt x="71" y="25"/>
                      <a:pt x="71" y="23"/>
                    </a:cubicBezTo>
                    <a:cubicBezTo>
                      <a:pt x="71" y="22"/>
                      <a:pt x="72" y="21"/>
                      <a:pt x="72" y="20"/>
                    </a:cubicBezTo>
                    <a:cubicBezTo>
                      <a:pt x="71" y="20"/>
                      <a:pt x="71" y="20"/>
                      <a:pt x="71" y="20"/>
                    </a:cubicBezTo>
                    <a:cubicBezTo>
                      <a:pt x="71" y="19"/>
                      <a:pt x="71" y="19"/>
                      <a:pt x="70" y="19"/>
                    </a:cubicBezTo>
                    <a:cubicBezTo>
                      <a:pt x="70" y="19"/>
                      <a:pt x="70" y="19"/>
                      <a:pt x="70" y="18"/>
                    </a:cubicBezTo>
                    <a:cubicBezTo>
                      <a:pt x="69" y="18"/>
                      <a:pt x="69" y="18"/>
                      <a:pt x="69" y="18"/>
                    </a:cubicBezTo>
                    <a:cubicBezTo>
                      <a:pt x="68" y="18"/>
                      <a:pt x="68" y="18"/>
                      <a:pt x="68" y="18"/>
                    </a:cubicBezTo>
                    <a:cubicBezTo>
                      <a:pt x="68" y="17"/>
                      <a:pt x="68" y="17"/>
                      <a:pt x="68" y="17"/>
                    </a:cubicBezTo>
                    <a:cubicBezTo>
                      <a:pt x="68" y="17"/>
                      <a:pt x="67" y="17"/>
                      <a:pt x="67" y="17"/>
                    </a:cubicBezTo>
                    <a:cubicBezTo>
                      <a:pt x="67" y="17"/>
                      <a:pt x="66" y="17"/>
                      <a:pt x="66" y="17"/>
                    </a:cubicBezTo>
                    <a:cubicBezTo>
                      <a:pt x="66" y="17"/>
                      <a:pt x="66" y="17"/>
                      <a:pt x="65" y="17"/>
                    </a:cubicBezTo>
                    <a:cubicBezTo>
                      <a:pt x="65" y="17"/>
                      <a:pt x="65" y="17"/>
                      <a:pt x="64" y="17"/>
                    </a:cubicBezTo>
                    <a:cubicBezTo>
                      <a:pt x="64" y="16"/>
                      <a:pt x="64" y="16"/>
                      <a:pt x="64" y="16"/>
                    </a:cubicBezTo>
                    <a:cubicBezTo>
                      <a:pt x="64" y="16"/>
                      <a:pt x="63" y="15"/>
                      <a:pt x="63" y="15"/>
                    </a:cubicBezTo>
                    <a:cubicBezTo>
                      <a:pt x="63" y="15"/>
                      <a:pt x="63" y="15"/>
                      <a:pt x="62" y="15"/>
                    </a:cubicBezTo>
                    <a:cubicBezTo>
                      <a:pt x="62" y="15"/>
                      <a:pt x="62" y="15"/>
                      <a:pt x="61" y="15"/>
                    </a:cubicBezTo>
                    <a:cubicBezTo>
                      <a:pt x="61" y="15"/>
                      <a:pt x="61" y="15"/>
                      <a:pt x="61" y="15"/>
                    </a:cubicBezTo>
                    <a:cubicBezTo>
                      <a:pt x="61" y="14"/>
                      <a:pt x="61" y="14"/>
                      <a:pt x="61" y="14"/>
                    </a:cubicBezTo>
                    <a:cubicBezTo>
                      <a:pt x="60" y="14"/>
                      <a:pt x="60" y="14"/>
                      <a:pt x="60" y="14"/>
                    </a:cubicBezTo>
                    <a:cubicBezTo>
                      <a:pt x="59" y="14"/>
                      <a:pt x="59" y="14"/>
                      <a:pt x="59" y="14"/>
                    </a:cubicBezTo>
                    <a:cubicBezTo>
                      <a:pt x="58" y="14"/>
                      <a:pt x="58" y="13"/>
                      <a:pt x="58" y="13"/>
                    </a:cubicBezTo>
                    <a:cubicBezTo>
                      <a:pt x="57" y="13"/>
                      <a:pt x="57" y="13"/>
                      <a:pt x="57" y="13"/>
                    </a:cubicBezTo>
                    <a:cubicBezTo>
                      <a:pt x="57" y="12"/>
                      <a:pt x="56" y="12"/>
                      <a:pt x="56" y="12"/>
                    </a:cubicBezTo>
                    <a:cubicBezTo>
                      <a:pt x="56" y="12"/>
                      <a:pt x="56" y="11"/>
                      <a:pt x="55" y="11"/>
                    </a:cubicBezTo>
                    <a:cubicBezTo>
                      <a:pt x="55" y="11"/>
                      <a:pt x="55" y="11"/>
                      <a:pt x="55" y="11"/>
                    </a:cubicBezTo>
                    <a:cubicBezTo>
                      <a:pt x="55" y="11"/>
                      <a:pt x="54" y="11"/>
                      <a:pt x="54" y="11"/>
                    </a:cubicBezTo>
                    <a:cubicBezTo>
                      <a:pt x="54" y="11"/>
                      <a:pt x="54" y="11"/>
                      <a:pt x="54" y="11"/>
                    </a:cubicBezTo>
                    <a:cubicBezTo>
                      <a:pt x="54" y="11"/>
                      <a:pt x="54" y="11"/>
                      <a:pt x="54" y="12"/>
                    </a:cubicBezTo>
                    <a:cubicBezTo>
                      <a:pt x="55" y="12"/>
                      <a:pt x="55" y="12"/>
                      <a:pt x="55" y="12"/>
                    </a:cubicBezTo>
                    <a:cubicBezTo>
                      <a:pt x="55" y="12"/>
                      <a:pt x="56" y="13"/>
                      <a:pt x="56" y="13"/>
                    </a:cubicBezTo>
                    <a:cubicBezTo>
                      <a:pt x="56" y="13"/>
                      <a:pt x="56" y="13"/>
                      <a:pt x="57" y="14"/>
                    </a:cubicBezTo>
                    <a:cubicBezTo>
                      <a:pt x="57" y="14"/>
                      <a:pt x="57" y="14"/>
                      <a:pt x="57" y="14"/>
                    </a:cubicBezTo>
                    <a:cubicBezTo>
                      <a:pt x="57" y="14"/>
                      <a:pt x="57" y="15"/>
                      <a:pt x="57" y="15"/>
                    </a:cubicBezTo>
                    <a:cubicBezTo>
                      <a:pt x="57" y="15"/>
                      <a:pt x="57" y="15"/>
                      <a:pt x="57" y="15"/>
                    </a:cubicBezTo>
                    <a:cubicBezTo>
                      <a:pt x="56" y="14"/>
                      <a:pt x="56" y="14"/>
                      <a:pt x="56" y="14"/>
                    </a:cubicBezTo>
                    <a:cubicBezTo>
                      <a:pt x="56" y="14"/>
                      <a:pt x="56" y="14"/>
                      <a:pt x="55" y="13"/>
                    </a:cubicBezTo>
                    <a:cubicBezTo>
                      <a:pt x="55" y="13"/>
                      <a:pt x="55" y="13"/>
                      <a:pt x="55" y="13"/>
                    </a:cubicBezTo>
                    <a:cubicBezTo>
                      <a:pt x="55" y="13"/>
                      <a:pt x="54" y="13"/>
                      <a:pt x="54" y="13"/>
                    </a:cubicBezTo>
                    <a:cubicBezTo>
                      <a:pt x="54" y="13"/>
                      <a:pt x="54" y="13"/>
                      <a:pt x="54" y="13"/>
                    </a:cubicBezTo>
                    <a:cubicBezTo>
                      <a:pt x="53" y="13"/>
                      <a:pt x="53" y="13"/>
                      <a:pt x="53" y="13"/>
                    </a:cubicBezTo>
                    <a:cubicBezTo>
                      <a:pt x="52" y="13"/>
                      <a:pt x="52" y="13"/>
                      <a:pt x="52" y="13"/>
                    </a:cubicBezTo>
                    <a:cubicBezTo>
                      <a:pt x="51" y="13"/>
                      <a:pt x="51" y="13"/>
                      <a:pt x="51" y="13"/>
                    </a:cubicBezTo>
                    <a:cubicBezTo>
                      <a:pt x="51" y="13"/>
                      <a:pt x="51" y="13"/>
                      <a:pt x="51" y="13"/>
                    </a:cubicBezTo>
                    <a:cubicBezTo>
                      <a:pt x="50" y="14"/>
                      <a:pt x="50" y="14"/>
                      <a:pt x="50" y="14"/>
                    </a:cubicBezTo>
                    <a:cubicBezTo>
                      <a:pt x="50" y="14"/>
                      <a:pt x="50" y="14"/>
                      <a:pt x="50" y="15"/>
                    </a:cubicBezTo>
                    <a:cubicBezTo>
                      <a:pt x="50" y="15"/>
                      <a:pt x="49" y="15"/>
                      <a:pt x="49" y="15"/>
                    </a:cubicBezTo>
                    <a:cubicBezTo>
                      <a:pt x="49" y="15"/>
                      <a:pt x="49" y="15"/>
                      <a:pt x="49" y="14"/>
                    </a:cubicBezTo>
                    <a:cubicBezTo>
                      <a:pt x="49" y="14"/>
                      <a:pt x="49" y="14"/>
                      <a:pt x="49" y="14"/>
                    </a:cubicBezTo>
                    <a:cubicBezTo>
                      <a:pt x="49" y="13"/>
                      <a:pt x="49" y="13"/>
                      <a:pt x="49" y="13"/>
                    </a:cubicBezTo>
                    <a:cubicBezTo>
                      <a:pt x="49" y="13"/>
                      <a:pt x="49" y="13"/>
                      <a:pt x="49" y="13"/>
                    </a:cubicBezTo>
                    <a:cubicBezTo>
                      <a:pt x="50" y="13"/>
                      <a:pt x="50" y="13"/>
                      <a:pt x="50" y="12"/>
                    </a:cubicBezTo>
                    <a:cubicBezTo>
                      <a:pt x="50" y="12"/>
                      <a:pt x="50" y="12"/>
                      <a:pt x="50" y="12"/>
                    </a:cubicBezTo>
                    <a:cubicBezTo>
                      <a:pt x="50" y="12"/>
                      <a:pt x="50" y="12"/>
                      <a:pt x="49" y="12"/>
                    </a:cubicBezTo>
                    <a:cubicBezTo>
                      <a:pt x="49" y="11"/>
                      <a:pt x="49" y="11"/>
                      <a:pt x="49" y="11"/>
                    </a:cubicBezTo>
                    <a:cubicBezTo>
                      <a:pt x="48" y="11"/>
                      <a:pt x="48" y="11"/>
                      <a:pt x="48" y="11"/>
                    </a:cubicBezTo>
                    <a:cubicBezTo>
                      <a:pt x="48" y="11"/>
                      <a:pt x="47" y="11"/>
                      <a:pt x="47" y="11"/>
                    </a:cubicBezTo>
                    <a:cubicBezTo>
                      <a:pt x="47" y="11"/>
                      <a:pt x="47" y="11"/>
                      <a:pt x="47" y="11"/>
                    </a:cubicBezTo>
                    <a:cubicBezTo>
                      <a:pt x="47" y="11"/>
                      <a:pt x="46" y="10"/>
                      <a:pt x="46" y="10"/>
                    </a:cubicBezTo>
                    <a:cubicBezTo>
                      <a:pt x="46" y="10"/>
                      <a:pt x="46" y="10"/>
                      <a:pt x="46" y="10"/>
                    </a:cubicBezTo>
                    <a:cubicBezTo>
                      <a:pt x="46" y="10"/>
                      <a:pt x="46" y="11"/>
                      <a:pt x="45" y="11"/>
                    </a:cubicBezTo>
                    <a:cubicBezTo>
                      <a:pt x="45" y="11"/>
                      <a:pt x="45" y="11"/>
                      <a:pt x="45" y="11"/>
                    </a:cubicBezTo>
                    <a:cubicBezTo>
                      <a:pt x="44" y="12"/>
                      <a:pt x="44" y="12"/>
                      <a:pt x="44" y="12"/>
                    </a:cubicBezTo>
                    <a:cubicBezTo>
                      <a:pt x="44" y="13"/>
                      <a:pt x="44" y="13"/>
                      <a:pt x="43" y="13"/>
                    </a:cubicBezTo>
                    <a:cubicBezTo>
                      <a:pt x="43" y="14"/>
                      <a:pt x="43" y="14"/>
                      <a:pt x="43" y="14"/>
                    </a:cubicBezTo>
                    <a:cubicBezTo>
                      <a:pt x="43" y="14"/>
                      <a:pt x="43" y="14"/>
                      <a:pt x="43" y="15"/>
                    </a:cubicBezTo>
                    <a:cubicBezTo>
                      <a:pt x="44" y="15"/>
                      <a:pt x="44" y="15"/>
                      <a:pt x="44" y="15"/>
                    </a:cubicBezTo>
                    <a:cubicBezTo>
                      <a:pt x="44" y="15"/>
                      <a:pt x="44" y="15"/>
                      <a:pt x="45" y="15"/>
                    </a:cubicBezTo>
                    <a:cubicBezTo>
                      <a:pt x="45" y="15"/>
                      <a:pt x="45" y="15"/>
                      <a:pt x="45" y="15"/>
                    </a:cubicBezTo>
                    <a:cubicBezTo>
                      <a:pt x="45" y="15"/>
                      <a:pt x="45" y="15"/>
                      <a:pt x="45" y="16"/>
                    </a:cubicBezTo>
                    <a:cubicBezTo>
                      <a:pt x="45" y="16"/>
                      <a:pt x="45" y="16"/>
                      <a:pt x="45" y="16"/>
                    </a:cubicBezTo>
                    <a:cubicBezTo>
                      <a:pt x="45" y="16"/>
                      <a:pt x="45" y="16"/>
                      <a:pt x="44" y="16"/>
                    </a:cubicBezTo>
                    <a:cubicBezTo>
                      <a:pt x="44" y="16"/>
                      <a:pt x="43" y="16"/>
                      <a:pt x="43" y="16"/>
                    </a:cubicBezTo>
                    <a:cubicBezTo>
                      <a:pt x="43" y="16"/>
                      <a:pt x="43" y="16"/>
                      <a:pt x="42" y="16"/>
                    </a:cubicBezTo>
                    <a:cubicBezTo>
                      <a:pt x="42" y="16"/>
                      <a:pt x="42" y="16"/>
                      <a:pt x="42" y="16"/>
                    </a:cubicBezTo>
                    <a:cubicBezTo>
                      <a:pt x="42" y="16"/>
                      <a:pt x="41" y="15"/>
                      <a:pt x="41" y="15"/>
                    </a:cubicBezTo>
                    <a:cubicBezTo>
                      <a:pt x="41" y="15"/>
                      <a:pt x="41" y="15"/>
                      <a:pt x="41" y="14"/>
                    </a:cubicBezTo>
                    <a:cubicBezTo>
                      <a:pt x="40" y="14"/>
                      <a:pt x="40" y="14"/>
                      <a:pt x="40" y="14"/>
                    </a:cubicBezTo>
                    <a:cubicBezTo>
                      <a:pt x="40" y="14"/>
                      <a:pt x="39" y="14"/>
                      <a:pt x="39" y="15"/>
                    </a:cubicBezTo>
                    <a:cubicBezTo>
                      <a:pt x="39" y="15"/>
                      <a:pt x="39" y="15"/>
                      <a:pt x="39" y="15"/>
                    </a:cubicBezTo>
                    <a:cubicBezTo>
                      <a:pt x="39" y="15"/>
                      <a:pt x="38" y="16"/>
                      <a:pt x="38" y="16"/>
                    </a:cubicBezTo>
                    <a:cubicBezTo>
                      <a:pt x="38" y="16"/>
                      <a:pt x="37" y="16"/>
                      <a:pt x="37" y="16"/>
                    </a:cubicBezTo>
                    <a:cubicBezTo>
                      <a:pt x="37" y="16"/>
                      <a:pt x="36" y="16"/>
                      <a:pt x="36" y="16"/>
                    </a:cubicBezTo>
                    <a:cubicBezTo>
                      <a:pt x="36" y="16"/>
                      <a:pt x="35" y="16"/>
                      <a:pt x="35" y="16"/>
                    </a:cubicBezTo>
                    <a:cubicBezTo>
                      <a:pt x="35" y="16"/>
                      <a:pt x="35" y="16"/>
                      <a:pt x="35" y="16"/>
                    </a:cubicBezTo>
                    <a:cubicBezTo>
                      <a:pt x="34" y="16"/>
                      <a:pt x="34" y="16"/>
                      <a:pt x="34" y="16"/>
                    </a:cubicBezTo>
                    <a:cubicBezTo>
                      <a:pt x="34" y="16"/>
                      <a:pt x="34" y="16"/>
                      <a:pt x="34" y="16"/>
                    </a:cubicBezTo>
                    <a:cubicBezTo>
                      <a:pt x="34" y="16"/>
                      <a:pt x="34" y="16"/>
                      <a:pt x="33" y="17"/>
                    </a:cubicBezTo>
                    <a:cubicBezTo>
                      <a:pt x="33" y="17"/>
                      <a:pt x="33" y="17"/>
                      <a:pt x="33" y="17"/>
                    </a:cubicBezTo>
                    <a:cubicBezTo>
                      <a:pt x="33" y="17"/>
                      <a:pt x="33" y="17"/>
                      <a:pt x="32" y="16"/>
                    </a:cubicBezTo>
                    <a:cubicBezTo>
                      <a:pt x="32" y="16"/>
                      <a:pt x="32" y="16"/>
                      <a:pt x="32" y="16"/>
                    </a:cubicBezTo>
                    <a:cubicBezTo>
                      <a:pt x="32" y="15"/>
                      <a:pt x="32" y="15"/>
                      <a:pt x="32" y="15"/>
                    </a:cubicBezTo>
                    <a:cubicBezTo>
                      <a:pt x="32" y="15"/>
                      <a:pt x="32" y="14"/>
                      <a:pt x="32" y="14"/>
                    </a:cubicBezTo>
                    <a:cubicBezTo>
                      <a:pt x="32" y="14"/>
                      <a:pt x="32" y="14"/>
                      <a:pt x="31" y="14"/>
                    </a:cubicBezTo>
                    <a:cubicBezTo>
                      <a:pt x="31" y="14"/>
                      <a:pt x="31" y="14"/>
                      <a:pt x="31" y="14"/>
                    </a:cubicBezTo>
                    <a:cubicBezTo>
                      <a:pt x="31" y="14"/>
                      <a:pt x="30" y="14"/>
                      <a:pt x="30" y="14"/>
                    </a:cubicBezTo>
                    <a:cubicBezTo>
                      <a:pt x="30" y="14"/>
                      <a:pt x="30" y="14"/>
                      <a:pt x="29" y="14"/>
                    </a:cubicBezTo>
                    <a:cubicBezTo>
                      <a:pt x="29" y="14"/>
                      <a:pt x="29" y="13"/>
                      <a:pt x="29" y="13"/>
                    </a:cubicBezTo>
                    <a:cubicBezTo>
                      <a:pt x="29" y="13"/>
                      <a:pt x="29" y="13"/>
                      <a:pt x="29" y="12"/>
                    </a:cubicBezTo>
                    <a:cubicBezTo>
                      <a:pt x="29" y="12"/>
                      <a:pt x="29" y="12"/>
                      <a:pt x="29" y="11"/>
                    </a:cubicBezTo>
                    <a:cubicBezTo>
                      <a:pt x="29" y="11"/>
                      <a:pt x="29" y="11"/>
                      <a:pt x="29" y="10"/>
                    </a:cubicBezTo>
                    <a:cubicBezTo>
                      <a:pt x="29" y="10"/>
                      <a:pt x="29" y="10"/>
                      <a:pt x="28" y="10"/>
                    </a:cubicBezTo>
                    <a:cubicBezTo>
                      <a:pt x="29" y="9"/>
                      <a:pt x="29" y="9"/>
                      <a:pt x="29" y="9"/>
                    </a:cubicBezTo>
                    <a:cubicBezTo>
                      <a:pt x="29" y="9"/>
                      <a:pt x="29" y="9"/>
                      <a:pt x="29" y="9"/>
                    </a:cubicBezTo>
                    <a:cubicBezTo>
                      <a:pt x="30" y="8"/>
                      <a:pt x="30" y="8"/>
                      <a:pt x="30" y="8"/>
                    </a:cubicBezTo>
                    <a:cubicBezTo>
                      <a:pt x="30" y="8"/>
                      <a:pt x="30" y="8"/>
                      <a:pt x="30" y="7"/>
                    </a:cubicBezTo>
                    <a:cubicBezTo>
                      <a:pt x="31" y="7"/>
                      <a:pt x="31" y="7"/>
                      <a:pt x="31" y="7"/>
                    </a:cubicBezTo>
                    <a:cubicBezTo>
                      <a:pt x="31" y="6"/>
                      <a:pt x="31" y="6"/>
                      <a:pt x="31" y="6"/>
                    </a:cubicBezTo>
                    <a:cubicBezTo>
                      <a:pt x="31" y="5"/>
                      <a:pt x="31" y="4"/>
                      <a:pt x="31" y="3"/>
                    </a:cubicBezTo>
                    <a:cubicBezTo>
                      <a:pt x="31" y="3"/>
                      <a:pt x="31" y="3"/>
                      <a:pt x="31" y="3"/>
                    </a:cubicBezTo>
                    <a:cubicBezTo>
                      <a:pt x="31" y="2"/>
                      <a:pt x="31" y="2"/>
                      <a:pt x="31" y="2"/>
                    </a:cubicBezTo>
                    <a:cubicBezTo>
                      <a:pt x="31" y="1"/>
                      <a:pt x="32" y="1"/>
                      <a:pt x="32" y="0"/>
                    </a:cubicBezTo>
                    <a:cubicBezTo>
                      <a:pt x="32" y="0"/>
                      <a:pt x="32" y="0"/>
                      <a:pt x="32" y="0"/>
                    </a:cubicBezTo>
                    <a:cubicBezTo>
                      <a:pt x="31" y="0"/>
                      <a:pt x="30" y="1"/>
                      <a:pt x="30" y="1"/>
                    </a:cubicBezTo>
                    <a:cubicBezTo>
                      <a:pt x="29" y="2"/>
                      <a:pt x="26" y="4"/>
                      <a:pt x="25" y="3"/>
                    </a:cubicBezTo>
                    <a:cubicBezTo>
                      <a:pt x="24" y="3"/>
                      <a:pt x="24" y="3"/>
                      <a:pt x="22" y="2"/>
                    </a:cubicBezTo>
                    <a:cubicBezTo>
                      <a:pt x="19" y="1"/>
                      <a:pt x="19" y="1"/>
                      <a:pt x="19" y="3"/>
                    </a:cubicBezTo>
                    <a:cubicBezTo>
                      <a:pt x="19" y="5"/>
                      <a:pt x="18" y="7"/>
                      <a:pt x="17" y="9"/>
                    </a:cubicBezTo>
                    <a:cubicBezTo>
                      <a:pt x="16" y="11"/>
                      <a:pt x="13" y="13"/>
                      <a:pt x="11" y="15"/>
                    </a:cubicBezTo>
                    <a:cubicBezTo>
                      <a:pt x="10" y="17"/>
                      <a:pt x="10" y="16"/>
                      <a:pt x="9" y="19"/>
                    </a:cubicBezTo>
                    <a:cubicBezTo>
                      <a:pt x="8" y="21"/>
                      <a:pt x="4" y="23"/>
                      <a:pt x="3" y="25"/>
                    </a:cubicBezTo>
                    <a:cubicBezTo>
                      <a:pt x="2" y="26"/>
                      <a:pt x="2" y="28"/>
                      <a:pt x="2" y="30"/>
                    </a:cubicBezTo>
                    <a:cubicBezTo>
                      <a:pt x="2" y="32"/>
                      <a:pt x="3" y="31"/>
                      <a:pt x="2" y="34"/>
                    </a:cubicBezTo>
                    <a:cubicBezTo>
                      <a:pt x="0" y="36"/>
                      <a:pt x="2" y="36"/>
                      <a:pt x="3" y="35"/>
                    </a:cubicBezTo>
                    <a:cubicBezTo>
                      <a:pt x="5" y="34"/>
                      <a:pt x="5" y="31"/>
                      <a:pt x="7" y="30"/>
                    </a:cubicBezTo>
                    <a:cubicBezTo>
                      <a:pt x="9" y="28"/>
                      <a:pt x="9" y="28"/>
                      <a:pt x="12" y="27"/>
                    </a:cubicBezTo>
                    <a:cubicBezTo>
                      <a:pt x="15" y="27"/>
                      <a:pt x="15" y="27"/>
                      <a:pt x="15" y="30"/>
                    </a:cubicBezTo>
                    <a:cubicBezTo>
                      <a:pt x="15" y="32"/>
                      <a:pt x="14" y="34"/>
                      <a:pt x="16" y="36"/>
                    </a:cubicBezTo>
                    <a:cubicBezTo>
                      <a:pt x="17" y="38"/>
                      <a:pt x="19" y="42"/>
                      <a:pt x="19" y="42"/>
                    </a:cubicBezTo>
                    <a:cubicBezTo>
                      <a:pt x="19" y="42"/>
                      <a:pt x="20" y="42"/>
                      <a:pt x="21" y="42"/>
                    </a:cubicBezTo>
                    <a:cubicBezTo>
                      <a:pt x="22" y="42"/>
                      <a:pt x="22" y="44"/>
                      <a:pt x="24" y="42"/>
                    </a:cubicBezTo>
                    <a:cubicBezTo>
                      <a:pt x="27" y="40"/>
                      <a:pt x="29" y="40"/>
                      <a:pt x="31" y="41"/>
                    </a:cubicBezTo>
                    <a:cubicBezTo>
                      <a:pt x="33" y="42"/>
                      <a:pt x="33" y="43"/>
                      <a:pt x="35" y="41"/>
                    </a:cubicBezTo>
                    <a:cubicBezTo>
                      <a:pt x="36" y="39"/>
                      <a:pt x="38" y="38"/>
                      <a:pt x="39" y="36"/>
                    </a:cubicBezTo>
                    <a:cubicBezTo>
                      <a:pt x="40" y="35"/>
                      <a:pt x="37" y="34"/>
                      <a:pt x="39" y="33"/>
                    </a:cubicBezTo>
                    <a:cubicBezTo>
                      <a:pt x="41" y="31"/>
                      <a:pt x="44" y="28"/>
                      <a:pt x="44" y="29"/>
                    </a:cubicBezTo>
                    <a:cubicBezTo>
                      <a:pt x="44" y="31"/>
                      <a:pt x="44" y="32"/>
                      <a:pt x="45" y="34"/>
                    </a:cubicBezTo>
                    <a:cubicBezTo>
                      <a:pt x="46" y="35"/>
                      <a:pt x="48" y="37"/>
                      <a:pt x="49" y="37"/>
                    </a:cubicBezTo>
                    <a:cubicBezTo>
                      <a:pt x="50" y="37"/>
                      <a:pt x="51" y="38"/>
                      <a:pt x="52" y="40"/>
                    </a:cubicBezTo>
                    <a:cubicBezTo>
                      <a:pt x="52" y="42"/>
                      <a:pt x="52" y="44"/>
                      <a:pt x="54" y="43"/>
                    </a:cubicBezTo>
                    <a:cubicBezTo>
                      <a:pt x="56" y="42"/>
                      <a:pt x="56" y="40"/>
                      <a:pt x="56" y="38"/>
                    </a:cubicBezTo>
                    <a:cubicBezTo>
                      <a:pt x="57" y="35"/>
                      <a:pt x="59" y="34"/>
                      <a:pt x="60" y="32"/>
                    </a:cubicBezTo>
                    <a:cubicBezTo>
                      <a:pt x="61" y="30"/>
                      <a:pt x="60" y="27"/>
                      <a:pt x="61" y="27"/>
                    </a:cubicBezTo>
                    <a:cubicBezTo>
                      <a:pt x="63" y="26"/>
                      <a:pt x="63" y="30"/>
                      <a:pt x="64" y="31"/>
                    </a:cubicBezTo>
                    <a:cubicBezTo>
                      <a:pt x="65" y="32"/>
                      <a:pt x="66" y="33"/>
                      <a:pt x="68" y="31"/>
                    </a:cubicBezTo>
                    <a:cubicBezTo>
                      <a:pt x="70" y="30"/>
                      <a:pt x="71" y="30"/>
                      <a:pt x="72" y="31"/>
                    </a:cubicBezTo>
                    <a:cubicBezTo>
                      <a:pt x="73" y="31"/>
                      <a:pt x="74" y="35"/>
                      <a:pt x="75" y="33"/>
                    </a:cubicBezTo>
                    <a:cubicBezTo>
                      <a:pt x="75" y="32"/>
                      <a:pt x="76" y="32"/>
                      <a:pt x="76" y="31"/>
                    </a:cubicBezTo>
                    <a:cubicBezTo>
                      <a:pt x="76" y="31"/>
                      <a:pt x="76" y="31"/>
                      <a:pt x="76" y="31"/>
                    </a:cubicBezTo>
                    <a:close/>
                  </a:path>
                </a:pathLst>
              </a:custGeom>
              <a:solidFill>
                <a:schemeClr val="bg2">
                  <a:lumMod val="40000"/>
                  <a:lumOff val="60000"/>
                </a:schemeClr>
              </a:solid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284" name="Freeform 205"/>
              <p:cNvSpPr>
                <a:spLocks/>
              </p:cNvSpPr>
              <p:nvPr/>
            </p:nvSpPr>
            <p:spPr bwMode="gray">
              <a:xfrm>
                <a:off x="2465" y="3045"/>
                <a:ext cx="315" cy="192"/>
              </a:xfrm>
              <a:custGeom>
                <a:avLst/>
                <a:gdLst>
                  <a:gd name="T0" fmla="*/ 119 w 120"/>
                  <a:gd name="T1" fmla="*/ 13 h 73"/>
                  <a:gd name="T2" fmla="*/ 113 w 120"/>
                  <a:gd name="T3" fmla="*/ 11 h 73"/>
                  <a:gd name="T4" fmla="*/ 110 w 120"/>
                  <a:gd name="T5" fmla="*/ 8 h 73"/>
                  <a:gd name="T6" fmla="*/ 105 w 120"/>
                  <a:gd name="T7" fmla="*/ 6 h 73"/>
                  <a:gd name="T8" fmla="*/ 97 w 120"/>
                  <a:gd name="T9" fmla="*/ 4 h 73"/>
                  <a:gd name="T10" fmla="*/ 93 w 120"/>
                  <a:gd name="T11" fmla="*/ 2 h 73"/>
                  <a:gd name="T12" fmla="*/ 87 w 120"/>
                  <a:gd name="T13" fmla="*/ 3 h 73"/>
                  <a:gd name="T14" fmla="*/ 79 w 120"/>
                  <a:gd name="T15" fmla="*/ 1 h 73"/>
                  <a:gd name="T16" fmla="*/ 73 w 120"/>
                  <a:gd name="T17" fmla="*/ 7 h 73"/>
                  <a:gd name="T18" fmla="*/ 66 w 120"/>
                  <a:gd name="T19" fmla="*/ 10 h 73"/>
                  <a:gd name="T20" fmla="*/ 60 w 120"/>
                  <a:gd name="T21" fmla="*/ 11 h 73"/>
                  <a:gd name="T22" fmla="*/ 49 w 120"/>
                  <a:gd name="T23" fmla="*/ 12 h 73"/>
                  <a:gd name="T24" fmla="*/ 46 w 120"/>
                  <a:gd name="T25" fmla="*/ 18 h 73"/>
                  <a:gd name="T26" fmla="*/ 40 w 120"/>
                  <a:gd name="T27" fmla="*/ 22 h 73"/>
                  <a:gd name="T28" fmla="*/ 26 w 120"/>
                  <a:gd name="T29" fmla="*/ 22 h 73"/>
                  <a:gd name="T30" fmla="*/ 18 w 120"/>
                  <a:gd name="T31" fmla="*/ 15 h 73"/>
                  <a:gd name="T32" fmla="*/ 16 w 120"/>
                  <a:gd name="T33" fmla="*/ 13 h 73"/>
                  <a:gd name="T34" fmla="*/ 16 w 120"/>
                  <a:gd name="T35" fmla="*/ 13 h 73"/>
                  <a:gd name="T36" fmla="*/ 16 w 120"/>
                  <a:gd name="T37" fmla="*/ 13 h 73"/>
                  <a:gd name="T38" fmla="*/ 15 w 120"/>
                  <a:gd name="T39" fmla="*/ 18 h 73"/>
                  <a:gd name="T40" fmla="*/ 14 w 120"/>
                  <a:gd name="T41" fmla="*/ 22 h 73"/>
                  <a:gd name="T42" fmla="*/ 9 w 120"/>
                  <a:gd name="T43" fmla="*/ 22 h 73"/>
                  <a:gd name="T44" fmla="*/ 5 w 120"/>
                  <a:gd name="T45" fmla="*/ 23 h 73"/>
                  <a:gd name="T46" fmla="*/ 8 w 120"/>
                  <a:gd name="T47" fmla="*/ 26 h 73"/>
                  <a:gd name="T48" fmla="*/ 8 w 120"/>
                  <a:gd name="T49" fmla="*/ 28 h 73"/>
                  <a:gd name="T50" fmla="*/ 5 w 120"/>
                  <a:gd name="T51" fmla="*/ 32 h 73"/>
                  <a:gd name="T52" fmla="*/ 5 w 120"/>
                  <a:gd name="T53" fmla="*/ 38 h 73"/>
                  <a:gd name="T54" fmla="*/ 3 w 120"/>
                  <a:gd name="T55" fmla="*/ 41 h 73"/>
                  <a:gd name="T56" fmla="*/ 1 w 120"/>
                  <a:gd name="T57" fmla="*/ 44 h 73"/>
                  <a:gd name="T58" fmla="*/ 0 w 120"/>
                  <a:gd name="T59" fmla="*/ 43 h 73"/>
                  <a:gd name="T60" fmla="*/ 3 w 120"/>
                  <a:gd name="T61" fmla="*/ 47 h 73"/>
                  <a:gd name="T62" fmla="*/ 5 w 120"/>
                  <a:gd name="T63" fmla="*/ 53 h 73"/>
                  <a:gd name="T64" fmla="*/ 9 w 120"/>
                  <a:gd name="T65" fmla="*/ 54 h 73"/>
                  <a:gd name="T66" fmla="*/ 13 w 120"/>
                  <a:gd name="T67" fmla="*/ 59 h 73"/>
                  <a:gd name="T68" fmla="*/ 18 w 120"/>
                  <a:gd name="T69" fmla="*/ 63 h 73"/>
                  <a:gd name="T70" fmla="*/ 22 w 120"/>
                  <a:gd name="T71" fmla="*/ 67 h 73"/>
                  <a:gd name="T72" fmla="*/ 27 w 120"/>
                  <a:gd name="T73" fmla="*/ 69 h 73"/>
                  <a:gd name="T74" fmla="*/ 32 w 120"/>
                  <a:gd name="T75" fmla="*/ 71 h 73"/>
                  <a:gd name="T76" fmla="*/ 40 w 120"/>
                  <a:gd name="T77" fmla="*/ 72 h 73"/>
                  <a:gd name="T78" fmla="*/ 45 w 120"/>
                  <a:gd name="T79" fmla="*/ 70 h 73"/>
                  <a:gd name="T80" fmla="*/ 48 w 120"/>
                  <a:gd name="T81" fmla="*/ 68 h 73"/>
                  <a:gd name="T82" fmla="*/ 53 w 120"/>
                  <a:gd name="T83" fmla="*/ 66 h 73"/>
                  <a:gd name="T84" fmla="*/ 58 w 120"/>
                  <a:gd name="T85" fmla="*/ 65 h 73"/>
                  <a:gd name="T86" fmla="*/ 63 w 120"/>
                  <a:gd name="T87" fmla="*/ 62 h 73"/>
                  <a:gd name="T88" fmla="*/ 69 w 120"/>
                  <a:gd name="T89" fmla="*/ 62 h 73"/>
                  <a:gd name="T90" fmla="*/ 75 w 120"/>
                  <a:gd name="T91" fmla="*/ 64 h 73"/>
                  <a:gd name="T92" fmla="*/ 80 w 120"/>
                  <a:gd name="T93" fmla="*/ 62 h 73"/>
                  <a:gd name="T94" fmla="*/ 84 w 120"/>
                  <a:gd name="T95" fmla="*/ 60 h 73"/>
                  <a:gd name="T96" fmla="*/ 88 w 120"/>
                  <a:gd name="T97" fmla="*/ 59 h 73"/>
                  <a:gd name="T98" fmla="*/ 91 w 120"/>
                  <a:gd name="T99" fmla="*/ 55 h 73"/>
                  <a:gd name="T100" fmla="*/ 93 w 120"/>
                  <a:gd name="T101" fmla="*/ 50 h 73"/>
                  <a:gd name="T102" fmla="*/ 95 w 120"/>
                  <a:gd name="T103" fmla="*/ 48 h 73"/>
                  <a:gd name="T104" fmla="*/ 98 w 120"/>
                  <a:gd name="T105" fmla="*/ 43 h 73"/>
                  <a:gd name="T106" fmla="*/ 100 w 120"/>
                  <a:gd name="T107" fmla="*/ 36 h 73"/>
                  <a:gd name="T108" fmla="*/ 104 w 120"/>
                  <a:gd name="T109" fmla="*/ 31 h 73"/>
                  <a:gd name="T110" fmla="*/ 104 w 120"/>
                  <a:gd name="T111" fmla="*/ 26 h 73"/>
                  <a:gd name="T112" fmla="*/ 108 w 120"/>
                  <a:gd name="T113" fmla="*/ 24 h 73"/>
                  <a:gd name="T114" fmla="*/ 112 w 120"/>
                  <a:gd name="T115" fmla="*/ 21 h 73"/>
                  <a:gd name="T116" fmla="*/ 117 w 120"/>
                  <a:gd name="T117" fmla="*/ 19 h 73"/>
                  <a:gd name="T118" fmla="*/ 120 w 120"/>
                  <a:gd name="T119" fmla="*/ 15 h 73"/>
                  <a:gd name="T120" fmla="*/ 119 w 120"/>
                  <a:gd name="T121" fmla="*/ 1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 h="73">
                    <a:moveTo>
                      <a:pt x="119" y="13"/>
                    </a:moveTo>
                    <a:cubicBezTo>
                      <a:pt x="118" y="11"/>
                      <a:pt x="114" y="12"/>
                      <a:pt x="113" y="11"/>
                    </a:cubicBezTo>
                    <a:cubicBezTo>
                      <a:pt x="111" y="9"/>
                      <a:pt x="111" y="10"/>
                      <a:pt x="110" y="8"/>
                    </a:cubicBezTo>
                    <a:cubicBezTo>
                      <a:pt x="109" y="6"/>
                      <a:pt x="105" y="6"/>
                      <a:pt x="105" y="6"/>
                    </a:cubicBezTo>
                    <a:cubicBezTo>
                      <a:pt x="99" y="8"/>
                      <a:pt x="100" y="7"/>
                      <a:pt x="97" y="4"/>
                    </a:cubicBezTo>
                    <a:cubicBezTo>
                      <a:pt x="95" y="2"/>
                      <a:pt x="95" y="1"/>
                      <a:pt x="93" y="2"/>
                    </a:cubicBezTo>
                    <a:cubicBezTo>
                      <a:pt x="90" y="2"/>
                      <a:pt x="88" y="2"/>
                      <a:pt x="87" y="3"/>
                    </a:cubicBezTo>
                    <a:cubicBezTo>
                      <a:pt x="85" y="3"/>
                      <a:pt x="82" y="0"/>
                      <a:pt x="79" y="1"/>
                    </a:cubicBezTo>
                    <a:cubicBezTo>
                      <a:pt x="76" y="1"/>
                      <a:pt x="74" y="4"/>
                      <a:pt x="73" y="7"/>
                    </a:cubicBezTo>
                    <a:cubicBezTo>
                      <a:pt x="73" y="10"/>
                      <a:pt x="69" y="12"/>
                      <a:pt x="66" y="10"/>
                    </a:cubicBezTo>
                    <a:cubicBezTo>
                      <a:pt x="63" y="8"/>
                      <a:pt x="62" y="10"/>
                      <a:pt x="60" y="11"/>
                    </a:cubicBezTo>
                    <a:cubicBezTo>
                      <a:pt x="57" y="12"/>
                      <a:pt x="53" y="13"/>
                      <a:pt x="49" y="12"/>
                    </a:cubicBezTo>
                    <a:cubicBezTo>
                      <a:pt x="45" y="12"/>
                      <a:pt x="45" y="16"/>
                      <a:pt x="46" y="18"/>
                    </a:cubicBezTo>
                    <a:cubicBezTo>
                      <a:pt x="47" y="21"/>
                      <a:pt x="44" y="21"/>
                      <a:pt x="40" y="22"/>
                    </a:cubicBezTo>
                    <a:cubicBezTo>
                      <a:pt x="36" y="22"/>
                      <a:pt x="29" y="22"/>
                      <a:pt x="26" y="22"/>
                    </a:cubicBezTo>
                    <a:cubicBezTo>
                      <a:pt x="24" y="21"/>
                      <a:pt x="20" y="16"/>
                      <a:pt x="18" y="15"/>
                    </a:cubicBezTo>
                    <a:cubicBezTo>
                      <a:pt x="17" y="14"/>
                      <a:pt x="16" y="14"/>
                      <a:pt x="16" y="13"/>
                    </a:cubicBezTo>
                    <a:cubicBezTo>
                      <a:pt x="16" y="13"/>
                      <a:pt x="16" y="13"/>
                      <a:pt x="16" y="13"/>
                    </a:cubicBezTo>
                    <a:cubicBezTo>
                      <a:pt x="16" y="13"/>
                      <a:pt x="16" y="13"/>
                      <a:pt x="16" y="13"/>
                    </a:cubicBezTo>
                    <a:cubicBezTo>
                      <a:pt x="16" y="13"/>
                      <a:pt x="16" y="17"/>
                      <a:pt x="15" y="18"/>
                    </a:cubicBezTo>
                    <a:cubicBezTo>
                      <a:pt x="14" y="19"/>
                      <a:pt x="15" y="21"/>
                      <a:pt x="14" y="22"/>
                    </a:cubicBezTo>
                    <a:cubicBezTo>
                      <a:pt x="14" y="23"/>
                      <a:pt x="11" y="24"/>
                      <a:pt x="9" y="22"/>
                    </a:cubicBezTo>
                    <a:cubicBezTo>
                      <a:pt x="8" y="21"/>
                      <a:pt x="5" y="22"/>
                      <a:pt x="5" y="23"/>
                    </a:cubicBezTo>
                    <a:cubicBezTo>
                      <a:pt x="4" y="25"/>
                      <a:pt x="7" y="25"/>
                      <a:pt x="8" y="26"/>
                    </a:cubicBezTo>
                    <a:cubicBezTo>
                      <a:pt x="9" y="26"/>
                      <a:pt x="9" y="27"/>
                      <a:pt x="8" y="28"/>
                    </a:cubicBezTo>
                    <a:cubicBezTo>
                      <a:pt x="7" y="29"/>
                      <a:pt x="5" y="30"/>
                      <a:pt x="5" y="32"/>
                    </a:cubicBezTo>
                    <a:cubicBezTo>
                      <a:pt x="4" y="34"/>
                      <a:pt x="5" y="35"/>
                      <a:pt x="5" y="38"/>
                    </a:cubicBezTo>
                    <a:cubicBezTo>
                      <a:pt x="6" y="41"/>
                      <a:pt x="6" y="40"/>
                      <a:pt x="3" y="41"/>
                    </a:cubicBezTo>
                    <a:cubicBezTo>
                      <a:pt x="2" y="42"/>
                      <a:pt x="1" y="43"/>
                      <a:pt x="1" y="44"/>
                    </a:cubicBezTo>
                    <a:cubicBezTo>
                      <a:pt x="0" y="43"/>
                      <a:pt x="0" y="43"/>
                      <a:pt x="0" y="43"/>
                    </a:cubicBezTo>
                    <a:cubicBezTo>
                      <a:pt x="1" y="44"/>
                      <a:pt x="2" y="45"/>
                      <a:pt x="3" y="47"/>
                    </a:cubicBezTo>
                    <a:cubicBezTo>
                      <a:pt x="4" y="49"/>
                      <a:pt x="4" y="52"/>
                      <a:pt x="5" y="53"/>
                    </a:cubicBezTo>
                    <a:cubicBezTo>
                      <a:pt x="6" y="53"/>
                      <a:pt x="8" y="53"/>
                      <a:pt x="9" y="54"/>
                    </a:cubicBezTo>
                    <a:cubicBezTo>
                      <a:pt x="11" y="56"/>
                      <a:pt x="12" y="57"/>
                      <a:pt x="13" y="59"/>
                    </a:cubicBezTo>
                    <a:cubicBezTo>
                      <a:pt x="14" y="61"/>
                      <a:pt x="16" y="61"/>
                      <a:pt x="18" y="63"/>
                    </a:cubicBezTo>
                    <a:cubicBezTo>
                      <a:pt x="20" y="64"/>
                      <a:pt x="20" y="67"/>
                      <a:pt x="22" y="67"/>
                    </a:cubicBezTo>
                    <a:cubicBezTo>
                      <a:pt x="23" y="67"/>
                      <a:pt x="25" y="67"/>
                      <a:pt x="27" y="69"/>
                    </a:cubicBezTo>
                    <a:cubicBezTo>
                      <a:pt x="28" y="71"/>
                      <a:pt x="28" y="71"/>
                      <a:pt x="32" y="71"/>
                    </a:cubicBezTo>
                    <a:cubicBezTo>
                      <a:pt x="36" y="70"/>
                      <a:pt x="38" y="71"/>
                      <a:pt x="40" y="72"/>
                    </a:cubicBezTo>
                    <a:cubicBezTo>
                      <a:pt x="42" y="73"/>
                      <a:pt x="44" y="71"/>
                      <a:pt x="45" y="70"/>
                    </a:cubicBezTo>
                    <a:cubicBezTo>
                      <a:pt x="46" y="68"/>
                      <a:pt x="46" y="68"/>
                      <a:pt x="48" y="68"/>
                    </a:cubicBezTo>
                    <a:cubicBezTo>
                      <a:pt x="48" y="68"/>
                      <a:pt x="51" y="67"/>
                      <a:pt x="53" y="66"/>
                    </a:cubicBezTo>
                    <a:cubicBezTo>
                      <a:pt x="54" y="66"/>
                      <a:pt x="56" y="67"/>
                      <a:pt x="58" y="65"/>
                    </a:cubicBezTo>
                    <a:cubicBezTo>
                      <a:pt x="60" y="63"/>
                      <a:pt x="61" y="62"/>
                      <a:pt x="63" y="62"/>
                    </a:cubicBezTo>
                    <a:cubicBezTo>
                      <a:pt x="65" y="62"/>
                      <a:pt x="67" y="63"/>
                      <a:pt x="69" y="62"/>
                    </a:cubicBezTo>
                    <a:cubicBezTo>
                      <a:pt x="70" y="62"/>
                      <a:pt x="73" y="63"/>
                      <a:pt x="75" y="64"/>
                    </a:cubicBezTo>
                    <a:cubicBezTo>
                      <a:pt x="75" y="64"/>
                      <a:pt x="78" y="62"/>
                      <a:pt x="80" y="62"/>
                    </a:cubicBezTo>
                    <a:cubicBezTo>
                      <a:pt x="81" y="62"/>
                      <a:pt x="83" y="61"/>
                      <a:pt x="84" y="60"/>
                    </a:cubicBezTo>
                    <a:cubicBezTo>
                      <a:pt x="85" y="59"/>
                      <a:pt x="87" y="59"/>
                      <a:pt x="88" y="59"/>
                    </a:cubicBezTo>
                    <a:cubicBezTo>
                      <a:pt x="90" y="59"/>
                      <a:pt x="90" y="57"/>
                      <a:pt x="91" y="55"/>
                    </a:cubicBezTo>
                    <a:cubicBezTo>
                      <a:pt x="92" y="53"/>
                      <a:pt x="92" y="51"/>
                      <a:pt x="93" y="50"/>
                    </a:cubicBezTo>
                    <a:cubicBezTo>
                      <a:pt x="94" y="49"/>
                      <a:pt x="95" y="50"/>
                      <a:pt x="95" y="48"/>
                    </a:cubicBezTo>
                    <a:cubicBezTo>
                      <a:pt x="95" y="46"/>
                      <a:pt x="96" y="44"/>
                      <a:pt x="98" y="43"/>
                    </a:cubicBezTo>
                    <a:cubicBezTo>
                      <a:pt x="99" y="42"/>
                      <a:pt x="99" y="38"/>
                      <a:pt x="100" y="36"/>
                    </a:cubicBezTo>
                    <a:cubicBezTo>
                      <a:pt x="102" y="35"/>
                      <a:pt x="104" y="32"/>
                      <a:pt x="104" y="31"/>
                    </a:cubicBezTo>
                    <a:cubicBezTo>
                      <a:pt x="105" y="29"/>
                      <a:pt x="104" y="27"/>
                      <a:pt x="104" y="26"/>
                    </a:cubicBezTo>
                    <a:cubicBezTo>
                      <a:pt x="105" y="25"/>
                      <a:pt x="106" y="25"/>
                      <a:pt x="108" y="24"/>
                    </a:cubicBezTo>
                    <a:cubicBezTo>
                      <a:pt x="109" y="22"/>
                      <a:pt x="110" y="21"/>
                      <a:pt x="112" y="21"/>
                    </a:cubicBezTo>
                    <a:cubicBezTo>
                      <a:pt x="114" y="21"/>
                      <a:pt x="116" y="19"/>
                      <a:pt x="117" y="19"/>
                    </a:cubicBezTo>
                    <a:cubicBezTo>
                      <a:pt x="118" y="18"/>
                      <a:pt x="120" y="15"/>
                      <a:pt x="120" y="15"/>
                    </a:cubicBezTo>
                    <a:cubicBezTo>
                      <a:pt x="120" y="15"/>
                      <a:pt x="120" y="15"/>
                      <a:pt x="119" y="13"/>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grpSp>
        <p:sp>
          <p:nvSpPr>
            <p:cNvPr id="78" name="Freeform 207"/>
            <p:cNvSpPr>
              <a:spLocks/>
            </p:cNvSpPr>
            <p:nvPr/>
          </p:nvSpPr>
          <p:spPr bwMode="gray">
            <a:xfrm>
              <a:off x="2469381" y="4793134"/>
              <a:ext cx="3175" cy="3175"/>
            </a:xfrm>
            <a:custGeom>
              <a:avLst/>
              <a:gdLst>
                <a:gd name="T0" fmla="*/ 1 w 1"/>
                <a:gd name="T1" fmla="*/ 0 h 1"/>
                <a:gd name="T2" fmla="*/ 0 w 1"/>
                <a:gd name="T3" fmla="*/ 0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0"/>
                    <a:pt x="0" y="0"/>
                  </a:cubicBezTo>
                  <a:cubicBezTo>
                    <a:pt x="0" y="0"/>
                    <a:pt x="0" y="0"/>
                    <a:pt x="1" y="1"/>
                  </a:cubicBezTo>
                  <a:cubicBezTo>
                    <a:pt x="1" y="1"/>
                    <a:pt x="1" y="1"/>
                    <a:pt x="1" y="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79" name="Freeform 208"/>
            <p:cNvSpPr>
              <a:spLocks/>
            </p:cNvSpPr>
            <p:nvPr/>
          </p:nvSpPr>
          <p:spPr bwMode="gray">
            <a:xfrm>
              <a:off x="2251894" y="4793134"/>
              <a:ext cx="238125" cy="166687"/>
            </a:xfrm>
            <a:custGeom>
              <a:avLst/>
              <a:gdLst>
                <a:gd name="T0" fmla="*/ 57 w 57"/>
                <a:gd name="T1" fmla="*/ 10 h 40"/>
                <a:gd name="T2" fmla="*/ 55 w 57"/>
                <a:gd name="T3" fmla="*/ 4 h 40"/>
                <a:gd name="T4" fmla="*/ 52 w 57"/>
                <a:gd name="T5" fmla="*/ 0 h 40"/>
                <a:gd name="T6" fmla="*/ 49 w 57"/>
                <a:gd name="T7" fmla="*/ 1 h 40"/>
                <a:gd name="T8" fmla="*/ 50 w 57"/>
                <a:gd name="T9" fmla="*/ 7 h 40"/>
                <a:gd name="T10" fmla="*/ 45 w 57"/>
                <a:gd name="T11" fmla="*/ 4 h 40"/>
                <a:gd name="T12" fmla="*/ 41 w 57"/>
                <a:gd name="T13" fmla="*/ 6 h 40"/>
                <a:gd name="T14" fmla="*/ 37 w 57"/>
                <a:gd name="T15" fmla="*/ 7 h 40"/>
                <a:gd name="T16" fmla="*/ 31 w 57"/>
                <a:gd name="T17" fmla="*/ 7 h 40"/>
                <a:gd name="T18" fmla="*/ 26 w 57"/>
                <a:gd name="T19" fmla="*/ 10 h 40"/>
                <a:gd name="T20" fmla="*/ 22 w 57"/>
                <a:gd name="T21" fmla="*/ 13 h 40"/>
                <a:gd name="T22" fmla="*/ 14 w 57"/>
                <a:gd name="T23" fmla="*/ 11 h 40"/>
                <a:gd name="T24" fmla="*/ 8 w 57"/>
                <a:gd name="T25" fmla="*/ 10 h 40"/>
                <a:gd name="T26" fmla="*/ 2 w 57"/>
                <a:gd name="T27" fmla="*/ 14 h 40"/>
                <a:gd name="T28" fmla="*/ 4 w 57"/>
                <a:gd name="T29" fmla="*/ 17 h 40"/>
                <a:gd name="T30" fmla="*/ 7 w 57"/>
                <a:gd name="T31" fmla="*/ 19 h 40"/>
                <a:gd name="T32" fmla="*/ 4 w 57"/>
                <a:gd name="T33" fmla="*/ 22 h 40"/>
                <a:gd name="T34" fmla="*/ 5 w 57"/>
                <a:gd name="T35" fmla="*/ 27 h 40"/>
                <a:gd name="T36" fmla="*/ 7 w 57"/>
                <a:gd name="T37" fmla="*/ 30 h 40"/>
                <a:gd name="T38" fmla="*/ 8 w 57"/>
                <a:gd name="T39" fmla="*/ 34 h 40"/>
                <a:gd name="T40" fmla="*/ 4 w 57"/>
                <a:gd name="T41" fmla="*/ 37 h 40"/>
                <a:gd name="T42" fmla="*/ 5 w 57"/>
                <a:gd name="T43" fmla="*/ 37 h 40"/>
                <a:gd name="T44" fmla="*/ 12 w 57"/>
                <a:gd name="T45" fmla="*/ 37 h 40"/>
                <a:gd name="T46" fmla="*/ 18 w 57"/>
                <a:gd name="T47" fmla="*/ 36 h 40"/>
                <a:gd name="T48" fmla="*/ 23 w 57"/>
                <a:gd name="T49" fmla="*/ 33 h 40"/>
                <a:gd name="T50" fmla="*/ 25 w 57"/>
                <a:gd name="T51" fmla="*/ 34 h 40"/>
                <a:gd name="T52" fmla="*/ 30 w 57"/>
                <a:gd name="T53" fmla="*/ 36 h 40"/>
                <a:gd name="T54" fmla="*/ 36 w 57"/>
                <a:gd name="T55" fmla="*/ 38 h 40"/>
                <a:gd name="T56" fmla="*/ 37 w 57"/>
                <a:gd name="T57" fmla="*/ 31 h 40"/>
                <a:gd name="T58" fmla="*/ 41 w 57"/>
                <a:gd name="T59" fmla="*/ 28 h 40"/>
                <a:gd name="T60" fmla="*/ 43 w 57"/>
                <a:gd name="T61" fmla="*/ 24 h 40"/>
                <a:gd name="T62" fmla="*/ 42 w 57"/>
                <a:gd name="T63" fmla="*/ 17 h 40"/>
                <a:gd name="T64" fmla="*/ 47 w 57"/>
                <a:gd name="T65" fmla="*/ 16 h 40"/>
                <a:gd name="T66" fmla="*/ 53 w 57"/>
                <a:gd name="T67" fmla="*/ 13 h 40"/>
                <a:gd name="T68" fmla="*/ 55 w 57"/>
                <a:gd name="T69" fmla="*/ 9 h 40"/>
                <a:gd name="T70" fmla="*/ 57 w 57"/>
                <a:gd name="T71" fmla="*/ 10 h 40"/>
                <a:gd name="T72" fmla="*/ 57 w 57"/>
                <a:gd name="T73"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 h="40">
                  <a:moveTo>
                    <a:pt x="57" y="10"/>
                  </a:moveTo>
                  <a:cubicBezTo>
                    <a:pt x="56" y="9"/>
                    <a:pt x="56" y="6"/>
                    <a:pt x="55" y="4"/>
                  </a:cubicBezTo>
                  <a:cubicBezTo>
                    <a:pt x="54" y="2"/>
                    <a:pt x="53" y="1"/>
                    <a:pt x="52" y="0"/>
                  </a:cubicBezTo>
                  <a:cubicBezTo>
                    <a:pt x="52" y="0"/>
                    <a:pt x="49" y="0"/>
                    <a:pt x="49" y="1"/>
                  </a:cubicBezTo>
                  <a:cubicBezTo>
                    <a:pt x="48" y="3"/>
                    <a:pt x="51" y="7"/>
                    <a:pt x="50" y="7"/>
                  </a:cubicBezTo>
                  <a:cubicBezTo>
                    <a:pt x="48" y="6"/>
                    <a:pt x="46" y="4"/>
                    <a:pt x="45" y="4"/>
                  </a:cubicBezTo>
                  <a:cubicBezTo>
                    <a:pt x="43" y="4"/>
                    <a:pt x="42" y="5"/>
                    <a:pt x="41" y="6"/>
                  </a:cubicBezTo>
                  <a:cubicBezTo>
                    <a:pt x="40" y="7"/>
                    <a:pt x="38" y="7"/>
                    <a:pt x="37" y="7"/>
                  </a:cubicBezTo>
                  <a:cubicBezTo>
                    <a:pt x="36" y="6"/>
                    <a:pt x="32" y="6"/>
                    <a:pt x="31" y="7"/>
                  </a:cubicBezTo>
                  <a:cubicBezTo>
                    <a:pt x="29" y="8"/>
                    <a:pt x="27" y="9"/>
                    <a:pt x="26" y="10"/>
                  </a:cubicBezTo>
                  <a:cubicBezTo>
                    <a:pt x="25" y="11"/>
                    <a:pt x="24" y="13"/>
                    <a:pt x="22" y="13"/>
                  </a:cubicBezTo>
                  <a:cubicBezTo>
                    <a:pt x="20" y="13"/>
                    <a:pt x="16" y="12"/>
                    <a:pt x="14" y="11"/>
                  </a:cubicBezTo>
                  <a:cubicBezTo>
                    <a:pt x="12" y="10"/>
                    <a:pt x="10" y="10"/>
                    <a:pt x="8" y="10"/>
                  </a:cubicBezTo>
                  <a:cubicBezTo>
                    <a:pt x="6" y="11"/>
                    <a:pt x="3" y="13"/>
                    <a:pt x="2" y="14"/>
                  </a:cubicBezTo>
                  <a:cubicBezTo>
                    <a:pt x="0" y="16"/>
                    <a:pt x="2" y="17"/>
                    <a:pt x="4" y="17"/>
                  </a:cubicBezTo>
                  <a:cubicBezTo>
                    <a:pt x="5" y="17"/>
                    <a:pt x="8" y="18"/>
                    <a:pt x="7" y="19"/>
                  </a:cubicBezTo>
                  <a:cubicBezTo>
                    <a:pt x="5" y="20"/>
                    <a:pt x="4" y="20"/>
                    <a:pt x="4" y="22"/>
                  </a:cubicBezTo>
                  <a:cubicBezTo>
                    <a:pt x="5" y="24"/>
                    <a:pt x="5" y="26"/>
                    <a:pt x="5" y="27"/>
                  </a:cubicBezTo>
                  <a:cubicBezTo>
                    <a:pt x="6" y="28"/>
                    <a:pt x="6" y="30"/>
                    <a:pt x="7" y="30"/>
                  </a:cubicBezTo>
                  <a:cubicBezTo>
                    <a:pt x="9" y="31"/>
                    <a:pt x="9" y="33"/>
                    <a:pt x="8" y="34"/>
                  </a:cubicBezTo>
                  <a:cubicBezTo>
                    <a:pt x="6" y="34"/>
                    <a:pt x="4" y="37"/>
                    <a:pt x="4" y="37"/>
                  </a:cubicBezTo>
                  <a:cubicBezTo>
                    <a:pt x="4" y="37"/>
                    <a:pt x="4" y="37"/>
                    <a:pt x="5" y="37"/>
                  </a:cubicBezTo>
                  <a:cubicBezTo>
                    <a:pt x="6" y="37"/>
                    <a:pt x="11" y="38"/>
                    <a:pt x="12" y="37"/>
                  </a:cubicBezTo>
                  <a:cubicBezTo>
                    <a:pt x="14" y="36"/>
                    <a:pt x="16" y="36"/>
                    <a:pt x="18" y="36"/>
                  </a:cubicBezTo>
                  <a:cubicBezTo>
                    <a:pt x="19" y="36"/>
                    <a:pt x="23" y="34"/>
                    <a:pt x="23" y="33"/>
                  </a:cubicBezTo>
                  <a:cubicBezTo>
                    <a:pt x="23" y="31"/>
                    <a:pt x="24" y="32"/>
                    <a:pt x="25" y="34"/>
                  </a:cubicBezTo>
                  <a:cubicBezTo>
                    <a:pt x="26" y="36"/>
                    <a:pt x="29" y="36"/>
                    <a:pt x="30" y="36"/>
                  </a:cubicBezTo>
                  <a:cubicBezTo>
                    <a:pt x="32" y="36"/>
                    <a:pt x="35" y="40"/>
                    <a:pt x="36" y="38"/>
                  </a:cubicBezTo>
                  <a:cubicBezTo>
                    <a:pt x="36" y="36"/>
                    <a:pt x="38" y="33"/>
                    <a:pt x="37" y="31"/>
                  </a:cubicBezTo>
                  <a:cubicBezTo>
                    <a:pt x="36" y="29"/>
                    <a:pt x="39" y="29"/>
                    <a:pt x="41" y="28"/>
                  </a:cubicBezTo>
                  <a:cubicBezTo>
                    <a:pt x="42" y="27"/>
                    <a:pt x="43" y="26"/>
                    <a:pt x="43" y="24"/>
                  </a:cubicBezTo>
                  <a:cubicBezTo>
                    <a:pt x="42" y="22"/>
                    <a:pt x="41" y="18"/>
                    <a:pt x="42" y="17"/>
                  </a:cubicBezTo>
                  <a:cubicBezTo>
                    <a:pt x="43" y="17"/>
                    <a:pt x="46" y="17"/>
                    <a:pt x="47" y="16"/>
                  </a:cubicBezTo>
                  <a:cubicBezTo>
                    <a:pt x="49" y="14"/>
                    <a:pt x="52" y="14"/>
                    <a:pt x="53" y="13"/>
                  </a:cubicBezTo>
                  <a:cubicBezTo>
                    <a:pt x="53" y="13"/>
                    <a:pt x="53" y="9"/>
                    <a:pt x="55" y="9"/>
                  </a:cubicBezTo>
                  <a:cubicBezTo>
                    <a:pt x="56" y="9"/>
                    <a:pt x="57" y="10"/>
                    <a:pt x="57" y="10"/>
                  </a:cubicBezTo>
                  <a:cubicBezTo>
                    <a:pt x="57" y="10"/>
                    <a:pt x="57" y="10"/>
                    <a:pt x="57" y="10"/>
                  </a:cubicBezTo>
                  <a:close/>
                </a:path>
              </a:pathLst>
            </a:custGeom>
            <a:grp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0" name="Freeform 209"/>
            <p:cNvSpPr>
              <a:spLocks/>
            </p:cNvSpPr>
            <p:nvPr/>
          </p:nvSpPr>
          <p:spPr bwMode="gray">
            <a:xfrm>
              <a:off x="3110731" y="1592734"/>
              <a:ext cx="2678113" cy="3487737"/>
            </a:xfrm>
            <a:custGeom>
              <a:avLst/>
              <a:gdLst>
                <a:gd name="T0" fmla="*/ 416 w 642"/>
                <a:gd name="T1" fmla="*/ 679 h 836"/>
                <a:gd name="T2" fmla="*/ 443 w 642"/>
                <a:gd name="T3" fmla="*/ 655 h 836"/>
                <a:gd name="T4" fmla="*/ 468 w 642"/>
                <a:gd name="T5" fmla="*/ 651 h 836"/>
                <a:gd name="T6" fmla="*/ 514 w 642"/>
                <a:gd name="T7" fmla="*/ 669 h 836"/>
                <a:gd name="T8" fmla="*/ 544 w 642"/>
                <a:gd name="T9" fmla="*/ 673 h 836"/>
                <a:gd name="T10" fmla="*/ 577 w 642"/>
                <a:gd name="T11" fmla="*/ 665 h 836"/>
                <a:gd name="T12" fmla="*/ 591 w 642"/>
                <a:gd name="T13" fmla="*/ 270 h 836"/>
                <a:gd name="T14" fmla="*/ 565 w 642"/>
                <a:gd name="T15" fmla="*/ 47 h 836"/>
                <a:gd name="T16" fmla="*/ 489 w 642"/>
                <a:gd name="T17" fmla="*/ 31 h 836"/>
                <a:gd name="T18" fmla="*/ 477 w 642"/>
                <a:gd name="T19" fmla="*/ 30 h 836"/>
                <a:gd name="T20" fmla="*/ 487 w 642"/>
                <a:gd name="T21" fmla="*/ 72 h 836"/>
                <a:gd name="T22" fmla="*/ 462 w 642"/>
                <a:gd name="T23" fmla="*/ 65 h 836"/>
                <a:gd name="T24" fmla="*/ 422 w 642"/>
                <a:gd name="T25" fmla="*/ 74 h 836"/>
                <a:gd name="T26" fmla="*/ 392 w 642"/>
                <a:gd name="T27" fmla="*/ 81 h 836"/>
                <a:gd name="T28" fmla="*/ 373 w 642"/>
                <a:gd name="T29" fmla="*/ 72 h 836"/>
                <a:gd name="T30" fmla="*/ 330 w 642"/>
                <a:gd name="T31" fmla="*/ 100 h 836"/>
                <a:gd name="T32" fmla="*/ 309 w 642"/>
                <a:gd name="T33" fmla="*/ 129 h 836"/>
                <a:gd name="T34" fmla="*/ 268 w 642"/>
                <a:gd name="T35" fmla="*/ 113 h 836"/>
                <a:gd name="T36" fmla="*/ 249 w 642"/>
                <a:gd name="T37" fmla="*/ 74 h 836"/>
                <a:gd name="T38" fmla="*/ 246 w 642"/>
                <a:gd name="T39" fmla="*/ 123 h 836"/>
                <a:gd name="T40" fmla="*/ 258 w 642"/>
                <a:gd name="T41" fmla="*/ 173 h 836"/>
                <a:gd name="T42" fmla="*/ 206 w 642"/>
                <a:gd name="T43" fmla="*/ 176 h 836"/>
                <a:gd name="T44" fmla="*/ 196 w 642"/>
                <a:gd name="T45" fmla="*/ 231 h 836"/>
                <a:gd name="T46" fmla="*/ 149 w 642"/>
                <a:gd name="T47" fmla="*/ 211 h 836"/>
                <a:gd name="T48" fmla="*/ 172 w 642"/>
                <a:gd name="T49" fmla="*/ 255 h 836"/>
                <a:gd name="T50" fmla="*/ 119 w 642"/>
                <a:gd name="T51" fmla="*/ 230 h 836"/>
                <a:gd name="T52" fmla="*/ 114 w 642"/>
                <a:gd name="T53" fmla="*/ 180 h 836"/>
                <a:gd name="T54" fmla="*/ 81 w 642"/>
                <a:gd name="T55" fmla="*/ 149 h 836"/>
                <a:gd name="T56" fmla="*/ 89 w 642"/>
                <a:gd name="T57" fmla="*/ 145 h 836"/>
                <a:gd name="T58" fmla="*/ 139 w 642"/>
                <a:gd name="T59" fmla="*/ 164 h 836"/>
                <a:gd name="T60" fmla="*/ 204 w 642"/>
                <a:gd name="T61" fmla="*/ 125 h 836"/>
                <a:gd name="T62" fmla="*/ 164 w 642"/>
                <a:gd name="T63" fmla="*/ 84 h 836"/>
                <a:gd name="T64" fmla="*/ 77 w 642"/>
                <a:gd name="T65" fmla="*/ 49 h 836"/>
                <a:gd name="T66" fmla="*/ 58 w 642"/>
                <a:gd name="T67" fmla="*/ 35 h 836"/>
                <a:gd name="T68" fmla="*/ 47 w 642"/>
                <a:gd name="T69" fmla="*/ 24 h 836"/>
                <a:gd name="T70" fmla="*/ 9 w 642"/>
                <a:gd name="T71" fmla="*/ 55 h 836"/>
                <a:gd name="T72" fmla="*/ 28 w 642"/>
                <a:gd name="T73" fmla="*/ 116 h 836"/>
                <a:gd name="T74" fmla="*/ 36 w 642"/>
                <a:gd name="T75" fmla="*/ 207 h 836"/>
                <a:gd name="T76" fmla="*/ 48 w 642"/>
                <a:gd name="T77" fmla="*/ 266 h 836"/>
                <a:gd name="T78" fmla="*/ 42 w 642"/>
                <a:gd name="T79" fmla="*/ 356 h 836"/>
                <a:gd name="T80" fmla="*/ 35 w 642"/>
                <a:gd name="T81" fmla="*/ 385 h 836"/>
                <a:gd name="T82" fmla="*/ 57 w 642"/>
                <a:gd name="T83" fmla="*/ 402 h 836"/>
                <a:gd name="T84" fmla="*/ 34 w 642"/>
                <a:gd name="T85" fmla="*/ 410 h 836"/>
                <a:gd name="T86" fmla="*/ 21 w 642"/>
                <a:gd name="T87" fmla="*/ 443 h 836"/>
                <a:gd name="T88" fmla="*/ 30 w 642"/>
                <a:gd name="T89" fmla="*/ 496 h 836"/>
                <a:gd name="T90" fmla="*/ 50 w 642"/>
                <a:gd name="T91" fmla="*/ 539 h 836"/>
                <a:gd name="T92" fmla="*/ 80 w 642"/>
                <a:gd name="T93" fmla="*/ 544 h 836"/>
                <a:gd name="T94" fmla="*/ 105 w 642"/>
                <a:gd name="T95" fmla="*/ 592 h 836"/>
                <a:gd name="T96" fmla="*/ 118 w 642"/>
                <a:gd name="T97" fmla="*/ 617 h 836"/>
                <a:gd name="T98" fmla="*/ 122 w 642"/>
                <a:gd name="T99" fmla="*/ 640 h 836"/>
                <a:gd name="T100" fmla="*/ 152 w 642"/>
                <a:gd name="T101" fmla="*/ 637 h 836"/>
                <a:gd name="T102" fmla="*/ 171 w 642"/>
                <a:gd name="T103" fmla="*/ 661 h 836"/>
                <a:gd name="T104" fmla="*/ 195 w 642"/>
                <a:gd name="T105" fmla="*/ 682 h 836"/>
                <a:gd name="T106" fmla="*/ 228 w 642"/>
                <a:gd name="T107" fmla="*/ 690 h 836"/>
                <a:gd name="T108" fmla="*/ 255 w 642"/>
                <a:gd name="T109" fmla="*/ 696 h 836"/>
                <a:gd name="T110" fmla="*/ 267 w 642"/>
                <a:gd name="T111" fmla="*/ 717 h 836"/>
                <a:gd name="T112" fmla="*/ 254 w 642"/>
                <a:gd name="T113" fmla="*/ 743 h 836"/>
                <a:gd name="T114" fmla="*/ 253 w 642"/>
                <a:gd name="T115" fmla="*/ 760 h 836"/>
                <a:gd name="T116" fmla="*/ 248 w 642"/>
                <a:gd name="T117" fmla="*/ 774 h 836"/>
                <a:gd name="T118" fmla="*/ 245 w 642"/>
                <a:gd name="T119" fmla="*/ 787 h 836"/>
                <a:gd name="T120" fmla="*/ 236 w 642"/>
                <a:gd name="T121" fmla="*/ 807 h 836"/>
                <a:gd name="T122" fmla="*/ 232 w 642"/>
                <a:gd name="T123" fmla="*/ 817 h 836"/>
                <a:gd name="T124" fmla="*/ 387 w 642"/>
                <a:gd name="T125" fmla="*/ 702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2" h="836">
                  <a:moveTo>
                    <a:pt x="389" y="694"/>
                  </a:moveTo>
                  <a:cubicBezTo>
                    <a:pt x="391" y="691"/>
                    <a:pt x="393" y="690"/>
                    <a:pt x="393" y="689"/>
                  </a:cubicBezTo>
                  <a:cubicBezTo>
                    <a:pt x="394" y="687"/>
                    <a:pt x="392" y="684"/>
                    <a:pt x="392" y="683"/>
                  </a:cubicBezTo>
                  <a:cubicBezTo>
                    <a:pt x="393" y="682"/>
                    <a:pt x="395" y="678"/>
                    <a:pt x="397" y="679"/>
                  </a:cubicBezTo>
                  <a:cubicBezTo>
                    <a:pt x="399" y="680"/>
                    <a:pt x="402" y="683"/>
                    <a:pt x="403" y="684"/>
                  </a:cubicBezTo>
                  <a:cubicBezTo>
                    <a:pt x="403" y="685"/>
                    <a:pt x="404" y="685"/>
                    <a:pt x="404" y="685"/>
                  </a:cubicBezTo>
                  <a:cubicBezTo>
                    <a:pt x="410" y="678"/>
                    <a:pt x="410" y="678"/>
                    <a:pt x="410" y="678"/>
                  </a:cubicBezTo>
                  <a:cubicBezTo>
                    <a:pt x="410" y="678"/>
                    <a:pt x="417" y="682"/>
                    <a:pt x="416" y="679"/>
                  </a:cubicBezTo>
                  <a:cubicBezTo>
                    <a:pt x="415" y="676"/>
                    <a:pt x="413" y="674"/>
                    <a:pt x="415" y="674"/>
                  </a:cubicBezTo>
                  <a:cubicBezTo>
                    <a:pt x="416" y="675"/>
                    <a:pt x="417" y="676"/>
                    <a:pt x="419" y="674"/>
                  </a:cubicBezTo>
                  <a:cubicBezTo>
                    <a:pt x="422" y="672"/>
                    <a:pt x="423" y="671"/>
                    <a:pt x="425" y="670"/>
                  </a:cubicBezTo>
                  <a:cubicBezTo>
                    <a:pt x="427" y="669"/>
                    <a:pt x="427" y="668"/>
                    <a:pt x="426" y="667"/>
                  </a:cubicBezTo>
                  <a:cubicBezTo>
                    <a:pt x="424" y="666"/>
                    <a:pt x="425" y="664"/>
                    <a:pt x="427" y="664"/>
                  </a:cubicBezTo>
                  <a:cubicBezTo>
                    <a:pt x="430" y="663"/>
                    <a:pt x="431" y="664"/>
                    <a:pt x="434" y="661"/>
                  </a:cubicBezTo>
                  <a:cubicBezTo>
                    <a:pt x="437" y="659"/>
                    <a:pt x="436" y="660"/>
                    <a:pt x="440" y="659"/>
                  </a:cubicBezTo>
                  <a:cubicBezTo>
                    <a:pt x="443" y="659"/>
                    <a:pt x="441" y="657"/>
                    <a:pt x="443" y="655"/>
                  </a:cubicBezTo>
                  <a:cubicBezTo>
                    <a:pt x="444" y="653"/>
                    <a:pt x="443" y="651"/>
                    <a:pt x="444" y="652"/>
                  </a:cubicBezTo>
                  <a:cubicBezTo>
                    <a:pt x="446" y="653"/>
                    <a:pt x="447" y="650"/>
                    <a:pt x="446" y="648"/>
                  </a:cubicBezTo>
                  <a:cubicBezTo>
                    <a:pt x="446" y="647"/>
                    <a:pt x="449" y="649"/>
                    <a:pt x="451" y="650"/>
                  </a:cubicBezTo>
                  <a:cubicBezTo>
                    <a:pt x="453" y="651"/>
                    <a:pt x="455" y="650"/>
                    <a:pt x="456" y="651"/>
                  </a:cubicBezTo>
                  <a:cubicBezTo>
                    <a:pt x="457" y="653"/>
                    <a:pt x="457" y="655"/>
                    <a:pt x="459" y="655"/>
                  </a:cubicBezTo>
                  <a:cubicBezTo>
                    <a:pt x="461" y="654"/>
                    <a:pt x="461" y="653"/>
                    <a:pt x="462" y="655"/>
                  </a:cubicBezTo>
                  <a:cubicBezTo>
                    <a:pt x="463" y="656"/>
                    <a:pt x="464" y="655"/>
                    <a:pt x="465" y="653"/>
                  </a:cubicBezTo>
                  <a:cubicBezTo>
                    <a:pt x="465" y="651"/>
                    <a:pt x="466" y="650"/>
                    <a:pt x="468" y="651"/>
                  </a:cubicBezTo>
                  <a:cubicBezTo>
                    <a:pt x="471" y="651"/>
                    <a:pt x="472" y="649"/>
                    <a:pt x="473" y="648"/>
                  </a:cubicBezTo>
                  <a:cubicBezTo>
                    <a:pt x="475" y="647"/>
                    <a:pt x="476" y="651"/>
                    <a:pt x="477" y="654"/>
                  </a:cubicBezTo>
                  <a:cubicBezTo>
                    <a:pt x="479" y="657"/>
                    <a:pt x="480" y="655"/>
                    <a:pt x="482" y="655"/>
                  </a:cubicBezTo>
                  <a:cubicBezTo>
                    <a:pt x="485" y="655"/>
                    <a:pt x="488" y="655"/>
                    <a:pt x="490" y="655"/>
                  </a:cubicBezTo>
                  <a:cubicBezTo>
                    <a:pt x="493" y="655"/>
                    <a:pt x="495" y="655"/>
                    <a:pt x="496" y="656"/>
                  </a:cubicBezTo>
                  <a:cubicBezTo>
                    <a:pt x="498" y="658"/>
                    <a:pt x="499" y="660"/>
                    <a:pt x="501" y="661"/>
                  </a:cubicBezTo>
                  <a:cubicBezTo>
                    <a:pt x="504" y="661"/>
                    <a:pt x="507" y="663"/>
                    <a:pt x="508" y="665"/>
                  </a:cubicBezTo>
                  <a:cubicBezTo>
                    <a:pt x="510" y="667"/>
                    <a:pt x="512" y="669"/>
                    <a:pt x="514" y="669"/>
                  </a:cubicBezTo>
                  <a:cubicBezTo>
                    <a:pt x="515" y="670"/>
                    <a:pt x="516" y="670"/>
                    <a:pt x="516" y="672"/>
                  </a:cubicBezTo>
                  <a:cubicBezTo>
                    <a:pt x="516" y="675"/>
                    <a:pt x="517" y="678"/>
                    <a:pt x="519" y="676"/>
                  </a:cubicBezTo>
                  <a:cubicBezTo>
                    <a:pt x="522" y="675"/>
                    <a:pt x="519" y="671"/>
                    <a:pt x="518" y="669"/>
                  </a:cubicBezTo>
                  <a:cubicBezTo>
                    <a:pt x="516" y="667"/>
                    <a:pt x="517" y="666"/>
                    <a:pt x="518" y="666"/>
                  </a:cubicBezTo>
                  <a:cubicBezTo>
                    <a:pt x="520" y="666"/>
                    <a:pt x="525" y="669"/>
                    <a:pt x="528" y="671"/>
                  </a:cubicBezTo>
                  <a:cubicBezTo>
                    <a:pt x="530" y="672"/>
                    <a:pt x="533" y="675"/>
                    <a:pt x="535" y="673"/>
                  </a:cubicBezTo>
                  <a:cubicBezTo>
                    <a:pt x="537" y="672"/>
                    <a:pt x="537" y="676"/>
                    <a:pt x="538" y="677"/>
                  </a:cubicBezTo>
                  <a:cubicBezTo>
                    <a:pt x="539" y="678"/>
                    <a:pt x="543" y="674"/>
                    <a:pt x="544" y="673"/>
                  </a:cubicBezTo>
                  <a:cubicBezTo>
                    <a:pt x="545" y="671"/>
                    <a:pt x="546" y="669"/>
                    <a:pt x="548" y="667"/>
                  </a:cubicBezTo>
                  <a:cubicBezTo>
                    <a:pt x="550" y="666"/>
                    <a:pt x="548" y="664"/>
                    <a:pt x="550" y="665"/>
                  </a:cubicBezTo>
                  <a:cubicBezTo>
                    <a:pt x="553" y="666"/>
                    <a:pt x="552" y="667"/>
                    <a:pt x="553" y="665"/>
                  </a:cubicBezTo>
                  <a:cubicBezTo>
                    <a:pt x="554" y="663"/>
                    <a:pt x="556" y="666"/>
                    <a:pt x="559" y="665"/>
                  </a:cubicBezTo>
                  <a:cubicBezTo>
                    <a:pt x="562" y="664"/>
                    <a:pt x="562" y="664"/>
                    <a:pt x="563" y="665"/>
                  </a:cubicBezTo>
                  <a:cubicBezTo>
                    <a:pt x="565" y="666"/>
                    <a:pt x="566" y="670"/>
                    <a:pt x="569" y="669"/>
                  </a:cubicBezTo>
                  <a:cubicBezTo>
                    <a:pt x="573" y="668"/>
                    <a:pt x="572" y="667"/>
                    <a:pt x="572" y="664"/>
                  </a:cubicBezTo>
                  <a:cubicBezTo>
                    <a:pt x="572" y="661"/>
                    <a:pt x="575" y="665"/>
                    <a:pt x="577" y="665"/>
                  </a:cubicBezTo>
                  <a:cubicBezTo>
                    <a:pt x="579" y="665"/>
                    <a:pt x="580" y="663"/>
                    <a:pt x="581" y="662"/>
                  </a:cubicBezTo>
                  <a:cubicBezTo>
                    <a:pt x="546" y="621"/>
                    <a:pt x="546" y="621"/>
                    <a:pt x="546" y="621"/>
                  </a:cubicBezTo>
                  <a:cubicBezTo>
                    <a:pt x="573" y="549"/>
                    <a:pt x="573" y="549"/>
                    <a:pt x="573" y="549"/>
                  </a:cubicBezTo>
                  <a:cubicBezTo>
                    <a:pt x="548" y="533"/>
                    <a:pt x="548" y="533"/>
                    <a:pt x="548" y="533"/>
                  </a:cubicBezTo>
                  <a:cubicBezTo>
                    <a:pt x="583" y="499"/>
                    <a:pt x="583" y="499"/>
                    <a:pt x="583" y="499"/>
                  </a:cubicBezTo>
                  <a:cubicBezTo>
                    <a:pt x="586" y="385"/>
                    <a:pt x="586" y="385"/>
                    <a:pt x="586" y="385"/>
                  </a:cubicBezTo>
                  <a:cubicBezTo>
                    <a:pt x="600" y="283"/>
                    <a:pt x="600" y="283"/>
                    <a:pt x="600" y="283"/>
                  </a:cubicBezTo>
                  <a:cubicBezTo>
                    <a:pt x="591" y="270"/>
                    <a:pt x="591" y="270"/>
                    <a:pt x="591" y="270"/>
                  </a:cubicBezTo>
                  <a:cubicBezTo>
                    <a:pt x="608" y="173"/>
                    <a:pt x="608" y="173"/>
                    <a:pt x="608" y="173"/>
                  </a:cubicBezTo>
                  <a:cubicBezTo>
                    <a:pt x="642" y="116"/>
                    <a:pt x="642" y="116"/>
                    <a:pt x="642" y="116"/>
                  </a:cubicBezTo>
                  <a:cubicBezTo>
                    <a:pt x="608" y="72"/>
                    <a:pt x="608" y="72"/>
                    <a:pt x="608" y="72"/>
                  </a:cubicBezTo>
                  <a:cubicBezTo>
                    <a:pt x="605" y="71"/>
                    <a:pt x="603" y="69"/>
                    <a:pt x="601" y="68"/>
                  </a:cubicBezTo>
                  <a:cubicBezTo>
                    <a:pt x="600" y="66"/>
                    <a:pt x="600" y="62"/>
                    <a:pt x="596" y="61"/>
                  </a:cubicBezTo>
                  <a:cubicBezTo>
                    <a:pt x="592" y="60"/>
                    <a:pt x="590" y="60"/>
                    <a:pt x="587" y="57"/>
                  </a:cubicBezTo>
                  <a:cubicBezTo>
                    <a:pt x="585" y="55"/>
                    <a:pt x="581" y="56"/>
                    <a:pt x="578" y="54"/>
                  </a:cubicBezTo>
                  <a:cubicBezTo>
                    <a:pt x="576" y="53"/>
                    <a:pt x="568" y="49"/>
                    <a:pt x="565" y="47"/>
                  </a:cubicBezTo>
                  <a:cubicBezTo>
                    <a:pt x="563" y="45"/>
                    <a:pt x="563" y="50"/>
                    <a:pt x="562" y="51"/>
                  </a:cubicBezTo>
                  <a:cubicBezTo>
                    <a:pt x="561" y="52"/>
                    <a:pt x="559" y="50"/>
                    <a:pt x="561" y="48"/>
                  </a:cubicBezTo>
                  <a:cubicBezTo>
                    <a:pt x="562" y="47"/>
                    <a:pt x="562" y="45"/>
                    <a:pt x="560" y="43"/>
                  </a:cubicBezTo>
                  <a:cubicBezTo>
                    <a:pt x="558" y="42"/>
                    <a:pt x="552" y="37"/>
                    <a:pt x="544" y="35"/>
                  </a:cubicBezTo>
                  <a:cubicBezTo>
                    <a:pt x="536" y="33"/>
                    <a:pt x="528" y="29"/>
                    <a:pt x="523" y="29"/>
                  </a:cubicBezTo>
                  <a:cubicBezTo>
                    <a:pt x="517" y="29"/>
                    <a:pt x="506" y="26"/>
                    <a:pt x="502" y="25"/>
                  </a:cubicBezTo>
                  <a:cubicBezTo>
                    <a:pt x="498" y="24"/>
                    <a:pt x="494" y="22"/>
                    <a:pt x="493" y="26"/>
                  </a:cubicBezTo>
                  <a:cubicBezTo>
                    <a:pt x="491" y="29"/>
                    <a:pt x="492" y="31"/>
                    <a:pt x="489" y="31"/>
                  </a:cubicBezTo>
                  <a:cubicBezTo>
                    <a:pt x="486" y="31"/>
                    <a:pt x="490" y="25"/>
                    <a:pt x="488" y="23"/>
                  </a:cubicBezTo>
                  <a:cubicBezTo>
                    <a:pt x="487" y="21"/>
                    <a:pt x="483" y="17"/>
                    <a:pt x="478" y="15"/>
                  </a:cubicBezTo>
                  <a:cubicBezTo>
                    <a:pt x="472" y="13"/>
                    <a:pt x="465" y="3"/>
                    <a:pt x="461" y="2"/>
                  </a:cubicBezTo>
                  <a:cubicBezTo>
                    <a:pt x="457" y="0"/>
                    <a:pt x="456" y="1"/>
                    <a:pt x="456" y="5"/>
                  </a:cubicBezTo>
                  <a:cubicBezTo>
                    <a:pt x="456" y="9"/>
                    <a:pt x="453" y="5"/>
                    <a:pt x="454" y="9"/>
                  </a:cubicBezTo>
                  <a:cubicBezTo>
                    <a:pt x="454" y="13"/>
                    <a:pt x="461" y="20"/>
                    <a:pt x="463" y="21"/>
                  </a:cubicBezTo>
                  <a:cubicBezTo>
                    <a:pt x="464" y="23"/>
                    <a:pt x="470" y="22"/>
                    <a:pt x="472" y="23"/>
                  </a:cubicBezTo>
                  <a:cubicBezTo>
                    <a:pt x="474" y="25"/>
                    <a:pt x="475" y="29"/>
                    <a:pt x="477" y="30"/>
                  </a:cubicBezTo>
                  <a:cubicBezTo>
                    <a:pt x="478" y="30"/>
                    <a:pt x="485" y="30"/>
                    <a:pt x="487" y="30"/>
                  </a:cubicBezTo>
                  <a:cubicBezTo>
                    <a:pt x="488" y="30"/>
                    <a:pt x="487" y="32"/>
                    <a:pt x="486" y="34"/>
                  </a:cubicBezTo>
                  <a:cubicBezTo>
                    <a:pt x="484" y="35"/>
                    <a:pt x="486" y="37"/>
                    <a:pt x="490" y="40"/>
                  </a:cubicBezTo>
                  <a:cubicBezTo>
                    <a:pt x="493" y="43"/>
                    <a:pt x="495" y="50"/>
                    <a:pt x="496" y="51"/>
                  </a:cubicBezTo>
                  <a:cubicBezTo>
                    <a:pt x="497" y="53"/>
                    <a:pt x="498" y="50"/>
                    <a:pt x="499" y="52"/>
                  </a:cubicBezTo>
                  <a:cubicBezTo>
                    <a:pt x="501" y="54"/>
                    <a:pt x="503" y="57"/>
                    <a:pt x="501" y="61"/>
                  </a:cubicBezTo>
                  <a:cubicBezTo>
                    <a:pt x="500" y="64"/>
                    <a:pt x="496" y="69"/>
                    <a:pt x="493" y="69"/>
                  </a:cubicBezTo>
                  <a:cubicBezTo>
                    <a:pt x="490" y="69"/>
                    <a:pt x="487" y="69"/>
                    <a:pt x="487" y="72"/>
                  </a:cubicBezTo>
                  <a:cubicBezTo>
                    <a:pt x="488" y="75"/>
                    <a:pt x="490" y="78"/>
                    <a:pt x="490" y="81"/>
                  </a:cubicBezTo>
                  <a:cubicBezTo>
                    <a:pt x="489" y="84"/>
                    <a:pt x="484" y="82"/>
                    <a:pt x="481" y="81"/>
                  </a:cubicBezTo>
                  <a:cubicBezTo>
                    <a:pt x="478" y="81"/>
                    <a:pt x="476" y="77"/>
                    <a:pt x="476" y="75"/>
                  </a:cubicBezTo>
                  <a:cubicBezTo>
                    <a:pt x="476" y="73"/>
                    <a:pt x="478" y="69"/>
                    <a:pt x="480" y="68"/>
                  </a:cubicBezTo>
                  <a:cubicBezTo>
                    <a:pt x="481" y="67"/>
                    <a:pt x="479" y="64"/>
                    <a:pt x="477" y="62"/>
                  </a:cubicBezTo>
                  <a:cubicBezTo>
                    <a:pt x="475" y="60"/>
                    <a:pt x="474" y="57"/>
                    <a:pt x="471" y="57"/>
                  </a:cubicBezTo>
                  <a:cubicBezTo>
                    <a:pt x="467" y="57"/>
                    <a:pt x="465" y="57"/>
                    <a:pt x="463" y="60"/>
                  </a:cubicBezTo>
                  <a:cubicBezTo>
                    <a:pt x="462" y="63"/>
                    <a:pt x="464" y="68"/>
                    <a:pt x="462" y="65"/>
                  </a:cubicBezTo>
                  <a:cubicBezTo>
                    <a:pt x="460" y="63"/>
                    <a:pt x="459" y="59"/>
                    <a:pt x="458" y="63"/>
                  </a:cubicBezTo>
                  <a:cubicBezTo>
                    <a:pt x="457" y="66"/>
                    <a:pt x="457" y="66"/>
                    <a:pt x="455" y="65"/>
                  </a:cubicBezTo>
                  <a:cubicBezTo>
                    <a:pt x="452" y="64"/>
                    <a:pt x="446" y="66"/>
                    <a:pt x="448" y="66"/>
                  </a:cubicBezTo>
                  <a:cubicBezTo>
                    <a:pt x="449" y="67"/>
                    <a:pt x="453" y="67"/>
                    <a:pt x="452" y="68"/>
                  </a:cubicBezTo>
                  <a:cubicBezTo>
                    <a:pt x="452" y="70"/>
                    <a:pt x="449" y="76"/>
                    <a:pt x="446" y="76"/>
                  </a:cubicBezTo>
                  <a:cubicBezTo>
                    <a:pt x="443" y="76"/>
                    <a:pt x="441" y="72"/>
                    <a:pt x="437" y="72"/>
                  </a:cubicBezTo>
                  <a:cubicBezTo>
                    <a:pt x="434" y="72"/>
                    <a:pt x="432" y="71"/>
                    <a:pt x="429" y="71"/>
                  </a:cubicBezTo>
                  <a:cubicBezTo>
                    <a:pt x="426" y="72"/>
                    <a:pt x="425" y="74"/>
                    <a:pt x="422" y="74"/>
                  </a:cubicBezTo>
                  <a:cubicBezTo>
                    <a:pt x="419" y="74"/>
                    <a:pt x="416" y="76"/>
                    <a:pt x="414" y="78"/>
                  </a:cubicBezTo>
                  <a:cubicBezTo>
                    <a:pt x="412" y="81"/>
                    <a:pt x="414" y="85"/>
                    <a:pt x="413" y="89"/>
                  </a:cubicBezTo>
                  <a:cubicBezTo>
                    <a:pt x="413" y="92"/>
                    <a:pt x="410" y="88"/>
                    <a:pt x="409" y="87"/>
                  </a:cubicBezTo>
                  <a:cubicBezTo>
                    <a:pt x="408" y="85"/>
                    <a:pt x="408" y="85"/>
                    <a:pt x="406" y="87"/>
                  </a:cubicBezTo>
                  <a:cubicBezTo>
                    <a:pt x="405" y="90"/>
                    <a:pt x="404" y="86"/>
                    <a:pt x="403" y="84"/>
                  </a:cubicBezTo>
                  <a:cubicBezTo>
                    <a:pt x="402" y="82"/>
                    <a:pt x="400" y="89"/>
                    <a:pt x="398" y="87"/>
                  </a:cubicBezTo>
                  <a:cubicBezTo>
                    <a:pt x="396" y="86"/>
                    <a:pt x="392" y="87"/>
                    <a:pt x="389" y="87"/>
                  </a:cubicBezTo>
                  <a:cubicBezTo>
                    <a:pt x="386" y="87"/>
                    <a:pt x="389" y="81"/>
                    <a:pt x="392" y="81"/>
                  </a:cubicBezTo>
                  <a:cubicBezTo>
                    <a:pt x="395" y="81"/>
                    <a:pt x="396" y="81"/>
                    <a:pt x="397" y="79"/>
                  </a:cubicBezTo>
                  <a:cubicBezTo>
                    <a:pt x="399" y="77"/>
                    <a:pt x="397" y="75"/>
                    <a:pt x="395" y="73"/>
                  </a:cubicBezTo>
                  <a:cubicBezTo>
                    <a:pt x="393" y="71"/>
                    <a:pt x="395" y="64"/>
                    <a:pt x="393" y="63"/>
                  </a:cubicBezTo>
                  <a:cubicBezTo>
                    <a:pt x="391" y="61"/>
                    <a:pt x="399" y="57"/>
                    <a:pt x="401" y="59"/>
                  </a:cubicBezTo>
                  <a:cubicBezTo>
                    <a:pt x="403" y="61"/>
                    <a:pt x="401" y="57"/>
                    <a:pt x="399" y="57"/>
                  </a:cubicBezTo>
                  <a:cubicBezTo>
                    <a:pt x="396" y="58"/>
                    <a:pt x="391" y="58"/>
                    <a:pt x="388" y="59"/>
                  </a:cubicBezTo>
                  <a:cubicBezTo>
                    <a:pt x="385" y="61"/>
                    <a:pt x="380" y="65"/>
                    <a:pt x="378" y="67"/>
                  </a:cubicBezTo>
                  <a:cubicBezTo>
                    <a:pt x="375" y="69"/>
                    <a:pt x="373" y="70"/>
                    <a:pt x="373" y="72"/>
                  </a:cubicBezTo>
                  <a:cubicBezTo>
                    <a:pt x="374" y="75"/>
                    <a:pt x="376" y="76"/>
                    <a:pt x="378" y="78"/>
                  </a:cubicBezTo>
                  <a:cubicBezTo>
                    <a:pt x="379" y="80"/>
                    <a:pt x="376" y="80"/>
                    <a:pt x="373" y="82"/>
                  </a:cubicBezTo>
                  <a:cubicBezTo>
                    <a:pt x="370" y="84"/>
                    <a:pt x="372" y="79"/>
                    <a:pt x="370" y="76"/>
                  </a:cubicBezTo>
                  <a:cubicBezTo>
                    <a:pt x="368" y="72"/>
                    <a:pt x="366" y="76"/>
                    <a:pt x="363" y="77"/>
                  </a:cubicBezTo>
                  <a:cubicBezTo>
                    <a:pt x="360" y="79"/>
                    <a:pt x="358" y="78"/>
                    <a:pt x="354" y="79"/>
                  </a:cubicBezTo>
                  <a:cubicBezTo>
                    <a:pt x="350" y="80"/>
                    <a:pt x="349" y="83"/>
                    <a:pt x="347" y="86"/>
                  </a:cubicBezTo>
                  <a:cubicBezTo>
                    <a:pt x="345" y="89"/>
                    <a:pt x="341" y="91"/>
                    <a:pt x="339" y="93"/>
                  </a:cubicBezTo>
                  <a:cubicBezTo>
                    <a:pt x="337" y="95"/>
                    <a:pt x="333" y="98"/>
                    <a:pt x="330" y="100"/>
                  </a:cubicBezTo>
                  <a:cubicBezTo>
                    <a:pt x="327" y="102"/>
                    <a:pt x="320" y="100"/>
                    <a:pt x="320" y="102"/>
                  </a:cubicBezTo>
                  <a:cubicBezTo>
                    <a:pt x="320" y="103"/>
                    <a:pt x="326" y="108"/>
                    <a:pt x="327" y="111"/>
                  </a:cubicBezTo>
                  <a:cubicBezTo>
                    <a:pt x="328" y="114"/>
                    <a:pt x="325" y="109"/>
                    <a:pt x="323" y="109"/>
                  </a:cubicBezTo>
                  <a:cubicBezTo>
                    <a:pt x="321" y="108"/>
                    <a:pt x="319" y="109"/>
                    <a:pt x="316" y="109"/>
                  </a:cubicBezTo>
                  <a:cubicBezTo>
                    <a:pt x="313" y="110"/>
                    <a:pt x="313" y="113"/>
                    <a:pt x="312" y="112"/>
                  </a:cubicBezTo>
                  <a:cubicBezTo>
                    <a:pt x="310" y="111"/>
                    <a:pt x="310" y="111"/>
                    <a:pt x="309" y="112"/>
                  </a:cubicBezTo>
                  <a:cubicBezTo>
                    <a:pt x="309" y="113"/>
                    <a:pt x="311" y="115"/>
                    <a:pt x="311" y="119"/>
                  </a:cubicBezTo>
                  <a:cubicBezTo>
                    <a:pt x="311" y="122"/>
                    <a:pt x="308" y="126"/>
                    <a:pt x="309" y="129"/>
                  </a:cubicBezTo>
                  <a:cubicBezTo>
                    <a:pt x="310" y="132"/>
                    <a:pt x="310" y="135"/>
                    <a:pt x="309" y="138"/>
                  </a:cubicBezTo>
                  <a:cubicBezTo>
                    <a:pt x="308" y="140"/>
                    <a:pt x="308" y="137"/>
                    <a:pt x="304" y="139"/>
                  </a:cubicBezTo>
                  <a:cubicBezTo>
                    <a:pt x="301" y="141"/>
                    <a:pt x="296" y="142"/>
                    <a:pt x="293" y="145"/>
                  </a:cubicBezTo>
                  <a:cubicBezTo>
                    <a:pt x="291" y="147"/>
                    <a:pt x="292" y="143"/>
                    <a:pt x="293" y="142"/>
                  </a:cubicBezTo>
                  <a:cubicBezTo>
                    <a:pt x="294" y="140"/>
                    <a:pt x="287" y="142"/>
                    <a:pt x="284" y="142"/>
                  </a:cubicBezTo>
                  <a:cubicBezTo>
                    <a:pt x="280" y="141"/>
                    <a:pt x="277" y="130"/>
                    <a:pt x="275" y="128"/>
                  </a:cubicBezTo>
                  <a:cubicBezTo>
                    <a:pt x="272" y="126"/>
                    <a:pt x="266" y="126"/>
                    <a:pt x="264" y="121"/>
                  </a:cubicBezTo>
                  <a:cubicBezTo>
                    <a:pt x="263" y="117"/>
                    <a:pt x="265" y="114"/>
                    <a:pt x="268" y="113"/>
                  </a:cubicBezTo>
                  <a:cubicBezTo>
                    <a:pt x="270" y="112"/>
                    <a:pt x="270" y="111"/>
                    <a:pt x="269" y="109"/>
                  </a:cubicBezTo>
                  <a:cubicBezTo>
                    <a:pt x="268" y="106"/>
                    <a:pt x="273" y="106"/>
                    <a:pt x="276" y="105"/>
                  </a:cubicBezTo>
                  <a:cubicBezTo>
                    <a:pt x="279" y="104"/>
                    <a:pt x="287" y="105"/>
                    <a:pt x="289" y="103"/>
                  </a:cubicBezTo>
                  <a:cubicBezTo>
                    <a:pt x="291" y="101"/>
                    <a:pt x="286" y="96"/>
                    <a:pt x="285" y="92"/>
                  </a:cubicBezTo>
                  <a:cubicBezTo>
                    <a:pt x="284" y="89"/>
                    <a:pt x="281" y="89"/>
                    <a:pt x="279" y="87"/>
                  </a:cubicBezTo>
                  <a:cubicBezTo>
                    <a:pt x="276" y="85"/>
                    <a:pt x="275" y="81"/>
                    <a:pt x="274" y="78"/>
                  </a:cubicBezTo>
                  <a:cubicBezTo>
                    <a:pt x="273" y="76"/>
                    <a:pt x="269" y="75"/>
                    <a:pt x="266" y="74"/>
                  </a:cubicBezTo>
                  <a:cubicBezTo>
                    <a:pt x="262" y="73"/>
                    <a:pt x="254" y="73"/>
                    <a:pt x="249" y="74"/>
                  </a:cubicBezTo>
                  <a:cubicBezTo>
                    <a:pt x="244" y="75"/>
                    <a:pt x="242" y="75"/>
                    <a:pt x="238" y="72"/>
                  </a:cubicBezTo>
                  <a:cubicBezTo>
                    <a:pt x="235" y="70"/>
                    <a:pt x="232" y="69"/>
                    <a:pt x="232" y="72"/>
                  </a:cubicBezTo>
                  <a:cubicBezTo>
                    <a:pt x="233" y="74"/>
                    <a:pt x="245" y="82"/>
                    <a:pt x="247" y="83"/>
                  </a:cubicBezTo>
                  <a:cubicBezTo>
                    <a:pt x="249" y="84"/>
                    <a:pt x="249" y="91"/>
                    <a:pt x="248" y="94"/>
                  </a:cubicBezTo>
                  <a:cubicBezTo>
                    <a:pt x="248" y="96"/>
                    <a:pt x="250" y="97"/>
                    <a:pt x="249" y="98"/>
                  </a:cubicBezTo>
                  <a:cubicBezTo>
                    <a:pt x="248" y="99"/>
                    <a:pt x="249" y="100"/>
                    <a:pt x="248" y="101"/>
                  </a:cubicBezTo>
                  <a:cubicBezTo>
                    <a:pt x="247" y="102"/>
                    <a:pt x="249" y="103"/>
                    <a:pt x="248" y="110"/>
                  </a:cubicBezTo>
                  <a:cubicBezTo>
                    <a:pt x="247" y="117"/>
                    <a:pt x="246" y="119"/>
                    <a:pt x="246" y="123"/>
                  </a:cubicBezTo>
                  <a:cubicBezTo>
                    <a:pt x="247" y="127"/>
                    <a:pt x="249" y="128"/>
                    <a:pt x="251" y="128"/>
                  </a:cubicBezTo>
                  <a:cubicBezTo>
                    <a:pt x="253" y="128"/>
                    <a:pt x="252" y="130"/>
                    <a:pt x="257" y="135"/>
                  </a:cubicBezTo>
                  <a:cubicBezTo>
                    <a:pt x="262" y="140"/>
                    <a:pt x="260" y="142"/>
                    <a:pt x="260" y="145"/>
                  </a:cubicBezTo>
                  <a:cubicBezTo>
                    <a:pt x="260" y="148"/>
                    <a:pt x="261" y="147"/>
                    <a:pt x="261" y="149"/>
                  </a:cubicBezTo>
                  <a:cubicBezTo>
                    <a:pt x="260" y="151"/>
                    <a:pt x="261" y="156"/>
                    <a:pt x="258" y="159"/>
                  </a:cubicBezTo>
                  <a:cubicBezTo>
                    <a:pt x="255" y="163"/>
                    <a:pt x="257" y="165"/>
                    <a:pt x="259" y="170"/>
                  </a:cubicBezTo>
                  <a:cubicBezTo>
                    <a:pt x="260" y="174"/>
                    <a:pt x="261" y="176"/>
                    <a:pt x="261" y="179"/>
                  </a:cubicBezTo>
                  <a:cubicBezTo>
                    <a:pt x="262" y="182"/>
                    <a:pt x="261" y="177"/>
                    <a:pt x="258" y="173"/>
                  </a:cubicBezTo>
                  <a:cubicBezTo>
                    <a:pt x="255" y="169"/>
                    <a:pt x="254" y="168"/>
                    <a:pt x="251" y="167"/>
                  </a:cubicBezTo>
                  <a:cubicBezTo>
                    <a:pt x="248" y="167"/>
                    <a:pt x="248" y="173"/>
                    <a:pt x="247" y="172"/>
                  </a:cubicBezTo>
                  <a:cubicBezTo>
                    <a:pt x="246" y="170"/>
                    <a:pt x="250" y="166"/>
                    <a:pt x="250" y="164"/>
                  </a:cubicBezTo>
                  <a:cubicBezTo>
                    <a:pt x="250" y="161"/>
                    <a:pt x="246" y="161"/>
                    <a:pt x="244" y="159"/>
                  </a:cubicBezTo>
                  <a:cubicBezTo>
                    <a:pt x="243" y="156"/>
                    <a:pt x="238" y="161"/>
                    <a:pt x="234" y="159"/>
                  </a:cubicBezTo>
                  <a:cubicBezTo>
                    <a:pt x="231" y="156"/>
                    <a:pt x="228" y="154"/>
                    <a:pt x="226" y="157"/>
                  </a:cubicBezTo>
                  <a:cubicBezTo>
                    <a:pt x="224" y="160"/>
                    <a:pt x="219" y="167"/>
                    <a:pt x="215" y="170"/>
                  </a:cubicBezTo>
                  <a:cubicBezTo>
                    <a:pt x="212" y="173"/>
                    <a:pt x="208" y="173"/>
                    <a:pt x="206" y="176"/>
                  </a:cubicBezTo>
                  <a:cubicBezTo>
                    <a:pt x="205" y="179"/>
                    <a:pt x="203" y="183"/>
                    <a:pt x="200" y="185"/>
                  </a:cubicBezTo>
                  <a:cubicBezTo>
                    <a:pt x="197" y="187"/>
                    <a:pt x="195" y="190"/>
                    <a:pt x="194" y="193"/>
                  </a:cubicBezTo>
                  <a:cubicBezTo>
                    <a:pt x="193" y="195"/>
                    <a:pt x="193" y="198"/>
                    <a:pt x="195" y="201"/>
                  </a:cubicBezTo>
                  <a:cubicBezTo>
                    <a:pt x="197" y="205"/>
                    <a:pt x="199" y="204"/>
                    <a:pt x="203" y="211"/>
                  </a:cubicBezTo>
                  <a:cubicBezTo>
                    <a:pt x="207" y="218"/>
                    <a:pt x="207" y="221"/>
                    <a:pt x="207" y="221"/>
                  </a:cubicBezTo>
                  <a:cubicBezTo>
                    <a:pt x="207" y="221"/>
                    <a:pt x="206" y="221"/>
                    <a:pt x="204" y="224"/>
                  </a:cubicBezTo>
                  <a:cubicBezTo>
                    <a:pt x="203" y="226"/>
                    <a:pt x="204" y="228"/>
                    <a:pt x="202" y="226"/>
                  </a:cubicBezTo>
                  <a:cubicBezTo>
                    <a:pt x="200" y="223"/>
                    <a:pt x="198" y="230"/>
                    <a:pt x="196" y="231"/>
                  </a:cubicBezTo>
                  <a:cubicBezTo>
                    <a:pt x="194" y="232"/>
                    <a:pt x="189" y="227"/>
                    <a:pt x="184" y="224"/>
                  </a:cubicBezTo>
                  <a:cubicBezTo>
                    <a:pt x="179" y="221"/>
                    <a:pt x="179" y="221"/>
                    <a:pt x="176" y="222"/>
                  </a:cubicBezTo>
                  <a:cubicBezTo>
                    <a:pt x="174" y="224"/>
                    <a:pt x="172" y="227"/>
                    <a:pt x="171" y="226"/>
                  </a:cubicBezTo>
                  <a:cubicBezTo>
                    <a:pt x="169" y="225"/>
                    <a:pt x="173" y="221"/>
                    <a:pt x="173" y="219"/>
                  </a:cubicBezTo>
                  <a:cubicBezTo>
                    <a:pt x="174" y="218"/>
                    <a:pt x="171" y="219"/>
                    <a:pt x="169" y="219"/>
                  </a:cubicBezTo>
                  <a:cubicBezTo>
                    <a:pt x="166" y="218"/>
                    <a:pt x="167" y="216"/>
                    <a:pt x="164" y="213"/>
                  </a:cubicBezTo>
                  <a:cubicBezTo>
                    <a:pt x="160" y="210"/>
                    <a:pt x="156" y="207"/>
                    <a:pt x="153" y="205"/>
                  </a:cubicBezTo>
                  <a:cubicBezTo>
                    <a:pt x="150" y="204"/>
                    <a:pt x="149" y="207"/>
                    <a:pt x="149" y="211"/>
                  </a:cubicBezTo>
                  <a:cubicBezTo>
                    <a:pt x="149" y="214"/>
                    <a:pt x="148" y="217"/>
                    <a:pt x="145" y="216"/>
                  </a:cubicBezTo>
                  <a:cubicBezTo>
                    <a:pt x="142" y="216"/>
                    <a:pt x="144" y="220"/>
                    <a:pt x="146" y="222"/>
                  </a:cubicBezTo>
                  <a:cubicBezTo>
                    <a:pt x="148" y="225"/>
                    <a:pt x="151" y="226"/>
                    <a:pt x="153" y="229"/>
                  </a:cubicBezTo>
                  <a:cubicBezTo>
                    <a:pt x="154" y="232"/>
                    <a:pt x="158" y="239"/>
                    <a:pt x="161" y="237"/>
                  </a:cubicBezTo>
                  <a:cubicBezTo>
                    <a:pt x="163" y="236"/>
                    <a:pt x="165" y="235"/>
                    <a:pt x="167" y="237"/>
                  </a:cubicBezTo>
                  <a:cubicBezTo>
                    <a:pt x="169" y="238"/>
                    <a:pt x="171" y="238"/>
                    <a:pt x="171" y="240"/>
                  </a:cubicBezTo>
                  <a:cubicBezTo>
                    <a:pt x="171" y="242"/>
                    <a:pt x="171" y="244"/>
                    <a:pt x="172" y="248"/>
                  </a:cubicBezTo>
                  <a:cubicBezTo>
                    <a:pt x="173" y="253"/>
                    <a:pt x="174" y="254"/>
                    <a:pt x="172" y="255"/>
                  </a:cubicBezTo>
                  <a:cubicBezTo>
                    <a:pt x="170" y="255"/>
                    <a:pt x="167" y="255"/>
                    <a:pt x="166" y="257"/>
                  </a:cubicBezTo>
                  <a:cubicBezTo>
                    <a:pt x="165" y="260"/>
                    <a:pt x="163" y="261"/>
                    <a:pt x="160" y="258"/>
                  </a:cubicBezTo>
                  <a:cubicBezTo>
                    <a:pt x="158" y="255"/>
                    <a:pt x="156" y="256"/>
                    <a:pt x="150" y="254"/>
                  </a:cubicBezTo>
                  <a:cubicBezTo>
                    <a:pt x="145" y="252"/>
                    <a:pt x="144" y="250"/>
                    <a:pt x="142" y="245"/>
                  </a:cubicBezTo>
                  <a:cubicBezTo>
                    <a:pt x="140" y="240"/>
                    <a:pt x="140" y="246"/>
                    <a:pt x="138" y="243"/>
                  </a:cubicBezTo>
                  <a:cubicBezTo>
                    <a:pt x="136" y="240"/>
                    <a:pt x="134" y="238"/>
                    <a:pt x="133" y="238"/>
                  </a:cubicBezTo>
                  <a:cubicBezTo>
                    <a:pt x="131" y="238"/>
                    <a:pt x="128" y="240"/>
                    <a:pt x="126" y="238"/>
                  </a:cubicBezTo>
                  <a:cubicBezTo>
                    <a:pt x="123" y="235"/>
                    <a:pt x="119" y="233"/>
                    <a:pt x="119" y="230"/>
                  </a:cubicBezTo>
                  <a:cubicBezTo>
                    <a:pt x="120" y="227"/>
                    <a:pt x="118" y="225"/>
                    <a:pt x="119" y="224"/>
                  </a:cubicBezTo>
                  <a:cubicBezTo>
                    <a:pt x="121" y="223"/>
                    <a:pt x="119" y="219"/>
                    <a:pt x="118" y="217"/>
                  </a:cubicBezTo>
                  <a:cubicBezTo>
                    <a:pt x="117" y="215"/>
                    <a:pt x="115" y="215"/>
                    <a:pt x="115" y="213"/>
                  </a:cubicBezTo>
                  <a:cubicBezTo>
                    <a:pt x="116" y="211"/>
                    <a:pt x="115" y="208"/>
                    <a:pt x="114" y="205"/>
                  </a:cubicBezTo>
                  <a:cubicBezTo>
                    <a:pt x="112" y="203"/>
                    <a:pt x="111" y="204"/>
                    <a:pt x="110" y="201"/>
                  </a:cubicBezTo>
                  <a:cubicBezTo>
                    <a:pt x="109" y="199"/>
                    <a:pt x="110" y="196"/>
                    <a:pt x="111" y="196"/>
                  </a:cubicBezTo>
                  <a:cubicBezTo>
                    <a:pt x="112" y="195"/>
                    <a:pt x="113" y="191"/>
                    <a:pt x="113" y="188"/>
                  </a:cubicBezTo>
                  <a:cubicBezTo>
                    <a:pt x="112" y="185"/>
                    <a:pt x="114" y="184"/>
                    <a:pt x="114" y="180"/>
                  </a:cubicBezTo>
                  <a:cubicBezTo>
                    <a:pt x="113" y="176"/>
                    <a:pt x="111" y="179"/>
                    <a:pt x="111" y="177"/>
                  </a:cubicBezTo>
                  <a:cubicBezTo>
                    <a:pt x="110" y="175"/>
                    <a:pt x="108" y="172"/>
                    <a:pt x="106" y="171"/>
                  </a:cubicBezTo>
                  <a:cubicBezTo>
                    <a:pt x="103" y="169"/>
                    <a:pt x="101" y="165"/>
                    <a:pt x="99" y="164"/>
                  </a:cubicBezTo>
                  <a:cubicBezTo>
                    <a:pt x="96" y="164"/>
                    <a:pt x="90" y="164"/>
                    <a:pt x="88" y="164"/>
                  </a:cubicBezTo>
                  <a:cubicBezTo>
                    <a:pt x="86" y="163"/>
                    <a:pt x="92" y="162"/>
                    <a:pt x="92" y="159"/>
                  </a:cubicBezTo>
                  <a:cubicBezTo>
                    <a:pt x="91" y="156"/>
                    <a:pt x="86" y="157"/>
                    <a:pt x="82" y="155"/>
                  </a:cubicBezTo>
                  <a:cubicBezTo>
                    <a:pt x="78" y="154"/>
                    <a:pt x="85" y="154"/>
                    <a:pt x="87" y="154"/>
                  </a:cubicBezTo>
                  <a:cubicBezTo>
                    <a:pt x="89" y="154"/>
                    <a:pt x="85" y="149"/>
                    <a:pt x="81" y="149"/>
                  </a:cubicBezTo>
                  <a:cubicBezTo>
                    <a:pt x="78" y="149"/>
                    <a:pt x="77" y="145"/>
                    <a:pt x="76" y="144"/>
                  </a:cubicBezTo>
                  <a:cubicBezTo>
                    <a:pt x="74" y="142"/>
                    <a:pt x="72" y="140"/>
                    <a:pt x="71" y="141"/>
                  </a:cubicBezTo>
                  <a:cubicBezTo>
                    <a:pt x="69" y="141"/>
                    <a:pt x="72" y="136"/>
                    <a:pt x="71" y="135"/>
                  </a:cubicBezTo>
                  <a:cubicBezTo>
                    <a:pt x="69" y="134"/>
                    <a:pt x="65" y="130"/>
                    <a:pt x="62" y="130"/>
                  </a:cubicBezTo>
                  <a:cubicBezTo>
                    <a:pt x="59" y="129"/>
                    <a:pt x="71" y="129"/>
                    <a:pt x="72" y="131"/>
                  </a:cubicBezTo>
                  <a:cubicBezTo>
                    <a:pt x="74" y="132"/>
                    <a:pt x="77" y="131"/>
                    <a:pt x="77" y="134"/>
                  </a:cubicBezTo>
                  <a:cubicBezTo>
                    <a:pt x="77" y="137"/>
                    <a:pt x="79" y="139"/>
                    <a:pt x="81" y="142"/>
                  </a:cubicBezTo>
                  <a:cubicBezTo>
                    <a:pt x="83" y="145"/>
                    <a:pt x="87" y="145"/>
                    <a:pt x="89" y="145"/>
                  </a:cubicBezTo>
                  <a:cubicBezTo>
                    <a:pt x="91" y="145"/>
                    <a:pt x="91" y="143"/>
                    <a:pt x="92" y="146"/>
                  </a:cubicBezTo>
                  <a:cubicBezTo>
                    <a:pt x="93" y="149"/>
                    <a:pt x="95" y="146"/>
                    <a:pt x="97" y="144"/>
                  </a:cubicBezTo>
                  <a:cubicBezTo>
                    <a:pt x="99" y="142"/>
                    <a:pt x="96" y="147"/>
                    <a:pt x="98" y="148"/>
                  </a:cubicBezTo>
                  <a:cubicBezTo>
                    <a:pt x="99" y="148"/>
                    <a:pt x="103" y="146"/>
                    <a:pt x="103" y="150"/>
                  </a:cubicBezTo>
                  <a:cubicBezTo>
                    <a:pt x="104" y="153"/>
                    <a:pt x="105" y="154"/>
                    <a:pt x="108" y="151"/>
                  </a:cubicBezTo>
                  <a:cubicBezTo>
                    <a:pt x="111" y="148"/>
                    <a:pt x="113" y="153"/>
                    <a:pt x="115" y="154"/>
                  </a:cubicBezTo>
                  <a:cubicBezTo>
                    <a:pt x="117" y="156"/>
                    <a:pt x="122" y="160"/>
                    <a:pt x="126" y="160"/>
                  </a:cubicBezTo>
                  <a:cubicBezTo>
                    <a:pt x="131" y="160"/>
                    <a:pt x="136" y="164"/>
                    <a:pt x="139" y="164"/>
                  </a:cubicBezTo>
                  <a:cubicBezTo>
                    <a:pt x="142" y="164"/>
                    <a:pt x="148" y="163"/>
                    <a:pt x="150" y="165"/>
                  </a:cubicBezTo>
                  <a:cubicBezTo>
                    <a:pt x="152" y="167"/>
                    <a:pt x="161" y="170"/>
                    <a:pt x="164" y="172"/>
                  </a:cubicBezTo>
                  <a:cubicBezTo>
                    <a:pt x="166" y="173"/>
                    <a:pt x="171" y="172"/>
                    <a:pt x="174" y="171"/>
                  </a:cubicBezTo>
                  <a:cubicBezTo>
                    <a:pt x="177" y="171"/>
                    <a:pt x="182" y="170"/>
                    <a:pt x="187" y="167"/>
                  </a:cubicBezTo>
                  <a:cubicBezTo>
                    <a:pt x="192" y="164"/>
                    <a:pt x="196" y="162"/>
                    <a:pt x="200" y="157"/>
                  </a:cubicBezTo>
                  <a:cubicBezTo>
                    <a:pt x="204" y="151"/>
                    <a:pt x="208" y="146"/>
                    <a:pt x="210" y="139"/>
                  </a:cubicBezTo>
                  <a:cubicBezTo>
                    <a:pt x="212" y="133"/>
                    <a:pt x="210" y="133"/>
                    <a:pt x="209" y="128"/>
                  </a:cubicBezTo>
                  <a:cubicBezTo>
                    <a:pt x="209" y="123"/>
                    <a:pt x="206" y="129"/>
                    <a:pt x="204" y="125"/>
                  </a:cubicBezTo>
                  <a:cubicBezTo>
                    <a:pt x="203" y="121"/>
                    <a:pt x="205" y="121"/>
                    <a:pt x="204" y="117"/>
                  </a:cubicBezTo>
                  <a:cubicBezTo>
                    <a:pt x="203" y="114"/>
                    <a:pt x="202" y="113"/>
                    <a:pt x="202" y="110"/>
                  </a:cubicBezTo>
                  <a:cubicBezTo>
                    <a:pt x="202" y="106"/>
                    <a:pt x="200" y="108"/>
                    <a:pt x="199" y="107"/>
                  </a:cubicBezTo>
                  <a:cubicBezTo>
                    <a:pt x="197" y="106"/>
                    <a:pt x="196" y="103"/>
                    <a:pt x="195" y="103"/>
                  </a:cubicBezTo>
                  <a:cubicBezTo>
                    <a:pt x="194" y="103"/>
                    <a:pt x="190" y="105"/>
                    <a:pt x="189" y="101"/>
                  </a:cubicBezTo>
                  <a:cubicBezTo>
                    <a:pt x="187" y="98"/>
                    <a:pt x="183" y="94"/>
                    <a:pt x="181" y="91"/>
                  </a:cubicBezTo>
                  <a:cubicBezTo>
                    <a:pt x="179" y="88"/>
                    <a:pt x="181" y="92"/>
                    <a:pt x="179" y="93"/>
                  </a:cubicBezTo>
                  <a:cubicBezTo>
                    <a:pt x="177" y="95"/>
                    <a:pt x="168" y="87"/>
                    <a:pt x="164" y="84"/>
                  </a:cubicBezTo>
                  <a:cubicBezTo>
                    <a:pt x="161" y="81"/>
                    <a:pt x="163" y="83"/>
                    <a:pt x="161" y="85"/>
                  </a:cubicBezTo>
                  <a:cubicBezTo>
                    <a:pt x="159" y="86"/>
                    <a:pt x="150" y="75"/>
                    <a:pt x="146" y="70"/>
                  </a:cubicBezTo>
                  <a:cubicBezTo>
                    <a:pt x="142" y="66"/>
                    <a:pt x="130" y="61"/>
                    <a:pt x="125" y="57"/>
                  </a:cubicBezTo>
                  <a:cubicBezTo>
                    <a:pt x="121" y="54"/>
                    <a:pt x="111" y="52"/>
                    <a:pt x="107" y="48"/>
                  </a:cubicBezTo>
                  <a:cubicBezTo>
                    <a:pt x="103" y="45"/>
                    <a:pt x="104" y="48"/>
                    <a:pt x="101" y="49"/>
                  </a:cubicBezTo>
                  <a:cubicBezTo>
                    <a:pt x="98" y="50"/>
                    <a:pt x="91" y="46"/>
                    <a:pt x="88" y="44"/>
                  </a:cubicBezTo>
                  <a:cubicBezTo>
                    <a:pt x="85" y="43"/>
                    <a:pt x="84" y="44"/>
                    <a:pt x="81" y="43"/>
                  </a:cubicBezTo>
                  <a:cubicBezTo>
                    <a:pt x="78" y="43"/>
                    <a:pt x="78" y="44"/>
                    <a:pt x="77" y="49"/>
                  </a:cubicBezTo>
                  <a:cubicBezTo>
                    <a:pt x="76" y="54"/>
                    <a:pt x="75" y="53"/>
                    <a:pt x="71" y="54"/>
                  </a:cubicBezTo>
                  <a:cubicBezTo>
                    <a:pt x="68" y="54"/>
                    <a:pt x="74" y="52"/>
                    <a:pt x="74" y="49"/>
                  </a:cubicBezTo>
                  <a:cubicBezTo>
                    <a:pt x="74" y="46"/>
                    <a:pt x="74" y="43"/>
                    <a:pt x="73" y="41"/>
                  </a:cubicBezTo>
                  <a:cubicBezTo>
                    <a:pt x="71" y="39"/>
                    <a:pt x="70" y="40"/>
                    <a:pt x="68" y="43"/>
                  </a:cubicBezTo>
                  <a:cubicBezTo>
                    <a:pt x="67" y="46"/>
                    <a:pt x="68" y="40"/>
                    <a:pt x="68" y="40"/>
                  </a:cubicBezTo>
                  <a:cubicBezTo>
                    <a:pt x="68" y="40"/>
                    <a:pt x="64" y="37"/>
                    <a:pt x="61" y="38"/>
                  </a:cubicBezTo>
                  <a:cubicBezTo>
                    <a:pt x="58" y="39"/>
                    <a:pt x="54" y="42"/>
                    <a:pt x="56" y="40"/>
                  </a:cubicBezTo>
                  <a:cubicBezTo>
                    <a:pt x="58" y="38"/>
                    <a:pt x="59" y="37"/>
                    <a:pt x="58" y="35"/>
                  </a:cubicBezTo>
                  <a:cubicBezTo>
                    <a:pt x="56" y="33"/>
                    <a:pt x="56" y="36"/>
                    <a:pt x="54" y="32"/>
                  </a:cubicBezTo>
                  <a:cubicBezTo>
                    <a:pt x="53" y="28"/>
                    <a:pt x="59" y="33"/>
                    <a:pt x="62" y="34"/>
                  </a:cubicBezTo>
                  <a:cubicBezTo>
                    <a:pt x="65" y="34"/>
                    <a:pt x="66" y="33"/>
                    <a:pt x="68" y="31"/>
                  </a:cubicBezTo>
                  <a:cubicBezTo>
                    <a:pt x="69" y="29"/>
                    <a:pt x="65" y="25"/>
                    <a:pt x="64" y="26"/>
                  </a:cubicBezTo>
                  <a:cubicBezTo>
                    <a:pt x="63" y="27"/>
                    <a:pt x="59" y="26"/>
                    <a:pt x="57" y="24"/>
                  </a:cubicBezTo>
                  <a:cubicBezTo>
                    <a:pt x="55" y="23"/>
                    <a:pt x="52" y="18"/>
                    <a:pt x="49" y="18"/>
                  </a:cubicBezTo>
                  <a:cubicBezTo>
                    <a:pt x="47" y="18"/>
                    <a:pt x="50" y="21"/>
                    <a:pt x="49" y="23"/>
                  </a:cubicBezTo>
                  <a:cubicBezTo>
                    <a:pt x="49" y="25"/>
                    <a:pt x="47" y="22"/>
                    <a:pt x="47" y="24"/>
                  </a:cubicBezTo>
                  <a:cubicBezTo>
                    <a:pt x="47" y="27"/>
                    <a:pt x="45" y="28"/>
                    <a:pt x="43" y="30"/>
                  </a:cubicBezTo>
                  <a:cubicBezTo>
                    <a:pt x="42" y="31"/>
                    <a:pt x="41" y="30"/>
                    <a:pt x="40" y="28"/>
                  </a:cubicBezTo>
                  <a:cubicBezTo>
                    <a:pt x="39" y="25"/>
                    <a:pt x="36" y="27"/>
                    <a:pt x="35" y="28"/>
                  </a:cubicBezTo>
                  <a:cubicBezTo>
                    <a:pt x="35" y="28"/>
                    <a:pt x="35" y="33"/>
                    <a:pt x="34" y="36"/>
                  </a:cubicBezTo>
                  <a:cubicBezTo>
                    <a:pt x="33" y="39"/>
                    <a:pt x="27" y="36"/>
                    <a:pt x="25" y="34"/>
                  </a:cubicBezTo>
                  <a:cubicBezTo>
                    <a:pt x="23" y="32"/>
                    <a:pt x="23" y="41"/>
                    <a:pt x="19" y="42"/>
                  </a:cubicBezTo>
                  <a:cubicBezTo>
                    <a:pt x="16" y="43"/>
                    <a:pt x="14" y="42"/>
                    <a:pt x="13" y="45"/>
                  </a:cubicBezTo>
                  <a:cubicBezTo>
                    <a:pt x="12" y="49"/>
                    <a:pt x="11" y="52"/>
                    <a:pt x="9" y="55"/>
                  </a:cubicBezTo>
                  <a:cubicBezTo>
                    <a:pt x="7" y="57"/>
                    <a:pt x="5" y="56"/>
                    <a:pt x="2" y="60"/>
                  </a:cubicBezTo>
                  <a:cubicBezTo>
                    <a:pt x="0" y="63"/>
                    <a:pt x="3" y="62"/>
                    <a:pt x="4" y="65"/>
                  </a:cubicBezTo>
                  <a:cubicBezTo>
                    <a:pt x="5" y="68"/>
                    <a:pt x="2" y="72"/>
                    <a:pt x="2" y="76"/>
                  </a:cubicBezTo>
                  <a:cubicBezTo>
                    <a:pt x="1" y="81"/>
                    <a:pt x="3" y="84"/>
                    <a:pt x="6" y="87"/>
                  </a:cubicBezTo>
                  <a:cubicBezTo>
                    <a:pt x="8" y="89"/>
                    <a:pt x="12" y="91"/>
                    <a:pt x="13" y="91"/>
                  </a:cubicBezTo>
                  <a:cubicBezTo>
                    <a:pt x="15" y="91"/>
                    <a:pt x="19" y="97"/>
                    <a:pt x="21" y="100"/>
                  </a:cubicBezTo>
                  <a:cubicBezTo>
                    <a:pt x="23" y="103"/>
                    <a:pt x="25" y="106"/>
                    <a:pt x="27" y="107"/>
                  </a:cubicBezTo>
                  <a:cubicBezTo>
                    <a:pt x="29" y="108"/>
                    <a:pt x="29" y="113"/>
                    <a:pt x="28" y="116"/>
                  </a:cubicBezTo>
                  <a:cubicBezTo>
                    <a:pt x="27" y="120"/>
                    <a:pt x="21" y="129"/>
                    <a:pt x="18" y="135"/>
                  </a:cubicBezTo>
                  <a:cubicBezTo>
                    <a:pt x="16" y="141"/>
                    <a:pt x="19" y="142"/>
                    <a:pt x="21" y="146"/>
                  </a:cubicBezTo>
                  <a:cubicBezTo>
                    <a:pt x="22" y="150"/>
                    <a:pt x="27" y="158"/>
                    <a:pt x="29" y="163"/>
                  </a:cubicBezTo>
                  <a:cubicBezTo>
                    <a:pt x="32" y="167"/>
                    <a:pt x="36" y="179"/>
                    <a:pt x="38" y="183"/>
                  </a:cubicBezTo>
                  <a:cubicBezTo>
                    <a:pt x="39" y="187"/>
                    <a:pt x="37" y="185"/>
                    <a:pt x="35" y="186"/>
                  </a:cubicBezTo>
                  <a:cubicBezTo>
                    <a:pt x="33" y="187"/>
                    <a:pt x="33" y="188"/>
                    <a:pt x="34" y="192"/>
                  </a:cubicBezTo>
                  <a:cubicBezTo>
                    <a:pt x="34" y="195"/>
                    <a:pt x="34" y="198"/>
                    <a:pt x="33" y="201"/>
                  </a:cubicBezTo>
                  <a:cubicBezTo>
                    <a:pt x="33" y="205"/>
                    <a:pt x="34" y="205"/>
                    <a:pt x="36" y="207"/>
                  </a:cubicBezTo>
                  <a:cubicBezTo>
                    <a:pt x="38" y="210"/>
                    <a:pt x="34" y="211"/>
                    <a:pt x="34" y="215"/>
                  </a:cubicBezTo>
                  <a:cubicBezTo>
                    <a:pt x="34" y="218"/>
                    <a:pt x="36" y="221"/>
                    <a:pt x="38" y="222"/>
                  </a:cubicBezTo>
                  <a:cubicBezTo>
                    <a:pt x="39" y="222"/>
                    <a:pt x="42" y="222"/>
                    <a:pt x="43" y="224"/>
                  </a:cubicBezTo>
                  <a:cubicBezTo>
                    <a:pt x="45" y="227"/>
                    <a:pt x="41" y="229"/>
                    <a:pt x="42" y="234"/>
                  </a:cubicBezTo>
                  <a:cubicBezTo>
                    <a:pt x="44" y="238"/>
                    <a:pt x="46" y="238"/>
                    <a:pt x="49" y="240"/>
                  </a:cubicBezTo>
                  <a:cubicBezTo>
                    <a:pt x="52" y="242"/>
                    <a:pt x="52" y="245"/>
                    <a:pt x="52" y="248"/>
                  </a:cubicBezTo>
                  <a:cubicBezTo>
                    <a:pt x="52" y="251"/>
                    <a:pt x="51" y="255"/>
                    <a:pt x="48" y="259"/>
                  </a:cubicBezTo>
                  <a:cubicBezTo>
                    <a:pt x="45" y="262"/>
                    <a:pt x="45" y="263"/>
                    <a:pt x="48" y="266"/>
                  </a:cubicBezTo>
                  <a:cubicBezTo>
                    <a:pt x="51" y="269"/>
                    <a:pt x="52" y="271"/>
                    <a:pt x="54" y="273"/>
                  </a:cubicBezTo>
                  <a:cubicBezTo>
                    <a:pt x="56" y="275"/>
                    <a:pt x="62" y="279"/>
                    <a:pt x="64" y="280"/>
                  </a:cubicBezTo>
                  <a:cubicBezTo>
                    <a:pt x="67" y="282"/>
                    <a:pt x="70" y="288"/>
                    <a:pt x="71" y="291"/>
                  </a:cubicBezTo>
                  <a:cubicBezTo>
                    <a:pt x="73" y="295"/>
                    <a:pt x="73" y="296"/>
                    <a:pt x="71" y="299"/>
                  </a:cubicBezTo>
                  <a:cubicBezTo>
                    <a:pt x="70" y="302"/>
                    <a:pt x="71" y="304"/>
                    <a:pt x="70" y="309"/>
                  </a:cubicBezTo>
                  <a:cubicBezTo>
                    <a:pt x="69" y="315"/>
                    <a:pt x="64" y="318"/>
                    <a:pt x="62" y="322"/>
                  </a:cubicBezTo>
                  <a:cubicBezTo>
                    <a:pt x="59" y="326"/>
                    <a:pt x="52" y="339"/>
                    <a:pt x="50" y="343"/>
                  </a:cubicBezTo>
                  <a:cubicBezTo>
                    <a:pt x="48" y="348"/>
                    <a:pt x="44" y="352"/>
                    <a:pt x="42" y="356"/>
                  </a:cubicBezTo>
                  <a:cubicBezTo>
                    <a:pt x="40" y="360"/>
                    <a:pt x="35" y="364"/>
                    <a:pt x="31" y="369"/>
                  </a:cubicBezTo>
                  <a:cubicBezTo>
                    <a:pt x="27" y="373"/>
                    <a:pt x="19" y="386"/>
                    <a:pt x="19" y="386"/>
                  </a:cubicBezTo>
                  <a:cubicBezTo>
                    <a:pt x="19" y="386"/>
                    <a:pt x="20" y="385"/>
                    <a:pt x="21" y="384"/>
                  </a:cubicBezTo>
                  <a:cubicBezTo>
                    <a:pt x="22" y="383"/>
                    <a:pt x="25" y="384"/>
                    <a:pt x="26" y="385"/>
                  </a:cubicBezTo>
                  <a:cubicBezTo>
                    <a:pt x="26" y="385"/>
                    <a:pt x="29" y="381"/>
                    <a:pt x="30" y="380"/>
                  </a:cubicBezTo>
                  <a:cubicBezTo>
                    <a:pt x="31" y="378"/>
                    <a:pt x="33" y="378"/>
                    <a:pt x="34" y="377"/>
                  </a:cubicBezTo>
                  <a:cubicBezTo>
                    <a:pt x="35" y="375"/>
                    <a:pt x="35" y="378"/>
                    <a:pt x="35" y="379"/>
                  </a:cubicBezTo>
                  <a:cubicBezTo>
                    <a:pt x="34" y="381"/>
                    <a:pt x="35" y="382"/>
                    <a:pt x="35" y="385"/>
                  </a:cubicBezTo>
                  <a:cubicBezTo>
                    <a:pt x="35" y="388"/>
                    <a:pt x="33" y="384"/>
                    <a:pt x="32" y="383"/>
                  </a:cubicBezTo>
                  <a:cubicBezTo>
                    <a:pt x="30" y="383"/>
                    <a:pt x="32" y="386"/>
                    <a:pt x="33" y="387"/>
                  </a:cubicBezTo>
                  <a:cubicBezTo>
                    <a:pt x="34" y="388"/>
                    <a:pt x="34" y="391"/>
                    <a:pt x="36" y="390"/>
                  </a:cubicBezTo>
                  <a:cubicBezTo>
                    <a:pt x="38" y="390"/>
                    <a:pt x="39" y="392"/>
                    <a:pt x="40" y="394"/>
                  </a:cubicBezTo>
                  <a:cubicBezTo>
                    <a:pt x="41" y="397"/>
                    <a:pt x="42" y="398"/>
                    <a:pt x="44" y="398"/>
                  </a:cubicBezTo>
                  <a:cubicBezTo>
                    <a:pt x="46" y="398"/>
                    <a:pt x="48" y="398"/>
                    <a:pt x="49" y="398"/>
                  </a:cubicBezTo>
                  <a:cubicBezTo>
                    <a:pt x="50" y="397"/>
                    <a:pt x="53" y="397"/>
                    <a:pt x="54" y="397"/>
                  </a:cubicBezTo>
                  <a:cubicBezTo>
                    <a:pt x="54" y="397"/>
                    <a:pt x="56" y="400"/>
                    <a:pt x="57" y="402"/>
                  </a:cubicBezTo>
                  <a:cubicBezTo>
                    <a:pt x="59" y="404"/>
                    <a:pt x="60" y="404"/>
                    <a:pt x="61" y="404"/>
                  </a:cubicBezTo>
                  <a:cubicBezTo>
                    <a:pt x="62" y="405"/>
                    <a:pt x="64" y="408"/>
                    <a:pt x="63" y="409"/>
                  </a:cubicBezTo>
                  <a:cubicBezTo>
                    <a:pt x="62" y="409"/>
                    <a:pt x="59" y="408"/>
                    <a:pt x="58" y="407"/>
                  </a:cubicBezTo>
                  <a:cubicBezTo>
                    <a:pt x="57" y="406"/>
                    <a:pt x="52" y="406"/>
                    <a:pt x="50" y="405"/>
                  </a:cubicBezTo>
                  <a:cubicBezTo>
                    <a:pt x="49" y="404"/>
                    <a:pt x="47" y="404"/>
                    <a:pt x="46" y="404"/>
                  </a:cubicBezTo>
                  <a:cubicBezTo>
                    <a:pt x="45" y="404"/>
                    <a:pt x="43" y="407"/>
                    <a:pt x="43" y="409"/>
                  </a:cubicBezTo>
                  <a:cubicBezTo>
                    <a:pt x="42" y="412"/>
                    <a:pt x="40" y="412"/>
                    <a:pt x="38" y="411"/>
                  </a:cubicBezTo>
                  <a:cubicBezTo>
                    <a:pt x="36" y="410"/>
                    <a:pt x="35" y="409"/>
                    <a:pt x="34" y="410"/>
                  </a:cubicBezTo>
                  <a:cubicBezTo>
                    <a:pt x="34" y="411"/>
                    <a:pt x="33" y="416"/>
                    <a:pt x="32" y="416"/>
                  </a:cubicBezTo>
                  <a:cubicBezTo>
                    <a:pt x="31" y="416"/>
                    <a:pt x="30" y="414"/>
                    <a:pt x="29" y="412"/>
                  </a:cubicBezTo>
                  <a:cubicBezTo>
                    <a:pt x="28" y="410"/>
                    <a:pt x="27" y="411"/>
                    <a:pt x="27" y="413"/>
                  </a:cubicBezTo>
                  <a:cubicBezTo>
                    <a:pt x="26" y="415"/>
                    <a:pt x="28" y="418"/>
                    <a:pt x="28" y="419"/>
                  </a:cubicBezTo>
                  <a:cubicBezTo>
                    <a:pt x="29" y="421"/>
                    <a:pt x="28" y="422"/>
                    <a:pt x="29" y="424"/>
                  </a:cubicBezTo>
                  <a:cubicBezTo>
                    <a:pt x="30" y="425"/>
                    <a:pt x="30" y="427"/>
                    <a:pt x="29" y="427"/>
                  </a:cubicBezTo>
                  <a:cubicBezTo>
                    <a:pt x="28" y="428"/>
                    <a:pt x="26" y="432"/>
                    <a:pt x="26" y="436"/>
                  </a:cubicBezTo>
                  <a:cubicBezTo>
                    <a:pt x="25" y="439"/>
                    <a:pt x="22" y="441"/>
                    <a:pt x="21" y="443"/>
                  </a:cubicBezTo>
                  <a:cubicBezTo>
                    <a:pt x="19" y="446"/>
                    <a:pt x="21" y="451"/>
                    <a:pt x="22" y="453"/>
                  </a:cubicBezTo>
                  <a:cubicBezTo>
                    <a:pt x="22" y="455"/>
                    <a:pt x="23" y="459"/>
                    <a:pt x="23" y="462"/>
                  </a:cubicBezTo>
                  <a:cubicBezTo>
                    <a:pt x="22" y="465"/>
                    <a:pt x="23" y="468"/>
                    <a:pt x="24" y="469"/>
                  </a:cubicBezTo>
                  <a:cubicBezTo>
                    <a:pt x="24" y="471"/>
                    <a:pt x="26" y="471"/>
                    <a:pt x="26" y="473"/>
                  </a:cubicBezTo>
                  <a:cubicBezTo>
                    <a:pt x="26" y="474"/>
                    <a:pt x="28" y="476"/>
                    <a:pt x="29" y="477"/>
                  </a:cubicBezTo>
                  <a:cubicBezTo>
                    <a:pt x="30" y="479"/>
                    <a:pt x="26" y="482"/>
                    <a:pt x="24" y="484"/>
                  </a:cubicBezTo>
                  <a:cubicBezTo>
                    <a:pt x="23" y="486"/>
                    <a:pt x="23" y="488"/>
                    <a:pt x="24" y="490"/>
                  </a:cubicBezTo>
                  <a:cubicBezTo>
                    <a:pt x="25" y="491"/>
                    <a:pt x="28" y="495"/>
                    <a:pt x="30" y="496"/>
                  </a:cubicBezTo>
                  <a:cubicBezTo>
                    <a:pt x="32" y="497"/>
                    <a:pt x="32" y="497"/>
                    <a:pt x="32" y="499"/>
                  </a:cubicBezTo>
                  <a:cubicBezTo>
                    <a:pt x="32" y="502"/>
                    <a:pt x="31" y="508"/>
                    <a:pt x="32" y="510"/>
                  </a:cubicBezTo>
                  <a:cubicBezTo>
                    <a:pt x="33" y="513"/>
                    <a:pt x="34" y="511"/>
                    <a:pt x="34" y="513"/>
                  </a:cubicBezTo>
                  <a:cubicBezTo>
                    <a:pt x="35" y="515"/>
                    <a:pt x="36" y="517"/>
                    <a:pt x="38" y="520"/>
                  </a:cubicBezTo>
                  <a:cubicBezTo>
                    <a:pt x="39" y="522"/>
                    <a:pt x="40" y="526"/>
                    <a:pt x="41" y="529"/>
                  </a:cubicBezTo>
                  <a:cubicBezTo>
                    <a:pt x="41" y="533"/>
                    <a:pt x="41" y="534"/>
                    <a:pt x="42" y="535"/>
                  </a:cubicBezTo>
                  <a:cubicBezTo>
                    <a:pt x="42" y="536"/>
                    <a:pt x="45" y="536"/>
                    <a:pt x="47" y="535"/>
                  </a:cubicBezTo>
                  <a:cubicBezTo>
                    <a:pt x="49" y="535"/>
                    <a:pt x="50" y="538"/>
                    <a:pt x="50" y="539"/>
                  </a:cubicBezTo>
                  <a:cubicBezTo>
                    <a:pt x="51" y="540"/>
                    <a:pt x="53" y="539"/>
                    <a:pt x="54" y="538"/>
                  </a:cubicBezTo>
                  <a:cubicBezTo>
                    <a:pt x="56" y="537"/>
                    <a:pt x="57" y="537"/>
                    <a:pt x="58" y="538"/>
                  </a:cubicBezTo>
                  <a:cubicBezTo>
                    <a:pt x="59" y="539"/>
                    <a:pt x="61" y="538"/>
                    <a:pt x="62" y="540"/>
                  </a:cubicBezTo>
                  <a:cubicBezTo>
                    <a:pt x="62" y="541"/>
                    <a:pt x="62" y="542"/>
                    <a:pt x="62" y="543"/>
                  </a:cubicBezTo>
                  <a:cubicBezTo>
                    <a:pt x="62" y="544"/>
                    <a:pt x="62" y="546"/>
                    <a:pt x="63" y="547"/>
                  </a:cubicBezTo>
                  <a:cubicBezTo>
                    <a:pt x="64" y="549"/>
                    <a:pt x="65" y="546"/>
                    <a:pt x="67" y="545"/>
                  </a:cubicBezTo>
                  <a:cubicBezTo>
                    <a:pt x="68" y="545"/>
                    <a:pt x="69" y="544"/>
                    <a:pt x="72" y="543"/>
                  </a:cubicBezTo>
                  <a:cubicBezTo>
                    <a:pt x="74" y="543"/>
                    <a:pt x="78" y="543"/>
                    <a:pt x="80" y="544"/>
                  </a:cubicBezTo>
                  <a:cubicBezTo>
                    <a:pt x="81" y="545"/>
                    <a:pt x="83" y="547"/>
                    <a:pt x="85" y="549"/>
                  </a:cubicBezTo>
                  <a:cubicBezTo>
                    <a:pt x="87" y="550"/>
                    <a:pt x="88" y="550"/>
                    <a:pt x="89" y="552"/>
                  </a:cubicBezTo>
                  <a:cubicBezTo>
                    <a:pt x="89" y="555"/>
                    <a:pt x="88" y="557"/>
                    <a:pt x="89" y="560"/>
                  </a:cubicBezTo>
                  <a:cubicBezTo>
                    <a:pt x="90" y="562"/>
                    <a:pt x="92" y="563"/>
                    <a:pt x="91" y="566"/>
                  </a:cubicBezTo>
                  <a:cubicBezTo>
                    <a:pt x="91" y="568"/>
                    <a:pt x="89" y="569"/>
                    <a:pt x="89" y="571"/>
                  </a:cubicBezTo>
                  <a:cubicBezTo>
                    <a:pt x="88" y="573"/>
                    <a:pt x="91" y="574"/>
                    <a:pt x="92" y="576"/>
                  </a:cubicBezTo>
                  <a:cubicBezTo>
                    <a:pt x="93" y="578"/>
                    <a:pt x="98" y="586"/>
                    <a:pt x="99" y="587"/>
                  </a:cubicBezTo>
                  <a:cubicBezTo>
                    <a:pt x="100" y="589"/>
                    <a:pt x="103" y="591"/>
                    <a:pt x="105" y="592"/>
                  </a:cubicBezTo>
                  <a:cubicBezTo>
                    <a:pt x="107" y="592"/>
                    <a:pt x="109" y="594"/>
                    <a:pt x="109" y="595"/>
                  </a:cubicBezTo>
                  <a:cubicBezTo>
                    <a:pt x="110" y="597"/>
                    <a:pt x="108" y="599"/>
                    <a:pt x="108" y="601"/>
                  </a:cubicBezTo>
                  <a:cubicBezTo>
                    <a:pt x="109" y="602"/>
                    <a:pt x="112" y="600"/>
                    <a:pt x="113" y="600"/>
                  </a:cubicBezTo>
                  <a:cubicBezTo>
                    <a:pt x="115" y="600"/>
                    <a:pt x="117" y="601"/>
                    <a:pt x="118" y="601"/>
                  </a:cubicBezTo>
                  <a:cubicBezTo>
                    <a:pt x="120" y="602"/>
                    <a:pt x="120" y="603"/>
                    <a:pt x="121" y="605"/>
                  </a:cubicBezTo>
                  <a:cubicBezTo>
                    <a:pt x="122" y="607"/>
                    <a:pt x="123" y="607"/>
                    <a:pt x="125" y="608"/>
                  </a:cubicBezTo>
                  <a:cubicBezTo>
                    <a:pt x="127" y="609"/>
                    <a:pt x="127" y="611"/>
                    <a:pt x="124" y="612"/>
                  </a:cubicBezTo>
                  <a:cubicBezTo>
                    <a:pt x="122" y="613"/>
                    <a:pt x="119" y="615"/>
                    <a:pt x="118" y="617"/>
                  </a:cubicBezTo>
                  <a:cubicBezTo>
                    <a:pt x="117" y="618"/>
                    <a:pt x="113" y="616"/>
                    <a:pt x="111" y="615"/>
                  </a:cubicBezTo>
                  <a:cubicBezTo>
                    <a:pt x="109" y="614"/>
                    <a:pt x="107" y="614"/>
                    <a:pt x="105" y="615"/>
                  </a:cubicBezTo>
                  <a:cubicBezTo>
                    <a:pt x="104" y="615"/>
                    <a:pt x="103" y="617"/>
                    <a:pt x="103" y="620"/>
                  </a:cubicBezTo>
                  <a:cubicBezTo>
                    <a:pt x="104" y="622"/>
                    <a:pt x="106" y="623"/>
                    <a:pt x="108" y="624"/>
                  </a:cubicBezTo>
                  <a:cubicBezTo>
                    <a:pt x="109" y="625"/>
                    <a:pt x="109" y="630"/>
                    <a:pt x="109" y="632"/>
                  </a:cubicBezTo>
                  <a:cubicBezTo>
                    <a:pt x="109" y="634"/>
                    <a:pt x="112" y="639"/>
                    <a:pt x="112" y="639"/>
                  </a:cubicBezTo>
                  <a:cubicBezTo>
                    <a:pt x="112" y="639"/>
                    <a:pt x="116" y="641"/>
                    <a:pt x="118" y="641"/>
                  </a:cubicBezTo>
                  <a:cubicBezTo>
                    <a:pt x="120" y="641"/>
                    <a:pt x="121" y="642"/>
                    <a:pt x="122" y="640"/>
                  </a:cubicBezTo>
                  <a:cubicBezTo>
                    <a:pt x="123" y="638"/>
                    <a:pt x="123" y="636"/>
                    <a:pt x="124" y="636"/>
                  </a:cubicBezTo>
                  <a:cubicBezTo>
                    <a:pt x="125" y="635"/>
                    <a:pt x="128" y="636"/>
                    <a:pt x="130" y="637"/>
                  </a:cubicBezTo>
                  <a:cubicBezTo>
                    <a:pt x="131" y="637"/>
                    <a:pt x="133" y="638"/>
                    <a:pt x="134" y="636"/>
                  </a:cubicBezTo>
                  <a:cubicBezTo>
                    <a:pt x="136" y="635"/>
                    <a:pt x="137" y="635"/>
                    <a:pt x="139" y="635"/>
                  </a:cubicBezTo>
                  <a:cubicBezTo>
                    <a:pt x="141" y="634"/>
                    <a:pt x="142" y="634"/>
                    <a:pt x="143" y="635"/>
                  </a:cubicBezTo>
                  <a:cubicBezTo>
                    <a:pt x="144" y="636"/>
                    <a:pt x="143" y="636"/>
                    <a:pt x="145" y="635"/>
                  </a:cubicBezTo>
                  <a:cubicBezTo>
                    <a:pt x="146" y="634"/>
                    <a:pt x="146" y="634"/>
                    <a:pt x="148" y="634"/>
                  </a:cubicBezTo>
                  <a:cubicBezTo>
                    <a:pt x="149" y="635"/>
                    <a:pt x="150" y="636"/>
                    <a:pt x="152" y="637"/>
                  </a:cubicBezTo>
                  <a:cubicBezTo>
                    <a:pt x="153" y="638"/>
                    <a:pt x="154" y="642"/>
                    <a:pt x="155" y="643"/>
                  </a:cubicBezTo>
                  <a:cubicBezTo>
                    <a:pt x="156" y="645"/>
                    <a:pt x="158" y="646"/>
                    <a:pt x="159" y="647"/>
                  </a:cubicBezTo>
                  <a:cubicBezTo>
                    <a:pt x="160" y="648"/>
                    <a:pt x="161" y="649"/>
                    <a:pt x="159" y="650"/>
                  </a:cubicBezTo>
                  <a:cubicBezTo>
                    <a:pt x="156" y="650"/>
                    <a:pt x="156" y="651"/>
                    <a:pt x="156" y="651"/>
                  </a:cubicBezTo>
                  <a:cubicBezTo>
                    <a:pt x="156" y="651"/>
                    <a:pt x="158" y="655"/>
                    <a:pt x="159" y="658"/>
                  </a:cubicBezTo>
                  <a:cubicBezTo>
                    <a:pt x="159" y="661"/>
                    <a:pt x="160" y="660"/>
                    <a:pt x="162" y="660"/>
                  </a:cubicBezTo>
                  <a:cubicBezTo>
                    <a:pt x="163" y="660"/>
                    <a:pt x="165" y="660"/>
                    <a:pt x="167" y="661"/>
                  </a:cubicBezTo>
                  <a:cubicBezTo>
                    <a:pt x="169" y="662"/>
                    <a:pt x="169" y="662"/>
                    <a:pt x="171" y="661"/>
                  </a:cubicBezTo>
                  <a:cubicBezTo>
                    <a:pt x="173" y="661"/>
                    <a:pt x="173" y="661"/>
                    <a:pt x="174" y="662"/>
                  </a:cubicBezTo>
                  <a:cubicBezTo>
                    <a:pt x="176" y="663"/>
                    <a:pt x="177" y="664"/>
                    <a:pt x="178" y="665"/>
                  </a:cubicBezTo>
                  <a:cubicBezTo>
                    <a:pt x="180" y="666"/>
                    <a:pt x="180" y="669"/>
                    <a:pt x="181" y="670"/>
                  </a:cubicBezTo>
                  <a:cubicBezTo>
                    <a:pt x="182" y="671"/>
                    <a:pt x="182" y="674"/>
                    <a:pt x="182" y="677"/>
                  </a:cubicBezTo>
                  <a:cubicBezTo>
                    <a:pt x="183" y="679"/>
                    <a:pt x="184" y="679"/>
                    <a:pt x="186" y="681"/>
                  </a:cubicBezTo>
                  <a:cubicBezTo>
                    <a:pt x="187" y="682"/>
                    <a:pt x="187" y="682"/>
                    <a:pt x="189" y="681"/>
                  </a:cubicBezTo>
                  <a:cubicBezTo>
                    <a:pt x="190" y="680"/>
                    <a:pt x="191" y="680"/>
                    <a:pt x="192" y="680"/>
                  </a:cubicBezTo>
                  <a:cubicBezTo>
                    <a:pt x="193" y="680"/>
                    <a:pt x="195" y="681"/>
                    <a:pt x="195" y="682"/>
                  </a:cubicBezTo>
                  <a:cubicBezTo>
                    <a:pt x="196" y="682"/>
                    <a:pt x="198" y="684"/>
                    <a:pt x="199" y="683"/>
                  </a:cubicBezTo>
                  <a:cubicBezTo>
                    <a:pt x="200" y="683"/>
                    <a:pt x="202" y="684"/>
                    <a:pt x="203" y="685"/>
                  </a:cubicBezTo>
                  <a:cubicBezTo>
                    <a:pt x="205" y="686"/>
                    <a:pt x="206" y="684"/>
                    <a:pt x="207" y="683"/>
                  </a:cubicBezTo>
                  <a:cubicBezTo>
                    <a:pt x="209" y="681"/>
                    <a:pt x="210" y="682"/>
                    <a:pt x="212" y="682"/>
                  </a:cubicBezTo>
                  <a:cubicBezTo>
                    <a:pt x="214" y="682"/>
                    <a:pt x="214" y="681"/>
                    <a:pt x="217" y="680"/>
                  </a:cubicBezTo>
                  <a:cubicBezTo>
                    <a:pt x="219" y="679"/>
                    <a:pt x="218" y="681"/>
                    <a:pt x="220" y="682"/>
                  </a:cubicBezTo>
                  <a:cubicBezTo>
                    <a:pt x="222" y="683"/>
                    <a:pt x="223" y="686"/>
                    <a:pt x="224" y="687"/>
                  </a:cubicBezTo>
                  <a:cubicBezTo>
                    <a:pt x="226" y="689"/>
                    <a:pt x="227" y="689"/>
                    <a:pt x="228" y="690"/>
                  </a:cubicBezTo>
                  <a:cubicBezTo>
                    <a:pt x="229" y="691"/>
                    <a:pt x="230" y="692"/>
                    <a:pt x="231" y="691"/>
                  </a:cubicBezTo>
                  <a:cubicBezTo>
                    <a:pt x="233" y="690"/>
                    <a:pt x="233" y="688"/>
                    <a:pt x="234" y="689"/>
                  </a:cubicBezTo>
                  <a:cubicBezTo>
                    <a:pt x="235" y="690"/>
                    <a:pt x="235" y="690"/>
                    <a:pt x="237" y="690"/>
                  </a:cubicBezTo>
                  <a:cubicBezTo>
                    <a:pt x="239" y="690"/>
                    <a:pt x="243" y="693"/>
                    <a:pt x="244" y="693"/>
                  </a:cubicBezTo>
                  <a:cubicBezTo>
                    <a:pt x="246" y="694"/>
                    <a:pt x="248" y="694"/>
                    <a:pt x="249" y="694"/>
                  </a:cubicBezTo>
                  <a:cubicBezTo>
                    <a:pt x="250" y="694"/>
                    <a:pt x="251" y="694"/>
                    <a:pt x="251" y="694"/>
                  </a:cubicBezTo>
                  <a:cubicBezTo>
                    <a:pt x="251" y="694"/>
                    <a:pt x="251" y="695"/>
                    <a:pt x="252" y="695"/>
                  </a:cubicBezTo>
                  <a:cubicBezTo>
                    <a:pt x="252" y="696"/>
                    <a:pt x="254" y="696"/>
                    <a:pt x="255" y="696"/>
                  </a:cubicBezTo>
                  <a:cubicBezTo>
                    <a:pt x="256" y="696"/>
                    <a:pt x="257" y="696"/>
                    <a:pt x="258" y="697"/>
                  </a:cubicBezTo>
                  <a:cubicBezTo>
                    <a:pt x="259" y="698"/>
                    <a:pt x="261" y="700"/>
                    <a:pt x="262" y="700"/>
                  </a:cubicBezTo>
                  <a:cubicBezTo>
                    <a:pt x="263" y="701"/>
                    <a:pt x="264" y="701"/>
                    <a:pt x="265" y="700"/>
                  </a:cubicBezTo>
                  <a:cubicBezTo>
                    <a:pt x="266" y="700"/>
                    <a:pt x="268" y="699"/>
                    <a:pt x="268" y="701"/>
                  </a:cubicBezTo>
                  <a:cubicBezTo>
                    <a:pt x="267" y="702"/>
                    <a:pt x="268" y="703"/>
                    <a:pt x="269" y="705"/>
                  </a:cubicBezTo>
                  <a:cubicBezTo>
                    <a:pt x="269" y="708"/>
                    <a:pt x="269" y="708"/>
                    <a:pt x="269" y="710"/>
                  </a:cubicBezTo>
                  <a:cubicBezTo>
                    <a:pt x="268" y="711"/>
                    <a:pt x="265" y="712"/>
                    <a:pt x="264" y="714"/>
                  </a:cubicBezTo>
                  <a:cubicBezTo>
                    <a:pt x="263" y="716"/>
                    <a:pt x="266" y="716"/>
                    <a:pt x="267" y="717"/>
                  </a:cubicBezTo>
                  <a:cubicBezTo>
                    <a:pt x="268" y="719"/>
                    <a:pt x="267" y="719"/>
                    <a:pt x="265" y="720"/>
                  </a:cubicBezTo>
                  <a:cubicBezTo>
                    <a:pt x="264" y="720"/>
                    <a:pt x="263" y="723"/>
                    <a:pt x="264" y="725"/>
                  </a:cubicBezTo>
                  <a:cubicBezTo>
                    <a:pt x="265" y="726"/>
                    <a:pt x="266" y="725"/>
                    <a:pt x="267" y="726"/>
                  </a:cubicBezTo>
                  <a:cubicBezTo>
                    <a:pt x="268" y="727"/>
                    <a:pt x="268" y="729"/>
                    <a:pt x="269" y="731"/>
                  </a:cubicBezTo>
                  <a:cubicBezTo>
                    <a:pt x="269" y="732"/>
                    <a:pt x="271" y="733"/>
                    <a:pt x="270" y="735"/>
                  </a:cubicBezTo>
                  <a:cubicBezTo>
                    <a:pt x="268" y="737"/>
                    <a:pt x="268" y="740"/>
                    <a:pt x="268" y="742"/>
                  </a:cubicBezTo>
                  <a:cubicBezTo>
                    <a:pt x="268" y="743"/>
                    <a:pt x="267" y="743"/>
                    <a:pt x="264" y="743"/>
                  </a:cubicBezTo>
                  <a:cubicBezTo>
                    <a:pt x="261" y="743"/>
                    <a:pt x="256" y="743"/>
                    <a:pt x="254" y="743"/>
                  </a:cubicBezTo>
                  <a:cubicBezTo>
                    <a:pt x="252" y="743"/>
                    <a:pt x="251" y="745"/>
                    <a:pt x="250" y="746"/>
                  </a:cubicBezTo>
                  <a:cubicBezTo>
                    <a:pt x="249" y="748"/>
                    <a:pt x="247" y="749"/>
                    <a:pt x="245" y="750"/>
                  </a:cubicBezTo>
                  <a:cubicBezTo>
                    <a:pt x="243" y="750"/>
                    <a:pt x="243" y="753"/>
                    <a:pt x="243" y="755"/>
                  </a:cubicBezTo>
                  <a:cubicBezTo>
                    <a:pt x="243" y="757"/>
                    <a:pt x="242" y="763"/>
                    <a:pt x="243" y="762"/>
                  </a:cubicBezTo>
                  <a:cubicBezTo>
                    <a:pt x="245" y="762"/>
                    <a:pt x="247" y="761"/>
                    <a:pt x="248" y="760"/>
                  </a:cubicBezTo>
                  <a:cubicBezTo>
                    <a:pt x="249" y="758"/>
                    <a:pt x="252" y="757"/>
                    <a:pt x="251" y="759"/>
                  </a:cubicBezTo>
                  <a:cubicBezTo>
                    <a:pt x="250" y="760"/>
                    <a:pt x="249" y="760"/>
                    <a:pt x="248" y="761"/>
                  </a:cubicBezTo>
                  <a:cubicBezTo>
                    <a:pt x="248" y="762"/>
                    <a:pt x="252" y="761"/>
                    <a:pt x="253" y="760"/>
                  </a:cubicBezTo>
                  <a:cubicBezTo>
                    <a:pt x="255" y="760"/>
                    <a:pt x="256" y="758"/>
                    <a:pt x="258" y="758"/>
                  </a:cubicBezTo>
                  <a:cubicBezTo>
                    <a:pt x="259" y="758"/>
                    <a:pt x="261" y="757"/>
                    <a:pt x="261" y="758"/>
                  </a:cubicBezTo>
                  <a:cubicBezTo>
                    <a:pt x="261" y="760"/>
                    <a:pt x="261" y="761"/>
                    <a:pt x="262" y="762"/>
                  </a:cubicBezTo>
                  <a:cubicBezTo>
                    <a:pt x="263" y="763"/>
                    <a:pt x="263" y="763"/>
                    <a:pt x="261" y="763"/>
                  </a:cubicBezTo>
                  <a:cubicBezTo>
                    <a:pt x="260" y="764"/>
                    <a:pt x="258" y="764"/>
                    <a:pt x="256" y="766"/>
                  </a:cubicBezTo>
                  <a:cubicBezTo>
                    <a:pt x="254" y="768"/>
                    <a:pt x="252" y="768"/>
                    <a:pt x="250" y="768"/>
                  </a:cubicBezTo>
                  <a:cubicBezTo>
                    <a:pt x="247" y="768"/>
                    <a:pt x="247" y="770"/>
                    <a:pt x="249" y="771"/>
                  </a:cubicBezTo>
                  <a:cubicBezTo>
                    <a:pt x="251" y="772"/>
                    <a:pt x="250" y="773"/>
                    <a:pt x="248" y="774"/>
                  </a:cubicBezTo>
                  <a:cubicBezTo>
                    <a:pt x="246" y="774"/>
                    <a:pt x="245" y="771"/>
                    <a:pt x="244" y="772"/>
                  </a:cubicBezTo>
                  <a:cubicBezTo>
                    <a:pt x="243" y="774"/>
                    <a:pt x="240" y="774"/>
                    <a:pt x="238" y="774"/>
                  </a:cubicBezTo>
                  <a:cubicBezTo>
                    <a:pt x="237" y="774"/>
                    <a:pt x="237" y="776"/>
                    <a:pt x="238" y="777"/>
                  </a:cubicBezTo>
                  <a:cubicBezTo>
                    <a:pt x="239" y="779"/>
                    <a:pt x="240" y="780"/>
                    <a:pt x="242" y="780"/>
                  </a:cubicBezTo>
                  <a:cubicBezTo>
                    <a:pt x="244" y="780"/>
                    <a:pt x="243" y="780"/>
                    <a:pt x="245" y="782"/>
                  </a:cubicBezTo>
                  <a:cubicBezTo>
                    <a:pt x="247" y="784"/>
                    <a:pt x="249" y="785"/>
                    <a:pt x="251" y="786"/>
                  </a:cubicBezTo>
                  <a:cubicBezTo>
                    <a:pt x="252" y="787"/>
                    <a:pt x="252" y="789"/>
                    <a:pt x="250" y="789"/>
                  </a:cubicBezTo>
                  <a:cubicBezTo>
                    <a:pt x="248" y="789"/>
                    <a:pt x="246" y="786"/>
                    <a:pt x="245" y="787"/>
                  </a:cubicBezTo>
                  <a:cubicBezTo>
                    <a:pt x="244" y="788"/>
                    <a:pt x="244" y="791"/>
                    <a:pt x="244" y="792"/>
                  </a:cubicBezTo>
                  <a:cubicBezTo>
                    <a:pt x="243" y="794"/>
                    <a:pt x="242" y="791"/>
                    <a:pt x="242" y="790"/>
                  </a:cubicBezTo>
                  <a:cubicBezTo>
                    <a:pt x="242" y="789"/>
                    <a:pt x="241" y="788"/>
                    <a:pt x="241" y="791"/>
                  </a:cubicBezTo>
                  <a:cubicBezTo>
                    <a:pt x="241" y="793"/>
                    <a:pt x="240" y="794"/>
                    <a:pt x="240" y="796"/>
                  </a:cubicBezTo>
                  <a:cubicBezTo>
                    <a:pt x="239" y="797"/>
                    <a:pt x="238" y="799"/>
                    <a:pt x="236" y="799"/>
                  </a:cubicBezTo>
                  <a:cubicBezTo>
                    <a:pt x="234" y="800"/>
                    <a:pt x="236" y="801"/>
                    <a:pt x="237" y="802"/>
                  </a:cubicBezTo>
                  <a:cubicBezTo>
                    <a:pt x="238" y="804"/>
                    <a:pt x="238" y="803"/>
                    <a:pt x="239" y="806"/>
                  </a:cubicBezTo>
                  <a:cubicBezTo>
                    <a:pt x="240" y="808"/>
                    <a:pt x="238" y="808"/>
                    <a:pt x="236" y="807"/>
                  </a:cubicBezTo>
                  <a:cubicBezTo>
                    <a:pt x="235" y="806"/>
                    <a:pt x="234" y="807"/>
                    <a:pt x="232" y="807"/>
                  </a:cubicBezTo>
                  <a:cubicBezTo>
                    <a:pt x="231" y="807"/>
                    <a:pt x="230" y="807"/>
                    <a:pt x="230" y="809"/>
                  </a:cubicBezTo>
                  <a:cubicBezTo>
                    <a:pt x="230" y="810"/>
                    <a:pt x="227" y="807"/>
                    <a:pt x="225" y="806"/>
                  </a:cubicBezTo>
                  <a:cubicBezTo>
                    <a:pt x="224" y="805"/>
                    <a:pt x="222" y="803"/>
                    <a:pt x="222" y="805"/>
                  </a:cubicBezTo>
                  <a:cubicBezTo>
                    <a:pt x="222" y="807"/>
                    <a:pt x="224" y="808"/>
                    <a:pt x="224" y="809"/>
                  </a:cubicBezTo>
                  <a:cubicBezTo>
                    <a:pt x="223" y="810"/>
                    <a:pt x="220" y="811"/>
                    <a:pt x="220" y="813"/>
                  </a:cubicBezTo>
                  <a:cubicBezTo>
                    <a:pt x="221" y="814"/>
                    <a:pt x="224" y="814"/>
                    <a:pt x="226" y="815"/>
                  </a:cubicBezTo>
                  <a:cubicBezTo>
                    <a:pt x="227" y="815"/>
                    <a:pt x="231" y="816"/>
                    <a:pt x="232" y="817"/>
                  </a:cubicBezTo>
                  <a:cubicBezTo>
                    <a:pt x="232" y="818"/>
                    <a:pt x="234" y="822"/>
                    <a:pt x="236" y="824"/>
                  </a:cubicBezTo>
                  <a:cubicBezTo>
                    <a:pt x="237" y="825"/>
                    <a:pt x="237" y="825"/>
                    <a:pt x="240" y="825"/>
                  </a:cubicBezTo>
                  <a:cubicBezTo>
                    <a:pt x="242" y="825"/>
                    <a:pt x="242" y="825"/>
                    <a:pt x="242" y="824"/>
                  </a:cubicBezTo>
                  <a:cubicBezTo>
                    <a:pt x="242" y="823"/>
                    <a:pt x="244" y="824"/>
                    <a:pt x="245" y="826"/>
                  </a:cubicBezTo>
                  <a:cubicBezTo>
                    <a:pt x="246" y="827"/>
                    <a:pt x="248" y="829"/>
                    <a:pt x="250" y="831"/>
                  </a:cubicBezTo>
                  <a:cubicBezTo>
                    <a:pt x="252" y="834"/>
                    <a:pt x="255" y="833"/>
                    <a:pt x="257" y="833"/>
                  </a:cubicBezTo>
                  <a:cubicBezTo>
                    <a:pt x="259" y="834"/>
                    <a:pt x="260" y="834"/>
                    <a:pt x="262" y="836"/>
                  </a:cubicBezTo>
                  <a:cubicBezTo>
                    <a:pt x="387" y="702"/>
                    <a:pt x="387" y="702"/>
                    <a:pt x="387" y="702"/>
                  </a:cubicBezTo>
                  <a:cubicBezTo>
                    <a:pt x="387" y="700"/>
                    <a:pt x="387" y="697"/>
                    <a:pt x="389" y="694"/>
                  </a:cubicBezTo>
                  <a:close/>
                </a:path>
              </a:pathLst>
            </a:custGeom>
            <a:solidFill>
              <a:schemeClr val="bg2">
                <a:lumMod val="40000"/>
                <a:lumOff val="60000"/>
              </a:schemeClr>
            </a:solid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1" name="Freeform 210"/>
            <p:cNvSpPr>
              <a:spLocks/>
            </p:cNvSpPr>
            <p:nvPr/>
          </p:nvSpPr>
          <p:spPr bwMode="gray">
            <a:xfrm>
              <a:off x="3253606" y="5313834"/>
              <a:ext cx="450850" cy="684212"/>
            </a:xfrm>
            <a:custGeom>
              <a:avLst/>
              <a:gdLst>
                <a:gd name="T0" fmla="*/ 97 w 108"/>
                <a:gd name="T1" fmla="*/ 28 h 164"/>
                <a:gd name="T2" fmla="*/ 76 w 108"/>
                <a:gd name="T3" fmla="*/ 27 h 164"/>
                <a:gd name="T4" fmla="*/ 56 w 108"/>
                <a:gd name="T5" fmla="*/ 27 h 164"/>
                <a:gd name="T6" fmla="*/ 35 w 108"/>
                <a:gd name="T7" fmla="*/ 10 h 164"/>
                <a:gd name="T8" fmla="*/ 23 w 108"/>
                <a:gd name="T9" fmla="*/ 2 h 164"/>
                <a:gd name="T10" fmla="*/ 9 w 108"/>
                <a:gd name="T11" fmla="*/ 4 h 164"/>
                <a:gd name="T12" fmla="*/ 7 w 108"/>
                <a:gd name="T13" fmla="*/ 13 h 164"/>
                <a:gd name="T14" fmla="*/ 5 w 108"/>
                <a:gd name="T15" fmla="*/ 27 h 164"/>
                <a:gd name="T16" fmla="*/ 0 w 108"/>
                <a:gd name="T17" fmla="*/ 39 h 164"/>
                <a:gd name="T18" fmla="*/ 14 w 108"/>
                <a:gd name="T19" fmla="*/ 41 h 164"/>
                <a:gd name="T20" fmla="*/ 5 w 108"/>
                <a:gd name="T21" fmla="*/ 50 h 164"/>
                <a:gd name="T22" fmla="*/ 10 w 108"/>
                <a:gd name="T23" fmla="*/ 50 h 164"/>
                <a:gd name="T24" fmla="*/ 23 w 108"/>
                <a:gd name="T25" fmla="*/ 39 h 164"/>
                <a:gd name="T26" fmla="*/ 33 w 108"/>
                <a:gd name="T27" fmla="*/ 31 h 164"/>
                <a:gd name="T28" fmla="*/ 45 w 108"/>
                <a:gd name="T29" fmla="*/ 30 h 164"/>
                <a:gd name="T30" fmla="*/ 58 w 108"/>
                <a:gd name="T31" fmla="*/ 33 h 164"/>
                <a:gd name="T32" fmla="*/ 69 w 108"/>
                <a:gd name="T33" fmla="*/ 39 h 164"/>
                <a:gd name="T34" fmla="*/ 54 w 108"/>
                <a:gd name="T35" fmla="*/ 45 h 164"/>
                <a:gd name="T36" fmla="*/ 50 w 108"/>
                <a:gd name="T37" fmla="*/ 47 h 164"/>
                <a:gd name="T38" fmla="*/ 37 w 108"/>
                <a:gd name="T39" fmla="*/ 45 h 164"/>
                <a:gd name="T40" fmla="*/ 31 w 108"/>
                <a:gd name="T41" fmla="*/ 50 h 164"/>
                <a:gd name="T42" fmla="*/ 18 w 108"/>
                <a:gd name="T43" fmla="*/ 47 h 164"/>
                <a:gd name="T44" fmla="*/ 8 w 108"/>
                <a:gd name="T45" fmla="*/ 55 h 164"/>
                <a:gd name="T46" fmla="*/ 3 w 108"/>
                <a:gd name="T47" fmla="*/ 70 h 164"/>
                <a:gd name="T48" fmla="*/ 17 w 108"/>
                <a:gd name="T49" fmla="*/ 70 h 164"/>
                <a:gd name="T50" fmla="*/ 17 w 108"/>
                <a:gd name="T51" fmla="*/ 81 h 164"/>
                <a:gd name="T52" fmla="*/ 21 w 108"/>
                <a:gd name="T53" fmla="*/ 90 h 164"/>
                <a:gd name="T54" fmla="*/ 17 w 108"/>
                <a:gd name="T55" fmla="*/ 97 h 164"/>
                <a:gd name="T56" fmla="*/ 16 w 108"/>
                <a:gd name="T57" fmla="*/ 103 h 164"/>
                <a:gd name="T58" fmla="*/ 9 w 108"/>
                <a:gd name="T59" fmla="*/ 97 h 164"/>
                <a:gd name="T60" fmla="*/ 11 w 108"/>
                <a:gd name="T61" fmla="*/ 107 h 164"/>
                <a:gd name="T62" fmla="*/ 19 w 108"/>
                <a:gd name="T63" fmla="*/ 109 h 164"/>
                <a:gd name="T64" fmla="*/ 27 w 108"/>
                <a:gd name="T65" fmla="*/ 114 h 164"/>
                <a:gd name="T66" fmla="*/ 27 w 108"/>
                <a:gd name="T67" fmla="*/ 127 h 164"/>
                <a:gd name="T68" fmla="*/ 32 w 108"/>
                <a:gd name="T69" fmla="*/ 131 h 164"/>
                <a:gd name="T70" fmla="*/ 31 w 108"/>
                <a:gd name="T71" fmla="*/ 136 h 164"/>
                <a:gd name="T72" fmla="*/ 32 w 108"/>
                <a:gd name="T73" fmla="*/ 141 h 164"/>
                <a:gd name="T74" fmla="*/ 47 w 108"/>
                <a:gd name="T75" fmla="*/ 140 h 164"/>
                <a:gd name="T76" fmla="*/ 43 w 108"/>
                <a:gd name="T77" fmla="*/ 149 h 164"/>
                <a:gd name="T78" fmla="*/ 52 w 108"/>
                <a:gd name="T79" fmla="*/ 144 h 164"/>
                <a:gd name="T80" fmla="*/ 58 w 108"/>
                <a:gd name="T81" fmla="*/ 149 h 164"/>
                <a:gd name="T82" fmla="*/ 63 w 108"/>
                <a:gd name="T83" fmla="*/ 153 h 164"/>
                <a:gd name="T84" fmla="*/ 68 w 108"/>
                <a:gd name="T85" fmla="*/ 160 h 164"/>
                <a:gd name="T86" fmla="*/ 85 w 108"/>
                <a:gd name="T87" fmla="*/ 159 h 164"/>
                <a:gd name="T88" fmla="*/ 92 w 108"/>
                <a:gd name="T89" fmla="*/ 156 h 164"/>
                <a:gd name="T90" fmla="*/ 94 w 108"/>
                <a:gd name="T91" fmla="*/ 144 h 164"/>
                <a:gd name="T92" fmla="*/ 108 w 108"/>
                <a:gd name="T93" fmla="*/ 17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8" h="164">
                  <a:moveTo>
                    <a:pt x="105" y="19"/>
                  </a:moveTo>
                  <a:cubicBezTo>
                    <a:pt x="103" y="20"/>
                    <a:pt x="100" y="20"/>
                    <a:pt x="99" y="22"/>
                  </a:cubicBezTo>
                  <a:cubicBezTo>
                    <a:pt x="99" y="24"/>
                    <a:pt x="99" y="26"/>
                    <a:pt x="97" y="28"/>
                  </a:cubicBezTo>
                  <a:cubicBezTo>
                    <a:pt x="96" y="30"/>
                    <a:pt x="92" y="29"/>
                    <a:pt x="90" y="29"/>
                  </a:cubicBezTo>
                  <a:cubicBezTo>
                    <a:pt x="88" y="28"/>
                    <a:pt x="84" y="28"/>
                    <a:pt x="81" y="27"/>
                  </a:cubicBezTo>
                  <a:cubicBezTo>
                    <a:pt x="79" y="26"/>
                    <a:pt x="78" y="26"/>
                    <a:pt x="76" y="27"/>
                  </a:cubicBezTo>
                  <a:cubicBezTo>
                    <a:pt x="74" y="27"/>
                    <a:pt x="70" y="27"/>
                    <a:pt x="68" y="27"/>
                  </a:cubicBezTo>
                  <a:cubicBezTo>
                    <a:pt x="66" y="26"/>
                    <a:pt x="63" y="25"/>
                    <a:pt x="60" y="24"/>
                  </a:cubicBezTo>
                  <a:cubicBezTo>
                    <a:pt x="58" y="24"/>
                    <a:pt x="57" y="26"/>
                    <a:pt x="56" y="27"/>
                  </a:cubicBezTo>
                  <a:cubicBezTo>
                    <a:pt x="55" y="28"/>
                    <a:pt x="56" y="25"/>
                    <a:pt x="54" y="24"/>
                  </a:cubicBezTo>
                  <a:cubicBezTo>
                    <a:pt x="53" y="24"/>
                    <a:pt x="50" y="22"/>
                    <a:pt x="44" y="19"/>
                  </a:cubicBezTo>
                  <a:cubicBezTo>
                    <a:pt x="38" y="16"/>
                    <a:pt x="36" y="12"/>
                    <a:pt x="35" y="10"/>
                  </a:cubicBezTo>
                  <a:cubicBezTo>
                    <a:pt x="34" y="8"/>
                    <a:pt x="35" y="5"/>
                    <a:pt x="35" y="5"/>
                  </a:cubicBezTo>
                  <a:cubicBezTo>
                    <a:pt x="35" y="5"/>
                    <a:pt x="31" y="4"/>
                    <a:pt x="28" y="5"/>
                  </a:cubicBezTo>
                  <a:cubicBezTo>
                    <a:pt x="25" y="6"/>
                    <a:pt x="25" y="5"/>
                    <a:pt x="23" y="2"/>
                  </a:cubicBezTo>
                  <a:cubicBezTo>
                    <a:pt x="21" y="0"/>
                    <a:pt x="20" y="1"/>
                    <a:pt x="18" y="1"/>
                  </a:cubicBezTo>
                  <a:cubicBezTo>
                    <a:pt x="16" y="1"/>
                    <a:pt x="16" y="4"/>
                    <a:pt x="14" y="4"/>
                  </a:cubicBezTo>
                  <a:cubicBezTo>
                    <a:pt x="13" y="5"/>
                    <a:pt x="11" y="4"/>
                    <a:pt x="9" y="4"/>
                  </a:cubicBezTo>
                  <a:cubicBezTo>
                    <a:pt x="8" y="5"/>
                    <a:pt x="8" y="6"/>
                    <a:pt x="7" y="8"/>
                  </a:cubicBezTo>
                  <a:cubicBezTo>
                    <a:pt x="6" y="9"/>
                    <a:pt x="5" y="8"/>
                    <a:pt x="5" y="10"/>
                  </a:cubicBezTo>
                  <a:cubicBezTo>
                    <a:pt x="4" y="11"/>
                    <a:pt x="6" y="12"/>
                    <a:pt x="7" y="13"/>
                  </a:cubicBezTo>
                  <a:cubicBezTo>
                    <a:pt x="9" y="15"/>
                    <a:pt x="9" y="16"/>
                    <a:pt x="9" y="17"/>
                  </a:cubicBezTo>
                  <a:cubicBezTo>
                    <a:pt x="10" y="19"/>
                    <a:pt x="10" y="20"/>
                    <a:pt x="8" y="22"/>
                  </a:cubicBezTo>
                  <a:cubicBezTo>
                    <a:pt x="6" y="23"/>
                    <a:pt x="5" y="24"/>
                    <a:pt x="5" y="27"/>
                  </a:cubicBezTo>
                  <a:cubicBezTo>
                    <a:pt x="5" y="29"/>
                    <a:pt x="5" y="31"/>
                    <a:pt x="5" y="33"/>
                  </a:cubicBezTo>
                  <a:cubicBezTo>
                    <a:pt x="4" y="34"/>
                    <a:pt x="0" y="37"/>
                    <a:pt x="0" y="37"/>
                  </a:cubicBezTo>
                  <a:cubicBezTo>
                    <a:pt x="0" y="37"/>
                    <a:pt x="0" y="38"/>
                    <a:pt x="0" y="39"/>
                  </a:cubicBezTo>
                  <a:cubicBezTo>
                    <a:pt x="1" y="41"/>
                    <a:pt x="2" y="41"/>
                    <a:pt x="5" y="42"/>
                  </a:cubicBezTo>
                  <a:cubicBezTo>
                    <a:pt x="7" y="42"/>
                    <a:pt x="10" y="42"/>
                    <a:pt x="11" y="41"/>
                  </a:cubicBezTo>
                  <a:cubicBezTo>
                    <a:pt x="13" y="41"/>
                    <a:pt x="14" y="40"/>
                    <a:pt x="14" y="41"/>
                  </a:cubicBezTo>
                  <a:cubicBezTo>
                    <a:pt x="15" y="42"/>
                    <a:pt x="14" y="43"/>
                    <a:pt x="12" y="44"/>
                  </a:cubicBezTo>
                  <a:cubicBezTo>
                    <a:pt x="10" y="45"/>
                    <a:pt x="8" y="45"/>
                    <a:pt x="6" y="47"/>
                  </a:cubicBezTo>
                  <a:cubicBezTo>
                    <a:pt x="5" y="48"/>
                    <a:pt x="4" y="48"/>
                    <a:pt x="5" y="50"/>
                  </a:cubicBezTo>
                  <a:cubicBezTo>
                    <a:pt x="5" y="52"/>
                    <a:pt x="4" y="54"/>
                    <a:pt x="4" y="56"/>
                  </a:cubicBezTo>
                  <a:cubicBezTo>
                    <a:pt x="4" y="57"/>
                    <a:pt x="6" y="56"/>
                    <a:pt x="7" y="54"/>
                  </a:cubicBezTo>
                  <a:cubicBezTo>
                    <a:pt x="8" y="53"/>
                    <a:pt x="9" y="51"/>
                    <a:pt x="10" y="50"/>
                  </a:cubicBezTo>
                  <a:cubicBezTo>
                    <a:pt x="11" y="49"/>
                    <a:pt x="13" y="46"/>
                    <a:pt x="14" y="45"/>
                  </a:cubicBezTo>
                  <a:cubicBezTo>
                    <a:pt x="15" y="43"/>
                    <a:pt x="17" y="43"/>
                    <a:pt x="19" y="42"/>
                  </a:cubicBezTo>
                  <a:cubicBezTo>
                    <a:pt x="20" y="42"/>
                    <a:pt x="22" y="40"/>
                    <a:pt x="23" y="39"/>
                  </a:cubicBezTo>
                  <a:cubicBezTo>
                    <a:pt x="24" y="39"/>
                    <a:pt x="25" y="36"/>
                    <a:pt x="26" y="34"/>
                  </a:cubicBezTo>
                  <a:cubicBezTo>
                    <a:pt x="27" y="32"/>
                    <a:pt x="28" y="31"/>
                    <a:pt x="29" y="31"/>
                  </a:cubicBezTo>
                  <a:cubicBezTo>
                    <a:pt x="30" y="31"/>
                    <a:pt x="32" y="30"/>
                    <a:pt x="33" y="31"/>
                  </a:cubicBezTo>
                  <a:cubicBezTo>
                    <a:pt x="34" y="32"/>
                    <a:pt x="35" y="31"/>
                    <a:pt x="36" y="30"/>
                  </a:cubicBezTo>
                  <a:cubicBezTo>
                    <a:pt x="37" y="29"/>
                    <a:pt x="40" y="28"/>
                    <a:pt x="41" y="29"/>
                  </a:cubicBezTo>
                  <a:cubicBezTo>
                    <a:pt x="43" y="30"/>
                    <a:pt x="43" y="30"/>
                    <a:pt x="45" y="30"/>
                  </a:cubicBezTo>
                  <a:cubicBezTo>
                    <a:pt x="46" y="30"/>
                    <a:pt x="47" y="30"/>
                    <a:pt x="48" y="31"/>
                  </a:cubicBezTo>
                  <a:cubicBezTo>
                    <a:pt x="48" y="32"/>
                    <a:pt x="51" y="31"/>
                    <a:pt x="52" y="31"/>
                  </a:cubicBezTo>
                  <a:cubicBezTo>
                    <a:pt x="54" y="31"/>
                    <a:pt x="57" y="32"/>
                    <a:pt x="58" y="33"/>
                  </a:cubicBezTo>
                  <a:cubicBezTo>
                    <a:pt x="59" y="33"/>
                    <a:pt x="61" y="37"/>
                    <a:pt x="62" y="37"/>
                  </a:cubicBezTo>
                  <a:cubicBezTo>
                    <a:pt x="63" y="37"/>
                    <a:pt x="67" y="37"/>
                    <a:pt x="69" y="37"/>
                  </a:cubicBezTo>
                  <a:cubicBezTo>
                    <a:pt x="70" y="37"/>
                    <a:pt x="71" y="39"/>
                    <a:pt x="69" y="39"/>
                  </a:cubicBezTo>
                  <a:cubicBezTo>
                    <a:pt x="66" y="39"/>
                    <a:pt x="64" y="39"/>
                    <a:pt x="61" y="40"/>
                  </a:cubicBezTo>
                  <a:cubicBezTo>
                    <a:pt x="57" y="40"/>
                    <a:pt x="56" y="41"/>
                    <a:pt x="55" y="42"/>
                  </a:cubicBezTo>
                  <a:cubicBezTo>
                    <a:pt x="54" y="43"/>
                    <a:pt x="53" y="45"/>
                    <a:pt x="54" y="45"/>
                  </a:cubicBezTo>
                  <a:cubicBezTo>
                    <a:pt x="55" y="45"/>
                    <a:pt x="57" y="45"/>
                    <a:pt x="58" y="45"/>
                  </a:cubicBezTo>
                  <a:cubicBezTo>
                    <a:pt x="59" y="46"/>
                    <a:pt x="58" y="47"/>
                    <a:pt x="57" y="48"/>
                  </a:cubicBezTo>
                  <a:cubicBezTo>
                    <a:pt x="55" y="49"/>
                    <a:pt x="52" y="47"/>
                    <a:pt x="50" y="47"/>
                  </a:cubicBezTo>
                  <a:cubicBezTo>
                    <a:pt x="48" y="48"/>
                    <a:pt x="45" y="47"/>
                    <a:pt x="44" y="47"/>
                  </a:cubicBezTo>
                  <a:cubicBezTo>
                    <a:pt x="42" y="47"/>
                    <a:pt x="40" y="47"/>
                    <a:pt x="38" y="48"/>
                  </a:cubicBezTo>
                  <a:cubicBezTo>
                    <a:pt x="36" y="48"/>
                    <a:pt x="37" y="45"/>
                    <a:pt x="37" y="45"/>
                  </a:cubicBezTo>
                  <a:cubicBezTo>
                    <a:pt x="38" y="44"/>
                    <a:pt x="34" y="43"/>
                    <a:pt x="32" y="44"/>
                  </a:cubicBezTo>
                  <a:cubicBezTo>
                    <a:pt x="30" y="45"/>
                    <a:pt x="33" y="47"/>
                    <a:pt x="33" y="48"/>
                  </a:cubicBezTo>
                  <a:cubicBezTo>
                    <a:pt x="34" y="49"/>
                    <a:pt x="33" y="50"/>
                    <a:pt x="31" y="50"/>
                  </a:cubicBezTo>
                  <a:cubicBezTo>
                    <a:pt x="28" y="50"/>
                    <a:pt x="26" y="49"/>
                    <a:pt x="25" y="48"/>
                  </a:cubicBezTo>
                  <a:cubicBezTo>
                    <a:pt x="24" y="46"/>
                    <a:pt x="23" y="44"/>
                    <a:pt x="22" y="45"/>
                  </a:cubicBezTo>
                  <a:cubicBezTo>
                    <a:pt x="20" y="46"/>
                    <a:pt x="20" y="47"/>
                    <a:pt x="18" y="47"/>
                  </a:cubicBezTo>
                  <a:cubicBezTo>
                    <a:pt x="16" y="47"/>
                    <a:pt x="15" y="47"/>
                    <a:pt x="14" y="47"/>
                  </a:cubicBezTo>
                  <a:cubicBezTo>
                    <a:pt x="13" y="48"/>
                    <a:pt x="12" y="51"/>
                    <a:pt x="11" y="52"/>
                  </a:cubicBezTo>
                  <a:cubicBezTo>
                    <a:pt x="10" y="53"/>
                    <a:pt x="8" y="53"/>
                    <a:pt x="8" y="55"/>
                  </a:cubicBezTo>
                  <a:cubicBezTo>
                    <a:pt x="7" y="57"/>
                    <a:pt x="6" y="57"/>
                    <a:pt x="5" y="57"/>
                  </a:cubicBezTo>
                  <a:cubicBezTo>
                    <a:pt x="4" y="58"/>
                    <a:pt x="3" y="59"/>
                    <a:pt x="4" y="61"/>
                  </a:cubicBezTo>
                  <a:cubicBezTo>
                    <a:pt x="4" y="63"/>
                    <a:pt x="3" y="68"/>
                    <a:pt x="3" y="70"/>
                  </a:cubicBezTo>
                  <a:cubicBezTo>
                    <a:pt x="3" y="73"/>
                    <a:pt x="5" y="73"/>
                    <a:pt x="6" y="72"/>
                  </a:cubicBezTo>
                  <a:cubicBezTo>
                    <a:pt x="7" y="72"/>
                    <a:pt x="11" y="72"/>
                    <a:pt x="12" y="71"/>
                  </a:cubicBezTo>
                  <a:cubicBezTo>
                    <a:pt x="14" y="70"/>
                    <a:pt x="16" y="70"/>
                    <a:pt x="17" y="70"/>
                  </a:cubicBezTo>
                  <a:cubicBezTo>
                    <a:pt x="19" y="70"/>
                    <a:pt x="18" y="71"/>
                    <a:pt x="17" y="73"/>
                  </a:cubicBezTo>
                  <a:cubicBezTo>
                    <a:pt x="16" y="74"/>
                    <a:pt x="14" y="76"/>
                    <a:pt x="14" y="78"/>
                  </a:cubicBezTo>
                  <a:cubicBezTo>
                    <a:pt x="14" y="80"/>
                    <a:pt x="16" y="80"/>
                    <a:pt x="17" y="81"/>
                  </a:cubicBezTo>
                  <a:cubicBezTo>
                    <a:pt x="18" y="82"/>
                    <a:pt x="18" y="86"/>
                    <a:pt x="18" y="87"/>
                  </a:cubicBezTo>
                  <a:cubicBezTo>
                    <a:pt x="18" y="88"/>
                    <a:pt x="19" y="87"/>
                    <a:pt x="20" y="87"/>
                  </a:cubicBezTo>
                  <a:cubicBezTo>
                    <a:pt x="21" y="87"/>
                    <a:pt x="21" y="89"/>
                    <a:pt x="21" y="90"/>
                  </a:cubicBezTo>
                  <a:cubicBezTo>
                    <a:pt x="20" y="91"/>
                    <a:pt x="19" y="92"/>
                    <a:pt x="18" y="92"/>
                  </a:cubicBezTo>
                  <a:cubicBezTo>
                    <a:pt x="16" y="93"/>
                    <a:pt x="16" y="94"/>
                    <a:pt x="16" y="94"/>
                  </a:cubicBezTo>
                  <a:cubicBezTo>
                    <a:pt x="16" y="94"/>
                    <a:pt x="17" y="95"/>
                    <a:pt x="17" y="97"/>
                  </a:cubicBezTo>
                  <a:cubicBezTo>
                    <a:pt x="18" y="98"/>
                    <a:pt x="20" y="99"/>
                    <a:pt x="21" y="100"/>
                  </a:cubicBezTo>
                  <a:cubicBezTo>
                    <a:pt x="23" y="101"/>
                    <a:pt x="22" y="102"/>
                    <a:pt x="20" y="102"/>
                  </a:cubicBezTo>
                  <a:cubicBezTo>
                    <a:pt x="19" y="103"/>
                    <a:pt x="17" y="103"/>
                    <a:pt x="16" y="103"/>
                  </a:cubicBezTo>
                  <a:cubicBezTo>
                    <a:pt x="15" y="103"/>
                    <a:pt x="15" y="99"/>
                    <a:pt x="14" y="98"/>
                  </a:cubicBezTo>
                  <a:cubicBezTo>
                    <a:pt x="14" y="96"/>
                    <a:pt x="13" y="95"/>
                    <a:pt x="11" y="94"/>
                  </a:cubicBezTo>
                  <a:cubicBezTo>
                    <a:pt x="10" y="93"/>
                    <a:pt x="9" y="95"/>
                    <a:pt x="9" y="97"/>
                  </a:cubicBezTo>
                  <a:cubicBezTo>
                    <a:pt x="9" y="99"/>
                    <a:pt x="11" y="100"/>
                    <a:pt x="11" y="102"/>
                  </a:cubicBezTo>
                  <a:cubicBezTo>
                    <a:pt x="12" y="103"/>
                    <a:pt x="11" y="103"/>
                    <a:pt x="9" y="104"/>
                  </a:cubicBezTo>
                  <a:cubicBezTo>
                    <a:pt x="8" y="105"/>
                    <a:pt x="10" y="107"/>
                    <a:pt x="11" y="107"/>
                  </a:cubicBezTo>
                  <a:cubicBezTo>
                    <a:pt x="12" y="108"/>
                    <a:pt x="14" y="110"/>
                    <a:pt x="15" y="110"/>
                  </a:cubicBezTo>
                  <a:cubicBezTo>
                    <a:pt x="16" y="109"/>
                    <a:pt x="15" y="107"/>
                    <a:pt x="16" y="107"/>
                  </a:cubicBezTo>
                  <a:cubicBezTo>
                    <a:pt x="17" y="107"/>
                    <a:pt x="18" y="107"/>
                    <a:pt x="19" y="109"/>
                  </a:cubicBezTo>
                  <a:cubicBezTo>
                    <a:pt x="19" y="111"/>
                    <a:pt x="18" y="111"/>
                    <a:pt x="20" y="111"/>
                  </a:cubicBezTo>
                  <a:cubicBezTo>
                    <a:pt x="22" y="112"/>
                    <a:pt x="23" y="110"/>
                    <a:pt x="24" y="112"/>
                  </a:cubicBezTo>
                  <a:cubicBezTo>
                    <a:pt x="25" y="114"/>
                    <a:pt x="26" y="113"/>
                    <a:pt x="27" y="114"/>
                  </a:cubicBezTo>
                  <a:cubicBezTo>
                    <a:pt x="28" y="114"/>
                    <a:pt x="28" y="118"/>
                    <a:pt x="27" y="119"/>
                  </a:cubicBezTo>
                  <a:cubicBezTo>
                    <a:pt x="26" y="121"/>
                    <a:pt x="24" y="121"/>
                    <a:pt x="24" y="122"/>
                  </a:cubicBezTo>
                  <a:cubicBezTo>
                    <a:pt x="24" y="123"/>
                    <a:pt x="27" y="125"/>
                    <a:pt x="27" y="127"/>
                  </a:cubicBezTo>
                  <a:cubicBezTo>
                    <a:pt x="27" y="129"/>
                    <a:pt x="28" y="131"/>
                    <a:pt x="29" y="130"/>
                  </a:cubicBezTo>
                  <a:cubicBezTo>
                    <a:pt x="30" y="130"/>
                    <a:pt x="31" y="128"/>
                    <a:pt x="31" y="129"/>
                  </a:cubicBezTo>
                  <a:cubicBezTo>
                    <a:pt x="31" y="130"/>
                    <a:pt x="31" y="131"/>
                    <a:pt x="32" y="131"/>
                  </a:cubicBezTo>
                  <a:cubicBezTo>
                    <a:pt x="33" y="131"/>
                    <a:pt x="32" y="132"/>
                    <a:pt x="33" y="133"/>
                  </a:cubicBezTo>
                  <a:cubicBezTo>
                    <a:pt x="34" y="135"/>
                    <a:pt x="35" y="136"/>
                    <a:pt x="34" y="136"/>
                  </a:cubicBezTo>
                  <a:cubicBezTo>
                    <a:pt x="34" y="137"/>
                    <a:pt x="32" y="137"/>
                    <a:pt x="31" y="136"/>
                  </a:cubicBezTo>
                  <a:cubicBezTo>
                    <a:pt x="30" y="136"/>
                    <a:pt x="28" y="137"/>
                    <a:pt x="28" y="138"/>
                  </a:cubicBezTo>
                  <a:cubicBezTo>
                    <a:pt x="28" y="138"/>
                    <a:pt x="29" y="141"/>
                    <a:pt x="30" y="140"/>
                  </a:cubicBezTo>
                  <a:cubicBezTo>
                    <a:pt x="31" y="139"/>
                    <a:pt x="32" y="140"/>
                    <a:pt x="32" y="141"/>
                  </a:cubicBezTo>
                  <a:cubicBezTo>
                    <a:pt x="33" y="142"/>
                    <a:pt x="36" y="141"/>
                    <a:pt x="37" y="141"/>
                  </a:cubicBezTo>
                  <a:cubicBezTo>
                    <a:pt x="38" y="140"/>
                    <a:pt x="42" y="140"/>
                    <a:pt x="43" y="140"/>
                  </a:cubicBezTo>
                  <a:cubicBezTo>
                    <a:pt x="44" y="140"/>
                    <a:pt x="46" y="139"/>
                    <a:pt x="47" y="140"/>
                  </a:cubicBezTo>
                  <a:cubicBezTo>
                    <a:pt x="47" y="141"/>
                    <a:pt x="46" y="142"/>
                    <a:pt x="45" y="143"/>
                  </a:cubicBezTo>
                  <a:cubicBezTo>
                    <a:pt x="44" y="144"/>
                    <a:pt x="43" y="144"/>
                    <a:pt x="44" y="146"/>
                  </a:cubicBezTo>
                  <a:cubicBezTo>
                    <a:pt x="45" y="147"/>
                    <a:pt x="44" y="148"/>
                    <a:pt x="43" y="149"/>
                  </a:cubicBezTo>
                  <a:cubicBezTo>
                    <a:pt x="43" y="151"/>
                    <a:pt x="44" y="152"/>
                    <a:pt x="45" y="152"/>
                  </a:cubicBezTo>
                  <a:cubicBezTo>
                    <a:pt x="47" y="151"/>
                    <a:pt x="47" y="150"/>
                    <a:pt x="48" y="148"/>
                  </a:cubicBezTo>
                  <a:cubicBezTo>
                    <a:pt x="49" y="147"/>
                    <a:pt x="51" y="145"/>
                    <a:pt x="52" y="144"/>
                  </a:cubicBezTo>
                  <a:cubicBezTo>
                    <a:pt x="53" y="142"/>
                    <a:pt x="53" y="144"/>
                    <a:pt x="54" y="145"/>
                  </a:cubicBezTo>
                  <a:cubicBezTo>
                    <a:pt x="54" y="146"/>
                    <a:pt x="54" y="148"/>
                    <a:pt x="56" y="149"/>
                  </a:cubicBezTo>
                  <a:cubicBezTo>
                    <a:pt x="57" y="149"/>
                    <a:pt x="57" y="149"/>
                    <a:pt x="58" y="149"/>
                  </a:cubicBezTo>
                  <a:cubicBezTo>
                    <a:pt x="59" y="150"/>
                    <a:pt x="60" y="150"/>
                    <a:pt x="60" y="149"/>
                  </a:cubicBezTo>
                  <a:cubicBezTo>
                    <a:pt x="61" y="147"/>
                    <a:pt x="61" y="147"/>
                    <a:pt x="63" y="148"/>
                  </a:cubicBezTo>
                  <a:cubicBezTo>
                    <a:pt x="64" y="149"/>
                    <a:pt x="63" y="151"/>
                    <a:pt x="63" y="153"/>
                  </a:cubicBezTo>
                  <a:cubicBezTo>
                    <a:pt x="63" y="155"/>
                    <a:pt x="64" y="154"/>
                    <a:pt x="65" y="154"/>
                  </a:cubicBezTo>
                  <a:cubicBezTo>
                    <a:pt x="66" y="155"/>
                    <a:pt x="66" y="155"/>
                    <a:pt x="66" y="158"/>
                  </a:cubicBezTo>
                  <a:cubicBezTo>
                    <a:pt x="67" y="160"/>
                    <a:pt x="68" y="160"/>
                    <a:pt x="68" y="160"/>
                  </a:cubicBezTo>
                  <a:cubicBezTo>
                    <a:pt x="69" y="160"/>
                    <a:pt x="71" y="161"/>
                    <a:pt x="73" y="162"/>
                  </a:cubicBezTo>
                  <a:cubicBezTo>
                    <a:pt x="74" y="163"/>
                    <a:pt x="78" y="164"/>
                    <a:pt x="79" y="163"/>
                  </a:cubicBezTo>
                  <a:cubicBezTo>
                    <a:pt x="80" y="163"/>
                    <a:pt x="84" y="160"/>
                    <a:pt x="85" y="159"/>
                  </a:cubicBezTo>
                  <a:cubicBezTo>
                    <a:pt x="87" y="159"/>
                    <a:pt x="88" y="160"/>
                    <a:pt x="89" y="161"/>
                  </a:cubicBezTo>
                  <a:cubicBezTo>
                    <a:pt x="90" y="162"/>
                    <a:pt x="91" y="161"/>
                    <a:pt x="91" y="161"/>
                  </a:cubicBezTo>
                  <a:cubicBezTo>
                    <a:pt x="92" y="160"/>
                    <a:pt x="93" y="158"/>
                    <a:pt x="92" y="156"/>
                  </a:cubicBezTo>
                  <a:cubicBezTo>
                    <a:pt x="92" y="155"/>
                    <a:pt x="92" y="154"/>
                    <a:pt x="93" y="153"/>
                  </a:cubicBezTo>
                  <a:cubicBezTo>
                    <a:pt x="93" y="152"/>
                    <a:pt x="92" y="151"/>
                    <a:pt x="92" y="149"/>
                  </a:cubicBezTo>
                  <a:cubicBezTo>
                    <a:pt x="92" y="147"/>
                    <a:pt x="93" y="145"/>
                    <a:pt x="94" y="144"/>
                  </a:cubicBezTo>
                  <a:cubicBezTo>
                    <a:pt x="96" y="144"/>
                    <a:pt x="97" y="143"/>
                    <a:pt x="99" y="144"/>
                  </a:cubicBezTo>
                  <a:cubicBezTo>
                    <a:pt x="100" y="144"/>
                    <a:pt x="101" y="144"/>
                    <a:pt x="101" y="144"/>
                  </a:cubicBezTo>
                  <a:cubicBezTo>
                    <a:pt x="108" y="17"/>
                    <a:pt x="108" y="17"/>
                    <a:pt x="108" y="17"/>
                  </a:cubicBezTo>
                  <a:cubicBezTo>
                    <a:pt x="107" y="18"/>
                    <a:pt x="106" y="18"/>
                    <a:pt x="105" y="19"/>
                  </a:cubicBezTo>
                  <a:close/>
                </a:path>
              </a:pathLst>
            </a:custGeom>
            <a:solidFill>
              <a:schemeClr val="bg2">
                <a:lumMod val="40000"/>
                <a:lumOff val="60000"/>
              </a:schemeClr>
            </a:solid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2" name="Freeform 211"/>
            <p:cNvSpPr>
              <a:spLocks/>
            </p:cNvSpPr>
            <p:nvPr/>
          </p:nvSpPr>
          <p:spPr bwMode="gray">
            <a:xfrm>
              <a:off x="2651944" y="5155084"/>
              <a:ext cx="130175" cy="188912"/>
            </a:xfrm>
            <a:custGeom>
              <a:avLst/>
              <a:gdLst>
                <a:gd name="T0" fmla="*/ 28 w 31"/>
                <a:gd name="T1" fmla="*/ 19 h 45"/>
                <a:gd name="T2" fmla="*/ 31 w 31"/>
                <a:gd name="T3" fmla="*/ 16 h 45"/>
                <a:gd name="T4" fmla="*/ 31 w 31"/>
                <a:gd name="T5" fmla="*/ 13 h 45"/>
                <a:gd name="T6" fmla="*/ 18 w 31"/>
                <a:gd name="T7" fmla="*/ 5 h 45"/>
                <a:gd name="T8" fmla="*/ 12 w 31"/>
                <a:gd name="T9" fmla="*/ 1 h 45"/>
                <a:gd name="T10" fmla="*/ 9 w 31"/>
                <a:gd name="T11" fmla="*/ 2 h 45"/>
                <a:gd name="T12" fmla="*/ 10 w 31"/>
                <a:gd name="T13" fmla="*/ 7 h 45"/>
                <a:gd name="T14" fmla="*/ 7 w 31"/>
                <a:gd name="T15" fmla="*/ 6 h 45"/>
                <a:gd name="T16" fmla="*/ 4 w 31"/>
                <a:gd name="T17" fmla="*/ 11 h 45"/>
                <a:gd name="T18" fmla="*/ 1 w 31"/>
                <a:gd name="T19" fmla="*/ 14 h 45"/>
                <a:gd name="T20" fmla="*/ 0 w 31"/>
                <a:gd name="T21" fmla="*/ 19 h 45"/>
                <a:gd name="T22" fmla="*/ 2 w 31"/>
                <a:gd name="T23" fmla="*/ 24 h 45"/>
                <a:gd name="T24" fmla="*/ 1 w 31"/>
                <a:gd name="T25" fmla="*/ 27 h 45"/>
                <a:gd name="T26" fmla="*/ 2 w 31"/>
                <a:gd name="T27" fmla="*/ 30 h 45"/>
                <a:gd name="T28" fmla="*/ 6 w 31"/>
                <a:gd name="T29" fmla="*/ 30 h 45"/>
                <a:gd name="T30" fmla="*/ 5 w 31"/>
                <a:gd name="T31" fmla="*/ 31 h 45"/>
                <a:gd name="T32" fmla="*/ 6 w 31"/>
                <a:gd name="T33" fmla="*/ 33 h 45"/>
                <a:gd name="T34" fmla="*/ 9 w 31"/>
                <a:gd name="T35" fmla="*/ 35 h 45"/>
                <a:gd name="T36" fmla="*/ 13 w 31"/>
                <a:gd name="T37" fmla="*/ 39 h 45"/>
                <a:gd name="T38" fmla="*/ 15 w 31"/>
                <a:gd name="T39" fmla="*/ 43 h 45"/>
                <a:gd name="T40" fmla="*/ 18 w 31"/>
                <a:gd name="T41" fmla="*/ 45 h 45"/>
                <a:gd name="T42" fmla="*/ 18 w 31"/>
                <a:gd name="T43" fmla="*/ 41 h 45"/>
                <a:gd name="T44" fmla="*/ 19 w 31"/>
                <a:gd name="T45" fmla="*/ 32 h 45"/>
                <a:gd name="T46" fmla="*/ 22 w 31"/>
                <a:gd name="T47" fmla="*/ 25 h 45"/>
                <a:gd name="T48" fmla="*/ 25 w 31"/>
                <a:gd name="T49" fmla="*/ 26 h 45"/>
                <a:gd name="T50" fmla="*/ 29 w 31"/>
                <a:gd name="T51" fmla="*/ 28 h 45"/>
                <a:gd name="T52" fmla="*/ 31 w 31"/>
                <a:gd name="T53" fmla="*/ 24 h 45"/>
                <a:gd name="T54" fmla="*/ 31 w 31"/>
                <a:gd name="T55" fmla="*/ 21 h 45"/>
                <a:gd name="T56" fmla="*/ 28 w 31"/>
                <a:gd name="T57" fmla="*/ 1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 h="45">
                  <a:moveTo>
                    <a:pt x="28" y="19"/>
                  </a:moveTo>
                  <a:cubicBezTo>
                    <a:pt x="31" y="16"/>
                    <a:pt x="31" y="16"/>
                    <a:pt x="31" y="16"/>
                  </a:cubicBezTo>
                  <a:cubicBezTo>
                    <a:pt x="31" y="13"/>
                    <a:pt x="31" y="13"/>
                    <a:pt x="31" y="13"/>
                  </a:cubicBezTo>
                  <a:cubicBezTo>
                    <a:pt x="18" y="5"/>
                    <a:pt x="18" y="5"/>
                    <a:pt x="18" y="5"/>
                  </a:cubicBezTo>
                  <a:cubicBezTo>
                    <a:pt x="12" y="1"/>
                    <a:pt x="12" y="1"/>
                    <a:pt x="12" y="1"/>
                  </a:cubicBezTo>
                  <a:cubicBezTo>
                    <a:pt x="11" y="1"/>
                    <a:pt x="9" y="0"/>
                    <a:pt x="9" y="2"/>
                  </a:cubicBezTo>
                  <a:cubicBezTo>
                    <a:pt x="9" y="3"/>
                    <a:pt x="10" y="5"/>
                    <a:pt x="10" y="7"/>
                  </a:cubicBezTo>
                  <a:cubicBezTo>
                    <a:pt x="10" y="9"/>
                    <a:pt x="8" y="6"/>
                    <a:pt x="7" y="6"/>
                  </a:cubicBezTo>
                  <a:cubicBezTo>
                    <a:pt x="6" y="7"/>
                    <a:pt x="4" y="8"/>
                    <a:pt x="4" y="11"/>
                  </a:cubicBezTo>
                  <a:cubicBezTo>
                    <a:pt x="3" y="14"/>
                    <a:pt x="3" y="15"/>
                    <a:pt x="1" y="14"/>
                  </a:cubicBezTo>
                  <a:cubicBezTo>
                    <a:pt x="0" y="14"/>
                    <a:pt x="0" y="17"/>
                    <a:pt x="0" y="19"/>
                  </a:cubicBezTo>
                  <a:cubicBezTo>
                    <a:pt x="1" y="21"/>
                    <a:pt x="3" y="23"/>
                    <a:pt x="2" y="24"/>
                  </a:cubicBezTo>
                  <a:cubicBezTo>
                    <a:pt x="2" y="25"/>
                    <a:pt x="1" y="26"/>
                    <a:pt x="1" y="27"/>
                  </a:cubicBezTo>
                  <a:cubicBezTo>
                    <a:pt x="1" y="28"/>
                    <a:pt x="1" y="29"/>
                    <a:pt x="2" y="30"/>
                  </a:cubicBezTo>
                  <a:cubicBezTo>
                    <a:pt x="3" y="30"/>
                    <a:pt x="5" y="29"/>
                    <a:pt x="6" y="30"/>
                  </a:cubicBezTo>
                  <a:cubicBezTo>
                    <a:pt x="8" y="30"/>
                    <a:pt x="6" y="30"/>
                    <a:pt x="5" y="31"/>
                  </a:cubicBezTo>
                  <a:cubicBezTo>
                    <a:pt x="3" y="32"/>
                    <a:pt x="6" y="33"/>
                    <a:pt x="6" y="33"/>
                  </a:cubicBezTo>
                  <a:cubicBezTo>
                    <a:pt x="7" y="34"/>
                    <a:pt x="8" y="34"/>
                    <a:pt x="9" y="35"/>
                  </a:cubicBezTo>
                  <a:cubicBezTo>
                    <a:pt x="11" y="36"/>
                    <a:pt x="12" y="37"/>
                    <a:pt x="13" y="39"/>
                  </a:cubicBezTo>
                  <a:cubicBezTo>
                    <a:pt x="14" y="40"/>
                    <a:pt x="14" y="42"/>
                    <a:pt x="15" y="43"/>
                  </a:cubicBezTo>
                  <a:cubicBezTo>
                    <a:pt x="16" y="44"/>
                    <a:pt x="18" y="45"/>
                    <a:pt x="18" y="45"/>
                  </a:cubicBezTo>
                  <a:cubicBezTo>
                    <a:pt x="18" y="45"/>
                    <a:pt x="18" y="44"/>
                    <a:pt x="18" y="41"/>
                  </a:cubicBezTo>
                  <a:cubicBezTo>
                    <a:pt x="18" y="39"/>
                    <a:pt x="18" y="34"/>
                    <a:pt x="19" y="32"/>
                  </a:cubicBezTo>
                  <a:cubicBezTo>
                    <a:pt x="21" y="29"/>
                    <a:pt x="21" y="28"/>
                    <a:pt x="22" y="25"/>
                  </a:cubicBezTo>
                  <a:cubicBezTo>
                    <a:pt x="24" y="23"/>
                    <a:pt x="24" y="24"/>
                    <a:pt x="25" y="26"/>
                  </a:cubicBezTo>
                  <a:cubicBezTo>
                    <a:pt x="25" y="29"/>
                    <a:pt x="26" y="28"/>
                    <a:pt x="29" y="28"/>
                  </a:cubicBezTo>
                  <a:cubicBezTo>
                    <a:pt x="31" y="27"/>
                    <a:pt x="30" y="26"/>
                    <a:pt x="31" y="24"/>
                  </a:cubicBezTo>
                  <a:cubicBezTo>
                    <a:pt x="31" y="21"/>
                    <a:pt x="31" y="21"/>
                    <a:pt x="31" y="21"/>
                  </a:cubicBezTo>
                  <a:lnTo>
                    <a:pt x="28" y="19"/>
                  </a:lnTo>
                  <a:close/>
                </a:path>
              </a:pathLst>
            </a:custGeom>
            <a:solidFill>
              <a:srgbClr val="8D8F92"/>
            </a:solid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3" name="Freeform 212"/>
            <p:cNvSpPr>
              <a:spLocks/>
            </p:cNvSpPr>
            <p:nvPr/>
          </p:nvSpPr>
          <p:spPr bwMode="gray">
            <a:xfrm>
              <a:off x="2669406" y="4872509"/>
              <a:ext cx="338138" cy="428625"/>
            </a:xfrm>
            <a:custGeom>
              <a:avLst/>
              <a:gdLst>
                <a:gd name="T0" fmla="*/ 74 w 81"/>
                <a:gd name="T1" fmla="*/ 72 h 103"/>
                <a:gd name="T2" fmla="*/ 68 w 81"/>
                <a:gd name="T3" fmla="*/ 61 h 103"/>
                <a:gd name="T4" fmla="*/ 72 w 81"/>
                <a:gd name="T5" fmla="*/ 50 h 103"/>
                <a:gd name="T6" fmla="*/ 73 w 81"/>
                <a:gd name="T7" fmla="*/ 41 h 103"/>
                <a:gd name="T8" fmla="*/ 63 w 81"/>
                <a:gd name="T9" fmla="*/ 43 h 103"/>
                <a:gd name="T10" fmla="*/ 55 w 81"/>
                <a:gd name="T11" fmla="*/ 40 h 103"/>
                <a:gd name="T12" fmla="*/ 49 w 81"/>
                <a:gd name="T13" fmla="*/ 34 h 103"/>
                <a:gd name="T14" fmla="*/ 48 w 81"/>
                <a:gd name="T15" fmla="*/ 27 h 103"/>
                <a:gd name="T16" fmla="*/ 38 w 81"/>
                <a:gd name="T17" fmla="*/ 18 h 103"/>
                <a:gd name="T18" fmla="*/ 35 w 81"/>
                <a:gd name="T19" fmla="*/ 9 h 103"/>
                <a:gd name="T20" fmla="*/ 27 w 81"/>
                <a:gd name="T21" fmla="*/ 2 h 103"/>
                <a:gd name="T22" fmla="*/ 15 w 81"/>
                <a:gd name="T23" fmla="*/ 0 h 103"/>
                <a:gd name="T24" fmla="*/ 5 w 81"/>
                <a:gd name="T25" fmla="*/ 4 h 103"/>
                <a:gd name="T26" fmla="*/ 2 w 81"/>
                <a:gd name="T27" fmla="*/ 11 h 103"/>
                <a:gd name="T28" fmla="*/ 4 w 81"/>
                <a:gd name="T29" fmla="*/ 17 h 103"/>
                <a:gd name="T30" fmla="*/ 10 w 81"/>
                <a:gd name="T31" fmla="*/ 25 h 103"/>
                <a:gd name="T32" fmla="*/ 6 w 81"/>
                <a:gd name="T33" fmla="*/ 32 h 103"/>
                <a:gd name="T34" fmla="*/ 10 w 81"/>
                <a:gd name="T35" fmla="*/ 35 h 103"/>
                <a:gd name="T36" fmla="*/ 10 w 81"/>
                <a:gd name="T37" fmla="*/ 49 h 103"/>
                <a:gd name="T38" fmla="*/ 16 w 81"/>
                <a:gd name="T39" fmla="*/ 56 h 103"/>
                <a:gd name="T40" fmla="*/ 11 w 81"/>
                <a:gd name="T41" fmla="*/ 59 h 103"/>
                <a:gd name="T42" fmla="*/ 12 w 81"/>
                <a:gd name="T43" fmla="*/ 67 h 103"/>
                <a:gd name="T44" fmla="*/ 14 w 81"/>
                <a:gd name="T45" fmla="*/ 73 h 103"/>
                <a:gd name="T46" fmla="*/ 27 w 81"/>
                <a:gd name="T47" fmla="*/ 84 h 103"/>
                <a:gd name="T48" fmla="*/ 30 w 81"/>
                <a:gd name="T49" fmla="*/ 81 h 103"/>
                <a:gd name="T50" fmla="*/ 31 w 81"/>
                <a:gd name="T51" fmla="*/ 75 h 103"/>
                <a:gd name="T52" fmla="*/ 34 w 81"/>
                <a:gd name="T53" fmla="*/ 74 h 103"/>
                <a:gd name="T54" fmla="*/ 34 w 81"/>
                <a:gd name="T55" fmla="*/ 76 h 103"/>
                <a:gd name="T56" fmla="*/ 38 w 81"/>
                <a:gd name="T57" fmla="*/ 75 h 103"/>
                <a:gd name="T58" fmla="*/ 43 w 81"/>
                <a:gd name="T59" fmla="*/ 79 h 103"/>
                <a:gd name="T60" fmla="*/ 45 w 81"/>
                <a:gd name="T61" fmla="*/ 82 h 103"/>
                <a:gd name="T62" fmla="*/ 48 w 81"/>
                <a:gd name="T63" fmla="*/ 84 h 103"/>
                <a:gd name="T64" fmla="*/ 51 w 81"/>
                <a:gd name="T65" fmla="*/ 91 h 103"/>
                <a:gd name="T66" fmla="*/ 54 w 81"/>
                <a:gd name="T67" fmla="*/ 94 h 103"/>
                <a:gd name="T68" fmla="*/ 52 w 81"/>
                <a:gd name="T69" fmla="*/ 97 h 103"/>
                <a:gd name="T70" fmla="*/ 53 w 81"/>
                <a:gd name="T71" fmla="*/ 100 h 103"/>
                <a:gd name="T72" fmla="*/ 57 w 81"/>
                <a:gd name="T73" fmla="*/ 102 h 103"/>
                <a:gd name="T74" fmla="*/ 64 w 81"/>
                <a:gd name="T75" fmla="*/ 101 h 103"/>
                <a:gd name="T76" fmla="*/ 70 w 81"/>
                <a:gd name="T77" fmla="*/ 102 h 103"/>
                <a:gd name="T78" fmla="*/ 71 w 81"/>
                <a:gd name="T79" fmla="*/ 95 h 103"/>
                <a:gd name="T80" fmla="*/ 75 w 81"/>
                <a:gd name="T81" fmla="*/ 86 h 103"/>
                <a:gd name="T82" fmla="*/ 78 w 81"/>
                <a:gd name="T83" fmla="*/ 76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1" h="103">
                  <a:moveTo>
                    <a:pt x="78" y="76"/>
                  </a:moveTo>
                  <a:cubicBezTo>
                    <a:pt x="77" y="74"/>
                    <a:pt x="76" y="72"/>
                    <a:pt x="74" y="72"/>
                  </a:cubicBezTo>
                  <a:cubicBezTo>
                    <a:pt x="72" y="71"/>
                    <a:pt x="72" y="71"/>
                    <a:pt x="70" y="69"/>
                  </a:cubicBezTo>
                  <a:cubicBezTo>
                    <a:pt x="69" y="66"/>
                    <a:pt x="68" y="66"/>
                    <a:pt x="68" y="61"/>
                  </a:cubicBezTo>
                  <a:cubicBezTo>
                    <a:pt x="68" y="57"/>
                    <a:pt x="69" y="57"/>
                    <a:pt x="71" y="55"/>
                  </a:cubicBezTo>
                  <a:cubicBezTo>
                    <a:pt x="73" y="52"/>
                    <a:pt x="72" y="50"/>
                    <a:pt x="72" y="50"/>
                  </a:cubicBezTo>
                  <a:cubicBezTo>
                    <a:pt x="70" y="48"/>
                    <a:pt x="68" y="45"/>
                    <a:pt x="69" y="44"/>
                  </a:cubicBezTo>
                  <a:cubicBezTo>
                    <a:pt x="71" y="42"/>
                    <a:pt x="73" y="41"/>
                    <a:pt x="73" y="41"/>
                  </a:cubicBezTo>
                  <a:cubicBezTo>
                    <a:pt x="72" y="40"/>
                    <a:pt x="71" y="39"/>
                    <a:pt x="69" y="38"/>
                  </a:cubicBezTo>
                  <a:cubicBezTo>
                    <a:pt x="67" y="38"/>
                    <a:pt x="64" y="41"/>
                    <a:pt x="63" y="43"/>
                  </a:cubicBezTo>
                  <a:cubicBezTo>
                    <a:pt x="62" y="45"/>
                    <a:pt x="62" y="43"/>
                    <a:pt x="61" y="40"/>
                  </a:cubicBezTo>
                  <a:cubicBezTo>
                    <a:pt x="59" y="37"/>
                    <a:pt x="58" y="39"/>
                    <a:pt x="55" y="40"/>
                  </a:cubicBezTo>
                  <a:cubicBezTo>
                    <a:pt x="53" y="41"/>
                    <a:pt x="53" y="37"/>
                    <a:pt x="50" y="36"/>
                  </a:cubicBezTo>
                  <a:cubicBezTo>
                    <a:pt x="48" y="34"/>
                    <a:pt x="48" y="35"/>
                    <a:pt x="49" y="34"/>
                  </a:cubicBezTo>
                  <a:cubicBezTo>
                    <a:pt x="50" y="33"/>
                    <a:pt x="50" y="32"/>
                    <a:pt x="49" y="31"/>
                  </a:cubicBezTo>
                  <a:cubicBezTo>
                    <a:pt x="47" y="29"/>
                    <a:pt x="49" y="30"/>
                    <a:pt x="48" y="27"/>
                  </a:cubicBezTo>
                  <a:cubicBezTo>
                    <a:pt x="48" y="24"/>
                    <a:pt x="47" y="26"/>
                    <a:pt x="44" y="25"/>
                  </a:cubicBezTo>
                  <a:cubicBezTo>
                    <a:pt x="42" y="23"/>
                    <a:pt x="41" y="21"/>
                    <a:pt x="38" y="18"/>
                  </a:cubicBezTo>
                  <a:cubicBezTo>
                    <a:pt x="36" y="16"/>
                    <a:pt x="37" y="13"/>
                    <a:pt x="36" y="12"/>
                  </a:cubicBezTo>
                  <a:cubicBezTo>
                    <a:pt x="36" y="10"/>
                    <a:pt x="36" y="10"/>
                    <a:pt x="35" y="9"/>
                  </a:cubicBezTo>
                  <a:cubicBezTo>
                    <a:pt x="34" y="9"/>
                    <a:pt x="32" y="7"/>
                    <a:pt x="30" y="6"/>
                  </a:cubicBezTo>
                  <a:cubicBezTo>
                    <a:pt x="28" y="4"/>
                    <a:pt x="27" y="2"/>
                    <a:pt x="27" y="2"/>
                  </a:cubicBezTo>
                  <a:cubicBezTo>
                    <a:pt x="25" y="1"/>
                    <a:pt x="22" y="0"/>
                    <a:pt x="21" y="0"/>
                  </a:cubicBezTo>
                  <a:cubicBezTo>
                    <a:pt x="19" y="1"/>
                    <a:pt x="17" y="0"/>
                    <a:pt x="15" y="0"/>
                  </a:cubicBezTo>
                  <a:cubicBezTo>
                    <a:pt x="13" y="0"/>
                    <a:pt x="12" y="1"/>
                    <a:pt x="10" y="3"/>
                  </a:cubicBezTo>
                  <a:cubicBezTo>
                    <a:pt x="8" y="5"/>
                    <a:pt x="6" y="4"/>
                    <a:pt x="5" y="4"/>
                  </a:cubicBezTo>
                  <a:cubicBezTo>
                    <a:pt x="3" y="5"/>
                    <a:pt x="0" y="6"/>
                    <a:pt x="0" y="6"/>
                  </a:cubicBezTo>
                  <a:cubicBezTo>
                    <a:pt x="0" y="6"/>
                    <a:pt x="1" y="8"/>
                    <a:pt x="2" y="11"/>
                  </a:cubicBezTo>
                  <a:cubicBezTo>
                    <a:pt x="3" y="14"/>
                    <a:pt x="2" y="14"/>
                    <a:pt x="2" y="15"/>
                  </a:cubicBezTo>
                  <a:cubicBezTo>
                    <a:pt x="3" y="16"/>
                    <a:pt x="5" y="16"/>
                    <a:pt x="4" y="17"/>
                  </a:cubicBezTo>
                  <a:cubicBezTo>
                    <a:pt x="3" y="19"/>
                    <a:pt x="5" y="21"/>
                    <a:pt x="7" y="23"/>
                  </a:cubicBezTo>
                  <a:cubicBezTo>
                    <a:pt x="8" y="24"/>
                    <a:pt x="11" y="25"/>
                    <a:pt x="10" y="25"/>
                  </a:cubicBezTo>
                  <a:cubicBezTo>
                    <a:pt x="9" y="26"/>
                    <a:pt x="5" y="25"/>
                    <a:pt x="6" y="27"/>
                  </a:cubicBezTo>
                  <a:cubicBezTo>
                    <a:pt x="7" y="29"/>
                    <a:pt x="6" y="32"/>
                    <a:pt x="6" y="32"/>
                  </a:cubicBezTo>
                  <a:cubicBezTo>
                    <a:pt x="6" y="32"/>
                    <a:pt x="6" y="31"/>
                    <a:pt x="8" y="32"/>
                  </a:cubicBezTo>
                  <a:cubicBezTo>
                    <a:pt x="9" y="32"/>
                    <a:pt x="10" y="31"/>
                    <a:pt x="10" y="35"/>
                  </a:cubicBezTo>
                  <a:cubicBezTo>
                    <a:pt x="10" y="38"/>
                    <a:pt x="8" y="42"/>
                    <a:pt x="7" y="45"/>
                  </a:cubicBezTo>
                  <a:cubicBezTo>
                    <a:pt x="6" y="47"/>
                    <a:pt x="7" y="48"/>
                    <a:pt x="10" y="49"/>
                  </a:cubicBezTo>
                  <a:cubicBezTo>
                    <a:pt x="12" y="51"/>
                    <a:pt x="12" y="50"/>
                    <a:pt x="13" y="52"/>
                  </a:cubicBezTo>
                  <a:cubicBezTo>
                    <a:pt x="15" y="55"/>
                    <a:pt x="16" y="54"/>
                    <a:pt x="16" y="56"/>
                  </a:cubicBezTo>
                  <a:cubicBezTo>
                    <a:pt x="17" y="58"/>
                    <a:pt x="14" y="57"/>
                    <a:pt x="12" y="56"/>
                  </a:cubicBezTo>
                  <a:cubicBezTo>
                    <a:pt x="10" y="56"/>
                    <a:pt x="11" y="57"/>
                    <a:pt x="11" y="59"/>
                  </a:cubicBezTo>
                  <a:cubicBezTo>
                    <a:pt x="11" y="60"/>
                    <a:pt x="14" y="62"/>
                    <a:pt x="14" y="64"/>
                  </a:cubicBezTo>
                  <a:cubicBezTo>
                    <a:pt x="15" y="65"/>
                    <a:pt x="14" y="67"/>
                    <a:pt x="12" y="67"/>
                  </a:cubicBezTo>
                  <a:cubicBezTo>
                    <a:pt x="10" y="68"/>
                    <a:pt x="10" y="69"/>
                    <a:pt x="8" y="69"/>
                  </a:cubicBezTo>
                  <a:cubicBezTo>
                    <a:pt x="14" y="73"/>
                    <a:pt x="14" y="73"/>
                    <a:pt x="14" y="73"/>
                  </a:cubicBezTo>
                  <a:cubicBezTo>
                    <a:pt x="27" y="81"/>
                    <a:pt x="27" y="81"/>
                    <a:pt x="27" y="81"/>
                  </a:cubicBezTo>
                  <a:cubicBezTo>
                    <a:pt x="27" y="84"/>
                    <a:pt x="27" y="84"/>
                    <a:pt x="27" y="84"/>
                  </a:cubicBezTo>
                  <a:cubicBezTo>
                    <a:pt x="31" y="83"/>
                    <a:pt x="31" y="83"/>
                    <a:pt x="31" y="83"/>
                  </a:cubicBezTo>
                  <a:cubicBezTo>
                    <a:pt x="30" y="81"/>
                    <a:pt x="30" y="81"/>
                    <a:pt x="30" y="81"/>
                  </a:cubicBezTo>
                  <a:cubicBezTo>
                    <a:pt x="33" y="79"/>
                    <a:pt x="33" y="79"/>
                    <a:pt x="33" y="79"/>
                  </a:cubicBezTo>
                  <a:cubicBezTo>
                    <a:pt x="31" y="75"/>
                    <a:pt x="31" y="75"/>
                    <a:pt x="31" y="75"/>
                  </a:cubicBezTo>
                  <a:cubicBezTo>
                    <a:pt x="33" y="73"/>
                    <a:pt x="33" y="73"/>
                    <a:pt x="33" y="73"/>
                  </a:cubicBezTo>
                  <a:cubicBezTo>
                    <a:pt x="34" y="74"/>
                    <a:pt x="34" y="74"/>
                    <a:pt x="34" y="74"/>
                  </a:cubicBezTo>
                  <a:cubicBezTo>
                    <a:pt x="35" y="74"/>
                    <a:pt x="35" y="74"/>
                    <a:pt x="35" y="74"/>
                  </a:cubicBezTo>
                  <a:cubicBezTo>
                    <a:pt x="34" y="76"/>
                    <a:pt x="34" y="76"/>
                    <a:pt x="34" y="76"/>
                  </a:cubicBezTo>
                  <a:cubicBezTo>
                    <a:pt x="36" y="77"/>
                    <a:pt x="36" y="77"/>
                    <a:pt x="36" y="77"/>
                  </a:cubicBezTo>
                  <a:cubicBezTo>
                    <a:pt x="38" y="75"/>
                    <a:pt x="38" y="75"/>
                    <a:pt x="38" y="75"/>
                  </a:cubicBezTo>
                  <a:cubicBezTo>
                    <a:pt x="41" y="76"/>
                    <a:pt x="41" y="76"/>
                    <a:pt x="41" y="76"/>
                  </a:cubicBezTo>
                  <a:cubicBezTo>
                    <a:pt x="43" y="79"/>
                    <a:pt x="43" y="79"/>
                    <a:pt x="43" y="79"/>
                  </a:cubicBezTo>
                  <a:cubicBezTo>
                    <a:pt x="45" y="79"/>
                    <a:pt x="45" y="79"/>
                    <a:pt x="45" y="79"/>
                  </a:cubicBezTo>
                  <a:cubicBezTo>
                    <a:pt x="45" y="82"/>
                    <a:pt x="45" y="82"/>
                    <a:pt x="45" y="82"/>
                  </a:cubicBezTo>
                  <a:cubicBezTo>
                    <a:pt x="47" y="84"/>
                    <a:pt x="47" y="84"/>
                    <a:pt x="47" y="84"/>
                  </a:cubicBezTo>
                  <a:cubicBezTo>
                    <a:pt x="48" y="84"/>
                    <a:pt x="48" y="84"/>
                    <a:pt x="48" y="84"/>
                  </a:cubicBezTo>
                  <a:cubicBezTo>
                    <a:pt x="48" y="88"/>
                    <a:pt x="48" y="88"/>
                    <a:pt x="48" y="88"/>
                  </a:cubicBezTo>
                  <a:cubicBezTo>
                    <a:pt x="51" y="91"/>
                    <a:pt x="51" y="91"/>
                    <a:pt x="51" y="91"/>
                  </a:cubicBezTo>
                  <a:cubicBezTo>
                    <a:pt x="54" y="92"/>
                    <a:pt x="54" y="92"/>
                    <a:pt x="54" y="92"/>
                  </a:cubicBezTo>
                  <a:cubicBezTo>
                    <a:pt x="54" y="94"/>
                    <a:pt x="54" y="94"/>
                    <a:pt x="54" y="94"/>
                  </a:cubicBezTo>
                  <a:cubicBezTo>
                    <a:pt x="53" y="95"/>
                    <a:pt x="53" y="95"/>
                    <a:pt x="53" y="95"/>
                  </a:cubicBezTo>
                  <a:cubicBezTo>
                    <a:pt x="52" y="97"/>
                    <a:pt x="52" y="97"/>
                    <a:pt x="52" y="97"/>
                  </a:cubicBezTo>
                  <a:cubicBezTo>
                    <a:pt x="52" y="99"/>
                    <a:pt x="52" y="99"/>
                    <a:pt x="52" y="99"/>
                  </a:cubicBezTo>
                  <a:cubicBezTo>
                    <a:pt x="53" y="100"/>
                    <a:pt x="53" y="100"/>
                    <a:pt x="53" y="100"/>
                  </a:cubicBezTo>
                  <a:cubicBezTo>
                    <a:pt x="54" y="103"/>
                    <a:pt x="54" y="103"/>
                    <a:pt x="54" y="103"/>
                  </a:cubicBezTo>
                  <a:cubicBezTo>
                    <a:pt x="55" y="103"/>
                    <a:pt x="56" y="103"/>
                    <a:pt x="57" y="102"/>
                  </a:cubicBezTo>
                  <a:cubicBezTo>
                    <a:pt x="58" y="101"/>
                    <a:pt x="61" y="100"/>
                    <a:pt x="62" y="101"/>
                  </a:cubicBezTo>
                  <a:cubicBezTo>
                    <a:pt x="63" y="101"/>
                    <a:pt x="63" y="102"/>
                    <a:pt x="64" y="101"/>
                  </a:cubicBezTo>
                  <a:cubicBezTo>
                    <a:pt x="66" y="100"/>
                    <a:pt x="67" y="100"/>
                    <a:pt x="68" y="100"/>
                  </a:cubicBezTo>
                  <a:cubicBezTo>
                    <a:pt x="70" y="100"/>
                    <a:pt x="70" y="102"/>
                    <a:pt x="70" y="102"/>
                  </a:cubicBezTo>
                  <a:cubicBezTo>
                    <a:pt x="70" y="102"/>
                    <a:pt x="72" y="100"/>
                    <a:pt x="72" y="98"/>
                  </a:cubicBezTo>
                  <a:cubicBezTo>
                    <a:pt x="73" y="97"/>
                    <a:pt x="72" y="97"/>
                    <a:pt x="71" y="95"/>
                  </a:cubicBezTo>
                  <a:cubicBezTo>
                    <a:pt x="70" y="94"/>
                    <a:pt x="70" y="91"/>
                    <a:pt x="70" y="87"/>
                  </a:cubicBezTo>
                  <a:cubicBezTo>
                    <a:pt x="71" y="83"/>
                    <a:pt x="74" y="87"/>
                    <a:pt x="75" y="86"/>
                  </a:cubicBezTo>
                  <a:cubicBezTo>
                    <a:pt x="76" y="85"/>
                    <a:pt x="78" y="83"/>
                    <a:pt x="79" y="81"/>
                  </a:cubicBezTo>
                  <a:cubicBezTo>
                    <a:pt x="81" y="79"/>
                    <a:pt x="79" y="78"/>
                    <a:pt x="78" y="76"/>
                  </a:cubicBezTo>
                  <a:close/>
                </a:path>
              </a:pathLst>
            </a:custGeom>
            <a:solidFill>
              <a:schemeClr val="bg2">
                <a:lumMod val="40000"/>
                <a:lumOff val="60000"/>
              </a:schemeClr>
            </a:solid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sp>
          <p:nvSpPr>
            <p:cNvPr id="84" name="Freeform 213"/>
            <p:cNvSpPr>
              <a:spLocks/>
            </p:cNvSpPr>
            <p:nvPr/>
          </p:nvSpPr>
          <p:spPr bwMode="gray">
            <a:xfrm>
              <a:off x="2769419" y="5177309"/>
              <a:ext cx="125413" cy="174625"/>
            </a:xfrm>
            <a:custGeom>
              <a:avLst/>
              <a:gdLst>
                <a:gd name="T0" fmla="*/ 28 w 30"/>
                <a:gd name="T1" fmla="*/ 26 h 42"/>
                <a:gd name="T2" fmla="*/ 28 w 30"/>
                <a:gd name="T3" fmla="*/ 24 h 42"/>
                <a:gd name="T4" fmla="*/ 29 w 30"/>
                <a:gd name="T5" fmla="*/ 22 h 42"/>
                <a:gd name="T6" fmla="*/ 30 w 30"/>
                <a:gd name="T7" fmla="*/ 21 h 42"/>
                <a:gd name="T8" fmla="*/ 30 w 30"/>
                <a:gd name="T9" fmla="*/ 19 h 42"/>
                <a:gd name="T10" fmla="*/ 27 w 30"/>
                <a:gd name="T11" fmla="*/ 18 h 42"/>
                <a:gd name="T12" fmla="*/ 24 w 30"/>
                <a:gd name="T13" fmla="*/ 15 h 42"/>
                <a:gd name="T14" fmla="*/ 24 w 30"/>
                <a:gd name="T15" fmla="*/ 11 h 42"/>
                <a:gd name="T16" fmla="*/ 23 w 30"/>
                <a:gd name="T17" fmla="*/ 11 h 42"/>
                <a:gd name="T18" fmla="*/ 21 w 30"/>
                <a:gd name="T19" fmla="*/ 9 h 42"/>
                <a:gd name="T20" fmla="*/ 21 w 30"/>
                <a:gd name="T21" fmla="*/ 6 h 42"/>
                <a:gd name="T22" fmla="*/ 19 w 30"/>
                <a:gd name="T23" fmla="*/ 6 h 42"/>
                <a:gd name="T24" fmla="*/ 17 w 30"/>
                <a:gd name="T25" fmla="*/ 3 h 42"/>
                <a:gd name="T26" fmla="*/ 14 w 30"/>
                <a:gd name="T27" fmla="*/ 2 h 42"/>
                <a:gd name="T28" fmla="*/ 12 w 30"/>
                <a:gd name="T29" fmla="*/ 4 h 42"/>
                <a:gd name="T30" fmla="*/ 10 w 30"/>
                <a:gd name="T31" fmla="*/ 3 h 42"/>
                <a:gd name="T32" fmla="*/ 11 w 30"/>
                <a:gd name="T33" fmla="*/ 1 h 42"/>
                <a:gd name="T34" fmla="*/ 10 w 30"/>
                <a:gd name="T35" fmla="*/ 1 h 42"/>
                <a:gd name="T36" fmla="*/ 9 w 30"/>
                <a:gd name="T37" fmla="*/ 0 h 42"/>
                <a:gd name="T38" fmla="*/ 7 w 30"/>
                <a:gd name="T39" fmla="*/ 2 h 42"/>
                <a:gd name="T40" fmla="*/ 9 w 30"/>
                <a:gd name="T41" fmla="*/ 6 h 42"/>
                <a:gd name="T42" fmla="*/ 6 w 30"/>
                <a:gd name="T43" fmla="*/ 8 h 42"/>
                <a:gd name="T44" fmla="*/ 7 w 30"/>
                <a:gd name="T45" fmla="*/ 10 h 42"/>
                <a:gd name="T46" fmla="*/ 3 w 30"/>
                <a:gd name="T47" fmla="*/ 11 h 42"/>
                <a:gd name="T48" fmla="*/ 0 w 30"/>
                <a:gd name="T49" fmla="*/ 14 h 42"/>
                <a:gd name="T50" fmla="*/ 3 w 30"/>
                <a:gd name="T51" fmla="*/ 16 h 42"/>
                <a:gd name="T52" fmla="*/ 3 w 30"/>
                <a:gd name="T53" fmla="*/ 19 h 42"/>
                <a:gd name="T54" fmla="*/ 4 w 30"/>
                <a:gd name="T55" fmla="*/ 22 h 42"/>
                <a:gd name="T56" fmla="*/ 6 w 30"/>
                <a:gd name="T57" fmla="*/ 26 h 42"/>
                <a:gd name="T58" fmla="*/ 8 w 30"/>
                <a:gd name="T59" fmla="*/ 29 h 42"/>
                <a:gd name="T60" fmla="*/ 12 w 30"/>
                <a:gd name="T61" fmla="*/ 33 h 42"/>
                <a:gd name="T62" fmla="*/ 13 w 30"/>
                <a:gd name="T63" fmla="*/ 42 h 42"/>
                <a:gd name="T64" fmla="*/ 15 w 30"/>
                <a:gd name="T65" fmla="*/ 40 h 42"/>
                <a:gd name="T66" fmla="*/ 17 w 30"/>
                <a:gd name="T67" fmla="*/ 35 h 42"/>
                <a:gd name="T68" fmla="*/ 21 w 30"/>
                <a:gd name="T69" fmla="*/ 32 h 42"/>
                <a:gd name="T70" fmla="*/ 24 w 30"/>
                <a:gd name="T71" fmla="*/ 33 h 42"/>
                <a:gd name="T72" fmla="*/ 26 w 30"/>
                <a:gd name="T73" fmla="*/ 32 h 42"/>
                <a:gd name="T74" fmla="*/ 30 w 30"/>
                <a:gd name="T75" fmla="*/ 30 h 42"/>
                <a:gd name="T76" fmla="*/ 29 w 30"/>
                <a:gd name="T77" fmla="*/ 27 h 42"/>
                <a:gd name="T78" fmla="*/ 28 w 30"/>
                <a:gd name="T79"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 h="42">
                  <a:moveTo>
                    <a:pt x="28" y="26"/>
                  </a:moveTo>
                  <a:cubicBezTo>
                    <a:pt x="28" y="24"/>
                    <a:pt x="28" y="24"/>
                    <a:pt x="28" y="24"/>
                  </a:cubicBezTo>
                  <a:cubicBezTo>
                    <a:pt x="29" y="22"/>
                    <a:pt x="29" y="22"/>
                    <a:pt x="29" y="22"/>
                  </a:cubicBezTo>
                  <a:cubicBezTo>
                    <a:pt x="30" y="21"/>
                    <a:pt x="30" y="21"/>
                    <a:pt x="30" y="21"/>
                  </a:cubicBezTo>
                  <a:cubicBezTo>
                    <a:pt x="30" y="19"/>
                    <a:pt x="30" y="19"/>
                    <a:pt x="30" y="19"/>
                  </a:cubicBezTo>
                  <a:cubicBezTo>
                    <a:pt x="27" y="18"/>
                    <a:pt x="27" y="18"/>
                    <a:pt x="27" y="18"/>
                  </a:cubicBezTo>
                  <a:cubicBezTo>
                    <a:pt x="24" y="15"/>
                    <a:pt x="24" y="15"/>
                    <a:pt x="24" y="15"/>
                  </a:cubicBezTo>
                  <a:cubicBezTo>
                    <a:pt x="24" y="11"/>
                    <a:pt x="24" y="11"/>
                    <a:pt x="24" y="11"/>
                  </a:cubicBezTo>
                  <a:cubicBezTo>
                    <a:pt x="23" y="11"/>
                    <a:pt x="23" y="11"/>
                    <a:pt x="23" y="11"/>
                  </a:cubicBezTo>
                  <a:cubicBezTo>
                    <a:pt x="21" y="9"/>
                    <a:pt x="21" y="9"/>
                    <a:pt x="21" y="9"/>
                  </a:cubicBezTo>
                  <a:cubicBezTo>
                    <a:pt x="21" y="6"/>
                    <a:pt x="21" y="6"/>
                    <a:pt x="21" y="6"/>
                  </a:cubicBezTo>
                  <a:cubicBezTo>
                    <a:pt x="19" y="6"/>
                    <a:pt x="19" y="6"/>
                    <a:pt x="19" y="6"/>
                  </a:cubicBezTo>
                  <a:cubicBezTo>
                    <a:pt x="17" y="3"/>
                    <a:pt x="17" y="3"/>
                    <a:pt x="17" y="3"/>
                  </a:cubicBezTo>
                  <a:cubicBezTo>
                    <a:pt x="14" y="2"/>
                    <a:pt x="14" y="2"/>
                    <a:pt x="14" y="2"/>
                  </a:cubicBezTo>
                  <a:cubicBezTo>
                    <a:pt x="12" y="4"/>
                    <a:pt x="12" y="4"/>
                    <a:pt x="12" y="4"/>
                  </a:cubicBezTo>
                  <a:cubicBezTo>
                    <a:pt x="10" y="3"/>
                    <a:pt x="10" y="3"/>
                    <a:pt x="10" y="3"/>
                  </a:cubicBezTo>
                  <a:cubicBezTo>
                    <a:pt x="11" y="1"/>
                    <a:pt x="11" y="1"/>
                    <a:pt x="11" y="1"/>
                  </a:cubicBezTo>
                  <a:cubicBezTo>
                    <a:pt x="10" y="1"/>
                    <a:pt x="10" y="1"/>
                    <a:pt x="10" y="1"/>
                  </a:cubicBezTo>
                  <a:cubicBezTo>
                    <a:pt x="9" y="0"/>
                    <a:pt x="9" y="0"/>
                    <a:pt x="9" y="0"/>
                  </a:cubicBezTo>
                  <a:cubicBezTo>
                    <a:pt x="7" y="2"/>
                    <a:pt x="7" y="2"/>
                    <a:pt x="7" y="2"/>
                  </a:cubicBezTo>
                  <a:cubicBezTo>
                    <a:pt x="9" y="6"/>
                    <a:pt x="9" y="6"/>
                    <a:pt x="9" y="6"/>
                  </a:cubicBezTo>
                  <a:cubicBezTo>
                    <a:pt x="6" y="8"/>
                    <a:pt x="6" y="8"/>
                    <a:pt x="6" y="8"/>
                  </a:cubicBezTo>
                  <a:cubicBezTo>
                    <a:pt x="7" y="10"/>
                    <a:pt x="7" y="10"/>
                    <a:pt x="7" y="10"/>
                  </a:cubicBezTo>
                  <a:cubicBezTo>
                    <a:pt x="3" y="11"/>
                    <a:pt x="3" y="11"/>
                    <a:pt x="3" y="11"/>
                  </a:cubicBezTo>
                  <a:cubicBezTo>
                    <a:pt x="0" y="14"/>
                    <a:pt x="0" y="14"/>
                    <a:pt x="0" y="14"/>
                  </a:cubicBezTo>
                  <a:cubicBezTo>
                    <a:pt x="3" y="16"/>
                    <a:pt x="3" y="16"/>
                    <a:pt x="3" y="16"/>
                  </a:cubicBezTo>
                  <a:cubicBezTo>
                    <a:pt x="3" y="19"/>
                    <a:pt x="3" y="19"/>
                    <a:pt x="3" y="19"/>
                  </a:cubicBezTo>
                  <a:cubicBezTo>
                    <a:pt x="4" y="17"/>
                    <a:pt x="3" y="21"/>
                    <a:pt x="4" y="22"/>
                  </a:cubicBezTo>
                  <a:cubicBezTo>
                    <a:pt x="5" y="24"/>
                    <a:pt x="6" y="24"/>
                    <a:pt x="6" y="26"/>
                  </a:cubicBezTo>
                  <a:cubicBezTo>
                    <a:pt x="6" y="28"/>
                    <a:pt x="7" y="28"/>
                    <a:pt x="8" y="29"/>
                  </a:cubicBezTo>
                  <a:cubicBezTo>
                    <a:pt x="10" y="30"/>
                    <a:pt x="12" y="31"/>
                    <a:pt x="12" y="33"/>
                  </a:cubicBezTo>
                  <a:cubicBezTo>
                    <a:pt x="13" y="35"/>
                    <a:pt x="13" y="42"/>
                    <a:pt x="13" y="42"/>
                  </a:cubicBezTo>
                  <a:cubicBezTo>
                    <a:pt x="14" y="41"/>
                    <a:pt x="14" y="40"/>
                    <a:pt x="15" y="40"/>
                  </a:cubicBezTo>
                  <a:cubicBezTo>
                    <a:pt x="16" y="38"/>
                    <a:pt x="16" y="35"/>
                    <a:pt x="17" y="35"/>
                  </a:cubicBezTo>
                  <a:cubicBezTo>
                    <a:pt x="18" y="35"/>
                    <a:pt x="20" y="33"/>
                    <a:pt x="21" y="32"/>
                  </a:cubicBezTo>
                  <a:cubicBezTo>
                    <a:pt x="22" y="31"/>
                    <a:pt x="23" y="32"/>
                    <a:pt x="24" y="33"/>
                  </a:cubicBezTo>
                  <a:cubicBezTo>
                    <a:pt x="24" y="35"/>
                    <a:pt x="25" y="33"/>
                    <a:pt x="26" y="32"/>
                  </a:cubicBezTo>
                  <a:cubicBezTo>
                    <a:pt x="27" y="30"/>
                    <a:pt x="29" y="29"/>
                    <a:pt x="30" y="30"/>
                  </a:cubicBezTo>
                  <a:cubicBezTo>
                    <a:pt x="29" y="27"/>
                    <a:pt x="29" y="27"/>
                    <a:pt x="29" y="27"/>
                  </a:cubicBezTo>
                  <a:lnTo>
                    <a:pt x="28" y="26"/>
                  </a:lnTo>
                  <a:close/>
                </a:path>
              </a:pathLst>
            </a:custGeom>
            <a:solidFill>
              <a:srgbClr val="8D8F92"/>
            </a:solidFill>
            <a:ln w="6350"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a:p>
          </p:txBody>
        </p:sp>
      </p:grpSp>
      <p:sp>
        <p:nvSpPr>
          <p:cNvPr id="10" name="Rechteck 9"/>
          <p:cNvSpPr/>
          <p:nvPr>
            <p:custDataLst>
              <p:tags r:id="rId12"/>
            </p:custDataLst>
          </p:nvPr>
        </p:nvSpPr>
        <p:spPr bwMode="gray">
          <a:xfrm>
            <a:off x="354704" y="1739077"/>
            <a:ext cx="4078817" cy="4607984"/>
          </a:xfrm>
          <a:custGeom>
            <a:avLst/>
            <a:gdLst/>
            <a:ahLst/>
            <a:cxnLst/>
            <a:rect l="l" t="t" r="r" b="b"/>
            <a:pathLst>
              <a:path w="3059113" h="3455988">
                <a:moveTo>
                  <a:pt x="11368" y="0"/>
                </a:moveTo>
                <a:lnTo>
                  <a:pt x="3059113" y="0"/>
                </a:lnTo>
                <a:lnTo>
                  <a:pt x="3059113" y="3455988"/>
                </a:lnTo>
                <a:lnTo>
                  <a:pt x="0" y="3455988"/>
                </a:lnTo>
                <a:lnTo>
                  <a:pt x="0" y="3455947"/>
                </a:lnTo>
                <a:cubicBezTo>
                  <a:pt x="617011" y="3455811"/>
                  <a:pt x="1187166" y="3126676"/>
                  <a:pt x="1495875" y="2592369"/>
                </a:cubicBezTo>
                <a:cubicBezTo>
                  <a:pt x="1804806" y="2057677"/>
                  <a:pt x="1804963" y="1398777"/>
                  <a:pt x="1496287" y="863939"/>
                </a:cubicBezTo>
                <a:cubicBezTo>
                  <a:pt x="1189592" y="332531"/>
                  <a:pt x="624324" y="3841"/>
                  <a:pt x="11368" y="0"/>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US" sz="2133" dirty="0">
              <a:solidFill>
                <a:schemeClr val="tx1"/>
              </a:solidFill>
              <a:latin typeface="Arial" pitchFamily="34" charset="0"/>
              <a:cs typeface="Arial" pitchFamily="34" charset="0"/>
            </a:endParaRPr>
          </a:p>
        </p:txBody>
      </p:sp>
      <p:sp>
        <p:nvSpPr>
          <p:cNvPr id="288" name="Bogen 287"/>
          <p:cNvSpPr/>
          <p:nvPr>
            <p:custDataLst>
              <p:tags r:id="rId13"/>
            </p:custDataLst>
          </p:nvPr>
        </p:nvSpPr>
        <p:spPr bwMode="gray">
          <a:xfrm>
            <a:off x="-1968896" y="1700808"/>
            <a:ext cx="4608511" cy="4608511"/>
          </a:xfrm>
          <a:prstGeom prst="arc">
            <a:avLst>
              <a:gd name="adj1" fmla="val 16200000"/>
              <a:gd name="adj2" fmla="val 5401637"/>
            </a:avLst>
          </a:prstGeom>
          <a:ln>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2400"/>
          </a:p>
        </p:txBody>
      </p:sp>
      <p:sp>
        <p:nvSpPr>
          <p:cNvPr id="303" name="Freeform 9"/>
          <p:cNvSpPr>
            <a:spLocks noChangeAspect="1" noEditPoints="1"/>
          </p:cNvSpPr>
          <p:nvPr>
            <p:custDataLst>
              <p:tags r:id="rId14"/>
            </p:custDataLst>
          </p:nvPr>
        </p:nvSpPr>
        <p:spPr bwMode="gray">
          <a:xfrm>
            <a:off x="3233252" y="1756644"/>
            <a:ext cx="658309" cy="658309"/>
          </a:xfrm>
          <a:custGeom>
            <a:avLst/>
            <a:gdLst>
              <a:gd name="T0" fmla="*/ 199 w 397"/>
              <a:gd name="T1" fmla="*/ 275 h 397"/>
              <a:gd name="T2" fmla="*/ 199 w 397"/>
              <a:gd name="T3" fmla="*/ 122 h 397"/>
              <a:gd name="T4" fmla="*/ 65 w 397"/>
              <a:gd name="T5" fmla="*/ 342 h 397"/>
              <a:gd name="T6" fmla="*/ 129 w 397"/>
              <a:gd name="T7" fmla="*/ 282 h 397"/>
              <a:gd name="T8" fmla="*/ 116 w 397"/>
              <a:gd name="T9" fmla="*/ 268 h 397"/>
              <a:gd name="T10" fmla="*/ 59 w 397"/>
              <a:gd name="T11" fmla="*/ 339 h 397"/>
              <a:gd name="T12" fmla="*/ 275 w 397"/>
              <a:gd name="T13" fmla="*/ 131 h 397"/>
              <a:gd name="T14" fmla="*/ 339 w 397"/>
              <a:gd name="T15" fmla="*/ 72 h 397"/>
              <a:gd name="T16" fmla="*/ 326 w 397"/>
              <a:gd name="T17" fmla="*/ 58 h 397"/>
              <a:gd name="T18" fmla="*/ 269 w 397"/>
              <a:gd name="T19" fmla="*/ 129 h 397"/>
              <a:gd name="T20" fmla="*/ 91 w 397"/>
              <a:gd name="T21" fmla="*/ 208 h 397"/>
              <a:gd name="T22" fmla="*/ 91 w 397"/>
              <a:gd name="T23" fmla="*/ 189 h 397"/>
              <a:gd name="T24" fmla="*/ 0 w 397"/>
              <a:gd name="T25" fmla="*/ 198 h 397"/>
              <a:gd name="T26" fmla="*/ 91 w 397"/>
              <a:gd name="T27" fmla="*/ 208 h 397"/>
              <a:gd name="T28" fmla="*/ 397 w 397"/>
              <a:gd name="T29" fmla="*/ 198 h 397"/>
              <a:gd name="T30" fmla="*/ 307 w 397"/>
              <a:gd name="T31" fmla="*/ 189 h 397"/>
              <a:gd name="T32" fmla="*/ 307 w 397"/>
              <a:gd name="T33" fmla="*/ 208 h 397"/>
              <a:gd name="T34" fmla="*/ 122 w 397"/>
              <a:gd name="T35" fmla="*/ 131 h 397"/>
              <a:gd name="T36" fmla="*/ 129 w 397"/>
              <a:gd name="T37" fmla="*/ 115 h 397"/>
              <a:gd name="T38" fmla="*/ 59 w 397"/>
              <a:gd name="T39" fmla="*/ 58 h 397"/>
              <a:gd name="T40" fmla="*/ 116 w 397"/>
              <a:gd name="T41" fmla="*/ 129 h 397"/>
              <a:gd name="T42" fmla="*/ 332 w 397"/>
              <a:gd name="T43" fmla="*/ 342 h 397"/>
              <a:gd name="T44" fmla="*/ 339 w 397"/>
              <a:gd name="T45" fmla="*/ 325 h 397"/>
              <a:gd name="T46" fmla="*/ 269 w 397"/>
              <a:gd name="T47" fmla="*/ 268 h 397"/>
              <a:gd name="T48" fmla="*/ 326 w 397"/>
              <a:gd name="T49" fmla="*/ 339 h 397"/>
              <a:gd name="T50" fmla="*/ 199 w 397"/>
              <a:gd name="T51" fmla="*/ 100 h 397"/>
              <a:gd name="T52" fmla="*/ 208 w 397"/>
              <a:gd name="T53" fmla="*/ 10 h 397"/>
              <a:gd name="T54" fmla="*/ 189 w 397"/>
              <a:gd name="T55" fmla="*/ 10 h 397"/>
              <a:gd name="T56" fmla="*/ 199 w 397"/>
              <a:gd name="T57" fmla="*/ 100 h 397"/>
              <a:gd name="T58" fmla="*/ 208 w 397"/>
              <a:gd name="T59" fmla="*/ 387 h 397"/>
              <a:gd name="T60" fmla="*/ 199 w 397"/>
              <a:gd name="T61" fmla="*/ 297 h 397"/>
              <a:gd name="T62" fmla="*/ 189 w 397"/>
              <a:gd name="T63" fmla="*/ 38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7" h="397">
                <a:moveTo>
                  <a:pt x="275" y="198"/>
                </a:moveTo>
                <a:cubicBezTo>
                  <a:pt x="275" y="241"/>
                  <a:pt x="241" y="275"/>
                  <a:pt x="199" y="275"/>
                </a:cubicBezTo>
                <a:cubicBezTo>
                  <a:pt x="157" y="275"/>
                  <a:pt x="123" y="241"/>
                  <a:pt x="123" y="198"/>
                </a:cubicBezTo>
                <a:cubicBezTo>
                  <a:pt x="123" y="156"/>
                  <a:pt x="157" y="122"/>
                  <a:pt x="199" y="122"/>
                </a:cubicBezTo>
                <a:cubicBezTo>
                  <a:pt x="241" y="122"/>
                  <a:pt x="275" y="156"/>
                  <a:pt x="275" y="198"/>
                </a:cubicBezTo>
                <a:close/>
                <a:moveTo>
                  <a:pt x="65" y="342"/>
                </a:moveTo>
                <a:cubicBezTo>
                  <a:pt x="68" y="342"/>
                  <a:pt x="70" y="341"/>
                  <a:pt x="72" y="339"/>
                </a:cubicBezTo>
                <a:cubicBezTo>
                  <a:pt x="129" y="282"/>
                  <a:pt x="129" y="282"/>
                  <a:pt x="129" y="282"/>
                </a:cubicBezTo>
                <a:cubicBezTo>
                  <a:pt x="133" y="278"/>
                  <a:pt x="133" y="272"/>
                  <a:pt x="129" y="268"/>
                </a:cubicBezTo>
                <a:cubicBezTo>
                  <a:pt x="125" y="265"/>
                  <a:pt x="119" y="265"/>
                  <a:pt x="116" y="268"/>
                </a:cubicBezTo>
                <a:cubicBezTo>
                  <a:pt x="59" y="325"/>
                  <a:pt x="59" y="325"/>
                  <a:pt x="59" y="325"/>
                </a:cubicBezTo>
                <a:cubicBezTo>
                  <a:pt x="55" y="329"/>
                  <a:pt x="55" y="335"/>
                  <a:pt x="59" y="339"/>
                </a:cubicBezTo>
                <a:cubicBezTo>
                  <a:pt x="60" y="341"/>
                  <a:pt x="63" y="342"/>
                  <a:pt x="65" y="342"/>
                </a:cubicBezTo>
                <a:close/>
                <a:moveTo>
                  <a:pt x="275" y="131"/>
                </a:moveTo>
                <a:cubicBezTo>
                  <a:pt x="278" y="131"/>
                  <a:pt x="280" y="131"/>
                  <a:pt x="282" y="129"/>
                </a:cubicBezTo>
                <a:cubicBezTo>
                  <a:pt x="339" y="72"/>
                  <a:pt x="339" y="72"/>
                  <a:pt x="339" y="72"/>
                </a:cubicBezTo>
                <a:cubicBezTo>
                  <a:pt x="343" y="68"/>
                  <a:pt x="343" y="62"/>
                  <a:pt x="339" y="58"/>
                </a:cubicBezTo>
                <a:cubicBezTo>
                  <a:pt x="335" y="54"/>
                  <a:pt x="329" y="54"/>
                  <a:pt x="326" y="58"/>
                </a:cubicBezTo>
                <a:cubicBezTo>
                  <a:pt x="269" y="115"/>
                  <a:pt x="269" y="115"/>
                  <a:pt x="269" y="115"/>
                </a:cubicBezTo>
                <a:cubicBezTo>
                  <a:pt x="265" y="119"/>
                  <a:pt x="265" y="125"/>
                  <a:pt x="269" y="129"/>
                </a:cubicBezTo>
                <a:cubicBezTo>
                  <a:pt x="271" y="131"/>
                  <a:pt x="273" y="131"/>
                  <a:pt x="275" y="131"/>
                </a:cubicBezTo>
                <a:close/>
                <a:moveTo>
                  <a:pt x="91" y="208"/>
                </a:moveTo>
                <a:cubicBezTo>
                  <a:pt x="96" y="208"/>
                  <a:pt x="100" y="204"/>
                  <a:pt x="100" y="198"/>
                </a:cubicBezTo>
                <a:cubicBezTo>
                  <a:pt x="100" y="193"/>
                  <a:pt x="96" y="189"/>
                  <a:pt x="91" y="189"/>
                </a:cubicBezTo>
                <a:cubicBezTo>
                  <a:pt x="10" y="189"/>
                  <a:pt x="10" y="189"/>
                  <a:pt x="10" y="189"/>
                </a:cubicBezTo>
                <a:cubicBezTo>
                  <a:pt x="5" y="189"/>
                  <a:pt x="0" y="193"/>
                  <a:pt x="0" y="198"/>
                </a:cubicBezTo>
                <a:cubicBezTo>
                  <a:pt x="0" y="204"/>
                  <a:pt x="5" y="208"/>
                  <a:pt x="10" y="208"/>
                </a:cubicBezTo>
                <a:cubicBezTo>
                  <a:pt x="91" y="208"/>
                  <a:pt x="91" y="208"/>
                  <a:pt x="91" y="208"/>
                </a:cubicBezTo>
                <a:close/>
                <a:moveTo>
                  <a:pt x="388" y="208"/>
                </a:moveTo>
                <a:cubicBezTo>
                  <a:pt x="393" y="208"/>
                  <a:pt x="397" y="204"/>
                  <a:pt x="397" y="198"/>
                </a:cubicBezTo>
                <a:cubicBezTo>
                  <a:pt x="397" y="193"/>
                  <a:pt x="393" y="189"/>
                  <a:pt x="388" y="189"/>
                </a:cubicBezTo>
                <a:cubicBezTo>
                  <a:pt x="307" y="189"/>
                  <a:pt x="307" y="189"/>
                  <a:pt x="307" y="189"/>
                </a:cubicBezTo>
                <a:cubicBezTo>
                  <a:pt x="302" y="189"/>
                  <a:pt x="298" y="193"/>
                  <a:pt x="298" y="198"/>
                </a:cubicBezTo>
                <a:cubicBezTo>
                  <a:pt x="298" y="204"/>
                  <a:pt x="302" y="208"/>
                  <a:pt x="307" y="208"/>
                </a:cubicBezTo>
                <a:cubicBezTo>
                  <a:pt x="388" y="208"/>
                  <a:pt x="388" y="208"/>
                  <a:pt x="388" y="208"/>
                </a:cubicBezTo>
                <a:close/>
                <a:moveTo>
                  <a:pt x="122" y="131"/>
                </a:moveTo>
                <a:cubicBezTo>
                  <a:pt x="125" y="131"/>
                  <a:pt x="127" y="131"/>
                  <a:pt x="129" y="129"/>
                </a:cubicBezTo>
                <a:cubicBezTo>
                  <a:pt x="133" y="125"/>
                  <a:pt x="133" y="119"/>
                  <a:pt x="129" y="115"/>
                </a:cubicBezTo>
                <a:cubicBezTo>
                  <a:pt x="72" y="58"/>
                  <a:pt x="72" y="58"/>
                  <a:pt x="72" y="58"/>
                </a:cubicBezTo>
                <a:cubicBezTo>
                  <a:pt x="68" y="54"/>
                  <a:pt x="62" y="54"/>
                  <a:pt x="59" y="58"/>
                </a:cubicBezTo>
                <a:cubicBezTo>
                  <a:pt x="55" y="62"/>
                  <a:pt x="55" y="68"/>
                  <a:pt x="59" y="72"/>
                </a:cubicBezTo>
                <a:cubicBezTo>
                  <a:pt x="116" y="129"/>
                  <a:pt x="116" y="129"/>
                  <a:pt x="116" y="129"/>
                </a:cubicBezTo>
                <a:cubicBezTo>
                  <a:pt x="117" y="131"/>
                  <a:pt x="120" y="131"/>
                  <a:pt x="122" y="131"/>
                </a:cubicBezTo>
                <a:close/>
                <a:moveTo>
                  <a:pt x="332" y="342"/>
                </a:moveTo>
                <a:cubicBezTo>
                  <a:pt x="335" y="342"/>
                  <a:pt x="337" y="341"/>
                  <a:pt x="339" y="339"/>
                </a:cubicBezTo>
                <a:cubicBezTo>
                  <a:pt x="343" y="335"/>
                  <a:pt x="343" y="329"/>
                  <a:pt x="339" y="325"/>
                </a:cubicBezTo>
                <a:cubicBezTo>
                  <a:pt x="282" y="268"/>
                  <a:pt x="282" y="268"/>
                  <a:pt x="282" y="268"/>
                </a:cubicBezTo>
                <a:cubicBezTo>
                  <a:pt x="278" y="265"/>
                  <a:pt x="272" y="265"/>
                  <a:pt x="269" y="268"/>
                </a:cubicBezTo>
                <a:cubicBezTo>
                  <a:pt x="265" y="272"/>
                  <a:pt x="265" y="278"/>
                  <a:pt x="269" y="282"/>
                </a:cubicBezTo>
                <a:cubicBezTo>
                  <a:pt x="326" y="339"/>
                  <a:pt x="326" y="339"/>
                  <a:pt x="326" y="339"/>
                </a:cubicBezTo>
                <a:cubicBezTo>
                  <a:pt x="328" y="341"/>
                  <a:pt x="330" y="342"/>
                  <a:pt x="332" y="342"/>
                </a:cubicBezTo>
                <a:close/>
                <a:moveTo>
                  <a:pt x="199" y="100"/>
                </a:moveTo>
                <a:cubicBezTo>
                  <a:pt x="204" y="100"/>
                  <a:pt x="208" y="96"/>
                  <a:pt x="208" y="90"/>
                </a:cubicBezTo>
                <a:cubicBezTo>
                  <a:pt x="208" y="10"/>
                  <a:pt x="208" y="10"/>
                  <a:pt x="208" y="10"/>
                </a:cubicBezTo>
                <a:cubicBezTo>
                  <a:pt x="208" y="4"/>
                  <a:pt x="204" y="0"/>
                  <a:pt x="199" y="0"/>
                </a:cubicBezTo>
                <a:cubicBezTo>
                  <a:pt x="194" y="0"/>
                  <a:pt x="189" y="4"/>
                  <a:pt x="189" y="10"/>
                </a:cubicBezTo>
                <a:cubicBezTo>
                  <a:pt x="189" y="90"/>
                  <a:pt x="189" y="90"/>
                  <a:pt x="189" y="90"/>
                </a:cubicBezTo>
                <a:cubicBezTo>
                  <a:pt x="189" y="96"/>
                  <a:pt x="194" y="100"/>
                  <a:pt x="199" y="100"/>
                </a:cubicBezTo>
                <a:close/>
                <a:moveTo>
                  <a:pt x="199" y="397"/>
                </a:moveTo>
                <a:cubicBezTo>
                  <a:pt x="204" y="397"/>
                  <a:pt x="208" y="393"/>
                  <a:pt x="208" y="387"/>
                </a:cubicBezTo>
                <a:cubicBezTo>
                  <a:pt x="208" y="307"/>
                  <a:pt x="208" y="307"/>
                  <a:pt x="208" y="307"/>
                </a:cubicBezTo>
                <a:cubicBezTo>
                  <a:pt x="208" y="301"/>
                  <a:pt x="204" y="297"/>
                  <a:pt x="199" y="297"/>
                </a:cubicBezTo>
                <a:cubicBezTo>
                  <a:pt x="194" y="297"/>
                  <a:pt x="189" y="301"/>
                  <a:pt x="189" y="307"/>
                </a:cubicBezTo>
                <a:cubicBezTo>
                  <a:pt x="189" y="387"/>
                  <a:pt x="189" y="387"/>
                  <a:pt x="189" y="387"/>
                </a:cubicBezTo>
                <a:cubicBezTo>
                  <a:pt x="189" y="393"/>
                  <a:pt x="194" y="397"/>
                  <a:pt x="199" y="397"/>
                </a:cubicBezTo>
                <a:close/>
              </a:path>
            </a:pathLst>
          </a:custGeom>
          <a:solidFill>
            <a:srgbClr val="F0AB00"/>
          </a:solidFill>
          <a:ln>
            <a:noFill/>
          </a:ln>
        </p:spPr>
        <p:txBody>
          <a:bodyPr vert="horz" wrap="square" lIns="121920" tIns="60960" rIns="121920" bIns="60960" numCol="1" anchor="t" anchorCtr="0" compatLnSpc="1">
            <a:prstTxWarp prst="textNoShape">
              <a:avLst/>
            </a:prstTxWarp>
          </a:bodyPr>
          <a:lstStyle/>
          <a:p>
            <a:endParaRPr lang="de-DE" sz="2400" dirty="0">
              <a:solidFill>
                <a:srgbClr val="000000"/>
              </a:solidFill>
            </a:endParaRPr>
          </a:p>
        </p:txBody>
      </p:sp>
      <p:grpSp>
        <p:nvGrpSpPr>
          <p:cNvPr id="304" name="Gruppieren 303"/>
          <p:cNvGrpSpPr/>
          <p:nvPr>
            <p:custDataLst>
              <p:tags r:id="rId15"/>
            </p:custDataLst>
          </p:nvPr>
        </p:nvGrpSpPr>
        <p:grpSpPr bwMode="gray">
          <a:xfrm>
            <a:off x="3117048" y="2538329"/>
            <a:ext cx="890720" cy="636576"/>
            <a:chOff x="539552" y="2606706"/>
            <a:chExt cx="797402" cy="569883"/>
          </a:xfrm>
          <a:solidFill>
            <a:schemeClr val="bg2">
              <a:lumMod val="40000"/>
              <a:lumOff val="60000"/>
            </a:schemeClr>
          </a:solidFill>
        </p:grpSpPr>
        <p:sp>
          <p:nvSpPr>
            <p:cNvPr id="305" name="Freeform 9"/>
            <p:cNvSpPr>
              <a:spLocks noChangeAspect="1" noEditPoints="1"/>
            </p:cNvSpPr>
            <p:nvPr/>
          </p:nvSpPr>
          <p:spPr bwMode="gray">
            <a:xfrm>
              <a:off x="539552" y="2606706"/>
              <a:ext cx="475516" cy="475516"/>
            </a:xfrm>
            <a:custGeom>
              <a:avLst/>
              <a:gdLst>
                <a:gd name="T0" fmla="*/ 199 w 397"/>
                <a:gd name="T1" fmla="*/ 275 h 397"/>
                <a:gd name="T2" fmla="*/ 199 w 397"/>
                <a:gd name="T3" fmla="*/ 122 h 397"/>
                <a:gd name="T4" fmla="*/ 65 w 397"/>
                <a:gd name="T5" fmla="*/ 342 h 397"/>
                <a:gd name="T6" fmla="*/ 129 w 397"/>
                <a:gd name="T7" fmla="*/ 282 h 397"/>
                <a:gd name="T8" fmla="*/ 116 w 397"/>
                <a:gd name="T9" fmla="*/ 268 h 397"/>
                <a:gd name="T10" fmla="*/ 59 w 397"/>
                <a:gd name="T11" fmla="*/ 339 h 397"/>
                <a:gd name="T12" fmla="*/ 275 w 397"/>
                <a:gd name="T13" fmla="*/ 131 h 397"/>
                <a:gd name="T14" fmla="*/ 339 w 397"/>
                <a:gd name="T15" fmla="*/ 72 h 397"/>
                <a:gd name="T16" fmla="*/ 326 w 397"/>
                <a:gd name="T17" fmla="*/ 58 h 397"/>
                <a:gd name="T18" fmla="*/ 269 w 397"/>
                <a:gd name="T19" fmla="*/ 129 h 397"/>
                <a:gd name="T20" fmla="*/ 91 w 397"/>
                <a:gd name="T21" fmla="*/ 208 h 397"/>
                <a:gd name="T22" fmla="*/ 91 w 397"/>
                <a:gd name="T23" fmla="*/ 189 h 397"/>
                <a:gd name="T24" fmla="*/ 0 w 397"/>
                <a:gd name="T25" fmla="*/ 198 h 397"/>
                <a:gd name="T26" fmla="*/ 91 w 397"/>
                <a:gd name="T27" fmla="*/ 208 h 397"/>
                <a:gd name="T28" fmla="*/ 397 w 397"/>
                <a:gd name="T29" fmla="*/ 198 h 397"/>
                <a:gd name="T30" fmla="*/ 307 w 397"/>
                <a:gd name="T31" fmla="*/ 189 h 397"/>
                <a:gd name="T32" fmla="*/ 307 w 397"/>
                <a:gd name="T33" fmla="*/ 208 h 397"/>
                <a:gd name="T34" fmla="*/ 122 w 397"/>
                <a:gd name="T35" fmla="*/ 131 h 397"/>
                <a:gd name="T36" fmla="*/ 129 w 397"/>
                <a:gd name="T37" fmla="*/ 115 h 397"/>
                <a:gd name="T38" fmla="*/ 59 w 397"/>
                <a:gd name="T39" fmla="*/ 58 h 397"/>
                <a:gd name="T40" fmla="*/ 116 w 397"/>
                <a:gd name="T41" fmla="*/ 129 h 397"/>
                <a:gd name="T42" fmla="*/ 332 w 397"/>
                <a:gd name="T43" fmla="*/ 342 h 397"/>
                <a:gd name="T44" fmla="*/ 339 w 397"/>
                <a:gd name="T45" fmla="*/ 325 h 397"/>
                <a:gd name="T46" fmla="*/ 269 w 397"/>
                <a:gd name="T47" fmla="*/ 268 h 397"/>
                <a:gd name="T48" fmla="*/ 326 w 397"/>
                <a:gd name="T49" fmla="*/ 339 h 397"/>
                <a:gd name="T50" fmla="*/ 199 w 397"/>
                <a:gd name="T51" fmla="*/ 100 h 397"/>
                <a:gd name="T52" fmla="*/ 208 w 397"/>
                <a:gd name="T53" fmla="*/ 10 h 397"/>
                <a:gd name="T54" fmla="*/ 189 w 397"/>
                <a:gd name="T55" fmla="*/ 10 h 397"/>
                <a:gd name="T56" fmla="*/ 199 w 397"/>
                <a:gd name="T57" fmla="*/ 100 h 397"/>
                <a:gd name="T58" fmla="*/ 208 w 397"/>
                <a:gd name="T59" fmla="*/ 387 h 397"/>
                <a:gd name="T60" fmla="*/ 199 w 397"/>
                <a:gd name="T61" fmla="*/ 297 h 397"/>
                <a:gd name="T62" fmla="*/ 189 w 397"/>
                <a:gd name="T63" fmla="*/ 38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7" h="397">
                  <a:moveTo>
                    <a:pt x="275" y="198"/>
                  </a:moveTo>
                  <a:cubicBezTo>
                    <a:pt x="275" y="241"/>
                    <a:pt x="241" y="275"/>
                    <a:pt x="199" y="275"/>
                  </a:cubicBezTo>
                  <a:cubicBezTo>
                    <a:pt x="157" y="275"/>
                    <a:pt x="123" y="241"/>
                    <a:pt x="123" y="198"/>
                  </a:cubicBezTo>
                  <a:cubicBezTo>
                    <a:pt x="123" y="156"/>
                    <a:pt x="157" y="122"/>
                    <a:pt x="199" y="122"/>
                  </a:cubicBezTo>
                  <a:cubicBezTo>
                    <a:pt x="241" y="122"/>
                    <a:pt x="275" y="156"/>
                    <a:pt x="275" y="198"/>
                  </a:cubicBezTo>
                  <a:close/>
                  <a:moveTo>
                    <a:pt x="65" y="342"/>
                  </a:moveTo>
                  <a:cubicBezTo>
                    <a:pt x="68" y="342"/>
                    <a:pt x="70" y="341"/>
                    <a:pt x="72" y="339"/>
                  </a:cubicBezTo>
                  <a:cubicBezTo>
                    <a:pt x="129" y="282"/>
                    <a:pt x="129" y="282"/>
                    <a:pt x="129" y="282"/>
                  </a:cubicBezTo>
                  <a:cubicBezTo>
                    <a:pt x="133" y="278"/>
                    <a:pt x="133" y="272"/>
                    <a:pt x="129" y="268"/>
                  </a:cubicBezTo>
                  <a:cubicBezTo>
                    <a:pt x="125" y="265"/>
                    <a:pt x="119" y="265"/>
                    <a:pt x="116" y="268"/>
                  </a:cubicBezTo>
                  <a:cubicBezTo>
                    <a:pt x="59" y="325"/>
                    <a:pt x="59" y="325"/>
                    <a:pt x="59" y="325"/>
                  </a:cubicBezTo>
                  <a:cubicBezTo>
                    <a:pt x="55" y="329"/>
                    <a:pt x="55" y="335"/>
                    <a:pt x="59" y="339"/>
                  </a:cubicBezTo>
                  <a:cubicBezTo>
                    <a:pt x="60" y="341"/>
                    <a:pt x="63" y="342"/>
                    <a:pt x="65" y="342"/>
                  </a:cubicBezTo>
                  <a:close/>
                  <a:moveTo>
                    <a:pt x="275" y="131"/>
                  </a:moveTo>
                  <a:cubicBezTo>
                    <a:pt x="278" y="131"/>
                    <a:pt x="280" y="131"/>
                    <a:pt x="282" y="129"/>
                  </a:cubicBezTo>
                  <a:cubicBezTo>
                    <a:pt x="339" y="72"/>
                    <a:pt x="339" y="72"/>
                    <a:pt x="339" y="72"/>
                  </a:cubicBezTo>
                  <a:cubicBezTo>
                    <a:pt x="343" y="68"/>
                    <a:pt x="343" y="62"/>
                    <a:pt x="339" y="58"/>
                  </a:cubicBezTo>
                  <a:cubicBezTo>
                    <a:pt x="335" y="54"/>
                    <a:pt x="329" y="54"/>
                    <a:pt x="326" y="58"/>
                  </a:cubicBezTo>
                  <a:cubicBezTo>
                    <a:pt x="269" y="115"/>
                    <a:pt x="269" y="115"/>
                    <a:pt x="269" y="115"/>
                  </a:cubicBezTo>
                  <a:cubicBezTo>
                    <a:pt x="265" y="119"/>
                    <a:pt x="265" y="125"/>
                    <a:pt x="269" y="129"/>
                  </a:cubicBezTo>
                  <a:cubicBezTo>
                    <a:pt x="271" y="131"/>
                    <a:pt x="273" y="131"/>
                    <a:pt x="275" y="131"/>
                  </a:cubicBezTo>
                  <a:close/>
                  <a:moveTo>
                    <a:pt x="91" y="208"/>
                  </a:moveTo>
                  <a:cubicBezTo>
                    <a:pt x="96" y="208"/>
                    <a:pt x="100" y="204"/>
                    <a:pt x="100" y="198"/>
                  </a:cubicBezTo>
                  <a:cubicBezTo>
                    <a:pt x="100" y="193"/>
                    <a:pt x="96" y="189"/>
                    <a:pt x="91" y="189"/>
                  </a:cubicBezTo>
                  <a:cubicBezTo>
                    <a:pt x="10" y="189"/>
                    <a:pt x="10" y="189"/>
                    <a:pt x="10" y="189"/>
                  </a:cubicBezTo>
                  <a:cubicBezTo>
                    <a:pt x="5" y="189"/>
                    <a:pt x="0" y="193"/>
                    <a:pt x="0" y="198"/>
                  </a:cubicBezTo>
                  <a:cubicBezTo>
                    <a:pt x="0" y="204"/>
                    <a:pt x="5" y="208"/>
                    <a:pt x="10" y="208"/>
                  </a:cubicBezTo>
                  <a:cubicBezTo>
                    <a:pt x="91" y="208"/>
                    <a:pt x="91" y="208"/>
                    <a:pt x="91" y="208"/>
                  </a:cubicBezTo>
                  <a:close/>
                  <a:moveTo>
                    <a:pt x="388" y="208"/>
                  </a:moveTo>
                  <a:cubicBezTo>
                    <a:pt x="393" y="208"/>
                    <a:pt x="397" y="204"/>
                    <a:pt x="397" y="198"/>
                  </a:cubicBezTo>
                  <a:cubicBezTo>
                    <a:pt x="397" y="193"/>
                    <a:pt x="393" y="189"/>
                    <a:pt x="388" y="189"/>
                  </a:cubicBezTo>
                  <a:cubicBezTo>
                    <a:pt x="307" y="189"/>
                    <a:pt x="307" y="189"/>
                    <a:pt x="307" y="189"/>
                  </a:cubicBezTo>
                  <a:cubicBezTo>
                    <a:pt x="302" y="189"/>
                    <a:pt x="298" y="193"/>
                    <a:pt x="298" y="198"/>
                  </a:cubicBezTo>
                  <a:cubicBezTo>
                    <a:pt x="298" y="204"/>
                    <a:pt x="302" y="208"/>
                    <a:pt x="307" y="208"/>
                  </a:cubicBezTo>
                  <a:cubicBezTo>
                    <a:pt x="388" y="208"/>
                    <a:pt x="388" y="208"/>
                    <a:pt x="388" y="208"/>
                  </a:cubicBezTo>
                  <a:close/>
                  <a:moveTo>
                    <a:pt x="122" y="131"/>
                  </a:moveTo>
                  <a:cubicBezTo>
                    <a:pt x="125" y="131"/>
                    <a:pt x="127" y="131"/>
                    <a:pt x="129" y="129"/>
                  </a:cubicBezTo>
                  <a:cubicBezTo>
                    <a:pt x="133" y="125"/>
                    <a:pt x="133" y="119"/>
                    <a:pt x="129" y="115"/>
                  </a:cubicBezTo>
                  <a:cubicBezTo>
                    <a:pt x="72" y="58"/>
                    <a:pt x="72" y="58"/>
                    <a:pt x="72" y="58"/>
                  </a:cubicBezTo>
                  <a:cubicBezTo>
                    <a:pt x="68" y="54"/>
                    <a:pt x="62" y="54"/>
                    <a:pt x="59" y="58"/>
                  </a:cubicBezTo>
                  <a:cubicBezTo>
                    <a:pt x="55" y="62"/>
                    <a:pt x="55" y="68"/>
                    <a:pt x="59" y="72"/>
                  </a:cubicBezTo>
                  <a:cubicBezTo>
                    <a:pt x="116" y="129"/>
                    <a:pt x="116" y="129"/>
                    <a:pt x="116" y="129"/>
                  </a:cubicBezTo>
                  <a:cubicBezTo>
                    <a:pt x="117" y="131"/>
                    <a:pt x="120" y="131"/>
                    <a:pt x="122" y="131"/>
                  </a:cubicBezTo>
                  <a:close/>
                  <a:moveTo>
                    <a:pt x="332" y="342"/>
                  </a:moveTo>
                  <a:cubicBezTo>
                    <a:pt x="335" y="342"/>
                    <a:pt x="337" y="341"/>
                    <a:pt x="339" y="339"/>
                  </a:cubicBezTo>
                  <a:cubicBezTo>
                    <a:pt x="343" y="335"/>
                    <a:pt x="343" y="329"/>
                    <a:pt x="339" y="325"/>
                  </a:cubicBezTo>
                  <a:cubicBezTo>
                    <a:pt x="282" y="268"/>
                    <a:pt x="282" y="268"/>
                    <a:pt x="282" y="268"/>
                  </a:cubicBezTo>
                  <a:cubicBezTo>
                    <a:pt x="278" y="265"/>
                    <a:pt x="272" y="265"/>
                    <a:pt x="269" y="268"/>
                  </a:cubicBezTo>
                  <a:cubicBezTo>
                    <a:pt x="265" y="272"/>
                    <a:pt x="265" y="278"/>
                    <a:pt x="269" y="282"/>
                  </a:cubicBezTo>
                  <a:cubicBezTo>
                    <a:pt x="326" y="339"/>
                    <a:pt x="326" y="339"/>
                    <a:pt x="326" y="339"/>
                  </a:cubicBezTo>
                  <a:cubicBezTo>
                    <a:pt x="328" y="341"/>
                    <a:pt x="330" y="342"/>
                    <a:pt x="332" y="342"/>
                  </a:cubicBezTo>
                  <a:close/>
                  <a:moveTo>
                    <a:pt x="199" y="100"/>
                  </a:moveTo>
                  <a:cubicBezTo>
                    <a:pt x="204" y="100"/>
                    <a:pt x="208" y="96"/>
                    <a:pt x="208" y="90"/>
                  </a:cubicBezTo>
                  <a:cubicBezTo>
                    <a:pt x="208" y="10"/>
                    <a:pt x="208" y="10"/>
                    <a:pt x="208" y="10"/>
                  </a:cubicBezTo>
                  <a:cubicBezTo>
                    <a:pt x="208" y="4"/>
                    <a:pt x="204" y="0"/>
                    <a:pt x="199" y="0"/>
                  </a:cubicBezTo>
                  <a:cubicBezTo>
                    <a:pt x="194" y="0"/>
                    <a:pt x="189" y="4"/>
                    <a:pt x="189" y="10"/>
                  </a:cubicBezTo>
                  <a:cubicBezTo>
                    <a:pt x="189" y="90"/>
                    <a:pt x="189" y="90"/>
                    <a:pt x="189" y="90"/>
                  </a:cubicBezTo>
                  <a:cubicBezTo>
                    <a:pt x="189" y="96"/>
                    <a:pt x="194" y="100"/>
                    <a:pt x="199" y="100"/>
                  </a:cubicBezTo>
                  <a:close/>
                  <a:moveTo>
                    <a:pt x="199" y="397"/>
                  </a:moveTo>
                  <a:cubicBezTo>
                    <a:pt x="204" y="397"/>
                    <a:pt x="208" y="393"/>
                    <a:pt x="208" y="387"/>
                  </a:cubicBezTo>
                  <a:cubicBezTo>
                    <a:pt x="208" y="307"/>
                    <a:pt x="208" y="307"/>
                    <a:pt x="208" y="307"/>
                  </a:cubicBezTo>
                  <a:cubicBezTo>
                    <a:pt x="208" y="301"/>
                    <a:pt x="204" y="297"/>
                    <a:pt x="199" y="297"/>
                  </a:cubicBezTo>
                  <a:cubicBezTo>
                    <a:pt x="194" y="297"/>
                    <a:pt x="189" y="301"/>
                    <a:pt x="189" y="307"/>
                  </a:cubicBezTo>
                  <a:cubicBezTo>
                    <a:pt x="189" y="387"/>
                    <a:pt x="189" y="387"/>
                    <a:pt x="189" y="387"/>
                  </a:cubicBezTo>
                  <a:cubicBezTo>
                    <a:pt x="189" y="393"/>
                    <a:pt x="194" y="397"/>
                    <a:pt x="199" y="397"/>
                  </a:cubicBezTo>
                  <a:close/>
                </a:path>
              </a:pathLst>
            </a:custGeom>
            <a:solidFill>
              <a:srgbClr val="F0AB00"/>
            </a:solidFill>
            <a:ln>
              <a:noFill/>
            </a:ln>
          </p:spPr>
          <p:txBody>
            <a:bodyPr vert="horz" wrap="square" lIns="121920" tIns="60960" rIns="121920" bIns="60960" numCol="1" anchor="t" anchorCtr="0" compatLnSpc="1">
              <a:prstTxWarp prst="textNoShape">
                <a:avLst/>
              </a:prstTxWarp>
            </a:bodyPr>
            <a:lstStyle/>
            <a:p>
              <a:endParaRPr lang="de-DE" sz="2400" dirty="0">
                <a:solidFill>
                  <a:srgbClr val="000000"/>
                </a:solidFill>
              </a:endParaRPr>
            </a:p>
          </p:txBody>
        </p:sp>
        <p:sp>
          <p:nvSpPr>
            <p:cNvPr id="306" name="Freeform 6"/>
            <p:cNvSpPr>
              <a:spLocks/>
            </p:cNvSpPr>
            <p:nvPr/>
          </p:nvSpPr>
          <p:spPr bwMode="gray">
            <a:xfrm>
              <a:off x="765570" y="2888940"/>
              <a:ext cx="571384" cy="287649"/>
            </a:xfrm>
            <a:custGeom>
              <a:avLst/>
              <a:gdLst>
                <a:gd name="T0" fmla="*/ 315 w 371"/>
                <a:gd name="T1" fmla="*/ 76 h 187"/>
                <a:gd name="T2" fmla="*/ 279 w 371"/>
                <a:gd name="T3" fmla="*/ 89 h 187"/>
                <a:gd name="T4" fmla="*/ 186 w 371"/>
                <a:gd name="T5" fmla="*/ 0 h 187"/>
                <a:gd name="T6" fmla="*/ 101 w 371"/>
                <a:gd name="T7" fmla="*/ 56 h 187"/>
                <a:gd name="T8" fmla="*/ 70 w 371"/>
                <a:gd name="T9" fmla="*/ 48 h 187"/>
                <a:gd name="T10" fmla="*/ 0 w 371"/>
                <a:gd name="T11" fmla="*/ 118 h 187"/>
                <a:gd name="T12" fmla="*/ 70 w 371"/>
                <a:gd name="T13" fmla="*/ 187 h 187"/>
                <a:gd name="T14" fmla="*/ 315 w 371"/>
                <a:gd name="T15" fmla="*/ 187 h 187"/>
                <a:gd name="T16" fmla="*/ 371 w 371"/>
                <a:gd name="T17" fmla="*/ 132 h 187"/>
                <a:gd name="T18" fmla="*/ 315 w 371"/>
                <a:gd name="T19" fmla="*/ 7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1" h="187">
                  <a:moveTo>
                    <a:pt x="315" y="76"/>
                  </a:moveTo>
                  <a:cubicBezTo>
                    <a:pt x="302" y="76"/>
                    <a:pt x="289" y="81"/>
                    <a:pt x="279" y="89"/>
                  </a:cubicBezTo>
                  <a:cubicBezTo>
                    <a:pt x="277" y="39"/>
                    <a:pt x="236" y="0"/>
                    <a:pt x="186" y="0"/>
                  </a:cubicBezTo>
                  <a:cubicBezTo>
                    <a:pt x="148" y="0"/>
                    <a:pt x="115" y="23"/>
                    <a:pt x="101" y="56"/>
                  </a:cubicBezTo>
                  <a:cubicBezTo>
                    <a:pt x="92" y="51"/>
                    <a:pt x="81" y="48"/>
                    <a:pt x="70" y="48"/>
                  </a:cubicBezTo>
                  <a:cubicBezTo>
                    <a:pt x="31" y="48"/>
                    <a:pt x="0" y="79"/>
                    <a:pt x="0" y="118"/>
                  </a:cubicBezTo>
                  <a:cubicBezTo>
                    <a:pt x="0" y="156"/>
                    <a:pt x="31" y="187"/>
                    <a:pt x="70" y="187"/>
                  </a:cubicBezTo>
                  <a:cubicBezTo>
                    <a:pt x="315" y="187"/>
                    <a:pt x="315" y="187"/>
                    <a:pt x="315" y="187"/>
                  </a:cubicBezTo>
                  <a:cubicBezTo>
                    <a:pt x="346" y="187"/>
                    <a:pt x="371" y="162"/>
                    <a:pt x="371" y="132"/>
                  </a:cubicBezTo>
                  <a:cubicBezTo>
                    <a:pt x="371" y="101"/>
                    <a:pt x="346" y="76"/>
                    <a:pt x="315" y="76"/>
                  </a:cubicBezTo>
                </a:path>
              </a:pathLst>
            </a:custGeom>
            <a:solidFill>
              <a:srgbClr val="4368BD"/>
            </a:solidFill>
            <a:ln>
              <a:noFill/>
            </a:ln>
          </p:spPr>
          <p:txBody>
            <a:bodyPr vert="horz" wrap="square" lIns="121920" tIns="60960" rIns="121920" bIns="60960" numCol="1" anchor="t" anchorCtr="0" compatLnSpc="1">
              <a:prstTxWarp prst="textNoShape">
                <a:avLst/>
              </a:prstTxWarp>
            </a:bodyPr>
            <a:lstStyle/>
            <a:p>
              <a:endParaRPr lang="de-DE" sz="2400" dirty="0"/>
            </a:p>
          </p:txBody>
        </p:sp>
      </p:grpSp>
      <p:grpSp>
        <p:nvGrpSpPr>
          <p:cNvPr id="307" name="Gruppieren 306"/>
          <p:cNvGrpSpPr/>
          <p:nvPr>
            <p:custDataLst>
              <p:tags r:id="rId16"/>
            </p:custDataLst>
          </p:nvPr>
        </p:nvGrpSpPr>
        <p:grpSpPr bwMode="gray">
          <a:xfrm>
            <a:off x="3130721" y="3411230"/>
            <a:ext cx="863371" cy="418309"/>
            <a:chOff x="433009" y="3176972"/>
            <a:chExt cx="1114655" cy="540060"/>
          </a:xfrm>
          <a:solidFill>
            <a:srgbClr val="4368BD"/>
          </a:solidFill>
        </p:grpSpPr>
        <p:sp>
          <p:nvSpPr>
            <p:cNvPr id="308" name="Freeform 6"/>
            <p:cNvSpPr>
              <a:spLocks/>
            </p:cNvSpPr>
            <p:nvPr/>
          </p:nvSpPr>
          <p:spPr bwMode="gray">
            <a:xfrm>
              <a:off x="433009" y="3176972"/>
              <a:ext cx="1001255" cy="504056"/>
            </a:xfrm>
            <a:custGeom>
              <a:avLst/>
              <a:gdLst>
                <a:gd name="T0" fmla="*/ 315 w 371"/>
                <a:gd name="T1" fmla="*/ 76 h 187"/>
                <a:gd name="T2" fmla="*/ 279 w 371"/>
                <a:gd name="T3" fmla="*/ 89 h 187"/>
                <a:gd name="T4" fmla="*/ 186 w 371"/>
                <a:gd name="T5" fmla="*/ 0 h 187"/>
                <a:gd name="T6" fmla="*/ 101 w 371"/>
                <a:gd name="T7" fmla="*/ 56 h 187"/>
                <a:gd name="T8" fmla="*/ 70 w 371"/>
                <a:gd name="T9" fmla="*/ 48 h 187"/>
                <a:gd name="T10" fmla="*/ 0 w 371"/>
                <a:gd name="T11" fmla="*/ 118 h 187"/>
                <a:gd name="T12" fmla="*/ 70 w 371"/>
                <a:gd name="T13" fmla="*/ 187 h 187"/>
                <a:gd name="T14" fmla="*/ 315 w 371"/>
                <a:gd name="T15" fmla="*/ 187 h 187"/>
                <a:gd name="T16" fmla="*/ 371 w 371"/>
                <a:gd name="T17" fmla="*/ 132 h 187"/>
                <a:gd name="T18" fmla="*/ 315 w 371"/>
                <a:gd name="T19" fmla="*/ 7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1" h="187">
                  <a:moveTo>
                    <a:pt x="315" y="76"/>
                  </a:moveTo>
                  <a:cubicBezTo>
                    <a:pt x="302" y="76"/>
                    <a:pt x="289" y="81"/>
                    <a:pt x="279" y="89"/>
                  </a:cubicBezTo>
                  <a:cubicBezTo>
                    <a:pt x="277" y="39"/>
                    <a:pt x="236" y="0"/>
                    <a:pt x="186" y="0"/>
                  </a:cubicBezTo>
                  <a:cubicBezTo>
                    <a:pt x="148" y="0"/>
                    <a:pt x="115" y="23"/>
                    <a:pt x="101" y="56"/>
                  </a:cubicBezTo>
                  <a:cubicBezTo>
                    <a:pt x="92" y="51"/>
                    <a:pt x="81" y="48"/>
                    <a:pt x="70" y="48"/>
                  </a:cubicBezTo>
                  <a:cubicBezTo>
                    <a:pt x="31" y="48"/>
                    <a:pt x="0" y="79"/>
                    <a:pt x="0" y="118"/>
                  </a:cubicBezTo>
                  <a:cubicBezTo>
                    <a:pt x="0" y="156"/>
                    <a:pt x="31" y="187"/>
                    <a:pt x="70" y="187"/>
                  </a:cubicBezTo>
                  <a:cubicBezTo>
                    <a:pt x="315" y="187"/>
                    <a:pt x="315" y="187"/>
                    <a:pt x="315" y="187"/>
                  </a:cubicBezTo>
                  <a:cubicBezTo>
                    <a:pt x="346" y="187"/>
                    <a:pt x="371" y="162"/>
                    <a:pt x="371" y="132"/>
                  </a:cubicBezTo>
                  <a:cubicBezTo>
                    <a:pt x="371" y="101"/>
                    <a:pt x="346" y="76"/>
                    <a:pt x="315" y="76"/>
                  </a:cubicBezTo>
                </a:path>
              </a:pathLst>
            </a:custGeom>
            <a:grpFill/>
            <a:ln>
              <a:noFill/>
            </a:ln>
          </p:spPr>
          <p:txBody>
            <a:bodyPr vert="horz" wrap="square" lIns="121920" tIns="60960" rIns="121920" bIns="60960" numCol="1" anchor="t" anchorCtr="0" compatLnSpc="1">
              <a:prstTxWarp prst="textNoShape">
                <a:avLst/>
              </a:prstTxWarp>
            </a:bodyPr>
            <a:lstStyle/>
            <a:p>
              <a:endParaRPr lang="de-DE" sz="2400" dirty="0"/>
            </a:p>
          </p:txBody>
        </p:sp>
        <p:sp>
          <p:nvSpPr>
            <p:cNvPr id="309" name="Freeform 6"/>
            <p:cNvSpPr>
              <a:spLocks/>
            </p:cNvSpPr>
            <p:nvPr/>
          </p:nvSpPr>
          <p:spPr bwMode="gray">
            <a:xfrm>
              <a:off x="827584" y="3340100"/>
              <a:ext cx="677219" cy="340928"/>
            </a:xfrm>
            <a:custGeom>
              <a:avLst/>
              <a:gdLst>
                <a:gd name="T0" fmla="*/ 315 w 371"/>
                <a:gd name="T1" fmla="*/ 76 h 187"/>
                <a:gd name="T2" fmla="*/ 279 w 371"/>
                <a:gd name="T3" fmla="*/ 89 h 187"/>
                <a:gd name="T4" fmla="*/ 186 w 371"/>
                <a:gd name="T5" fmla="*/ 0 h 187"/>
                <a:gd name="T6" fmla="*/ 101 w 371"/>
                <a:gd name="T7" fmla="*/ 56 h 187"/>
                <a:gd name="T8" fmla="*/ 70 w 371"/>
                <a:gd name="T9" fmla="*/ 48 h 187"/>
                <a:gd name="T10" fmla="*/ 0 w 371"/>
                <a:gd name="T11" fmla="*/ 118 h 187"/>
                <a:gd name="T12" fmla="*/ 70 w 371"/>
                <a:gd name="T13" fmla="*/ 187 h 187"/>
                <a:gd name="T14" fmla="*/ 315 w 371"/>
                <a:gd name="T15" fmla="*/ 187 h 187"/>
                <a:gd name="T16" fmla="*/ 371 w 371"/>
                <a:gd name="T17" fmla="*/ 132 h 187"/>
                <a:gd name="T18" fmla="*/ 315 w 371"/>
                <a:gd name="T19" fmla="*/ 76 h 187"/>
                <a:gd name="connsiteX0" fmla="*/ 8491 w 10000"/>
                <a:gd name="connsiteY0" fmla="*/ 4064 h 10000"/>
                <a:gd name="connsiteX1" fmla="*/ 7520 w 10000"/>
                <a:gd name="connsiteY1" fmla="*/ 4759 h 10000"/>
                <a:gd name="connsiteX2" fmla="*/ 5013 w 10000"/>
                <a:gd name="connsiteY2" fmla="*/ 0 h 10000"/>
                <a:gd name="connsiteX3" fmla="*/ 2722 w 10000"/>
                <a:gd name="connsiteY3" fmla="*/ 2995 h 10000"/>
                <a:gd name="connsiteX4" fmla="*/ 1887 w 10000"/>
                <a:gd name="connsiteY4" fmla="*/ 2567 h 10000"/>
                <a:gd name="connsiteX5" fmla="*/ 0 w 10000"/>
                <a:gd name="connsiteY5" fmla="*/ 6310 h 10000"/>
                <a:gd name="connsiteX6" fmla="*/ 1887 w 10000"/>
                <a:gd name="connsiteY6" fmla="*/ 10000 h 10000"/>
                <a:gd name="connsiteX7" fmla="*/ 8491 w 10000"/>
                <a:gd name="connsiteY7" fmla="*/ 10000 h 10000"/>
                <a:gd name="connsiteX8" fmla="*/ 10000 w 10000"/>
                <a:gd name="connsiteY8" fmla="*/ 7059 h 10000"/>
                <a:gd name="connsiteX9" fmla="*/ 7366 w 10000"/>
                <a:gd name="connsiteY9" fmla="*/ 6229 h 10000"/>
                <a:gd name="connsiteX0" fmla="*/ 7260 w 10000"/>
                <a:gd name="connsiteY0" fmla="*/ 5670 h 10000"/>
                <a:gd name="connsiteX1" fmla="*/ 7520 w 10000"/>
                <a:gd name="connsiteY1" fmla="*/ 4759 h 10000"/>
                <a:gd name="connsiteX2" fmla="*/ 5013 w 10000"/>
                <a:gd name="connsiteY2" fmla="*/ 0 h 10000"/>
                <a:gd name="connsiteX3" fmla="*/ 2722 w 10000"/>
                <a:gd name="connsiteY3" fmla="*/ 2995 h 10000"/>
                <a:gd name="connsiteX4" fmla="*/ 1887 w 10000"/>
                <a:gd name="connsiteY4" fmla="*/ 2567 h 10000"/>
                <a:gd name="connsiteX5" fmla="*/ 0 w 10000"/>
                <a:gd name="connsiteY5" fmla="*/ 6310 h 10000"/>
                <a:gd name="connsiteX6" fmla="*/ 1887 w 10000"/>
                <a:gd name="connsiteY6" fmla="*/ 10000 h 10000"/>
                <a:gd name="connsiteX7" fmla="*/ 8491 w 10000"/>
                <a:gd name="connsiteY7" fmla="*/ 10000 h 10000"/>
                <a:gd name="connsiteX8" fmla="*/ 10000 w 10000"/>
                <a:gd name="connsiteY8" fmla="*/ 7059 h 10000"/>
                <a:gd name="connsiteX9" fmla="*/ 7366 w 10000"/>
                <a:gd name="connsiteY9" fmla="*/ 622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0">
                  <a:moveTo>
                    <a:pt x="7260" y="5670"/>
                  </a:moveTo>
                  <a:cubicBezTo>
                    <a:pt x="6909" y="5670"/>
                    <a:pt x="7790" y="4332"/>
                    <a:pt x="7520" y="4759"/>
                  </a:cubicBezTo>
                  <a:cubicBezTo>
                    <a:pt x="7466" y="2086"/>
                    <a:pt x="6361" y="0"/>
                    <a:pt x="5013" y="0"/>
                  </a:cubicBezTo>
                  <a:cubicBezTo>
                    <a:pt x="3989" y="0"/>
                    <a:pt x="3100" y="1230"/>
                    <a:pt x="2722" y="2995"/>
                  </a:cubicBezTo>
                  <a:cubicBezTo>
                    <a:pt x="2480" y="2727"/>
                    <a:pt x="2183" y="2567"/>
                    <a:pt x="1887" y="2567"/>
                  </a:cubicBezTo>
                  <a:cubicBezTo>
                    <a:pt x="836" y="2567"/>
                    <a:pt x="0" y="4225"/>
                    <a:pt x="0" y="6310"/>
                  </a:cubicBezTo>
                  <a:cubicBezTo>
                    <a:pt x="0" y="8342"/>
                    <a:pt x="836" y="10000"/>
                    <a:pt x="1887" y="10000"/>
                  </a:cubicBezTo>
                  <a:lnTo>
                    <a:pt x="8491" y="10000"/>
                  </a:lnTo>
                  <a:cubicBezTo>
                    <a:pt x="9326" y="10000"/>
                    <a:pt x="10000" y="8663"/>
                    <a:pt x="10000" y="7059"/>
                  </a:cubicBezTo>
                  <a:cubicBezTo>
                    <a:pt x="10000" y="5401"/>
                    <a:pt x="8201" y="6229"/>
                    <a:pt x="7366" y="6229"/>
                  </a:cubicBezTo>
                </a:path>
              </a:pathLst>
            </a:custGeom>
            <a:grpFill/>
            <a:ln>
              <a:noFill/>
            </a:ln>
          </p:spPr>
          <p:txBody>
            <a:bodyPr vert="horz" wrap="square" lIns="121920" tIns="60960" rIns="121920" bIns="60960" numCol="1" anchor="t" anchorCtr="0" compatLnSpc="1">
              <a:prstTxWarp prst="textNoShape">
                <a:avLst/>
              </a:prstTxWarp>
            </a:bodyPr>
            <a:lstStyle/>
            <a:p>
              <a:endParaRPr lang="de-DE" sz="2400" dirty="0"/>
            </a:p>
          </p:txBody>
        </p:sp>
        <p:sp>
          <p:nvSpPr>
            <p:cNvPr id="310" name="Freeform 6"/>
            <p:cNvSpPr>
              <a:spLocks/>
            </p:cNvSpPr>
            <p:nvPr/>
          </p:nvSpPr>
          <p:spPr bwMode="gray">
            <a:xfrm>
              <a:off x="870445" y="3376104"/>
              <a:ext cx="677219" cy="340928"/>
            </a:xfrm>
            <a:custGeom>
              <a:avLst/>
              <a:gdLst>
                <a:gd name="T0" fmla="*/ 315 w 371"/>
                <a:gd name="T1" fmla="*/ 76 h 187"/>
                <a:gd name="T2" fmla="*/ 279 w 371"/>
                <a:gd name="T3" fmla="*/ 89 h 187"/>
                <a:gd name="T4" fmla="*/ 186 w 371"/>
                <a:gd name="T5" fmla="*/ 0 h 187"/>
                <a:gd name="T6" fmla="*/ 101 w 371"/>
                <a:gd name="T7" fmla="*/ 56 h 187"/>
                <a:gd name="T8" fmla="*/ 70 w 371"/>
                <a:gd name="T9" fmla="*/ 48 h 187"/>
                <a:gd name="T10" fmla="*/ 0 w 371"/>
                <a:gd name="T11" fmla="*/ 118 h 187"/>
                <a:gd name="T12" fmla="*/ 70 w 371"/>
                <a:gd name="T13" fmla="*/ 187 h 187"/>
                <a:gd name="T14" fmla="*/ 315 w 371"/>
                <a:gd name="T15" fmla="*/ 187 h 187"/>
                <a:gd name="T16" fmla="*/ 371 w 371"/>
                <a:gd name="T17" fmla="*/ 132 h 187"/>
                <a:gd name="T18" fmla="*/ 315 w 371"/>
                <a:gd name="T19" fmla="*/ 7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1" h="187">
                  <a:moveTo>
                    <a:pt x="315" y="76"/>
                  </a:moveTo>
                  <a:cubicBezTo>
                    <a:pt x="302" y="76"/>
                    <a:pt x="289" y="81"/>
                    <a:pt x="279" y="89"/>
                  </a:cubicBezTo>
                  <a:cubicBezTo>
                    <a:pt x="277" y="39"/>
                    <a:pt x="236" y="0"/>
                    <a:pt x="186" y="0"/>
                  </a:cubicBezTo>
                  <a:cubicBezTo>
                    <a:pt x="148" y="0"/>
                    <a:pt x="115" y="23"/>
                    <a:pt x="101" y="56"/>
                  </a:cubicBezTo>
                  <a:cubicBezTo>
                    <a:pt x="92" y="51"/>
                    <a:pt x="81" y="48"/>
                    <a:pt x="70" y="48"/>
                  </a:cubicBezTo>
                  <a:cubicBezTo>
                    <a:pt x="31" y="48"/>
                    <a:pt x="0" y="79"/>
                    <a:pt x="0" y="118"/>
                  </a:cubicBezTo>
                  <a:cubicBezTo>
                    <a:pt x="0" y="156"/>
                    <a:pt x="31" y="187"/>
                    <a:pt x="70" y="187"/>
                  </a:cubicBezTo>
                  <a:cubicBezTo>
                    <a:pt x="315" y="187"/>
                    <a:pt x="315" y="187"/>
                    <a:pt x="315" y="187"/>
                  </a:cubicBezTo>
                  <a:cubicBezTo>
                    <a:pt x="346" y="187"/>
                    <a:pt x="371" y="162"/>
                    <a:pt x="371" y="132"/>
                  </a:cubicBezTo>
                  <a:cubicBezTo>
                    <a:pt x="371" y="101"/>
                    <a:pt x="346" y="76"/>
                    <a:pt x="315" y="76"/>
                  </a:cubicBezTo>
                </a:path>
              </a:pathLst>
            </a:custGeom>
            <a:grpFill/>
            <a:ln>
              <a:noFill/>
            </a:ln>
          </p:spPr>
          <p:txBody>
            <a:bodyPr vert="horz" wrap="square" lIns="121920" tIns="60960" rIns="121920" bIns="60960" numCol="1" anchor="t" anchorCtr="0" compatLnSpc="1">
              <a:prstTxWarp prst="textNoShape">
                <a:avLst/>
              </a:prstTxWarp>
            </a:bodyPr>
            <a:lstStyle/>
            <a:p>
              <a:endParaRPr lang="de-DE" sz="2400" dirty="0"/>
            </a:p>
          </p:txBody>
        </p:sp>
      </p:grpSp>
      <p:grpSp>
        <p:nvGrpSpPr>
          <p:cNvPr id="311" name="Gruppieren 310"/>
          <p:cNvGrpSpPr/>
          <p:nvPr>
            <p:custDataLst>
              <p:tags r:id="rId17"/>
            </p:custDataLst>
          </p:nvPr>
        </p:nvGrpSpPr>
        <p:grpSpPr bwMode="gray">
          <a:xfrm>
            <a:off x="3166338" y="4140067"/>
            <a:ext cx="792141" cy="502272"/>
            <a:chOff x="431540" y="3825044"/>
            <a:chExt cx="1001255" cy="634864"/>
          </a:xfrm>
          <a:solidFill>
            <a:srgbClr val="4368BD"/>
          </a:solidFill>
        </p:grpSpPr>
        <p:sp>
          <p:nvSpPr>
            <p:cNvPr id="312" name="Freeform 6"/>
            <p:cNvSpPr>
              <a:spLocks/>
            </p:cNvSpPr>
            <p:nvPr/>
          </p:nvSpPr>
          <p:spPr bwMode="gray">
            <a:xfrm>
              <a:off x="431540" y="3825044"/>
              <a:ext cx="1001255" cy="504056"/>
            </a:xfrm>
            <a:custGeom>
              <a:avLst/>
              <a:gdLst>
                <a:gd name="T0" fmla="*/ 315 w 371"/>
                <a:gd name="T1" fmla="*/ 76 h 187"/>
                <a:gd name="T2" fmla="*/ 279 w 371"/>
                <a:gd name="T3" fmla="*/ 89 h 187"/>
                <a:gd name="T4" fmla="*/ 186 w 371"/>
                <a:gd name="T5" fmla="*/ 0 h 187"/>
                <a:gd name="T6" fmla="*/ 101 w 371"/>
                <a:gd name="T7" fmla="*/ 56 h 187"/>
                <a:gd name="T8" fmla="*/ 70 w 371"/>
                <a:gd name="T9" fmla="*/ 48 h 187"/>
                <a:gd name="T10" fmla="*/ 0 w 371"/>
                <a:gd name="T11" fmla="*/ 118 h 187"/>
                <a:gd name="T12" fmla="*/ 70 w 371"/>
                <a:gd name="T13" fmla="*/ 187 h 187"/>
                <a:gd name="T14" fmla="*/ 315 w 371"/>
                <a:gd name="T15" fmla="*/ 187 h 187"/>
                <a:gd name="T16" fmla="*/ 371 w 371"/>
                <a:gd name="T17" fmla="*/ 132 h 187"/>
                <a:gd name="T18" fmla="*/ 315 w 371"/>
                <a:gd name="T19" fmla="*/ 7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1" h="187">
                  <a:moveTo>
                    <a:pt x="315" y="76"/>
                  </a:moveTo>
                  <a:cubicBezTo>
                    <a:pt x="302" y="76"/>
                    <a:pt x="289" y="81"/>
                    <a:pt x="279" y="89"/>
                  </a:cubicBezTo>
                  <a:cubicBezTo>
                    <a:pt x="277" y="39"/>
                    <a:pt x="236" y="0"/>
                    <a:pt x="186" y="0"/>
                  </a:cubicBezTo>
                  <a:cubicBezTo>
                    <a:pt x="148" y="0"/>
                    <a:pt x="115" y="23"/>
                    <a:pt x="101" y="56"/>
                  </a:cubicBezTo>
                  <a:cubicBezTo>
                    <a:pt x="92" y="51"/>
                    <a:pt x="81" y="48"/>
                    <a:pt x="70" y="48"/>
                  </a:cubicBezTo>
                  <a:cubicBezTo>
                    <a:pt x="31" y="48"/>
                    <a:pt x="0" y="79"/>
                    <a:pt x="0" y="118"/>
                  </a:cubicBezTo>
                  <a:cubicBezTo>
                    <a:pt x="0" y="156"/>
                    <a:pt x="31" y="187"/>
                    <a:pt x="70" y="187"/>
                  </a:cubicBezTo>
                  <a:cubicBezTo>
                    <a:pt x="315" y="187"/>
                    <a:pt x="315" y="187"/>
                    <a:pt x="315" y="187"/>
                  </a:cubicBezTo>
                  <a:cubicBezTo>
                    <a:pt x="346" y="187"/>
                    <a:pt x="371" y="162"/>
                    <a:pt x="371" y="132"/>
                  </a:cubicBezTo>
                  <a:cubicBezTo>
                    <a:pt x="371" y="101"/>
                    <a:pt x="346" y="76"/>
                    <a:pt x="315" y="76"/>
                  </a:cubicBezTo>
                </a:path>
              </a:pathLst>
            </a:custGeom>
            <a:grpFill/>
            <a:ln>
              <a:noFill/>
            </a:ln>
          </p:spPr>
          <p:txBody>
            <a:bodyPr vert="horz" wrap="square" lIns="121920" tIns="60960" rIns="121920" bIns="60960" numCol="1" anchor="t" anchorCtr="0" compatLnSpc="1">
              <a:prstTxWarp prst="textNoShape">
                <a:avLst/>
              </a:prstTxWarp>
            </a:bodyPr>
            <a:lstStyle/>
            <a:p>
              <a:endParaRPr lang="de-DE" sz="2400" dirty="0"/>
            </a:p>
          </p:txBody>
        </p:sp>
        <p:grpSp>
          <p:nvGrpSpPr>
            <p:cNvPr id="313" name="Gruppieren 312"/>
            <p:cNvGrpSpPr/>
            <p:nvPr/>
          </p:nvGrpSpPr>
          <p:grpSpPr bwMode="gray">
            <a:xfrm>
              <a:off x="669560" y="4365104"/>
              <a:ext cx="525215" cy="94804"/>
              <a:chOff x="611589" y="4378313"/>
              <a:chExt cx="525215" cy="94804"/>
            </a:xfrm>
            <a:grpFill/>
          </p:grpSpPr>
          <p:sp>
            <p:nvSpPr>
              <p:cNvPr id="314" name="Freeform 156"/>
              <p:cNvSpPr>
                <a:spLocks/>
              </p:cNvSpPr>
              <p:nvPr/>
            </p:nvSpPr>
            <p:spPr bwMode="gray">
              <a:xfrm>
                <a:off x="837108" y="4378313"/>
                <a:ext cx="76452" cy="94804"/>
              </a:xfrm>
              <a:custGeom>
                <a:avLst/>
                <a:gdLst>
                  <a:gd name="T0" fmla="*/ 40 w 47"/>
                  <a:gd name="T1" fmla="*/ 17 h 57"/>
                  <a:gd name="T2" fmla="*/ 23 w 47"/>
                  <a:gd name="T3" fmla="*/ 0 h 57"/>
                  <a:gd name="T4" fmla="*/ 7 w 47"/>
                  <a:gd name="T5" fmla="*/ 17 h 57"/>
                  <a:gd name="T6" fmla="*/ 0 w 47"/>
                  <a:gd name="T7" fmla="*/ 34 h 57"/>
                  <a:gd name="T8" fmla="*/ 23 w 47"/>
                  <a:gd name="T9" fmla="*/ 57 h 57"/>
                  <a:gd name="T10" fmla="*/ 47 w 47"/>
                  <a:gd name="T11" fmla="*/ 33 h 57"/>
                  <a:gd name="T12" fmla="*/ 40 w 47"/>
                  <a:gd name="T13" fmla="*/ 17 h 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7" h="57">
                    <a:moveTo>
                      <a:pt x="40" y="17"/>
                    </a:moveTo>
                    <a:cubicBezTo>
                      <a:pt x="23" y="0"/>
                      <a:pt x="23" y="0"/>
                      <a:pt x="23" y="0"/>
                    </a:cubicBezTo>
                    <a:cubicBezTo>
                      <a:pt x="7" y="17"/>
                      <a:pt x="7" y="17"/>
                      <a:pt x="7" y="17"/>
                    </a:cubicBezTo>
                    <a:cubicBezTo>
                      <a:pt x="3" y="21"/>
                      <a:pt x="0" y="27"/>
                      <a:pt x="0" y="34"/>
                    </a:cubicBezTo>
                    <a:cubicBezTo>
                      <a:pt x="0" y="46"/>
                      <a:pt x="11" y="57"/>
                      <a:pt x="23" y="57"/>
                    </a:cubicBezTo>
                    <a:cubicBezTo>
                      <a:pt x="36" y="57"/>
                      <a:pt x="47" y="46"/>
                      <a:pt x="47" y="33"/>
                    </a:cubicBezTo>
                    <a:cubicBezTo>
                      <a:pt x="47" y="27"/>
                      <a:pt x="44" y="21"/>
                      <a:pt x="40" y="17"/>
                    </a:cubicBezTo>
                    <a:close/>
                  </a:path>
                </a:pathLst>
              </a:custGeom>
              <a:grpFill/>
              <a:ln>
                <a:noFill/>
              </a:ln>
            </p:spPr>
            <p:txBody>
              <a:bodyPr/>
              <a:lstStyle/>
              <a:p>
                <a:endParaRPr lang="en-CA" sz="2400" dirty="0"/>
              </a:p>
            </p:txBody>
          </p:sp>
          <p:sp>
            <p:nvSpPr>
              <p:cNvPr id="315" name="Freeform 157"/>
              <p:cNvSpPr>
                <a:spLocks/>
              </p:cNvSpPr>
              <p:nvPr/>
            </p:nvSpPr>
            <p:spPr bwMode="gray">
              <a:xfrm>
                <a:off x="950259" y="4378313"/>
                <a:ext cx="76452" cy="94804"/>
              </a:xfrm>
              <a:custGeom>
                <a:avLst/>
                <a:gdLst>
                  <a:gd name="T0" fmla="*/ 40 w 47"/>
                  <a:gd name="T1" fmla="*/ 17 h 57"/>
                  <a:gd name="T2" fmla="*/ 23 w 47"/>
                  <a:gd name="T3" fmla="*/ 0 h 57"/>
                  <a:gd name="T4" fmla="*/ 7 w 47"/>
                  <a:gd name="T5" fmla="*/ 17 h 57"/>
                  <a:gd name="T6" fmla="*/ 0 w 47"/>
                  <a:gd name="T7" fmla="*/ 34 h 57"/>
                  <a:gd name="T8" fmla="*/ 23 w 47"/>
                  <a:gd name="T9" fmla="*/ 57 h 57"/>
                  <a:gd name="T10" fmla="*/ 47 w 47"/>
                  <a:gd name="T11" fmla="*/ 33 h 57"/>
                  <a:gd name="T12" fmla="*/ 40 w 47"/>
                  <a:gd name="T13" fmla="*/ 17 h 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7" h="57">
                    <a:moveTo>
                      <a:pt x="40" y="17"/>
                    </a:moveTo>
                    <a:cubicBezTo>
                      <a:pt x="23" y="0"/>
                      <a:pt x="23" y="0"/>
                      <a:pt x="23" y="0"/>
                    </a:cubicBezTo>
                    <a:cubicBezTo>
                      <a:pt x="7" y="17"/>
                      <a:pt x="7" y="17"/>
                      <a:pt x="7" y="17"/>
                    </a:cubicBezTo>
                    <a:cubicBezTo>
                      <a:pt x="2" y="21"/>
                      <a:pt x="0" y="27"/>
                      <a:pt x="0" y="34"/>
                    </a:cubicBezTo>
                    <a:cubicBezTo>
                      <a:pt x="0" y="46"/>
                      <a:pt x="10" y="57"/>
                      <a:pt x="23" y="57"/>
                    </a:cubicBezTo>
                    <a:cubicBezTo>
                      <a:pt x="36" y="57"/>
                      <a:pt x="47" y="46"/>
                      <a:pt x="47" y="33"/>
                    </a:cubicBezTo>
                    <a:cubicBezTo>
                      <a:pt x="47" y="27"/>
                      <a:pt x="44" y="21"/>
                      <a:pt x="40" y="17"/>
                    </a:cubicBezTo>
                    <a:close/>
                  </a:path>
                </a:pathLst>
              </a:custGeom>
              <a:grpFill/>
              <a:ln>
                <a:noFill/>
              </a:ln>
            </p:spPr>
            <p:txBody>
              <a:bodyPr/>
              <a:lstStyle/>
              <a:p>
                <a:endParaRPr lang="en-CA" sz="2400" dirty="0"/>
              </a:p>
            </p:txBody>
          </p:sp>
          <p:sp>
            <p:nvSpPr>
              <p:cNvPr id="316" name="Freeform 158"/>
              <p:cNvSpPr>
                <a:spLocks/>
              </p:cNvSpPr>
              <p:nvPr/>
            </p:nvSpPr>
            <p:spPr bwMode="gray">
              <a:xfrm>
                <a:off x="1060352" y="4378313"/>
                <a:ext cx="76452" cy="94804"/>
              </a:xfrm>
              <a:custGeom>
                <a:avLst/>
                <a:gdLst>
                  <a:gd name="T0" fmla="*/ 40 w 47"/>
                  <a:gd name="T1" fmla="*/ 17 h 57"/>
                  <a:gd name="T2" fmla="*/ 24 w 47"/>
                  <a:gd name="T3" fmla="*/ 0 h 57"/>
                  <a:gd name="T4" fmla="*/ 7 w 47"/>
                  <a:gd name="T5" fmla="*/ 17 h 57"/>
                  <a:gd name="T6" fmla="*/ 0 w 47"/>
                  <a:gd name="T7" fmla="*/ 34 h 57"/>
                  <a:gd name="T8" fmla="*/ 24 w 47"/>
                  <a:gd name="T9" fmla="*/ 57 h 57"/>
                  <a:gd name="T10" fmla="*/ 47 w 47"/>
                  <a:gd name="T11" fmla="*/ 33 h 57"/>
                  <a:gd name="T12" fmla="*/ 40 w 47"/>
                  <a:gd name="T13" fmla="*/ 17 h 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7" h="57">
                    <a:moveTo>
                      <a:pt x="40" y="17"/>
                    </a:moveTo>
                    <a:cubicBezTo>
                      <a:pt x="24" y="0"/>
                      <a:pt x="24" y="0"/>
                      <a:pt x="24" y="0"/>
                    </a:cubicBezTo>
                    <a:cubicBezTo>
                      <a:pt x="7" y="17"/>
                      <a:pt x="7" y="17"/>
                      <a:pt x="7" y="17"/>
                    </a:cubicBezTo>
                    <a:cubicBezTo>
                      <a:pt x="3" y="21"/>
                      <a:pt x="0" y="27"/>
                      <a:pt x="0" y="34"/>
                    </a:cubicBezTo>
                    <a:cubicBezTo>
                      <a:pt x="0" y="46"/>
                      <a:pt x="11" y="57"/>
                      <a:pt x="24" y="57"/>
                    </a:cubicBezTo>
                    <a:cubicBezTo>
                      <a:pt x="37" y="57"/>
                      <a:pt x="47" y="46"/>
                      <a:pt x="47" y="33"/>
                    </a:cubicBezTo>
                    <a:cubicBezTo>
                      <a:pt x="47" y="27"/>
                      <a:pt x="45" y="21"/>
                      <a:pt x="40" y="17"/>
                    </a:cubicBezTo>
                    <a:close/>
                  </a:path>
                </a:pathLst>
              </a:custGeom>
              <a:grpFill/>
              <a:ln>
                <a:noFill/>
              </a:ln>
            </p:spPr>
            <p:txBody>
              <a:bodyPr/>
              <a:lstStyle/>
              <a:p>
                <a:endParaRPr lang="en-CA" sz="2400" dirty="0"/>
              </a:p>
            </p:txBody>
          </p:sp>
          <p:sp>
            <p:nvSpPr>
              <p:cNvPr id="317" name="Freeform 156"/>
              <p:cNvSpPr>
                <a:spLocks/>
              </p:cNvSpPr>
              <p:nvPr/>
            </p:nvSpPr>
            <p:spPr bwMode="gray">
              <a:xfrm>
                <a:off x="611589" y="4378313"/>
                <a:ext cx="76452" cy="94804"/>
              </a:xfrm>
              <a:custGeom>
                <a:avLst/>
                <a:gdLst>
                  <a:gd name="T0" fmla="*/ 40 w 47"/>
                  <a:gd name="T1" fmla="*/ 17 h 57"/>
                  <a:gd name="T2" fmla="*/ 23 w 47"/>
                  <a:gd name="T3" fmla="*/ 0 h 57"/>
                  <a:gd name="T4" fmla="*/ 7 w 47"/>
                  <a:gd name="T5" fmla="*/ 17 h 57"/>
                  <a:gd name="T6" fmla="*/ 0 w 47"/>
                  <a:gd name="T7" fmla="*/ 34 h 57"/>
                  <a:gd name="T8" fmla="*/ 23 w 47"/>
                  <a:gd name="T9" fmla="*/ 57 h 57"/>
                  <a:gd name="T10" fmla="*/ 47 w 47"/>
                  <a:gd name="T11" fmla="*/ 33 h 57"/>
                  <a:gd name="T12" fmla="*/ 40 w 47"/>
                  <a:gd name="T13" fmla="*/ 17 h 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7" h="57">
                    <a:moveTo>
                      <a:pt x="40" y="17"/>
                    </a:moveTo>
                    <a:cubicBezTo>
                      <a:pt x="23" y="0"/>
                      <a:pt x="23" y="0"/>
                      <a:pt x="23" y="0"/>
                    </a:cubicBezTo>
                    <a:cubicBezTo>
                      <a:pt x="7" y="17"/>
                      <a:pt x="7" y="17"/>
                      <a:pt x="7" y="17"/>
                    </a:cubicBezTo>
                    <a:cubicBezTo>
                      <a:pt x="3" y="21"/>
                      <a:pt x="0" y="27"/>
                      <a:pt x="0" y="34"/>
                    </a:cubicBezTo>
                    <a:cubicBezTo>
                      <a:pt x="0" y="46"/>
                      <a:pt x="11" y="57"/>
                      <a:pt x="23" y="57"/>
                    </a:cubicBezTo>
                    <a:cubicBezTo>
                      <a:pt x="36" y="57"/>
                      <a:pt x="47" y="46"/>
                      <a:pt x="47" y="33"/>
                    </a:cubicBezTo>
                    <a:cubicBezTo>
                      <a:pt x="47" y="27"/>
                      <a:pt x="44" y="21"/>
                      <a:pt x="40" y="17"/>
                    </a:cubicBezTo>
                    <a:close/>
                  </a:path>
                </a:pathLst>
              </a:custGeom>
              <a:grpFill/>
              <a:ln>
                <a:noFill/>
              </a:ln>
            </p:spPr>
            <p:txBody>
              <a:bodyPr/>
              <a:lstStyle/>
              <a:p>
                <a:endParaRPr lang="en-CA" sz="2400" dirty="0"/>
              </a:p>
            </p:txBody>
          </p:sp>
          <p:sp>
            <p:nvSpPr>
              <p:cNvPr id="318" name="Freeform 157"/>
              <p:cNvSpPr>
                <a:spLocks/>
              </p:cNvSpPr>
              <p:nvPr/>
            </p:nvSpPr>
            <p:spPr bwMode="gray">
              <a:xfrm>
                <a:off x="724741" y="4378313"/>
                <a:ext cx="76452" cy="94804"/>
              </a:xfrm>
              <a:custGeom>
                <a:avLst/>
                <a:gdLst>
                  <a:gd name="T0" fmla="*/ 40 w 47"/>
                  <a:gd name="T1" fmla="*/ 17 h 57"/>
                  <a:gd name="T2" fmla="*/ 23 w 47"/>
                  <a:gd name="T3" fmla="*/ 0 h 57"/>
                  <a:gd name="T4" fmla="*/ 7 w 47"/>
                  <a:gd name="T5" fmla="*/ 17 h 57"/>
                  <a:gd name="T6" fmla="*/ 0 w 47"/>
                  <a:gd name="T7" fmla="*/ 34 h 57"/>
                  <a:gd name="T8" fmla="*/ 23 w 47"/>
                  <a:gd name="T9" fmla="*/ 57 h 57"/>
                  <a:gd name="T10" fmla="*/ 47 w 47"/>
                  <a:gd name="T11" fmla="*/ 33 h 57"/>
                  <a:gd name="T12" fmla="*/ 40 w 47"/>
                  <a:gd name="T13" fmla="*/ 17 h 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7" h="57">
                    <a:moveTo>
                      <a:pt x="40" y="17"/>
                    </a:moveTo>
                    <a:cubicBezTo>
                      <a:pt x="23" y="0"/>
                      <a:pt x="23" y="0"/>
                      <a:pt x="23" y="0"/>
                    </a:cubicBezTo>
                    <a:cubicBezTo>
                      <a:pt x="7" y="17"/>
                      <a:pt x="7" y="17"/>
                      <a:pt x="7" y="17"/>
                    </a:cubicBezTo>
                    <a:cubicBezTo>
                      <a:pt x="2" y="21"/>
                      <a:pt x="0" y="27"/>
                      <a:pt x="0" y="34"/>
                    </a:cubicBezTo>
                    <a:cubicBezTo>
                      <a:pt x="0" y="46"/>
                      <a:pt x="10" y="57"/>
                      <a:pt x="23" y="57"/>
                    </a:cubicBezTo>
                    <a:cubicBezTo>
                      <a:pt x="36" y="57"/>
                      <a:pt x="47" y="46"/>
                      <a:pt x="47" y="33"/>
                    </a:cubicBezTo>
                    <a:cubicBezTo>
                      <a:pt x="47" y="27"/>
                      <a:pt x="44" y="21"/>
                      <a:pt x="40" y="17"/>
                    </a:cubicBezTo>
                    <a:close/>
                  </a:path>
                </a:pathLst>
              </a:custGeom>
              <a:grpFill/>
              <a:ln>
                <a:noFill/>
              </a:ln>
            </p:spPr>
            <p:txBody>
              <a:bodyPr/>
              <a:lstStyle/>
              <a:p>
                <a:endParaRPr lang="en-CA" sz="2400" dirty="0"/>
              </a:p>
            </p:txBody>
          </p:sp>
        </p:grpSp>
      </p:grpSp>
      <p:grpSp>
        <p:nvGrpSpPr>
          <p:cNvPr id="2" name="Gruppieren 1">
            <a:extLst>
              <a:ext uri="{FF2B5EF4-FFF2-40B4-BE49-F238E27FC236}">
                <a16:creationId xmlns:a16="http://schemas.microsoft.com/office/drawing/2014/main" id="{A9CE75EE-760A-4AD6-A060-5C518222D972}"/>
              </a:ext>
            </a:extLst>
          </p:cNvPr>
          <p:cNvGrpSpPr/>
          <p:nvPr/>
        </p:nvGrpSpPr>
        <p:grpSpPr>
          <a:xfrm>
            <a:off x="3117048" y="4855619"/>
            <a:ext cx="890720" cy="603629"/>
            <a:chOff x="3117048" y="4855619"/>
            <a:chExt cx="890720" cy="603629"/>
          </a:xfrm>
        </p:grpSpPr>
        <p:grpSp>
          <p:nvGrpSpPr>
            <p:cNvPr id="320" name="Gruppieren 319"/>
            <p:cNvGrpSpPr/>
            <p:nvPr/>
          </p:nvGrpSpPr>
          <p:grpSpPr bwMode="gray">
            <a:xfrm>
              <a:off x="3117048" y="4855619"/>
              <a:ext cx="890720" cy="431561"/>
              <a:chOff x="433009" y="3176972"/>
              <a:chExt cx="1114655" cy="540060"/>
            </a:xfrm>
          </p:grpSpPr>
          <p:sp>
            <p:nvSpPr>
              <p:cNvPr id="326" name="Freeform 6"/>
              <p:cNvSpPr>
                <a:spLocks/>
              </p:cNvSpPr>
              <p:nvPr/>
            </p:nvSpPr>
            <p:spPr bwMode="gray">
              <a:xfrm>
                <a:off x="433009" y="3176972"/>
                <a:ext cx="1001255" cy="504056"/>
              </a:xfrm>
              <a:custGeom>
                <a:avLst/>
                <a:gdLst>
                  <a:gd name="T0" fmla="*/ 315 w 371"/>
                  <a:gd name="T1" fmla="*/ 76 h 187"/>
                  <a:gd name="T2" fmla="*/ 279 w 371"/>
                  <a:gd name="T3" fmla="*/ 89 h 187"/>
                  <a:gd name="T4" fmla="*/ 186 w 371"/>
                  <a:gd name="T5" fmla="*/ 0 h 187"/>
                  <a:gd name="T6" fmla="*/ 101 w 371"/>
                  <a:gd name="T7" fmla="*/ 56 h 187"/>
                  <a:gd name="T8" fmla="*/ 70 w 371"/>
                  <a:gd name="T9" fmla="*/ 48 h 187"/>
                  <a:gd name="T10" fmla="*/ 0 w 371"/>
                  <a:gd name="T11" fmla="*/ 118 h 187"/>
                  <a:gd name="T12" fmla="*/ 70 w 371"/>
                  <a:gd name="T13" fmla="*/ 187 h 187"/>
                  <a:gd name="T14" fmla="*/ 315 w 371"/>
                  <a:gd name="T15" fmla="*/ 187 h 187"/>
                  <a:gd name="T16" fmla="*/ 371 w 371"/>
                  <a:gd name="T17" fmla="*/ 132 h 187"/>
                  <a:gd name="T18" fmla="*/ 315 w 371"/>
                  <a:gd name="T19" fmla="*/ 7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1" h="187">
                    <a:moveTo>
                      <a:pt x="315" y="76"/>
                    </a:moveTo>
                    <a:cubicBezTo>
                      <a:pt x="302" y="76"/>
                      <a:pt x="289" y="81"/>
                      <a:pt x="279" y="89"/>
                    </a:cubicBezTo>
                    <a:cubicBezTo>
                      <a:pt x="277" y="39"/>
                      <a:pt x="236" y="0"/>
                      <a:pt x="186" y="0"/>
                    </a:cubicBezTo>
                    <a:cubicBezTo>
                      <a:pt x="148" y="0"/>
                      <a:pt x="115" y="23"/>
                      <a:pt x="101" y="56"/>
                    </a:cubicBezTo>
                    <a:cubicBezTo>
                      <a:pt x="92" y="51"/>
                      <a:pt x="81" y="48"/>
                      <a:pt x="70" y="48"/>
                    </a:cubicBezTo>
                    <a:cubicBezTo>
                      <a:pt x="31" y="48"/>
                      <a:pt x="0" y="79"/>
                      <a:pt x="0" y="118"/>
                    </a:cubicBezTo>
                    <a:cubicBezTo>
                      <a:pt x="0" y="156"/>
                      <a:pt x="31" y="187"/>
                      <a:pt x="70" y="187"/>
                    </a:cubicBezTo>
                    <a:cubicBezTo>
                      <a:pt x="315" y="187"/>
                      <a:pt x="315" y="187"/>
                      <a:pt x="315" y="187"/>
                    </a:cubicBezTo>
                    <a:cubicBezTo>
                      <a:pt x="346" y="187"/>
                      <a:pt x="371" y="162"/>
                      <a:pt x="371" y="132"/>
                    </a:cubicBezTo>
                    <a:cubicBezTo>
                      <a:pt x="371" y="101"/>
                      <a:pt x="346" y="76"/>
                      <a:pt x="315" y="76"/>
                    </a:cubicBezTo>
                  </a:path>
                </a:pathLst>
              </a:custGeom>
              <a:solidFill>
                <a:srgbClr val="4368BD"/>
              </a:solidFill>
              <a:ln>
                <a:noFill/>
              </a:ln>
            </p:spPr>
            <p:txBody>
              <a:bodyPr vert="horz" wrap="square" lIns="121920" tIns="60960" rIns="121920" bIns="60960" numCol="1" anchor="t" anchorCtr="0" compatLnSpc="1">
                <a:prstTxWarp prst="textNoShape">
                  <a:avLst/>
                </a:prstTxWarp>
              </a:bodyPr>
              <a:lstStyle/>
              <a:p>
                <a:endParaRPr lang="de-DE" sz="2400" dirty="0"/>
              </a:p>
            </p:txBody>
          </p:sp>
          <p:sp>
            <p:nvSpPr>
              <p:cNvPr id="327" name="Freeform 6"/>
              <p:cNvSpPr>
                <a:spLocks/>
              </p:cNvSpPr>
              <p:nvPr/>
            </p:nvSpPr>
            <p:spPr bwMode="gray">
              <a:xfrm>
                <a:off x="827584" y="3340100"/>
                <a:ext cx="677219" cy="340928"/>
              </a:xfrm>
              <a:custGeom>
                <a:avLst/>
                <a:gdLst>
                  <a:gd name="T0" fmla="*/ 315 w 371"/>
                  <a:gd name="T1" fmla="*/ 76 h 187"/>
                  <a:gd name="T2" fmla="*/ 279 w 371"/>
                  <a:gd name="T3" fmla="*/ 89 h 187"/>
                  <a:gd name="T4" fmla="*/ 186 w 371"/>
                  <a:gd name="T5" fmla="*/ 0 h 187"/>
                  <a:gd name="T6" fmla="*/ 101 w 371"/>
                  <a:gd name="T7" fmla="*/ 56 h 187"/>
                  <a:gd name="T8" fmla="*/ 70 w 371"/>
                  <a:gd name="T9" fmla="*/ 48 h 187"/>
                  <a:gd name="T10" fmla="*/ 0 w 371"/>
                  <a:gd name="T11" fmla="*/ 118 h 187"/>
                  <a:gd name="T12" fmla="*/ 70 w 371"/>
                  <a:gd name="T13" fmla="*/ 187 h 187"/>
                  <a:gd name="T14" fmla="*/ 315 w 371"/>
                  <a:gd name="T15" fmla="*/ 187 h 187"/>
                  <a:gd name="T16" fmla="*/ 371 w 371"/>
                  <a:gd name="T17" fmla="*/ 132 h 187"/>
                  <a:gd name="T18" fmla="*/ 315 w 371"/>
                  <a:gd name="T19" fmla="*/ 76 h 187"/>
                  <a:gd name="connsiteX0" fmla="*/ 8491 w 10000"/>
                  <a:gd name="connsiteY0" fmla="*/ 4064 h 10000"/>
                  <a:gd name="connsiteX1" fmla="*/ 7520 w 10000"/>
                  <a:gd name="connsiteY1" fmla="*/ 4759 h 10000"/>
                  <a:gd name="connsiteX2" fmla="*/ 5013 w 10000"/>
                  <a:gd name="connsiteY2" fmla="*/ 0 h 10000"/>
                  <a:gd name="connsiteX3" fmla="*/ 2722 w 10000"/>
                  <a:gd name="connsiteY3" fmla="*/ 2995 h 10000"/>
                  <a:gd name="connsiteX4" fmla="*/ 1887 w 10000"/>
                  <a:gd name="connsiteY4" fmla="*/ 2567 h 10000"/>
                  <a:gd name="connsiteX5" fmla="*/ 0 w 10000"/>
                  <a:gd name="connsiteY5" fmla="*/ 6310 h 10000"/>
                  <a:gd name="connsiteX6" fmla="*/ 1887 w 10000"/>
                  <a:gd name="connsiteY6" fmla="*/ 10000 h 10000"/>
                  <a:gd name="connsiteX7" fmla="*/ 8491 w 10000"/>
                  <a:gd name="connsiteY7" fmla="*/ 10000 h 10000"/>
                  <a:gd name="connsiteX8" fmla="*/ 10000 w 10000"/>
                  <a:gd name="connsiteY8" fmla="*/ 7059 h 10000"/>
                  <a:gd name="connsiteX9" fmla="*/ 7366 w 10000"/>
                  <a:gd name="connsiteY9" fmla="*/ 6229 h 10000"/>
                  <a:gd name="connsiteX0" fmla="*/ 7260 w 10000"/>
                  <a:gd name="connsiteY0" fmla="*/ 5670 h 10000"/>
                  <a:gd name="connsiteX1" fmla="*/ 7520 w 10000"/>
                  <a:gd name="connsiteY1" fmla="*/ 4759 h 10000"/>
                  <a:gd name="connsiteX2" fmla="*/ 5013 w 10000"/>
                  <a:gd name="connsiteY2" fmla="*/ 0 h 10000"/>
                  <a:gd name="connsiteX3" fmla="*/ 2722 w 10000"/>
                  <a:gd name="connsiteY3" fmla="*/ 2995 h 10000"/>
                  <a:gd name="connsiteX4" fmla="*/ 1887 w 10000"/>
                  <a:gd name="connsiteY4" fmla="*/ 2567 h 10000"/>
                  <a:gd name="connsiteX5" fmla="*/ 0 w 10000"/>
                  <a:gd name="connsiteY5" fmla="*/ 6310 h 10000"/>
                  <a:gd name="connsiteX6" fmla="*/ 1887 w 10000"/>
                  <a:gd name="connsiteY6" fmla="*/ 10000 h 10000"/>
                  <a:gd name="connsiteX7" fmla="*/ 8491 w 10000"/>
                  <a:gd name="connsiteY7" fmla="*/ 10000 h 10000"/>
                  <a:gd name="connsiteX8" fmla="*/ 10000 w 10000"/>
                  <a:gd name="connsiteY8" fmla="*/ 7059 h 10000"/>
                  <a:gd name="connsiteX9" fmla="*/ 7366 w 10000"/>
                  <a:gd name="connsiteY9" fmla="*/ 6229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0000">
                    <a:moveTo>
                      <a:pt x="7260" y="5670"/>
                    </a:moveTo>
                    <a:cubicBezTo>
                      <a:pt x="6909" y="5670"/>
                      <a:pt x="7790" y="4332"/>
                      <a:pt x="7520" y="4759"/>
                    </a:cubicBezTo>
                    <a:cubicBezTo>
                      <a:pt x="7466" y="2086"/>
                      <a:pt x="6361" y="0"/>
                      <a:pt x="5013" y="0"/>
                    </a:cubicBezTo>
                    <a:cubicBezTo>
                      <a:pt x="3989" y="0"/>
                      <a:pt x="3100" y="1230"/>
                      <a:pt x="2722" y="2995"/>
                    </a:cubicBezTo>
                    <a:cubicBezTo>
                      <a:pt x="2480" y="2727"/>
                      <a:pt x="2183" y="2567"/>
                      <a:pt x="1887" y="2567"/>
                    </a:cubicBezTo>
                    <a:cubicBezTo>
                      <a:pt x="836" y="2567"/>
                      <a:pt x="0" y="4225"/>
                      <a:pt x="0" y="6310"/>
                    </a:cubicBezTo>
                    <a:cubicBezTo>
                      <a:pt x="0" y="8342"/>
                      <a:pt x="836" y="10000"/>
                      <a:pt x="1887" y="10000"/>
                    </a:cubicBezTo>
                    <a:lnTo>
                      <a:pt x="8491" y="10000"/>
                    </a:lnTo>
                    <a:cubicBezTo>
                      <a:pt x="9326" y="10000"/>
                      <a:pt x="10000" y="8663"/>
                      <a:pt x="10000" y="7059"/>
                    </a:cubicBezTo>
                    <a:cubicBezTo>
                      <a:pt x="10000" y="5401"/>
                      <a:pt x="8201" y="6229"/>
                      <a:pt x="7366" y="6229"/>
                    </a:cubicBezTo>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de-DE" sz="2400" dirty="0"/>
              </a:p>
            </p:txBody>
          </p:sp>
          <p:sp>
            <p:nvSpPr>
              <p:cNvPr id="328" name="Freeform 6"/>
              <p:cNvSpPr>
                <a:spLocks/>
              </p:cNvSpPr>
              <p:nvPr/>
            </p:nvSpPr>
            <p:spPr bwMode="gray">
              <a:xfrm>
                <a:off x="870445" y="3376104"/>
                <a:ext cx="677219" cy="340928"/>
              </a:xfrm>
              <a:custGeom>
                <a:avLst/>
                <a:gdLst>
                  <a:gd name="T0" fmla="*/ 315 w 371"/>
                  <a:gd name="T1" fmla="*/ 76 h 187"/>
                  <a:gd name="T2" fmla="*/ 279 w 371"/>
                  <a:gd name="T3" fmla="*/ 89 h 187"/>
                  <a:gd name="T4" fmla="*/ 186 w 371"/>
                  <a:gd name="T5" fmla="*/ 0 h 187"/>
                  <a:gd name="T6" fmla="*/ 101 w 371"/>
                  <a:gd name="T7" fmla="*/ 56 h 187"/>
                  <a:gd name="T8" fmla="*/ 70 w 371"/>
                  <a:gd name="T9" fmla="*/ 48 h 187"/>
                  <a:gd name="T10" fmla="*/ 0 w 371"/>
                  <a:gd name="T11" fmla="*/ 118 h 187"/>
                  <a:gd name="T12" fmla="*/ 70 w 371"/>
                  <a:gd name="T13" fmla="*/ 187 h 187"/>
                  <a:gd name="T14" fmla="*/ 315 w 371"/>
                  <a:gd name="T15" fmla="*/ 187 h 187"/>
                  <a:gd name="T16" fmla="*/ 371 w 371"/>
                  <a:gd name="T17" fmla="*/ 132 h 187"/>
                  <a:gd name="T18" fmla="*/ 315 w 371"/>
                  <a:gd name="T19" fmla="*/ 7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1" h="187">
                    <a:moveTo>
                      <a:pt x="315" y="76"/>
                    </a:moveTo>
                    <a:cubicBezTo>
                      <a:pt x="302" y="76"/>
                      <a:pt x="289" y="81"/>
                      <a:pt x="279" y="89"/>
                    </a:cubicBezTo>
                    <a:cubicBezTo>
                      <a:pt x="277" y="39"/>
                      <a:pt x="236" y="0"/>
                      <a:pt x="186" y="0"/>
                    </a:cubicBezTo>
                    <a:cubicBezTo>
                      <a:pt x="148" y="0"/>
                      <a:pt x="115" y="23"/>
                      <a:pt x="101" y="56"/>
                    </a:cubicBezTo>
                    <a:cubicBezTo>
                      <a:pt x="92" y="51"/>
                      <a:pt x="81" y="48"/>
                      <a:pt x="70" y="48"/>
                    </a:cubicBezTo>
                    <a:cubicBezTo>
                      <a:pt x="31" y="48"/>
                      <a:pt x="0" y="79"/>
                      <a:pt x="0" y="118"/>
                    </a:cubicBezTo>
                    <a:cubicBezTo>
                      <a:pt x="0" y="156"/>
                      <a:pt x="31" y="187"/>
                      <a:pt x="70" y="187"/>
                    </a:cubicBezTo>
                    <a:cubicBezTo>
                      <a:pt x="315" y="187"/>
                      <a:pt x="315" y="187"/>
                      <a:pt x="315" y="187"/>
                    </a:cubicBezTo>
                    <a:cubicBezTo>
                      <a:pt x="346" y="187"/>
                      <a:pt x="371" y="162"/>
                      <a:pt x="371" y="132"/>
                    </a:cubicBezTo>
                    <a:cubicBezTo>
                      <a:pt x="371" y="101"/>
                      <a:pt x="346" y="76"/>
                      <a:pt x="315" y="76"/>
                    </a:cubicBezTo>
                  </a:path>
                </a:pathLst>
              </a:custGeom>
              <a:solidFill>
                <a:srgbClr val="4368BD"/>
              </a:solidFill>
              <a:ln>
                <a:noFill/>
              </a:ln>
            </p:spPr>
            <p:txBody>
              <a:bodyPr vert="horz" wrap="square" lIns="121920" tIns="60960" rIns="121920" bIns="60960" numCol="1" anchor="t" anchorCtr="0" compatLnSpc="1">
                <a:prstTxWarp prst="textNoShape">
                  <a:avLst/>
                </a:prstTxWarp>
              </a:bodyPr>
              <a:lstStyle/>
              <a:p>
                <a:endParaRPr lang="de-DE" sz="2400" dirty="0"/>
              </a:p>
            </p:txBody>
          </p:sp>
        </p:grpSp>
        <p:sp>
          <p:nvSpPr>
            <p:cNvPr id="321" name="Freeform 131"/>
            <p:cNvSpPr>
              <a:spLocks/>
            </p:cNvSpPr>
            <p:nvPr/>
          </p:nvSpPr>
          <p:spPr bwMode="gray">
            <a:xfrm>
              <a:off x="3263680" y="5187589"/>
              <a:ext cx="204758" cy="271659"/>
            </a:xfrm>
            <a:custGeom>
              <a:avLst/>
              <a:gdLst>
                <a:gd name="T0" fmla="*/ 0 w 370"/>
                <a:gd name="T1" fmla="*/ 322 h 492"/>
                <a:gd name="T2" fmla="*/ 278 w 370"/>
                <a:gd name="T3" fmla="*/ 0 h 492"/>
                <a:gd name="T4" fmla="*/ 195 w 370"/>
                <a:gd name="T5" fmla="*/ 196 h 492"/>
                <a:gd name="T6" fmla="*/ 370 w 370"/>
                <a:gd name="T7" fmla="*/ 171 h 492"/>
                <a:gd name="T8" fmla="*/ 91 w 370"/>
                <a:gd name="T9" fmla="*/ 492 h 492"/>
                <a:gd name="T10" fmla="*/ 177 w 370"/>
                <a:gd name="T11" fmla="*/ 291 h 492"/>
                <a:gd name="T12" fmla="*/ 0 w 370"/>
                <a:gd name="T13" fmla="*/ 322 h 49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70" h="492">
                  <a:moveTo>
                    <a:pt x="0" y="322"/>
                  </a:moveTo>
                  <a:cubicBezTo>
                    <a:pt x="93" y="215"/>
                    <a:pt x="185" y="107"/>
                    <a:pt x="278" y="0"/>
                  </a:cubicBezTo>
                  <a:cubicBezTo>
                    <a:pt x="251" y="66"/>
                    <a:pt x="222" y="131"/>
                    <a:pt x="195" y="196"/>
                  </a:cubicBezTo>
                  <a:cubicBezTo>
                    <a:pt x="253" y="188"/>
                    <a:pt x="312" y="177"/>
                    <a:pt x="370" y="171"/>
                  </a:cubicBezTo>
                  <a:cubicBezTo>
                    <a:pt x="277" y="278"/>
                    <a:pt x="184" y="385"/>
                    <a:pt x="91" y="492"/>
                  </a:cubicBezTo>
                  <a:cubicBezTo>
                    <a:pt x="119" y="425"/>
                    <a:pt x="148" y="358"/>
                    <a:pt x="177" y="291"/>
                  </a:cubicBezTo>
                  <a:cubicBezTo>
                    <a:pt x="118" y="300"/>
                    <a:pt x="59" y="312"/>
                    <a:pt x="0" y="322"/>
                  </a:cubicBezTo>
                  <a:close/>
                </a:path>
              </a:pathLst>
            </a:custGeom>
            <a:solidFill>
              <a:srgbClr val="F0AB00"/>
            </a:solidFill>
            <a:ln>
              <a:noFill/>
            </a:ln>
          </p:spPr>
          <p:txBody>
            <a:bodyPr/>
            <a:lstStyle/>
            <a:p>
              <a:endParaRPr lang="en-CA" sz="2400" dirty="0"/>
            </a:p>
          </p:txBody>
        </p:sp>
        <p:grpSp>
          <p:nvGrpSpPr>
            <p:cNvPr id="322" name="Gruppieren 321"/>
            <p:cNvGrpSpPr/>
            <p:nvPr/>
          </p:nvGrpSpPr>
          <p:grpSpPr bwMode="gray">
            <a:xfrm>
              <a:off x="3491898" y="5320377"/>
              <a:ext cx="276331" cy="87413"/>
              <a:chOff x="837108" y="4378313"/>
              <a:chExt cx="299696" cy="94804"/>
            </a:xfrm>
            <a:solidFill>
              <a:srgbClr val="4368BD"/>
            </a:solidFill>
          </p:grpSpPr>
          <p:sp>
            <p:nvSpPr>
              <p:cNvPr id="323" name="Freeform 156"/>
              <p:cNvSpPr>
                <a:spLocks/>
              </p:cNvSpPr>
              <p:nvPr/>
            </p:nvSpPr>
            <p:spPr bwMode="gray">
              <a:xfrm>
                <a:off x="837108" y="4378313"/>
                <a:ext cx="76452" cy="94804"/>
              </a:xfrm>
              <a:custGeom>
                <a:avLst/>
                <a:gdLst>
                  <a:gd name="T0" fmla="*/ 40 w 47"/>
                  <a:gd name="T1" fmla="*/ 17 h 57"/>
                  <a:gd name="T2" fmla="*/ 23 w 47"/>
                  <a:gd name="T3" fmla="*/ 0 h 57"/>
                  <a:gd name="T4" fmla="*/ 7 w 47"/>
                  <a:gd name="T5" fmla="*/ 17 h 57"/>
                  <a:gd name="T6" fmla="*/ 0 w 47"/>
                  <a:gd name="T7" fmla="*/ 34 h 57"/>
                  <a:gd name="T8" fmla="*/ 23 w 47"/>
                  <a:gd name="T9" fmla="*/ 57 h 57"/>
                  <a:gd name="T10" fmla="*/ 47 w 47"/>
                  <a:gd name="T11" fmla="*/ 33 h 57"/>
                  <a:gd name="T12" fmla="*/ 40 w 47"/>
                  <a:gd name="T13" fmla="*/ 17 h 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7" h="57">
                    <a:moveTo>
                      <a:pt x="40" y="17"/>
                    </a:moveTo>
                    <a:cubicBezTo>
                      <a:pt x="23" y="0"/>
                      <a:pt x="23" y="0"/>
                      <a:pt x="23" y="0"/>
                    </a:cubicBezTo>
                    <a:cubicBezTo>
                      <a:pt x="7" y="17"/>
                      <a:pt x="7" y="17"/>
                      <a:pt x="7" y="17"/>
                    </a:cubicBezTo>
                    <a:cubicBezTo>
                      <a:pt x="3" y="21"/>
                      <a:pt x="0" y="27"/>
                      <a:pt x="0" y="34"/>
                    </a:cubicBezTo>
                    <a:cubicBezTo>
                      <a:pt x="0" y="46"/>
                      <a:pt x="11" y="57"/>
                      <a:pt x="23" y="57"/>
                    </a:cubicBezTo>
                    <a:cubicBezTo>
                      <a:pt x="36" y="57"/>
                      <a:pt x="47" y="46"/>
                      <a:pt x="47" y="33"/>
                    </a:cubicBezTo>
                    <a:cubicBezTo>
                      <a:pt x="47" y="27"/>
                      <a:pt x="44" y="21"/>
                      <a:pt x="40" y="17"/>
                    </a:cubicBezTo>
                    <a:close/>
                  </a:path>
                </a:pathLst>
              </a:custGeom>
              <a:grpFill/>
              <a:ln>
                <a:noFill/>
              </a:ln>
            </p:spPr>
            <p:txBody>
              <a:bodyPr/>
              <a:lstStyle/>
              <a:p>
                <a:endParaRPr lang="en-CA" sz="2400" dirty="0"/>
              </a:p>
            </p:txBody>
          </p:sp>
          <p:sp>
            <p:nvSpPr>
              <p:cNvPr id="324" name="Freeform 157"/>
              <p:cNvSpPr>
                <a:spLocks/>
              </p:cNvSpPr>
              <p:nvPr/>
            </p:nvSpPr>
            <p:spPr bwMode="gray">
              <a:xfrm>
                <a:off x="950259" y="4378313"/>
                <a:ext cx="76452" cy="94804"/>
              </a:xfrm>
              <a:custGeom>
                <a:avLst/>
                <a:gdLst>
                  <a:gd name="T0" fmla="*/ 40 w 47"/>
                  <a:gd name="T1" fmla="*/ 17 h 57"/>
                  <a:gd name="T2" fmla="*/ 23 w 47"/>
                  <a:gd name="T3" fmla="*/ 0 h 57"/>
                  <a:gd name="T4" fmla="*/ 7 w 47"/>
                  <a:gd name="T5" fmla="*/ 17 h 57"/>
                  <a:gd name="T6" fmla="*/ 0 w 47"/>
                  <a:gd name="T7" fmla="*/ 34 h 57"/>
                  <a:gd name="T8" fmla="*/ 23 w 47"/>
                  <a:gd name="T9" fmla="*/ 57 h 57"/>
                  <a:gd name="T10" fmla="*/ 47 w 47"/>
                  <a:gd name="T11" fmla="*/ 33 h 57"/>
                  <a:gd name="T12" fmla="*/ 40 w 47"/>
                  <a:gd name="T13" fmla="*/ 17 h 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7" h="57">
                    <a:moveTo>
                      <a:pt x="40" y="17"/>
                    </a:moveTo>
                    <a:cubicBezTo>
                      <a:pt x="23" y="0"/>
                      <a:pt x="23" y="0"/>
                      <a:pt x="23" y="0"/>
                    </a:cubicBezTo>
                    <a:cubicBezTo>
                      <a:pt x="7" y="17"/>
                      <a:pt x="7" y="17"/>
                      <a:pt x="7" y="17"/>
                    </a:cubicBezTo>
                    <a:cubicBezTo>
                      <a:pt x="2" y="21"/>
                      <a:pt x="0" y="27"/>
                      <a:pt x="0" y="34"/>
                    </a:cubicBezTo>
                    <a:cubicBezTo>
                      <a:pt x="0" y="46"/>
                      <a:pt x="10" y="57"/>
                      <a:pt x="23" y="57"/>
                    </a:cubicBezTo>
                    <a:cubicBezTo>
                      <a:pt x="36" y="57"/>
                      <a:pt x="47" y="46"/>
                      <a:pt x="47" y="33"/>
                    </a:cubicBezTo>
                    <a:cubicBezTo>
                      <a:pt x="47" y="27"/>
                      <a:pt x="44" y="21"/>
                      <a:pt x="40" y="17"/>
                    </a:cubicBezTo>
                    <a:close/>
                  </a:path>
                </a:pathLst>
              </a:custGeom>
              <a:grpFill/>
              <a:ln>
                <a:noFill/>
              </a:ln>
            </p:spPr>
            <p:txBody>
              <a:bodyPr/>
              <a:lstStyle/>
              <a:p>
                <a:endParaRPr lang="en-CA" sz="2400" dirty="0"/>
              </a:p>
            </p:txBody>
          </p:sp>
          <p:sp>
            <p:nvSpPr>
              <p:cNvPr id="325" name="Freeform 158"/>
              <p:cNvSpPr>
                <a:spLocks/>
              </p:cNvSpPr>
              <p:nvPr/>
            </p:nvSpPr>
            <p:spPr bwMode="gray">
              <a:xfrm>
                <a:off x="1060352" y="4378313"/>
                <a:ext cx="76452" cy="94804"/>
              </a:xfrm>
              <a:custGeom>
                <a:avLst/>
                <a:gdLst>
                  <a:gd name="T0" fmla="*/ 40 w 47"/>
                  <a:gd name="T1" fmla="*/ 17 h 57"/>
                  <a:gd name="T2" fmla="*/ 24 w 47"/>
                  <a:gd name="T3" fmla="*/ 0 h 57"/>
                  <a:gd name="T4" fmla="*/ 7 w 47"/>
                  <a:gd name="T5" fmla="*/ 17 h 57"/>
                  <a:gd name="T6" fmla="*/ 0 w 47"/>
                  <a:gd name="T7" fmla="*/ 34 h 57"/>
                  <a:gd name="T8" fmla="*/ 24 w 47"/>
                  <a:gd name="T9" fmla="*/ 57 h 57"/>
                  <a:gd name="T10" fmla="*/ 47 w 47"/>
                  <a:gd name="T11" fmla="*/ 33 h 57"/>
                  <a:gd name="T12" fmla="*/ 40 w 47"/>
                  <a:gd name="T13" fmla="*/ 17 h 5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7" h="57">
                    <a:moveTo>
                      <a:pt x="40" y="17"/>
                    </a:moveTo>
                    <a:cubicBezTo>
                      <a:pt x="24" y="0"/>
                      <a:pt x="24" y="0"/>
                      <a:pt x="24" y="0"/>
                    </a:cubicBezTo>
                    <a:cubicBezTo>
                      <a:pt x="7" y="17"/>
                      <a:pt x="7" y="17"/>
                      <a:pt x="7" y="17"/>
                    </a:cubicBezTo>
                    <a:cubicBezTo>
                      <a:pt x="3" y="21"/>
                      <a:pt x="0" y="27"/>
                      <a:pt x="0" y="34"/>
                    </a:cubicBezTo>
                    <a:cubicBezTo>
                      <a:pt x="0" y="46"/>
                      <a:pt x="11" y="57"/>
                      <a:pt x="24" y="57"/>
                    </a:cubicBezTo>
                    <a:cubicBezTo>
                      <a:pt x="37" y="57"/>
                      <a:pt x="47" y="46"/>
                      <a:pt x="47" y="33"/>
                    </a:cubicBezTo>
                    <a:cubicBezTo>
                      <a:pt x="47" y="27"/>
                      <a:pt x="45" y="21"/>
                      <a:pt x="40" y="17"/>
                    </a:cubicBezTo>
                    <a:close/>
                  </a:path>
                </a:pathLst>
              </a:custGeom>
              <a:grpFill/>
              <a:ln>
                <a:noFill/>
              </a:ln>
            </p:spPr>
            <p:txBody>
              <a:bodyPr/>
              <a:lstStyle/>
              <a:p>
                <a:endParaRPr lang="en-CA" sz="2400" dirty="0"/>
              </a:p>
            </p:txBody>
          </p:sp>
        </p:grpSp>
      </p:grpSp>
      <p:sp>
        <p:nvSpPr>
          <p:cNvPr id="329" name="Rechteck 328"/>
          <p:cNvSpPr/>
          <p:nvPr>
            <p:custDataLst>
              <p:tags r:id="rId18"/>
            </p:custDataLst>
          </p:nvPr>
        </p:nvSpPr>
        <p:spPr bwMode="gray">
          <a:xfrm>
            <a:off x="4751852" y="5554354"/>
            <a:ext cx="1175875" cy="5765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r>
              <a:rPr lang="en-US" sz="1600" b="1" dirty="0">
                <a:solidFill>
                  <a:schemeClr val="tx1"/>
                </a:solidFill>
                <a:cs typeface="Arial" pitchFamily="34" charset="0"/>
              </a:rPr>
              <a:t>2018</a:t>
            </a:r>
          </a:p>
        </p:txBody>
      </p:sp>
      <p:sp>
        <p:nvSpPr>
          <p:cNvPr id="334" name="Rechteck 333"/>
          <p:cNvSpPr/>
          <p:nvPr>
            <p:custDataLst>
              <p:tags r:id="rId19"/>
            </p:custDataLst>
          </p:nvPr>
        </p:nvSpPr>
        <p:spPr bwMode="gray">
          <a:xfrm>
            <a:off x="10593837" y="5554354"/>
            <a:ext cx="1175875" cy="57652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r>
              <a:rPr lang="en-US" sz="1600" b="1" dirty="0">
                <a:solidFill>
                  <a:schemeClr val="tx1"/>
                </a:solidFill>
                <a:cs typeface="Arial" pitchFamily="34" charset="0"/>
              </a:rPr>
              <a:t>2023</a:t>
            </a:r>
          </a:p>
        </p:txBody>
      </p:sp>
      <p:sp>
        <p:nvSpPr>
          <p:cNvPr id="289" name="Subtitle 19">
            <a:extLst>
              <a:ext uri="{FF2B5EF4-FFF2-40B4-BE49-F238E27FC236}">
                <a16:creationId xmlns:a16="http://schemas.microsoft.com/office/drawing/2014/main" id="{8F897E54-87D9-4C9F-9636-EDB9CDDB1C82}"/>
              </a:ext>
            </a:extLst>
          </p:cNvPr>
          <p:cNvSpPr txBox="1">
            <a:spLocks/>
          </p:cNvSpPr>
          <p:nvPr/>
        </p:nvSpPr>
        <p:spPr>
          <a:xfrm>
            <a:off x="263352" y="980728"/>
            <a:ext cx="8641357" cy="360040"/>
          </a:xfrm>
          <a:prstGeom prst="rect">
            <a:avLst/>
          </a:prstGeom>
        </p:spPr>
        <p:txBody>
          <a:bodyPr/>
          <a:lstStyle>
            <a:lvl1pPr marL="266700" indent="-266700" algn="l" defTabSz="914400" rtl="0" eaLnBrk="1" latinLnBrk="0" hangingPunct="1">
              <a:lnSpc>
                <a:spcPct val="100000"/>
              </a:lnSpc>
              <a:spcBef>
                <a:spcPts val="1000"/>
              </a:spcBef>
              <a:buClrTx/>
              <a:buSzPct val="80000"/>
              <a:buFont typeface="Wingdings" panose="05000000000000000000" pitchFamily="2" charset="2"/>
              <a:buChar char="n"/>
              <a:defRPr sz="1600" kern="1200">
                <a:solidFill>
                  <a:schemeClr val="tx1"/>
                </a:solidFill>
                <a:latin typeface="+mn-lt"/>
                <a:ea typeface="+mn-ea"/>
                <a:cs typeface="+mn-cs"/>
              </a:defRPr>
            </a:lvl1pPr>
            <a:lvl2pPr marL="542925" indent="-276225" algn="l" defTabSz="914400" rtl="0" eaLnBrk="1" latinLnBrk="0" hangingPunct="1">
              <a:lnSpc>
                <a:spcPct val="100000"/>
              </a:lnSpc>
              <a:spcBef>
                <a:spcPts val="1000"/>
              </a:spcBef>
              <a:buClrTx/>
              <a:buSzPct val="80000"/>
              <a:buFont typeface="Wingdings" panose="05000000000000000000" pitchFamily="2" charset="2"/>
              <a:buChar char=""/>
              <a:defRPr sz="1600" kern="1200">
                <a:solidFill>
                  <a:schemeClr val="tx1"/>
                </a:solidFill>
                <a:latin typeface="+mn-lt"/>
                <a:ea typeface="+mn-ea"/>
                <a:cs typeface="+mn-cs"/>
              </a:defRPr>
            </a:lvl2pPr>
            <a:lvl3pPr marL="809625" indent="-266700" algn="l" defTabSz="914400" rtl="0" eaLnBrk="1" latinLnBrk="0" hangingPunct="1">
              <a:lnSpc>
                <a:spcPct val="100000"/>
              </a:lnSpc>
              <a:spcBef>
                <a:spcPts val="1000"/>
              </a:spcBef>
              <a:buClrTx/>
              <a:buSzPct val="100000"/>
              <a:buFont typeface="Courier New" panose="02070309020205020404" pitchFamily="49" charset="0"/>
              <a:buChar char="o"/>
              <a:defRPr sz="1600" kern="1200">
                <a:solidFill>
                  <a:schemeClr val="tx1"/>
                </a:solidFill>
                <a:latin typeface="+mn-lt"/>
                <a:ea typeface="+mn-ea"/>
                <a:cs typeface="+mn-cs"/>
              </a:defRPr>
            </a:lvl3pPr>
            <a:lvl4pPr marL="0" indent="0" algn="l" defTabSz="914400" rtl="0" eaLnBrk="1" latinLnBrk="0" hangingPunct="1">
              <a:lnSpc>
                <a:spcPct val="100000"/>
              </a:lnSpc>
              <a:spcBef>
                <a:spcPts val="1000"/>
              </a:spcBef>
              <a:buClrTx/>
              <a:buSzPct val="80000"/>
              <a:buFont typeface="Wingdings" panose="05000000000000000000" pitchFamily="2" charset="2"/>
              <a:buNone/>
              <a:defRPr sz="1600" kern="1200">
                <a:solidFill>
                  <a:schemeClr val="tx1"/>
                </a:solidFill>
                <a:latin typeface="+mn-lt"/>
                <a:ea typeface="+mn-ea"/>
                <a:cs typeface="+mn-cs"/>
              </a:defRPr>
            </a:lvl4pPr>
            <a:lvl5pPr marL="0" indent="0" algn="l" defTabSz="914400" rtl="0" eaLnBrk="1" latinLnBrk="0" hangingPunct="1">
              <a:lnSpc>
                <a:spcPct val="100000"/>
              </a:lnSpc>
              <a:spcBef>
                <a:spcPts val="1000"/>
              </a:spcBef>
              <a:buClrTx/>
              <a:buFont typeface="Wingdings 2" panose="05020102010507070707" pitchFamily="18" charset="2"/>
              <a:buNone/>
              <a:defRPr sz="1200" b="0" kern="1200">
                <a:solidFill>
                  <a:schemeClr val="tx1"/>
                </a:solidFill>
                <a:latin typeface="+mn-lt"/>
                <a:ea typeface="+mn-ea"/>
                <a:cs typeface="+mn-cs"/>
              </a:defRPr>
            </a:lvl5pPr>
            <a:lvl6pPr marL="266700" indent="-266700" algn="l" defTabSz="914400" rtl="0" eaLnBrk="1" latinLnBrk="0" hangingPunct="1">
              <a:lnSpc>
                <a:spcPct val="100000"/>
              </a:lnSpc>
              <a:spcBef>
                <a:spcPts val="600"/>
              </a:spcBef>
              <a:buClrTx/>
              <a:buSzPct val="80000"/>
              <a:buFont typeface="Wingdings" panose="05000000000000000000" pitchFamily="2" charset="2"/>
              <a:buChar char="n"/>
              <a:defRPr sz="1200" b="0" kern="1200">
                <a:solidFill>
                  <a:schemeClr val="tx1"/>
                </a:solidFill>
                <a:latin typeface="+mn-lt"/>
                <a:ea typeface="+mn-ea"/>
                <a:cs typeface="+mn-cs"/>
              </a:defRPr>
            </a:lvl6pPr>
            <a:lvl7pPr marL="542925" indent="-276225" algn="l" defTabSz="914400" rtl="0" eaLnBrk="1" latinLnBrk="0" hangingPunct="1">
              <a:lnSpc>
                <a:spcPct val="100000"/>
              </a:lnSpc>
              <a:spcBef>
                <a:spcPts val="600"/>
              </a:spcBef>
              <a:buClrTx/>
              <a:buSzPct val="80000"/>
              <a:buFont typeface="Wingdings" panose="05000000000000000000" pitchFamily="2" charset="2"/>
              <a:buChar char="o"/>
              <a:defRPr sz="1200" b="0" kern="1200">
                <a:solidFill>
                  <a:schemeClr val="tx1"/>
                </a:solidFill>
                <a:latin typeface="+mn-lt"/>
                <a:ea typeface="+mn-ea"/>
                <a:cs typeface="+mn-cs"/>
              </a:defRPr>
            </a:lvl7pPr>
            <a:lvl8pPr marL="809625" indent="-266700" algn="l" defTabSz="914400" rtl="0" eaLnBrk="1" latinLnBrk="0" hangingPunct="1">
              <a:lnSpc>
                <a:spcPct val="100000"/>
              </a:lnSpc>
              <a:spcBef>
                <a:spcPts val="600"/>
              </a:spcBef>
              <a:buClrTx/>
              <a:buSzPct val="100000"/>
              <a:buFont typeface="Courier New" panose="02070309020205020404" pitchFamily="49" charset="0"/>
              <a:buChar char="o"/>
              <a:defRPr sz="1200" b="0" kern="1200">
                <a:solidFill>
                  <a:schemeClr val="tx1"/>
                </a:solidFill>
                <a:latin typeface="+mn-lt"/>
                <a:ea typeface="+mn-ea"/>
                <a:cs typeface="+mn-cs"/>
              </a:defRPr>
            </a:lvl8pPr>
            <a:lvl9pPr marL="803275" indent="-268288" algn="l" defTabSz="914400" rtl="0" eaLnBrk="1" latinLnBrk="0" hangingPunct="1">
              <a:lnSpc>
                <a:spcPct val="100000"/>
              </a:lnSpc>
              <a:spcBef>
                <a:spcPts val="600"/>
              </a:spcBef>
              <a:buClrTx/>
              <a:buSzPct val="100000"/>
              <a:buFont typeface="Courier New" panose="02070309020205020404" pitchFamily="49" charset="0"/>
              <a:buChar char="o"/>
              <a:defRPr sz="1200" b="0" kern="1200">
                <a:solidFill>
                  <a:schemeClr val="tx1"/>
                </a:solidFill>
                <a:latin typeface="+mn-lt"/>
                <a:ea typeface="+mn-ea"/>
                <a:cs typeface="+mn-cs"/>
              </a:defRPr>
            </a:lvl9pPr>
          </a:lstStyle>
          <a:p>
            <a:pPr marL="0" indent="0">
              <a:buNone/>
            </a:pPr>
            <a:r>
              <a:rPr lang="en-GB" sz="2000" dirty="0" err="1">
                <a:latin typeface="Lato Light" panose="020F0502020204030203" pitchFamily="34" charset="0"/>
                <a:ea typeface="Lato Light" panose="020F0502020204030203" pitchFamily="34" charset="0"/>
                <a:cs typeface="Lato Light" panose="020F0502020204030203" pitchFamily="34" charset="0"/>
              </a:rPr>
              <a:t>Diciembre</a:t>
            </a:r>
            <a:r>
              <a:rPr lang="en-GB" sz="2000" dirty="0">
                <a:latin typeface="Lato Light" panose="020F0502020204030203" pitchFamily="34" charset="0"/>
                <a:ea typeface="Lato Light" panose="020F0502020204030203" pitchFamily="34" charset="0"/>
                <a:cs typeface="Lato Light" panose="020F0502020204030203" pitchFamily="34" charset="0"/>
              </a:rPr>
              <a:t> 2023 </a:t>
            </a:r>
          </a:p>
        </p:txBody>
      </p:sp>
      <p:sp>
        <p:nvSpPr>
          <p:cNvPr id="7" name="Titel 4">
            <a:extLst>
              <a:ext uri="{FF2B5EF4-FFF2-40B4-BE49-F238E27FC236}">
                <a16:creationId xmlns:a16="http://schemas.microsoft.com/office/drawing/2014/main" id="{1E76922C-8506-23E1-7DC3-E7CCBCAE1D5A}"/>
              </a:ext>
            </a:extLst>
          </p:cNvPr>
          <p:cNvSpPr>
            <a:spLocks noGrp="1"/>
          </p:cNvSpPr>
          <p:nvPr>
            <p:ph type="title"/>
            <p:custDataLst>
              <p:tags r:id="rId20"/>
            </p:custDataLst>
          </p:nvPr>
        </p:nvSpPr>
        <p:spPr bwMode="gray">
          <a:xfrm>
            <a:off x="335360" y="260648"/>
            <a:ext cx="8928992" cy="369332"/>
          </a:xfrm>
        </p:spPr>
        <p:txBody>
          <a:bodyPr/>
          <a:lstStyle/>
          <a:p>
            <a:r>
              <a:rPr lang="es-ES_tradnl" b="1" dirty="0"/>
              <a:t>Euro Clima de Consumo | El mejor nivel desde mayo 2022</a:t>
            </a:r>
          </a:p>
        </p:txBody>
      </p:sp>
      <p:sp>
        <p:nvSpPr>
          <p:cNvPr id="8" name="Rechteck 13">
            <a:extLst>
              <a:ext uri="{FF2B5EF4-FFF2-40B4-BE49-F238E27FC236}">
                <a16:creationId xmlns:a16="http://schemas.microsoft.com/office/drawing/2014/main" id="{5699A223-33ED-E8D8-7541-29904D6A16D9}"/>
              </a:ext>
            </a:extLst>
          </p:cNvPr>
          <p:cNvSpPr/>
          <p:nvPr/>
        </p:nvSpPr>
        <p:spPr bwMode="gray">
          <a:xfrm>
            <a:off x="1023888" y="6503603"/>
            <a:ext cx="7056000" cy="222976"/>
          </a:xfrm>
          <a:prstGeom prst="rect">
            <a:avLst/>
          </a:prstGeom>
          <a:no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endParaRPr kumimoji="0" lang="es-ES_tradnl" sz="800" b="0" i="0" u="none" strike="noStrike" kern="1200" cap="none" spc="0" normalizeH="0" baseline="0" dirty="0">
              <a:ln>
                <a:noFill/>
              </a:ln>
              <a:solidFill>
                <a:srgbClr val="8E8581"/>
              </a:solidFill>
              <a:effectLst/>
              <a:uLnTx/>
              <a:uFillTx/>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s-ES_tradnl" sz="800" b="0" i="0" u="none" strike="noStrike" kern="1200" cap="none" spc="0" normalizeH="0" baseline="0" dirty="0">
                <a:ln>
                  <a:noFill/>
                </a:ln>
                <a:solidFill>
                  <a:srgbClr val="8E8581"/>
                </a:solidFill>
                <a:effectLst/>
                <a:uLnTx/>
                <a:uFillTx/>
                <a:latin typeface="Arial" pitchFamily="34" charset="0"/>
                <a:ea typeface="+mn-ea"/>
                <a:cs typeface="Arial" pitchFamily="34" charset="0"/>
              </a:rPr>
              <a:t>Fuente: GfK Euro Clima </a:t>
            </a:r>
            <a:r>
              <a:rPr kumimoji="0" lang="es-ES_tradnl" sz="800" b="0" i="1" u="none" strike="noStrike" kern="1200" cap="none" spc="0" normalizeH="0" baseline="0" dirty="0" err="1">
                <a:ln>
                  <a:noFill/>
                </a:ln>
                <a:solidFill>
                  <a:srgbClr val="8E8581"/>
                </a:solidFill>
                <a:effectLst/>
                <a:uLnTx/>
                <a:uFillTx/>
                <a:latin typeface="Arial" pitchFamily="34" charset="0"/>
                <a:ea typeface="+mn-ea"/>
                <a:cs typeface="Arial" pitchFamily="34" charset="0"/>
              </a:rPr>
              <a:t>powered</a:t>
            </a:r>
            <a:r>
              <a:rPr kumimoji="0" lang="es-ES_tradnl" sz="800" b="0" i="1" u="none" strike="noStrike" kern="1200" cap="none" spc="0" normalizeH="0" baseline="0" dirty="0">
                <a:ln>
                  <a:noFill/>
                </a:ln>
                <a:solidFill>
                  <a:srgbClr val="8E8581"/>
                </a:solidFill>
                <a:effectLst/>
                <a:uLnTx/>
                <a:uFillTx/>
                <a:latin typeface="Arial" pitchFamily="34" charset="0"/>
                <a:ea typeface="+mn-ea"/>
                <a:cs typeface="Arial" pitchFamily="34" charset="0"/>
              </a:rPr>
              <a:t> </a:t>
            </a:r>
            <a:r>
              <a:rPr kumimoji="0" lang="es-ES_tradnl" sz="800" b="0" i="1" u="none" strike="noStrike" kern="1200" cap="none" spc="0" normalizeH="0" baseline="0" dirty="0" err="1">
                <a:ln>
                  <a:noFill/>
                </a:ln>
                <a:solidFill>
                  <a:srgbClr val="8E8581"/>
                </a:solidFill>
                <a:effectLst/>
                <a:uLnTx/>
                <a:uFillTx/>
                <a:latin typeface="Arial" pitchFamily="34" charset="0"/>
                <a:ea typeface="+mn-ea"/>
                <a:cs typeface="Arial" pitchFamily="34" charset="0"/>
              </a:rPr>
              <a:t>by</a:t>
            </a:r>
            <a:r>
              <a:rPr kumimoji="0" lang="es-ES_tradnl" sz="800" b="0" i="1" u="none" strike="noStrike" kern="1200" cap="none" spc="0" normalizeH="0" baseline="0" dirty="0">
                <a:ln>
                  <a:noFill/>
                </a:ln>
                <a:solidFill>
                  <a:srgbClr val="8E8581"/>
                </a:solidFill>
                <a:effectLst/>
                <a:uLnTx/>
                <a:uFillTx/>
                <a:latin typeface="Arial" pitchFamily="34" charset="0"/>
                <a:ea typeface="+mn-ea"/>
                <a:cs typeface="Arial" pitchFamily="34" charset="0"/>
              </a:rPr>
              <a:t> </a:t>
            </a:r>
            <a:r>
              <a:rPr kumimoji="0" lang="es-ES_tradnl" sz="800" b="0" i="0" u="none" strike="noStrike" kern="1200" cap="none" spc="0" normalizeH="0" baseline="0" dirty="0">
                <a:ln>
                  <a:noFill/>
                </a:ln>
                <a:solidFill>
                  <a:srgbClr val="8E8581"/>
                </a:solidFill>
                <a:effectLst/>
                <a:uLnTx/>
                <a:uFillTx/>
                <a:latin typeface="Arial" pitchFamily="34" charset="0"/>
                <a:ea typeface="+mn-ea"/>
                <a:cs typeface="Arial" pitchFamily="34" charset="0"/>
              </a:rPr>
              <a:t>NIM, Comisión Europea Diciembre</a:t>
            </a:r>
            <a:r>
              <a:rPr lang="es-ES_tradnl" sz="800" dirty="0">
                <a:solidFill>
                  <a:srgbClr val="8E8581"/>
                </a:solidFill>
                <a:latin typeface="Arial" pitchFamily="34" charset="0"/>
                <a:cs typeface="Arial" pitchFamily="34" charset="0"/>
              </a:rPr>
              <a:t> </a:t>
            </a:r>
            <a:r>
              <a:rPr kumimoji="0" lang="es-ES_tradnl" sz="800" b="0" i="0" u="none" strike="noStrike" kern="1200" cap="none" spc="0" normalizeH="0" baseline="0" dirty="0">
                <a:ln>
                  <a:noFill/>
                </a:ln>
                <a:solidFill>
                  <a:srgbClr val="8E8581"/>
                </a:solidFill>
                <a:effectLst/>
                <a:uLnTx/>
                <a:uFillTx/>
                <a:latin typeface="Arial" pitchFamily="34" charset="0"/>
                <a:ea typeface="+mn-ea"/>
                <a:cs typeface="Arial" pitchFamily="34" charset="0"/>
              </a:rPr>
              <a:t>2023</a:t>
            </a:r>
          </a:p>
        </p:txBody>
      </p:sp>
    </p:spTree>
    <p:custDataLst>
      <p:tags r:id="rId1"/>
    </p:custDataLst>
    <p:extLst>
      <p:ext uri="{BB962C8B-B14F-4D97-AF65-F5344CB8AC3E}">
        <p14:creationId xmlns:p14="http://schemas.microsoft.com/office/powerpoint/2010/main" val="27002512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ítulo 2">
            <a:extLst>
              <a:ext uri="{FF2B5EF4-FFF2-40B4-BE49-F238E27FC236}">
                <a16:creationId xmlns:a16="http://schemas.microsoft.com/office/drawing/2014/main" id="{50EAA64E-7005-19AA-C549-103CF68A774E}"/>
              </a:ext>
            </a:extLst>
          </p:cNvPr>
          <p:cNvSpPr>
            <a:spLocks noGrp="1"/>
          </p:cNvSpPr>
          <p:nvPr>
            <p:ph type="title"/>
          </p:nvPr>
        </p:nvSpPr>
        <p:spPr>
          <a:xfrm>
            <a:off x="334964" y="260648"/>
            <a:ext cx="9793484" cy="1107996"/>
          </a:xfrm>
        </p:spPr>
        <p:txBody>
          <a:bodyPr/>
          <a:lstStyle/>
          <a:p>
            <a:r>
              <a:rPr lang="es-ES" b="1" dirty="0"/>
              <a:t>España | Las dudas ante la economía del país impactan en ingresos y gasto</a:t>
            </a:r>
            <a:br>
              <a:rPr lang="es-ES" b="1" dirty="0">
                <a:highlight>
                  <a:srgbClr val="FFFF00"/>
                </a:highlight>
              </a:rPr>
            </a:br>
            <a:r>
              <a:rPr lang="es-ES" b="1" dirty="0">
                <a:highlight>
                  <a:srgbClr val="FFFF00"/>
                </a:highlight>
              </a:rPr>
              <a:t> </a:t>
            </a:r>
          </a:p>
        </p:txBody>
      </p:sp>
      <p:sp>
        <p:nvSpPr>
          <p:cNvPr id="6" name="Marcador de contenido 5">
            <a:extLst>
              <a:ext uri="{FF2B5EF4-FFF2-40B4-BE49-F238E27FC236}">
                <a16:creationId xmlns:a16="http://schemas.microsoft.com/office/drawing/2014/main" id="{6B6C1560-AA83-086F-0F72-D0A307B438FA}"/>
              </a:ext>
            </a:extLst>
          </p:cNvPr>
          <p:cNvSpPr>
            <a:spLocks noGrp="1"/>
          </p:cNvSpPr>
          <p:nvPr>
            <p:ph idx="1"/>
          </p:nvPr>
        </p:nvSpPr>
        <p:spPr>
          <a:xfrm>
            <a:off x="911227" y="2060575"/>
            <a:ext cx="10369547" cy="4032249"/>
          </a:xfrm>
        </p:spPr>
        <p:txBody>
          <a:bodyPr/>
          <a:lstStyle/>
          <a:p>
            <a:pPr marL="0" indent="0">
              <a:lnSpc>
                <a:spcPct val="115000"/>
              </a:lnSpc>
              <a:spcAft>
                <a:spcPts val="800"/>
              </a:spcAft>
              <a:buNone/>
            </a:pPr>
            <a:r>
              <a:rPr lang="es-ES" sz="1400" dirty="0"/>
              <a:t>Las dudas sobre el </a:t>
            </a:r>
            <a:r>
              <a:rPr lang="es-ES" sz="1400" b="1" dirty="0"/>
              <a:t>comportamiento de la economía </a:t>
            </a:r>
            <a:r>
              <a:rPr lang="es-ES" sz="1400" dirty="0"/>
              <a:t>de nuestro país siguen estando en la mente de los consumidores (-19) un dato lejos del optimismo registrado en julio (+6).</a:t>
            </a:r>
          </a:p>
          <a:p>
            <a:pPr marL="0" indent="0">
              <a:lnSpc>
                <a:spcPct val="115000"/>
              </a:lnSpc>
              <a:spcAft>
                <a:spcPts val="800"/>
              </a:spcAft>
              <a:buNone/>
            </a:pPr>
            <a:r>
              <a:rPr lang="es-ES" sz="1400" dirty="0"/>
              <a:t>También se observa un estancamiento en la </a:t>
            </a:r>
            <a:r>
              <a:rPr lang="es-ES" sz="1400" b="1" dirty="0"/>
              <a:t>previsión de ingresos </a:t>
            </a:r>
            <a:r>
              <a:rPr lang="es-ES" sz="1400" dirty="0"/>
              <a:t>de la población en España (-12), ya que el indicador solo ha mejorado un punto en comparación con noviembre (-13).</a:t>
            </a:r>
          </a:p>
          <a:p>
            <a:pPr marL="0" indent="0">
              <a:lnSpc>
                <a:spcPct val="115000"/>
              </a:lnSpc>
              <a:spcAft>
                <a:spcPts val="800"/>
              </a:spcAft>
              <a:buNone/>
            </a:pPr>
            <a:r>
              <a:rPr lang="es-ES" sz="1400" dirty="0"/>
              <a:t>En cuanto a la </a:t>
            </a:r>
            <a:r>
              <a:rPr lang="es-ES" sz="1400" b="1" dirty="0"/>
              <a:t>intención de gasto</a:t>
            </a:r>
            <a:r>
              <a:rPr lang="es-ES" sz="1400" dirty="0"/>
              <a:t>, el último mes del año termina con una caída de 3 puntos (-25) tras dos meses consecutivos de ligeras mejorías, lo que muestra que el control de las compras se acentúa ligeramente.</a:t>
            </a:r>
          </a:p>
          <a:p>
            <a:pPr marL="0" indent="0">
              <a:lnSpc>
                <a:spcPct val="115000"/>
              </a:lnSpc>
              <a:spcAft>
                <a:spcPts val="800"/>
              </a:spcAft>
              <a:buNone/>
            </a:pPr>
            <a:r>
              <a:rPr lang="es-ES" sz="1400" dirty="0"/>
              <a:t>La inflación remite en Europa y los tipos de interés no seguirán subiendo. Razones de sobra para que la población respire con un poco menos de agobio. Sin embargo, todavía la inflación está por encima del objetivo del 2%, los tipos se mantendrán a los niveles actuales durante buena parte del año y los salarios continuarán como hasta ahora. Las familias lo viven en su día a día, de allí que los  indicadores hayan mejorado durante el último año, pero que todavía se ubiquen valores negativos medios. No hay razones aún para decir adiós a la incertidumbre ni a la contención.</a:t>
            </a:r>
          </a:p>
          <a:p>
            <a:pPr marL="0" indent="0">
              <a:lnSpc>
                <a:spcPct val="115000"/>
              </a:lnSpc>
              <a:spcAft>
                <a:spcPts val="800"/>
              </a:spcAft>
              <a:buNone/>
            </a:pPr>
            <a:endParaRPr lang="es-ES" sz="1400" dirty="0"/>
          </a:p>
          <a:p>
            <a:pPr marL="0" indent="0">
              <a:lnSpc>
                <a:spcPct val="115000"/>
              </a:lnSpc>
              <a:spcAft>
                <a:spcPts val="800"/>
              </a:spcAft>
              <a:buNone/>
            </a:pPr>
            <a:endParaRPr lang="es-ES" sz="1400" dirty="0">
              <a:highlight>
                <a:srgbClr val="FFFF00"/>
              </a:highlight>
            </a:endParaRPr>
          </a:p>
          <a:p>
            <a:pPr marL="0" indent="0">
              <a:lnSpc>
                <a:spcPct val="115000"/>
              </a:lnSpc>
              <a:spcAft>
                <a:spcPts val="800"/>
              </a:spcAft>
              <a:buNone/>
            </a:pPr>
            <a:endParaRPr lang="es-ES" sz="1400" dirty="0"/>
          </a:p>
          <a:p>
            <a:pPr marL="0" indent="0">
              <a:buNone/>
            </a:pPr>
            <a:endParaRPr lang="es-ES" dirty="0"/>
          </a:p>
        </p:txBody>
      </p:sp>
      <p:sp>
        <p:nvSpPr>
          <p:cNvPr id="4" name="Marcador de fecha 3">
            <a:extLst>
              <a:ext uri="{FF2B5EF4-FFF2-40B4-BE49-F238E27FC236}">
                <a16:creationId xmlns:a16="http://schemas.microsoft.com/office/drawing/2014/main" id="{38EB44E0-1A97-B4A1-F156-AD6C9BD3DF64}"/>
              </a:ext>
            </a:extLst>
          </p:cNvPr>
          <p:cNvSpPr>
            <a:spLocks noGrp="1"/>
          </p:cNvSpPr>
          <p:nvPr>
            <p:ph type="dt" sz="half" idx="18"/>
          </p:nvPr>
        </p:nvSpPr>
        <p:spPr/>
        <p:txBody>
          <a:bodyPr/>
          <a:lstStyle/>
          <a:p>
            <a:endParaRPr lang="en-GB" dirty="0"/>
          </a:p>
        </p:txBody>
      </p:sp>
      <p:sp>
        <p:nvSpPr>
          <p:cNvPr id="9" name="Subtitle 19">
            <a:extLst>
              <a:ext uri="{FF2B5EF4-FFF2-40B4-BE49-F238E27FC236}">
                <a16:creationId xmlns:a16="http://schemas.microsoft.com/office/drawing/2014/main" id="{043AC9C7-B99A-69B8-FA9E-DC9248AE8A88}"/>
              </a:ext>
            </a:extLst>
          </p:cNvPr>
          <p:cNvSpPr txBox="1">
            <a:spLocks/>
          </p:cNvSpPr>
          <p:nvPr/>
        </p:nvSpPr>
        <p:spPr>
          <a:xfrm>
            <a:off x="334963" y="1196752"/>
            <a:ext cx="8641357" cy="360040"/>
          </a:xfrm>
          <a:prstGeom prst="rect">
            <a:avLst/>
          </a:prstGeom>
        </p:spPr>
        <p:txBody>
          <a:bodyPr/>
          <a:lstStyle>
            <a:lvl1pPr marL="266700" indent="-266700" algn="l" defTabSz="914400" rtl="0" eaLnBrk="1" latinLnBrk="0" hangingPunct="1">
              <a:lnSpc>
                <a:spcPct val="100000"/>
              </a:lnSpc>
              <a:spcBef>
                <a:spcPts val="1000"/>
              </a:spcBef>
              <a:buClrTx/>
              <a:buSzPct val="80000"/>
              <a:buFont typeface="Wingdings" panose="05000000000000000000" pitchFamily="2" charset="2"/>
              <a:buChar char="n"/>
              <a:defRPr sz="1600" kern="1200">
                <a:solidFill>
                  <a:schemeClr val="tx1"/>
                </a:solidFill>
                <a:latin typeface="+mn-lt"/>
                <a:ea typeface="+mn-ea"/>
                <a:cs typeface="+mn-cs"/>
              </a:defRPr>
            </a:lvl1pPr>
            <a:lvl2pPr marL="542925" indent="-276225" algn="l" defTabSz="914400" rtl="0" eaLnBrk="1" latinLnBrk="0" hangingPunct="1">
              <a:lnSpc>
                <a:spcPct val="100000"/>
              </a:lnSpc>
              <a:spcBef>
                <a:spcPts val="1000"/>
              </a:spcBef>
              <a:buClrTx/>
              <a:buSzPct val="80000"/>
              <a:buFont typeface="Wingdings" panose="05000000000000000000" pitchFamily="2" charset="2"/>
              <a:buChar char=""/>
              <a:defRPr sz="1600" kern="1200">
                <a:solidFill>
                  <a:schemeClr val="tx1"/>
                </a:solidFill>
                <a:latin typeface="+mn-lt"/>
                <a:ea typeface="+mn-ea"/>
                <a:cs typeface="+mn-cs"/>
              </a:defRPr>
            </a:lvl2pPr>
            <a:lvl3pPr marL="809625" indent="-266700" algn="l" defTabSz="914400" rtl="0" eaLnBrk="1" latinLnBrk="0" hangingPunct="1">
              <a:lnSpc>
                <a:spcPct val="100000"/>
              </a:lnSpc>
              <a:spcBef>
                <a:spcPts val="1000"/>
              </a:spcBef>
              <a:buClrTx/>
              <a:buSzPct val="100000"/>
              <a:buFont typeface="Courier New" panose="02070309020205020404" pitchFamily="49" charset="0"/>
              <a:buChar char="o"/>
              <a:defRPr sz="1600" kern="1200">
                <a:solidFill>
                  <a:schemeClr val="tx1"/>
                </a:solidFill>
                <a:latin typeface="+mn-lt"/>
                <a:ea typeface="+mn-ea"/>
                <a:cs typeface="+mn-cs"/>
              </a:defRPr>
            </a:lvl3pPr>
            <a:lvl4pPr marL="0" indent="0" algn="l" defTabSz="914400" rtl="0" eaLnBrk="1" latinLnBrk="0" hangingPunct="1">
              <a:lnSpc>
                <a:spcPct val="100000"/>
              </a:lnSpc>
              <a:spcBef>
                <a:spcPts val="1000"/>
              </a:spcBef>
              <a:buClrTx/>
              <a:buSzPct val="80000"/>
              <a:buFont typeface="Wingdings" panose="05000000000000000000" pitchFamily="2" charset="2"/>
              <a:buNone/>
              <a:defRPr sz="1600" kern="1200">
                <a:solidFill>
                  <a:schemeClr val="tx1"/>
                </a:solidFill>
                <a:latin typeface="+mn-lt"/>
                <a:ea typeface="+mn-ea"/>
                <a:cs typeface="+mn-cs"/>
              </a:defRPr>
            </a:lvl4pPr>
            <a:lvl5pPr marL="0" indent="0" algn="l" defTabSz="914400" rtl="0" eaLnBrk="1" latinLnBrk="0" hangingPunct="1">
              <a:lnSpc>
                <a:spcPct val="100000"/>
              </a:lnSpc>
              <a:spcBef>
                <a:spcPts val="1000"/>
              </a:spcBef>
              <a:buClrTx/>
              <a:buFont typeface="Wingdings 2" panose="05020102010507070707" pitchFamily="18" charset="2"/>
              <a:buNone/>
              <a:defRPr sz="1200" b="0" kern="1200">
                <a:solidFill>
                  <a:schemeClr val="tx1"/>
                </a:solidFill>
                <a:latin typeface="+mn-lt"/>
                <a:ea typeface="+mn-ea"/>
                <a:cs typeface="+mn-cs"/>
              </a:defRPr>
            </a:lvl5pPr>
            <a:lvl6pPr marL="266700" indent="-266700" algn="l" defTabSz="914400" rtl="0" eaLnBrk="1" latinLnBrk="0" hangingPunct="1">
              <a:lnSpc>
                <a:spcPct val="100000"/>
              </a:lnSpc>
              <a:spcBef>
                <a:spcPts val="600"/>
              </a:spcBef>
              <a:buClrTx/>
              <a:buSzPct val="80000"/>
              <a:buFont typeface="Wingdings" panose="05000000000000000000" pitchFamily="2" charset="2"/>
              <a:buChar char="n"/>
              <a:defRPr sz="1200" b="0" kern="1200">
                <a:solidFill>
                  <a:schemeClr val="tx1"/>
                </a:solidFill>
                <a:latin typeface="+mn-lt"/>
                <a:ea typeface="+mn-ea"/>
                <a:cs typeface="+mn-cs"/>
              </a:defRPr>
            </a:lvl6pPr>
            <a:lvl7pPr marL="542925" indent="-276225" algn="l" defTabSz="914400" rtl="0" eaLnBrk="1" latinLnBrk="0" hangingPunct="1">
              <a:lnSpc>
                <a:spcPct val="100000"/>
              </a:lnSpc>
              <a:spcBef>
                <a:spcPts val="600"/>
              </a:spcBef>
              <a:buClrTx/>
              <a:buSzPct val="80000"/>
              <a:buFont typeface="Wingdings" panose="05000000000000000000" pitchFamily="2" charset="2"/>
              <a:buChar char="o"/>
              <a:defRPr sz="1200" b="0" kern="1200">
                <a:solidFill>
                  <a:schemeClr val="tx1"/>
                </a:solidFill>
                <a:latin typeface="+mn-lt"/>
                <a:ea typeface="+mn-ea"/>
                <a:cs typeface="+mn-cs"/>
              </a:defRPr>
            </a:lvl7pPr>
            <a:lvl8pPr marL="809625" indent="-266700" algn="l" defTabSz="914400" rtl="0" eaLnBrk="1" latinLnBrk="0" hangingPunct="1">
              <a:lnSpc>
                <a:spcPct val="100000"/>
              </a:lnSpc>
              <a:spcBef>
                <a:spcPts val="600"/>
              </a:spcBef>
              <a:buClrTx/>
              <a:buSzPct val="100000"/>
              <a:buFont typeface="Courier New" panose="02070309020205020404" pitchFamily="49" charset="0"/>
              <a:buChar char="o"/>
              <a:defRPr sz="1200" b="0" kern="1200">
                <a:solidFill>
                  <a:schemeClr val="tx1"/>
                </a:solidFill>
                <a:latin typeface="+mn-lt"/>
                <a:ea typeface="+mn-ea"/>
                <a:cs typeface="+mn-cs"/>
              </a:defRPr>
            </a:lvl8pPr>
            <a:lvl9pPr marL="803275" indent="-268288" algn="l" defTabSz="914400" rtl="0" eaLnBrk="1" latinLnBrk="0" hangingPunct="1">
              <a:lnSpc>
                <a:spcPct val="100000"/>
              </a:lnSpc>
              <a:spcBef>
                <a:spcPts val="600"/>
              </a:spcBef>
              <a:buClrTx/>
              <a:buSzPct val="100000"/>
              <a:buFont typeface="Courier New" panose="02070309020205020404" pitchFamily="49" charset="0"/>
              <a:buChar char="o"/>
              <a:defRPr sz="1200" b="0" kern="1200">
                <a:solidFill>
                  <a:schemeClr val="tx1"/>
                </a:solidFill>
                <a:latin typeface="+mn-lt"/>
                <a:ea typeface="+mn-ea"/>
                <a:cs typeface="+mn-cs"/>
              </a:defRPr>
            </a:lvl9pPr>
          </a:lstStyle>
          <a:p>
            <a:pPr marL="0" indent="0">
              <a:buNone/>
            </a:pPr>
            <a:r>
              <a:rPr lang="es-ES_tradnl" sz="2000" dirty="0">
                <a:latin typeface="Lato Light" panose="020F0502020204030203" pitchFamily="34" charset="0"/>
                <a:ea typeface="Lato Light" panose="020F0502020204030203" pitchFamily="34" charset="0"/>
                <a:cs typeface="Lato Light" panose="020F0502020204030203" pitchFamily="34" charset="0"/>
              </a:rPr>
              <a:t>Principales hallazgos</a:t>
            </a:r>
          </a:p>
        </p:txBody>
      </p:sp>
    </p:spTree>
    <p:extLst>
      <p:ext uri="{BB962C8B-B14F-4D97-AF65-F5344CB8AC3E}">
        <p14:creationId xmlns:p14="http://schemas.microsoft.com/office/powerpoint/2010/main" val="2112410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arcador de texto 9">
            <a:extLst>
              <a:ext uri="{FF2B5EF4-FFF2-40B4-BE49-F238E27FC236}">
                <a16:creationId xmlns:a16="http://schemas.microsoft.com/office/drawing/2014/main" id="{E18DA0F2-872E-E2E2-74D6-6215B714EA16}"/>
              </a:ext>
            </a:extLst>
          </p:cNvPr>
          <p:cNvSpPr>
            <a:spLocks noGrp="1"/>
          </p:cNvSpPr>
          <p:nvPr>
            <p:ph type="body" sz="quarter" idx="22"/>
          </p:nvPr>
        </p:nvSpPr>
        <p:spPr/>
        <p:txBody>
          <a:bodyPr/>
          <a:lstStyle/>
          <a:p>
            <a:r>
              <a:rPr lang="es-ES" dirty="0"/>
              <a:t>01</a:t>
            </a:r>
          </a:p>
        </p:txBody>
      </p:sp>
      <p:sp>
        <p:nvSpPr>
          <p:cNvPr id="6" name="Título 5">
            <a:extLst>
              <a:ext uri="{FF2B5EF4-FFF2-40B4-BE49-F238E27FC236}">
                <a16:creationId xmlns:a16="http://schemas.microsoft.com/office/drawing/2014/main" id="{92814E4D-377E-7C91-3B04-0082AEC1B65D}"/>
              </a:ext>
            </a:extLst>
          </p:cNvPr>
          <p:cNvSpPr>
            <a:spLocks noGrp="1"/>
          </p:cNvSpPr>
          <p:nvPr>
            <p:ph type="title"/>
          </p:nvPr>
        </p:nvSpPr>
        <p:spPr/>
        <p:txBody>
          <a:bodyPr/>
          <a:lstStyle/>
          <a:p>
            <a:r>
              <a:rPr lang="es-ES" dirty="0"/>
              <a:t>Gráficos Noviembre</a:t>
            </a:r>
            <a:br>
              <a:rPr lang="es-ES" dirty="0"/>
            </a:br>
            <a:endParaRPr lang="es-ES" dirty="0"/>
          </a:p>
        </p:txBody>
      </p:sp>
      <p:sp>
        <p:nvSpPr>
          <p:cNvPr id="7" name="Subtítulo 6">
            <a:extLst>
              <a:ext uri="{FF2B5EF4-FFF2-40B4-BE49-F238E27FC236}">
                <a16:creationId xmlns:a16="http://schemas.microsoft.com/office/drawing/2014/main" id="{C9932D9C-4F66-B1B5-1B40-B780C642B31C}"/>
              </a:ext>
            </a:extLst>
          </p:cNvPr>
          <p:cNvSpPr>
            <a:spLocks noGrp="1"/>
          </p:cNvSpPr>
          <p:nvPr>
            <p:ph type="subTitle" idx="1"/>
          </p:nvPr>
        </p:nvSpPr>
        <p:spPr/>
        <p:txBody>
          <a:bodyPr/>
          <a:lstStyle/>
          <a:p>
            <a:r>
              <a:rPr lang="es-ES" dirty="0">
                <a:latin typeface="+mn-lt"/>
              </a:rPr>
              <a:t>Expectativas económicas, ingresos y disposición a comprar</a:t>
            </a:r>
            <a:endParaRPr lang="es-ES" dirty="0"/>
          </a:p>
        </p:txBody>
      </p:sp>
      <p:sp>
        <p:nvSpPr>
          <p:cNvPr id="3" name="Marcador de texto 2">
            <a:extLst>
              <a:ext uri="{FF2B5EF4-FFF2-40B4-BE49-F238E27FC236}">
                <a16:creationId xmlns:a16="http://schemas.microsoft.com/office/drawing/2014/main" id="{178450AE-52A8-185E-92D4-23B45936AD7B}"/>
              </a:ext>
            </a:extLst>
          </p:cNvPr>
          <p:cNvSpPr>
            <a:spLocks noGrp="1"/>
          </p:cNvSpPr>
          <p:nvPr>
            <p:ph type="body" sz="quarter" idx="21"/>
          </p:nvPr>
        </p:nvSpPr>
        <p:spPr/>
        <p:txBody>
          <a:bodyPr/>
          <a:lstStyle/>
          <a:p>
            <a:endParaRPr lang="es-ES"/>
          </a:p>
        </p:txBody>
      </p:sp>
    </p:spTree>
    <p:extLst>
      <p:ext uri="{BB962C8B-B14F-4D97-AF65-F5344CB8AC3E}">
        <p14:creationId xmlns:p14="http://schemas.microsoft.com/office/powerpoint/2010/main" val="10189970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7" name="Objekt 216"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Folie" r:id="rId157" imgW="270" imgH="270" progId="TCLayout.ActiveDocument.1">
                  <p:embed/>
                </p:oleObj>
              </mc:Choice>
              <mc:Fallback>
                <p:oleObj name="think-cell Folie" r:id="rId157" imgW="270" imgH="270" progId="TCLayout.ActiveDocument.1">
                  <p:embed/>
                  <p:pic>
                    <p:nvPicPr>
                      <p:cNvPr id="217" name="Objekt 216" hidden="1"/>
                      <p:cNvPicPr/>
                      <p:nvPr/>
                    </p:nvPicPr>
                    <p:blipFill>
                      <a:blip r:embed="rId158"/>
                      <a:stretch>
                        <a:fillRect/>
                      </a:stretch>
                    </p:blipFill>
                    <p:spPr>
                      <a:xfrm>
                        <a:off x="2118" y="2118"/>
                        <a:ext cx="2116" cy="2116"/>
                      </a:xfrm>
                      <a:prstGeom prst="rect">
                        <a:avLst/>
                      </a:prstGeom>
                    </p:spPr>
                  </p:pic>
                </p:oleObj>
              </mc:Fallback>
            </mc:AlternateContent>
          </a:graphicData>
        </a:graphic>
      </p:graphicFrame>
      <p:sp>
        <p:nvSpPr>
          <p:cNvPr id="475" name="Rechteck 474"/>
          <p:cNvSpPr/>
          <p:nvPr>
            <p:custDataLst>
              <p:tags r:id="rId3"/>
            </p:custDataLst>
          </p:nvPr>
        </p:nvSpPr>
        <p:spPr bwMode="gray">
          <a:xfrm>
            <a:off x="1025323" y="3140968"/>
            <a:ext cx="2062684" cy="4800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0960" rIns="0" bIns="60960" numCol="1" spcCol="0" rtlCol="0" fromWordArt="0" anchor="ctr" anchorCtr="0" forceAA="0" compatLnSpc="1">
            <a:prstTxWarp prst="textNoShape">
              <a:avLst/>
            </a:prstTxWarp>
            <a:noAutofit/>
          </a:bodyPr>
          <a:lstStyle/>
          <a:p>
            <a:pPr>
              <a:spcBef>
                <a:spcPts val="400"/>
              </a:spcBef>
            </a:pPr>
            <a:r>
              <a:rPr lang="de-DE" sz="1400" b="1" dirty="0">
                <a:solidFill>
                  <a:schemeClr val="tx1"/>
                </a:solidFill>
                <a:cs typeface="Arial" pitchFamily="34" charset="0"/>
              </a:rPr>
              <a:t>Total UE: </a:t>
            </a:r>
            <a:r>
              <a:rPr lang="de-DE" sz="1400" b="1" dirty="0">
                <a:solidFill>
                  <a:srgbClr val="CBA6AB"/>
                </a:solidFill>
                <a:cs typeface="Arial" pitchFamily="34" charset="0"/>
              </a:rPr>
              <a:t>-12 </a:t>
            </a:r>
            <a:r>
              <a:rPr lang="de-DE" sz="1400" b="1" dirty="0">
                <a:solidFill>
                  <a:schemeClr val="tx1"/>
                </a:solidFill>
                <a:cs typeface="Arial" pitchFamily="34" charset="0"/>
              </a:rPr>
              <a:t>(+3      )  </a:t>
            </a:r>
          </a:p>
        </p:txBody>
      </p:sp>
      <p:grpSp>
        <p:nvGrpSpPr>
          <p:cNvPr id="5" name="Group 4"/>
          <p:cNvGrpSpPr/>
          <p:nvPr/>
        </p:nvGrpSpPr>
        <p:grpSpPr>
          <a:xfrm>
            <a:off x="2885872" y="629980"/>
            <a:ext cx="8258657" cy="5925538"/>
            <a:chOff x="2159732" y="484981"/>
            <a:chExt cx="6193993" cy="4444153"/>
          </a:xfrm>
        </p:grpSpPr>
        <p:grpSp>
          <p:nvGrpSpPr>
            <p:cNvPr id="906" name="Gruppieren 905"/>
            <p:cNvGrpSpPr/>
            <p:nvPr>
              <p:custDataLst>
                <p:tags r:id="rId83"/>
              </p:custDataLst>
            </p:nvPr>
          </p:nvGrpSpPr>
          <p:grpSpPr bwMode="gray">
            <a:xfrm>
              <a:off x="2475494" y="484981"/>
              <a:ext cx="5878231" cy="4392000"/>
              <a:chOff x="2475494" y="484981"/>
              <a:chExt cx="5878231" cy="4392000"/>
            </a:xfrm>
          </p:grpSpPr>
          <p:sp>
            <p:nvSpPr>
              <p:cNvPr id="757" name="Freeform 65"/>
              <p:cNvSpPr>
                <a:spLocks/>
              </p:cNvSpPr>
              <p:nvPr>
                <p:custDataLst>
                  <p:tags r:id="rId124"/>
                </p:custDataLst>
              </p:nvPr>
            </p:nvSpPr>
            <p:spPr bwMode="gray">
              <a:xfrm>
                <a:off x="5352957" y="4203300"/>
                <a:ext cx="219644" cy="183710"/>
              </a:xfrm>
              <a:custGeom>
                <a:avLst/>
                <a:gdLst>
                  <a:gd name="T0" fmla="*/ 36 w 47"/>
                  <a:gd name="T1" fmla="*/ 2 h 40"/>
                  <a:gd name="T2" fmla="*/ 34 w 47"/>
                  <a:gd name="T3" fmla="*/ 0 h 40"/>
                  <a:gd name="T4" fmla="*/ 30 w 47"/>
                  <a:gd name="T5" fmla="*/ 1 h 40"/>
                  <a:gd name="T6" fmla="*/ 28 w 47"/>
                  <a:gd name="T7" fmla="*/ 1 h 40"/>
                  <a:gd name="T8" fmla="*/ 23 w 47"/>
                  <a:gd name="T9" fmla="*/ 2 h 40"/>
                  <a:gd name="T10" fmla="*/ 20 w 47"/>
                  <a:gd name="T11" fmla="*/ 3 h 40"/>
                  <a:gd name="T12" fmla="*/ 16 w 47"/>
                  <a:gd name="T13" fmla="*/ 5 h 40"/>
                  <a:gd name="T14" fmla="*/ 14 w 47"/>
                  <a:gd name="T15" fmla="*/ 6 h 40"/>
                  <a:gd name="T16" fmla="*/ 11 w 47"/>
                  <a:gd name="T17" fmla="*/ 5 h 40"/>
                  <a:gd name="T18" fmla="*/ 7 w 47"/>
                  <a:gd name="T19" fmla="*/ 8 h 40"/>
                  <a:gd name="T20" fmla="*/ 5 w 47"/>
                  <a:gd name="T21" fmla="*/ 13 h 40"/>
                  <a:gd name="T22" fmla="*/ 2 w 47"/>
                  <a:gd name="T23" fmla="*/ 17 h 40"/>
                  <a:gd name="T24" fmla="*/ 3 w 47"/>
                  <a:gd name="T25" fmla="*/ 21 h 40"/>
                  <a:gd name="T26" fmla="*/ 1 w 47"/>
                  <a:gd name="T27" fmla="*/ 24 h 40"/>
                  <a:gd name="T28" fmla="*/ 3 w 47"/>
                  <a:gd name="T29" fmla="*/ 28 h 40"/>
                  <a:gd name="T30" fmla="*/ 4 w 47"/>
                  <a:gd name="T31" fmla="*/ 32 h 40"/>
                  <a:gd name="T32" fmla="*/ 6 w 47"/>
                  <a:gd name="T33" fmla="*/ 36 h 40"/>
                  <a:gd name="T34" fmla="*/ 8 w 47"/>
                  <a:gd name="T35" fmla="*/ 39 h 40"/>
                  <a:gd name="T36" fmla="*/ 14 w 47"/>
                  <a:gd name="T37" fmla="*/ 40 h 40"/>
                  <a:gd name="T38" fmla="*/ 22 w 47"/>
                  <a:gd name="T39" fmla="*/ 39 h 40"/>
                  <a:gd name="T40" fmla="*/ 27 w 47"/>
                  <a:gd name="T41" fmla="*/ 36 h 40"/>
                  <a:gd name="T42" fmla="*/ 33 w 47"/>
                  <a:gd name="T43" fmla="*/ 33 h 40"/>
                  <a:gd name="T44" fmla="*/ 38 w 47"/>
                  <a:gd name="T45" fmla="*/ 32 h 40"/>
                  <a:gd name="T46" fmla="*/ 44 w 47"/>
                  <a:gd name="T47" fmla="*/ 30 h 40"/>
                  <a:gd name="T48" fmla="*/ 47 w 47"/>
                  <a:gd name="T49" fmla="*/ 26 h 40"/>
                  <a:gd name="T50" fmla="*/ 47 w 47"/>
                  <a:gd name="T51" fmla="*/ 17 h 40"/>
                  <a:gd name="T52" fmla="*/ 46 w 47"/>
                  <a:gd name="T53" fmla="*/ 10 h 40"/>
                  <a:gd name="T54" fmla="*/ 41 w 47"/>
                  <a:gd name="T55" fmla="*/ 8 h 40"/>
                  <a:gd name="T56" fmla="*/ 36 w 47"/>
                  <a:gd name="T57"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7" h="40">
                    <a:moveTo>
                      <a:pt x="36" y="2"/>
                    </a:moveTo>
                    <a:cubicBezTo>
                      <a:pt x="36" y="2"/>
                      <a:pt x="36" y="0"/>
                      <a:pt x="34" y="0"/>
                    </a:cubicBezTo>
                    <a:cubicBezTo>
                      <a:pt x="33" y="0"/>
                      <a:pt x="32" y="0"/>
                      <a:pt x="30" y="1"/>
                    </a:cubicBezTo>
                    <a:cubicBezTo>
                      <a:pt x="29" y="2"/>
                      <a:pt x="29" y="1"/>
                      <a:pt x="28" y="1"/>
                    </a:cubicBezTo>
                    <a:cubicBezTo>
                      <a:pt x="27" y="0"/>
                      <a:pt x="24" y="1"/>
                      <a:pt x="23" y="2"/>
                    </a:cubicBezTo>
                    <a:cubicBezTo>
                      <a:pt x="22" y="3"/>
                      <a:pt x="21" y="3"/>
                      <a:pt x="20" y="3"/>
                    </a:cubicBezTo>
                    <a:cubicBezTo>
                      <a:pt x="19" y="2"/>
                      <a:pt x="17" y="3"/>
                      <a:pt x="16" y="5"/>
                    </a:cubicBezTo>
                    <a:cubicBezTo>
                      <a:pt x="15" y="6"/>
                      <a:pt x="14" y="8"/>
                      <a:pt x="14" y="6"/>
                    </a:cubicBezTo>
                    <a:cubicBezTo>
                      <a:pt x="13" y="5"/>
                      <a:pt x="12" y="4"/>
                      <a:pt x="11" y="5"/>
                    </a:cubicBezTo>
                    <a:cubicBezTo>
                      <a:pt x="10" y="6"/>
                      <a:pt x="8" y="8"/>
                      <a:pt x="7" y="8"/>
                    </a:cubicBezTo>
                    <a:cubicBezTo>
                      <a:pt x="6" y="8"/>
                      <a:pt x="6" y="11"/>
                      <a:pt x="5" y="13"/>
                    </a:cubicBezTo>
                    <a:cubicBezTo>
                      <a:pt x="4" y="15"/>
                      <a:pt x="2" y="16"/>
                      <a:pt x="2" y="17"/>
                    </a:cubicBezTo>
                    <a:cubicBezTo>
                      <a:pt x="1" y="19"/>
                      <a:pt x="3" y="20"/>
                      <a:pt x="3" y="21"/>
                    </a:cubicBezTo>
                    <a:cubicBezTo>
                      <a:pt x="2" y="22"/>
                      <a:pt x="0" y="23"/>
                      <a:pt x="1" y="24"/>
                    </a:cubicBezTo>
                    <a:cubicBezTo>
                      <a:pt x="2" y="25"/>
                      <a:pt x="4" y="26"/>
                      <a:pt x="3" y="28"/>
                    </a:cubicBezTo>
                    <a:cubicBezTo>
                      <a:pt x="2" y="29"/>
                      <a:pt x="3" y="31"/>
                      <a:pt x="4" y="32"/>
                    </a:cubicBezTo>
                    <a:cubicBezTo>
                      <a:pt x="5" y="33"/>
                      <a:pt x="6" y="35"/>
                      <a:pt x="6" y="36"/>
                    </a:cubicBezTo>
                    <a:cubicBezTo>
                      <a:pt x="6" y="38"/>
                      <a:pt x="6" y="40"/>
                      <a:pt x="8" y="39"/>
                    </a:cubicBezTo>
                    <a:cubicBezTo>
                      <a:pt x="9" y="39"/>
                      <a:pt x="13" y="40"/>
                      <a:pt x="14" y="40"/>
                    </a:cubicBezTo>
                    <a:cubicBezTo>
                      <a:pt x="15" y="40"/>
                      <a:pt x="20" y="39"/>
                      <a:pt x="22" y="39"/>
                    </a:cubicBezTo>
                    <a:cubicBezTo>
                      <a:pt x="24" y="39"/>
                      <a:pt x="26" y="38"/>
                      <a:pt x="27" y="36"/>
                    </a:cubicBezTo>
                    <a:cubicBezTo>
                      <a:pt x="29" y="34"/>
                      <a:pt x="31" y="33"/>
                      <a:pt x="33" y="33"/>
                    </a:cubicBezTo>
                    <a:cubicBezTo>
                      <a:pt x="34" y="33"/>
                      <a:pt x="36" y="33"/>
                      <a:pt x="38" y="32"/>
                    </a:cubicBezTo>
                    <a:cubicBezTo>
                      <a:pt x="40" y="32"/>
                      <a:pt x="44" y="32"/>
                      <a:pt x="44" y="30"/>
                    </a:cubicBezTo>
                    <a:cubicBezTo>
                      <a:pt x="45" y="28"/>
                      <a:pt x="47" y="26"/>
                      <a:pt x="47" y="26"/>
                    </a:cubicBezTo>
                    <a:cubicBezTo>
                      <a:pt x="47" y="26"/>
                      <a:pt x="47" y="19"/>
                      <a:pt x="47" y="17"/>
                    </a:cubicBezTo>
                    <a:cubicBezTo>
                      <a:pt x="47" y="14"/>
                      <a:pt x="46" y="12"/>
                      <a:pt x="46" y="10"/>
                    </a:cubicBezTo>
                    <a:cubicBezTo>
                      <a:pt x="45" y="7"/>
                      <a:pt x="43" y="9"/>
                      <a:pt x="41" y="8"/>
                    </a:cubicBezTo>
                    <a:cubicBezTo>
                      <a:pt x="39" y="6"/>
                      <a:pt x="36" y="2"/>
                      <a:pt x="36" y="2"/>
                    </a:cubicBez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58" name="Freeform 66"/>
              <p:cNvSpPr>
                <a:spLocks/>
              </p:cNvSpPr>
              <p:nvPr>
                <p:custDataLst>
                  <p:tags r:id="rId125"/>
                </p:custDataLst>
              </p:nvPr>
            </p:nvSpPr>
            <p:spPr bwMode="gray">
              <a:xfrm>
                <a:off x="5258104" y="4162702"/>
                <a:ext cx="163122" cy="357609"/>
              </a:xfrm>
              <a:custGeom>
                <a:avLst/>
                <a:gdLst>
                  <a:gd name="T0" fmla="*/ 1 w 34"/>
                  <a:gd name="T1" fmla="*/ 23 h 86"/>
                  <a:gd name="T2" fmla="*/ 2 w 34"/>
                  <a:gd name="T3" fmla="*/ 24 h 86"/>
                  <a:gd name="T4" fmla="*/ 5 w 34"/>
                  <a:gd name="T5" fmla="*/ 27 h 86"/>
                  <a:gd name="T6" fmla="*/ 4 w 34"/>
                  <a:gd name="T7" fmla="*/ 33 h 86"/>
                  <a:gd name="T8" fmla="*/ 3 w 34"/>
                  <a:gd name="T9" fmla="*/ 37 h 86"/>
                  <a:gd name="T10" fmla="*/ 4 w 34"/>
                  <a:gd name="T11" fmla="*/ 39 h 86"/>
                  <a:gd name="T12" fmla="*/ 3 w 34"/>
                  <a:gd name="T13" fmla="*/ 44 h 86"/>
                  <a:gd name="T14" fmla="*/ 5 w 34"/>
                  <a:gd name="T15" fmla="*/ 47 h 86"/>
                  <a:gd name="T16" fmla="*/ 3 w 34"/>
                  <a:gd name="T17" fmla="*/ 49 h 86"/>
                  <a:gd name="T18" fmla="*/ 1 w 34"/>
                  <a:gd name="T19" fmla="*/ 54 h 86"/>
                  <a:gd name="T20" fmla="*/ 1 w 34"/>
                  <a:gd name="T21" fmla="*/ 57 h 86"/>
                  <a:gd name="T22" fmla="*/ 4 w 34"/>
                  <a:gd name="T23" fmla="*/ 61 h 86"/>
                  <a:gd name="T24" fmla="*/ 4 w 34"/>
                  <a:gd name="T25" fmla="*/ 63 h 86"/>
                  <a:gd name="T26" fmla="*/ 2 w 34"/>
                  <a:gd name="T27" fmla="*/ 63 h 86"/>
                  <a:gd name="T28" fmla="*/ 3 w 34"/>
                  <a:gd name="T29" fmla="*/ 67 h 86"/>
                  <a:gd name="T30" fmla="*/ 7 w 34"/>
                  <a:gd name="T31" fmla="*/ 70 h 86"/>
                  <a:gd name="T32" fmla="*/ 11 w 34"/>
                  <a:gd name="T33" fmla="*/ 72 h 86"/>
                  <a:gd name="T34" fmla="*/ 15 w 34"/>
                  <a:gd name="T35" fmla="*/ 79 h 86"/>
                  <a:gd name="T36" fmla="*/ 16 w 34"/>
                  <a:gd name="T37" fmla="*/ 84 h 86"/>
                  <a:gd name="T38" fmla="*/ 20 w 34"/>
                  <a:gd name="T39" fmla="*/ 83 h 86"/>
                  <a:gd name="T40" fmla="*/ 21 w 34"/>
                  <a:gd name="T41" fmla="*/ 77 h 86"/>
                  <a:gd name="T42" fmla="*/ 23 w 34"/>
                  <a:gd name="T43" fmla="*/ 72 h 86"/>
                  <a:gd name="T44" fmla="*/ 27 w 34"/>
                  <a:gd name="T45" fmla="*/ 71 h 86"/>
                  <a:gd name="T46" fmla="*/ 29 w 34"/>
                  <a:gd name="T47" fmla="*/ 64 h 86"/>
                  <a:gd name="T48" fmla="*/ 33 w 34"/>
                  <a:gd name="T49" fmla="*/ 59 h 86"/>
                  <a:gd name="T50" fmla="*/ 33 w 34"/>
                  <a:gd name="T51" fmla="*/ 52 h 86"/>
                  <a:gd name="T52" fmla="*/ 32 w 34"/>
                  <a:gd name="T53" fmla="*/ 50 h 86"/>
                  <a:gd name="T54" fmla="*/ 32 w 34"/>
                  <a:gd name="T55" fmla="*/ 50 h 86"/>
                  <a:gd name="T56" fmla="*/ 32 w 34"/>
                  <a:gd name="T57" fmla="*/ 50 h 86"/>
                  <a:gd name="T58" fmla="*/ 29 w 34"/>
                  <a:gd name="T59" fmla="*/ 49 h 86"/>
                  <a:gd name="T60" fmla="*/ 27 w 34"/>
                  <a:gd name="T61" fmla="*/ 46 h 86"/>
                  <a:gd name="T62" fmla="*/ 25 w 34"/>
                  <a:gd name="T63" fmla="*/ 42 h 86"/>
                  <a:gd name="T64" fmla="*/ 24 w 34"/>
                  <a:gd name="T65" fmla="*/ 38 h 86"/>
                  <a:gd name="T66" fmla="*/ 22 w 34"/>
                  <a:gd name="T67" fmla="*/ 34 h 86"/>
                  <a:gd name="T68" fmla="*/ 24 w 34"/>
                  <a:gd name="T69" fmla="*/ 31 h 86"/>
                  <a:gd name="T70" fmla="*/ 23 w 34"/>
                  <a:gd name="T71" fmla="*/ 27 h 86"/>
                  <a:gd name="T72" fmla="*/ 24 w 34"/>
                  <a:gd name="T73" fmla="*/ 25 h 86"/>
                  <a:gd name="T74" fmla="*/ 23 w 34"/>
                  <a:gd name="T75" fmla="*/ 16 h 86"/>
                  <a:gd name="T76" fmla="*/ 19 w 34"/>
                  <a:gd name="T77" fmla="*/ 12 h 86"/>
                  <a:gd name="T78" fmla="*/ 17 w 34"/>
                  <a:gd name="T79" fmla="*/ 9 h 86"/>
                  <a:gd name="T80" fmla="*/ 15 w 34"/>
                  <a:gd name="T81" fmla="*/ 5 h 86"/>
                  <a:gd name="T82" fmla="*/ 14 w 34"/>
                  <a:gd name="T83" fmla="*/ 2 h 86"/>
                  <a:gd name="T84" fmla="*/ 12 w 34"/>
                  <a:gd name="T85" fmla="*/ 6 h 86"/>
                  <a:gd name="T86" fmla="*/ 8 w 34"/>
                  <a:gd name="T87" fmla="*/ 4 h 86"/>
                  <a:gd name="T88" fmla="*/ 5 w 34"/>
                  <a:gd name="T89" fmla="*/ 3 h 86"/>
                  <a:gd name="T90" fmla="*/ 2 w 34"/>
                  <a:gd name="T91" fmla="*/ 10 h 86"/>
                  <a:gd name="T92" fmla="*/ 1 w 34"/>
                  <a:gd name="T93" fmla="*/ 19 h 86"/>
                  <a:gd name="T94" fmla="*/ 1 w 34"/>
                  <a:gd name="T95" fmla="*/ 23 h 86"/>
                  <a:gd name="connsiteX0" fmla="*/ 131 w 9673"/>
                  <a:gd name="connsiteY0" fmla="*/ 2506 h 9486"/>
                  <a:gd name="connsiteX1" fmla="*/ 425 w 9673"/>
                  <a:gd name="connsiteY1" fmla="*/ 2623 h 9486"/>
                  <a:gd name="connsiteX2" fmla="*/ 1308 w 9673"/>
                  <a:gd name="connsiteY2" fmla="*/ 2972 h 9486"/>
                  <a:gd name="connsiteX3" fmla="*/ 1013 w 9673"/>
                  <a:gd name="connsiteY3" fmla="*/ 3669 h 9486"/>
                  <a:gd name="connsiteX4" fmla="*/ 719 w 9673"/>
                  <a:gd name="connsiteY4" fmla="*/ 4134 h 9486"/>
                  <a:gd name="connsiteX5" fmla="*/ 1013 w 9673"/>
                  <a:gd name="connsiteY5" fmla="*/ 4367 h 9486"/>
                  <a:gd name="connsiteX6" fmla="*/ 719 w 9673"/>
                  <a:gd name="connsiteY6" fmla="*/ 4948 h 9486"/>
                  <a:gd name="connsiteX7" fmla="*/ 1308 w 9673"/>
                  <a:gd name="connsiteY7" fmla="*/ 5297 h 9486"/>
                  <a:gd name="connsiteX8" fmla="*/ 719 w 9673"/>
                  <a:gd name="connsiteY8" fmla="*/ 5530 h 9486"/>
                  <a:gd name="connsiteX9" fmla="*/ 131 w 9673"/>
                  <a:gd name="connsiteY9" fmla="*/ 6111 h 9486"/>
                  <a:gd name="connsiteX10" fmla="*/ 131 w 9673"/>
                  <a:gd name="connsiteY10" fmla="*/ 6460 h 9486"/>
                  <a:gd name="connsiteX11" fmla="*/ 1013 w 9673"/>
                  <a:gd name="connsiteY11" fmla="*/ 6925 h 9486"/>
                  <a:gd name="connsiteX12" fmla="*/ 1013 w 9673"/>
                  <a:gd name="connsiteY12" fmla="*/ 7158 h 9486"/>
                  <a:gd name="connsiteX13" fmla="*/ 425 w 9673"/>
                  <a:gd name="connsiteY13" fmla="*/ 7158 h 9486"/>
                  <a:gd name="connsiteX14" fmla="*/ 719 w 9673"/>
                  <a:gd name="connsiteY14" fmla="*/ 7623 h 9486"/>
                  <a:gd name="connsiteX15" fmla="*/ 1896 w 9673"/>
                  <a:gd name="connsiteY15" fmla="*/ 7972 h 9486"/>
                  <a:gd name="connsiteX16" fmla="*/ 3072 w 9673"/>
                  <a:gd name="connsiteY16" fmla="*/ 8204 h 9486"/>
                  <a:gd name="connsiteX17" fmla="*/ 4249 w 9673"/>
                  <a:gd name="connsiteY17" fmla="*/ 9018 h 9486"/>
                  <a:gd name="connsiteX18" fmla="*/ 5719 w 9673"/>
                  <a:gd name="connsiteY18" fmla="*/ 9483 h 9486"/>
                  <a:gd name="connsiteX19" fmla="*/ 6013 w 9673"/>
                  <a:gd name="connsiteY19" fmla="*/ 8785 h 9486"/>
                  <a:gd name="connsiteX20" fmla="*/ 6602 w 9673"/>
                  <a:gd name="connsiteY20" fmla="*/ 8204 h 9486"/>
                  <a:gd name="connsiteX21" fmla="*/ 7778 w 9673"/>
                  <a:gd name="connsiteY21" fmla="*/ 8088 h 9486"/>
                  <a:gd name="connsiteX22" fmla="*/ 8366 w 9673"/>
                  <a:gd name="connsiteY22" fmla="*/ 7274 h 9486"/>
                  <a:gd name="connsiteX23" fmla="*/ 9543 w 9673"/>
                  <a:gd name="connsiteY23" fmla="*/ 6692 h 9486"/>
                  <a:gd name="connsiteX24" fmla="*/ 9543 w 9673"/>
                  <a:gd name="connsiteY24" fmla="*/ 5879 h 9486"/>
                  <a:gd name="connsiteX25" fmla="*/ 9249 w 9673"/>
                  <a:gd name="connsiteY25" fmla="*/ 5646 h 9486"/>
                  <a:gd name="connsiteX26" fmla="*/ 9249 w 9673"/>
                  <a:gd name="connsiteY26" fmla="*/ 5646 h 9486"/>
                  <a:gd name="connsiteX27" fmla="*/ 9249 w 9673"/>
                  <a:gd name="connsiteY27" fmla="*/ 5646 h 9486"/>
                  <a:gd name="connsiteX28" fmla="*/ 8366 w 9673"/>
                  <a:gd name="connsiteY28" fmla="*/ 5530 h 9486"/>
                  <a:gd name="connsiteX29" fmla="*/ 7778 w 9673"/>
                  <a:gd name="connsiteY29" fmla="*/ 5181 h 9486"/>
                  <a:gd name="connsiteX30" fmla="*/ 7190 w 9673"/>
                  <a:gd name="connsiteY30" fmla="*/ 4716 h 9486"/>
                  <a:gd name="connsiteX31" fmla="*/ 6896 w 9673"/>
                  <a:gd name="connsiteY31" fmla="*/ 4251 h 9486"/>
                  <a:gd name="connsiteX32" fmla="*/ 6308 w 9673"/>
                  <a:gd name="connsiteY32" fmla="*/ 3785 h 9486"/>
                  <a:gd name="connsiteX33" fmla="*/ 6896 w 9673"/>
                  <a:gd name="connsiteY33" fmla="*/ 3437 h 9486"/>
                  <a:gd name="connsiteX34" fmla="*/ 6602 w 9673"/>
                  <a:gd name="connsiteY34" fmla="*/ 2972 h 9486"/>
                  <a:gd name="connsiteX35" fmla="*/ 6896 w 9673"/>
                  <a:gd name="connsiteY35" fmla="*/ 2739 h 9486"/>
                  <a:gd name="connsiteX36" fmla="*/ 6602 w 9673"/>
                  <a:gd name="connsiteY36" fmla="*/ 1692 h 9486"/>
                  <a:gd name="connsiteX37" fmla="*/ 5425 w 9673"/>
                  <a:gd name="connsiteY37" fmla="*/ 1227 h 9486"/>
                  <a:gd name="connsiteX38" fmla="*/ 4837 w 9673"/>
                  <a:gd name="connsiteY38" fmla="*/ 879 h 9486"/>
                  <a:gd name="connsiteX39" fmla="*/ 4249 w 9673"/>
                  <a:gd name="connsiteY39" fmla="*/ 413 h 9486"/>
                  <a:gd name="connsiteX40" fmla="*/ 3955 w 9673"/>
                  <a:gd name="connsiteY40" fmla="*/ 65 h 9486"/>
                  <a:gd name="connsiteX41" fmla="*/ 3366 w 9673"/>
                  <a:gd name="connsiteY41" fmla="*/ 530 h 9486"/>
                  <a:gd name="connsiteX42" fmla="*/ 2190 w 9673"/>
                  <a:gd name="connsiteY42" fmla="*/ 297 h 9486"/>
                  <a:gd name="connsiteX43" fmla="*/ 1308 w 9673"/>
                  <a:gd name="connsiteY43" fmla="*/ 181 h 9486"/>
                  <a:gd name="connsiteX44" fmla="*/ 425 w 9673"/>
                  <a:gd name="connsiteY44" fmla="*/ 995 h 9486"/>
                  <a:gd name="connsiteX45" fmla="*/ 131 w 9673"/>
                  <a:gd name="connsiteY45" fmla="*/ 2041 h 9486"/>
                  <a:gd name="connsiteX46" fmla="*/ 131 w 9673"/>
                  <a:gd name="connsiteY46" fmla="*/ 2506 h 9486"/>
                  <a:gd name="connsiteX0" fmla="*/ 135 w 10001"/>
                  <a:gd name="connsiteY0" fmla="*/ 2642 h 9534"/>
                  <a:gd name="connsiteX1" fmla="*/ 439 w 10001"/>
                  <a:gd name="connsiteY1" fmla="*/ 2765 h 9534"/>
                  <a:gd name="connsiteX2" fmla="*/ 1352 w 10001"/>
                  <a:gd name="connsiteY2" fmla="*/ 3133 h 9534"/>
                  <a:gd name="connsiteX3" fmla="*/ 1047 w 10001"/>
                  <a:gd name="connsiteY3" fmla="*/ 3868 h 9534"/>
                  <a:gd name="connsiteX4" fmla="*/ 743 w 10001"/>
                  <a:gd name="connsiteY4" fmla="*/ 4358 h 9534"/>
                  <a:gd name="connsiteX5" fmla="*/ 1047 w 10001"/>
                  <a:gd name="connsiteY5" fmla="*/ 4604 h 9534"/>
                  <a:gd name="connsiteX6" fmla="*/ 743 w 10001"/>
                  <a:gd name="connsiteY6" fmla="*/ 5216 h 9534"/>
                  <a:gd name="connsiteX7" fmla="*/ 1352 w 10001"/>
                  <a:gd name="connsiteY7" fmla="*/ 5584 h 9534"/>
                  <a:gd name="connsiteX8" fmla="*/ 743 w 10001"/>
                  <a:gd name="connsiteY8" fmla="*/ 5830 h 9534"/>
                  <a:gd name="connsiteX9" fmla="*/ 135 w 10001"/>
                  <a:gd name="connsiteY9" fmla="*/ 6442 h 9534"/>
                  <a:gd name="connsiteX10" fmla="*/ 135 w 10001"/>
                  <a:gd name="connsiteY10" fmla="*/ 6810 h 9534"/>
                  <a:gd name="connsiteX11" fmla="*/ 1047 w 10001"/>
                  <a:gd name="connsiteY11" fmla="*/ 7300 h 9534"/>
                  <a:gd name="connsiteX12" fmla="*/ 1047 w 10001"/>
                  <a:gd name="connsiteY12" fmla="*/ 7546 h 9534"/>
                  <a:gd name="connsiteX13" fmla="*/ 439 w 10001"/>
                  <a:gd name="connsiteY13" fmla="*/ 7546 h 9534"/>
                  <a:gd name="connsiteX14" fmla="*/ 743 w 10001"/>
                  <a:gd name="connsiteY14" fmla="*/ 8036 h 9534"/>
                  <a:gd name="connsiteX15" fmla="*/ 1960 w 10001"/>
                  <a:gd name="connsiteY15" fmla="*/ 8404 h 9534"/>
                  <a:gd name="connsiteX16" fmla="*/ 3176 w 10001"/>
                  <a:gd name="connsiteY16" fmla="*/ 8649 h 9534"/>
                  <a:gd name="connsiteX17" fmla="*/ 4393 w 10001"/>
                  <a:gd name="connsiteY17" fmla="*/ 9507 h 9534"/>
                  <a:gd name="connsiteX18" fmla="*/ 6216 w 10001"/>
                  <a:gd name="connsiteY18" fmla="*/ 9261 h 9534"/>
                  <a:gd name="connsiteX19" fmla="*/ 6825 w 10001"/>
                  <a:gd name="connsiteY19" fmla="*/ 8649 h 9534"/>
                  <a:gd name="connsiteX20" fmla="*/ 8041 w 10001"/>
                  <a:gd name="connsiteY20" fmla="*/ 8526 h 9534"/>
                  <a:gd name="connsiteX21" fmla="*/ 8649 w 10001"/>
                  <a:gd name="connsiteY21" fmla="*/ 7668 h 9534"/>
                  <a:gd name="connsiteX22" fmla="*/ 9866 w 10001"/>
                  <a:gd name="connsiteY22" fmla="*/ 7055 h 9534"/>
                  <a:gd name="connsiteX23" fmla="*/ 9866 w 10001"/>
                  <a:gd name="connsiteY23" fmla="*/ 6198 h 9534"/>
                  <a:gd name="connsiteX24" fmla="*/ 9562 w 10001"/>
                  <a:gd name="connsiteY24" fmla="*/ 5952 h 9534"/>
                  <a:gd name="connsiteX25" fmla="*/ 9562 w 10001"/>
                  <a:gd name="connsiteY25" fmla="*/ 5952 h 9534"/>
                  <a:gd name="connsiteX26" fmla="*/ 9562 w 10001"/>
                  <a:gd name="connsiteY26" fmla="*/ 5952 h 9534"/>
                  <a:gd name="connsiteX27" fmla="*/ 8649 w 10001"/>
                  <a:gd name="connsiteY27" fmla="*/ 5830 h 9534"/>
                  <a:gd name="connsiteX28" fmla="*/ 8041 w 10001"/>
                  <a:gd name="connsiteY28" fmla="*/ 5462 h 9534"/>
                  <a:gd name="connsiteX29" fmla="*/ 7433 w 10001"/>
                  <a:gd name="connsiteY29" fmla="*/ 4972 h 9534"/>
                  <a:gd name="connsiteX30" fmla="*/ 7129 w 10001"/>
                  <a:gd name="connsiteY30" fmla="*/ 4481 h 9534"/>
                  <a:gd name="connsiteX31" fmla="*/ 6521 w 10001"/>
                  <a:gd name="connsiteY31" fmla="*/ 3990 h 9534"/>
                  <a:gd name="connsiteX32" fmla="*/ 7129 w 10001"/>
                  <a:gd name="connsiteY32" fmla="*/ 3623 h 9534"/>
                  <a:gd name="connsiteX33" fmla="*/ 6825 w 10001"/>
                  <a:gd name="connsiteY33" fmla="*/ 3133 h 9534"/>
                  <a:gd name="connsiteX34" fmla="*/ 7129 w 10001"/>
                  <a:gd name="connsiteY34" fmla="*/ 2887 h 9534"/>
                  <a:gd name="connsiteX35" fmla="*/ 6825 w 10001"/>
                  <a:gd name="connsiteY35" fmla="*/ 1784 h 9534"/>
                  <a:gd name="connsiteX36" fmla="*/ 5608 w 10001"/>
                  <a:gd name="connsiteY36" fmla="*/ 1293 h 9534"/>
                  <a:gd name="connsiteX37" fmla="*/ 5001 w 10001"/>
                  <a:gd name="connsiteY37" fmla="*/ 927 h 9534"/>
                  <a:gd name="connsiteX38" fmla="*/ 4393 w 10001"/>
                  <a:gd name="connsiteY38" fmla="*/ 435 h 9534"/>
                  <a:gd name="connsiteX39" fmla="*/ 4089 w 10001"/>
                  <a:gd name="connsiteY39" fmla="*/ 69 h 9534"/>
                  <a:gd name="connsiteX40" fmla="*/ 3480 w 10001"/>
                  <a:gd name="connsiteY40" fmla="*/ 559 h 9534"/>
                  <a:gd name="connsiteX41" fmla="*/ 2264 w 10001"/>
                  <a:gd name="connsiteY41" fmla="*/ 313 h 9534"/>
                  <a:gd name="connsiteX42" fmla="*/ 1352 w 10001"/>
                  <a:gd name="connsiteY42" fmla="*/ 191 h 9534"/>
                  <a:gd name="connsiteX43" fmla="*/ 439 w 10001"/>
                  <a:gd name="connsiteY43" fmla="*/ 1049 h 9534"/>
                  <a:gd name="connsiteX44" fmla="*/ 135 w 10001"/>
                  <a:gd name="connsiteY44" fmla="*/ 2152 h 9534"/>
                  <a:gd name="connsiteX45" fmla="*/ 135 w 10001"/>
                  <a:gd name="connsiteY45" fmla="*/ 2642 h 9534"/>
                  <a:gd name="connsiteX0" fmla="*/ 135 w 10696"/>
                  <a:gd name="connsiteY0" fmla="*/ 2771 h 10000"/>
                  <a:gd name="connsiteX1" fmla="*/ 439 w 10696"/>
                  <a:gd name="connsiteY1" fmla="*/ 2900 h 10000"/>
                  <a:gd name="connsiteX2" fmla="*/ 1352 w 10696"/>
                  <a:gd name="connsiteY2" fmla="*/ 3286 h 10000"/>
                  <a:gd name="connsiteX3" fmla="*/ 1047 w 10696"/>
                  <a:gd name="connsiteY3" fmla="*/ 4057 h 10000"/>
                  <a:gd name="connsiteX4" fmla="*/ 743 w 10696"/>
                  <a:gd name="connsiteY4" fmla="*/ 4571 h 10000"/>
                  <a:gd name="connsiteX5" fmla="*/ 1047 w 10696"/>
                  <a:gd name="connsiteY5" fmla="*/ 4829 h 10000"/>
                  <a:gd name="connsiteX6" fmla="*/ 743 w 10696"/>
                  <a:gd name="connsiteY6" fmla="*/ 5471 h 10000"/>
                  <a:gd name="connsiteX7" fmla="*/ 1352 w 10696"/>
                  <a:gd name="connsiteY7" fmla="*/ 5857 h 10000"/>
                  <a:gd name="connsiteX8" fmla="*/ 743 w 10696"/>
                  <a:gd name="connsiteY8" fmla="*/ 6115 h 10000"/>
                  <a:gd name="connsiteX9" fmla="*/ 135 w 10696"/>
                  <a:gd name="connsiteY9" fmla="*/ 6757 h 10000"/>
                  <a:gd name="connsiteX10" fmla="*/ 135 w 10696"/>
                  <a:gd name="connsiteY10" fmla="*/ 7143 h 10000"/>
                  <a:gd name="connsiteX11" fmla="*/ 1047 w 10696"/>
                  <a:gd name="connsiteY11" fmla="*/ 7657 h 10000"/>
                  <a:gd name="connsiteX12" fmla="*/ 1047 w 10696"/>
                  <a:gd name="connsiteY12" fmla="*/ 7915 h 10000"/>
                  <a:gd name="connsiteX13" fmla="*/ 439 w 10696"/>
                  <a:gd name="connsiteY13" fmla="*/ 7915 h 10000"/>
                  <a:gd name="connsiteX14" fmla="*/ 743 w 10696"/>
                  <a:gd name="connsiteY14" fmla="*/ 8429 h 10000"/>
                  <a:gd name="connsiteX15" fmla="*/ 1960 w 10696"/>
                  <a:gd name="connsiteY15" fmla="*/ 8815 h 10000"/>
                  <a:gd name="connsiteX16" fmla="*/ 3176 w 10696"/>
                  <a:gd name="connsiteY16" fmla="*/ 9072 h 10000"/>
                  <a:gd name="connsiteX17" fmla="*/ 4393 w 10696"/>
                  <a:gd name="connsiteY17" fmla="*/ 9972 h 10000"/>
                  <a:gd name="connsiteX18" fmla="*/ 6215 w 10696"/>
                  <a:gd name="connsiteY18" fmla="*/ 9714 h 10000"/>
                  <a:gd name="connsiteX19" fmla="*/ 6824 w 10696"/>
                  <a:gd name="connsiteY19" fmla="*/ 9072 h 10000"/>
                  <a:gd name="connsiteX20" fmla="*/ 8040 w 10696"/>
                  <a:gd name="connsiteY20" fmla="*/ 8943 h 10000"/>
                  <a:gd name="connsiteX21" fmla="*/ 8648 w 10696"/>
                  <a:gd name="connsiteY21" fmla="*/ 8043 h 10000"/>
                  <a:gd name="connsiteX22" fmla="*/ 9865 w 10696"/>
                  <a:gd name="connsiteY22" fmla="*/ 7400 h 10000"/>
                  <a:gd name="connsiteX23" fmla="*/ 9865 w 10696"/>
                  <a:gd name="connsiteY23" fmla="*/ 6501 h 10000"/>
                  <a:gd name="connsiteX24" fmla="*/ 9561 w 10696"/>
                  <a:gd name="connsiteY24" fmla="*/ 6243 h 10000"/>
                  <a:gd name="connsiteX25" fmla="*/ 9561 w 10696"/>
                  <a:gd name="connsiteY25" fmla="*/ 6243 h 10000"/>
                  <a:gd name="connsiteX26" fmla="*/ 9561 w 10696"/>
                  <a:gd name="connsiteY26" fmla="*/ 6243 h 10000"/>
                  <a:gd name="connsiteX27" fmla="*/ 10647 w 10696"/>
                  <a:gd name="connsiteY27" fmla="*/ 5871 h 10000"/>
                  <a:gd name="connsiteX28" fmla="*/ 8040 w 10696"/>
                  <a:gd name="connsiteY28" fmla="*/ 5729 h 10000"/>
                  <a:gd name="connsiteX29" fmla="*/ 7432 w 10696"/>
                  <a:gd name="connsiteY29" fmla="*/ 5215 h 10000"/>
                  <a:gd name="connsiteX30" fmla="*/ 7128 w 10696"/>
                  <a:gd name="connsiteY30" fmla="*/ 4700 h 10000"/>
                  <a:gd name="connsiteX31" fmla="*/ 6520 w 10696"/>
                  <a:gd name="connsiteY31" fmla="*/ 4185 h 10000"/>
                  <a:gd name="connsiteX32" fmla="*/ 7128 w 10696"/>
                  <a:gd name="connsiteY32" fmla="*/ 3800 h 10000"/>
                  <a:gd name="connsiteX33" fmla="*/ 6824 w 10696"/>
                  <a:gd name="connsiteY33" fmla="*/ 3286 h 10000"/>
                  <a:gd name="connsiteX34" fmla="*/ 7128 w 10696"/>
                  <a:gd name="connsiteY34" fmla="*/ 3028 h 10000"/>
                  <a:gd name="connsiteX35" fmla="*/ 6824 w 10696"/>
                  <a:gd name="connsiteY35" fmla="*/ 1871 h 10000"/>
                  <a:gd name="connsiteX36" fmla="*/ 5607 w 10696"/>
                  <a:gd name="connsiteY36" fmla="*/ 1356 h 10000"/>
                  <a:gd name="connsiteX37" fmla="*/ 5000 w 10696"/>
                  <a:gd name="connsiteY37" fmla="*/ 972 h 10000"/>
                  <a:gd name="connsiteX38" fmla="*/ 4393 w 10696"/>
                  <a:gd name="connsiteY38" fmla="*/ 456 h 10000"/>
                  <a:gd name="connsiteX39" fmla="*/ 4089 w 10696"/>
                  <a:gd name="connsiteY39" fmla="*/ 72 h 10000"/>
                  <a:gd name="connsiteX40" fmla="*/ 3480 w 10696"/>
                  <a:gd name="connsiteY40" fmla="*/ 586 h 10000"/>
                  <a:gd name="connsiteX41" fmla="*/ 2264 w 10696"/>
                  <a:gd name="connsiteY41" fmla="*/ 328 h 10000"/>
                  <a:gd name="connsiteX42" fmla="*/ 1352 w 10696"/>
                  <a:gd name="connsiteY42" fmla="*/ 200 h 10000"/>
                  <a:gd name="connsiteX43" fmla="*/ 439 w 10696"/>
                  <a:gd name="connsiteY43" fmla="*/ 1100 h 10000"/>
                  <a:gd name="connsiteX44" fmla="*/ 135 w 10696"/>
                  <a:gd name="connsiteY44" fmla="*/ 2257 h 10000"/>
                  <a:gd name="connsiteX45" fmla="*/ 135 w 10696"/>
                  <a:gd name="connsiteY45" fmla="*/ 2771 h 10000"/>
                  <a:gd name="connsiteX0" fmla="*/ 135 w 10696"/>
                  <a:gd name="connsiteY0" fmla="*/ 2771 h 10000"/>
                  <a:gd name="connsiteX1" fmla="*/ 439 w 10696"/>
                  <a:gd name="connsiteY1" fmla="*/ 2900 h 10000"/>
                  <a:gd name="connsiteX2" fmla="*/ 1352 w 10696"/>
                  <a:gd name="connsiteY2" fmla="*/ 3286 h 10000"/>
                  <a:gd name="connsiteX3" fmla="*/ 1047 w 10696"/>
                  <a:gd name="connsiteY3" fmla="*/ 4057 h 10000"/>
                  <a:gd name="connsiteX4" fmla="*/ 743 w 10696"/>
                  <a:gd name="connsiteY4" fmla="*/ 4571 h 10000"/>
                  <a:gd name="connsiteX5" fmla="*/ 1047 w 10696"/>
                  <a:gd name="connsiteY5" fmla="*/ 4829 h 10000"/>
                  <a:gd name="connsiteX6" fmla="*/ 743 w 10696"/>
                  <a:gd name="connsiteY6" fmla="*/ 5471 h 10000"/>
                  <a:gd name="connsiteX7" fmla="*/ 1352 w 10696"/>
                  <a:gd name="connsiteY7" fmla="*/ 5857 h 10000"/>
                  <a:gd name="connsiteX8" fmla="*/ 743 w 10696"/>
                  <a:gd name="connsiteY8" fmla="*/ 6115 h 10000"/>
                  <a:gd name="connsiteX9" fmla="*/ 135 w 10696"/>
                  <a:gd name="connsiteY9" fmla="*/ 6757 h 10000"/>
                  <a:gd name="connsiteX10" fmla="*/ 135 w 10696"/>
                  <a:gd name="connsiteY10" fmla="*/ 7143 h 10000"/>
                  <a:gd name="connsiteX11" fmla="*/ 1047 w 10696"/>
                  <a:gd name="connsiteY11" fmla="*/ 7657 h 10000"/>
                  <a:gd name="connsiteX12" fmla="*/ 1047 w 10696"/>
                  <a:gd name="connsiteY12" fmla="*/ 7915 h 10000"/>
                  <a:gd name="connsiteX13" fmla="*/ 439 w 10696"/>
                  <a:gd name="connsiteY13" fmla="*/ 7915 h 10000"/>
                  <a:gd name="connsiteX14" fmla="*/ 743 w 10696"/>
                  <a:gd name="connsiteY14" fmla="*/ 8429 h 10000"/>
                  <a:gd name="connsiteX15" fmla="*/ 1960 w 10696"/>
                  <a:gd name="connsiteY15" fmla="*/ 8815 h 10000"/>
                  <a:gd name="connsiteX16" fmla="*/ 3176 w 10696"/>
                  <a:gd name="connsiteY16" fmla="*/ 9072 h 10000"/>
                  <a:gd name="connsiteX17" fmla="*/ 4393 w 10696"/>
                  <a:gd name="connsiteY17" fmla="*/ 9972 h 10000"/>
                  <a:gd name="connsiteX18" fmla="*/ 6215 w 10696"/>
                  <a:gd name="connsiteY18" fmla="*/ 9714 h 10000"/>
                  <a:gd name="connsiteX19" fmla="*/ 6824 w 10696"/>
                  <a:gd name="connsiteY19" fmla="*/ 9072 h 10000"/>
                  <a:gd name="connsiteX20" fmla="*/ 8040 w 10696"/>
                  <a:gd name="connsiteY20" fmla="*/ 8943 h 10000"/>
                  <a:gd name="connsiteX21" fmla="*/ 8648 w 10696"/>
                  <a:gd name="connsiteY21" fmla="*/ 8043 h 10000"/>
                  <a:gd name="connsiteX22" fmla="*/ 9865 w 10696"/>
                  <a:gd name="connsiteY22" fmla="*/ 7400 h 10000"/>
                  <a:gd name="connsiteX23" fmla="*/ 9865 w 10696"/>
                  <a:gd name="connsiteY23" fmla="*/ 6501 h 10000"/>
                  <a:gd name="connsiteX24" fmla="*/ 9561 w 10696"/>
                  <a:gd name="connsiteY24" fmla="*/ 6243 h 10000"/>
                  <a:gd name="connsiteX25" fmla="*/ 9561 w 10696"/>
                  <a:gd name="connsiteY25" fmla="*/ 6243 h 10000"/>
                  <a:gd name="connsiteX26" fmla="*/ 9561 w 10696"/>
                  <a:gd name="connsiteY26" fmla="*/ 6243 h 10000"/>
                  <a:gd name="connsiteX27" fmla="*/ 10647 w 10696"/>
                  <a:gd name="connsiteY27" fmla="*/ 5871 h 10000"/>
                  <a:gd name="connsiteX28" fmla="*/ 9183 w 10696"/>
                  <a:gd name="connsiteY28" fmla="*/ 5485 h 10000"/>
                  <a:gd name="connsiteX29" fmla="*/ 7432 w 10696"/>
                  <a:gd name="connsiteY29" fmla="*/ 5215 h 10000"/>
                  <a:gd name="connsiteX30" fmla="*/ 7128 w 10696"/>
                  <a:gd name="connsiteY30" fmla="*/ 4700 h 10000"/>
                  <a:gd name="connsiteX31" fmla="*/ 6520 w 10696"/>
                  <a:gd name="connsiteY31" fmla="*/ 4185 h 10000"/>
                  <a:gd name="connsiteX32" fmla="*/ 7128 w 10696"/>
                  <a:gd name="connsiteY32" fmla="*/ 3800 h 10000"/>
                  <a:gd name="connsiteX33" fmla="*/ 6824 w 10696"/>
                  <a:gd name="connsiteY33" fmla="*/ 3286 h 10000"/>
                  <a:gd name="connsiteX34" fmla="*/ 7128 w 10696"/>
                  <a:gd name="connsiteY34" fmla="*/ 3028 h 10000"/>
                  <a:gd name="connsiteX35" fmla="*/ 6824 w 10696"/>
                  <a:gd name="connsiteY35" fmla="*/ 1871 h 10000"/>
                  <a:gd name="connsiteX36" fmla="*/ 5607 w 10696"/>
                  <a:gd name="connsiteY36" fmla="*/ 1356 h 10000"/>
                  <a:gd name="connsiteX37" fmla="*/ 5000 w 10696"/>
                  <a:gd name="connsiteY37" fmla="*/ 972 h 10000"/>
                  <a:gd name="connsiteX38" fmla="*/ 4393 w 10696"/>
                  <a:gd name="connsiteY38" fmla="*/ 456 h 10000"/>
                  <a:gd name="connsiteX39" fmla="*/ 4089 w 10696"/>
                  <a:gd name="connsiteY39" fmla="*/ 72 h 10000"/>
                  <a:gd name="connsiteX40" fmla="*/ 3480 w 10696"/>
                  <a:gd name="connsiteY40" fmla="*/ 586 h 10000"/>
                  <a:gd name="connsiteX41" fmla="*/ 2264 w 10696"/>
                  <a:gd name="connsiteY41" fmla="*/ 328 h 10000"/>
                  <a:gd name="connsiteX42" fmla="*/ 1352 w 10696"/>
                  <a:gd name="connsiteY42" fmla="*/ 200 h 10000"/>
                  <a:gd name="connsiteX43" fmla="*/ 439 w 10696"/>
                  <a:gd name="connsiteY43" fmla="*/ 1100 h 10000"/>
                  <a:gd name="connsiteX44" fmla="*/ 135 w 10696"/>
                  <a:gd name="connsiteY44" fmla="*/ 2257 h 10000"/>
                  <a:gd name="connsiteX45" fmla="*/ 135 w 10696"/>
                  <a:gd name="connsiteY45" fmla="*/ 2771 h 10000"/>
                  <a:gd name="connsiteX0" fmla="*/ 135 w 10696"/>
                  <a:gd name="connsiteY0" fmla="*/ 2771 h 10000"/>
                  <a:gd name="connsiteX1" fmla="*/ 439 w 10696"/>
                  <a:gd name="connsiteY1" fmla="*/ 2900 h 10000"/>
                  <a:gd name="connsiteX2" fmla="*/ 1352 w 10696"/>
                  <a:gd name="connsiteY2" fmla="*/ 3286 h 10000"/>
                  <a:gd name="connsiteX3" fmla="*/ 1047 w 10696"/>
                  <a:gd name="connsiteY3" fmla="*/ 4057 h 10000"/>
                  <a:gd name="connsiteX4" fmla="*/ 743 w 10696"/>
                  <a:gd name="connsiteY4" fmla="*/ 4571 h 10000"/>
                  <a:gd name="connsiteX5" fmla="*/ 1047 w 10696"/>
                  <a:gd name="connsiteY5" fmla="*/ 4829 h 10000"/>
                  <a:gd name="connsiteX6" fmla="*/ 743 w 10696"/>
                  <a:gd name="connsiteY6" fmla="*/ 5471 h 10000"/>
                  <a:gd name="connsiteX7" fmla="*/ 1352 w 10696"/>
                  <a:gd name="connsiteY7" fmla="*/ 5857 h 10000"/>
                  <a:gd name="connsiteX8" fmla="*/ 743 w 10696"/>
                  <a:gd name="connsiteY8" fmla="*/ 6115 h 10000"/>
                  <a:gd name="connsiteX9" fmla="*/ 135 w 10696"/>
                  <a:gd name="connsiteY9" fmla="*/ 6757 h 10000"/>
                  <a:gd name="connsiteX10" fmla="*/ 135 w 10696"/>
                  <a:gd name="connsiteY10" fmla="*/ 7143 h 10000"/>
                  <a:gd name="connsiteX11" fmla="*/ 1047 w 10696"/>
                  <a:gd name="connsiteY11" fmla="*/ 7657 h 10000"/>
                  <a:gd name="connsiteX12" fmla="*/ 1047 w 10696"/>
                  <a:gd name="connsiteY12" fmla="*/ 7915 h 10000"/>
                  <a:gd name="connsiteX13" fmla="*/ 439 w 10696"/>
                  <a:gd name="connsiteY13" fmla="*/ 7915 h 10000"/>
                  <a:gd name="connsiteX14" fmla="*/ 743 w 10696"/>
                  <a:gd name="connsiteY14" fmla="*/ 8429 h 10000"/>
                  <a:gd name="connsiteX15" fmla="*/ 1960 w 10696"/>
                  <a:gd name="connsiteY15" fmla="*/ 8815 h 10000"/>
                  <a:gd name="connsiteX16" fmla="*/ 3176 w 10696"/>
                  <a:gd name="connsiteY16" fmla="*/ 9072 h 10000"/>
                  <a:gd name="connsiteX17" fmla="*/ 4393 w 10696"/>
                  <a:gd name="connsiteY17" fmla="*/ 9972 h 10000"/>
                  <a:gd name="connsiteX18" fmla="*/ 6215 w 10696"/>
                  <a:gd name="connsiteY18" fmla="*/ 9714 h 10000"/>
                  <a:gd name="connsiteX19" fmla="*/ 6824 w 10696"/>
                  <a:gd name="connsiteY19" fmla="*/ 9072 h 10000"/>
                  <a:gd name="connsiteX20" fmla="*/ 8040 w 10696"/>
                  <a:gd name="connsiteY20" fmla="*/ 8943 h 10000"/>
                  <a:gd name="connsiteX21" fmla="*/ 8648 w 10696"/>
                  <a:gd name="connsiteY21" fmla="*/ 8043 h 10000"/>
                  <a:gd name="connsiteX22" fmla="*/ 9865 w 10696"/>
                  <a:gd name="connsiteY22" fmla="*/ 7400 h 10000"/>
                  <a:gd name="connsiteX23" fmla="*/ 9865 w 10696"/>
                  <a:gd name="connsiteY23" fmla="*/ 6501 h 10000"/>
                  <a:gd name="connsiteX24" fmla="*/ 9561 w 10696"/>
                  <a:gd name="connsiteY24" fmla="*/ 6243 h 10000"/>
                  <a:gd name="connsiteX25" fmla="*/ 9561 w 10696"/>
                  <a:gd name="connsiteY25" fmla="*/ 6243 h 10000"/>
                  <a:gd name="connsiteX26" fmla="*/ 9561 w 10696"/>
                  <a:gd name="connsiteY26" fmla="*/ 6243 h 10000"/>
                  <a:gd name="connsiteX27" fmla="*/ 10647 w 10696"/>
                  <a:gd name="connsiteY27" fmla="*/ 5871 h 10000"/>
                  <a:gd name="connsiteX28" fmla="*/ 9183 w 10696"/>
                  <a:gd name="connsiteY28" fmla="*/ 5485 h 10000"/>
                  <a:gd name="connsiteX29" fmla="*/ 8717 w 10696"/>
                  <a:gd name="connsiteY29" fmla="*/ 5154 h 10000"/>
                  <a:gd name="connsiteX30" fmla="*/ 7128 w 10696"/>
                  <a:gd name="connsiteY30" fmla="*/ 4700 h 10000"/>
                  <a:gd name="connsiteX31" fmla="*/ 6520 w 10696"/>
                  <a:gd name="connsiteY31" fmla="*/ 4185 h 10000"/>
                  <a:gd name="connsiteX32" fmla="*/ 7128 w 10696"/>
                  <a:gd name="connsiteY32" fmla="*/ 3800 h 10000"/>
                  <a:gd name="connsiteX33" fmla="*/ 6824 w 10696"/>
                  <a:gd name="connsiteY33" fmla="*/ 3286 h 10000"/>
                  <a:gd name="connsiteX34" fmla="*/ 7128 w 10696"/>
                  <a:gd name="connsiteY34" fmla="*/ 3028 h 10000"/>
                  <a:gd name="connsiteX35" fmla="*/ 6824 w 10696"/>
                  <a:gd name="connsiteY35" fmla="*/ 1871 h 10000"/>
                  <a:gd name="connsiteX36" fmla="*/ 5607 w 10696"/>
                  <a:gd name="connsiteY36" fmla="*/ 1356 h 10000"/>
                  <a:gd name="connsiteX37" fmla="*/ 5000 w 10696"/>
                  <a:gd name="connsiteY37" fmla="*/ 972 h 10000"/>
                  <a:gd name="connsiteX38" fmla="*/ 4393 w 10696"/>
                  <a:gd name="connsiteY38" fmla="*/ 456 h 10000"/>
                  <a:gd name="connsiteX39" fmla="*/ 4089 w 10696"/>
                  <a:gd name="connsiteY39" fmla="*/ 72 h 10000"/>
                  <a:gd name="connsiteX40" fmla="*/ 3480 w 10696"/>
                  <a:gd name="connsiteY40" fmla="*/ 586 h 10000"/>
                  <a:gd name="connsiteX41" fmla="*/ 2264 w 10696"/>
                  <a:gd name="connsiteY41" fmla="*/ 328 h 10000"/>
                  <a:gd name="connsiteX42" fmla="*/ 1352 w 10696"/>
                  <a:gd name="connsiteY42" fmla="*/ 200 h 10000"/>
                  <a:gd name="connsiteX43" fmla="*/ 439 w 10696"/>
                  <a:gd name="connsiteY43" fmla="*/ 1100 h 10000"/>
                  <a:gd name="connsiteX44" fmla="*/ 135 w 10696"/>
                  <a:gd name="connsiteY44" fmla="*/ 2257 h 10000"/>
                  <a:gd name="connsiteX45" fmla="*/ 135 w 10696"/>
                  <a:gd name="connsiteY45" fmla="*/ 277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696" h="10000">
                    <a:moveTo>
                      <a:pt x="135" y="2771"/>
                    </a:moveTo>
                    <a:cubicBezTo>
                      <a:pt x="135" y="2771"/>
                      <a:pt x="135" y="3028"/>
                      <a:pt x="439" y="2900"/>
                    </a:cubicBezTo>
                    <a:cubicBezTo>
                      <a:pt x="1047" y="2900"/>
                      <a:pt x="1352" y="3028"/>
                      <a:pt x="1352" y="3286"/>
                    </a:cubicBezTo>
                    <a:cubicBezTo>
                      <a:pt x="1352" y="3543"/>
                      <a:pt x="1352" y="3800"/>
                      <a:pt x="1047" y="4057"/>
                    </a:cubicBezTo>
                    <a:cubicBezTo>
                      <a:pt x="1047" y="4185"/>
                      <a:pt x="439" y="4314"/>
                      <a:pt x="743" y="4571"/>
                    </a:cubicBezTo>
                    <a:cubicBezTo>
                      <a:pt x="743" y="4700"/>
                      <a:pt x="1047" y="4571"/>
                      <a:pt x="1047" y="4829"/>
                    </a:cubicBezTo>
                    <a:cubicBezTo>
                      <a:pt x="1047" y="5085"/>
                      <a:pt x="743" y="5215"/>
                      <a:pt x="743" y="5471"/>
                    </a:cubicBezTo>
                    <a:cubicBezTo>
                      <a:pt x="743" y="5729"/>
                      <a:pt x="1352" y="5857"/>
                      <a:pt x="1352" y="5857"/>
                    </a:cubicBezTo>
                    <a:cubicBezTo>
                      <a:pt x="1352" y="5985"/>
                      <a:pt x="1047" y="6115"/>
                      <a:pt x="743" y="6115"/>
                    </a:cubicBezTo>
                    <a:cubicBezTo>
                      <a:pt x="743" y="6115"/>
                      <a:pt x="135" y="6501"/>
                      <a:pt x="135" y="6757"/>
                    </a:cubicBezTo>
                    <a:cubicBezTo>
                      <a:pt x="135" y="7015"/>
                      <a:pt x="-169" y="6885"/>
                      <a:pt x="135" y="7143"/>
                    </a:cubicBezTo>
                    <a:cubicBezTo>
                      <a:pt x="743" y="7400"/>
                      <a:pt x="1047" y="7400"/>
                      <a:pt x="1047" y="7657"/>
                    </a:cubicBezTo>
                    <a:cubicBezTo>
                      <a:pt x="1047" y="7915"/>
                      <a:pt x="1352" y="7786"/>
                      <a:pt x="1047" y="7915"/>
                    </a:cubicBezTo>
                    <a:cubicBezTo>
                      <a:pt x="743" y="8043"/>
                      <a:pt x="743" y="7786"/>
                      <a:pt x="439" y="7915"/>
                    </a:cubicBezTo>
                    <a:cubicBezTo>
                      <a:pt x="135" y="8043"/>
                      <a:pt x="135" y="8043"/>
                      <a:pt x="743" y="8429"/>
                    </a:cubicBezTo>
                    <a:cubicBezTo>
                      <a:pt x="1047" y="8815"/>
                      <a:pt x="1352" y="8429"/>
                      <a:pt x="1960" y="8815"/>
                    </a:cubicBezTo>
                    <a:cubicBezTo>
                      <a:pt x="2872" y="9072"/>
                      <a:pt x="2872" y="8815"/>
                      <a:pt x="3176" y="9072"/>
                    </a:cubicBezTo>
                    <a:cubicBezTo>
                      <a:pt x="3785" y="9329"/>
                      <a:pt x="4089" y="9714"/>
                      <a:pt x="4393" y="9972"/>
                    </a:cubicBezTo>
                    <a:cubicBezTo>
                      <a:pt x="4900" y="10079"/>
                      <a:pt x="5810" y="9864"/>
                      <a:pt x="6215" y="9714"/>
                    </a:cubicBezTo>
                    <a:cubicBezTo>
                      <a:pt x="6620" y="9564"/>
                      <a:pt x="6215" y="9200"/>
                      <a:pt x="6824" y="9072"/>
                    </a:cubicBezTo>
                    <a:cubicBezTo>
                      <a:pt x="7432" y="8943"/>
                      <a:pt x="7736" y="9200"/>
                      <a:pt x="8040" y="8943"/>
                    </a:cubicBezTo>
                    <a:cubicBezTo>
                      <a:pt x="8344" y="8815"/>
                      <a:pt x="8040" y="8429"/>
                      <a:pt x="8648" y="8043"/>
                    </a:cubicBezTo>
                    <a:cubicBezTo>
                      <a:pt x="8953" y="7786"/>
                      <a:pt x="9561" y="7657"/>
                      <a:pt x="9865" y="7400"/>
                    </a:cubicBezTo>
                    <a:cubicBezTo>
                      <a:pt x="10169" y="7015"/>
                      <a:pt x="9865" y="6757"/>
                      <a:pt x="9865" y="6501"/>
                    </a:cubicBezTo>
                    <a:cubicBezTo>
                      <a:pt x="9865" y="6243"/>
                      <a:pt x="9561" y="6243"/>
                      <a:pt x="9561" y="6243"/>
                    </a:cubicBezTo>
                    <a:lnTo>
                      <a:pt x="9561" y="6243"/>
                    </a:lnTo>
                    <a:lnTo>
                      <a:pt x="9561" y="6243"/>
                    </a:lnTo>
                    <a:cubicBezTo>
                      <a:pt x="9742" y="6181"/>
                      <a:pt x="10952" y="5871"/>
                      <a:pt x="10647" y="5871"/>
                    </a:cubicBezTo>
                    <a:cubicBezTo>
                      <a:pt x="10039" y="5999"/>
                      <a:pt x="9505" y="5604"/>
                      <a:pt x="9183" y="5485"/>
                    </a:cubicBezTo>
                    <a:cubicBezTo>
                      <a:pt x="8861" y="5366"/>
                      <a:pt x="9060" y="5285"/>
                      <a:pt x="8717" y="5154"/>
                    </a:cubicBezTo>
                    <a:cubicBezTo>
                      <a:pt x="8374" y="5023"/>
                      <a:pt x="6824" y="4829"/>
                      <a:pt x="7128" y="4700"/>
                    </a:cubicBezTo>
                    <a:cubicBezTo>
                      <a:pt x="7432" y="4443"/>
                      <a:pt x="6824" y="4314"/>
                      <a:pt x="6520" y="4185"/>
                    </a:cubicBezTo>
                    <a:cubicBezTo>
                      <a:pt x="6215" y="4057"/>
                      <a:pt x="6824" y="3929"/>
                      <a:pt x="7128" y="3800"/>
                    </a:cubicBezTo>
                    <a:cubicBezTo>
                      <a:pt x="7128" y="3671"/>
                      <a:pt x="6520" y="3543"/>
                      <a:pt x="6824" y="3286"/>
                    </a:cubicBezTo>
                    <a:cubicBezTo>
                      <a:pt x="6824" y="3286"/>
                      <a:pt x="7128" y="3157"/>
                      <a:pt x="7128" y="3028"/>
                    </a:cubicBezTo>
                    <a:cubicBezTo>
                      <a:pt x="7128" y="3028"/>
                      <a:pt x="7128" y="2128"/>
                      <a:pt x="6824" y="1871"/>
                    </a:cubicBezTo>
                    <a:cubicBezTo>
                      <a:pt x="6824" y="1614"/>
                      <a:pt x="6215" y="1486"/>
                      <a:pt x="5607" y="1356"/>
                    </a:cubicBezTo>
                    <a:cubicBezTo>
                      <a:pt x="5303" y="1228"/>
                      <a:pt x="5000" y="1228"/>
                      <a:pt x="5000" y="972"/>
                    </a:cubicBezTo>
                    <a:cubicBezTo>
                      <a:pt x="5000" y="714"/>
                      <a:pt x="4697" y="714"/>
                      <a:pt x="4393" y="456"/>
                    </a:cubicBezTo>
                    <a:cubicBezTo>
                      <a:pt x="4089" y="328"/>
                      <a:pt x="4393" y="-186"/>
                      <a:pt x="4089" y="72"/>
                    </a:cubicBezTo>
                    <a:cubicBezTo>
                      <a:pt x="3785" y="328"/>
                      <a:pt x="4089" y="456"/>
                      <a:pt x="3480" y="586"/>
                    </a:cubicBezTo>
                    <a:cubicBezTo>
                      <a:pt x="2568" y="586"/>
                      <a:pt x="2264" y="714"/>
                      <a:pt x="2264" y="328"/>
                    </a:cubicBezTo>
                    <a:cubicBezTo>
                      <a:pt x="1960" y="72"/>
                      <a:pt x="1960" y="-58"/>
                      <a:pt x="1352" y="200"/>
                    </a:cubicBezTo>
                    <a:cubicBezTo>
                      <a:pt x="1047" y="586"/>
                      <a:pt x="1047" y="714"/>
                      <a:pt x="439" y="1100"/>
                    </a:cubicBezTo>
                    <a:cubicBezTo>
                      <a:pt x="135" y="1356"/>
                      <a:pt x="135" y="2000"/>
                      <a:pt x="135" y="2257"/>
                    </a:cubicBezTo>
                    <a:lnTo>
                      <a:pt x="135" y="2771"/>
                    </a:ln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59" name="Freeform 67"/>
              <p:cNvSpPr>
                <a:spLocks/>
              </p:cNvSpPr>
              <p:nvPr/>
            </p:nvSpPr>
            <p:spPr bwMode="gray">
              <a:xfrm>
                <a:off x="4938467" y="3839379"/>
                <a:ext cx="336551" cy="353422"/>
              </a:xfrm>
              <a:custGeom>
                <a:avLst/>
                <a:gdLst>
                  <a:gd name="T0" fmla="*/ 52 w 72"/>
                  <a:gd name="T1" fmla="*/ 76 h 77"/>
                  <a:gd name="T2" fmla="*/ 50 w 72"/>
                  <a:gd name="T3" fmla="*/ 75 h 77"/>
                  <a:gd name="T4" fmla="*/ 46 w 72"/>
                  <a:gd name="T5" fmla="*/ 71 h 77"/>
                  <a:gd name="T6" fmla="*/ 39 w 72"/>
                  <a:gd name="T7" fmla="*/ 66 h 77"/>
                  <a:gd name="T8" fmla="*/ 36 w 72"/>
                  <a:gd name="T9" fmla="*/ 59 h 77"/>
                  <a:gd name="T10" fmla="*/ 30 w 72"/>
                  <a:gd name="T11" fmla="*/ 55 h 77"/>
                  <a:gd name="T12" fmla="*/ 23 w 72"/>
                  <a:gd name="T13" fmla="*/ 45 h 77"/>
                  <a:gd name="T14" fmla="*/ 17 w 72"/>
                  <a:gd name="T15" fmla="*/ 38 h 77"/>
                  <a:gd name="T16" fmla="*/ 10 w 72"/>
                  <a:gd name="T17" fmla="*/ 31 h 77"/>
                  <a:gd name="T18" fmla="*/ 5 w 72"/>
                  <a:gd name="T19" fmla="*/ 19 h 77"/>
                  <a:gd name="T20" fmla="*/ 1 w 72"/>
                  <a:gd name="T21" fmla="*/ 13 h 77"/>
                  <a:gd name="T22" fmla="*/ 0 w 72"/>
                  <a:gd name="T23" fmla="*/ 5 h 77"/>
                  <a:gd name="T24" fmla="*/ 4 w 72"/>
                  <a:gd name="T25" fmla="*/ 3 h 77"/>
                  <a:gd name="T26" fmla="*/ 10 w 72"/>
                  <a:gd name="T27" fmla="*/ 9 h 77"/>
                  <a:gd name="T28" fmla="*/ 15 w 72"/>
                  <a:gd name="T29" fmla="*/ 3 h 77"/>
                  <a:gd name="T30" fmla="*/ 20 w 72"/>
                  <a:gd name="T31" fmla="*/ 3 h 77"/>
                  <a:gd name="T32" fmla="*/ 22 w 72"/>
                  <a:gd name="T33" fmla="*/ 2 h 77"/>
                  <a:gd name="T34" fmla="*/ 28 w 72"/>
                  <a:gd name="T35" fmla="*/ 4 h 77"/>
                  <a:gd name="T36" fmla="*/ 35 w 72"/>
                  <a:gd name="T37" fmla="*/ 6 h 77"/>
                  <a:gd name="T38" fmla="*/ 39 w 72"/>
                  <a:gd name="T39" fmla="*/ 7 h 77"/>
                  <a:gd name="T40" fmla="*/ 43 w 72"/>
                  <a:gd name="T41" fmla="*/ 6 h 77"/>
                  <a:gd name="T42" fmla="*/ 47 w 72"/>
                  <a:gd name="T43" fmla="*/ 7 h 77"/>
                  <a:gd name="T44" fmla="*/ 51 w 72"/>
                  <a:gd name="T45" fmla="*/ 7 h 77"/>
                  <a:gd name="T46" fmla="*/ 55 w 72"/>
                  <a:gd name="T47" fmla="*/ 9 h 77"/>
                  <a:gd name="T48" fmla="*/ 59 w 72"/>
                  <a:gd name="T49" fmla="*/ 12 h 77"/>
                  <a:gd name="T50" fmla="*/ 61 w 72"/>
                  <a:gd name="T51" fmla="*/ 11 h 77"/>
                  <a:gd name="T52" fmla="*/ 61 w 72"/>
                  <a:gd name="T53" fmla="*/ 11 h 77"/>
                  <a:gd name="T54" fmla="*/ 61 w 72"/>
                  <a:gd name="T55" fmla="*/ 11 h 77"/>
                  <a:gd name="T56" fmla="*/ 63 w 72"/>
                  <a:gd name="T57" fmla="*/ 11 h 77"/>
                  <a:gd name="T58" fmla="*/ 65 w 72"/>
                  <a:gd name="T59" fmla="*/ 14 h 77"/>
                  <a:gd name="T60" fmla="*/ 62 w 72"/>
                  <a:gd name="T61" fmla="*/ 24 h 77"/>
                  <a:gd name="T62" fmla="*/ 65 w 72"/>
                  <a:gd name="T63" fmla="*/ 28 h 77"/>
                  <a:gd name="T64" fmla="*/ 68 w 72"/>
                  <a:gd name="T65" fmla="*/ 31 h 77"/>
                  <a:gd name="T66" fmla="*/ 71 w 72"/>
                  <a:gd name="T67" fmla="*/ 35 h 77"/>
                  <a:gd name="T68" fmla="*/ 67 w 72"/>
                  <a:gd name="T69" fmla="*/ 35 h 77"/>
                  <a:gd name="T70" fmla="*/ 66 w 72"/>
                  <a:gd name="T71" fmla="*/ 38 h 77"/>
                  <a:gd name="T72" fmla="*/ 69 w 72"/>
                  <a:gd name="T73" fmla="*/ 43 h 77"/>
                  <a:gd name="T74" fmla="*/ 67 w 72"/>
                  <a:gd name="T75" fmla="*/ 46 h 77"/>
                  <a:gd name="T76" fmla="*/ 63 w 72"/>
                  <a:gd name="T77" fmla="*/ 48 h 77"/>
                  <a:gd name="T78" fmla="*/ 60 w 72"/>
                  <a:gd name="T79" fmla="*/ 49 h 77"/>
                  <a:gd name="T80" fmla="*/ 61 w 72"/>
                  <a:gd name="T81" fmla="*/ 54 h 77"/>
                  <a:gd name="T82" fmla="*/ 58 w 72"/>
                  <a:gd name="T83" fmla="*/ 53 h 77"/>
                  <a:gd name="T84" fmla="*/ 55 w 72"/>
                  <a:gd name="T85" fmla="*/ 58 h 77"/>
                  <a:gd name="T86" fmla="*/ 52 w 72"/>
                  <a:gd name="T87" fmla="*/ 61 h 77"/>
                  <a:gd name="T88" fmla="*/ 51 w 72"/>
                  <a:gd name="T89" fmla="*/ 66 h 77"/>
                  <a:gd name="T90" fmla="*/ 53 w 72"/>
                  <a:gd name="T91" fmla="*/ 71 h 77"/>
                  <a:gd name="T92" fmla="*/ 52 w 72"/>
                  <a:gd name="T93" fmla="*/ 74 h 77"/>
                  <a:gd name="T94" fmla="*/ 52 w 72"/>
                  <a:gd name="T95" fmla="*/ 7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2" h="77">
                    <a:moveTo>
                      <a:pt x="52" y="76"/>
                    </a:moveTo>
                    <a:cubicBezTo>
                      <a:pt x="52" y="76"/>
                      <a:pt x="51" y="77"/>
                      <a:pt x="50" y="75"/>
                    </a:cubicBezTo>
                    <a:cubicBezTo>
                      <a:pt x="48" y="74"/>
                      <a:pt x="47" y="72"/>
                      <a:pt x="46" y="71"/>
                    </a:cubicBezTo>
                    <a:cubicBezTo>
                      <a:pt x="44" y="70"/>
                      <a:pt x="41" y="68"/>
                      <a:pt x="39" y="66"/>
                    </a:cubicBezTo>
                    <a:cubicBezTo>
                      <a:pt x="38" y="65"/>
                      <a:pt x="38" y="61"/>
                      <a:pt x="36" y="59"/>
                    </a:cubicBezTo>
                    <a:cubicBezTo>
                      <a:pt x="34" y="57"/>
                      <a:pt x="32" y="57"/>
                      <a:pt x="30" y="55"/>
                    </a:cubicBezTo>
                    <a:cubicBezTo>
                      <a:pt x="29" y="52"/>
                      <a:pt x="25" y="47"/>
                      <a:pt x="23" y="45"/>
                    </a:cubicBezTo>
                    <a:cubicBezTo>
                      <a:pt x="21" y="43"/>
                      <a:pt x="19" y="40"/>
                      <a:pt x="17" y="38"/>
                    </a:cubicBezTo>
                    <a:cubicBezTo>
                      <a:pt x="15" y="36"/>
                      <a:pt x="12" y="34"/>
                      <a:pt x="10" y="31"/>
                    </a:cubicBezTo>
                    <a:cubicBezTo>
                      <a:pt x="9" y="28"/>
                      <a:pt x="8" y="21"/>
                      <a:pt x="5" y="19"/>
                    </a:cubicBezTo>
                    <a:cubicBezTo>
                      <a:pt x="3" y="17"/>
                      <a:pt x="2" y="17"/>
                      <a:pt x="1" y="13"/>
                    </a:cubicBezTo>
                    <a:cubicBezTo>
                      <a:pt x="0" y="9"/>
                      <a:pt x="1" y="8"/>
                      <a:pt x="0" y="5"/>
                    </a:cubicBezTo>
                    <a:cubicBezTo>
                      <a:pt x="0" y="3"/>
                      <a:pt x="2" y="0"/>
                      <a:pt x="4" y="3"/>
                    </a:cubicBezTo>
                    <a:cubicBezTo>
                      <a:pt x="6" y="5"/>
                      <a:pt x="9" y="11"/>
                      <a:pt x="10" y="9"/>
                    </a:cubicBezTo>
                    <a:cubicBezTo>
                      <a:pt x="12" y="7"/>
                      <a:pt x="13" y="2"/>
                      <a:pt x="15" y="3"/>
                    </a:cubicBezTo>
                    <a:cubicBezTo>
                      <a:pt x="16" y="4"/>
                      <a:pt x="19" y="5"/>
                      <a:pt x="20" y="3"/>
                    </a:cubicBezTo>
                    <a:cubicBezTo>
                      <a:pt x="20" y="1"/>
                      <a:pt x="21" y="1"/>
                      <a:pt x="22" y="2"/>
                    </a:cubicBezTo>
                    <a:cubicBezTo>
                      <a:pt x="24" y="4"/>
                      <a:pt x="26" y="4"/>
                      <a:pt x="28" y="4"/>
                    </a:cubicBezTo>
                    <a:cubicBezTo>
                      <a:pt x="30" y="5"/>
                      <a:pt x="33" y="5"/>
                      <a:pt x="35" y="6"/>
                    </a:cubicBezTo>
                    <a:cubicBezTo>
                      <a:pt x="36" y="7"/>
                      <a:pt x="37" y="8"/>
                      <a:pt x="39" y="7"/>
                    </a:cubicBezTo>
                    <a:cubicBezTo>
                      <a:pt x="41" y="6"/>
                      <a:pt x="41" y="5"/>
                      <a:pt x="43" y="6"/>
                    </a:cubicBezTo>
                    <a:cubicBezTo>
                      <a:pt x="44" y="7"/>
                      <a:pt x="46" y="7"/>
                      <a:pt x="47" y="7"/>
                    </a:cubicBezTo>
                    <a:cubicBezTo>
                      <a:pt x="49" y="6"/>
                      <a:pt x="50" y="6"/>
                      <a:pt x="51" y="7"/>
                    </a:cubicBezTo>
                    <a:cubicBezTo>
                      <a:pt x="53" y="8"/>
                      <a:pt x="54" y="7"/>
                      <a:pt x="55" y="9"/>
                    </a:cubicBezTo>
                    <a:cubicBezTo>
                      <a:pt x="56" y="12"/>
                      <a:pt x="57" y="14"/>
                      <a:pt x="59" y="12"/>
                    </a:cubicBezTo>
                    <a:cubicBezTo>
                      <a:pt x="60" y="11"/>
                      <a:pt x="61" y="11"/>
                      <a:pt x="61" y="11"/>
                    </a:cubicBezTo>
                    <a:cubicBezTo>
                      <a:pt x="61" y="11"/>
                      <a:pt x="61" y="11"/>
                      <a:pt x="61" y="11"/>
                    </a:cubicBezTo>
                    <a:cubicBezTo>
                      <a:pt x="61" y="11"/>
                      <a:pt x="61" y="11"/>
                      <a:pt x="61" y="11"/>
                    </a:cubicBezTo>
                    <a:cubicBezTo>
                      <a:pt x="61" y="11"/>
                      <a:pt x="62" y="10"/>
                      <a:pt x="63" y="11"/>
                    </a:cubicBezTo>
                    <a:cubicBezTo>
                      <a:pt x="64" y="11"/>
                      <a:pt x="65" y="10"/>
                      <a:pt x="65" y="14"/>
                    </a:cubicBezTo>
                    <a:cubicBezTo>
                      <a:pt x="65" y="17"/>
                      <a:pt x="63" y="21"/>
                      <a:pt x="62" y="24"/>
                    </a:cubicBezTo>
                    <a:cubicBezTo>
                      <a:pt x="61" y="26"/>
                      <a:pt x="62" y="27"/>
                      <a:pt x="65" y="28"/>
                    </a:cubicBezTo>
                    <a:cubicBezTo>
                      <a:pt x="67" y="30"/>
                      <a:pt x="67" y="29"/>
                      <a:pt x="68" y="31"/>
                    </a:cubicBezTo>
                    <a:cubicBezTo>
                      <a:pt x="70" y="34"/>
                      <a:pt x="71" y="33"/>
                      <a:pt x="71" y="35"/>
                    </a:cubicBezTo>
                    <a:cubicBezTo>
                      <a:pt x="72" y="37"/>
                      <a:pt x="69" y="36"/>
                      <a:pt x="67" y="35"/>
                    </a:cubicBezTo>
                    <a:cubicBezTo>
                      <a:pt x="65" y="35"/>
                      <a:pt x="66" y="36"/>
                      <a:pt x="66" y="38"/>
                    </a:cubicBezTo>
                    <a:cubicBezTo>
                      <a:pt x="66" y="39"/>
                      <a:pt x="69" y="41"/>
                      <a:pt x="69" y="43"/>
                    </a:cubicBezTo>
                    <a:cubicBezTo>
                      <a:pt x="70" y="44"/>
                      <a:pt x="69" y="46"/>
                      <a:pt x="67" y="46"/>
                    </a:cubicBezTo>
                    <a:cubicBezTo>
                      <a:pt x="65" y="47"/>
                      <a:pt x="65" y="48"/>
                      <a:pt x="63" y="48"/>
                    </a:cubicBezTo>
                    <a:cubicBezTo>
                      <a:pt x="62" y="48"/>
                      <a:pt x="60" y="47"/>
                      <a:pt x="60" y="49"/>
                    </a:cubicBezTo>
                    <a:cubicBezTo>
                      <a:pt x="60" y="50"/>
                      <a:pt x="61" y="52"/>
                      <a:pt x="61" y="54"/>
                    </a:cubicBezTo>
                    <a:cubicBezTo>
                      <a:pt x="61" y="56"/>
                      <a:pt x="59" y="53"/>
                      <a:pt x="58" y="53"/>
                    </a:cubicBezTo>
                    <a:cubicBezTo>
                      <a:pt x="57" y="54"/>
                      <a:pt x="55" y="55"/>
                      <a:pt x="55" y="58"/>
                    </a:cubicBezTo>
                    <a:cubicBezTo>
                      <a:pt x="54" y="61"/>
                      <a:pt x="54" y="62"/>
                      <a:pt x="52" y="61"/>
                    </a:cubicBezTo>
                    <a:cubicBezTo>
                      <a:pt x="51" y="61"/>
                      <a:pt x="51" y="64"/>
                      <a:pt x="51" y="66"/>
                    </a:cubicBezTo>
                    <a:cubicBezTo>
                      <a:pt x="52" y="68"/>
                      <a:pt x="54" y="70"/>
                      <a:pt x="53" y="71"/>
                    </a:cubicBezTo>
                    <a:cubicBezTo>
                      <a:pt x="53" y="72"/>
                      <a:pt x="52" y="73"/>
                      <a:pt x="52" y="74"/>
                    </a:cubicBezTo>
                    <a:cubicBezTo>
                      <a:pt x="52" y="75"/>
                      <a:pt x="52" y="75"/>
                      <a:pt x="52" y="76"/>
                    </a:cubicBez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0" name="Freeform 68"/>
              <p:cNvSpPr>
                <a:spLocks/>
              </p:cNvSpPr>
              <p:nvPr>
                <p:custDataLst>
                  <p:tags r:id="rId126"/>
                </p:custDataLst>
              </p:nvPr>
            </p:nvSpPr>
            <p:spPr bwMode="gray">
              <a:xfrm>
                <a:off x="4743622" y="3695911"/>
                <a:ext cx="503056" cy="451400"/>
              </a:xfrm>
              <a:custGeom>
                <a:avLst/>
                <a:gdLst>
                  <a:gd name="T0" fmla="*/ 77 w 108"/>
                  <a:gd name="T1" fmla="*/ 97 h 98"/>
                  <a:gd name="T2" fmla="*/ 65 w 108"/>
                  <a:gd name="T3" fmla="*/ 96 h 98"/>
                  <a:gd name="T4" fmla="*/ 65 w 108"/>
                  <a:gd name="T5" fmla="*/ 94 h 98"/>
                  <a:gd name="T6" fmla="*/ 75 w 108"/>
                  <a:gd name="T7" fmla="*/ 94 h 98"/>
                  <a:gd name="T8" fmla="*/ 67 w 108"/>
                  <a:gd name="T9" fmla="*/ 85 h 98"/>
                  <a:gd name="T10" fmla="*/ 55 w 108"/>
                  <a:gd name="T11" fmla="*/ 78 h 98"/>
                  <a:gd name="T12" fmla="*/ 46 w 108"/>
                  <a:gd name="T13" fmla="*/ 78 h 98"/>
                  <a:gd name="T14" fmla="*/ 39 w 108"/>
                  <a:gd name="T15" fmla="*/ 69 h 98"/>
                  <a:gd name="T16" fmla="*/ 33 w 108"/>
                  <a:gd name="T17" fmla="*/ 64 h 98"/>
                  <a:gd name="T18" fmla="*/ 31 w 108"/>
                  <a:gd name="T19" fmla="*/ 60 h 98"/>
                  <a:gd name="T20" fmla="*/ 37 w 108"/>
                  <a:gd name="T21" fmla="*/ 58 h 98"/>
                  <a:gd name="T22" fmla="*/ 27 w 108"/>
                  <a:gd name="T23" fmla="*/ 46 h 98"/>
                  <a:gd name="T24" fmla="*/ 21 w 108"/>
                  <a:gd name="T25" fmla="*/ 33 h 98"/>
                  <a:gd name="T26" fmla="*/ 14 w 108"/>
                  <a:gd name="T27" fmla="*/ 37 h 98"/>
                  <a:gd name="T28" fmla="*/ 10 w 108"/>
                  <a:gd name="T29" fmla="*/ 44 h 98"/>
                  <a:gd name="T30" fmla="*/ 3 w 108"/>
                  <a:gd name="T31" fmla="*/ 37 h 98"/>
                  <a:gd name="T32" fmla="*/ 2 w 108"/>
                  <a:gd name="T33" fmla="*/ 28 h 98"/>
                  <a:gd name="T34" fmla="*/ 15 w 108"/>
                  <a:gd name="T35" fmla="*/ 27 h 98"/>
                  <a:gd name="T36" fmla="*/ 22 w 108"/>
                  <a:gd name="T37" fmla="*/ 25 h 98"/>
                  <a:gd name="T38" fmla="*/ 33 w 108"/>
                  <a:gd name="T39" fmla="*/ 29 h 98"/>
                  <a:gd name="T40" fmla="*/ 38 w 108"/>
                  <a:gd name="T41" fmla="*/ 19 h 98"/>
                  <a:gd name="T42" fmla="*/ 39 w 108"/>
                  <a:gd name="T43" fmla="*/ 8 h 98"/>
                  <a:gd name="T44" fmla="*/ 50 w 108"/>
                  <a:gd name="T45" fmla="*/ 4 h 98"/>
                  <a:gd name="T46" fmla="*/ 58 w 108"/>
                  <a:gd name="T47" fmla="*/ 2 h 98"/>
                  <a:gd name="T48" fmla="*/ 67 w 108"/>
                  <a:gd name="T49" fmla="*/ 11 h 98"/>
                  <a:gd name="T50" fmla="*/ 76 w 108"/>
                  <a:gd name="T51" fmla="*/ 17 h 98"/>
                  <a:gd name="T52" fmla="*/ 89 w 108"/>
                  <a:gd name="T53" fmla="*/ 20 h 98"/>
                  <a:gd name="T54" fmla="*/ 97 w 108"/>
                  <a:gd name="T55" fmla="*/ 16 h 98"/>
                  <a:gd name="T56" fmla="*/ 99 w 108"/>
                  <a:gd name="T57" fmla="*/ 25 h 98"/>
                  <a:gd name="T58" fmla="*/ 104 w 108"/>
                  <a:gd name="T59" fmla="*/ 33 h 98"/>
                  <a:gd name="T60" fmla="*/ 103 w 108"/>
                  <a:gd name="T61" fmla="*/ 37 h 98"/>
                  <a:gd name="T62" fmla="*/ 101 w 108"/>
                  <a:gd name="T63" fmla="*/ 43 h 98"/>
                  <a:gd name="T64" fmla="*/ 93 w 108"/>
                  <a:gd name="T65" fmla="*/ 38 h 98"/>
                  <a:gd name="T66" fmla="*/ 85 w 108"/>
                  <a:gd name="T67" fmla="*/ 37 h 98"/>
                  <a:gd name="T68" fmla="*/ 77 w 108"/>
                  <a:gd name="T69" fmla="*/ 37 h 98"/>
                  <a:gd name="T70" fmla="*/ 64 w 108"/>
                  <a:gd name="T71" fmla="*/ 33 h 98"/>
                  <a:gd name="T72" fmla="*/ 57 w 108"/>
                  <a:gd name="T73" fmla="*/ 34 h 98"/>
                  <a:gd name="T74" fmla="*/ 46 w 108"/>
                  <a:gd name="T75" fmla="*/ 34 h 98"/>
                  <a:gd name="T76" fmla="*/ 43 w 108"/>
                  <a:gd name="T77" fmla="*/ 44 h 98"/>
                  <a:gd name="T78" fmla="*/ 52 w 108"/>
                  <a:gd name="T79" fmla="*/ 62 h 98"/>
                  <a:gd name="T80" fmla="*/ 65 w 108"/>
                  <a:gd name="T81" fmla="*/ 76 h 98"/>
                  <a:gd name="T82" fmla="*/ 78 w 108"/>
                  <a:gd name="T83"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8" h="98">
                    <a:moveTo>
                      <a:pt x="81" y="97"/>
                    </a:moveTo>
                    <a:cubicBezTo>
                      <a:pt x="81" y="97"/>
                      <a:pt x="79" y="98"/>
                      <a:pt x="77" y="97"/>
                    </a:cubicBezTo>
                    <a:cubicBezTo>
                      <a:pt x="75" y="96"/>
                      <a:pt x="73" y="93"/>
                      <a:pt x="71" y="94"/>
                    </a:cubicBezTo>
                    <a:cubicBezTo>
                      <a:pt x="69" y="95"/>
                      <a:pt x="66" y="95"/>
                      <a:pt x="65" y="96"/>
                    </a:cubicBezTo>
                    <a:cubicBezTo>
                      <a:pt x="63" y="96"/>
                      <a:pt x="60" y="96"/>
                      <a:pt x="61" y="95"/>
                    </a:cubicBezTo>
                    <a:cubicBezTo>
                      <a:pt x="61" y="93"/>
                      <a:pt x="64" y="94"/>
                      <a:pt x="65" y="94"/>
                    </a:cubicBezTo>
                    <a:cubicBezTo>
                      <a:pt x="67" y="93"/>
                      <a:pt x="70" y="92"/>
                      <a:pt x="71" y="92"/>
                    </a:cubicBezTo>
                    <a:cubicBezTo>
                      <a:pt x="72" y="92"/>
                      <a:pt x="75" y="94"/>
                      <a:pt x="75" y="94"/>
                    </a:cubicBezTo>
                    <a:cubicBezTo>
                      <a:pt x="76" y="93"/>
                      <a:pt x="73" y="91"/>
                      <a:pt x="72" y="89"/>
                    </a:cubicBezTo>
                    <a:cubicBezTo>
                      <a:pt x="71" y="87"/>
                      <a:pt x="68" y="88"/>
                      <a:pt x="67" y="85"/>
                    </a:cubicBezTo>
                    <a:cubicBezTo>
                      <a:pt x="65" y="83"/>
                      <a:pt x="63" y="80"/>
                      <a:pt x="61" y="80"/>
                    </a:cubicBezTo>
                    <a:cubicBezTo>
                      <a:pt x="58" y="80"/>
                      <a:pt x="56" y="78"/>
                      <a:pt x="55" y="78"/>
                    </a:cubicBezTo>
                    <a:cubicBezTo>
                      <a:pt x="54" y="77"/>
                      <a:pt x="52" y="79"/>
                      <a:pt x="51" y="79"/>
                    </a:cubicBezTo>
                    <a:cubicBezTo>
                      <a:pt x="50" y="79"/>
                      <a:pt x="46" y="79"/>
                      <a:pt x="46" y="78"/>
                    </a:cubicBezTo>
                    <a:cubicBezTo>
                      <a:pt x="46" y="76"/>
                      <a:pt x="46" y="74"/>
                      <a:pt x="45" y="73"/>
                    </a:cubicBezTo>
                    <a:cubicBezTo>
                      <a:pt x="43" y="73"/>
                      <a:pt x="40" y="70"/>
                      <a:pt x="39" y="69"/>
                    </a:cubicBezTo>
                    <a:cubicBezTo>
                      <a:pt x="37" y="68"/>
                      <a:pt x="36" y="67"/>
                      <a:pt x="34" y="66"/>
                    </a:cubicBezTo>
                    <a:cubicBezTo>
                      <a:pt x="31" y="65"/>
                      <a:pt x="32" y="64"/>
                      <a:pt x="33" y="64"/>
                    </a:cubicBezTo>
                    <a:cubicBezTo>
                      <a:pt x="34" y="65"/>
                      <a:pt x="36" y="67"/>
                      <a:pt x="36" y="66"/>
                    </a:cubicBezTo>
                    <a:cubicBezTo>
                      <a:pt x="35" y="64"/>
                      <a:pt x="31" y="62"/>
                      <a:pt x="31" y="60"/>
                    </a:cubicBezTo>
                    <a:cubicBezTo>
                      <a:pt x="30" y="58"/>
                      <a:pt x="33" y="58"/>
                      <a:pt x="35" y="59"/>
                    </a:cubicBezTo>
                    <a:cubicBezTo>
                      <a:pt x="36" y="59"/>
                      <a:pt x="39" y="59"/>
                      <a:pt x="37" y="58"/>
                    </a:cubicBezTo>
                    <a:cubicBezTo>
                      <a:pt x="36" y="57"/>
                      <a:pt x="31" y="54"/>
                      <a:pt x="30" y="53"/>
                    </a:cubicBezTo>
                    <a:cubicBezTo>
                      <a:pt x="29" y="52"/>
                      <a:pt x="27" y="48"/>
                      <a:pt x="27" y="46"/>
                    </a:cubicBezTo>
                    <a:cubicBezTo>
                      <a:pt x="27" y="45"/>
                      <a:pt x="26" y="41"/>
                      <a:pt x="25" y="39"/>
                    </a:cubicBezTo>
                    <a:cubicBezTo>
                      <a:pt x="25" y="38"/>
                      <a:pt x="23" y="35"/>
                      <a:pt x="21" y="33"/>
                    </a:cubicBezTo>
                    <a:cubicBezTo>
                      <a:pt x="19" y="32"/>
                      <a:pt x="17" y="30"/>
                      <a:pt x="16" y="32"/>
                    </a:cubicBezTo>
                    <a:cubicBezTo>
                      <a:pt x="16" y="33"/>
                      <a:pt x="14" y="35"/>
                      <a:pt x="14" y="37"/>
                    </a:cubicBezTo>
                    <a:cubicBezTo>
                      <a:pt x="13" y="39"/>
                      <a:pt x="12" y="40"/>
                      <a:pt x="11" y="40"/>
                    </a:cubicBezTo>
                    <a:cubicBezTo>
                      <a:pt x="10" y="40"/>
                      <a:pt x="10" y="42"/>
                      <a:pt x="10" y="44"/>
                    </a:cubicBezTo>
                    <a:cubicBezTo>
                      <a:pt x="10" y="46"/>
                      <a:pt x="8" y="46"/>
                      <a:pt x="7" y="44"/>
                    </a:cubicBezTo>
                    <a:cubicBezTo>
                      <a:pt x="6" y="43"/>
                      <a:pt x="3" y="39"/>
                      <a:pt x="3" y="37"/>
                    </a:cubicBezTo>
                    <a:cubicBezTo>
                      <a:pt x="3" y="36"/>
                      <a:pt x="2" y="36"/>
                      <a:pt x="2" y="33"/>
                    </a:cubicBezTo>
                    <a:cubicBezTo>
                      <a:pt x="2" y="31"/>
                      <a:pt x="0" y="28"/>
                      <a:pt x="2" y="28"/>
                    </a:cubicBezTo>
                    <a:cubicBezTo>
                      <a:pt x="4" y="28"/>
                      <a:pt x="8" y="29"/>
                      <a:pt x="9" y="28"/>
                    </a:cubicBezTo>
                    <a:cubicBezTo>
                      <a:pt x="11" y="27"/>
                      <a:pt x="13" y="27"/>
                      <a:pt x="15" y="27"/>
                    </a:cubicBezTo>
                    <a:cubicBezTo>
                      <a:pt x="16" y="27"/>
                      <a:pt x="20" y="25"/>
                      <a:pt x="20" y="24"/>
                    </a:cubicBezTo>
                    <a:cubicBezTo>
                      <a:pt x="20" y="22"/>
                      <a:pt x="21" y="23"/>
                      <a:pt x="22" y="25"/>
                    </a:cubicBezTo>
                    <a:cubicBezTo>
                      <a:pt x="23" y="27"/>
                      <a:pt x="26" y="27"/>
                      <a:pt x="27" y="27"/>
                    </a:cubicBezTo>
                    <a:cubicBezTo>
                      <a:pt x="29" y="27"/>
                      <a:pt x="32" y="31"/>
                      <a:pt x="33" y="29"/>
                    </a:cubicBezTo>
                    <a:cubicBezTo>
                      <a:pt x="33" y="27"/>
                      <a:pt x="35" y="24"/>
                      <a:pt x="34" y="22"/>
                    </a:cubicBezTo>
                    <a:cubicBezTo>
                      <a:pt x="33" y="20"/>
                      <a:pt x="36" y="20"/>
                      <a:pt x="38" y="19"/>
                    </a:cubicBezTo>
                    <a:cubicBezTo>
                      <a:pt x="39" y="18"/>
                      <a:pt x="40" y="17"/>
                      <a:pt x="40" y="15"/>
                    </a:cubicBezTo>
                    <a:cubicBezTo>
                      <a:pt x="39" y="13"/>
                      <a:pt x="38" y="9"/>
                      <a:pt x="39" y="8"/>
                    </a:cubicBezTo>
                    <a:cubicBezTo>
                      <a:pt x="40" y="8"/>
                      <a:pt x="43" y="8"/>
                      <a:pt x="44" y="7"/>
                    </a:cubicBezTo>
                    <a:cubicBezTo>
                      <a:pt x="46" y="5"/>
                      <a:pt x="49" y="5"/>
                      <a:pt x="50" y="4"/>
                    </a:cubicBezTo>
                    <a:cubicBezTo>
                      <a:pt x="50" y="4"/>
                      <a:pt x="50" y="0"/>
                      <a:pt x="52" y="0"/>
                    </a:cubicBezTo>
                    <a:cubicBezTo>
                      <a:pt x="54" y="0"/>
                      <a:pt x="56" y="1"/>
                      <a:pt x="58" y="2"/>
                    </a:cubicBezTo>
                    <a:cubicBezTo>
                      <a:pt x="60" y="4"/>
                      <a:pt x="61" y="5"/>
                      <a:pt x="62" y="7"/>
                    </a:cubicBezTo>
                    <a:cubicBezTo>
                      <a:pt x="63" y="9"/>
                      <a:pt x="65" y="9"/>
                      <a:pt x="67" y="11"/>
                    </a:cubicBezTo>
                    <a:cubicBezTo>
                      <a:pt x="69" y="12"/>
                      <a:pt x="69" y="15"/>
                      <a:pt x="71" y="15"/>
                    </a:cubicBezTo>
                    <a:cubicBezTo>
                      <a:pt x="72" y="15"/>
                      <a:pt x="74" y="15"/>
                      <a:pt x="76" y="17"/>
                    </a:cubicBezTo>
                    <a:cubicBezTo>
                      <a:pt x="77" y="19"/>
                      <a:pt x="77" y="19"/>
                      <a:pt x="81" y="19"/>
                    </a:cubicBezTo>
                    <a:cubicBezTo>
                      <a:pt x="85" y="18"/>
                      <a:pt x="87" y="19"/>
                      <a:pt x="89" y="20"/>
                    </a:cubicBezTo>
                    <a:cubicBezTo>
                      <a:pt x="91" y="21"/>
                      <a:pt x="93" y="19"/>
                      <a:pt x="94" y="18"/>
                    </a:cubicBezTo>
                    <a:cubicBezTo>
                      <a:pt x="95" y="16"/>
                      <a:pt x="95" y="16"/>
                      <a:pt x="97" y="16"/>
                    </a:cubicBezTo>
                    <a:cubicBezTo>
                      <a:pt x="97" y="16"/>
                      <a:pt x="98" y="18"/>
                      <a:pt x="99" y="21"/>
                    </a:cubicBezTo>
                    <a:cubicBezTo>
                      <a:pt x="100" y="24"/>
                      <a:pt x="99" y="24"/>
                      <a:pt x="99" y="25"/>
                    </a:cubicBezTo>
                    <a:cubicBezTo>
                      <a:pt x="100" y="26"/>
                      <a:pt x="102" y="26"/>
                      <a:pt x="101" y="27"/>
                    </a:cubicBezTo>
                    <a:cubicBezTo>
                      <a:pt x="100" y="29"/>
                      <a:pt x="102" y="31"/>
                      <a:pt x="104" y="33"/>
                    </a:cubicBezTo>
                    <a:cubicBezTo>
                      <a:pt x="105" y="34"/>
                      <a:pt x="108" y="35"/>
                      <a:pt x="107" y="35"/>
                    </a:cubicBezTo>
                    <a:cubicBezTo>
                      <a:pt x="106" y="36"/>
                      <a:pt x="102" y="35"/>
                      <a:pt x="103" y="37"/>
                    </a:cubicBezTo>
                    <a:cubicBezTo>
                      <a:pt x="104" y="39"/>
                      <a:pt x="103" y="42"/>
                      <a:pt x="103" y="42"/>
                    </a:cubicBezTo>
                    <a:cubicBezTo>
                      <a:pt x="103" y="42"/>
                      <a:pt x="102" y="42"/>
                      <a:pt x="101" y="43"/>
                    </a:cubicBezTo>
                    <a:cubicBezTo>
                      <a:pt x="99" y="45"/>
                      <a:pt x="98" y="43"/>
                      <a:pt x="97" y="40"/>
                    </a:cubicBezTo>
                    <a:cubicBezTo>
                      <a:pt x="96" y="38"/>
                      <a:pt x="95" y="39"/>
                      <a:pt x="93" y="38"/>
                    </a:cubicBezTo>
                    <a:cubicBezTo>
                      <a:pt x="92" y="37"/>
                      <a:pt x="91" y="37"/>
                      <a:pt x="89" y="38"/>
                    </a:cubicBezTo>
                    <a:cubicBezTo>
                      <a:pt x="88" y="38"/>
                      <a:pt x="86" y="38"/>
                      <a:pt x="85" y="37"/>
                    </a:cubicBezTo>
                    <a:cubicBezTo>
                      <a:pt x="83" y="36"/>
                      <a:pt x="83" y="37"/>
                      <a:pt x="81" y="38"/>
                    </a:cubicBezTo>
                    <a:cubicBezTo>
                      <a:pt x="79" y="39"/>
                      <a:pt x="78" y="38"/>
                      <a:pt x="77" y="37"/>
                    </a:cubicBezTo>
                    <a:cubicBezTo>
                      <a:pt x="75" y="36"/>
                      <a:pt x="72" y="36"/>
                      <a:pt x="70" y="35"/>
                    </a:cubicBezTo>
                    <a:cubicBezTo>
                      <a:pt x="68" y="35"/>
                      <a:pt x="66" y="35"/>
                      <a:pt x="64" y="33"/>
                    </a:cubicBezTo>
                    <a:cubicBezTo>
                      <a:pt x="63" y="32"/>
                      <a:pt x="62" y="32"/>
                      <a:pt x="62" y="34"/>
                    </a:cubicBezTo>
                    <a:cubicBezTo>
                      <a:pt x="61" y="36"/>
                      <a:pt x="58" y="35"/>
                      <a:pt x="57" y="34"/>
                    </a:cubicBezTo>
                    <a:cubicBezTo>
                      <a:pt x="55" y="33"/>
                      <a:pt x="54" y="38"/>
                      <a:pt x="52" y="40"/>
                    </a:cubicBezTo>
                    <a:cubicBezTo>
                      <a:pt x="51" y="42"/>
                      <a:pt x="48" y="36"/>
                      <a:pt x="46" y="34"/>
                    </a:cubicBezTo>
                    <a:cubicBezTo>
                      <a:pt x="44" y="31"/>
                      <a:pt x="42" y="34"/>
                      <a:pt x="42" y="36"/>
                    </a:cubicBezTo>
                    <a:cubicBezTo>
                      <a:pt x="43" y="39"/>
                      <a:pt x="42" y="40"/>
                      <a:pt x="43" y="44"/>
                    </a:cubicBezTo>
                    <a:cubicBezTo>
                      <a:pt x="44" y="48"/>
                      <a:pt x="45" y="48"/>
                      <a:pt x="47" y="50"/>
                    </a:cubicBezTo>
                    <a:cubicBezTo>
                      <a:pt x="50" y="52"/>
                      <a:pt x="51" y="59"/>
                      <a:pt x="52" y="62"/>
                    </a:cubicBezTo>
                    <a:cubicBezTo>
                      <a:pt x="54" y="65"/>
                      <a:pt x="57" y="67"/>
                      <a:pt x="59" y="69"/>
                    </a:cubicBezTo>
                    <a:cubicBezTo>
                      <a:pt x="61" y="71"/>
                      <a:pt x="63" y="74"/>
                      <a:pt x="65" y="76"/>
                    </a:cubicBezTo>
                    <a:cubicBezTo>
                      <a:pt x="67" y="78"/>
                      <a:pt x="71" y="83"/>
                      <a:pt x="72" y="86"/>
                    </a:cubicBezTo>
                    <a:cubicBezTo>
                      <a:pt x="74" y="88"/>
                      <a:pt x="76" y="88"/>
                      <a:pt x="78" y="90"/>
                    </a:cubicBezTo>
                    <a:cubicBezTo>
                      <a:pt x="80" y="92"/>
                      <a:pt x="80" y="96"/>
                      <a:pt x="81" y="97"/>
                    </a:cubicBezTo>
                    <a:close/>
                  </a:path>
                </a:pathLst>
              </a:custGeom>
              <a:solidFill>
                <a:srgbClr val="73C375"/>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1" name="Freeform 208"/>
              <p:cNvSpPr>
                <a:spLocks/>
              </p:cNvSpPr>
              <p:nvPr>
                <p:custDataLst>
                  <p:tags r:id="rId127"/>
                </p:custDataLst>
              </p:nvPr>
            </p:nvSpPr>
            <p:spPr bwMode="gray">
              <a:xfrm>
                <a:off x="4721936" y="3655670"/>
                <a:ext cx="273214" cy="177077"/>
              </a:xfrm>
              <a:custGeom>
                <a:avLst/>
                <a:gdLst>
                  <a:gd name="T0" fmla="*/ 57 w 57"/>
                  <a:gd name="T1" fmla="*/ 10 h 40"/>
                  <a:gd name="T2" fmla="*/ 55 w 57"/>
                  <a:gd name="T3" fmla="*/ 4 h 40"/>
                  <a:gd name="T4" fmla="*/ 52 w 57"/>
                  <a:gd name="T5" fmla="*/ 0 h 40"/>
                  <a:gd name="T6" fmla="*/ 49 w 57"/>
                  <a:gd name="T7" fmla="*/ 1 h 40"/>
                  <a:gd name="T8" fmla="*/ 50 w 57"/>
                  <a:gd name="T9" fmla="*/ 7 h 40"/>
                  <a:gd name="T10" fmla="*/ 45 w 57"/>
                  <a:gd name="T11" fmla="*/ 4 h 40"/>
                  <a:gd name="T12" fmla="*/ 41 w 57"/>
                  <a:gd name="T13" fmla="*/ 6 h 40"/>
                  <a:gd name="T14" fmla="*/ 37 w 57"/>
                  <a:gd name="T15" fmla="*/ 7 h 40"/>
                  <a:gd name="T16" fmla="*/ 31 w 57"/>
                  <a:gd name="T17" fmla="*/ 7 h 40"/>
                  <a:gd name="T18" fmla="*/ 26 w 57"/>
                  <a:gd name="T19" fmla="*/ 10 h 40"/>
                  <a:gd name="T20" fmla="*/ 22 w 57"/>
                  <a:gd name="T21" fmla="*/ 13 h 40"/>
                  <a:gd name="T22" fmla="*/ 14 w 57"/>
                  <a:gd name="T23" fmla="*/ 11 h 40"/>
                  <a:gd name="T24" fmla="*/ 8 w 57"/>
                  <a:gd name="T25" fmla="*/ 10 h 40"/>
                  <a:gd name="T26" fmla="*/ 2 w 57"/>
                  <a:gd name="T27" fmla="*/ 14 h 40"/>
                  <a:gd name="T28" fmla="*/ 4 w 57"/>
                  <a:gd name="T29" fmla="*/ 17 h 40"/>
                  <a:gd name="T30" fmla="*/ 7 w 57"/>
                  <a:gd name="T31" fmla="*/ 19 h 40"/>
                  <a:gd name="T32" fmla="*/ 4 w 57"/>
                  <a:gd name="T33" fmla="*/ 22 h 40"/>
                  <a:gd name="T34" fmla="*/ 5 w 57"/>
                  <a:gd name="T35" fmla="*/ 27 h 40"/>
                  <a:gd name="T36" fmla="*/ 7 w 57"/>
                  <a:gd name="T37" fmla="*/ 30 h 40"/>
                  <a:gd name="T38" fmla="*/ 8 w 57"/>
                  <a:gd name="T39" fmla="*/ 34 h 40"/>
                  <a:gd name="T40" fmla="*/ 4 w 57"/>
                  <a:gd name="T41" fmla="*/ 37 h 40"/>
                  <a:gd name="T42" fmla="*/ 5 w 57"/>
                  <a:gd name="T43" fmla="*/ 37 h 40"/>
                  <a:gd name="T44" fmla="*/ 12 w 57"/>
                  <a:gd name="T45" fmla="*/ 37 h 40"/>
                  <a:gd name="T46" fmla="*/ 18 w 57"/>
                  <a:gd name="T47" fmla="*/ 36 h 40"/>
                  <a:gd name="T48" fmla="*/ 23 w 57"/>
                  <a:gd name="T49" fmla="*/ 33 h 40"/>
                  <a:gd name="T50" fmla="*/ 25 w 57"/>
                  <a:gd name="T51" fmla="*/ 34 h 40"/>
                  <a:gd name="T52" fmla="*/ 30 w 57"/>
                  <a:gd name="T53" fmla="*/ 36 h 40"/>
                  <a:gd name="T54" fmla="*/ 36 w 57"/>
                  <a:gd name="T55" fmla="*/ 38 h 40"/>
                  <a:gd name="T56" fmla="*/ 37 w 57"/>
                  <a:gd name="T57" fmla="*/ 31 h 40"/>
                  <a:gd name="T58" fmla="*/ 41 w 57"/>
                  <a:gd name="T59" fmla="*/ 28 h 40"/>
                  <a:gd name="T60" fmla="*/ 43 w 57"/>
                  <a:gd name="T61" fmla="*/ 24 h 40"/>
                  <a:gd name="T62" fmla="*/ 42 w 57"/>
                  <a:gd name="T63" fmla="*/ 17 h 40"/>
                  <a:gd name="T64" fmla="*/ 47 w 57"/>
                  <a:gd name="T65" fmla="*/ 16 h 40"/>
                  <a:gd name="T66" fmla="*/ 53 w 57"/>
                  <a:gd name="T67" fmla="*/ 13 h 40"/>
                  <a:gd name="T68" fmla="*/ 55 w 57"/>
                  <a:gd name="T69" fmla="*/ 9 h 40"/>
                  <a:gd name="T70" fmla="*/ 57 w 57"/>
                  <a:gd name="T71" fmla="*/ 10 h 40"/>
                  <a:gd name="T72" fmla="*/ 57 w 57"/>
                  <a:gd name="T73" fmla="*/ 10 h 40"/>
                  <a:gd name="connsiteX0" fmla="*/ 10036 w 10036"/>
                  <a:gd name="connsiteY0" fmla="*/ 2500 h 9640"/>
                  <a:gd name="connsiteX1" fmla="*/ 9685 w 10036"/>
                  <a:gd name="connsiteY1" fmla="*/ 1000 h 9640"/>
                  <a:gd name="connsiteX2" fmla="*/ 9159 w 10036"/>
                  <a:gd name="connsiteY2" fmla="*/ 0 h 9640"/>
                  <a:gd name="connsiteX3" fmla="*/ 8632 w 10036"/>
                  <a:gd name="connsiteY3" fmla="*/ 250 h 9640"/>
                  <a:gd name="connsiteX4" fmla="*/ 8808 w 10036"/>
                  <a:gd name="connsiteY4" fmla="*/ 1750 h 9640"/>
                  <a:gd name="connsiteX5" fmla="*/ 7931 w 10036"/>
                  <a:gd name="connsiteY5" fmla="*/ 1000 h 9640"/>
                  <a:gd name="connsiteX6" fmla="*/ 7229 w 10036"/>
                  <a:gd name="connsiteY6" fmla="*/ 1500 h 9640"/>
                  <a:gd name="connsiteX7" fmla="*/ 6527 w 10036"/>
                  <a:gd name="connsiteY7" fmla="*/ 1750 h 9640"/>
                  <a:gd name="connsiteX8" fmla="*/ 5475 w 10036"/>
                  <a:gd name="connsiteY8" fmla="*/ 1750 h 9640"/>
                  <a:gd name="connsiteX9" fmla="*/ 4597 w 10036"/>
                  <a:gd name="connsiteY9" fmla="*/ 2500 h 9640"/>
                  <a:gd name="connsiteX10" fmla="*/ 3896 w 10036"/>
                  <a:gd name="connsiteY10" fmla="*/ 3250 h 9640"/>
                  <a:gd name="connsiteX11" fmla="*/ 2492 w 10036"/>
                  <a:gd name="connsiteY11" fmla="*/ 2750 h 9640"/>
                  <a:gd name="connsiteX12" fmla="*/ 1440 w 10036"/>
                  <a:gd name="connsiteY12" fmla="*/ 2500 h 9640"/>
                  <a:gd name="connsiteX13" fmla="*/ 387 w 10036"/>
                  <a:gd name="connsiteY13" fmla="*/ 3500 h 9640"/>
                  <a:gd name="connsiteX14" fmla="*/ 738 w 10036"/>
                  <a:gd name="connsiteY14" fmla="*/ 4250 h 9640"/>
                  <a:gd name="connsiteX15" fmla="*/ 1264 w 10036"/>
                  <a:gd name="connsiteY15" fmla="*/ 4750 h 9640"/>
                  <a:gd name="connsiteX16" fmla="*/ 0 w 10036"/>
                  <a:gd name="connsiteY16" fmla="*/ 5500 h 9640"/>
                  <a:gd name="connsiteX17" fmla="*/ 913 w 10036"/>
                  <a:gd name="connsiteY17" fmla="*/ 6750 h 9640"/>
                  <a:gd name="connsiteX18" fmla="*/ 1264 w 10036"/>
                  <a:gd name="connsiteY18" fmla="*/ 7500 h 9640"/>
                  <a:gd name="connsiteX19" fmla="*/ 1440 w 10036"/>
                  <a:gd name="connsiteY19" fmla="*/ 8500 h 9640"/>
                  <a:gd name="connsiteX20" fmla="*/ 738 w 10036"/>
                  <a:gd name="connsiteY20" fmla="*/ 9250 h 9640"/>
                  <a:gd name="connsiteX21" fmla="*/ 913 w 10036"/>
                  <a:gd name="connsiteY21" fmla="*/ 9250 h 9640"/>
                  <a:gd name="connsiteX22" fmla="*/ 2141 w 10036"/>
                  <a:gd name="connsiteY22" fmla="*/ 9250 h 9640"/>
                  <a:gd name="connsiteX23" fmla="*/ 3194 w 10036"/>
                  <a:gd name="connsiteY23" fmla="*/ 9000 h 9640"/>
                  <a:gd name="connsiteX24" fmla="*/ 4071 w 10036"/>
                  <a:gd name="connsiteY24" fmla="*/ 8250 h 9640"/>
                  <a:gd name="connsiteX25" fmla="*/ 4422 w 10036"/>
                  <a:gd name="connsiteY25" fmla="*/ 8500 h 9640"/>
                  <a:gd name="connsiteX26" fmla="*/ 5299 w 10036"/>
                  <a:gd name="connsiteY26" fmla="*/ 9000 h 9640"/>
                  <a:gd name="connsiteX27" fmla="*/ 6352 w 10036"/>
                  <a:gd name="connsiteY27" fmla="*/ 9500 h 9640"/>
                  <a:gd name="connsiteX28" fmla="*/ 6527 w 10036"/>
                  <a:gd name="connsiteY28" fmla="*/ 7750 h 9640"/>
                  <a:gd name="connsiteX29" fmla="*/ 7229 w 10036"/>
                  <a:gd name="connsiteY29" fmla="*/ 7000 h 9640"/>
                  <a:gd name="connsiteX30" fmla="*/ 7580 w 10036"/>
                  <a:gd name="connsiteY30" fmla="*/ 6000 h 9640"/>
                  <a:gd name="connsiteX31" fmla="*/ 7404 w 10036"/>
                  <a:gd name="connsiteY31" fmla="*/ 4250 h 9640"/>
                  <a:gd name="connsiteX32" fmla="*/ 8282 w 10036"/>
                  <a:gd name="connsiteY32" fmla="*/ 4000 h 9640"/>
                  <a:gd name="connsiteX33" fmla="*/ 9334 w 10036"/>
                  <a:gd name="connsiteY33" fmla="*/ 3250 h 9640"/>
                  <a:gd name="connsiteX34" fmla="*/ 9685 w 10036"/>
                  <a:gd name="connsiteY34" fmla="*/ 2250 h 9640"/>
                  <a:gd name="connsiteX35" fmla="*/ 10036 w 10036"/>
                  <a:gd name="connsiteY35" fmla="*/ 2500 h 9640"/>
                  <a:gd name="connsiteX36" fmla="*/ 10036 w 10036"/>
                  <a:gd name="connsiteY36" fmla="*/ 2500 h 9640"/>
                  <a:gd name="connsiteX0" fmla="*/ 10246 w 10246"/>
                  <a:gd name="connsiteY0" fmla="*/ 2593 h 9999"/>
                  <a:gd name="connsiteX1" fmla="*/ 9896 w 10246"/>
                  <a:gd name="connsiteY1" fmla="*/ 1037 h 9999"/>
                  <a:gd name="connsiteX2" fmla="*/ 9372 w 10246"/>
                  <a:gd name="connsiteY2" fmla="*/ 0 h 9999"/>
                  <a:gd name="connsiteX3" fmla="*/ 8847 w 10246"/>
                  <a:gd name="connsiteY3" fmla="*/ 259 h 9999"/>
                  <a:gd name="connsiteX4" fmla="*/ 9022 w 10246"/>
                  <a:gd name="connsiteY4" fmla="*/ 1815 h 9999"/>
                  <a:gd name="connsiteX5" fmla="*/ 8149 w 10246"/>
                  <a:gd name="connsiteY5" fmla="*/ 1037 h 9999"/>
                  <a:gd name="connsiteX6" fmla="*/ 7449 w 10246"/>
                  <a:gd name="connsiteY6" fmla="*/ 1556 h 9999"/>
                  <a:gd name="connsiteX7" fmla="*/ 6750 w 10246"/>
                  <a:gd name="connsiteY7" fmla="*/ 1815 h 9999"/>
                  <a:gd name="connsiteX8" fmla="*/ 5701 w 10246"/>
                  <a:gd name="connsiteY8" fmla="*/ 1815 h 9999"/>
                  <a:gd name="connsiteX9" fmla="*/ 4827 w 10246"/>
                  <a:gd name="connsiteY9" fmla="*/ 2593 h 9999"/>
                  <a:gd name="connsiteX10" fmla="*/ 4128 w 10246"/>
                  <a:gd name="connsiteY10" fmla="*/ 3371 h 9999"/>
                  <a:gd name="connsiteX11" fmla="*/ 2729 w 10246"/>
                  <a:gd name="connsiteY11" fmla="*/ 2853 h 9999"/>
                  <a:gd name="connsiteX12" fmla="*/ 1681 w 10246"/>
                  <a:gd name="connsiteY12" fmla="*/ 2593 h 9999"/>
                  <a:gd name="connsiteX13" fmla="*/ 632 w 10246"/>
                  <a:gd name="connsiteY13" fmla="*/ 3631 h 9999"/>
                  <a:gd name="connsiteX14" fmla="*/ 981 w 10246"/>
                  <a:gd name="connsiteY14" fmla="*/ 4409 h 9999"/>
                  <a:gd name="connsiteX15" fmla="*/ 1505 w 10246"/>
                  <a:gd name="connsiteY15" fmla="*/ 4927 h 9999"/>
                  <a:gd name="connsiteX16" fmla="*/ 63 w 10246"/>
                  <a:gd name="connsiteY16" fmla="*/ 5063 h 9999"/>
                  <a:gd name="connsiteX17" fmla="*/ 246 w 10246"/>
                  <a:gd name="connsiteY17" fmla="*/ 5705 h 9999"/>
                  <a:gd name="connsiteX18" fmla="*/ 1156 w 10246"/>
                  <a:gd name="connsiteY18" fmla="*/ 7002 h 9999"/>
                  <a:gd name="connsiteX19" fmla="*/ 1505 w 10246"/>
                  <a:gd name="connsiteY19" fmla="*/ 7780 h 9999"/>
                  <a:gd name="connsiteX20" fmla="*/ 1681 w 10246"/>
                  <a:gd name="connsiteY20" fmla="*/ 8817 h 9999"/>
                  <a:gd name="connsiteX21" fmla="*/ 981 w 10246"/>
                  <a:gd name="connsiteY21" fmla="*/ 9595 h 9999"/>
                  <a:gd name="connsiteX22" fmla="*/ 1156 w 10246"/>
                  <a:gd name="connsiteY22" fmla="*/ 9595 h 9999"/>
                  <a:gd name="connsiteX23" fmla="*/ 2379 w 10246"/>
                  <a:gd name="connsiteY23" fmla="*/ 9595 h 9999"/>
                  <a:gd name="connsiteX24" fmla="*/ 3429 w 10246"/>
                  <a:gd name="connsiteY24" fmla="*/ 9336 h 9999"/>
                  <a:gd name="connsiteX25" fmla="*/ 4302 w 10246"/>
                  <a:gd name="connsiteY25" fmla="*/ 8558 h 9999"/>
                  <a:gd name="connsiteX26" fmla="*/ 4652 w 10246"/>
                  <a:gd name="connsiteY26" fmla="*/ 8817 h 9999"/>
                  <a:gd name="connsiteX27" fmla="*/ 5526 w 10246"/>
                  <a:gd name="connsiteY27" fmla="*/ 9336 h 9999"/>
                  <a:gd name="connsiteX28" fmla="*/ 6575 w 10246"/>
                  <a:gd name="connsiteY28" fmla="*/ 9855 h 9999"/>
                  <a:gd name="connsiteX29" fmla="*/ 6750 w 10246"/>
                  <a:gd name="connsiteY29" fmla="*/ 8039 h 9999"/>
                  <a:gd name="connsiteX30" fmla="*/ 7449 w 10246"/>
                  <a:gd name="connsiteY30" fmla="*/ 7261 h 9999"/>
                  <a:gd name="connsiteX31" fmla="*/ 7799 w 10246"/>
                  <a:gd name="connsiteY31" fmla="*/ 6224 h 9999"/>
                  <a:gd name="connsiteX32" fmla="*/ 7623 w 10246"/>
                  <a:gd name="connsiteY32" fmla="*/ 4409 h 9999"/>
                  <a:gd name="connsiteX33" fmla="*/ 8498 w 10246"/>
                  <a:gd name="connsiteY33" fmla="*/ 4149 h 9999"/>
                  <a:gd name="connsiteX34" fmla="*/ 9547 w 10246"/>
                  <a:gd name="connsiteY34" fmla="*/ 3371 h 9999"/>
                  <a:gd name="connsiteX35" fmla="*/ 9896 w 10246"/>
                  <a:gd name="connsiteY35" fmla="*/ 2334 h 9999"/>
                  <a:gd name="connsiteX36" fmla="*/ 10246 w 10246"/>
                  <a:gd name="connsiteY36" fmla="*/ 2593 h 9999"/>
                  <a:gd name="connsiteX37" fmla="*/ 10246 w 10246"/>
                  <a:gd name="connsiteY37" fmla="*/ 2593 h 9999"/>
                  <a:gd name="connsiteX0" fmla="*/ 10000 w 10000"/>
                  <a:gd name="connsiteY0" fmla="*/ 2593 h 10000"/>
                  <a:gd name="connsiteX1" fmla="*/ 9658 w 10000"/>
                  <a:gd name="connsiteY1" fmla="*/ 1037 h 10000"/>
                  <a:gd name="connsiteX2" fmla="*/ 9147 w 10000"/>
                  <a:gd name="connsiteY2" fmla="*/ 0 h 10000"/>
                  <a:gd name="connsiteX3" fmla="*/ 8635 w 10000"/>
                  <a:gd name="connsiteY3" fmla="*/ 259 h 10000"/>
                  <a:gd name="connsiteX4" fmla="*/ 8805 w 10000"/>
                  <a:gd name="connsiteY4" fmla="*/ 1815 h 10000"/>
                  <a:gd name="connsiteX5" fmla="*/ 7953 w 10000"/>
                  <a:gd name="connsiteY5" fmla="*/ 1037 h 10000"/>
                  <a:gd name="connsiteX6" fmla="*/ 7270 w 10000"/>
                  <a:gd name="connsiteY6" fmla="*/ 1556 h 10000"/>
                  <a:gd name="connsiteX7" fmla="*/ 6588 w 10000"/>
                  <a:gd name="connsiteY7" fmla="*/ 1815 h 10000"/>
                  <a:gd name="connsiteX8" fmla="*/ 5564 w 10000"/>
                  <a:gd name="connsiteY8" fmla="*/ 1815 h 10000"/>
                  <a:gd name="connsiteX9" fmla="*/ 4711 w 10000"/>
                  <a:gd name="connsiteY9" fmla="*/ 2593 h 10000"/>
                  <a:gd name="connsiteX10" fmla="*/ 4029 w 10000"/>
                  <a:gd name="connsiteY10" fmla="*/ 3371 h 10000"/>
                  <a:gd name="connsiteX11" fmla="*/ 2663 w 10000"/>
                  <a:gd name="connsiteY11" fmla="*/ 2853 h 10000"/>
                  <a:gd name="connsiteX12" fmla="*/ 1641 w 10000"/>
                  <a:gd name="connsiteY12" fmla="*/ 2593 h 10000"/>
                  <a:gd name="connsiteX13" fmla="*/ 617 w 10000"/>
                  <a:gd name="connsiteY13" fmla="*/ 3631 h 10000"/>
                  <a:gd name="connsiteX14" fmla="*/ 479 w 10000"/>
                  <a:gd name="connsiteY14" fmla="*/ 4409 h 10000"/>
                  <a:gd name="connsiteX15" fmla="*/ 1469 w 10000"/>
                  <a:gd name="connsiteY15" fmla="*/ 4927 h 10000"/>
                  <a:gd name="connsiteX16" fmla="*/ 61 w 10000"/>
                  <a:gd name="connsiteY16" fmla="*/ 5064 h 10000"/>
                  <a:gd name="connsiteX17" fmla="*/ 240 w 10000"/>
                  <a:gd name="connsiteY17" fmla="*/ 5706 h 10000"/>
                  <a:gd name="connsiteX18" fmla="*/ 1128 w 10000"/>
                  <a:gd name="connsiteY18" fmla="*/ 7003 h 10000"/>
                  <a:gd name="connsiteX19" fmla="*/ 1469 w 10000"/>
                  <a:gd name="connsiteY19" fmla="*/ 7781 h 10000"/>
                  <a:gd name="connsiteX20" fmla="*/ 1641 w 10000"/>
                  <a:gd name="connsiteY20" fmla="*/ 8818 h 10000"/>
                  <a:gd name="connsiteX21" fmla="*/ 957 w 10000"/>
                  <a:gd name="connsiteY21" fmla="*/ 9596 h 10000"/>
                  <a:gd name="connsiteX22" fmla="*/ 1128 w 10000"/>
                  <a:gd name="connsiteY22" fmla="*/ 9596 h 10000"/>
                  <a:gd name="connsiteX23" fmla="*/ 2322 w 10000"/>
                  <a:gd name="connsiteY23" fmla="*/ 9596 h 10000"/>
                  <a:gd name="connsiteX24" fmla="*/ 3347 w 10000"/>
                  <a:gd name="connsiteY24" fmla="*/ 9337 h 10000"/>
                  <a:gd name="connsiteX25" fmla="*/ 4199 w 10000"/>
                  <a:gd name="connsiteY25" fmla="*/ 8559 h 10000"/>
                  <a:gd name="connsiteX26" fmla="*/ 4540 w 10000"/>
                  <a:gd name="connsiteY26" fmla="*/ 8818 h 10000"/>
                  <a:gd name="connsiteX27" fmla="*/ 5393 w 10000"/>
                  <a:gd name="connsiteY27" fmla="*/ 9337 h 10000"/>
                  <a:gd name="connsiteX28" fmla="*/ 6417 w 10000"/>
                  <a:gd name="connsiteY28" fmla="*/ 9856 h 10000"/>
                  <a:gd name="connsiteX29" fmla="*/ 6588 w 10000"/>
                  <a:gd name="connsiteY29" fmla="*/ 8040 h 10000"/>
                  <a:gd name="connsiteX30" fmla="*/ 7270 w 10000"/>
                  <a:gd name="connsiteY30" fmla="*/ 7262 h 10000"/>
                  <a:gd name="connsiteX31" fmla="*/ 7612 w 10000"/>
                  <a:gd name="connsiteY31" fmla="*/ 6225 h 10000"/>
                  <a:gd name="connsiteX32" fmla="*/ 7440 w 10000"/>
                  <a:gd name="connsiteY32" fmla="*/ 4409 h 10000"/>
                  <a:gd name="connsiteX33" fmla="*/ 8294 w 10000"/>
                  <a:gd name="connsiteY33" fmla="*/ 4149 h 10000"/>
                  <a:gd name="connsiteX34" fmla="*/ 9318 w 10000"/>
                  <a:gd name="connsiteY34" fmla="*/ 3371 h 10000"/>
                  <a:gd name="connsiteX35" fmla="*/ 9658 w 10000"/>
                  <a:gd name="connsiteY35" fmla="*/ 2334 h 10000"/>
                  <a:gd name="connsiteX36" fmla="*/ 10000 w 10000"/>
                  <a:gd name="connsiteY36" fmla="*/ 2593 h 10000"/>
                  <a:gd name="connsiteX37" fmla="*/ 10000 w 10000"/>
                  <a:gd name="connsiteY37" fmla="*/ 2593 h 10000"/>
                  <a:gd name="connsiteX0" fmla="*/ 10000 w 10000"/>
                  <a:gd name="connsiteY0" fmla="*/ 2593 h 10000"/>
                  <a:gd name="connsiteX1" fmla="*/ 9658 w 10000"/>
                  <a:gd name="connsiteY1" fmla="*/ 1037 h 10000"/>
                  <a:gd name="connsiteX2" fmla="*/ 9147 w 10000"/>
                  <a:gd name="connsiteY2" fmla="*/ 0 h 10000"/>
                  <a:gd name="connsiteX3" fmla="*/ 8635 w 10000"/>
                  <a:gd name="connsiteY3" fmla="*/ 259 h 10000"/>
                  <a:gd name="connsiteX4" fmla="*/ 8805 w 10000"/>
                  <a:gd name="connsiteY4" fmla="*/ 1815 h 10000"/>
                  <a:gd name="connsiteX5" fmla="*/ 7953 w 10000"/>
                  <a:gd name="connsiteY5" fmla="*/ 1037 h 10000"/>
                  <a:gd name="connsiteX6" fmla="*/ 7270 w 10000"/>
                  <a:gd name="connsiteY6" fmla="*/ 1556 h 10000"/>
                  <a:gd name="connsiteX7" fmla="*/ 6588 w 10000"/>
                  <a:gd name="connsiteY7" fmla="*/ 1815 h 10000"/>
                  <a:gd name="connsiteX8" fmla="*/ 5564 w 10000"/>
                  <a:gd name="connsiteY8" fmla="*/ 1815 h 10000"/>
                  <a:gd name="connsiteX9" fmla="*/ 4711 w 10000"/>
                  <a:gd name="connsiteY9" fmla="*/ 2593 h 10000"/>
                  <a:gd name="connsiteX10" fmla="*/ 4029 w 10000"/>
                  <a:gd name="connsiteY10" fmla="*/ 3371 h 10000"/>
                  <a:gd name="connsiteX11" fmla="*/ 2663 w 10000"/>
                  <a:gd name="connsiteY11" fmla="*/ 2853 h 10000"/>
                  <a:gd name="connsiteX12" fmla="*/ 1641 w 10000"/>
                  <a:gd name="connsiteY12" fmla="*/ 2593 h 10000"/>
                  <a:gd name="connsiteX13" fmla="*/ 617 w 10000"/>
                  <a:gd name="connsiteY13" fmla="*/ 3631 h 10000"/>
                  <a:gd name="connsiteX14" fmla="*/ 479 w 10000"/>
                  <a:gd name="connsiteY14" fmla="*/ 4409 h 10000"/>
                  <a:gd name="connsiteX15" fmla="*/ 61 w 10000"/>
                  <a:gd name="connsiteY15" fmla="*/ 5064 h 10000"/>
                  <a:gd name="connsiteX16" fmla="*/ 240 w 10000"/>
                  <a:gd name="connsiteY16" fmla="*/ 5706 h 10000"/>
                  <a:gd name="connsiteX17" fmla="*/ 1128 w 10000"/>
                  <a:gd name="connsiteY17" fmla="*/ 7003 h 10000"/>
                  <a:gd name="connsiteX18" fmla="*/ 1469 w 10000"/>
                  <a:gd name="connsiteY18" fmla="*/ 7781 h 10000"/>
                  <a:gd name="connsiteX19" fmla="*/ 1641 w 10000"/>
                  <a:gd name="connsiteY19" fmla="*/ 8818 h 10000"/>
                  <a:gd name="connsiteX20" fmla="*/ 957 w 10000"/>
                  <a:gd name="connsiteY20" fmla="*/ 9596 h 10000"/>
                  <a:gd name="connsiteX21" fmla="*/ 1128 w 10000"/>
                  <a:gd name="connsiteY21" fmla="*/ 9596 h 10000"/>
                  <a:gd name="connsiteX22" fmla="*/ 2322 w 10000"/>
                  <a:gd name="connsiteY22" fmla="*/ 9596 h 10000"/>
                  <a:gd name="connsiteX23" fmla="*/ 3347 w 10000"/>
                  <a:gd name="connsiteY23" fmla="*/ 9337 h 10000"/>
                  <a:gd name="connsiteX24" fmla="*/ 4199 w 10000"/>
                  <a:gd name="connsiteY24" fmla="*/ 8559 h 10000"/>
                  <a:gd name="connsiteX25" fmla="*/ 4540 w 10000"/>
                  <a:gd name="connsiteY25" fmla="*/ 8818 h 10000"/>
                  <a:gd name="connsiteX26" fmla="*/ 5393 w 10000"/>
                  <a:gd name="connsiteY26" fmla="*/ 9337 h 10000"/>
                  <a:gd name="connsiteX27" fmla="*/ 6417 w 10000"/>
                  <a:gd name="connsiteY27" fmla="*/ 9856 h 10000"/>
                  <a:gd name="connsiteX28" fmla="*/ 6588 w 10000"/>
                  <a:gd name="connsiteY28" fmla="*/ 8040 h 10000"/>
                  <a:gd name="connsiteX29" fmla="*/ 7270 w 10000"/>
                  <a:gd name="connsiteY29" fmla="*/ 7262 h 10000"/>
                  <a:gd name="connsiteX30" fmla="*/ 7612 w 10000"/>
                  <a:gd name="connsiteY30" fmla="*/ 6225 h 10000"/>
                  <a:gd name="connsiteX31" fmla="*/ 7440 w 10000"/>
                  <a:gd name="connsiteY31" fmla="*/ 4409 h 10000"/>
                  <a:gd name="connsiteX32" fmla="*/ 8294 w 10000"/>
                  <a:gd name="connsiteY32" fmla="*/ 4149 h 10000"/>
                  <a:gd name="connsiteX33" fmla="*/ 9318 w 10000"/>
                  <a:gd name="connsiteY33" fmla="*/ 3371 h 10000"/>
                  <a:gd name="connsiteX34" fmla="*/ 9658 w 10000"/>
                  <a:gd name="connsiteY34" fmla="*/ 2334 h 10000"/>
                  <a:gd name="connsiteX35" fmla="*/ 10000 w 10000"/>
                  <a:gd name="connsiteY35" fmla="*/ 2593 h 10000"/>
                  <a:gd name="connsiteX36" fmla="*/ 10000 w 10000"/>
                  <a:gd name="connsiteY36" fmla="*/ 259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000" h="10000">
                    <a:moveTo>
                      <a:pt x="10000" y="2593"/>
                    </a:moveTo>
                    <a:cubicBezTo>
                      <a:pt x="9830" y="2334"/>
                      <a:pt x="9830" y="1556"/>
                      <a:pt x="9658" y="1037"/>
                    </a:cubicBezTo>
                    <a:cubicBezTo>
                      <a:pt x="9489" y="519"/>
                      <a:pt x="9318" y="259"/>
                      <a:pt x="9147" y="0"/>
                    </a:cubicBezTo>
                    <a:cubicBezTo>
                      <a:pt x="9147" y="0"/>
                      <a:pt x="8635" y="0"/>
                      <a:pt x="8635" y="259"/>
                    </a:cubicBezTo>
                    <a:cubicBezTo>
                      <a:pt x="8465" y="778"/>
                      <a:pt x="8976" y="1815"/>
                      <a:pt x="8805" y="1815"/>
                    </a:cubicBezTo>
                    <a:cubicBezTo>
                      <a:pt x="8465" y="1556"/>
                      <a:pt x="8123" y="1037"/>
                      <a:pt x="7953" y="1037"/>
                    </a:cubicBezTo>
                    <a:cubicBezTo>
                      <a:pt x="7612" y="1037"/>
                      <a:pt x="7440" y="1297"/>
                      <a:pt x="7270" y="1556"/>
                    </a:cubicBezTo>
                    <a:cubicBezTo>
                      <a:pt x="7100" y="1815"/>
                      <a:pt x="6759" y="1815"/>
                      <a:pt x="6588" y="1815"/>
                    </a:cubicBezTo>
                    <a:cubicBezTo>
                      <a:pt x="6417" y="1556"/>
                      <a:pt x="5735" y="1556"/>
                      <a:pt x="5564" y="1815"/>
                    </a:cubicBezTo>
                    <a:cubicBezTo>
                      <a:pt x="5224" y="2075"/>
                      <a:pt x="4882" y="2334"/>
                      <a:pt x="4711" y="2593"/>
                    </a:cubicBezTo>
                    <a:cubicBezTo>
                      <a:pt x="4540" y="2853"/>
                      <a:pt x="4370" y="3371"/>
                      <a:pt x="4029" y="3371"/>
                    </a:cubicBezTo>
                    <a:cubicBezTo>
                      <a:pt x="3687" y="3371"/>
                      <a:pt x="3005" y="3112"/>
                      <a:pt x="2663" y="2853"/>
                    </a:cubicBezTo>
                    <a:cubicBezTo>
                      <a:pt x="2322" y="2593"/>
                      <a:pt x="1981" y="2593"/>
                      <a:pt x="1641" y="2593"/>
                    </a:cubicBezTo>
                    <a:cubicBezTo>
                      <a:pt x="1299" y="2853"/>
                      <a:pt x="811" y="3328"/>
                      <a:pt x="617" y="3631"/>
                    </a:cubicBezTo>
                    <a:cubicBezTo>
                      <a:pt x="423" y="3934"/>
                      <a:pt x="139" y="4409"/>
                      <a:pt x="479" y="4409"/>
                    </a:cubicBezTo>
                    <a:cubicBezTo>
                      <a:pt x="386" y="4648"/>
                      <a:pt x="101" y="4848"/>
                      <a:pt x="61" y="5064"/>
                    </a:cubicBezTo>
                    <a:cubicBezTo>
                      <a:pt x="-143" y="5194"/>
                      <a:pt x="222" y="5403"/>
                      <a:pt x="240" y="5706"/>
                    </a:cubicBezTo>
                    <a:cubicBezTo>
                      <a:pt x="410" y="6225"/>
                      <a:pt x="1128" y="6744"/>
                      <a:pt x="1128" y="7003"/>
                    </a:cubicBezTo>
                    <a:cubicBezTo>
                      <a:pt x="1299" y="7262"/>
                      <a:pt x="1299" y="7781"/>
                      <a:pt x="1469" y="7781"/>
                    </a:cubicBezTo>
                    <a:cubicBezTo>
                      <a:pt x="1810" y="8040"/>
                      <a:pt x="1810" y="8559"/>
                      <a:pt x="1641" y="8818"/>
                    </a:cubicBezTo>
                    <a:cubicBezTo>
                      <a:pt x="1299" y="8818"/>
                      <a:pt x="957" y="9596"/>
                      <a:pt x="957" y="9596"/>
                    </a:cubicBezTo>
                    <a:lnTo>
                      <a:pt x="1128" y="9596"/>
                    </a:lnTo>
                    <a:cubicBezTo>
                      <a:pt x="1299" y="9596"/>
                      <a:pt x="2152" y="9856"/>
                      <a:pt x="2322" y="9596"/>
                    </a:cubicBezTo>
                    <a:cubicBezTo>
                      <a:pt x="2663" y="9337"/>
                      <a:pt x="3005" y="9337"/>
                      <a:pt x="3347" y="9337"/>
                    </a:cubicBezTo>
                    <a:cubicBezTo>
                      <a:pt x="3516" y="9337"/>
                      <a:pt x="4199" y="8818"/>
                      <a:pt x="4199" y="8559"/>
                    </a:cubicBezTo>
                    <a:cubicBezTo>
                      <a:pt x="4199" y="8040"/>
                      <a:pt x="4370" y="8300"/>
                      <a:pt x="4540" y="8818"/>
                    </a:cubicBezTo>
                    <a:cubicBezTo>
                      <a:pt x="4711" y="9337"/>
                      <a:pt x="5224" y="9337"/>
                      <a:pt x="5393" y="9337"/>
                    </a:cubicBezTo>
                    <a:cubicBezTo>
                      <a:pt x="5735" y="9337"/>
                      <a:pt x="6246" y="10374"/>
                      <a:pt x="6417" y="9856"/>
                    </a:cubicBezTo>
                    <a:cubicBezTo>
                      <a:pt x="6417" y="9337"/>
                      <a:pt x="6759" y="8559"/>
                      <a:pt x="6588" y="8040"/>
                    </a:cubicBezTo>
                    <a:cubicBezTo>
                      <a:pt x="6417" y="7522"/>
                      <a:pt x="6929" y="7522"/>
                      <a:pt x="7270" y="7262"/>
                    </a:cubicBezTo>
                    <a:cubicBezTo>
                      <a:pt x="7440" y="7003"/>
                      <a:pt x="7612" y="6744"/>
                      <a:pt x="7612" y="6225"/>
                    </a:cubicBezTo>
                    <a:cubicBezTo>
                      <a:pt x="7440" y="5706"/>
                      <a:pt x="7270" y="4668"/>
                      <a:pt x="7440" y="4409"/>
                    </a:cubicBezTo>
                    <a:cubicBezTo>
                      <a:pt x="7612" y="4409"/>
                      <a:pt x="8123" y="4409"/>
                      <a:pt x="8294" y="4149"/>
                    </a:cubicBezTo>
                    <a:cubicBezTo>
                      <a:pt x="8635" y="3631"/>
                      <a:pt x="9147" y="3631"/>
                      <a:pt x="9318" y="3371"/>
                    </a:cubicBezTo>
                    <a:cubicBezTo>
                      <a:pt x="9318" y="3371"/>
                      <a:pt x="9318" y="2334"/>
                      <a:pt x="9658" y="2334"/>
                    </a:cubicBezTo>
                    <a:cubicBezTo>
                      <a:pt x="9830" y="2334"/>
                      <a:pt x="10000" y="2593"/>
                      <a:pt x="10000" y="2593"/>
                    </a:cubicBezTo>
                    <a:lnTo>
                      <a:pt x="10000" y="2593"/>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2" name="Freeform 211"/>
              <p:cNvSpPr>
                <a:spLocks/>
              </p:cNvSpPr>
              <p:nvPr>
                <p:custDataLst>
                  <p:tags r:id="rId128"/>
                </p:custDataLst>
              </p:nvPr>
            </p:nvSpPr>
            <p:spPr bwMode="gray">
              <a:xfrm>
                <a:off x="5175825" y="4054582"/>
                <a:ext cx="145249" cy="208203"/>
              </a:xfrm>
              <a:custGeom>
                <a:avLst/>
                <a:gdLst>
                  <a:gd name="T0" fmla="*/ 28 w 31"/>
                  <a:gd name="T1" fmla="*/ 19 h 45"/>
                  <a:gd name="T2" fmla="*/ 31 w 31"/>
                  <a:gd name="T3" fmla="*/ 16 h 45"/>
                  <a:gd name="T4" fmla="*/ 31 w 31"/>
                  <a:gd name="T5" fmla="*/ 13 h 45"/>
                  <a:gd name="T6" fmla="*/ 18 w 31"/>
                  <a:gd name="T7" fmla="*/ 5 h 45"/>
                  <a:gd name="T8" fmla="*/ 12 w 31"/>
                  <a:gd name="T9" fmla="*/ 1 h 45"/>
                  <a:gd name="T10" fmla="*/ 9 w 31"/>
                  <a:gd name="T11" fmla="*/ 2 h 45"/>
                  <a:gd name="T12" fmla="*/ 10 w 31"/>
                  <a:gd name="T13" fmla="*/ 7 h 45"/>
                  <a:gd name="T14" fmla="*/ 7 w 31"/>
                  <a:gd name="T15" fmla="*/ 6 h 45"/>
                  <a:gd name="T16" fmla="*/ 4 w 31"/>
                  <a:gd name="T17" fmla="*/ 11 h 45"/>
                  <a:gd name="T18" fmla="*/ 1 w 31"/>
                  <a:gd name="T19" fmla="*/ 14 h 45"/>
                  <a:gd name="T20" fmla="*/ 0 w 31"/>
                  <a:gd name="T21" fmla="*/ 19 h 45"/>
                  <a:gd name="T22" fmla="*/ 2 w 31"/>
                  <a:gd name="T23" fmla="*/ 24 h 45"/>
                  <a:gd name="T24" fmla="*/ 1 w 31"/>
                  <a:gd name="T25" fmla="*/ 27 h 45"/>
                  <a:gd name="T26" fmla="*/ 2 w 31"/>
                  <a:gd name="T27" fmla="*/ 30 h 45"/>
                  <a:gd name="T28" fmla="*/ 6 w 31"/>
                  <a:gd name="T29" fmla="*/ 30 h 45"/>
                  <a:gd name="T30" fmla="*/ 5 w 31"/>
                  <a:gd name="T31" fmla="*/ 31 h 45"/>
                  <a:gd name="T32" fmla="*/ 6 w 31"/>
                  <a:gd name="T33" fmla="*/ 33 h 45"/>
                  <a:gd name="T34" fmla="*/ 9 w 31"/>
                  <a:gd name="T35" fmla="*/ 35 h 45"/>
                  <a:gd name="T36" fmla="*/ 13 w 31"/>
                  <a:gd name="T37" fmla="*/ 39 h 45"/>
                  <a:gd name="T38" fmla="*/ 15 w 31"/>
                  <a:gd name="T39" fmla="*/ 43 h 45"/>
                  <a:gd name="T40" fmla="*/ 18 w 31"/>
                  <a:gd name="T41" fmla="*/ 45 h 45"/>
                  <a:gd name="T42" fmla="*/ 18 w 31"/>
                  <a:gd name="T43" fmla="*/ 41 h 45"/>
                  <a:gd name="T44" fmla="*/ 19 w 31"/>
                  <a:gd name="T45" fmla="*/ 32 h 45"/>
                  <a:gd name="T46" fmla="*/ 22 w 31"/>
                  <a:gd name="T47" fmla="*/ 25 h 45"/>
                  <a:gd name="T48" fmla="*/ 25 w 31"/>
                  <a:gd name="T49" fmla="*/ 26 h 45"/>
                  <a:gd name="T50" fmla="*/ 29 w 31"/>
                  <a:gd name="T51" fmla="*/ 28 h 45"/>
                  <a:gd name="T52" fmla="*/ 31 w 31"/>
                  <a:gd name="T53" fmla="*/ 24 h 45"/>
                  <a:gd name="T54" fmla="*/ 31 w 31"/>
                  <a:gd name="T55" fmla="*/ 21 h 45"/>
                  <a:gd name="T56" fmla="*/ 28 w 31"/>
                  <a:gd name="T57" fmla="*/ 1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 h="45">
                    <a:moveTo>
                      <a:pt x="28" y="19"/>
                    </a:moveTo>
                    <a:cubicBezTo>
                      <a:pt x="31" y="16"/>
                      <a:pt x="31" y="16"/>
                      <a:pt x="31" y="16"/>
                    </a:cubicBezTo>
                    <a:cubicBezTo>
                      <a:pt x="31" y="13"/>
                      <a:pt x="31" y="13"/>
                      <a:pt x="31" y="13"/>
                    </a:cubicBezTo>
                    <a:cubicBezTo>
                      <a:pt x="18" y="5"/>
                      <a:pt x="18" y="5"/>
                      <a:pt x="18" y="5"/>
                    </a:cubicBezTo>
                    <a:cubicBezTo>
                      <a:pt x="12" y="1"/>
                      <a:pt x="12" y="1"/>
                      <a:pt x="12" y="1"/>
                    </a:cubicBezTo>
                    <a:cubicBezTo>
                      <a:pt x="11" y="1"/>
                      <a:pt x="9" y="0"/>
                      <a:pt x="9" y="2"/>
                    </a:cubicBezTo>
                    <a:cubicBezTo>
                      <a:pt x="9" y="3"/>
                      <a:pt x="10" y="5"/>
                      <a:pt x="10" y="7"/>
                    </a:cubicBezTo>
                    <a:cubicBezTo>
                      <a:pt x="10" y="9"/>
                      <a:pt x="8" y="6"/>
                      <a:pt x="7" y="6"/>
                    </a:cubicBezTo>
                    <a:cubicBezTo>
                      <a:pt x="6" y="7"/>
                      <a:pt x="4" y="8"/>
                      <a:pt x="4" y="11"/>
                    </a:cubicBezTo>
                    <a:cubicBezTo>
                      <a:pt x="3" y="14"/>
                      <a:pt x="3" y="15"/>
                      <a:pt x="1" y="14"/>
                    </a:cubicBezTo>
                    <a:cubicBezTo>
                      <a:pt x="0" y="14"/>
                      <a:pt x="0" y="17"/>
                      <a:pt x="0" y="19"/>
                    </a:cubicBezTo>
                    <a:cubicBezTo>
                      <a:pt x="1" y="21"/>
                      <a:pt x="3" y="23"/>
                      <a:pt x="2" y="24"/>
                    </a:cubicBezTo>
                    <a:cubicBezTo>
                      <a:pt x="2" y="25"/>
                      <a:pt x="1" y="26"/>
                      <a:pt x="1" y="27"/>
                    </a:cubicBezTo>
                    <a:cubicBezTo>
                      <a:pt x="1" y="28"/>
                      <a:pt x="1" y="29"/>
                      <a:pt x="2" y="30"/>
                    </a:cubicBezTo>
                    <a:cubicBezTo>
                      <a:pt x="3" y="30"/>
                      <a:pt x="5" y="29"/>
                      <a:pt x="6" y="30"/>
                    </a:cubicBezTo>
                    <a:cubicBezTo>
                      <a:pt x="8" y="30"/>
                      <a:pt x="6" y="30"/>
                      <a:pt x="5" y="31"/>
                    </a:cubicBezTo>
                    <a:cubicBezTo>
                      <a:pt x="3" y="32"/>
                      <a:pt x="6" y="33"/>
                      <a:pt x="6" y="33"/>
                    </a:cubicBezTo>
                    <a:cubicBezTo>
                      <a:pt x="7" y="34"/>
                      <a:pt x="8" y="34"/>
                      <a:pt x="9" y="35"/>
                    </a:cubicBezTo>
                    <a:cubicBezTo>
                      <a:pt x="11" y="36"/>
                      <a:pt x="12" y="37"/>
                      <a:pt x="13" y="39"/>
                    </a:cubicBezTo>
                    <a:cubicBezTo>
                      <a:pt x="14" y="40"/>
                      <a:pt x="14" y="42"/>
                      <a:pt x="15" y="43"/>
                    </a:cubicBezTo>
                    <a:cubicBezTo>
                      <a:pt x="16" y="44"/>
                      <a:pt x="18" y="45"/>
                      <a:pt x="18" y="45"/>
                    </a:cubicBezTo>
                    <a:cubicBezTo>
                      <a:pt x="18" y="45"/>
                      <a:pt x="18" y="44"/>
                      <a:pt x="18" y="41"/>
                    </a:cubicBezTo>
                    <a:cubicBezTo>
                      <a:pt x="18" y="39"/>
                      <a:pt x="18" y="34"/>
                      <a:pt x="19" y="32"/>
                    </a:cubicBezTo>
                    <a:cubicBezTo>
                      <a:pt x="21" y="29"/>
                      <a:pt x="21" y="28"/>
                      <a:pt x="22" y="25"/>
                    </a:cubicBezTo>
                    <a:cubicBezTo>
                      <a:pt x="24" y="23"/>
                      <a:pt x="24" y="24"/>
                      <a:pt x="25" y="26"/>
                    </a:cubicBezTo>
                    <a:cubicBezTo>
                      <a:pt x="25" y="29"/>
                      <a:pt x="26" y="28"/>
                      <a:pt x="29" y="28"/>
                    </a:cubicBezTo>
                    <a:cubicBezTo>
                      <a:pt x="31" y="27"/>
                      <a:pt x="30" y="26"/>
                      <a:pt x="31" y="24"/>
                    </a:cubicBezTo>
                    <a:cubicBezTo>
                      <a:pt x="31" y="21"/>
                      <a:pt x="31" y="21"/>
                      <a:pt x="31" y="21"/>
                    </a:cubicBezTo>
                    <a:lnTo>
                      <a:pt x="28" y="19"/>
                    </a:ln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3" name="Freeform 212"/>
              <p:cNvSpPr>
                <a:spLocks/>
              </p:cNvSpPr>
              <p:nvPr>
                <p:custDataLst>
                  <p:tags r:id="rId129"/>
                </p:custDataLst>
              </p:nvPr>
            </p:nvSpPr>
            <p:spPr bwMode="gray">
              <a:xfrm>
                <a:off x="5195308" y="3721704"/>
                <a:ext cx="371935" cy="493842"/>
              </a:xfrm>
              <a:custGeom>
                <a:avLst/>
                <a:gdLst>
                  <a:gd name="T0" fmla="*/ 74 w 81"/>
                  <a:gd name="T1" fmla="*/ 72 h 103"/>
                  <a:gd name="T2" fmla="*/ 68 w 81"/>
                  <a:gd name="T3" fmla="*/ 61 h 103"/>
                  <a:gd name="T4" fmla="*/ 72 w 81"/>
                  <a:gd name="T5" fmla="*/ 50 h 103"/>
                  <a:gd name="T6" fmla="*/ 73 w 81"/>
                  <a:gd name="T7" fmla="*/ 41 h 103"/>
                  <a:gd name="T8" fmla="*/ 63 w 81"/>
                  <a:gd name="T9" fmla="*/ 43 h 103"/>
                  <a:gd name="T10" fmla="*/ 55 w 81"/>
                  <a:gd name="T11" fmla="*/ 40 h 103"/>
                  <a:gd name="T12" fmla="*/ 49 w 81"/>
                  <a:gd name="T13" fmla="*/ 34 h 103"/>
                  <a:gd name="T14" fmla="*/ 48 w 81"/>
                  <a:gd name="T15" fmla="*/ 27 h 103"/>
                  <a:gd name="T16" fmla="*/ 38 w 81"/>
                  <a:gd name="T17" fmla="*/ 18 h 103"/>
                  <a:gd name="T18" fmla="*/ 35 w 81"/>
                  <a:gd name="T19" fmla="*/ 9 h 103"/>
                  <a:gd name="T20" fmla="*/ 27 w 81"/>
                  <a:gd name="T21" fmla="*/ 2 h 103"/>
                  <a:gd name="T22" fmla="*/ 15 w 81"/>
                  <a:gd name="T23" fmla="*/ 0 h 103"/>
                  <a:gd name="T24" fmla="*/ 5 w 81"/>
                  <a:gd name="T25" fmla="*/ 4 h 103"/>
                  <a:gd name="T26" fmla="*/ 2 w 81"/>
                  <a:gd name="T27" fmla="*/ 11 h 103"/>
                  <a:gd name="T28" fmla="*/ 4 w 81"/>
                  <a:gd name="T29" fmla="*/ 17 h 103"/>
                  <a:gd name="T30" fmla="*/ 10 w 81"/>
                  <a:gd name="T31" fmla="*/ 25 h 103"/>
                  <a:gd name="T32" fmla="*/ 6 w 81"/>
                  <a:gd name="T33" fmla="*/ 32 h 103"/>
                  <a:gd name="T34" fmla="*/ 10 w 81"/>
                  <a:gd name="T35" fmla="*/ 35 h 103"/>
                  <a:gd name="T36" fmla="*/ 10 w 81"/>
                  <a:gd name="T37" fmla="*/ 49 h 103"/>
                  <a:gd name="T38" fmla="*/ 16 w 81"/>
                  <a:gd name="T39" fmla="*/ 56 h 103"/>
                  <a:gd name="T40" fmla="*/ 11 w 81"/>
                  <a:gd name="T41" fmla="*/ 59 h 103"/>
                  <a:gd name="T42" fmla="*/ 12 w 81"/>
                  <a:gd name="T43" fmla="*/ 67 h 103"/>
                  <a:gd name="T44" fmla="*/ 14 w 81"/>
                  <a:gd name="T45" fmla="*/ 73 h 103"/>
                  <a:gd name="T46" fmla="*/ 27 w 81"/>
                  <a:gd name="T47" fmla="*/ 84 h 103"/>
                  <a:gd name="T48" fmla="*/ 30 w 81"/>
                  <a:gd name="T49" fmla="*/ 81 h 103"/>
                  <a:gd name="T50" fmla="*/ 31 w 81"/>
                  <a:gd name="T51" fmla="*/ 75 h 103"/>
                  <a:gd name="T52" fmla="*/ 34 w 81"/>
                  <a:gd name="T53" fmla="*/ 74 h 103"/>
                  <a:gd name="T54" fmla="*/ 34 w 81"/>
                  <a:gd name="T55" fmla="*/ 76 h 103"/>
                  <a:gd name="T56" fmla="*/ 38 w 81"/>
                  <a:gd name="T57" fmla="*/ 75 h 103"/>
                  <a:gd name="T58" fmla="*/ 43 w 81"/>
                  <a:gd name="T59" fmla="*/ 79 h 103"/>
                  <a:gd name="T60" fmla="*/ 45 w 81"/>
                  <a:gd name="T61" fmla="*/ 82 h 103"/>
                  <a:gd name="T62" fmla="*/ 48 w 81"/>
                  <a:gd name="T63" fmla="*/ 84 h 103"/>
                  <a:gd name="T64" fmla="*/ 51 w 81"/>
                  <a:gd name="T65" fmla="*/ 91 h 103"/>
                  <a:gd name="T66" fmla="*/ 54 w 81"/>
                  <a:gd name="T67" fmla="*/ 94 h 103"/>
                  <a:gd name="T68" fmla="*/ 52 w 81"/>
                  <a:gd name="T69" fmla="*/ 97 h 103"/>
                  <a:gd name="T70" fmla="*/ 53 w 81"/>
                  <a:gd name="T71" fmla="*/ 100 h 103"/>
                  <a:gd name="T72" fmla="*/ 57 w 81"/>
                  <a:gd name="T73" fmla="*/ 102 h 103"/>
                  <a:gd name="T74" fmla="*/ 64 w 81"/>
                  <a:gd name="T75" fmla="*/ 101 h 103"/>
                  <a:gd name="T76" fmla="*/ 70 w 81"/>
                  <a:gd name="T77" fmla="*/ 102 h 103"/>
                  <a:gd name="T78" fmla="*/ 71 w 81"/>
                  <a:gd name="T79" fmla="*/ 95 h 103"/>
                  <a:gd name="T80" fmla="*/ 75 w 81"/>
                  <a:gd name="T81" fmla="*/ 86 h 103"/>
                  <a:gd name="T82" fmla="*/ 78 w 81"/>
                  <a:gd name="T83" fmla="*/ 76 h 103"/>
                  <a:gd name="connsiteX0" fmla="*/ 9630 w 9858"/>
                  <a:gd name="connsiteY0" fmla="*/ 7379 h 10000"/>
                  <a:gd name="connsiteX1" fmla="*/ 9136 w 9858"/>
                  <a:gd name="connsiteY1" fmla="*/ 6990 h 10000"/>
                  <a:gd name="connsiteX2" fmla="*/ 8642 w 9858"/>
                  <a:gd name="connsiteY2" fmla="*/ 6699 h 10000"/>
                  <a:gd name="connsiteX3" fmla="*/ 8395 w 9858"/>
                  <a:gd name="connsiteY3" fmla="*/ 5922 h 10000"/>
                  <a:gd name="connsiteX4" fmla="*/ 8765 w 9858"/>
                  <a:gd name="connsiteY4" fmla="*/ 5340 h 10000"/>
                  <a:gd name="connsiteX5" fmla="*/ 8889 w 9858"/>
                  <a:gd name="connsiteY5" fmla="*/ 4854 h 10000"/>
                  <a:gd name="connsiteX6" fmla="*/ 8519 w 9858"/>
                  <a:gd name="connsiteY6" fmla="*/ 4272 h 10000"/>
                  <a:gd name="connsiteX7" fmla="*/ 9012 w 9858"/>
                  <a:gd name="connsiteY7" fmla="*/ 3981 h 10000"/>
                  <a:gd name="connsiteX8" fmla="*/ 8519 w 9858"/>
                  <a:gd name="connsiteY8" fmla="*/ 3689 h 10000"/>
                  <a:gd name="connsiteX9" fmla="*/ 7778 w 9858"/>
                  <a:gd name="connsiteY9" fmla="*/ 4175 h 10000"/>
                  <a:gd name="connsiteX10" fmla="*/ 7531 w 9858"/>
                  <a:gd name="connsiteY10" fmla="*/ 3883 h 10000"/>
                  <a:gd name="connsiteX11" fmla="*/ 6790 w 9858"/>
                  <a:gd name="connsiteY11" fmla="*/ 3883 h 10000"/>
                  <a:gd name="connsiteX12" fmla="*/ 6173 w 9858"/>
                  <a:gd name="connsiteY12" fmla="*/ 3495 h 10000"/>
                  <a:gd name="connsiteX13" fmla="*/ 6049 w 9858"/>
                  <a:gd name="connsiteY13" fmla="*/ 3301 h 10000"/>
                  <a:gd name="connsiteX14" fmla="*/ 6049 w 9858"/>
                  <a:gd name="connsiteY14" fmla="*/ 3010 h 10000"/>
                  <a:gd name="connsiteX15" fmla="*/ 5926 w 9858"/>
                  <a:gd name="connsiteY15" fmla="*/ 2621 h 10000"/>
                  <a:gd name="connsiteX16" fmla="*/ 5432 w 9858"/>
                  <a:gd name="connsiteY16" fmla="*/ 2427 h 10000"/>
                  <a:gd name="connsiteX17" fmla="*/ 4691 w 9858"/>
                  <a:gd name="connsiteY17" fmla="*/ 1748 h 10000"/>
                  <a:gd name="connsiteX18" fmla="*/ 4444 w 9858"/>
                  <a:gd name="connsiteY18" fmla="*/ 1165 h 10000"/>
                  <a:gd name="connsiteX19" fmla="*/ 4321 w 9858"/>
                  <a:gd name="connsiteY19" fmla="*/ 874 h 10000"/>
                  <a:gd name="connsiteX20" fmla="*/ 4397 w 9858"/>
                  <a:gd name="connsiteY20" fmla="*/ 260 h 10000"/>
                  <a:gd name="connsiteX21" fmla="*/ 3333 w 9858"/>
                  <a:gd name="connsiteY21" fmla="*/ 194 h 10000"/>
                  <a:gd name="connsiteX22" fmla="*/ 2593 w 9858"/>
                  <a:gd name="connsiteY22" fmla="*/ 0 h 10000"/>
                  <a:gd name="connsiteX23" fmla="*/ 1852 w 9858"/>
                  <a:gd name="connsiteY23" fmla="*/ 0 h 10000"/>
                  <a:gd name="connsiteX24" fmla="*/ 1235 w 9858"/>
                  <a:gd name="connsiteY24" fmla="*/ 291 h 10000"/>
                  <a:gd name="connsiteX25" fmla="*/ 617 w 9858"/>
                  <a:gd name="connsiteY25" fmla="*/ 388 h 10000"/>
                  <a:gd name="connsiteX26" fmla="*/ 0 w 9858"/>
                  <a:gd name="connsiteY26" fmla="*/ 583 h 10000"/>
                  <a:gd name="connsiteX27" fmla="*/ 247 w 9858"/>
                  <a:gd name="connsiteY27" fmla="*/ 1068 h 10000"/>
                  <a:gd name="connsiteX28" fmla="*/ 247 w 9858"/>
                  <a:gd name="connsiteY28" fmla="*/ 1456 h 10000"/>
                  <a:gd name="connsiteX29" fmla="*/ 494 w 9858"/>
                  <a:gd name="connsiteY29" fmla="*/ 1650 h 10000"/>
                  <a:gd name="connsiteX30" fmla="*/ 864 w 9858"/>
                  <a:gd name="connsiteY30" fmla="*/ 2233 h 10000"/>
                  <a:gd name="connsiteX31" fmla="*/ 1235 w 9858"/>
                  <a:gd name="connsiteY31" fmla="*/ 2427 h 10000"/>
                  <a:gd name="connsiteX32" fmla="*/ 741 w 9858"/>
                  <a:gd name="connsiteY32" fmla="*/ 2621 h 10000"/>
                  <a:gd name="connsiteX33" fmla="*/ 741 w 9858"/>
                  <a:gd name="connsiteY33" fmla="*/ 3107 h 10000"/>
                  <a:gd name="connsiteX34" fmla="*/ 988 w 9858"/>
                  <a:gd name="connsiteY34" fmla="*/ 3107 h 10000"/>
                  <a:gd name="connsiteX35" fmla="*/ 1235 w 9858"/>
                  <a:gd name="connsiteY35" fmla="*/ 3398 h 10000"/>
                  <a:gd name="connsiteX36" fmla="*/ 864 w 9858"/>
                  <a:gd name="connsiteY36" fmla="*/ 4369 h 10000"/>
                  <a:gd name="connsiteX37" fmla="*/ 1235 w 9858"/>
                  <a:gd name="connsiteY37" fmla="*/ 4757 h 10000"/>
                  <a:gd name="connsiteX38" fmla="*/ 1605 w 9858"/>
                  <a:gd name="connsiteY38" fmla="*/ 5049 h 10000"/>
                  <a:gd name="connsiteX39" fmla="*/ 1975 w 9858"/>
                  <a:gd name="connsiteY39" fmla="*/ 5437 h 10000"/>
                  <a:gd name="connsiteX40" fmla="*/ 1481 w 9858"/>
                  <a:gd name="connsiteY40" fmla="*/ 5437 h 10000"/>
                  <a:gd name="connsiteX41" fmla="*/ 1358 w 9858"/>
                  <a:gd name="connsiteY41" fmla="*/ 5728 h 10000"/>
                  <a:gd name="connsiteX42" fmla="*/ 1728 w 9858"/>
                  <a:gd name="connsiteY42" fmla="*/ 6214 h 10000"/>
                  <a:gd name="connsiteX43" fmla="*/ 1481 w 9858"/>
                  <a:gd name="connsiteY43" fmla="*/ 6505 h 10000"/>
                  <a:gd name="connsiteX44" fmla="*/ 988 w 9858"/>
                  <a:gd name="connsiteY44" fmla="*/ 6699 h 10000"/>
                  <a:gd name="connsiteX45" fmla="*/ 1728 w 9858"/>
                  <a:gd name="connsiteY45" fmla="*/ 7087 h 10000"/>
                  <a:gd name="connsiteX46" fmla="*/ 3333 w 9858"/>
                  <a:gd name="connsiteY46" fmla="*/ 7864 h 10000"/>
                  <a:gd name="connsiteX47" fmla="*/ 3333 w 9858"/>
                  <a:gd name="connsiteY47" fmla="*/ 8155 h 10000"/>
                  <a:gd name="connsiteX48" fmla="*/ 3827 w 9858"/>
                  <a:gd name="connsiteY48" fmla="*/ 8058 h 10000"/>
                  <a:gd name="connsiteX49" fmla="*/ 3704 w 9858"/>
                  <a:gd name="connsiteY49" fmla="*/ 7864 h 10000"/>
                  <a:gd name="connsiteX50" fmla="*/ 4074 w 9858"/>
                  <a:gd name="connsiteY50" fmla="*/ 7670 h 10000"/>
                  <a:gd name="connsiteX51" fmla="*/ 3827 w 9858"/>
                  <a:gd name="connsiteY51" fmla="*/ 7282 h 10000"/>
                  <a:gd name="connsiteX52" fmla="*/ 4074 w 9858"/>
                  <a:gd name="connsiteY52" fmla="*/ 7087 h 10000"/>
                  <a:gd name="connsiteX53" fmla="*/ 4198 w 9858"/>
                  <a:gd name="connsiteY53" fmla="*/ 7184 h 10000"/>
                  <a:gd name="connsiteX54" fmla="*/ 4321 w 9858"/>
                  <a:gd name="connsiteY54" fmla="*/ 7184 h 10000"/>
                  <a:gd name="connsiteX55" fmla="*/ 4198 w 9858"/>
                  <a:gd name="connsiteY55" fmla="*/ 7379 h 10000"/>
                  <a:gd name="connsiteX56" fmla="*/ 4444 w 9858"/>
                  <a:gd name="connsiteY56" fmla="*/ 7476 h 10000"/>
                  <a:gd name="connsiteX57" fmla="*/ 4691 w 9858"/>
                  <a:gd name="connsiteY57" fmla="*/ 7282 h 10000"/>
                  <a:gd name="connsiteX58" fmla="*/ 5062 w 9858"/>
                  <a:gd name="connsiteY58" fmla="*/ 7379 h 10000"/>
                  <a:gd name="connsiteX59" fmla="*/ 5309 w 9858"/>
                  <a:gd name="connsiteY59" fmla="*/ 7670 h 10000"/>
                  <a:gd name="connsiteX60" fmla="*/ 5556 w 9858"/>
                  <a:gd name="connsiteY60" fmla="*/ 7670 h 10000"/>
                  <a:gd name="connsiteX61" fmla="*/ 5556 w 9858"/>
                  <a:gd name="connsiteY61" fmla="*/ 7961 h 10000"/>
                  <a:gd name="connsiteX62" fmla="*/ 5802 w 9858"/>
                  <a:gd name="connsiteY62" fmla="*/ 8155 h 10000"/>
                  <a:gd name="connsiteX63" fmla="*/ 5926 w 9858"/>
                  <a:gd name="connsiteY63" fmla="*/ 8155 h 10000"/>
                  <a:gd name="connsiteX64" fmla="*/ 5926 w 9858"/>
                  <a:gd name="connsiteY64" fmla="*/ 8544 h 10000"/>
                  <a:gd name="connsiteX65" fmla="*/ 6296 w 9858"/>
                  <a:gd name="connsiteY65" fmla="*/ 8835 h 10000"/>
                  <a:gd name="connsiteX66" fmla="*/ 6667 w 9858"/>
                  <a:gd name="connsiteY66" fmla="*/ 8932 h 10000"/>
                  <a:gd name="connsiteX67" fmla="*/ 6667 w 9858"/>
                  <a:gd name="connsiteY67" fmla="*/ 9126 h 10000"/>
                  <a:gd name="connsiteX68" fmla="*/ 6543 w 9858"/>
                  <a:gd name="connsiteY68" fmla="*/ 9223 h 10000"/>
                  <a:gd name="connsiteX69" fmla="*/ 6420 w 9858"/>
                  <a:gd name="connsiteY69" fmla="*/ 9417 h 10000"/>
                  <a:gd name="connsiteX70" fmla="*/ 6420 w 9858"/>
                  <a:gd name="connsiteY70" fmla="*/ 9612 h 10000"/>
                  <a:gd name="connsiteX71" fmla="*/ 6543 w 9858"/>
                  <a:gd name="connsiteY71" fmla="*/ 9709 h 10000"/>
                  <a:gd name="connsiteX72" fmla="*/ 6667 w 9858"/>
                  <a:gd name="connsiteY72" fmla="*/ 10000 h 10000"/>
                  <a:gd name="connsiteX73" fmla="*/ 7037 w 9858"/>
                  <a:gd name="connsiteY73" fmla="*/ 9903 h 10000"/>
                  <a:gd name="connsiteX74" fmla="*/ 7654 w 9858"/>
                  <a:gd name="connsiteY74" fmla="*/ 9806 h 10000"/>
                  <a:gd name="connsiteX75" fmla="*/ 7901 w 9858"/>
                  <a:gd name="connsiteY75" fmla="*/ 9806 h 10000"/>
                  <a:gd name="connsiteX76" fmla="*/ 8395 w 9858"/>
                  <a:gd name="connsiteY76" fmla="*/ 9709 h 10000"/>
                  <a:gd name="connsiteX77" fmla="*/ 8642 w 9858"/>
                  <a:gd name="connsiteY77" fmla="*/ 9903 h 10000"/>
                  <a:gd name="connsiteX78" fmla="*/ 8889 w 9858"/>
                  <a:gd name="connsiteY78" fmla="*/ 9515 h 10000"/>
                  <a:gd name="connsiteX79" fmla="*/ 8765 w 9858"/>
                  <a:gd name="connsiteY79" fmla="*/ 9223 h 10000"/>
                  <a:gd name="connsiteX80" fmla="*/ 8642 w 9858"/>
                  <a:gd name="connsiteY80" fmla="*/ 8447 h 10000"/>
                  <a:gd name="connsiteX81" fmla="*/ 9259 w 9858"/>
                  <a:gd name="connsiteY81" fmla="*/ 8350 h 10000"/>
                  <a:gd name="connsiteX82" fmla="*/ 9753 w 9858"/>
                  <a:gd name="connsiteY82" fmla="*/ 7864 h 10000"/>
                  <a:gd name="connsiteX83" fmla="*/ 9630 w 9858"/>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017 w 10000"/>
                  <a:gd name="connsiteY5" fmla="*/ 4854 h 10000"/>
                  <a:gd name="connsiteX6" fmla="*/ 8642 w 10000"/>
                  <a:gd name="connsiteY6" fmla="*/ 4272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6888 w 10000"/>
                  <a:gd name="connsiteY11" fmla="*/ 3883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4759 w 10000"/>
                  <a:gd name="connsiteY17" fmla="*/ 1748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017 w 10000"/>
                  <a:gd name="connsiteY5" fmla="*/ 4854 h 10000"/>
                  <a:gd name="connsiteX6" fmla="*/ 8642 w 10000"/>
                  <a:gd name="connsiteY6" fmla="*/ 4272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6888 w 10000"/>
                  <a:gd name="connsiteY11" fmla="*/ 3883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017 w 10000"/>
                  <a:gd name="connsiteY5" fmla="*/ 4854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6888 w 10000"/>
                  <a:gd name="connsiteY11" fmla="*/ 3883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544 w 10000"/>
                  <a:gd name="connsiteY5" fmla="*/ 4900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6888 w 10000"/>
                  <a:gd name="connsiteY11" fmla="*/ 3883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544 w 10000"/>
                  <a:gd name="connsiteY5" fmla="*/ 4900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7005 w 10000"/>
                  <a:gd name="connsiteY11" fmla="*/ 3560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544 w 10000"/>
                  <a:gd name="connsiteY5" fmla="*/ 4900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7005 w 10000"/>
                  <a:gd name="connsiteY11" fmla="*/ 3560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976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544 w 10000"/>
                  <a:gd name="connsiteY5" fmla="*/ 4900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7005 w 10000"/>
                  <a:gd name="connsiteY11" fmla="*/ 3560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976 w 10000"/>
                  <a:gd name="connsiteY18" fmla="*/ 1165 h 10000"/>
                  <a:gd name="connsiteX19" fmla="*/ 5086 w 10000"/>
                  <a:gd name="connsiteY19" fmla="*/ 551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428 h 10049"/>
                  <a:gd name="connsiteX1" fmla="*/ 9268 w 10000"/>
                  <a:gd name="connsiteY1" fmla="*/ 7039 h 10049"/>
                  <a:gd name="connsiteX2" fmla="*/ 8766 w 10000"/>
                  <a:gd name="connsiteY2" fmla="*/ 6748 h 10049"/>
                  <a:gd name="connsiteX3" fmla="*/ 8516 w 10000"/>
                  <a:gd name="connsiteY3" fmla="*/ 5971 h 10049"/>
                  <a:gd name="connsiteX4" fmla="*/ 8891 w 10000"/>
                  <a:gd name="connsiteY4" fmla="*/ 5389 h 10049"/>
                  <a:gd name="connsiteX5" fmla="*/ 9544 w 10000"/>
                  <a:gd name="connsiteY5" fmla="*/ 4949 h 10049"/>
                  <a:gd name="connsiteX6" fmla="*/ 9228 w 10000"/>
                  <a:gd name="connsiteY6" fmla="*/ 4505 h 10049"/>
                  <a:gd name="connsiteX7" fmla="*/ 9142 w 10000"/>
                  <a:gd name="connsiteY7" fmla="*/ 4030 h 10049"/>
                  <a:gd name="connsiteX8" fmla="*/ 8642 w 10000"/>
                  <a:gd name="connsiteY8" fmla="*/ 3738 h 10049"/>
                  <a:gd name="connsiteX9" fmla="*/ 7890 w 10000"/>
                  <a:gd name="connsiteY9" fmla="*/ 4224 h 10049"/>
                  <a:gd name="connsiteX10" fmla="*/ 7639 w 10000"/>
                  <a:gd name="connsiteY10" fmla="*/ 3932 h 10049"/>
                  <a:gd name="connsiteX11" fmla="*/ 7005 w 10000"/>
                  <a:gd name="connsiteY11" fmla="*/ 3609 h 10049"/>
                  <a:gd name="connsiteX12" fmla="*/ 6262 w 10000"/>
                  <a:gd name="connsiteY12" fmla="*/ 3544 h 10049"/>
                  <a:gd name="connsiteX13" fmla="*/ 6136 w 10000"/>
                  <a:gd name="connsiteY13" fmla="*/ 3350 h 10049"/>
                  <a:gd name="connsiteX14" fmla="*/ 6136 w 10000"/>
                  <a:gd name="connsiteY14" fmla="*/ 3059 h 10049"/>
                  <a:gd name="connsiteX15" fmla="*/ 6011 w 10000"/>
                  <a:gd name="connsiteY15" fmla="*/ 2670 h 10049"/>
                  <a:gd name="connsiteX16" fmla="*/ 5686 w 10000"/>
                  <a:gd name="connsiteY16" fmla="*/ 2245 h 10049"/>
                  <a:gd name="connsiteX17" fmla="*/ 5227 w 10000"/>
                  <a:gd name="connsiteY17" fmla="*/ 1751 h 10049"/>
                  <a:gd name="connsiteX18" fmla="*/ 4976 w 10000"/>
                  <a:gd name="connsiteY18" fmla="*/ 1214 h 10049"/>
                  <a:gd name="connsiteX19" fmla="*/ 5086 w 10000"/>
                  <a:gd name="connsiteY19" fmla="*/ 600 h 10049"/>
                  <a:gd name="connsiteX20" fmla="*/ 4460 w 10000"/>
                  <a:gd name="connsiteY20" fmla="*/ 309 h 10049"/>
                  <a:gd name="connsiteX21" fmla="*/ 3498 w 10000"/>
                  <a:gd name="connsiteY21" fmla="*/ 12 h 10049"/>
                  <a:gd name="connsiteX22" fmla="*/ 2630 w 10000"/>
                  <a:gd name="connsiteY22" fmla="*/ 49 h 10049"/>
                  <a:gd name="connsiteX23" fmla="*/ 1879 w 10000"/>
                  <a:gd name="connsiteY23" fmla="*/ 49 h 10049"/>
                  <a:gd name="connsiteX24" fmla="*/ 1253 w 10000"/>
                  <a:gd name="connsiteY24" fmla="*/ 340 h 10049"/>
                  <a:gd name="connsiteX25" fmla="*/ 626 w 10000"/>
                  <a:gd name="connsiteY25" fmla="*/ 437 h 10049"/>
                  <a:gd name="connsiteX26" fmla="*/ 0 w 10000"/>
                  <a:gd name="connsiteY26" fmla="*/ 632 h 10049"/>
                  <a:gd name="connsiteX27" fmla="*/ 251 w 10000"/>
                  <a:gd name="connsiteY27" fmla="*/ 1117 h 10049"/>
                  <a:gd name="connsiteX28" fmla="*/ 251 w 10000"/>
                  <a:gd name="connsiteY28" fmla="*/ 1505 h 10049"/>
                  <a:gd name="connsiteX29" fmla="*/ 501 w 10000"/>
                  <a:gd name="connsiteY29" fmla="*/ 1699 h 10049"/>
                  <a:gd name="connsiteX30" fmla="*/ 876 w 10000"/>
                  <a:gd name="connsiteY30" fmla="*/ 2282 h 10049"/>
                  <a:gd name="connsiteX31" fmla="*/ 1253 w 10000"/>
                  <a:gd name="connsiteY31" fmla="*/ 2476 h 10049"/>
                  <a:gd name="connsiteX32" fmla="*/ 752 w 10000"/>
                  <a:gd name="connsiteY32" fmla="*/ 2670 h 10049"/>
                  <a:gd name="connsiteX33" fmla="*/ 752 w 10000"/>
                  <a:gd name="connsiteY33" fmla="*/ 3156 h 10049"/>
                  <a:gd name="connsiteX34" fmla="*/ 1002 w 10000"/>
                  <a:gd name="connsiteY34" fmla="*/ 3156 h 10049"/>
                  <a:gd name="connsiteX35" fmla="*/ 1253 w 10000"/>
                  <a:gd name="connsiteY35" fmla="*/ 3447 h 10049"/>
                  <a:gd name="connsiteX36" fmla="*/ 876 w 10000"/>
                  <a:gd name="connsiteY36" fmla="*/ 4418 h 10049"/>
                  <a:gd name="connsiteX37" fmla="*/ 1253 w 10000"/>
                  <a:gd name="connsiteY37" fmla="*/ 4806 h 10049"/>
                  <a:gd name="connsiteX38" fmla="*/ 1628 w 10000"/>
                  <a:gd name="connsiteY38" fmla="*/ 5098 h 10049"/>
                  <a:gd name="connsiteX39" fmla="*/ 2003 w 10000"/>
                  <a:gd name="connsiteY39" fmla="*/ 5486 h 10049"/>
                  <a:gd name="connsiteX40" fmla="*/ 1502 w 10000"/>
                  <a:gd name="connsiteY40" fmla="*/ 5486 h 10049"/>
                  <a:gd name="connsiteX41" fmla="*/ 1378 w 10000"/>
                  <a:gd name="connsiteY41" fmla="*/ 5777 h 10049"/>
                  <a:gd name="connsiteX42" fmla="*/ 1753 w 10000"/>
                  <a:gd name="connsiteY42" fmla="*/ 6263 h 10049"/>
                  <a:gd name="connsiteX43" fmla="*/ 1502 w 10000"/>
                  <a:gd name="connsiteY43" fmla="*/ 6554 h 10049"/>
                  <a:gd name="connsiteX44" fmla="*/ 1002 w 10000"/>
                  <a:gd name="connsiteY44" fmla="*/ 6748 h 10049"/>
                  <a:gd name="connsiteX45" fmla="*/ 1753 w 10000"/>
                  <a:gd name="connsiteY45" fmla="*/ 7136 h 10049"/>
                  <a:gd name="connsiteX46" fmla="*/ 3381 w 10000"/>
                  <a:gd name="connsiteY46" fmla="*/ 7913 h 10049"/>
                  <a:gd name="connsiteX47" fmla="*/ 3381 w 10000"/>
                  <a:gd name="connsiteY47" fmla="*/ 8204 h 10049"/>
                  <a:gd name="connsiteX48" fmla="*/ 3882 w 10000"/>
                  <a:gd name="connsiteY48" fmla="*/ 8107 h 10049"/>
                  <a:gd name="connsiteX49" fmla="*/ 3757 w 10000"/>
                  <a:gd name="connsiteY49" fmla="*/ 7913 h 10049"/>
                  <a:gd name="connsiteX50" fmla="*/ 4133 w 10000"/>
                  <a:gd name="connsiteY50" fmla="*/ 7719 h 10049"/>
                  <a:gd name="connsiteX51" fmla="*/ 3882 w 10000"/>
                  <a:gd name="connsiteY51" fmla="*/ 7331 h 10049"/>
                  <a:gd name="connsiteX52" fmla="*/ 4133 w 10000"/>
                  <a:gd name="connsiteY52" fmla="*/ 7136 h 10049"/>
                  <a:gd name="connsiteX53" fmla="*/ 4258 w 10000"/>
                  <a:gd name="connsiteY53" fmla="*/ 7233 h 10049"/>
                  <a:gd name="connsiteX54" fmla="*/ 4383 w 10000"/>
                  <a:gd name="connsiteY54" fmla="*/ 7233 h 10049"/>
                  <a:gd name="connsiteX55" fmla="*/ 4258 w 10000"/>
                  <a:gd name="connsiteY55" fmla="*/ 7428 h 10049"/>
                  <a:gd name="connsiteX56" fmla="*/ 4508 w 10000"/>
                  <a:gd name="connsiteY56" fmla="*/ 7525 h 10049"/>
                  <a:gd name="connsiteX57" fmla="*/ 4759 w 10000"/>
                  <a:gd name="connsiteY57" fmla="*/ 7331 h 10049"/>
                  <a:gd name="connsiteX58" fmla="*/ 5135 w 10000"/>
                  <a:gd name="connsiteY58" fmla="*/ 7428 h 10049"/>
                  <a:gd name="connsiteX59" fmla="*/ 5385 w 10000"/>
                  <a:gd name="connsiteY59" fmla="*/ 7719 h 10049"/>
                  <a:gd name="connsiteX60" fmla="*/ 5636 w 10000"/>
                  <a:gd name="connsiteY60" fmla="*/ 7719 h 10049"/>
                  <a:gd name="connsiteX61" fmla="*/ 5636 w 10000"/>
                  <a:gd name="connsiteY61" fmla="*/ 8010 h 10049"/>
                  <a:gd name="connsiteX62" fmla="*/ 5886 w 10000"/>
                  <a:gd name="connsiteY62" fmla="*/ 8204 h 10049"/>
                  <a:gd name="connsiteX63" fmla="*/ 6011 w 10000"/>
                  <a:gd name="connsiteY63" fmla="*/ 8204 h 10049"/>
                  <a:gd name="connsiteX64" fmla="*/ 6011 w 10000"/>
                  <a:gd name="connsiteY64" fmla="*/ 8593 h 10049"/>
                  <a:gd name="connsiteX65" fmla="*/ 6387 w 10000"/>
                  <a:gd name="connsiteY65" fmla="*/ 8884 h 10049"/>
                  <a:gd name="connsiteX66" fmla="*/ 6763 w 10000"/>
                  <a:gd name="connsiteY66" fmla="*/ 8981 h 10049"/>
                  <a:gd name="connsiteX67" fmla="*/ 6763 w 10000"/>
                  <a:gd name="connsiteY67" fmla="*/ 9175 h 10049"/>
                  <a:gd name="connsiteX68" fmla="*/ 6637 w 10000"/>
                  <a:gd name="connsiteY68" fmla="*/ 9272 h 10049"/>
                  <a:gd name="connsiteX69" fmla="*/ 6512 w 10000"/>
                  <a:gd name="connsiteY69" fmla="*/ 9466 h 10049"/>
                  <a:gd name="connsiteX70" fmla="*/ 6512 w 10000"/>
                  <a:gd name="connsiteY70" fmla="*/ 9661 h 10049"/>
                  <a:gd name="connsiteX71" fmla="*/ 6637 w 10000"/>
                  <a:gd name="connsiteY71" fmla="*/ 9758 h 10049"/>
                  <a:gd name="connsiteX72" fmla="*/ 6763 w 10000"/>
                  <a:gd name="connsiteY72" fmla="*/ 10049 h 10049"/>
                  <a:gd name="connsiteX73" fmla="*/ 7138 w 10000"/>
                  <a:gd name="connsiteY73" fmla="*/ 9952 h 10049"/>
                  <a:gd name="connsiteX74" fmla="*/ 7764 w 10000"/>
                  <a:gd name="connsiteY74" fmla="*/ 9855 h 10049"/>
                  <a:gd name="connsiteX75" fmla="*/ 8015 w 10000"/>
                  <a:gd name="connsiteY75" fmla="*/ 9855 h 10049"/>
                  <a:gd name="connsiteX76" fmla="*/ 8516 w 10000"/>
                  <a:gd name="connsiteY76" fmla="*/ 9758 h 10049"/>
                  <a:gd name="connsiteX77" fmla="*/ 8766 w 10000"/>
                  <a:gd name="connsiteY77" fmla="*/ 9952 h 10049"/>
                  <a:gd name="connsiteX78" fmla="*/ 9017 w 10000"/>
                  <a:gd name="connsiteY78" fmla="*/ 9564 h 10049"/>
                  <a:gd name="connsiteX79" fmla="*/ 8891 w 10000"/>
                  <a:gd name="connsiteY79" fmla="*/ 9272 h 10049"/>
                  <a:gd name="connsiteX80" fmla="*/ 8766 w 10000"/>
                  <a:gd name="connsiteY80" fmla="*/ 8496 h 10049"/>
                  <a:gd name="connsiteX81" fmla="*/ 9392 w 10000"/>
                  <a:gd name="connsiteY81" fmla="*/ 8399 h 10049"/>
                  <a:gd name="connsiteX82" fmla="*/ 9893 w 10000"/>
                  <a:gd name="connsiteY82" fmla="*/ 7913 h 10049"/>
                  <a:gd name="connsiteX83" fmla="*/ 9769 w 10000"/>
                  <a:gd name="connsiteY83" fmla="*/ 7428 h 10049"/>
                  <a:gd name="connsiteX0" fmla="*/ 9769 w 10000"/>
                  <a:gd name="connsiteY0" fmla="*/ 7767 h 10388"/>
                  <a:gd name="connsiteX1" fmla="*/ 9268 w 10000"/>
                  <a:gd name="connsiteY1" fmla="*/ 7378 h 10388"/>
                  <a:gd name="connsiteX2" fmla="*/ 8766 w 10000"/>
                  <a:gd name="connsiteY2" fmla="*/ 7087 h 10388"/>
                  <a:gd name="connsiteX3" fmla="*/ 8516 w 10000"/>
                  <a:gd name="connsiteY3" fmla="*/ 6310 h 10388"/>
                  <a:gd name="connsiteX4" fmla="*/ 8891 w 10000"/>
                  <a:gd name="connsiteY4" fmla="*/ 5728 h 10388"/>
                  <a:gd name="connsiteX5" fmla="*/ 9544 w 10000"/>
                  <a:gd name="connsiteY5" fmla="*/ 5288 h 10388"/>
                  <a:gd name="connsiteX6" fmla="*/ 9228 w 10000"/>
                  <a:gd name="connsiteY6" fmla="*/ 4844 h 10388"/>
                  <a:gd name="connsiteX7" fmla="*/ 9142 w 10000"/>
                  <a:gd name="connsiteY7" fmla="*/ 4369 h 10388"/>
                  <a:gd name="connsiteX8" fmla="*/ 8642 w 10000"/>
                  <a:gd name="connsiteY8" fmla="*/ 4077 h 10388"/>
                  <a:gd name="connsiteX9" fmla="*/ 7890 w 10000"/>
                  <a:gd name="connsiteY9" fmla="*/ 4563 h 10388"/>
                  <a:gd name="connsiteX10" fmla="*/ 7639 w 10000"/>
                  <a:gd name="connsiteY10" fmla="*/ 4271 h 10388"/>
                  <a:gd name="connsiteX11" fmla="*/ 7005 w 10000"/>
                  <a:gd name="connsiteY11" fmla="*/ 3948 h 10388"/>
                  <a:gd name="connsiteX12" fmla="*/ 6262 w 10000"/>
                  <a:gd name="connsiteY12" fmla="*/ 3883 h 10388"/>
                  <a:gd name="connsiteX13" fmla="*/ 6136 w 10000"/>
                  <a:gd name="connsiteY13" fmla="*/ 3689 h 10388"/>
                  <a:gd name="connsiteX14" fmla="*/ 6136 w 10000"/>
                  <a:gd name="connsiteY14" fmla="*/ 3398 h 10388"/>
                  <a:gd name="connsiteX15" fmla="*/ 6011 w 10000"/>
                  <a:gd name="connsiteY15" fmla="*/ 3009 h 10388"/>
                  <a:gd name="connsiteX16" fmla="*/ 5686 w 10000"/>
                  <a:gd name="connsiteY16" fmla="*/ 2584 h 10388"/>
                  <a:gd name="connsiteX17" fmla="*/ 5227 w 10000"/>
                  <a:gd name="connsiteY17" fmla="*/ 2090 h 10388"/>
                  <a:gd name="connsiteX18" fmla="*/ 4976 w 10000"/>
                  <a:gd name="connsiteY18" fmla="*/ 1553 h 10388"/>
                  <a:gd name="connsiteX19" fmla="*/ 5086 w 10000"/>
                  <a:gd name="connsiteY19" fmla="*/ 939 h 10388"/>
                  <a:gd name="connsiteX20" fmla="*/ 4401 w 10000"/>
                  <a:gd name="connsiteY20" fmla="*/ 49 h 10388"/>
                  <a:gd name="connsiteX21" fmla="*/ 3498 w 10000"/>
                  <a:gd name="connsiteY21" fmla="*/ 351 h 10388"/>
                  <a:gd name="connsiteX22" fmla="*/ 2630 w 10000"/>
                  <a:gd name="connsiteY22" fmla="*/ 388 h 10388"/>
                  <a:gd name="connsiteX23" fmla="*/ 1879 w 10000"/>
                  <a:gd name="connsiteY23" fmla="*/ 388 h 10388"/>
                  <a:gd name="connsiteX24" fmla="*/ 1253 w 10000"/>
                  <a:gd name="connsiteY24" fmla="*/ 679 h 10388"/>
                  <a:gd name="connsiteX25" fmla="*/ 626 w 10000"/>
                  <a:gd name="connsiteY25" fmla="*/ 776 h 10388"/>
                  <a:gd name="connsiteX26" fmla="*/ 0 w 10000"/>
                  <a:gd name="connsiteY26" fmla="*/ 971 h 10388"/>
                  <a:gd name="connsiteX27" fmla="*/ 251 w 10000"/>
                  <a:gd name="connsiteY27" fmla="*/ 1456 h 10388"/>
                  <a:gd name="connsiteX28" fmla="*/ 251 w 10000"/>
                  <a:gd name="connsiteY28" fmla="*/ 1844 h 10388"/>
                  <a:gd name="connsiteX29" fmla="*/ 501 w 10000"/>
                  <a:gd name="connsiteY29" fmla="*/ 2038 h 10388"/>
                  <a:gd name="connsiteX30" fmla="*/ 876 w 10000"/>
                  <a:gd name="connsiteY30" fmla="*/ 2621 h 10388"/>
                  <a:gd name="connsiteX31" fmla="*/ 1253 w 10000"/>
                  <a:gd name="connsiteY31" fmla="*/ 2815 h 10388"/>
                  <a:gd name="connsiteX32" fmla="*/ 752 w 10000"/>
                  <a:gd name="connsiteY32" fmla="*/ 3009 h 10388"/>
                  <a:gd name="connsiteX33" fmla="*/ 752 w 10000"/>
                  <a:gd name="connsiteY33" fmla="*/ 3495 h 10388"/>
                  <a:gd name="connsiteX34" fmla="*/ 1002 w 10000"/>
                  <a:gd name="connsiteY34" fmla="*/ 3495 h 10388"/>
                  <a:gd name="connsiteX35" fmla="*/ 1253 w 10000"/>
                  <a:gd name="connsiteY35" fmla="*/ 3786 h 10388"/>
                  <a:gd name="connsiteX36" fmla="*/ 876 w 10000"/>
                  <a:gd name="connsiteY36" fmla="*/ 4757 h 10388"/>
                  <a:gd name="connsiteX37" fmla="*/ 1253 w 10000"/>
                  <a:gd name="connsiteY37" fmla="*/ 5145 h 10388"/>
                  <a:gd name="connsiteX38" fmla="*/ 1628 w 10000"/>
                  <a:gd name="connsiteY38" fmla="*/ 5437 h 10388"/>
                  <a:gd name="connsiteX39" fmla="*/ 2003 w 10000"/>
                  <a:gd name="connsiteY39" fmla="*/ 5825 h 10388"/>
                  <a:gd name="connsiteX40" fmla="*/ 1502 w 10000"/>
                  <a:gd name="connsiteY40" fmla="*/ 5825 h 10388"/>
                  <a:gd name="connsiteX41" fmla="*/ 1378 w 10000"/>
                  <a:gd name="connsiteY41" fmla="*/ 6116 h 10388"/>
                  <a:gd name="connsiteX42" fmla="*/ 1753 w 10000"/>
                  <a:gd name="connsiteY42" fmla="*/ 6602 h 10388"/>
                  <a:gd name="connsiteX43" fmla="*/ 1502 w 10000"/>
                  <a:gd name="connsiteY43" fmla="*/ 6893 h 10388"/>
                  <a:gd name="connsiteX44" fmla="*/ 1002 w 10000"/>
                  <a:gd name="connsiteY44" fmla="*/ 7087 h 10388"/>
                  <a:gd name="connsiteX45" fmla="*/ 1753 w 10000"/>
                  <a:gd name="connsiteY45" fmla="*/ 7475 h 10388"/>
                  <a:gd name="connsiteX46" fmla="*/ 3381 w 10000"/>
                  <a:gd name="connsiteY46" fmla="*/ 8252 h 10388"/>
                  <a:gd name="connsiteX47" fmla="*/ 3381 w 10000"/>
                  <a:gd name="connsiteY47" fmla="*/ 8543 h 10388"/>
                  <a:gd name="connsiteX48" fmla="*/ 3882 w 10000"/>
                  <a:gd name="connsiteY48" fmla="*/ 8446 h 10388"/>
                  <a:gd name="connsiteX49" fmla="*/ 3757 w 10000"/>
                  <a:gd name="connsiteY49" fmla="*/ 8252 h 10388"/>
                  <a:gd name="connsiteX50" fmla="*/ 4133 w 10000"/>
                  <a:gd name="connsiteY50" fmla="*/ 8058 h 10388"/>
                  <a:gd name="connsiteX51" fmla="*/ 3882 w 10000"/>
                  <a:gd name="connsiteY51" fmla="*/ 7670 h 10388"/>
                  <a:gd name="connsiteX52" fmla="*/ 4133 w 10000"/>
                  <a:gd name="connsiteY52" fmla="*/ 7475 h 10388"/>
                  <a:gd name="connsiteX53" fmla="*/ 4258 w 10000"/>
                  <a:gd name="connsiteY53" fmla="*/ 7572 h 10388"/>
                  <a:gd name="connsiteX54" fmla="*/ 4383 w 10000"/>
                  <a:gd name="connsiteY54" fmla="*/ 7572 h 10388"/>
                  <a:gd name="connsiteX55" fmla="*/ 4258 w 10000"/>
                  <a:gd name="connsiteY55" fmla="*/ 7767 h 10388"/>
                  <a:gd name="connsiteX56" fmla="*/ 4508 w 10000"/>
                  <a:gd name="connsiteY56" fmla="*/ 7864 h 10388"/>
                  <a:gd name="connsiteX57" fmla="*/ 4759 w 10000"/>
                  <a:gd name="connsiteY57" fmla="*/ 7670 h 10388"/>
                  <a:gd name="connsiteX58" fmla="*/ 5135 w 10000"/>
                  <a:gd name="connsiteY58" fmla="*/ 7767 h 10388"/>
                  <a:gd name="connsiteX59" fmla="*/ 5385 w 10000"/>
                  <a:gd name="connsiteY59" fmla="*/ 8058 h 10388"/>
                  <a:gd name="connsiteX60" fmla="*/ 5636 w 10000"/>
                  <a:gd name="connsiteY60" fmla="*/ 8058 h 10388"/>
                  <a:gd name="connsiteX61" fmla="*/ 5636 w 10000"/>
                  <a:gd name="connsiteY61" fmla="*/ 8349 h 10388"/>
                  <a:gd name="connsiteX62" fmla="*/ 5886 w 10000"/>
                  <a:gd name="connsiteY62" fmla="*/ 8543 h 10388"/>
                  <a:gd name="connsiteX63" fmla="*/ 6011 w 10000"/>
                  <a:gd name="connsiteY63" fmla="*/ 8543 h 10388"/>
                  <a:gd name="connsiteX64" fmla="*/ 6011 w 10000"/>
                  <a:gd name="connsiteY64" fmla="*/ 8932 h 10388"/>
                  <a:gd name="connsiteX65" fmla="*/ 6387 w 10000"/>
                  <a:gd name="connsiteY65" fmla="*/ 9223 h 10388"/>
                  <a:gd name="connsiteX66" fmla="*/ 6763 w 10000"/>
                  <a:gd name="connsiteY66" fmla="*/ 9320 h 10388"/>
                  <a:gd name="connsiteX67" fmla="*/ 6763 w 10000"/>
                  <a:gd name="connsiteY67" fmla="*/ 9514 h 10388"/>
                  <a:gd name="connsiteX68" fmla="*/ 6637 w 10000"/>
                  <a:gd name="connsiteY68" fmla="*/ 9611 h 10388"/>
                  <a:gd name="connsiteX69" fmla="*/ 6512 w 10000"/>
                  <a:gd name="connsiteY69" fmla="*/ 9805 h 10388"/>
                  <a:gd name="connsiteX70" fmla="*/ 6512 w 10000"/>
                  <a:gd name="connsiteY70" fmla="*/ 10000 h 10388"/>
                  <a:gd name="connsiteX71" fmla="*/ 6637 w 10000"/>
                  <a:gd name="connsiteY71" fmla="*/ 10097 h 10388"/>
                  <a:gd name="connsiteX72" fmla="*/ 6763 w 10000"/>
                  <a:gd name="connsiteY72" fmla="*/ 10388 h 10388"/>
                  <a:gd name="connsiteX73" fmla="*/ 7138 w 10000"/>
                  <a:gd name="connsiteY73" fmla="*/ 10291 h 10388"/>
                  <a:gd name="connsiteX74" fmla="*/ 7764 w 10000"/>
                  <a:gd name="connsiteY74" fmla="*/ 10194 h 10388"/>
                  <a:gd name="connsiteX75" fmla="*/ 8015 w 10000"/>
                  <a:gd name="connsiteY75" fmla="*/ 10194 h 10388"/>
                  <a:gd name="connsiteX76" fmla="*/ 8516 w 10000"/>
                  <a:gd name="connsiteY76" fmla="*/ 10097 h 10388"/>
                  <a:gd name="connsiteX77" fmla="*/ 8766 w 10000"/>
                  <a:gd name="connsiteY77" fmla="*/ 10291 h 10388"/>
                  <a:gd name="connsiteX78" fmla="*/ 9017 w 10000"/>
                  <a:gd name="connsiteY78" fmla="*/ 9903 h 10388"/>
                  <a:gd name="connsiteX79" fmla="*/ 8891 w 10000"/>
                  <a:gd name="connsiteY79" fmla="*/ 9611 h 10388"/>
                  <a:gd name="connsiteX80" fmla="*/ 8766 w 10000"/>
                  <a:gd name="connsiteY80" fmla="*/ 8835 h 10388"/>
                  <a:gd name="connsiteX81" fmla="*/ 9392 w 10000"/>
                  <a:gd name="connsiteY81" fmla="*/ 8738 h 10388"/>
                  <a:gd name="connsiteX82" fmla="*/ 9893 w 10000"/>
                  <a:gd name="connsiteY82" fmla="*/ 8252 h 10388"/>
                  <a:gd name="connsiteX83" fmla="*/ 9769 w 10000"/>
                  <a:gd name="connsiteY83" fmla="*/ 7767 h 10388"/>
                  <a:gd name="connsiteX0" fmla="*/ 9769 w 10000"/>
                  <a:gd name="connsiteY0" fmla="*/ 7846 h 10467"/>
                  <a:gd name="connsiteX1" fmla="*/ 9268 w 10000"/>
                  <a:gd name="connsiteY1" fmla="*/ 7457 h 10467"/>
                  <a:gd name="connsiteX2" fmla="*/ 8766 w 10000"/>
                  <a:gd name="connsiteY2" fmla="*/ 7166 h 10467"/>
                  <a:gd name="connsiteX3" fmla="*/ 8516 w 10000"/>
                  <a:gd name="connsiteY3" fmla="*/ 6389 h 10467"/>
                  <a:gd name="connsiteX4" fmla="*/ 8891 w 10000"/>
                  <a:gd name="connsiteY4" fmla="*/ 5807 h 10467"/>
                  <a:gd name="connsiteX5" fmla="*/ 9544 w 10000"/>
                  <a:gd name="connsiteY5" fmla="*/ 5367 h 10467"/>
                  <a:gd name="connsiteX6" fmla="*/ 9228 w 10000"/>
                  <a:gd name="connsiteY6" fmla="*/ 4923 h 10467"/>
                  <a:gd name="connsiteX7" fmla="*/ 9142 w 10000"/>
                  <a:gd name="connsiteY7" fmla="*/ 4448 h 10467"/>
                  <a:gd name="connsiteX8" fmla="*/ 8642 w 10000"/>
                  <a:gd name="connsiteY8" fmla="*/ 4156 h 10467"/>
                  <a:gd name="connsiteX9" fmla="*/ 7890 w 10000"/>
                  <a:gd name="connsiteY9" fmla="*/ 4642 h 10467"/>
                  <a:gd name="connsiteX10" fmla="*/ 7639 w 10000"/>
                  <a:gd name="connsiteY10" fmla="*/ 4350 h 10467"/>
                  <a:gd name="connsiteX11" fmla="*/ 7005 w 10000"/>
                  <a:gd name="connsiteY11" fmla="*/ 4027 h 10467"/>
                  <a:gd name="connsiteX12" fmla="*/ 6262 w 10000"/>
                  <a:gd name="connsiteY12" fmla="*/ 3962 h 10467"/>
                  <a:gd name="connsiteX13" fmla="*/ 6136 w 10000"/>
                  <a:gd name="connsiteY13" fmla="*/ 3768 h 10467"/>
                  <a:gd name="connsiteX14" fmla="*/ 6136 w 10000"/>
                  <a:gd name="connsiteY14" fmla="*/ 3477 h 10467"/>
                  <a:gd name="connsiteX15" fmla="*/ 6011 w 10000"/>
                  <a:gd name="connsiteY15" fmla="*/ 3088 h 10467"/>
                  <a:gd name="connsiteX16" fmla="*/ 5686 w 10000"/>
                  <a:gd name="connsiteY16" fmla="*/ 2663 h 10467"/>
                  <a:gd name="connsiteX17" fmla="*/ 5227 w 10000"/>
                  <a:gd name="connsiteY17" fmla="*/ 2169 h 10467"/>
                  <a:gd name="connsiteX18" fmla="*/ 4976 w 10000"/>
                  <a:gd name="connsiteY18" fmla="*/ 1632 h 10467"/>
                  <a:gd name="connsiteX19" fmla="*/ 5086 w 10000"/>
                  <a:gd name="connsiteY19" fmla="*/ 1018 h 10467"/>
                  <a:gd name="connsiteX20" fmla="*/ 4401 w 10000"/>
                  <a:gd name="connsiteY20" fmla="*/ 128 h 10467"/>
                  <a:gd name="connsiteX21" fmla="*/ 3498 w 10000"/>
                  <a:gd name="connsiteY21" fmla="*/ 61 h 10467"/>
                  <a:gd name="connsiteX22" fmla="*/ 2630 w 10000"/>
                  <a:gd name="connsiteY22" fmla="*/ 467 h 10467"/>
                  <a:gd name="connsiteX23" fmla="*/ 1879 w 10000"/>
                  <a:gd name="connsiteY23" fmla="*/ 467 h 10467"/>
                  <a:gd name="connsiteX24" fmla="*/ 1253 w 10000"/>
                  <a:gd name="connsiteY24" fmla="*/ 758 h 10467"/>
                  <a:gd name="connsiteX25" fmla="*/ 626 w 10000"/>
                  <a:gd name="connsiteY25" fmla="*/ 855 h 10467"/>
                  <a:gd name="connsiteX26" fmla="*/ 0 w 10000"/>
                  <a:gd name="connsiteY26" fmla="*/ 1050 h 10467"/>
                  <a:gd name="connsiteX27" fmla="*/ 251 w 10000"/>
                  <a:gd name="connsiteY27" fmla="*/ 1535 h 10467"/>
                  <a:gd name="connsiteX28" fmla="*/ 251 w 10000"/>
                  <a:gd name="connsiteY28" fmla="*/ 1923 h 10467"/>
                  <a:gd name="connsiteX29" fmla="*/ 501 w 10000"/>
                  <a:gd name="connsiteY29" fmla="*/ 2117 h 10467"/>
                  <a:gd name="connsiteX30" fmla="*/ 876 w 10000"/>
                  <a:gd name="connsiteY30" fmla="*/ 2700 h 10467"/>
                  <a:gd name="connsiteX31" fmla="*/ 1253 w 10000"/>
                  <a:gd name="connsiteY31" fmla="*/ 2894 h 10467"/>
                  <a:gd name="connsiteX32" fmla="*/ 752 w 10000"/>
                  <a:gd name="connsiteY32" fmla="*/ 3088 h 10467"/>
                  <a:gd name="connsiteX33" fmla="*/ 752 w 10000"/>
                  <a:gd name="connsiteY33" fmla="*/ 3574 h 10467"/>
                  <a:gd name="connsiteX34" fmla="*/ 1002 w 10000"/>
                  <a:gd name="connsiteY34" fmla="*/ 3574 h 10467"/>
                  <a:gd name="connsiteX35" fmla="*/ 1253 w 10000"/>
                  <a:gd name="connsiteY35" fmla="*/ 3865 h 10467"/>
                  <a:gd name="connsiteX36" fmla="*/ 876 w 10000"/>
                  <a:gd name="connsiteY36" fmla="*/ 4836 h 10467"/>
                  <a:gd name="connsiteX37" fmla="*/ 1253 w 10000"/>
                  <a:gd name="connsiteY37" fmla="*/ 5224 h 10467"/>
                  <a:gd name="connsiteX38" fmla="*/ 1628 w 10000"/>
                  <a:gd name="connsiteY38" fmla="*/ 5516 h 10467"/>
                  <a:gd name="connsiteX39" fmla="*/ 2003 w 10000"/>
                  <a:gd name="connsiteY39" fmla="*/ 5904 h 10467"/>
                  <a:gd name="connsiteX40" fmla="*/ 1502 w 10000"/>
                  <a:gd name="connsiteY40" fmla="*/ 5904 h 10467"/>
                  <a:gd name="connsiteX41" fmla="*/ 1378 w 10000"/>
                  <a:gd name="connsiteY41" fmla="*/ 6195 h 10467"/>
                  <a:gd name="connsiteX42" fmla="*/ 1753 w 10000"/>
                  <a:gd name="connsiteY42" fmla="*/ 6681 h 10467"/>
                  <a:gd name="connsiteX43" fmla="*/ 1502 w 10000"/>
                  <a:gd name="connsiteY43" fmla="*/ 6972 h 10467"/>
                  <a:gd name="connsiteX44" fmla="*/ 1002 w 10000"/>
                  <a:gd name="connsiteY44" fmla="*/ 7166 h 10467"/>
                  <a:gd name="connsiteX45" fmla="*/ 1753 w 10000"/>
                  <a:gd name="connsiteY45" fmla="*/ 7554 h 10467"/>
                  <a:gd name="connsiteX46" fmla="*/ 3381 w 10000"/>
                  <a:gd name="connsiteY46" fmla="*/ 8331 h 10467"/>
                  <a:gd name="connsiteX47" fmla="*/ 3381 w 10000"/>
                  <a:gd name="connsiteY47" fmla="*/ 8622 h 10467"/>
                  <a:gd name="connsiteX48" fmla="*/ 3882 w 10000"/>
                  <a:gd name="connsiteY48" fmla="*/ 8525 h 10467"/>
                  <a:gd name="connsiteX49" fmla="*/ 3757 w 10000"/>
                  <a:gd name="connsiteY49" fmla="*/ 8331 h 10467"/>
                  <a:gd name="connsiteX50" fmla="*/ 4133 w 10000"/>
                  <a:gd name="connsiteY50" fmla="*/ 8137 h 10467"/>
                  <a:gd name="connsiteX51" fmla="*/ 3882 w 10000"/>
                  <a:gd name="connsiteY51" fmla="*/ 7749 h 10467"/>
                  <a:gd name="connsiteX52" fmla="*/ 4133 w 10000"/>
                  <a:gd name="connsiteY52" fmla="*/ 7554 h 10467"/>
                  <a:gd name="connsiteX53" fmla="*/ 4258 w 10000"/>
                  <a:gd name="connsiteY53" fmla="*/ 7651 h 10467"/>
                  <a:gd name="connsiteX54" fmla="*/ 4383 w 10000"/>
                  <a:gd name="connsiteY54" fmla="*/ 7651 h 10467"/>
                  <a:gd name="connsiteX55" fmla="*/ 4258 w 10000"/>
                  <a:gd name="connsiteY55" fmla="*/ 7846 h 10467"/>
                  <a:gd name="connsiteX56" fmla="*/ 4508 w 10000"/>
                  <a:gd name="connsiteY56" fmla="*/ 7943 h 10467"/>
                  <a:gd name="connsiteX57" fmla="*/ 4759 w 10000"/>
                  <a:gd name="connsiteY57" fmla="*/ 7749 h 10467"/>
                  <a:gd name="connsiteX58" fmla="*/ 5135 w 10000"/>
                  <a:gd name="connsiteY58" fmla="*/ 7846 h 10467"/>
                  <a:gd name="connsiteX59" fmla="*/ 5385 w 10000"/>
                  <a:gd name="connsiteY59" fmla="*/ 8137 h 10467"/>
                  <a:gd name="connsiteX60" fmla="*/ 5636 w 10000"/>
                  <a:gd name="connsiteY60" fmla="*/ 8137 h 10467"/>
                  <a:gd name="connsiteX61" fmla="*/ 5636 w 10000"/>
                  <a:gd name="connsiteY61" fmla="*/ 8428 h 10467"/>
                  <a:gd name="connsiteX62" fmla="*/ 5886 w 10000"/>
                  <a:gd name="connsiteY62" fmla="*/ 8622 h 10467"/>
                  <a:gd name="connsiteX63" fmla="*/ 6011 w 10000"/>
                  <a:gd name="connsiteY63" fmla="*/ 8622 h 10467"/>
                  <a:gd name="connsiteX64" fmla="*/ 6011 w 10000"/>
                  <a:gd name="connsiteY64" fmla="*/ 9011 h 10467"/>
                  <a:gd name="connsiteX65" fmla="*/ 6387 w 10000"/>
                  <a:gd name="connsiteY65" fmla="*/ 9302 h 10467"/>
                  <a:gd name="connsiteX66" fmla="*/ 6763 w 10000"/>
                  <a:gd name="connsiteY66" fmla="*/ 9399 h 10467"/>
                  <a:gd name="connsiteX67" fmla="*/ 6763 w 10000"/>
                  <a:gd name="connsiteY67" fmla="*/ 9593 h 10467"/>
                  <a:gd name="connsiteX68" fmla="*/ 6637 w 10000"/>
                  <a:gd name="connsiteY68" fmla="*/ 9690 h 10467"/>
                  <a:gd name="connsiteX69" fmla="*/ 6512 w 10000"/>
                  <a:gd name="connsiteY69" fmla="*/ 9884 h 10467"/>
                  <a:gd name="connsiteX70" fmla="*/ 6512 w 10000"/>
                  <a:gd name="connsiteY70" fmla="*/ 10079 h 10467"/>
                  <a:gd name="connsiteX71" fmla="*/ 6637 w 10000"/>
                  <a:gd name="connsiteY71" fmla="*/ 10176 h 10467"/>
                  <a:gd name="connsiteX72" fmla="*/ 6763 w 10000"/>
                  <a:gd name="connsiteY72" fmla="*/ 10467 h 10467"/>
                  <a:gd name="connsiteX73" fmla="*/ 7138 w 10000"/>
                  <a:gd name="connsiteY73" fmla="*/ 10370 h 10467"/>
                  <a:gd name="connsiteX74" fmla="*/ 7764 w 10000"/>
                  <a:gd name="connsiteY74" fmla="*/ 10273 h 10467"/>
                  <a:gd name="connsiteX75" fmla="*/ 8015 w 10000"/>
                  <a:gd name="connsiteY75" fmla="*/ 10273 h 10467"/>
                  <a:gd name="connsiteX76" fmla="*/ 8516 w 10000"/>
                  <a:gd name="connsiteY76" fmla="*/ 10176 h 10467"/>
                  <a:gd name="connsiteX77" fmla="*/ 8766 w 10000"/>
                  <a:gd name="connsiteY77" fmla="*/ 10370 h 10467"/>
                  <a:gd name="connsiteX78" fmla="*/ 9017 w 10000"/>
                  <a:gd name="connsiteY78" fmla="*/ 9982 h 10467"/>
                  <a:gd name="connsiteX79" fmla="*/ 8891 w 10000"/>
                  <a:gd name="connsiteY79" fmla="*/ 9690 h 10467"/>
                  <a:gd name="connsiteX80" fmla="*/ 8766 w 10000"/>
                  <a:gd name="connsiteY80" fmla="*/ 8914 h 10467"/>
                  <a:gd name="connsiteX81" fmla="*/ 9392 w 10000"/>
                  <a:gd name="connsiteY81" fmla="*/ 8817 h 10467"/>
                  <a:gd name="connsiteX82" fmla="*/ 9893 w 10000"/>
                  <a:gd name="connsiteY82" fmla="*/ 8331 h 10467"/>
                  <a:gd name="connsiteX83" fmla="*/ 9769 w 10000"/>
                  <a:gd name="connsiteY83" fmla="*/ 7846 h 10467"/>
                  <a:gd name="connsiteX0" fmla="*/ 9769 w 10000"/>
                  <a:gd name="connsiteY0" fmla="*/ 7833 h 10454"/>
                  <a:gd name="connsiteX1" fmla="*/ 9268 w 10000"/>
                  <a:gd name="connsiteY1" fmla="*/ 7444 h 10454"/>
                  <a:gd name="connsiteX2" fmla="*/ 8766 w 10000"/>
                  <a:gd name="connsiteY2" fmla="*/ 7153 h 10454"/>
                  <a:gd name="connsiteX3" fmla="*/ 8516 w 10000"/>
                  <a:gd name="connsiteY3" fmla="*/ 6376 h 10454"/>
                  <a:gd name="connsiteX4" fmla="*/ 8891 w 10000"/>
                  <a:gd name="connsiteY4" fmla="*/ 5794 h 10454"/>
                  <a:gd name="connsiteX5" fmla="*/ 9544 w 10000"/>
                  <a:gd name="connsiteY5" fmla="*/ 5354 h 10454"/>
                  <a:gd name="connsiteX6" fmla="*/ 9228 w 10000"/>
                  <a:gd name="connsiteY6" fmla="*/ 4910 h 10454"/>
                  <a:gd name="connsiteX7" fmla="*/ 9142 w 10000"/>
                  <a:gd name="connsiteY7" fmla="*/ 4435 h 10454"/>
                  <a:gd name="connsiteX8" fmla="*/ 8642 w 10000"/>
                  <a:gd name="connsiteY8" fmla="*/ 4143 h 10454"/>
                  <a:gd name="connsiteX9" fmla="*/ 7890 w 10000"/>
                  <a:gd name="connsiteY9" fmla="*/ 4629 h 10454"/>
                  <a:gd name="connsiteX10" fmla="*/ 7639 w 10000"/>
                  <a:gd name="connsiteY10" fmla="*/ 4337 h 10454"/>
                  <a:gd name="connsiteX11" fmla="*/ 7005 w 10000"/>
                  <a:gd name="connsiteY11" fmla="*/ 4014 h 10454"/>
                  <a:gd name="connsiteX12" fmla="*/ 6262 w 10000"/>
                  <a:gd name="connsiteY12" fmla="*/ 3949 h 10454"/>
                  <a:gd name="connsiteX13" fmla="*/ 6136 w 10000"/>
                  <a:gd name="connsiteY13" fmla="*/ 3755 h 10454"/>
                  <a:gd name="connsiteX14" fmla="*/ 6136 w 10000"/>
                  <a:gd name="connsiteY14" fmla="*/ 3464 h 10454"/>
                  <a:gd name="connsiteX15" fmla="*/ 6011 w 10000"/>
                  <a:gd name="connsiteY15" fmla="*/ 3075 h 10454"/>
                  <a:gd name="connsiteX16" fmla="*/ 5686 w 10000"/>
                  <a:gd name="connsiteY16" fmla="*/ 2650 h 10454"/>
                  <a:gd name="connsiteX17" fmla="*/ 5227 w 10000"/>
                  <a:gd name="connsiteY17" fmla="*/ 2156 h 10454"/>
                  <a:gd name="connsiteX18" fmla="*/ 4976 w 10000"/>
                  <a:gd name="connsiteY18" fmla="*/ 1619 h 10454"/>
                  <a:gd name="connsiteX19" fmla="*/ 5086 w 10000"/>
                  <a:gd name="connsiteY19" fmla="*/ 1005 h 10454"/>
                  <a:gd name="connsiteX20" fmla="*/ 4401 w 10000"/>
                  <a:gd name="connsiteY20" fmla="*/ 115 h 10454"/>
                  <a:gd name="connsiteX21" fmla="*/ 3498 w 10000"/>
                  <a:gd name="connsiteY21" fmla="*/ 48 h 10454"/>
                  <a:gd name="connsiteX22" fmla="*/ 2630 w 10000"/>
                  <a:gd name="connsiteY22" fmla="*/ 223 h 10454"/>
                  <a:gd name="connsiteX23" fmla="*/ 1879 w 10000"/>
                  <a:gd name="connsiteY23" fmla="*/ 454 h 10454"/>
                  <a:gd name="connsiteX24" fmla="*/ 1253 w 10000"/>
                  <a:gd name="connsiteY24" fmla="*/ 745 h 10454"/>
                  <a:gd name="connsiteX25" fmla="*/ 626 w 10000"/>
                  <a:gd name="connsiteY25" fmla="*/ 842 h 10454"/>
                  <a:gd name="connsiteX26" fmla="*/ 0 w 10000"/>
                  <a:gd name="connsiteY26" fmla="*/ 1037 h 10454"/>
                  <a:gd name="connsiteX27" fmla="*/ 251 w 10000"/>
                  <a:gd name="connsiteY27" fmla="*/ 1522 h 10454"/>
                  <a:gd name="connsiteX28" fmla="*/ 251 w 10000"/>
                  <a:gd name="connsiteY28" fmla="*/ 1910 h 10454"/>
                  <a:gd name="connsiteX29" fmla="*/ 501 w 10000"/>
                  <a:gd name="connsiteY29" fmla="*/ 2104 h 10454"/>
                  <a:gd name="connsiteX30" fmla="*/ 876 w 10000"/>
                  <a:gd name="connsiteY30" fmla="*/ 2687 h 10454"/>
                  <a:gd name="connsiteX31" fmla="*/ 1253 w 10000"/>
                  <a:gd name="connsiteY31" fmla="*/ 2881 h 10454"/>
                  <a:gd name="connsiteX32" fmla="*/ 752 w 10000"/>
                  <a:gd name="connsiteY32" fmla="*/ 3075 h 10454"/>
                  <a:gd name="connsiteX33" fmla="*/ 752 w 10000"/>
                  <a:gd name="connsiteY33" fmla="*/ 3561 h 10454"/>
                  <a:gd name="connsiteX34" fmla="*/ 1002 w 10000"/>
                  <a:gd name="connsiteY34" fmla="*/ 3561 h 10454"/>
                  <a:gd name="connsiteX35" fmla="*/ 1253 w 10000"/>
                  <a:gd name="connsiteY35" fmla="*/ 3852 h 10454"/>
                  <a:gd name="connsiteX36" fmla="*/ 876 w 10000"/>
                  <a:gd name="connsiteY36" fmla="*/ 4823 h 10454"/>
                  <a:gd name="connsiteX37" fmla="*/ 1253 w 10000"/>
                  <a:gd name="connsiteY37" fmla="*/ 5211 h 10454"/>
                  <a:gd name="connsiteX38" fmla="*/ 1628 w 10000"/>
                  <a:gd name="connsiteY38" fmla="*/ 5503 h 10454"/>
                  <a:gd name="connsiteX39" fmla="*/ 2003 w 10000"/>
                  <a:gd name="connsiteY39" fmla="*/ 5891 h 10454"/>
                  <a:gd name="connsiteX40" fmla="*/ 1502 w 10000"/>
                  <a:gd name="connsiteY40" fmla="*/ 5891 h 10454"/>
                  <a:gd name="connsiteX41" fmla="*/ 1378 w 10000"/>
                  <a:gd name="connsiteY41" fmla="*/ 6182 h 10454"/>
                  <a:gd name="connsiteX42" fmla="*/ 1753 w 10000"/>
                  <a:gd name="connsiteY42" fmla="*/ 6668 h 10454"/>
                  <a:gd name="connsiteX43" fmla="*/ 1502 w 10000"/>
                  <a:gd name="connsiteY43" fmla="*/ 6959 h 10454"/>
                  <a:gd name="connsiteX44" fmla="*/ 1002 w 10000"/>
                  <a:gd name="connsiteY44" fmla="*/ 7153 h 10454"/>
                  <a:gd name="connsiteX45" fmla="*/ 1753 w 10000"/>
                  <a:gd name="connsiteY45" fmla="*/ 7541 h 10454"/>
                  <a:gd name="connsiteX46" fmla="*/ 3381 w 10000"/>
                  <a:gd name="connsiteY46" fmla="*/ 8318 h 10454"/>
                  <a:gd name="connsiteX47" fmla="*/ 3381 w 10000"/>
                  <a:gd name="connsiteY47" fmla="*/ 8609 h 10454"/>
                  <a:gd name="connsiteX48" fmla="*/ 3882 w 10000"/>
                  <a:gd name="connsiteY48" fmla="*/ 8512 h 10454"/>
                  <a:gd name="connsiteX49" fmla="*/ 3757 w 10000"/>
                  <a:gd name="connsiteY49" fmla="*/ 8318 h 10454"/>
                  <a:gd name="connsiteX50" fmla="*/ 4133 w 10000"/>
                  <a:gd name="connsiteY50" fmla="*/ 8124 h 10454"/>
                  <a:gd name="connsiteX51" fmla="*/ 3882 w 10000"/>
                  <a:gd name="connsiteY51" fmla="*/ 7736 h 10454"/>
                  <a:gd name="connsiteX52" fmla="*/ 4133 w 10000"/>
                  <a:gd name="connsiteY52" fmla="*/ 7541 h 10454"/>
                  <a:gd name="connsiteX53" fmla="*/ 4258 w 10000"/>
                  <a:gd name="connsiteY53" fmla="*/ 7638 h 10454"/>
                  <a:gd name="connsiteX54" fmla="*/ 4383 w 10000"/>
                  <a:gd name="connsiteY54" fmla="*/ 7638 h 10454"/>
                  <a:gd name="connsiteX55" fmla="*/ 4258 w 10000"/>
                  <a:gd name="connsiteY55" fmla="*/ 7833 h 10454"/>
                  <a:gd name="connsiteX56" fmla="*/ 4508 w 10000"/>
                  <a:gd name="connsiteY56" fmla="*/ 7930 h 10454"/>
                  <a:gd name="connsiteX57" fmla="*/ 4759 w 10000"/>
                  <a:gd name="connsiteY57" fmla="*/ 7736 h 10454"/>
                  <a:gd name="connsiteX58" fmla="*/ 5135 w 10000"/>
                  <a:gd name="connsiteY58" fmla="*/ 7833 h 10454"/>
                  <a:gd name="connsiteX59" fmla="*/ 5385 w 10000"/>
                  <a:gd name="connsiteY59" fmla="*/ 8124 h 10454"/>
                  <a:gd name="connsiteX60" fmla="*/ 5636 w 10000"/>
                  <a:gd name="connsiteY60" fmla="*/ 8124 h 10454"/>
                  <a:gd name="connsiteX61" fmla="*/ 5636 w 10000"/>
                  <a:gd name="connsiteY61" fmla="*/ 8415 h 10454"/>
                  <a:gd name="connsiteX62" fmla="*/ 5886 w 10000"/>
                  <a:gd name="connsiteY62" fmla="*/ 8609 h 10454"/>
                  <a:gd name="connsiteX63" fmla="*/ 6011 w 10000"/>
                  <a:gd name="connsiteY63" fmla="*/ 8609 h 10454"/>
                  <a:gd name="connsiteX64" fmla="*/ 6011 w 10000"/>
                  <a:gd name="connsiteY64" fmla="*/ 8998 h 10454"/>
                  <a:gd name="connsiteX65" fmla="*/ 6387 w 10000"/>
                  <a:gd name="connsiteY65" fmla="*/ 9289 h 10454"/>
                  <a:gd name="connsiteX66" fmla="*/ 6763 w 10000"/>
                  <a:gd name="connsiteY66" fmla="*/ 9386 h 10454"/>
                  <a:gd name="connsiteX67" fmla="*/ 6763 w 10000"/>
                  <a:gd name="connsiteY67" fmla="*/ 9580 h 10454"/>
                  <a:gd name="connsiteX68" fmla="*/ 6637 w 10000"/>
                  <a:gd name="connsiteY68" fmla="*/ 9677 h 10454"/>
                  <a:gd name="connsiteX69" fmla="*/ 6512 w 10000"/>
                  <a:gd name="connsiteY69" fmla="*/ 9871 h 10454"/>
                  <a:gd name="connsiteX70" fmla="*/ 6512 w 10000"/>
                  <a:gd name="connsiteY70" fmla="*/ 10066 h 10454"/>
                  <a:gd name="connsiteX71" fmla="*/ 6637 w 10000"/>
                  <a:gd name="connsiteY71" fmla="*/ 10163 h 10454"/>
                  <a:gd name="connsiteX72" fmla="*/ 6763 w 10000"/>
                  <a:gd name="connsiteY72" fmla="*/ 10454 h 10454"/>
                  <a:gd name="connsiteX73" fmla="*/ 7138 w 10000"/>
                  <a:gd name="connsiteY73" fmla="*/ 10357 h 10454"/>
                  <a:gd name="connsiteX74" fmla="*/ 7764 w 10000"/>
                  <a:gd name="connsiteY74" fmla="*/ 10260 h 10454"/>
                  <a:gd name="connsiteX75" fmla="*/ 8015 w 10000"/>
                  <a:gd name="connsiteY75" fmla="*/ 10260 h 10454"/>
                  <a:gd name="connsiteX76" fmla="*/ 8516 w 10000"/>
                  <a:gd name="connsiteY76" fmla="*/ 10163 h 10454"/>
                  <a:gd name="connsiteX77" fmla="*/ 8766 w 10000"/>
                  <a:gd name="connsiteY77" fmla="*/ 10357 h 10454"/>
                  <a:gd name="connsiteX78" fmla="*/ 9017 w 10000"/>
                  <a:gd name="connsiteY78" fmla="*/ 9969 h 10454"/>
                  <a:gd name="connsiteX79" fmla="*/ 8891 w 10000"/>
                  <a:gd name="connsiteY79" fmla="*/ 9677 h 10454"/>
                  <a:gd name="connsiteX80" fmla="*/ 8766 w 10000"/>
                  <a:gd name="connsiteY80" fmla="*/ 8901 h 10454"/>
                  <a:gd name="connsiteX81" fmla="*/ 9392 w 10000"/>
                  <a:gd name="connsiteY81" fmla="*/ 8804 h 10454"/>
                  <a:gd name="connsiteX82" fmla="*/ 9893 w 10000"/>
                  <a:gd name="connsiteY82" fmla="*/ 8318 h 10454"/>
                  <a:gd name="connsiteX83" fmla="*/ 9769 w 10000"/>
                  <a:gd name="connsiteY83" fmla="*/ 7833 h 10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0000" h="10454">
                    <a:moveTo>
                      <a:pt x="9769" y="7833"/>
                    </a:moveTo>
                    <a:cubicBezTo>
                      <a:pt x="9643" y="7638"/>
                      <a:pt x="9518" y="7444"/>
                      <a:pt x="9268" y="7444"/>
                    </a:cubicBezTo>
                    <a:cubicBezTo>
                      <a:pt x="9017" y="7347"/>
                      <a:pt x="9017" y="7347"/>
                      <a:pt x="8766" y="7153"/>
                    </a:cubicBezTo>
                    <a:cubicBezTo>
                      <a:pt x="8642" y="6862"/>
                      <a:pt x="8516" y="6862"/>
                      <a:pt x="8516" y="6376"/>
                    </a:cubicBezTo>
                    <a:cubicBezTo>
                      <a:pt x="8516" y="5988"/>
                      <a:pt x="8642" y="5988"/>
                      <a:pt x="8891" y="5794"/>
                    </a:cubicBezTo>
                    <a:cubicBezTo>
                      <a:pt x="9142" y="5503"/>
                      <a:pt x="9488" y="5501"/>
                      <a:pt x="9544" y="5354"/>
                    </a:cubicBezTo>
                    <a:cubicBezTo>
                      <a:pt x="9600" y="5207"/>
                      <a:pt x="9295" y="5063"/>
                      <a:pt x="9228" y="4910"/>
                    </a:cubicBezTo>
                    <a:cubicBezTo>
                      <a:pt x="9161" y="4757"/>
                      <a:pt x="9240" y="4563"/>
                      <a:pt x="9142" y="4435"/>
                    </a:cubicBezTo>
                    <a:cubicBezTo>
                      <a:pt x="9044" y="4307"/>
                      <a:pt x="8891" y="4240"/>
                      <a:pt x="8642" y="4143"/>
                    </a:cubicBezTo>
                    <a:cubicBezTo>
                      <a:pt x="8391" y="4143"/>
                      <a:pt x="8015" y="4435"/>
                      <a:pt x="7890" y="4629"/>
                    </a:cubicBezTo>
                    <a:cubicBezTo>
                      <a:pt x="7764" y="4823"/>
                      <a:pt x="7764" y="4629"/>
                      <a:pt x="7639" y="4337"/>
                    </a:cubicBezTo>
                    <a:cubicBezTo>
                      <a:pt x="7389" y="4046"/>
                      <a:pt x="7380" y="3917"/>
                      <a:pt x="7005" y="4014"/>
                    </a:cubicBezTo>
                    <a:cubicBezTo>
                      <a:pt x="6754" y="4112"/>
                      <a:pt x="6637" y="4046"/>
                      <a:pt x="6262" y="3949"/>
                    </a:cubicBezTo>
                    <a:cubicBezTo>
                      <a:pt x="6011" y="3755"/>
                      <a:pt x="6011" y="3852"/>
                      <a:pt x="6136" y="3755"/>
                    </a:cubicBezTo>
                    <a:cubicBezTo>
                      <a:pt x="6262" y="3658"/>
                      <a:pt x="6262" y="3561"/>
                      <a:pt x="6136" y="3464"/>
                    </a:cubicBezTo>
                    <a:cubicBezTo>
                      <a:pt x="5886" y="3270"/>
                      <a:pt x="6136" y="3367"/>
                      <a:pt x="6011" y="3075"/>
                    </a:cubicBezTo>
                    <a:cubicBezTo>
                      <a:pt x="6011" y="2784"/>
                      <a:pt x="6062" y="2747"/>
                      <a:pt x="5686" y="2650"/>
                    </a:cubicBezTo>
                    <a:cubicBezTo>
                      <a:pt x="5436" y="2456"/>
                      <a:pt x="5345" y="2328"/>
                      <a:pt x="5227" y="2156"/>
                    </a:cubicBezTo>
                    <a:cubicBezTo>
                      <a:pt x="5109" y="1984"/>
                      <a:pt x="5102" y="1716"/>
                      <a:pt x="4976" y="1619"/>
                    </a:cubicBezTo>
                    <a:cubicBezTo>
                      <a:pt x="4976" y="1425"/>
                      <a:pt x="5211" y="1102"/>
                      <a:pt x="5086" y="1005"/>
                    </a:cubicBezTo>
                    <a:cubicBezTo>
                      <a:pt x="4961" y="1005"/>
                      <a:pt x="4652" y="212"/>
                      <a:pt x="4401" y="115"/>
                    </a:cubicBezTo>
                    <a:cubicBezTo>
                      <a:pt x="4151" y="-80"/>
                      <a:pt x="3793" y="30"/>
                      <a:pt x="3498" y="48"/>
                    </a:cubicBezTo>
                    <a:cubicBezTo>
                      <a:pt x="3203" y="66"/>
                      <a:pt x="2755" y="223"/>
                      <a:pt x="2630" y="223"/>
                    </a:cubicBezTo>
                    <a:cubicBezTo>
                      <a:pt x="2380" y="320"/>
                      <a:pt x="2109" y="367"/>
                      <a:pt x="1879" y="454"/>
                    </a:cubicBezTo>
                    <a:cubicBezTo>
                      <a:pt x="1650" y="541"/>
                      <a:pt x="1502" y="551"/>
                      <a:pt x="1253" y="745"/>
                    </a:cubicBezTo>
                    <a:cubicBezTo>
                      <a:pt x="1002" y="939"/>
                      <a:pt x="752" y="842"/>
                      <a:pt x="626" y="842"/>
                    </a:cubicBezTo>
                    <a:cubicBezTo>
                      <a:pt x="375" y="939"/>
                      <a:pt x="0" y="1037"/>
                      <a:pt x="0" y="1037"/>
                    </a:cubicBezTo>
                    <a:cubicBezTo>
                      <a:pt x="0" y="1037"/>
                      <a:pt x="125" y="1231"/>
                      <a:pt x="251" y="1522"/>
                    </a:cubicBezTo>
                    <a:cubicBezTo>
                      <a:pt x="375" y="1813"/>
                      <a:pt x="251" y="1813"/>
                      <a:pt x="251" y="1910"/>
                    </a:cubicBezTo>
                    <a:cubicBezTo>
                      <a:pt x="375" y="2007"/>
                      <a:pt x="626" y="2007"/>
                      <a:pt x="501" y="2104"/>
                    </a:cubicBezTo>
                    <a:cubicBezTo>
                      <a:pt x="375" y="2299"/>
                      <a:pt x="626" y="2493"/>
                      <a:pt x="876" y="2687"/>
                    </a:cubicBezTo>
                    <a:cubicBezTo>
                      <a:pt x="1002" y="2784"/>
                      <a:pt x="1378" y="2881"/>
                      <a:pt x="1253" y="2881"/>
                    </a:cubicBezTo>
                    <a:cubicBezTo>
                      <a:pt x="1127" y="2978"/>
                      <a:pt x="626" y="2881"/>
                      <a:pt x="752" y="3075"/>
                    </a:cubicBezTo>
                    <a:cubicBezTo>
                      <a:pt x="876" y="3270"/>
                      <a:pt x="752" y="3561"/>
                      <a:pt x="752" y="3561"/>
                    </a:cubicBezTo>
                    <a:cubicBezTo>
                      <a:pt x="752" y="3561"/>
                      <a:pt x="752" y="3464"/>
                      <a:pt x="1002" y="3561"/>
                    </a:cubicBezTo>
                    <a:cubicBezTo>
                      <a:pt x="1127" y="3561"/>
                      <a:pt x="1253" y="3464"/>
                      <a:pt x="1253" y="3852"/>
                    </a:cubicBezTo>
                    <a:cubicBezTo>
                      <a:pt x="1253" y="4143"/>
                      <a:pt x="1002" y="4532"/>
                      <a:pt x="876" y="4823"/>
                    </a:cubicBezTo>
                    <a:cubicBezTo>
                      <a:pt x="752" y="5017"/>
                      <a:pt x="876" y="5114"/>
                      <a:pt x="1253" y="5211"/>
                    </a:cubicBezTo>
                    <a:cubicBezTo>
                      <a:pt x="1502" y="5405"/>
                      <a:pt x="1502" y="5308"/>
                      <a:pt x="1628" y="5503"/>
                    </a:cubicBezTo>
                    <a:cubicBezTo>
                      <a:pt x="1879" y="5794"/>
                      <a:pt x="2003" y="5697"/>
                      <a:pt x="2003" y="5891"/>
                    </a:cubicBezTo>
                    <a:cubicBezTo>
                      <a:pt x="2129" y="6085"/>
                      <a:pt x="1753" y="5988"/>
                      <a:pt x="1502" y="5891"/>
                    </a:cubicBezTo>
                    <a:cubicBezTo>
                      <a:pt x="1253" y="5891"/>
                      <a:pt x="1378" y="5988"/>
                      <a:pt x="1378" y="6182"/>
                    </a:cubicBezTo>
                    <a:cubicBezTo>
                      <a:pt x="1378" y="6279"/>
                      <a:pt x="1753" y="6473"/>
                      <a:pt x="1753" y="6668"/>
                    </a:cubicBezTo>
                    <a:cubicBezTo>
                      <a:pt x="1879" y="6765"/>
                      <a:pt x="1753" y="6959"/>
                      <a:pt x="1502" y="6959"/>
                    </a:cubicBezTo>
                    <a:cubicBezTo>
                      <a:pt x="1253" y="7056"/>
                      <a:pt x="1253" y="7153"/>
                      <a:pt x="1002" y="7153"/>
                    </a:cubicBezTo>
                    <a:lnTo>
                      <a:pt x="1753" y="7541"/>
                    </a:lnTo>
                    <a:lnTo>
                      <a:pt x="3381" y="8318"/>
                    </a:lnTo>
                    <a:lnTo>
                      <a:pt x="3381" y="8609"/>
                    </a:lnTo>
                    <a:lnTo>
                      <a:pt x="3882" y="8512"/>
                    </a:lnTo>
                    <a:lnTo>
                      <a:pt x="3757" y="8318"/>
                    </a:lnTo>
                    <a:lnTo>
                      <a:pt x="4133" y="8124"/>
                    </a:lnTo>
                    <a:cubicBezTo>
                      <a:pt x="4049" y="7995"/>
                      <a:pt x="3966" y="7865"/>
                      <a:pt x="3882" y="7736"/>
                    </a:cubicBezTo>
                    <a:lnTo>
                      <a:pt x="4133" y="7541"/>
                    </a:lnTo>
                    <a:cubicBezTo>
                      <a:pt x="4175" y="7573"/>
                      <a:pt x="4216" y="7606"/>
                      <a:pt x="4258" y="7638"/>
                    </a:cubicBezTo>
                    <a:lnTo>
                      <a:pt x="4383" y="7638"/>
                    </a:lnTo>
                    <a:cubicBezTo>
                      <a:pt x="4341" y="7703"/>
                      <a:pt x="4300" y="7768"/>
                      <a:pt x="4258" y="7833"/>
                    </a:cubicBezTo>
                    <a:lnTo>
                      <a:pt x="4508" y="7930"/>
                    </a:lnTo>
                    <a:lnTo>
                      <a:pt x="4759" y="7736"/>
                    </a:lnTo>
                    <a:lnTo>
                      <a:pt x="5135" y="7833"/>
                    </a:lnTo>
                    <a:lnTo>
                      <a:pt x="5385" y="8124"/>
                    </a:lnTo>
                    <a:lnTo>
                      <a:pt x="5636" y="8124"/>
                    </a:lnTo>
                    <a:lnTo>
                      <a:pt x="5636" y="8415"/>
                    </a:lnTo>
                    <a:lnTo>
                      <a:pt x="5886" y="8609"/>
                    </a:lnTo>
                    <a:lnTo>
                      <a:pt x="6011" y="8609"/>
                    </a:lnTo>
                    <a:lnTo>
                      <a:pt x="6011" y="8998"/>
                    </a:lnTo>
                    <a:lnTo>
                      <a:pt x="6387" y="9289"/>
                    </a:lnTo>
                    <a:lnTo>
                      <a:pt x="6763" y="9386"/>
                    </a:lnTo>
                    <a:lnTo>
                      <a:pt x="6763" y="9580"/>
                    </a:lnTo>
                    <a:lnTo>
                      <a:pt x="6637" y="9677"/>
                    </a:lnTo>
                    <a:lnTo>
                      <a:pt x="6512" y="9871"/>
                    </a:lnTo>
                    <a:lnTo>
                      <a:pt x="6512" y="10066"/>
                    </a:lnTo>
                    <a:cubicBezTo>
                      <a:pt x="6554" y="10098"/>
                      <a:pt x="6595" y="10131"/>
                      <a:pt x="6637" y="10163"/>
                    </a:cubicBezTo>
                    <a:lnTo>
                      <a:pt x="6763" y="10454"/>
                    </a:lnTo>
                    <a:cubicBezTo>
                      <a:pt x="6888" y="10454"/>
                      <a:pt x="7014" y="10454"/>
                      <a:pt x="7138" y="10357"/>
                    </a:cubicBezTo>
                    <a:cubicBezTo>
                      <a:pt x="7263" y="10260"/>
                      <a:pt x="7639" y="10163"/>
                      <a:pt x="7764" y="10260"/>
                    </a:cubicBezTo>
                    <a:cubicBezTo>
                      <a:pt x="7890" y="10260"/>
                      <a:pt x="7890" y="10357"/>
                      <a:pt x="8015" y="10260"/>
                    </a:cubicBezTo>
                    <a:cubicBezTo>
                      <a:pt x="8265" y="10163"/>
                      <a:pt x="8391" y="10163"/>
                      <a:pt x="8516" y="10163"/>
                    </a:cubicBezTo>
                    <a:cubicBezTo>
                      <a:pt x="8766" y="10163"/>
                      <a:pt x="8766" y="10357"/>
                      <a:pt x="8766" y="10357"/>
                    </a:cubicBezTo>
                    <a:cubicBezTo>
                      <a:pt x="8766" y="10357"/>
                      <a:pt x="9017" y="10163"/>
                      <a:pt x="9017" y="9969"/>
                    </a:cubicBezTo>
                    <a:cubicBezTo>
                      <a:pt x="9142" y="9871"/>
                      <a:pt x="9017" y="9871"/>
                      <a:pt x="8891" y="9677"/>
                    </a:cubicBezTo>
                    <a:cubicBezTo>
                      <a:pt x="8766" y="9580"/>
                      <a:pt x="8766" y="9289"/>
                      <a:pt x="8766" y="8901"/>
                    </a:cubicBezTo>
                    <a:cubicBezTo>
                      <a:pt x="8891" y="8512"/>
                      <a:pt x="9268" y="8901"/>
                      <a:pt x="9392" y="8804"/>
                    </a:cubicBezTo>
                    <a:cubicBezTo>
                      <a:pt x="9518" y="8706"/>
                      <a:pt x="9769" y="8512"/>
                      <a:pt x="9893" y="8318"/>
                    </a:cubicBezTo>
                    <a:cubicBezTo>
                      <a:pt x="10144" y="8124"/>
                      <a:pt x="9893" y="8027"/>
                      <a:pt x="9769" y="7833"/>
                    </a:cubicBezTo>
                    <a:close/>
                  </a:path>
                </a:pathLst>
              </a:custGeom>
              <a:solidFill>
                <a:srgbClr val="CBA6AB"/>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4" name="Freeform 213"/>
              <p:cNvSpPr>
                <a:spLocks/>
              </p:cNvSpPr>
              <p:nvPr/>
            </p:nvSpPr>
            <p:spPr bwMode="gray">
              <a:xfrm>
                <a:off x="5306903" y="4079077"/>
                <a:ext cx="139935" cy="192457"/>
              </a:xfrm>
              <a:custGeom>
                <a:avLst/>
                <a:gdLst>
                  <a:gd name="T0" fmla="*/ 28 w 30"/>
                  <a:gd name="T1" fmla="*/ 26 h 42"/>
                  <a:gd name="T2" fmla="*/ 28 w 30"/>
                  <a:gd name="T3" fmla="*/ 24 h 42"/>
                  <a:gd name="T4" fmla="*/ 29 w 30"/>
                  <a:gd name="T5" fmla="*/ 22 h 42"/>
                  <a:gd name="T6" fmla="*/ 30 w 30"/>
                  <a:gd name="T7" fmla="*/ 21 h 42"/>
                  <a:gd name="T8" fmla="*/ 30 w 30"/>
                  <a:gd name="T9" fmla="*/ 19 h 42"/>
                  <a:gd name="T10" fmla="*/ 27 w 30"/>
                  <a:gd name="T11" fmla="*/ 18 h 42"/>
                  <a:gd name="T12" fmla="*/ 24 w 30"/>
                  <a:gd name="T13" fmla="*/ 15 h 42"/>
                  <a:gd name="T14" fmla="*/ 24 w 30"/>
                  <a:gd name="T15" fmla="*/ 11 h 42"/>
                  <a:gd name="T16" fmla="*/ 23 w 30"/>
                  <a:gd name="T17" fmla="*/ 11 h 42"/>
                  <a:gd name="T18" fmla="*/ 21 w 30"/>
                  <a:gd name="T19" fmla="*/ 9 h 42"/>
                  <a:gd name="T20" fmla="*/ 21 w 30"/>
                  <a:gd name="T21" fmla="*/ 6 h 42"/>
                  <a:gd name="T22" fmla="*/ 19 w 30"/>
                  <a:gd name="T23" fmla="*/ 6 h 42"/>
                  <a:gd name="T24" fmla="*/ 17 w 30"/>
                  <a:gd name="T25" fmla="*/ 3 h 42"/>
                  <a:gd name="T26" fmla="*/ 14 w 30"/>
                  <a:gd name="T27" fmla="*/ 2 h 42"/>
                  <a:gd name="T28" fmla="*/ 12 w 30"/>
                  <a:gd name="T29" fmla="*/ 4 h 42"/>
                  <a:gd name="T30" fmla="*/ 10 w 30"/>
                  <a:gd name="T31" fmla="*/ 3 h 42"/>
                  <a:gd name="T32" fmla="*/ 11 w 30"/>
                  <a:gd name="T33" fmla="*/ 1 h 42"/>
                  <a:gd name="T34" fmla="*/ 10 w 30"/>
                  <a:gd name="T35" fmla="*/ 1 h 42"/>
                  <a:gd name="T36" fmla="*/ 9 w 30"/>
                  <a:gd name="T37" fmla="*/ 0 h 42"/>
                  <a:gd name="T38" fmla="*/ 7 w 30"/>
                  <a:gd name="T39" fmla="*/ 2 h 42"/>
                  <a:gd name="T40" fmla="*/ 9 w 30"/>
                  <a:gd name="T41" fmla="*/ 6 h 42"/>
                  <a:gd name="T42" fmla="*/ 6 w 30"/>
                  <a:gd name="T43" fmla="*/ 8 h 42"/>
                  <a:gd name="T44" fmla="*/ 7 w 30"/>
                  <a:gd name="T45" fmla="*/ 10 h 42"/>
                  <a:gd name="T46" fmla="*/ 3 w 30"/>
                  <a:gd name="T47" fmla="*/ 11 h 42"/>
                  <a:gd name="T48" fmla="*/ 0 w 30"/>
                  <a:gd name="T49" fmla="*/ 14 h 42"/>
                  <a:gd name="T50" fmla="*/ 3 w 30"/>
                  <a:gd name="T51" fmla="*/ 16 h 42"/>
                  <a:gd name="T52" fmla="*/ 3 w 30"/>
                  <a:gd name="T53" fmla="*/ 19 h 42"/>
                  <a:gd name="T54" fmla="*/ 4 w 30"/>
                  <a:gd name="T55" fmla="*/ 22 h 42"/>
                  <a:gd name="T56" fmla="*/ 6 w 30"/>
                  <a:gd name="T57" fmla="*/ 26 h 42"/>
                  <a:gd name="T58" fmla="*/ 8 w 30"/>
                  <a:gd name="T59" fmla="*/ 29 h 42"/>
                  <a:gd name="T60" fmla="*/ 12 w 30"/>
                  <a:gd name="T61" fmla="*/ 33 h 42"/>
                  <a:gd name="T62" fmla="*/ 13 w 30"/>
                  <a:gd name="T63" fmla="*/ 42 h 42"/>
                  <a:gd name="T64" fmla="*/ 15 w 30"/>
                  <a:gd name="T65" fmla="*/ 40 h 42"/>
                  <a:gd name="T66" fmla="*/ 17 w 30"/>
                  <a:gd name="T67" fmla="*/ 35 h 42"/>
                  <a:gd name="T68" fmla="*/ 21 w 30"/>
                  <a:gd name="T69" fmla="*/ 32 h 42"/>
                  <a:gd name="T70" fmla="*/ 24 w 30"/>
                  <a:gd name="T71" fmla="*/ 33 h 42"/>
                  <a:gd name="T72" fmla="*/ 26 w 30"/>
                  <a:gd name="T73" fmla="*/ 32 h 42"/>
                  <a:gd name="T74" fmla="*/ 30 w 30"/>
                  <a:gd name="T75" fmla="*/ 30 h 42"/>
                  <a:gd name="T76" fmla="*/ 29 w 30"/>
                  <a:gd name="T77" fmla="*/ 27 h 42"/>
                  <a:gd name="T78" fmla="*/ 28 w 30"/>
                  <a:gd name="T79"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 h="42">
                    <a:moveTo>
                      <a:pt x="28" y="26"/>
                    </a:moveTo>
                    <a:cubicBezTo>
                      <a:pt x="28" y="24"/>
                      <a:pt x="28" y="24"/>
                      <a:pt x="28" y="24"/>
                    </a:cubicBezTo>
                    <a:cubicBezTo>
                      <a:pt x="29" y="22"/>
                      <a:pt x="29" y="22"/>
                      <a:pt x="29" y="22"/>
                    </a:cubicBezTo>
                    <a:cubicBezTo>
                      <a:pt x="30" y="21"/>
                      <a:pt x="30" y="21"/>
                      <a:pt x="30" y="21"/>
                    </a:cubicBezTo>
                    <a:cubicBezTo>
                      <a:pt x="30" y="19"/>
                      <a:pt x="30" y="19"/>
                      <a:pt x="30" y="19"/>
                    </a:cubicBezTo>
                    <a:cubicBezTo>
                      <a:pt x="27" y="18"/>
                      <a:pt x="27" y="18"/>
                      <a:pt x="27" y="18"/>
                    </a:cubicBezTo>
                    <a:cubicBezTo>
                      <a:pt x="24" y="15"/>
                      <a:pt x="24" y="15"/>
                      <a:pt x="24" y="15"/>
                    </a:cubicBezTo>
                    <a:cubicBezTo>
                      <a:pt x="24" y="11"/>
                      <a:pt x="24" y="11"/>
                      <a:pt x="24" y="11"/>
                    </a:cubicBezTo>
                    <a:cubicBezTo>
                      <a:pt x="23" y="11"/>
                      <a:pt x="23" y="11"/>
                      <a:pt x="23" y="11"/>
                    </a:cubicBezTo>
                    <a:cubicBezTo>
                      <a:pt x="21" y="9"/>
                      <a:pt x="21" y="9"/>
                      <a:pt x="21" y="9"/>
                    </a:cubicBezTo>
                    <a:cubicBezTo>
                      <a:pt x="21" y="6"/>
                      <a:pt x="21" y="6"/>
                      <a:pt x="21" y="6"/>
                    </a:cubicBezTo>
                    <a:cubicBezTo>
                      <a:pt x="19" y="6"/>
                      <a:pt x="19" y="6"/>
                      <a:pt x="19" y="6"/>
                    </a:cubicBezTo>
                    <a:cubicBezTo>
                      <a:pt x="17" y="3"/>
                      <a:pt x="17" y="3"/>
                      <a:pt x="17" y="3"/>
                    </a:cubicBezTo>
                    <a:cubicBezTo>
                      <a:pt x="14" y="2"/>
                      <a:pt x="14" y="2"/>
                      <a:pt x="14" y="2"/>
                    </a:cubicBezTo>
                    <a:cubicBezTo>
                      <a:pt x="12" y="4"/>
                      <a:pt x="12" y="4"/>
                      <a:pt x="12" y="4"/>
                    </a:cubicBezTo>
                    <a:cubicBezTo>
                      <a:pt x="10" y="3"/>
                      <a:pt x="10" y="3"/>
                      <a:pt x="10" y="3"/>
                    </a:cubicBezTo>
                    <a:cubicBezTo>
                      <a:pt x="11" y="1"/>
                      <a:pt x="11" y="1"/>
                      <a:pt x="11" y="1"/>
                    </a:cubicBezTo>
                    <a:cubicBezTo>
                      <a:pt x="10" y="1"/>
                      <a:pt x="10" y="1"/>
                      <a:pt x="10" y="1"/>
                    </a:cubicBezTo>
                    <a:cubicBezTo>
                      <a:pt x="9" y="0"/>
                      <a:pt x="9" y="0"/>
                      <a:pt x="9" y="0"/>
                    </a:cubicBezTo>
                    <a:cubicBezTo>
                      <a:pt x="7" y="2"/>
                      <a:pt x="7" y="2"/>
                      <a:pt x="7" y="2"/>
                    </a:cubicBezTo>
                    <a:cubicBezTo>
                      <a:pt x="9" y="6"/>
                      <a:pt x="9" y="6"/>
                      <a:pt x="9" y="6"/>
                    </a:cubicBezTo>
                    <a:cubicBezTo>
                      <a:pt x="6" y="8"/>
                      <a:pt x="6" y="8"/>
                      <a:pt x="6" y="8"/>
                    </a:cubicBezTo>
                    <a:cubicBezTo>
                      <a:pt x="7" y="10"/>
                      <a:pt x="7" y="10"/>
                      <a:pt x="7" y="10"/>
                    </a:cubicBezTo>
                    <a:cubicBezTo>
                      <a:pt x="3" y="11"/>
                      <a:pt x="3" y="11"/>
                      <a:pt x="3" y="11"/>
                    </a:cubicBezTo>
                    <a:cubicBezTo>
                      <a:pt x="0" y="14"/>
                      <a:pt x="0" y="14"/>
                      <a:pt x="0" y="14"/>
                    </a:cubicBezTo>
                    <a:cubicBezTo>
                      <a:pt x="3" y="16"/>
                      <a:pt x="3" y="16"/>
                      <a:pt x="3" y="16"/>
                    </a:cubicBezTo>
                    <a:cubicBezTo>
                      <a:pt x="3" y="19"/>
                      <a:pt x="3" y="19"/>
                      <a:pt x="3" y="19"/>
                    </a:cubicBezTo>
                    <a:cubicBezTo>
                      <a:pt x="4" y="17"/>
                      <a:pt x="3" y="21"/>
                      <a:pt x="4" y="22"/>
                    </a:cubicBezTo>
                    <a:cubicBezTo>
                      <a:pt x="5" y="24"/>
                      <a:pt x="6" y="24"/>
                      <a:pt x="6" y="26"/>
                    </a:cubicBezTo>
                    <a:cubicBezTo>
                      <a:pt x="6" y="28"/>
                      <a:pt x="7" y="28"/>
                      <a:pt x="8" y="29"/>
                    </a:cubicBezTo>
                    <a:cubicBezTo>
                      <a:pt x="10" y="30"/>
                      <a:pt x="12" y="31"/>
                      <a:pt x="12" y="33"/>
                    </a:cubicBezTo>
                    <a:cubicBezTo>
                      <a:pt x="13" y="35"/>
                      <a:pt x="13" y="42"/>
                      <a:pt x="13" y="42"/>
                    </a:cubicBezTo>
                    <a:cubicBezTo>
                      <a:pt x="14" y="41"/>
                      <a:pt x="14" y="40"/>
                      <a:pt x="15" y="40"/>
                    </a:cubicBezTo>
                    <a:cubicBezTo>
                      <a:pt x="16" y="38"/>
                      <a:pt x="16" y="35"/>
                      <a:pt x="17" y="35"/>
                    </a:cubicBezTo>
                    <a:cubicBezTo>
                      <a:pt x="18" y="35"/>
                      <a:pt x="20" y="33"/>
                      <a:pt x="21" y="32"/>
                    </a:cubicBezTo>
                    <a:cubicBezTo>
                      <a:pt x="22" y="31"/>
                      <a:pt x="23" y="32"/>
                      <a:pt x="24" y="33"/>
                    </a:cubicBezTo>
                    <a:cubicBezTo>
                      <a:pt x="24" y="35"/>
                      <a:pt x="25" y="33"/>
                      <a:pt x="26" y="32"/>
                    </a:cubicBezTo>
                    <a:cubicBezTo>
                      <a:pt x="27" y="30"/>
                      <a:pt x="29" y="29"/>
                      <a:pt x="30" y="30"/>
                    </a:cubicBezTo>
                    <a:cubicBezTo>
                      <a:pt x="29" y="27"/>
                      <a:pt x="29" y="27"/>
                      <a:pt x="29" y="27"/>
                    </a:cubicBezTo>
                    <a:lnTo>
                      <a:pt x="28" y="26"/>
                    </a:ln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5" name="Freeform 9"/>
              <p:cNvSpPr>
                <a:spLocks/>
              </p:cNvSpPr>
              <p:nvPr/>
            </p:nvSpPr>
            <p:spPr bwMode="gray">
              <a:xfrm>
                <a:off x="6372085" y="3641632"/>
                <a:ext cx="349328" cy="203245"/>
              </a:xfrm>
              <a:custGeom>
                <a:avLst/>
                <a:gdLst>
                  <a:gd name="T0" fmla="*/ 0 w 220"/>
                  <a:gd name="T1" fmla="*/ 60 h 128"/>
                  <a:gd name="T2" fmla="*/ 14 w 220"/>
                  <a:gd name="T3" fmla="*/ 46 h 128"/>
                  <a:gd name="T4" fmla="*/ 34 w 220"/>
                  <a:gd name="T5" fmla="*/ 40 h 128"/>
                  <a:gd name="T6" fmla="*/ 48 w 220"/>
                  <a:gd name="T7" fmla="*/ 26 h 128"/>
                  <a:gd name="T8" fmla="*/ 56 w 220"/>
                  <a:gd name="T9" fmla="*/ 14 h 128"/>
                  <a:gd name="T10" fmla="*/ 62 w 220"/>
                  <a:gd name="T11" fmla="*/ 0 h 128"/>
                  <a:gd name="T12" fmla="*/ 70 w 220"/>
                  <a:gd name="T13" fmla="*/ 6 h 128"/>
                  <a:gd name="T14" fmla="*/ 76 w 220"/>
                  <a:gd name="T15" fmla="*/ 20 h 128"/>
                  <a:gd name="T16" fmla="*/ 88 w 220"/>
                  <a:gd name="T17" fmla="*/ 0 h 128"/>
                  <a:gd name="T18" fmla="*/ 104 w 220"/>
                  <a:gd name="T19" fmla="*/ 14 h 128"/>
                  <a:gd name="T20" fmla="*/ 104 w 220"/>
                  <a:gd name="T21" fmla="*/ 26 h 128"/>
                  <a:gd name="T22" fmla="*/ 116 w 220"/>
                  <a:gd name="T23" fmla="*/ 26 h 128"/>
                  <a:gd name="T24" fmla="*/ 122 w 220"/>
                  <a:gd name="T25" fmla="*/ 40 h 128"/>
                  <a:gd name="T26" fmla="*/ 144 w 220"/>
                  <a:gd name="T27" fmla="*/ 40 h 128"/>
                  <a:gd name="T28" fmla="*/ 172 w 220"/>
                  <a:gd name="T29" fmla="*/ 46 h 128"/>
                  <a:gd name="T30" fmla="*/ 184 w 220"/>
                  <a:gd name="T31" fmla="*/ 34 h 128"/>
                  <a:gd name="T32" fmla="*/ 212 w 220"/>
                  <a:gd name="T33" fmla="*/ 26 h 128"/>
                  <a:gd name="T34" fmla="*/ 220 w 220"/>
                  <a:gd name="T35" fmla="*/ 34 h 128"/>
                  <a:gd name="T36" fmla="*/ 212 w 220"/>
                  <a:gd name="T37" fmla="*/ 40 h 128"/>
                  <a:gd name="T38" fmla="*/ 220 w 220"/>
                  <a:gd name="T39" fmla="*/ 54 h 128"/>
                  <a:gd name="T40" fmla="*/ 192 w 220"/>
                  <a:gd name="T41" fmla="*/ 60 h 128"/>
                  <a:gd name="T42" fmla="*/ 178 w 220"/>
                  <a:gd name="T43" fmla="*/ 54 h 128"/>
                  <a:gd name="T44" fmla="*/ 150 w 220"/>
                  <a:gd name="T45" fmla="*/ 68 h 128"/>
                  <a:gd name="T46" fmla="*/ 144 w 220"/>
                  <a:gd name="T47" fmla="*/ 94 h 128"/>
                  <a:gd name="T48" fmla="*/ 136 w 220"/>
                  <a:gd name="T49" fmla="*/ 80 h 128"/>
                  <a:gd name="T50" fmla="*/ 116 w 220"/>
                  <a:gd name="T51" fmla="*/ 94 h 128"/>
                  <a:gd name="T52" fmla="*/ 104 w 220"/>
                  <a:gd name="T53" fmla="*/ 122 h 128"/>
                  <a:gd name="T54" fmla="*/ 76 w 220"/>
                  <a:gd name="T55" fmla="*/ 122 h 128"/>
                  <a:gd name="T56" fmla="*/ 56 w 220"/>
                  <a:gd name="T57" fmla="*/ 116 h 128"/>
                  <a:gd name="T58" fmla="*/ 56 w 220"/>
                  <a:gd name="T59" fmla="*/ 94 h 128"/>
                  <a:gd name="T60" fmla="*/ 56 w 220"/>
                  <a:gd name="T61" fmla="*/ 74 h 128"/>
                  <a:gd name="T62" fmla="*/ 48 w 220"/>
                  <a:gd name="T63" fmla="*/ 74 h 128"/>
                  <a:gd name="T64" fmla="*/ 28 w 220"/>
                  <a:gd name="T65" fmla="*/ 60 h 128"/>
                  <a:gd name="T66" fmla="*/ 14 w 220"/>
                  <a:gd name="T67" fmla="*/ 60 h 128"/>
                  <a:gd name="T68" fmla="*/ 0 w 220"/>
                  <a:gd name="T69" fmla="*/ 6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0" h="128">
                    <a:moveTo>
                      <a:pt x="0" y="68"/>
                    </a:moveTo>
                    <a:lnTo>
                      <a:pt x="0" y="60"/>
                    </a:lnTo>
                    <a:lnTo>
                      <a:pt x="14" y="54"/>
                    </a:lnTo>
                    <a:lnTo>
                      <a:pt x="14" y="46"/>
                    </a:lnTo>
                    <a:lnTo>
                      <a:pt x="20" y="40"/>
                    </a:lnTo>
                    <a:lnTo>
                      <a:pt x="34" y="40"/>
                    </a:lnTo>
                    <a:lnTo>
                      <a:pt x="34" y="34"/>
                    </a:lnTo>
                    <a:lnTo>
                      <a:pt x="48" y="26"/>
                    </a:lnTo>
                    <a:lnTo>
                      <a:pt x="56" y="20"/>
                    </a:lnTo>
                    <a:lnTo>
                      <a:pt x="56" y="14"/>
                    </a:lnTo>
                    <a:lnTo>
                      <a:pt x="56" y="0"/>
                    </a:lnTo>
                    <a:lnTo>
                      <a:pt x="62" y="0"/>
                    </a:lnTo>
                    <a:lnTo>
                      <a:pt x="62" y="6"/>
                    </a:lnTo>
                    <a:lnTo>
                      <a:pt x="70" y="6"/>
                    </a:lnTo>
                    <a:lnTo>
                      <a:pt x="76" y="14"/>
                    </a:lnTo>
                    <a:lnTo>
                      <a:pt x="76" y="20"/>
                    </a:lnTo>
                    <a:lnTo>
                      <a:pt x="82" y="14"/>
                    </a:lnTo>
                    <a:lnTo>
                      <a:pt x="88" y="0"/>
                    </a:lnTo>
                    <a:lnTo>
                      <a:pt x="96" y="6"/>
                    </a:lnTo>
                    <a:lnTo>
                      <a:pt x="104" y="14"/>
                    </a:lnTo>
                    <a:lnTo>
                      <a:pt x="104" y="20"/>
                    </a:lnTo>
                    <a:lnTo>
                      <a:pt x="104" y="26"/>
                    </a:lnTo>
                    <a:lnTo>
                      <a:pt x="110" y="26"/>
                    </a:lnTo>
                    <a:lnTo>
                      <a:pt x="116" y="26"/>
                    </a:lnTo>
                    <a:lnTo>
                      <a:pt x="116" y="34"/>
                    </a:lnTo>
                    <a:lnTo>
                      <a:pt x="122" y="40"/>
                    </a:lnTo>
                    <a:lnTo>
                      <a:pt x="136" y="34"/>
                    </a:lnTo>
                    <a:lnTo>
                      <a:pt x="144" y="40"/>
                    </a:lnTo>
                    <a:lnTo>
                      <a:pt x="144" y="46"/>
                    </a:lnTo>
                    <a:lnTo>
                      <a:pt x="172" y="46"/>
                    </a:lnTo>
                    <a:lnTo>
                      <a:pt x="178" y="40"/>
                    </a:lnTo>
                    <a:lnTo>
                      <a:pt x="184" y="34"/>
                    </a:lnTo>
                    <a:lnTo>
                      <a:pt x="198" y="26"/>
                    </a:lnTo>
                    <a:lnTo>
                      <a:pt x="212" y="26"/>
                    </a:lnTo>
                    <a:lnTo>
                      <a:pt x="220" y="26"/>
                    </a:lnTo>
                    <a:lnTo>
                      <a:pt x="220" y="34"/>
                    </a:lnTo>
                    <a:lnTo>
                      <a:pt x="212" y="34"/>
                    </a:lnTo>
                    <a:lnTo>
                      <a:pt x="212" y="40"/>
                    </a:lnTo>
                    <a:lnTo>
                      <a:pt x="220" y="46"/>
                    </a:lnTo>
                    <a:lnTo>
                      <a:pt x="220" y="54"/>
                    </a:lnTo>
                    <a:lnTo>
                      <a:pt x="206" y="60"/>
                    </a:lnTo>
                    <a:lnTo>
                      <a:pt x="192" y="60"/>
                    </a:lnTo>
                    <a:lnTo>
                      <a:pt x="178" y="60"/>
                    </a:lnTo>
                    <a:lnTo>
                      <a:pt x="178" y="54"/>
                    </a:lnTo>
                    <a:lnTo>
                      <a:pt x="164" y="54"/>
                    </a:lnTo>
                    <a:lnTo>
                      <a:pt x="150" y="68"/>
                    </a:lnTo>
                    <a:lnTo>
                      <a:pt x="150" y="74"/>
                    </a:lnTo>
                    <a:lnTo>
                      <a:pt x="144" y="94"/>
                    </a:lnTo>
                    <a:lnTo>
                      <a:pt x="136" y="88"/>
                    </a:lnTo>
                    <a:lnTo>
                      <a:pt x="136" y="80"/>
                    </a:lnTo>
                    <a:lnTo>
                      <a:pt x="122" y="88"/>
                    </a:lnTo>
                    <a:lnTo>
                      <a:pt x="116" y="94"/>
                    </a:lnTo>
                    <a:lnTo>
                      <a:pt x="110" y="102"/>
                    </a:lnTo>
                    <a:lnTo>
                      <a:pt x="104" y="122"/>
                    </a:lnTo>
                    <a:lnTo>
                      <a:pt x="82" y="128"/>
                    </a:lnTo>
                    <a:lnTo>
                      <a:pt x="76" y="122"/>
                    </a:lnTo>
                    <a:lnTo>
                      <a:pt x="56" y="122"/>
                    </a:lnTo>
                    <a:lnTo>
                      <a:pt x="56" y="116"/>
                    </a:lnTo>
                    <a:lnTo>
                      <a:pt x="62" y="108"/>
                    </a:lnTo>
                    <a:lnTo>
                      <a:pt x="56" y="94"/>
                    </a:lnTo>
                    <a:lnTo>
                      <a:pt x="62" y="88"/>
                    </a:lnTo>
                    <a:lnTo>
                      <a:pt x="56" y="74"/>
                    </a:lnTo>
                    <a:lnTo>
                      <a:pt x="56" y="68"/>
                    </a:lnTo>
                    <a:lnTo>
                      <a:pt x="48" y="74"/>
                    </a:lnTo>
                    <a:lnTo>
                      <a:pt x="34" y="68"/>
                    </a:lnTo>
                    <a:lnTo>
                      <a:pt x="28" y="60"/>
                    </a:lnTo>
                    <a:lnTo>
                      <a:pt x="20" y="60"/>
                    </a:lnTo>
                    <a:lnTo>
                      <a:pt x="14" y="60"/>
                    </a:lnTo>
                    <a:lnTo>
                      <a:pt x="0" y="68"/>
                    </a:lnTo>
                    <a:lnTo>
                      <a:pt x="0" y="68"/>
                    </a:lnTo>
                    <a:lnTo>
                      <a:pt x="0" y="68"/>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6" name="Freeform 10"/>
              <p:cNvSpPr>
                <a:spLocks/>
              </p:cNvSpPr>
              <p:nvPr/>
            </p:nvSpPr>
            <p:spPr bwMode="gray">
              <a:xfrm>
                <a:off x="5424137" y="2276078"/>
                <a:ext cx="101622" cy="63514"/>
              </a:xfrm>
              <a:custGeom>
                <a:avLst/>
                <a:gdLst>
                  <a:gd name="T0" fmla="*/ 22 w 64"/>
                  <a:gd name="T1" fmla="*/ 40 h 40"/>
                  <a:gd name="T2" fmla="*/ 28 w 64"/>
                  <a:gd name="T3" fmla="*/ 34 h 40"/>
                  <a:gd name="T4" fmla="*/ 28 w 64"/>
                  <a:gd name="T5" fmla="*/ 26 h 40"/>
                  <a:gd name="T6" fmla="*/ 42 w 64"/>
                  <a:gd name="T7" fmla="*/ 26 h 40"/>
                  <a:gd name="T8" fmla="*/ 50 w 64"/>
                  <a:gd name="T9" fmla="*/ 26 h 40"/>
                  <a:gd name="T10" fmla="*/ 50 w 64"/>
                  <a:gd name="T11" fmla="*/ 20 h 40"/>
                  <a:gd name="T12" fmla="*/ 56 w 64"/>
                  <a:gd name="T13" fmla="*/ 14 h 40"/>
                  <a:gd name="T14" fmla="*/ 64 w 64"/>
                  <a:gd name="T15" fmla="*/ 6 h 40"/>
                  <a:gd name="T16" fmla="*/ 50 w 64"/>
                  <a:gd name="T17" fmla="*/ 0 h 40"/>
                  <a:gd name="T18" fmla="*/ 28 w 64"/>
                  <a:gd name="T19" fmla="*/ 14 h 40"/>
                  <a:gd name="T20" fmla="*/ 22 w 64"/>
                  <a:gd name="T21" fmla="*/ 0 h 40"/>
                  <a:gd name="T22" fmla="*/ 14 w 64"/>
                  <a:gd name="T23" fmla="*/ 6 h 40"/>
                  <a:gd name="T24" fmla="*/ 14 w 64"/>
                  <a:gd name="T25" fmla="*/ 14 h 40"/>
                  <a:gd name="T26" fmla="*/ 14 w 64"/>
                  <a:gd name="T27" fmla="*/ 20 h 40"/>
                  <a:gd name="T28" fmla="*/ 0 w 64"/>
                  <a:gd name="T29" fmla="*/ 26 h 40"/>
                  <a:gd name="T30" fmla="*/ 6 w 64"/>
                  <a:gd name="T31" fmla="*/ 26 h 40"/>
                  <a:gd name="T32" fmla="*/ 14 w 64"/>
                  <a:gd name="T33" fmla="*/ 26 h 40"/>
                  <a:gd name="T34" fmla="*/ 22 w 64"/>
                  <a:gd name="T35" fmla="*/ 34 h 40"/>
                  <a:gd name="T36" fmla="*/ 22 w 64"/>
                  <a:gd name="T37" fmla="*/ 40 h 40"/>
                  <a:gd name="T38" fmla="*/ 22 w 64"/>
                  <a:gd name="T39" fmla="*/ 40 h 40"/>
                  <a:gd name="T40" fmla="*/ 22 w 64"/>
                  <a:gd name="T4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40">
                    <a:moveTo>
                      <a:pt x="22" y="40"/>
                    </a:moveTo>
                    <a:lnTo>
                      <a:pt x="28" y="34"/>
                    </a:lnTo>
                    <a:lnTo>
                      <a:pt x="28" y="26"/>
                    </a:lnTo>
                    <a:lnTo>
                      <a:pt x="42" y="26"/>
                    </a:lnTo>
                    <a:lnTo>
                      <a:pt x="50" y="26"/>
                    </a:lnTo>
                    <a:lnTo>
                      <a:pt x="50" y="20"/>
                    </a:lnTo>
                    <a:lnTo>
                      <a:pt x="56" y="14"/>
                    </a:lnTo>
                    <a:lnTo>
                      <a:pt x="64" y="6"/>
                    </a:lnTo>
                    <a:lnTo>
                      <a:pt x="50" y="0"/>
                    </a:lnTo>
                    <a:lnTo>
                      <a:pt x="28" y="14"/>
                    </a:lnTo>
                    <a:lnTo>
                      <a:pt x="22" y="0"/>
                    </a:lnTo>
                    <a:lnTo>
                      <a:pt x="14" y="6"/>
                    </a:lnTo>
                    <a:lnTo>
                      <a:pt x="14" y="14"/>
                    </a:lnTo>
                    <a:lnTo>
                      <a:pt x="14" y="20"/>
                    </a:lnTo>
                    <a:lnTo>
                      <a:pt x="0" y="26"/>
                    </a:lnTo>
                    <a:lnTo>
                      <a:pt x="6" y="26"/>
                    </a:lnTo>
                    <a:lnTo>
                      <a:pt x="14" y="26"/>
                    </a:lnTo>
                    <a:lnTo>
                      <a:pt x="22" y="34"/>
                    </a:lnTo>
                    <a:lnTo>
                      <a:pt x="22" y="40"/>
                    </a:lnTo>
                    <a:lnTo>
                      <a:pt x="22" y="40"/>
                    </a:lnTo>
                    <a:lnTo>
                      <a:pt x="22" y="40"/>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7" name="Freeform 11"/>
              <p:cNvSpPr>
                <a:spLocks/>
              </p:cNvSpPr>
              <p:nvPr/>
            </p:nvSpPr>
            <p:spPr bwMode="gray">
              <a:xfrm>
                <a:off x="5459069" y="2222092"/>
                <a:ext cx="44460" cy="41284"/>
              </a:xfrm>
              <a:custGeom>
                <a:avLst/>
                <a:gdLst>
                  <a:gd name="T0" fmla="*/ 14 w 28"/>
                  <a:gd name="T1" fmla="*/ 26 h 26"/>
                  <a:gd name="T2" fmla="*/ 14 w 28"/>
                  <a:gd name="T3" fmla="*/ 14 h 26"/>
                  <a:gd name="T4" fmla="*/ 8 w 28"/>
                  <a:gd name="T5" fmla="*/ 14 h 26"/>
                  <a:gd name="T6" fmla="*/ 0 w 28"/>
                  <a:gd name="T7" fmla="*/ 14 h 26"/>
                  <a:gd name="T8" fmla="*/ 0 w 28"/>
                  <a:gd name="T9" fmla="*/ 8 h 26"/>
                  <a:gd name="T10" fmla="*/ 8 w 28"/>
                  <a:gd name="T11" fmla="*/ 8 h 26"/>
                  <a:gd name="T12" fmla="*/ 14 w 28"/>
                  <a:gd name="T13" fmla="*/ 0 h 26"/>
                  <a:gd name="T14" fmla="*/ 28 w 28"/>
                  <a:gd name="T15" fmla="*/ 8 h 26"/>
                  <a:gd name="T16" fmla="*/ 28 w 28"/>
                  <a:gd name="T17" fmla="*/ 14 h 26"/>
                  <a:gd name="T18" fmla="*/ 20 w 28"/>
                  <a:gd name="T19" fmla="*/ 20 h 26"/>
                  <a:gd name="T20" fmla="*/ 14 w 28"/>
                  <a:gd name="T21" fmla="*/ 26 h 26"/>
                  <a:gd name="T22" fmla="*/ 14 w 28"/>
                  <a:gd name="T23" fmla="*/ 26 h 26"/>
                  <a:gd name="T24" fmla="*/ 14 w 28"/>
                  <a:gd name="T2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6">
                    <a:moveTo>
                      <a:pt x="14" y="26"/>
                    </a:moveTo>
                    <a:lnTo>
                      <a:pt x="14" y="14"/>
                    </a:lnTo>
                    <a:lnTo>
                      <a:pt x="8" y="14"/>
                    </a:lnTo>
                    <a:lnTo>
                      <a:pt x="0" y="14"/>
                    </a:lnTo>
                    <a:lnTo>
                      <a:pt x="0" y="8"/>
                    </a:lnTo>
                    <a:lnTo>
                      <a:pt x="8" y="8"/>
                    </a:lnTo>
                    <a:lnTo>
                      <a:pt x="14" y="0"/>
                    </a:lnTo>
                    <a:lnTo>
                      <a:pt x="28" y="8"/>
                    </a:lnTo>
                    <a:lnTo>
                      <a:pt x="28" y="14"/>
                    </a:lnTo>
                    <a:lnTo>
                      <a:pt x="20" y="20"/>
                    </a:lnTo>
                    <a:lnTo>
                      <a:pt x="14" y="26"/>
                    </a:lnTo>
                    <a:lnTo>
                      <a:pt x="14" y="26"/>
                    </a:lnTo>
                    <a:lnTo>
                      <a:pt x="14" y="26"/>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8" name="Freeform 12"/>
              <p:cNvSpPr>
                <a:spLocks/>
              </p:cNvSpPr>
              <p:nvPr/>
            </p:nvSpPr>
            <p:spPr bwMode="gray">
              <a:xfrm>
                <a:off x="6556276" y="780321"/>
                <a:ext cx="79393" cy="95271"/>
              </a:xfrm>
              <a:custGeom>
                <a:avLst/>
                <a:gdLst>
                  <a:gd name="T0" fmla="*/ 42 w 50"/>
                  <a:gd name="T1" fmla="*/ 60 h 60"/>
                  <a:gd name="T2" fmla="*/ 28 w 50"/>
                  <a:gd name="T3" fmla="*/ 54 h 60"/>
                  <a:gd name="T4" fmla="*/ 14 w 50"/>
                  <a:gd name="T5" fmla="*/ 46 h 60"/>
                  <a:gd name="T6" fmla="*/ 14 w 50"/>
                  <a:gd name="T7" fmla="*/ 40 h 60"/>
                  <a:gd name="T8" fmla="*/ 0 w 50"/>
                  <a:gd name="T9" fmla="*/ 32 h 60"/>
                  <a:gd name="T10" fmla="*/ 0 w 50"/>
                  <a:gd name="T11" fmla="*/ 18 h 60"/>
                  <a:gd name="T12" fmla="*/ 6 w 50"/>
                  <a:gd name="T13" fmla="*/ 6 h 60"/>
                  <a:gd name="T14" fmla="*/ 6 w 50"/>
                  <a:gd name="T15" fmla="*/ 0 h 60"/>
                  <a:gd name="T16" fmla="*/ 14 w 50"/>
                  <a:gd name="T17" fmla="*/ 0 h 60"/>
                  <a:gd name="T18" fmla="*/ 28 w 50"/>
                  <a:gd name="T19" fmla="*/ 6 h 60"/>
                  <a:gd name="T20" fmla="*/ 42 w 50"/>
                  <a:gd name="T21" fmla="*/ 6 h 60"/>
                  <a:gd name="T22" fmla="*/ 50 w 50"/>
                  <a:gd name="T23" fmla="*/ 18 h 60"/>
                  <a:gd name="T24" fmla="*/ 50 w 50"/>
                  <a:gd name="T25" fmla="*/ 26 h 60"/>
                  <a:gd name="T26" fmla="*/ 50 w 50"/>
                  <a:gd name="T27" fmla="*/ 32 h 60"/>
                  <a:gd name="T28" fmla="*/ 42 w 50"/>
                  <a:gd name="T29" fmla="*/ 46 h 60"/>
                  <a:gd name="T30" fmla="*/ 50 w 50"/>
                  <a:gd name="T31" fmla="*/ 54 h 60"/>
                  <a:gd name="T32" fmla="*/ 42 w 50"/>
                  <a:gd name="T33" fmla="*/ 60 h 60"/>
                  <a:gd name="T34" fmla="*/ 42 w 50"/>
                  <a:gd name="T35" fmla="*/ 60 h 60"/>
                  <a:gd name="T36" fmla="*/ 42 w 50"/>
                  <a:gd name="T3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 h="60">
                    <a:moveTo>
                      <a:pt x="42" y="60"/>
                    </a:moveTo>
                    <a:lnTo>
                      <a:pt x="28" y="54"/>
                    </a:lnTo>
                    <a:lnTo>
                      <a:pt x="14" y="46"/>
                    </a:lnTo>
                    <a:lnTo>
                      <a:pt x="14" y="40"/>
                    </a:lnTo>
                    <a:lnTo>
                      <a:pt x="0" y="32"/>
                    </a:lnTo>
                    <a:lnTo>
                      <a:pt x="0" y="18"/>
                    </a:lnTo>
                    <a:lnTo>
                      <a:pt x="6" y="6"/>
                    </a:lnTo>
                    <a:lnTo>
                      <a:pt x="6" y="0"/>
                    </a:lnTo>
                    <a:lnTo>
                      <a:pt x="14" y="0"/>
                    </a:lnTo>
                    <a:lnTo>
                      <a:pt x="28" y="6"/>
                    </a:lnTo>
                    <a:lnTo>
                      <a:pt x="42" y="6"/>
                    </a:lnTo>
                    <a:lnTo>
                      <a:pt x="50" y="18"/>
                    </a:lnTo>
                    <a:lnTo>
                      <a:pt x="50" y="26"/>
                    </a:lnTo>
                    <a:lnTo>
                      <a:pt x="50" y="32"/>
                    </a:lnTo>
                    <a:lnTo>
                      <a:pt x="42" y="46"/>
                    </a:lnTo>
                    <a:lnTo>
                      <a:pt x="50" y="54"/>
                    </a:lnTo>
                    <a:lnTo>
                      <a:pt x="42" y="60"/>
                    </a:lnTo>
                    <a:lnTo>
                      <a:pt x="42" y="60"/>
                    </a:lnTo>
                    <a:lnTo>
                      <a:pt x="42" y="6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9" name="Freeform 13"/>
              <p:cNvSpPr>
                <a:spLocks/>
              </p:cNvSpPr>
              <p:nvPr>
                <p:custDataLst>
                  <p:tags r:id="rId130"/>
                </p:custDataLst>
              </p:nvPr>
            </p:nvSpPr>
            <p:spPr bwMode="gray">
              <a:xfrm>
                <a:off x="5655963" y="484981"/>
                <a:ext cx="2697762" cy="3404356"/>
              </a:xfrm>
              <a:custGeom>
                <a:avLst/>
                <a:gdLst>
                  <a:gd name="T0" fmla="*/ 134 w 1699"/>
                  <a:gd name="T1" fmla="*/ 1276 h 2144"/>
                  <a:gd name="T2" fmla="*/ 253 w 1699"/>
                  <a:gd name="T3" fmla="*/ 1318 h 2144"/>
                  <a:gd name="T4" fmla="*/ 327 w 1699"/>
                  <a:gd name="T5" fmla="*/ 1434 h 2144"/>
                  <a:gd name="T6" fmla="*/ 321 w 1699"/>
                  <a:gd name="T7" fmla="*/ 1510 h 2144"/>
                  <a:gd name="T8" fmla="*/ 437 w 1699"/>
                  <a:gd name="T9" fmla="*/ 1544 h 2144"/>
                  <a:gd name="T10" fmla="*/ 533 w 1699"/>
                  <a:gd name="T11" fmla="*/ 1626 h 2144"/>
                  <a:gd name="T12" fmla="*/ 657 w 1699"/>
                  <a:gd name="T13" fmla="*/ 1666 h 2144"/>
                  <a:gd name="T14" fmla="*/ 768 w 1699"/>
                  <a:gd name="T15" fmla="*/ 1674 h 2144"/>
                  <a:gd name="T16" fmla="*/ 794 w 1699"/>
                  <a:gd name="T17" fmla="*/ 1762 h 2144"/>
                  <a:gd name="T18" fmla="*/ 768 w 1699"/>
                  <a:gd name="T19" fmla="*/ 1852 h 2144"/>
                  <a:gd name="T20" fmla="*/ 717 w 1699"/>
                  <a:gd name="T21" fmla="*/ 1926 h 2144"/>
                  <a:gd name="T22" fmla="*/ 717 w 1699"/>
                  <a:gd name="T23" fmla="*/ 1988 h 2144"/>
                  <a:gd name="T24" fmla="*/ 802 w 1699"/>
                  <a:gd name="T25" fmla="*/ 2062 h 2144"/>
                  <a:gd name="T26" fmla="*/ 952 w 1699"/>
                  <a:gd name="T27" fmla="*/ 2096 h 2144"/>
                  <a:gd name="T28" fmla="*/ 1122 w 1699"/>
                  <a:gd name="T29" fmla="*/ 2118 h 2144"/>
                  <a:gd name="T30" fmla="*/ 1226 w 1699"/>
                  <a:gd name="T31" fmla="*/ 2118 h 2144"/>
                  <a:gd name="T32" fmla="*/ 1383 w 1699"/>
                  <a:gd name="T33" fmla="*/ 2118 h 2144"/>
                  <a:gd name="T34" fmla="*/ 1274 w 1699"/>
                  <a:gd name="T35" fmla="*/ 1966 h 2144"/>
                  <a:gd name="T36" fmla="*/ 1232 w 1699"/>
                  <a:gd name="T37" fmla="*/ 1838 h 2144"/>
                  <a:gd name="T38" fmla="*/ 1266 w 1699"/>
                  <a:gd name="T39" fmla="*/ 1734 h 2144"/>
                  <a:gd name="T40" fmla="*/ 1130 w 1699"/>
                  <a:gd name="T41" fmla="*/ 1660 h 2144"/>
                  <a:gd name="T42" fmla="*/ 1122 w 1699"/>
                  <a:gd name="T43" fmla="*/ 1496 h 2144"/>
                  <a:gd name="T44" fmla="*/ 1190 w 1699"/>
                  <a:gd name="T45" fmla="*/ 1420 h 2144"/>
                  <a:gd name="T46" fmla="*/ 1308 w 1699"/>
                  <a:gd name="T47" fmla="*/ 1346 h 2144"/>
                  <a:gd name="T48" fmla="*/ 1411 w 1699"/>
                  <a:gd name="T49" fmla="*/ 1326 h 2144"/>
                  <a:gd name="T50" fmla="*/ 1535 w 1699"/>
                  <a:gd name="T51" fmla="*/ 1284 h 2144"/>
                  <a:gd name="T52" fmla="*/ 1649 w 1699"/>
                  <a:gd name="T53" fmla="*/ 1222 h 2144"/>
                  <a:gd name="T54" fmla="*/ 1581 w 1699"/>
                  <a:gd name="T55" fmla="*/ 1134 h 2144"/>
                  <a:gd name="T56" fmla="*/ 1487 w 1699"/>
                  <a:gd name="T57" fmla="*/ 1018 h 2144"/>
                  <a:gd name="T58" fmla="*/ 1391 w 1699"/>
                  <a:gd name="T59" fmla="*/ 992 h 2144"/>
                  <a:gd name="T60" fmla="*/ 1362 w 1699"/>
                  <a:gd name="T61" fmla="*/ 936 h 2144"/>
                  <a:gd name="T62" fmla="*/ 1300 w 1699"/>
                  <a:gd name="T63" fmla="*/ 794 h 2144"/>
                  <a:gd name="T64" fmla="*/ 1218 w 1699"/>
                  <a:gd name="T65" fmla="*/ 630 h 2144"/>
                  <a:gd name="T66" fmla="*/ 1102 w 1699"/>
                  <a:gd name="T67" fmla="*/ 458 h 2144"/>
                  <a:gd name="T68" fmla="*/ 1062 w 1699"/>
                  <a:gd name="T69" fmla="*/ 322 h 2144"/>
                  <a:gd name="T70" fmla="*/ 1068 w 1699"/>
                  <a:gd name="T71" fmla="*/ 62 h 2144"/>
                  <a:gd name="T72" fmla="*/ 966 w 1699"/>
                  <a:gd name="T73" fmla="*/ 36 h 2144"/>
                  <a:gd name="T74" fmla="*/ 864 w 1699"/>
                  <a:gd name="T75" fmla="*/ 68 h 2144"/>
                  <a:gd name="T76" fmla="*/ 822 w 1699"/>
                  <a:gd name="T77" fmla="*/ 124 h 2144"/>
                  <a:gd name="T78" fmla="*/ 733 w 1699"/>
                  <a:gd name="T79" fmla="*/ 240 h 2144"/>
                  <a:gd name="T80" fmla="*/ 697 w 1699"/>
                  <a:gd name="T81" fmla="*/ 212 h 2144"/>
                  <a:gd name="T82" fmla="*/ 635 w 1699"/>
                  <a:gd name="T83" fmla="*/ 322 h 2144"/>
                  <a:gd name="T84" fmla="*/ 533 w 1699"/>
                  <a:gd name="T85" fmla="*/ 348 h 2144"/>
                  <a:gd name="T86" fmla="*/ 471 w 1699"/>
                  <a:gd name="T87" fmla="*/ 302 h 2144"/>
                  <a:gd name="T88" fmla="*/ 539 w 1699"/>
                  <a:gd name="T89" fmla="*/ 410 h 2144"/>
                  <a:gd name="T90" fmla="*/ 505 w 1699"/>
                  <a:gd name="T91" fmla="*/ 458 h 2144"/>
                  <a:gd name="T92" fmla="*/ 465 w 1699"/>
                  <a:gd name="T93" fmla="*/ 582 h 2144"/>
                  <a:gd name="T94" fmla="*/ 443 w 1699"/>
                  <a:gd name="T95" fmla="*/ 622 h 2144"/>
                  <a:gd name="T96" fmla="*/ 389 w 1699"/>
                  <a:gd name="T97" fmla="*/ 636 h 2144"/>
                  <a:gd name="T98" fmla="*/ 287 w 1699"/>
                  <a:gd name="T99" fmla="*/ 642 h 2144"/>
                  <a:gd name="T100" fmla="*/ 225 w 1699"/>
                  <a:gd name="T101" fmla="*/ 540 h 2144"/>
                  <a:gd name="T102" fmla="*/ 185 w 1699"/>
                  <a:gd name="T103" fmla="*/ 480 h 2144"/>
                  <a:gd name="T104" fmla="*/ 327 w 1699"/>
                  <a:gd name="T105" fmla="*/ 506 h 2144"/>
                  <a:gd name="T106" fmla="*/ 437 w 1699"/>
                  <a:gd name="T107" fmla="*/ 466 h 2144"/>
                  <a:gd name="T108" fmla="*/ 349 w 1699"/>
                  <a:gd name="T109" fmla="*/ 362 h 2144"/>
                  <a:gd name="T110" fmla="*/ 151 w 1699"/>
                  <a:gd name="T111" fmla="*/ 322 h 2144"/>
                  <a:gd name="T112" fmla="*/ 14 w 1699"/>
                  <a:gd name="T113" fmla="*/ 366 h 2144"/>
                  <a:gd name="T114" fmla="*/ 88 w 1699"/>
                  <a:gd name="T115" fmla="*/ 614 h 2144"/>
                  <a:gd name="T116" fmla="*/ 185 w 1699"/>
                  <a:gd name="T117" fmla="*/ 792 h 2144"/>
                  <a:gd name="T118" fmla="*/ 134 w 1699"/>
                  <a:gd name="T119" fmla="*/ 984 h 2144"/>
                  <a:gd name="T120" fmla="*/ 134 w 1699"/>
                  <a:gd name="T121" fmla="*/ 1012 h 2144"/>
                  <a:gd name="T122" fmla="*/ 108 w 1699"/>
                  <a:gd name="T123" fmla="*/ 1106 h 2144"/>
                  <a:gd name="T124" fmla="*/ 100 w 1699"/>
                  <a:gd name="T125" fmla="*/ 1196 h 2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99" h="2144">
                    <a:moveTo>
                      <a:pt x="100" y="1196"/>
                    </a:moveTo>
                    <a:lnTo>
                      <a:pt x="100" y="1202"/>
                    </a:lnTo>
                    <a:lnTo>
                      <a:pt x="108" y="1202"/>
                    </a:lnTo>
                    <a:lnTo>
                      <a:pt x="108" y="1208"/>
                    </a:lnTo>
                    <a:lnTo>
                      <a:pt x="114" y="1202"/>
                    </a:lnTo>
                    <a:lnTo>
                      <a:pt x="122" y="1202"/>
                    </a:lnTo>
                    <a:lnTo>
                      <a:pt x="122" y="1216"/>
                    </a:lnTo>
                    <a:lnTo>
                      <a:pt x="122" y="1230"/>
                    </a:lnTo>
                    <a:lnTo>
                      <a:pt x="108" y="1230"/>
                    </a:lnTo>
                    <a:lnTo>
                      <a:pt x="114" y="1244"/>
                    </a:lnTo>
                    <a:lnTo>
                      <a:pt x="122" y="1244"/>
                    </a:lnTo>
                    <a:lnTo>
                      <a:pt x="128" y="1244"/>
                    </a:lnTo>
                    <a:lnTo>
                      <a:pt x="128" y="1250"/>
                    </a:lnTo>
                    <a:lnTo>
                      <a:pt x="134" y="1262"/>
                    </a:lnTo>
                    <a:lnTo>
                      <a:pt x="134" y="1276"/>
                    </a:lnTo>
                    <a:lnTo>
                      <a:pt x="143" y="1290"/>
                    </a:lnTo>
                    <a:lnTo>
                      <a:pt x="151" y="1290"/>
                    </a:lnTo>
                    <a:lnTo>
                      <a:pt x="157" y="1290"/>
                    </a:lnTo>
                    <a:lnTo>
                      <a:pt x="157" y="1298"/>
                    </a:lnTo>
                    <a:lnTo>
                      <a:pt x="171" y="1298"/>
                    </a:lnTo>
                    <a:lnTo>
                      <a:pt x="185" y="1298"/>
                    </a:lnTo>
                    <a:lnTo>
                      <a:pt x="197" y="1298"/>
                    </a:lnTo>
                    <a:lnTo>
                      <a:pt x="205" y="1304"/>
                    </a:lnTo>
                    <a:lnTo>
                      <a:pt x="205" y="1312"/>
                    </a:lnTo>
                    <a:lnTo>
                      <a:pt x="211" y="1312"/>
                    </a:lnTo>
                    <a:lnTo>
                      <a:pt x="225" y="1304"/>
                    </a:lnTo>
                    <a:lnTo>
                      <a:pt x="225" y="1298"/>
                    </a:lnTo>
                    <a:lnTo>
                      <a:pt x="233" y="1298"/>
                    </a:lnTo>
                    <a:lnTo>
                      <a:pt x="245" y="1304"/>
                    </a:lnTo>
                    <a:lnTo>
                      <a:pt x="253" y="1318"/>
                    </a:lnTo>
                    <a:lnTo>
                      <a:pt x="265" y="1318"/>
                    </a:lnTo>
                    <a:lnTo>
                      <a:pt x="265" y="1326"/>
                    </a:lnTo>
                    <a:lnTo>
                      <a:pt x="259" y="1332"/>
                    </a:lnTo>
                    <a:lnTo>
                      <a:pt x="259" y="1338"/>
                    </a:lnTo>
                    <a:lnTo>
                      <a:pt x="273" y="1360"/>
                    </a:lnTo>
                    <a:lnTo>
                      <a:pt x="281" y="1380"/>
                    </a:lnTo>
                    <a:lnTo>
                      <a:pt x="265" y="1386"/>
                    </a:lnTo>
                    <a:lnTo>
                      <a:pt x="287" y="1386"/>
                    </a:lnTo>
                    <a:lnTo>
                      <a:pt x="287" y="1394"/>
                    </a:lnTo>
                    <a:lnTo>
                      <a:pt x="287" y="1400"/>
                    </a:lnTo>
                    <a:lnTo>
                      <a:pt x="307" y="1406"/>
                    </a:lnTo>
                    <a:lnTo>
                      <a:pt x="315" y="1406"/>
                    </a:lnTo>
                    <a:lnTo>
                      <a:pt x="327" y="1414"/>
                    </a:lnTo>
                    <a:lnTo>
                      <a:pt x="327" y="1428"/>
                    </a:lnTo>
                    <a:lnTo>
                      <a:pt x="327" y="1434"/>
                    </a:lnTo>
                    <a:lnTo>
                      <a:pt x="341" y="1434"/>
                    </a:lnTo>
                    <a:lnTo>
                      <a:pt x="349" y="1434"/>
                    </a:lnTo>
                    <a:lnTo>
                      <a:pt x="361" y="1434"/>
                    </a:lnTo>
                    <a:lnTo>
                      <a:pt x="361" y="1448"/>
                    </a:lnTo>
                    <a:lnTo>
                      <a:pt x="375" y="1448"/>
                    </a:lnTo>
                    <a:lnTo>
                      <a:pt x="383" y="1462"/>
                    </a:lnTo>
                    <a:lnTo>
                      <a:pt x="375" y="1468"/>
                    </a:lnTo>
                    <a:lnTo>
                      <a:pt x="369" y="1476"/>
                    </a:lnTo>
                    <a:lnTo>
                      <a:pt x="361" y="1482"/>
                    </a:lnTo>
                    <a:lnTo>
                      <a:pt x="349" y="1490"/>
                    </a:lnTo>
                    <a:lnTo>
                      <a:pt x="341" y="1496"/>
                    </a:lnTo>
                    <a:lnTo>
                      <a:pt x="327" y="1490"/>
                    </a:lnTo>
                    <a:lnTo>
                      <a:pt x="321" y="1490"/>
                    </a:lnTo>
                    <a:lnTo>
                      <a:pt x="321" y="1496"/>
                    </a:lnTo>
                    <a:lnTo>
                      <a:pt x="321" y="1510"/>
                    </a:lnTo>
                    <a:lnTo>
                      <a:pt x="321" y="1516"/>
                    </a:lnTo>
                    <a:lnTo>
                      <a:pt x="327" y="1530"/>
                    </a:lnTo>
                    <a:lnTo>
                      <a:pt x="335" y="1544"/>
                    </a:lnTo>
                    <a:lnTo>
                      <a:pt x="335" y="1552"/>
                    </a:lnTo>
                    <a:lnTo>
                      <a:pt x="341" y="1558"/>
                    </a:lnTo>
                    <a:lnTo>
                      <a:pt x="355" y="1564"/>
                    </a:lnTo>
                    <a:lnTo>
                      <a:pt x="355" y="1558"/>
                    </a:lnTo>
                    <a:lnTo>
                      <a:pt x="369" y="1552"/>
                    </a:lnTo>
                    <a:lnTo>
                      <a:pt x="375" y="1558"/>
                    </a:lnTo>
                    <a:lnTo>
                      <a:pt x="389" y="1552"/>
                    </a:lnTo>
                    <a:lnTo>
                      <a:pt x="397" y="1552"/>
                    </a:lnTo>
                    <a:lnTo>
                      <a:pt x="403" y="1544"/>
                    </a:lnTo>
                    <a:lnTo>
                      <a:pt x="409" y="1544"/>
                    </a:lnTo>
                    <a:lnTo>
                      <a:pt x="423" y="1552"/>
                    </a:lnTo>
                    <a:lnTo>
                      <a:pt x="437" y="1544"/>
                    </a:lnTo>
                    <a:lnTo>
                      <a:pt x="443" y="1544"/>
                    </a:lnTo>
                    <a:lnTo>
                      <a:pt x="451" y="1552"/>
                    </a:lnTo>
                    <a:lnTo>
                      <a:pt x="459" y="1564"/>
                    </a:lnTo>
                    <a:lnTo>
                      <a:pt x="465" y="1570"/>
                    </a:lnTo>
                    <a:lnTo>
                      <a:pt x="465" y="1584"/>
                    </a:lnTo>
                    <a:lnTo>
                      <a:pt x="465" y="1598"/>
                    </a:lnTo>
                    <a:lnTo>
                      <a:pt x="465" y="1606"/>
                    </a:lnTo>
                    <a:lnTo>
                      <a:pt x="479" y="1606"/>
                    </a:lnTo>
                    <a:lnTo>
                      <a:pt x="499" y="1606"/>
                    </a:lnTo>
                    <a:lnTo>
                      <a:pt x="505" y="1598"/>
                    </a:lnTo>
                    <a:lnTo>
                      <a:pt x="511" y="1598"/>
                    </a:lnTo>
                    <a:lnTo>
                      <a:pt x="511" y="1606"/>
                    </a:lnTo>
                    <a:lnTo>
                      <a:pt x="521" y="1620"/>
                    </a:lnTo>
                    <a:lnTo>
                      <a:pt x="533" y="1620"/>
                    </a:lnTo>
                    <a:lnTo>
                      <a:pt x="533" y="1626"/>
                    </a:lnTo>
                    <a:lnTo>
                      <a:pt x="539" y="1646"/>
                    </a:lnTo>
                    <a:lnTo>
                      <a:pt x="539" y="1652"/>
                    </a:lnTo>
                    <a:lnTo>
                      <a:pt x="547" y="1652"/>
                    </a:lnTo>
                    <a:lnTo>
                      <a:pt x="561" y="1652"/>
                    </a:lnTo>
                    <a:lnTo>
                      <a:pt x="567" y="1652"/>
                    </a:lnTo>
                    <a:lnTo>
                      <a:pt x="573" y="1660"/>
                    </a:lnTo>
                    <a:lnTo>
                      <a:pt x="581" y="1652"/>
                    </a:lnTo>
                    <a:lnTo>
                      <a:pt x="587" y="1660"/>
                    </a:lnTo>
                    <a:lnTo>
                      <a:pt x="595" y="1660"/>
                    </a:lnTo>
                    <a:lnTo>
                      <a:pt x="601" y="1652"/>
                    </a:lnTo>
                    <a:lnTo>
                      <a:pt x="615" y="1640"/>
                    </a:lnTo>
                    <a:lnTo>
                      <a:pt x="629" y="1640"/>
                    </a:lnTo>
                    <a:lnTo>
                      <a:pt x="629" y="1646"/>
                    </a:lnTo>
                    <a:lnTo>
                      <a:pt x="635" y="1652"/>
                    </a:lnTo>
                    <a:lnTo>
                      <a:pt x="657" y="1666"/>
                    </a:lnTo>
                    <a:lnTo>
                      <a:pt x="671" y="1660"/>
                    </a:lnTo>
                    <a:lnTo>
                      <a:pt x="671" y="1652"/>
                    </a:lnTo>
                    <a:lnTo>
                      <a:pt x="677" y="1660"/>
                    </a:lnTo>
                    <a:lnTo>
                      <a:pt x="683" y="1666"/>
                    </a:lnTo>
                    <a:lnTo>
                      <a:pt x="697" y="1660"/>
                    </a:lnTo>
                    <a:lnTo>
                      <a:pt x="697" y="1666"/>
                    </a:lnTo>
                    <a:lnTo>
                      <a:pt x="711" y="1666"/>
                    </a:lnTo>
                    <a:lnTo>
                      <a:pt x="711" y="1660"/>
                    </a:lnTo>
                    <a:lnTo>
                      <a:pt x="725" y="1660"/>
                    </a:lnTo>
                    <a:lnTo>
                      <a:pt x="733" y="1660"/>
                    </a:lnTo>
                    <a:lnTo>
                      <a:pt x="733" y="1666"/>
                    </a:lnTo>
                    <a:lnTo>
                      <a:pt x="739" y="1674"/>
                    </a:lnTo>
                    <a:lnTo>
                      <a:pt x="739" y="1666"/>
                    </a:lnTo>
                    <a:lnTo>
                      <a:pt x="751" y="1666"/>
                    </a:lnTo>
                    <a:lnTo>
                      <a:pt x="768" y="1674"/>
                    </a:lnTo>
                    <a:lnTo>
                      <a:pt x="780" y="1674"/>
                    </a:lnTo>
                    <a:lnTo>
                      <a:pt x="788" y="1666"/>
                    </a:lnTo>
                    <a:lnTo>
                      <a:pt x="794" y="1666"/>
                    </a:lnTo>
                    <a:lnTo>
                      <a:pt x="794" y="1688"/>
                    </a:lnTo>
                    <a:lnTo>
                      <a:pt x="788" y="1694"/>
                    </a:lnTo>
                    <a:lnTo>
                      <a:pt x="774" y="1700"/>
                    </a:lnTo>
                    <a:lnTo>
                      <a:pt x="768" y="1708"/>
                    </a:lnTo>
                    <a:lnTo>
                      <a:pt x="774" y="1714"/>
                    </a:lnTo>
                    <a:lnTo>
                      <a:pt x="788" y="1714"/>
                    </a:lnTo>
                    <a:lnTo>
                      <a:pt x="788" y="1720"/>
                    </a:lnTo>
                    <a:lnTo>
                      <a:pt x="780" y="1728"/>
                    </a:lnTo>
                    <a:lnTo>
                      <a:pt x="774" y="1734"/>
                    </a:lnTo>
                    <a:lnTo>
                      <a:pt x="774" y="1740"/>
                    </a:lnTo>
                    <a:lnTo>
                      <a:pt x="780" y="1740"/>
                    </a:lnTo>
                    <a:lnTo>
                      <a:pt x="794" y="1762"/>
                    </a:lnTo>
                    <a:lnTo>
                      <a:pt x="794" y="1782"/>
                    </a:lnTo>
                    <a:lnTo>
                      <a:pt x="788" y="1804"/>
                    </a:lnTo>
                    <a:lnTo>
                      <a:pt x="774" y="1804"/>
                    </a:lnTo>
                    <a:lnTo>
                      <a:pt x="751" y="1804"/>
                    </a:lnTo>
                    <a:lnTo>
                      <a:pt x="745" y="1810"/>
                    </a:lnTo>
                    <a:lnTo>
                      <a:pt x="739" y="1830"/>
                    </a:lnTo>
                    <a:lnTo>
                      <a:pt x="717" y="1838"/>
                    </a:lnTo>
                    <a:lnTo>
                      <a:pt x="717" y="1870"/>
                    </a:lnTo>
                    <a:lnTo>
                      <a:pt x="725" y="1864"/>
                    </a:lnTo>
                    <a:lnTo>
                      <a:pt x="733" y="1864"/>
                    </a:lnTo>
                    <a:lnTo>
                      <a:pt x="739" y="1858"/>
                    </a:lnTo>
                    <a:lnTo>
                      <a:pt x="739" y="1870"/>
                    </a:lnTo>
                    <a:lnTo>
                      <a:pt x="745" y="1870"/>
                    </a:lnTo>
                    <a:lnTo>
                      <a:pt x="760" y="1858"/>
                    </a:lnTo>
                    <a:lnTo>
                      <a:pt x="768" y="1852"/>
                    </a:lnTo>
                    <a:lnTo>
                      <a:pt x="780" y="1852"/>
                    </a:lnTo>
                    <a:lnTo>
                      <a:pt x="780" y="1864"/>
                    </a:lnTo>
                    <a:lnTo>
                      <a:pt x="780" y="1870"/>
                    </a:lnTo>
                    <a:lnTo>
                      <a:pt x="768" y="1878"/>
                    </a:lnTo>
                    <a:lnTo>
                      <a:pt x="751" y="1884"/>
                    </a:lnTo>
                    <a:lnTo>
                      <a:pt x="745" y="1892"/>
                    </a:lnTo>
                    <a:lnTo>
                      <a:pt x="751" y="1898"/>
                    </a:lnTo>
                    <a:lnTo>
                      <a:pt x="760" y="1906"/>
                    </a:lnTo>
                    <a:lnTo>
                      <a:pt x="745" y="1912"/>
                    </a:lnTo>
                    <a:lnTo>
                      <a:pt x="733" y="1906"/>
                    </a:lnTo>
                    <a:lnTo>
                      <a:pt x="725" y="1906"/>
                    </a:lnTo>
                    <a:lnTo>
                      <a:pt x="717" y="1912"/>
                    </a:lnTo>
                    <a:lnTo>
                      <a:pt x="711" y="1912"/>
                    </a:lnTo>
                    <a:lnTo>
                      <a:pt x="711" y="1918"/>
                    </a:lnTo>
                    <a:lnTo>
                      <a:pt x="717" y="1926"/>
                    </a:lnTo>
                    <a:lnTo>
                      <a:pt x="739" y="1926"/>
                    </a:lnTo>
                    <a:lnTo>
                      <a:pt x="745" y="1932"/>
                    </a:lnTo>
                    <a:lnTo>
                      <a:pt x="745" y="1940"/>
                    </a:lnTo>
                    <a:lnTo>
                      <a:pt x="768" y="1946"/>
                    </a:lnTo>
                    <a:lnTo>
                      <a:pt x="760" y="1946"/>
                    </a:lnTo>
                    <a:lnTo>
                      <a:pt x="751" y="1954"/>
                    </a:lnTo>
                    <a:lnTo>
                      <a:pt x="745" y="1946"/>
                    </a:lnTo>
                    <a:lnTo>
                      <a:pt x="745" y="1960"/>
                    </a:lnTo>
                    <a:lnTo>
                      <a:pt x="751" y="1966"/>
                    </a:lnTo>
                    <a:lnTo>
                      <a:pt x="745" y="1974"/>
                    </a:lnTo>
                    <a:lnTo>
                      <a:pt x="739" y="1966"/>
                    </a:lnTo>
                    <a:lnTo>
                      <a:pt x="733" y="1960"/>
                    </a:lnTo>
                    <a:lnTo>
                      <a:pt x="725" y="1966"/>
                    </a:lnTo>
                    <a:lnTo>
                      <a:pt x="725" y="1980"/>
                    </a:lnTo>
                    <a:lnTo>
                      <a:pt x="717" y="1988"/>
                    </a:lnTo>
                    <a:lnTo>
                      <a:pt x="725" y="1994"/>
                    </a:lnTo>
                    <a:lnTo>
                      <a:pt x="725" y="2008"/>
                    </a:lnTo>
                    <a:lnTo>
                      <a:pt x="711" y="2008"/>
                    </a:lnTo>
                    <a:lnTo>
                      <a:pt x="705" y="2028"/>
                    </a:lnTo>
                    <a:lnTo>
                      <a:pt x="705" y="2034"/>
                    </a:lnTo>
                    <a:lnTo>
                      <a:pt x="717" y="2042"/>
                    </a:lnTo>
                    <a:lnTo>
                      <a:pt x="733" y="2048"/>
                    </a:lnTo>
                    <a:lnTo>
                      <a:pt x="739" y="2048"/>
                    </a:lnTo>
                    <a:lnTo>
                      <a:pt x="751" y="2048"/>
                    </a:lnTo>
                    <a:lnTo>
                      <a:pt x="760" y="2056"/>
                    </a:lnTo>
                    <a:lnTo>
                      <a:pt x="760" y="2062"/>
                    </a:lnTo>
                    <a:lnTo>
                      <a:pt x="774" y="2062"/>
                    </a:lnTo>
                    <a:lnTo>
                      <a:pt x="780" y="2056"/>
                    </a:lnTo>
                    <a:lnTo>
                      <a:pt x="788" y="2062"/>
                    </a:lnTo>
                    <a:lnTo>
                      <a:pt x="802" y="2062"/>
                    </a:lnTo>
                    <a:lnTo>
                      <a:pt x="802" y="2070"/>
                    </a:lnTo>
                    <a:lnTo>
                      <a:pt x="816" y="2076"/>
                    </a:lnTo>
                    <a:lnTo>
                      <a:pt x="828" y="2076"/>
                    </a:lnTo>
                    <a:lnTo>
                      <a:pt x="836" y="2082"/>
                    </a:lnTo>
                    <a:lnTo>
                      <a:pt x="842" y="2090"/>
                    </a:lnTo>
                    <a:lnTo>
                      <a:pt x="856" y="2090"/>
                    </a:lnTo>
                    <a:lnTo>
                      <a:pt x="876" y="2118"/>
                    </a:lnTo>
                    <a:lnTo>
                      <a:pt x="884" y="2104"/>
                    </a:lnTo>
                    <a:lnTo>
                      <a:pt x="890" y="2104"/>
                    </a:lnTo>
                    <a:lnTo>
                      <a:pt x="904" y="2104"/>
                    </a:lnTo>
                    <a:lnTo>
                      <a:pt x="910" y="2096"/>
                    </a:lnTo>
                    <a:lnTo>
                      <a:pt x="918" y="2082"/>
                    </a:lnTo>
                    <a:lnTo>
                      <a:pt x="932" y="2090"/>
                    </a:lnTo>
                    <a:lnTo>
                      <a:pt x="944" y="2096"/>
                    </a:lnTo>
                    <a:lnTo>
                      <a:pt x="952" y="2096"/>
                    </a:lnTo>
                    <a:lnTo>
                      <a:pt x="980" y="2096"/>
                    </a:lnTo>
                    <a:lnTo>
                      <a:pt x="986" y="2104"/>
                    </a:lnTo>
                    <a:lnTo>
                      <a:pt x="994" y="2104"/>
                    </a:lnTo>
                    <a:lnTo>
                      <a:pt x="1006" y="2104"/>
                    </a:lnTo>
                    <a:lnTo>
                      <a:pt x="1020" y="2104"/>
                    </a:lnTo>
                    <a:lnTo>
                      <a:pt x="1040" y="2096"/>
                    </a:lnTo>
                    <a:lnTo>
                      <a:pt x="1046" y="2096"/>
                    </a:lnTo>
                    <a:lnTo>
                      <a:pt x="1054" y="2104"/>
                    </a:lnTo>
                    <a:lnTo>
                      <a:pt x="1074" y="2104"/>
                    </a:lnTo>
                    <a:lnTo>
                      <a:pt x="1088" y="2104"/>
                    </a:lnTo>
                    <a:lnTo>
                      <a:pt x="1096" y="2104"/>
                    </a:lnTo>
                    <a:lnTo>
                      <a:pt x="1102" y="2110"/>
                    </a:lnTo>
                    <a:lnTo>
                      <a:pt x="1096" y="2118"/>
                    </a:lnTo>
                    <a:lnTo>
                      <a:pt x="1110" y="2118"/>
                    </a:lnTo>
                    <a:lnTo>
                      <a:pt x="1122" y="2118"/>
                    </a:lnTo>
                    <a:lnTo>
                      <a:pt x="1130" y="2110"/>
                    </a:lnTo>
                    <a:lnTo>
                      <a:pt x="1142" y="2104"/>
                    </a:lnTo>
                    <a:lnTo>
                      <a:pt x="1158" y="2110"/>
                    </a:lnTo>
                    <a:lnTo>
                      <a:pt x="1164" y="2110"/>
                    </a:lnTo>
                    <a:lnTo>
                      <a:pt x="1170" y="2104"/>
                    </a:lnTo>
                    <a:lnTo>
                      <a:pt x="1170" y="2096"/>
                    </a:lnTo>
                    <a:lnTo>
                      <a:pt x="1178" y="2096"/>
                    </a:lnTo>
                    <a:lnTo>
                      <a:pt x="1184" y="2096"/>
                    </a:lnTo>
                    <a:lnTo>
                      <a:pt x="1184" y="2110"/>
                    </a:lnTo>
                    <a:lnTo>
                      <a:pt x="1198" y="2104"/>
                    </a:lnTo>
                    <a:lnTo>
                      <a:pt x="1198" y="2096"/>
                    </a:lnTo>
                    <a:lnTo>
                      <a:pt x="1212" y="2096"/>
                    </a:lnTo>
                    <a:lnTo>
                      <a:pt x="1226" y="2104"/>
                    </a:lnTo>
                    <a:lnTo>
                      <a:pt x="1226" y="2110"/>
                    </a:lnTo>
                    <a:lnTo>
                      <a:pt x="1226" y="2118"/>
                    </a:lnTo>
                    <a:lnTo>
                      <a:pt x="1232" y="2124"/>
                    </a:lnTo>
                    <a:lnTo>
                      <a:pt x="1246" y="2118"/>
                    </a:lnTo>
                    <a:lnTo>
                      <a:pt x="1252" y="2118"/>
                    </a:lnTo>
                    <a:lnTo>
                      <a:pt x="1274" y="2124"/>
                    </a:lnTo>
                    <a:lnTo>
                      <a:pt x="1294" y="2124"/>
                    </a:lnTo>
                    <a:lnTo>
                      <a:pt x="1300" y="2124"/>
                    </a:lnTo>
                    <a:lnTo>
                      <a:pt x="1314" y="2138"/>
                    </a:lnTo>
                    <a:lnTo>
                      <a:pt x="1328" y="2144"/>
                    </a:lnTo>
                    <a:lnTo>
                      <a:pt x="1342" y="2144"/>
                    </a:lnTo>
                    <a:lnTo>
                      <a:pt x="1348" y="2144"/>
                    </a:lnTo>
                    <a:lnTo>
                      <a:pt x="1362" y="2138"/>
                    </a:lnTo>
                    <a:lnTo>
                      <a:pt x="1370" y="2124"/>
                    </a:lnTo>
                    <a:lnTo>
                      <a:pt x="1362" y="2118"/>
                    </a:lnTo>
                    <a:lnTo>
                      <a:pt x="1377" y="2118"/>
                    </a:lnTo>
                    <a:lnTo>
                      <a:pt x="1383" y="2118"/>
                    </a:lnTo>
                    <a:lnTo>
                      <a:pt x="1383" y="2104"/>
                    </a:lnTo>
                    <a:lnTo>
                      <a:pt x="1391" y="2090"/>
                    </a:lnTo>
                    <a:lnTo>
                      <a:pt x="1383" y="2090"/>
                    </a:lnTo>
                    <a:lnTo>
                      <a:pt x="1370" y="2082"/>
                    </a:lnTo>
                    <a:lnTo>
                      <a:pt x="1356" y="2076"/>
                    </a:lnTo>
                    <a:lnTo>
                      <a:pt x="1348" y="2070"/>
                    </a:lnTo>
                    <a:lnTo>
                      <a:pt x="1328" y="2056"/>
                    </a:lnTo>
                    <a:lnTo>
                      <a:pt x="1314" y="2048"/>
                    </a:lnTo>
                    <a:lnTo>
                      <a:pt x="1300" y="2034"/>
                    </a:lnTo>
                    <a:lnTo>
                      <a:pt x="1300" y="2008"/>
                    </a:lnTo>
                    <a:lnTo>
                      <a:pt x="1294" y="2002"/>
                    </a:lnTo>
                    <a:lnTo>
                      <a:pt x="1286" y="1994"/>
                    </a:lnTo>
                    <a:lnTo>
                      <a:pt x="1286" y="1980"/>
                    </a:lnTo>
                    <a:lnTo>
                      <a:pt x="1280" y="1966"/>
                    </a:lnTo>
                    <a:lnTo>
                      <a:pt x="1274" y="1966"/>
                    </a:lnTo>
                    <a:lnTo>
                      <a:pt x="1274" y="1960"/>
                    </a:lnTo>
                    <a:lnTo>
                      <a:pt x="1260" y="1954"/>
                    </a:lnTo>
                    <a:lnTo>
                      <a:pt x="1240" y="1940"/>
                    </a:lnTo>
                    <a:lnTo>
                      <a:pt x="1240" y="1946"/>
                    </a:lnTo>
                    <a:lnTo>
                      <a:pt x="1232" y="1954"/>
                    </a:lnTo>
                    <a:lnTo>
                      <a:pt x="1226" y="1946"/>
                    </a:lnTo>
                    <a:lnTo>
                      <a:pt x="1212" y="1940"/>
                    </a:lnTo>
                    <a:lnTo>
                      <a:pt x="1218" y="1912"/>
                    </a:lnTo>
                    <a:lnTo>
                      <a:pt x="1218" y="1906"/>
                    </a:lnTo>
                    <a:lnTo>
                      <a:pt x="1226" y="1898"/>
                    </a:lnTo>
                    <a:lnTo>
                      <a:pt x="1226" y="1884"/>
                    </a:lnTo>
                    <a:lnTo>
                      <a:pt x="1232" y="1878"/>
                    </a:lnTo>
                    <a:lnTo>
                      <a:pt x="1226" y="1870"/>
                    </a:lnTo>
                    <a:lnTo>
                      <a:pt x="1226" y="1852"/>
                    </a:lnTo>
                    <a:lnTo>
                      <a:pt x="1232" y="1838"/>
                    </a:lnTo>
                    <a:lnTo>
                      <a:pt x="1232" y="1824"/>
                    </a:lnTo>
                    <a:lnTo>
                      <a:pt x="1240" y="1824"/>
                    </a:lnTo>
                    <a:lnTo>
                      <a:pt x="1246" y="1830"/>
                    </a:lnTo>
                    <a:lnTo>
                      <a:pt x="1260" y="1816"/>
                    </a:lnTo>
                    <a:lnTo>
                      <a:pt x="1266" y="1810"/>
                    </a:lnTo>
                    <a:lnTo>
                      <a:pt x="1274" y="1804"/>
                    </a:lnTo>
                    <a:lnTo>
                      <a:pt x="1280" y="1790"/>
                    </a:lnTo>
                    <a:lnTo>
                      <a:pt x="1286" y="1796"/>
                    </a:lnTo>
                    <a:lnTo>
                      <a:pt x="1294" y="1782"/>
                    </a:lnTo>
                    <a:lnTo>
                      <a:pt x="1286" y="1762"/>
                    </a:lnTo>
                    <a:lnTo>
                      <a:pt x="1274" y="1762"/>
                    </a:lnTo>
                    <a:lnTo>
                      <a:pt x="1266" y="1762"/>
                    </a:lnTo>
                    <a:lnTo>
                      <a:pt x="1252" y="1756"/>
                    </a:lnTo>
                    <a:lnTo>
                      <a:pt x="1260" y="1740"/>
                    </a:lnTo>
                    <a:lnTo>
                      <a:pt x="1266" y="1734"/>
                    </a:lnTo>
                    <a:lnTo>
                      <a:pt x="1274" y="1734"/>
                    </a:lnTo>
                    <a:lnTo>
                      <a:pt x="1266" y="1728"/>
                    </a:lnTo>
                    <a:lnTo>
                      <a:pt x="1246" y="1714"/>
                    </a:lnTo>
                    <a:lnTo>
                      <a:pt x="1218" y="1694"/>
                    </a:lnTo>
                    <a:lnTo>
                      <a:pt x="1206" y="1680"/>
                    </a:lnTo>
                    <a:lnTo>
                      <a:pt x="1198" y="1688"/>
                    </a:lnTo>
                    <a:lnTo>
                      <a:pt x="1184" y="1688"/>
                    </a:lnTo>
                    <a:lnTo>
                      <a:pt x="1184" y="1694"/>
                    </a:lnTo>
                    <a:lnTo>
                      <a:pt x="1178" y="1700"/>
                    </a:lnTo>
                    <a:lnTo>
                      <a:pt x="1164" y="1694"/>
                    </a:lnTo>
                    <a:lnTo>
                      <a:pt x="1158" y="1688"/>
                    </a:lnTo>
                    <a:lnTo>
                      <a:pt x="1158" y="1674"/>
                    </a:lnTo>
                    <a:lnTo>
                      <a:pt x="1158" y="1666"/>
                    </a:lnTo>
                    <a:lnTo>
                      <a:pt x="1142" y="1660"/>
                    </a:lnTo>
                    <a:lnTo>
                      <a:pt x="1130" y="1660"/>
                    </a:lnTo>
                    <a:lnTo>
                      <a:pt x="1122" y="1666"/>
                    </a:lnTo>
                    <a:lnTo>
                      <a:pt x="1122" y="1646"/>
                    </a:lnTo>
                    <a:lnTo>
                      <a:pt x="1122" y="1632"/>
                    </a:lnTo>
                    <a:lnTo>
                      <a:pt x="1136" y="1612"/>
                    </a:lnTo>
                    <a:lnTo>
                      <a:pt x="1116" y="1606"/>
                    </a:lnTo>
                    <a:lnTo>
                      <a:pt x="1110" y="1598"/>
                    </a:lnTo>
                    <a:lnTo>
                      <a:pt x="1116" y="1590"/>
                    </a:lnTo>
                    <a:lnTo>
                      <a:pt x="1116" y="1570"/>
                    </a:lnTo>
                    <a:lnTo>
                      <a:pt x="1110" y="1564"/>
                    </a:lnTo>
                    <a:lnTo>
                      <a:pt x="1102" y="1552"/>
                    </a:lnTo>
                    <a:lnTo>
                      <a:pt x="1110" y="1538"/>
                    </a:lnTo>
                    <a:lnTo>
                      <a:pt x="1116" y="1538"/>
                    </a:lnTo>
                    <a:lnTo>
                      <a:pt x="1116" y="1516"/>
                    </a:lnTo>
                    <a:lnTo>
                      <a:pt x="1110" y="1516"/>
                    </a:lnTo>
                    <a:lnTo>
                      <a:pt x="1122" y="1496"/>
                    </a:lnTo>
                    <a:lnTo>
                      <a:pt x="1136" y="1504"/>
                    </a:lnTo>
                    <a:lnTo>
                      <a:pt x="1142" y="1516"/>
                    </a:lnTo>
                    <a:lnTo>
                      <a:pt x="1158" y="1524"/>
                    </a:lnTo>
                    <a:lnTo>
                      <a:pt x="1164" y="1530"/>
                    </a:lnTo>
                    <a:lnTo>
                      <a:pt x="1178" y="1516"/>
                    </a:lnTo>
                    <a:lnTo>
                      <a:pt x="1178" y="1510"/>
                    </a:lnTo>
                    <a:lnTo>
                      <a:pt x="1170" y="1496"/>
                    </a:lnTo>
                    <a:lnTo>
                      <a:pt x="1164" y="1476"/>
                    </a:lnTo>
                    <a:lnTo>
                      <a:pt x="1150" y="1468"/>
                    </a:lnTo>
                    <a:lnTo>
                      <a:pt x="1164" y="1462"/>
                    </a:lnTo>
                    <a:lnTo>
                      <a:pt x="1178" y="1462"/>
                    </a:lnTo>
                    <a:lnTo>
                      <a:pt x="1178" y="1454"/>
                    </a:lnTo>
                    <a:lnTo>
                      <a:pt x="1178" y="1448"/>
                    </a:lnTo>
                    <a:lnTo>
                      <a:pt x="1178" y="1420"/>
                    </a:lnTo>
                    <a:lnTo>
                      <a:pt x="1190" y="1420"/>
                    </a:lnTo>
                    <a:lnTo>
                      <a:pt x="1198" y="1414"/>
                    </a:lnTo>
                    <a:lnTo>
                      <a:pt x="1206" y="1400"/>
                    </a:lnTo>
                    <a:lnTo>
                      <a:pt x="1218" y="1386"/>
                    </a:lnTo>
                    <a:lnTo>
                      <a:pt x="1226" y="1374"/>
                    </a:lnTo>
                    <a:lnTo>
                      <a:pt x="1226" y="1366"/>
                    </a:lnTo>
                    <a:lnTo>
                      <a:pt x="1226" y="1360"/>
                    </a:lnTo>
                    <a:lnTo>
                      <a:pt x="1232" y="1360"/>
                    </a:lnTo>
                    <a:lnTo>
                      <a:pt x="1240" y="1366"/>
                    </a:lnTo>
                    <a:lnTo>
                      <a:pt x="1246" y="1374"/>
                    </a:lnTo>
                    <a:lnTo>
                      <a:pt x="1260" y="1366"/>
                    </a:lnTo>
                    <a:lnTo>
                      <a:pt x="1266" y="1352"/>
                    </a:lnTo>
                    <a:lnTo>
                      <a:pt x="1274" y="1338"/>
                    </a:lnTo>
                    <a:lnTo>
                      <a:pt x="1286" y="1332"/>
                    </a:lnTo>
                    <a:lnTo>
                      <a:pt x="1294" y="1332"/>
                    </a:lnTo>
                    <a:lnTo>
                      <a:pt x="1308" y="1346"/>
                    </a:lnTo>
                    <a:lnTo>
                      <a:pt x="1308" y="1338"/>
                    </a:lnTo>
                    <a:lnTo>
                      <a:pt x="1314" y="1326"/>
                    </a:lnTo>
                    <a:lnTo>
                      <a:pt x="1322" y="1326"/>
                    </a:lnTo>
                    <a:lnTo>
                      <a:pt x="1334" y="1326"/>
                    </a:lnTo>
                    <a:lnTo>
                      <a:pt x="1342" y="1332"/>
                    </a:lnTo>
                    <a:lnTo>
                      <a:pt x="1356" y="1338"/>
                    </a:lnTo>
                    <a:lnTo>
                      <a:pt x="1377" y="1338"/>
                    </a:lnTo>
                    <a:lnTo>
                      <a:pt x="1383" y="1346"/>
                    </a:lnTo>
                    <a:lnTo>
                      <a:pt x="1397" y="1346"/>
                    </a:lnTo>
                    <a:lnTo>
                      <a:pt x="1405" y="1346"/>
                    </a:lnTo>
                    <a:lnTo>
                      <a:pt x="1411" y="1352"/>
                    </a:lnTo>
                    <a:lnTo>
                      <a:pt x="1411" y="1338"/>
                    </a:lnTo>
                    <a:lnTo>
                      <a:pt x="1405" y="1332"/>
                    </a:lnTo>
                    <a:lnTo>
                      <a:pt x="1405" y="1326"/>
                    </a:lnTo>
                    <a:lnTo>
                      <a:pt x="1411" y="1326"/>
                    </a:lnTo>
                    <a:lnTo>
                      <a:pt x="1445" y="1332"/>
                    </a:lnTo>
                    <a:lnTo>
                      <a:pt x="1467" y="1338"/>
                    </a:lnTo>
                    <a:lnTo>
                      <a:pt x="1473" y="1326"/>
                    </a:lnTo>
                    <a:lnTo>
                      <a:pt x="1473" y="1318"/>
                    </a:lnTo>
                    <a:lnTo>
                      <a:pt x="1473" y="1312"/>
                    </a:lnTo>
                    <a:lnTo>
                      <a:pt x="1479" y="1312"/>
                    </a:lnTo>
                    <a:lnTo>
                      <a:pt x="1479" y="1304"/>
                    </a:lnTo>
                    <a:lnTo>
                      <a:pt x="1473" y="1298"/>
                    </a:lnTo>
                    <a:lnTo>
                      <a:pt x="1487" y="1298"/>
                    </a:lnTo>
                    <a:lnTo>
                      <a:pt x="1501" y="1298"/>
                    </a:lnTo>
                    <a:lnTo>
                      <a:pt x="1493" y="1284"/>
                    </a:lnTo>
                    <a:lnTo>
                      <a:pt x="1501" y="1284"/>
                    </a:lnTo>
                    <a:lnTo>
                      <a:pt x="1507" y="1276"/>
                    </a:lnTo>
                    <a:lnTo>
                      <a:pt x="1521" y="1284"/>
                    </a:lnTo>
                    <a:lnTo>
                      <a:pt x="1535" y="1284"/>
                    </a:lnTo>
                    <a:lnTo>
                      <a:pt x="1535" y="1270"/>
                    </a:lnTo>
                    <a:lnTo>
                      <a:pt x="1547" y="1270"/>
                    </a:lnTo>
                    <a:lnTo>
                      <a:pt x="1541" y="1256"/>
                    </a:lnTo>
                    <a:lnTo>
                      <a:pt x="1547" y="1250"/>
                    </a:lnTo>
                    <a:lnTo>
                      <a:pt x="1555" y="1244"/>
                    </a:lnTo>
                    <a:lnTo>
                      <a:pt x="1569" y="1236"/>
                    </a:lnTo>
                    <a:lnTo>
                      <a:pt x="1575" y="1244"/>
                    </a:lnTo>
                    <a:lnTo>
                      <a:pt x="1581" y="1256"/>
                    </a:lnTo>
                    <a:lnTo>
                      <a:pt x="1595" y="1256"/>
                    </a:lnTo>
                    <a:lnTo>
                      <a:pt x="1623" y="1250"/>
                    </a:lnTo>
                    <a:lnTo>
                      <a:pt x="1629" y="1250"/>
                    </a:lnTo>
                    <a:lnTo>
                      <a:pt x="1637" y="1250"/>
                    </a:lnTo>
                    <a:lnTo>
                      <a:pt x="1637" y="1244"/>
                    </a:lnTo>
                    <a:lnTo>
                      <a:pt x="1637" y="1230"/>
                    </a:lnTo>
                    <a:lnTo>
                      <a:pt x="1649" y="1222"/>
                    </a:lnTo>
                    <a:lnTo>
                      <a:pt x="1671" y="1216"/>
                    </a:lnTo>
                    <a:lnTo>
                      <a:pt x="1691" y="1196"/>
                    </a:lnTo>
                    <a:lnTo>
                      <a:pt x="1699" y="1190"/>
                    </a:lnTo>
                    <a:lnTo>
                      <a:pt x="1699" y="1174"/>
                    </a:lnTo>
                    <a:lnTo>
                      <a:pt x="1691" y="1162"/>
                    </a:lnTo>
                    <a:lnTo>
                      <a:pt x="1677" y="1148"/>
                    </a:lnTo>
                    <a:lnTo>
                      <a:pt x="1671" y="1148"/>
                    </a:lnTo>
                    <a:lnTo>
                      <a:pt x="1665" y="1154"/>
                    </a:lnTo>
                    <a:lnTo>
                      <a:pt x="1649" y="1162"/>
                    </a:lnTo>
                    <a:lnTo>
                      <a:pt x="1629" y="1162"/>
                    </a:lnTo>
                    <a:lnTo>
                      <a:pt x="1617" y="1162"/>
                    </a:lnTo>
                    <a:lnTo>
                      <a:pt x="1609" y="1162"/>
                    </a:lnTo>
                    <a:lnTo>
                      <a:pt x="1589" y="1154"/>
                    </a:lnTo>
                    <a:lnTo>
                      <a:pt x="1589" y="1148"/>
                    </a:lnTo>
                    <a:lnTo>
                      <a:pt x="1581" y="1134"/>
                    </a:lnTo>
                    <a:lnTo>
                      <a:pt x="1575" y="1134"/>
                    </a:lnTo>
                    <a:lnTo>
                      <a:pt x="1569" y="1134"/>
                    </a:lnTo>
                    <a:lnTo>
                      <a:pt x="1555" y="1148"/>
                    </a:lnTo>
                    <a:lnTo>
                      <a:pt x="1547" y="1154"/>
                    </a:lnTo>
                    <a:lnTo>
                      <a:pt x="1535" y="1154"/>
                    </a:lnTo>
                    <a:lnTo>
                      <a:pt x="1521" y="1142"/>
                    </a:lnTo>
                    <a:lnTo>
                      <a:pt x="1507" y="1120"/>
                    </a:lnTo>
                    <a:lnTo>
                      <a:pt x="1507" y="1106"/>
                    </a:lnTo>
                    <a:lnTo>
                      <a:pt x="1507" y="1100"/>
                    </a:lnTo>
                    <a:lnTo>
                      <a:pt x="1501" y="1094"/>
                    </a:lnTo>
                    <a:lnTo>
                      <a:pt x="1493" y="1086"/>
                    </a:lnTo>
                    <a:lnTo>
                      <a:pt x="1493" y="1080"/>
                    </a:lnTo>
                    <a:lnTo>
                      <a:pt x="1479" y="1066"/>
                    </a:lnTo>
                    <a:lnTo>
                      <a:pt x="1479" y="1038"/>
                    </a:lnTo>
                    <a:lnTo>
                      <a:pt x="1487" y="1018"/>
                    </a:lnTo>
                    <a:lnTo>
                      <a:pt x="1479" y="1012"/>
                    </a:lnTo>
                    <a:lnTo>
                      <a:pt x="1467" y="1004"/>
                    </a:lnTo>
                    <a:lnTo>
                      <a:pt x="1467" y="984"/>
                    </a:lnTo>
                    <a:lnTo>
                      <a:pt x="1467" y="970"/>
                    </a:lnTo>
                    <a:lnTo>
                      <a:pt x="1459" y="976"/>
                    </a:lnTo>
                    <a:lnTo>
                      <a:pt x="1459" y="984"/>
                    </a:lnTo>
                    <a:lnTo>
                      <a:pt x="1445" y="1012"/>
                    </a:lnTo>
                    <a:lnTo>
                      <a:pt x="1431" y="1032"/>
                    </a:lnTo>
                    <a:lnTo>
                      <a:pt x="1411" y="1038"/>
                    </a:lnTo>
                    <a:lnTo>
                      <a:pt x="1391" y="1046"/>
                    </a:lnTo>
                    <a:lnTo>
                      <a:pt x="1377" y="1052"/>
                    </a:lnTo>
                    <a:lnTo>
                      <a:pt x="1356" y="1024"/>
                    </a:lnTo>
                    <a:lnTo>
                      <a:pt x="1356" y="1004"/>
                    </a:lnTo>
                    <a:lnTo>
                      <a:pt x="1370" y="998"/>
                    </a:lnTo>
                    <a:lnTo>
                      <a:pt x="1391" y="992"/>
                    </a:lnTo>
                    <a:lnTo>
                      <a:pt x="1397" y="998"/>
                    </a:lnTo>
                    <a:lnTo>
                      <a:pt x="1405" y="1004"/>
                    </a:lnTo>
                    <a:lnTo>
                      <a:pt x="1411" y="998"/>
                    </a:lnTo>
                    <a:lnTo>
                      <a:pt x="1411" y="984"/>
                    </a:lnTo>
                    <a:lnTo>
                      <a:pt x="1411" y="976"/>
                    </a:lnTo>
                    <a:lnTo>
                      <a:pt x="1419" y="962"/>
                    </a:lnTo>
                    <a:lnTo>
                      <a:pt x="1425" y="950"/>
                    </a:lnTo>
                    <a:lnTo>
                      <a:pt x="1419" y="936"/>
                    </a:lnTo>
                    <a:lnTo>
                      <a:pt x="1405" y="930"/>
                    </a:lnTo>
                    <a:lnTo>
                      <a:pt x="1405" y="922"/>
                    </a:lnTo>
                    <a:lnTo>
                      <a:pt x="1397" y="922"/>
                    </a:lnTo>
                    <a:lnTo>
                      <a:pt x="1391" y="930"/>
                    </a:lnTo>
                    <a:lnTo>
                      <a:pt x="1377" y="930"/>
                    </a:lnTo>
                    <a:lnTo>
                      <a:pt x="1370" y="930"/>
                    </a:lnTo>
                    <a:lnTo>
                      <a:pt x="1362" y="936"/>
                    </a:lnTo>
                    <a:lnTo>
                      <a:pt x="1334" y="950"/>
                    </a:lnTo>
                    <a:lnTo>
                      <a:pt x="1322" y="950"/>
                    </a:lnTo>
                    <a:lnTo>
                      <a:pt x="1314" y="930"/>
                    </a:lnTo>
                    <a:lnTo>
                      <a:pt x="1300" y="908"/>
                    </a:lnTo>
                    <a:lnTo>
                      <a:pt x="1294" y="902"/>
                    </a:lnTo>
                    <a:lnTo>
                      <a:pt x="1300" y="896"/>
                    </a:lnTo>
                    <a:lnTo>
                      <a:pt x="1308" y="896"/>
                    </a:lnTo>
                    <a:lnTo>
                      <a:pt x="1308" y="874"/>
                    </a:lnTo>
                    <a:lnTo>
                      <a:pt x="1300" y="854"/>
                    </a:lnTo>
                    <a:lnTo>
                      <a:pt x="1286" y="834"/>
                    </a:lnTo>
                    <a:lnTo>
                      <a:pt x="1294" y="820"/>
                    </a:lnTo>
                    <a:lnTo>
                      <a:pt x="1300" y="812"/>
                    </a:lnTo>
                    <a:lnTo>
                      <a:pt x="1308" y="812"/>
                    </a:lnTo>
                    <a:lnTo>
                      <a:pt x="1308" y="806"/>
                    </a:lnTo>
                    <a:lnTo>
                      <a:pt x="1300" y="794"/>
                    </a:lnTo>
                    <a:lnTo>
                      <a:pt x="1300" y="786"/>
                    </a:lnTo>
                    <a:lnTo>
                      <a:pt x="1300" y="766"/>
                    </a:lnTo>
                    <a:lnTo>
                      <a:pt x="1300" y="758"/>
                    </a:lnTo>
                    <a:lnTo>
                      <a:pt x="1286" y="758"/>
                    </a:lnTo>
                    <a:lnTo>
                      <a:pt x="1286" y="746"/>
                    </a:lnTo>
                    <a:lnTo>
                      <a:pt x="1280" y="732"/>
                    </a:lnTo>
                    <a:lnTo>
                      <a:pt x="1274" y="724"/>
                    </a:lnTo>
                    <a:lnTo>
                      <a:pt x="1266" y="710"/>
                    </a:lnTo>
                    <a:lnTo>
                      <a:pt x="1260" y="710"/>
                    </a:lnTo>
                    <a:lnTo>
                      <a:pt x="1260" y="704"/>
                    </a:lnTo>
                    <a:lnTo>
                      <a:pt x="1252" y="698"/>
                    </a:lnTo>
                    <a:lnTo>
                      <a:pt x="1246" y="704"/>
                    </a:lnTo>
                    <a:lnTo>
                      <a:pt x="1240" y="684"/>
                    </a:lnTo>
                    <a:lnTo>
                      <a:pt x="1226" y="656"/>
                    </a:lnTo>
                    <a:lnTo>
                      <a:pt x="1218" y="630"/>
                    </a:lnTo>
                    <a:lnTo>
                      <a:pt x="1212" y="616"/>
                    </a:lnTo>
                    <a:lnTo>
                      <a:pt x="1190" y="602"/>
                    </a:lnTo>
                    <a:lnTo>
                      <a:pt x="1190" y="582"/>
                    </a:lnTo>
                    <a:lnTo>
                      <a:pt x="1184" y="574"/>
                    </a:lnTo>
                    <a:lnTo>
                      <a:pt x="1170" y="560"/>
                    </a:lnTo>
                    <a:lnTo>
                      <a:pt x="1170" y="548"/>
                    </a:lnTo>
                    <a:lnTo>
                      <a:pt x="1164" y="532"/>
                    </a:lnTo>
                    <a:lnTo>
                      <a:pt x="1158" y="526"/>
                    </a:lnTo>
                    <a:lnTo>
                      <a:pt x="1150" y="520"/>
                    </a:lnTo>
                    <a:lnTo>
                      <a:pt x="1142" y="492"/>
                    </a:lnTo>
                    <a:lnTo>
                      <a:pt x="1136" y="486"/>
                    </a:lnTo>
                    <a:lnTo>
                      <a:pt x="1122" y="480"/>
                    </a:lnTo>
                    <a:lnTo>
                      <a:pt x="1122" y="472"/>
                    </a:lnTo>
                    <a:lnTo>
                      <a:pt x="1110" y="466"/>
                    </a:lnTo>
                    <a:lnTo>
                      <a:pt x="1102" y="458"/>
                    </a:lnTo>
                    <a:lnTo>
                      <a:pt x="1096" y="424"/>
                    </a:lnTo>
                    <a:lnTo>
                      <a:pt x="1088" y="424"/>
                    </a:lnTo>
                    <a:lnTo>
                      <a:pt x="1088" y="410"/>
                    </a:lnTo>
                    <a:lnTo>
                      <a:pt x="1082" y="396"/>
                    </a:lnTo>
                    <a:lnTo>
                      <a:pt x="1082" y="404"/>
                    </a:lnTo>
                    <a:lnTo>
                      <a:pt x="1074" y="390"/>
                    </a:lnTo>
                    <a:lnTo>
                      <a:pt x="1074" y="376"/>
                    </a:lnTo>
                    <a:lnTo>
                      <a:pt x="1068" y="370"/>
                    </a:lnTo>
                    <a:lnTo>
                      <a:pt x="1062" y="356"/>
                    </a:lnTo>
                    <a:lnTo>
                      <a:pt x="1054" y="344"/>
                    </a:lnTo>
                    <a:lnTo>
                      <a:pt x="1040" y="344"/>
                    </a:lnTo>
                    <a:lnTo>
                      <a:pt x="1040" y="336"/>
                    </a:lnTo>
                    <a:lnTo>
                      <a:pt x="1040" y="330"/>
                    </a:lnTo>
                    <a:lnTo>
                      <a:pt x="1054" y="330"/>
                    </a:lnTo>
                    <a:lnTo>
                      <a:pt x="1062" y="322"/>
                    </a:lnTo>
                    <a:lnTo>
                      <a:pt x="1062" y="294"/>
                    </a:lnTo>
                    <a:lnTo>
                      <a:pt x="1062" y="274"/>
                    </a:lnTo>
                    <a:lnTo>
                      <a:pt x="1062" y="260"/>
                    </a:lnTo>
                    <a:lnTo>
                      <a:pt x="1068" y="260"/>
                    </a:lnTo>
                    <a:lnTo>
                      <a:pt x="1074" y="240"/>
                    </a:lnTo>
                    <a:lnTo>
                      <a:pt x="1074" y="212"/>
                    </a:lnTo>
                    <a:lnTo>
                      <a:pt x="1062" y="178"/>
                    </a:lnTo>
                    <a:lnTo>
                      <a:pt x="1068" y="164"/>
                    </a:lnTo>
                    <a:lnTo>
                      <a:pt x="1082" y="152"/>
                    </a:lnTo>
                    <a:lnTo>
                      <a:pt x="1088" y="138"/>
                    </a:lnTo>
                    <a:lnTo>
                      <a:pt x="1082" y="118"/>
                    </a:lnTo>
                    <a:lnTo>
                      <a:pt x="1082" y="96"/>
                    </a:lnTo>
                    <a:lnTo>
                      <a:pt x="1074" y="82"/>
                    </a:lnTo>
                    <a:lnTo>
                      <a:pt x="1062" y="76"/>
                    </a:lnTo>
                    <a:lnTo>
                      <a:pt x="1068" y="62"/>
                    </a:lnTo>
                    <a:lnTo>
                      <a:pt x="1062" y="62"/>
                    </a:lnTo>
                    <a:lnTo>
                      <a:pt x="1054" y="56"/>
                    </a:lnTo>
                    <a:lnTo>
                      <a:pt x="1046" y="56"/>
                    </a:lnTo>
                    <a:lnTo>
                      <a:pt x="1040" y="68"/>
                    </a:lnTo>
                    <a:lnTo>
                      <a:pt x="1034" y="68"/>
                    </a:lnTo>
                    <a:lnTo>
                      <a:pt x="1028" y="56"/>
                    </a:lnTo>
                    <a:lnTo>
                      <a:pt x="1020" y="48"/>
                    </a:lnTo>
                    <a:lnTo>
                      <a:pt x="1014" y="48"/>
                    </a:lnTo>
                    <a:lnTo>
                      <a:pt x="1006" y="42"/>
                    </a:lnTo>
                    <a:lnTo>
                      <a:pt x="1006" y="30"/>
                    </a:lnTo>
                    <a:lnTo>
                      <a:pt x="1000" y="30"/>
                    </a:lnTo>
                    <a:lnTo>
                      <a:pt x="986" y="30"/>
                    </a:lnTo>
                    <a:lnTo>
                      <a:pt x="980" y="36"/>
                    </a:lnTo>
                    <a:lnTo>
                      <a:pt x="972" y="36"/>
                    </a:lnTo>
                    <a:lnTo>
                      <a:pt x="966" y="36"/>
                    </a:lnTo>
                    <a:lnTo>
                      <a:pt x="960" y="22"/>
                    </a:lnTo>
                    <a:lnTo>
                      <a:pt x="952" y="16"/>
                    </a:lnTo>
                    <a:lnTo>
                      <a:pt x="960" y="8"/>
                    </a:lnTo>
                    <a:lnTo>
                      <a:pt x="960" y="0"/>
                    </a:lnTo>
                    <a:lnTo>
                      <a:pt x="952" y="0"/>
                    </a:lnTo>
                    <a:lnTo>
                      <a:pt x="924" y="0"/>
                    </a:lnTo>
                    <a:lnTo>
                      <a:pt x="898" y="16"/>
                    </a:lnTo>
                    <a:lnTo>
                      <a:pt x="884" y="22"/>
                    </a:lnTo>
                    <a:lnTo>
                      <a:pt x="864" y="22"/>
                    </a:lnTo>
                    <a:lnTo>
                      <a:pt x="848" y="22"/>
                    </a:lnTo>
                    <a:lnTo>
                      <a:pt x="856" y="30"/>
                    </a:lnTo>
                    <a:lnTo>
                      <a:pt x="856" y="48"/>
                    </a:lnTo>
                    <a:lnTo>
                      <a:pt x="848" y="56"/>
                    </a:lnTo>
                    <a:lnTo>
                      <a:pt x="856" y="62"/>
                    </a:lnTo>
                    <a:lnTo>
                      <a:pt x="864" y="68"/>
                    </a:lnTo>
                    <a:lnTo>
                      <a:pt x="870" y="82"/>
                    </a:lnTo>
                    <a:lnTo>
                      <a:pt x="884" y="82"/>
                    </a:lnTo>
                    <a:lnTo>
                      <a:pt x="890" y="90"/>
                    </a:lnTo>
                    <a:lnTo>
                      <a:pt x="876" y="102"/>
                    </a:lnTo>
                    <a:lnTo>
                      <a:pt x="870" y="124"/>
                    </a:lnTo>
                    <a:lnTo>
                      <a:pt x="876" y="124"/>
                    </a:lnTo>
                    <a:lnTo>
                      <a:pt x="884" y="132"/>
                    </a:lnTo>
                    <a:lnTo>
                      <a:pt x="870" y="144"/>
                    </a:lnTo>
                    <a:lnTo>
                      <a:pt x="856" y="144"/>
                    </a:lnTo>
                    <a:lnTo>
                      <a:pt x="842" y="132"/>
                    </a:lnTo>
                    <a:lnTo>
                      <a:pt x="848" y="124"/>
                    </a:lnTo>
                    <a:lnTo>
                      <a:pt x="842" y="110"/>
                    </a:lnTo>
                    <a:lnTo>
                      <a:pt x="836" y="102"/>
                    </a:lnTo>
                    <a:lnTo>
                      <a:pt x="828" y="110"/>
                    </a:lnTo>
                    <a:lnTo>
                      <a:pt x="822" y="124"/>
                    </a:lnTo>
                    <a:lnTo>
                      <a:pt x="822" y="132"/>
                    </a:lnTo>
                    <a:lnTo>
                      <a:pt x="822" y="144"/>
                    </a:lnTo>
                    <a:lnTo>
                      <a:pt x="822" y="152"/>
                    </a:lnTo>
                    <a:lnTo>
                      <a:pt x="816" y="164"/>
                    </a:lnTo>
                    <a:lnTo>
                      <a:pt x="794" y="164"/>
                    </a:lnTo>
                    <a:lnTo>
                      <a:pt x="780" y="164"/>
                    </a:lnTo>
                    <a:lnTo>
                      <a:pt x="780" y="172"/>
                    </a:lnTo>
                    <a:lnTo>
                      <a:pt x="774" y="198"/>
                    </a:lnTo>
                    <a:lnTo>
                      <a:pt x="774" y="204"/>
                    </a:lnTo>
                    <a:lnTo>
                      <a:pt x="760" y="220"/>
                    </a:lnTo>
                    <a:lnTo>
                      <a:pt x="760" y="226"/>
                    </a:lnTo>
                    <a:lnTo>
                      <a:pt x="760" y="232"/>
                    </a:lnTo>
                    <a:lnTo>
                      <a:pt x="751" y="226"/>
                    </a:lnTo>
                    <a:lnTo>
                      <a:pt x="745" y="220"/>
                    </a:lnTo>
                    <a:lnTo>
                      <a:pt x="733" y="240"/>
                    </a:lnTo>
                    <a:lnTo>
                      <a:pt x="733" y="226"/>
                    </a:lnTo>
                    <a:lnTo>
                      <a:pt x="733" y="212"/>
                    </a:lnTo>
                    <a:lnTo>
                      <a:pt x="739" y="204"/>
                    </a:lnTo>
                    <a:lnTo>
                      <a:pt x="733" y="198"/>
                    </a:lnTo>
                    <a:lnTo>
                      <a:pt x="733" y="186"/>
                    </a:lnTo>
                    <a:lnTo>
                      <a:pt x="725" y="186"/>
                    </a:lnTo>
                    <a:lnTo>
                      <a:pt x="717" y="186"/>
                    </a:lnTo>
                    <a:lnTo>
                      <a:pt x="711" y="178"/>
                    </a:lnTo>
                    <a:lnTo>
                      <a:pt x="705" y="198"/>
                    </a:lnTo>
                    <a:lnTo>
                      <a:pt x="711" y="198"/>
                    </a:lnTo>
                    <a:lnTo>
                      <a:pt x="711" y="212"/>
                    </a:lnTo>
                    <a:lnTo>
                      <a:pt x="705" y="212"/>
                    </a:lnTo>
                    <a:lnTo>
                      <a:pt x="705" y="204"/>
                    </a:lnTo>
                    <a:lnTo>
                      <a:pt x="697" y="204"/>
                    </a:lnTo>
                    <a:lnTo>
                      <a:pt x="697" y="212"/>
                    </a:lnTo>
                    <a:lnTo>
                      <a:pt x="697" y="220"/>
                    </a:lnTo>
                    <a:lnTo>
                      <a:pt x="711" y="240"/>
                    </a:lnTo>
                    <a:lnTo>
                      <a:pt x="697" y="240"/>
                    </a:lnTo>
                    <a:lnTo>
                      <a:pt x="691" y="232"/>
                    </a:lnTo>
                    <a:lnTo>
                      <a:pt x="691" y="226"/>
                    </a:lnTo>
                    <a:lnTo>
                      <a:pt x="683" y="232"/>
                    </a:lnTo>
                    <a:lnTo>
                      <a:pt x="677" y="246"/>
                    </a:lnTo>
                    <a:lnTo>
                      <a:pt x="671" y="246"/>
                    </a:lnTo>
                    <a:lnTo>
                      <a:pt x="657" y="274"/>
                    </a:lnTo>
                    <a:lnTo>
                      <a:pt x="649" y="280"/>
                    </a:lnTo>
                    <a:lnTo>
                      <a:pt x="643" y="288"/>
                    </a:lnTo>
                    <a:lnTo>
                      <a:pt x="649" y="294"/>
                    </a:lnTo>
                    <a:lnTo>
                      <a:pt x="657" y="302"/>
                    </a:lnTo>
                    <a:lnTo>
                      <a:pt x="643" y="316"/>
                    </a:lnTo>
                    <a:lnTo>
                      <a:pt x="635" y="322"/>
                    </a:lnTo>
                    <a:lnTo>
                      <a:pt x="629" y="322"/>
                    </a:lnTo>
                    <a:lnTo>
                      <a:pt x="643" y="336"/>
                    </a:lnTo>
                    <a:lnTo>
                      <a:pt x="643" y="348"/>
                    </a:lnTo>
                    <a:lnTo>
                      <a:pt x="643" y="362"/>
                    </a:lnTo>
                    <a:lnTo>
                      <a:pt x="643" y="370"/>
                    </a:lnTo>
                    <a:lnTo>
                      <a:pt x="635" y="376"/>
                    </a:lnTo>
                    <a:lnTo>
                      <a:pt x="623" y="382"/>
                    </a:lnTo>
                    <a:lnTo>
                      <a:pt x="601" y="390"/>
                    </a:lnTo>
                    <a:lnTo>
                      <a:pt x="595" y="396"/>
                    </a:lnTo>
                    <a:lnTo>
                      <a:pt x="573" y="382"/>
                    </a:lnTo>
                    <a:lnTo>
                      <a:pt x="561" y="376"/>
                    </a:lnTo>
                    <a:lnTo>
                      <a:pt x="547" y="376"/>
                    </a:lnTo>
                    <a:lnTo>
                      <a:pt x="533" y="370"/>
                    </a:lnTo>
                    <a:lnTo>
                      <a:pt x="533" y="362"/>
                    </a:lnTo>
                    <a:lnTo>
                      <a:pt x="533" y="348"/>
                    </a:lnTo>
                    <a:lnTo>
                      <a:pt x="533" y="344"/>
                    </a:lnTo>
                    <a:lnTo>
                      <a:pt x="553" y="336"/>
                    </a:lnTo>
                    <a:lnTo>
                      <a:pt x="553" y="330"/>
                    </a:lnTo>
                    <a:lnTo>
                      <a:pt x="567" y="330"/>
                    </a:lnTo>
                    <a:lnTo>
                      <a:pt x="573" y="322"/>
                    </a:lnTo>
                    <a:lnTo>
                      <a:pt x="561" y="316"/>
                    </a:lnTo>
                    <a:lnTo>
                      <a:pt x="553" y="308"/>
                    </a:lnTo>
                    <a:lnTo>
                      <a:pt x="547" y="302"/>
                    </a:lnTo>
                    <a:lnTo>
                      <a:pt x="533" y="302"/>
                    </a:lnTo>
                    <a:lnTo>
                      <a:pt x="527" y="288"/>
                    </a:lnTo>
                    <a:lnTo>
                      <a:pt x="521" y="288"/>
                    </a:lnTo>
                    <a:lnTo>
                      <a:pt x="499" y="294"/>
                    </a:lnTo>
                    <a:lnTo>
                      <a:pt x="485" y="294"/>
                    </a:lnTo>
                    <a:lnTo>
                      <a:pt x="485" y="302"/>
                    </a:lnTo>
                    <a:lnTo>
                      <a:pt x="471" y="302"/>
                    </a:lnTo>
                    <a:lnTo>
                      <a:pt x="485" y="308"/>
                    </a:lnTo>
                    <a:lnTo>
                      <a:pt x="491" y="316"/>
                    </a:lnTo>
                    <a:lnTo>
                      <a:pt x="499" y="322"/>
                    </a:lnTo>
                    <a:lnTo>
                      <a:pt x="499" y="330"/>
                    </a:lnTo>
                    <a:lnTo>
                      <a:pt x="499" y="344"/>
                    </a:lnTo>
                    <a:lnTo>
                      <a:pt x="505" y="348"/>
                    </a:lnTo>
                    <a:lnTo>
                      <a:pt x="505" y="356"/>
                    </a:lnTo>
                    <a:lnTo>
                      <a:pt x="511" y="356"/>
                    </a:lnTo>
                    <a:lnTo>
                      <a:pt x="505" y="370"/>
                    </a:lnTo>
                    <a:lnTo>
                      <a:pt x="505" y="376"/>
                    </a:lnTo>
                    <a:lnTo>
                      <a:pt x="505" y="396"/>
                    </a:lnTo>
                    <a:lnTo>
                      <a:pt x="521" y="396"/>
                    </a:lnTo>
                    <a:lnTo>
                      <a:pt x="533" y="396"/>
                    </a:lnTo>
                    <a:lnTo>
                      <a:pt x="539" y="404"/>
                    </a:lnTo>
                    <a:lnTo>
                      <a:pt x="539" y="410"/>
                    </a:lnTo>
                    <a:lnTo>
                      <a:pt x="547" y="418"/>
                    </a:lnTo>
                    <a:lnTo>
                      <a:pt x="547" y="424"/>
                    </a:lnTo>
                    <a:lnTo>
                      <a:pt x="553" y="432"/>
                    </a:lnTo>
                    <a:lnTo>
                      <a:pt x="547" y="438"/>
                    </a:lnTo>
                    <a:lnTo>
                      <a:pt x="539" y="452"/>
                    </a:lnTo>
                    <a:lnTo>
                      <a:pt x="553" y="466"/>
                    </a:lnTo>
                    <a:lnTo>
                      <a:pt x="561" y="472"/>
                    </a:lnTo>
                    <a:lnTo>
                      <a:pt x="547" y="480"/>
                    </a:lnTo>
                    <a:lnTo>
                      <a:pt x="539" y="472"/>
                    </a:lnTo>
                    <a:lnTo>
                      <a:pt x="527" y="480"/>
                    </a:lnTo>
                    <a:lnTo>
                      <a:pt x="511" y="480"/>
                    </a:lnTo>
                    <a:lnTo>
                      <a:pt x="521" y="466"/>
                    </a:lnTo>
                    <a:lnTo>
                      <a:pt x="527" y="466"/>
                    </a:lnTo>
                    <a:lnTo>
                      <a:pt x="511" y="452"/>
                    </a:lnTo>
                    <a:lnTo>
                      <a:pt x="505" y="458"/>
                    </a:lnTo>
                    <a:lnTo>
                      <a:pt x="491" y="458"/>
                    </a:lnTo>
                    <a:lnTo>
                      <a:pt x="479" y="452"/>
                    </a:lnTo>
                    <a:lnTo>
                      <a:pt x="479" y="458"/>
                    </a:lnTo>
                    <a:lnTo>
                      <a:pt x="471" y="472"/>
                    </a:lnTo>
                    <a:lnTo>
                      <a:pt x="465" y="492"/>
                    </a:lnTo>
                    <a:lnTo>
                      <a:pt x="451" y="498"/>
                    </a:lnTo>
                    <a:lnTo>
                      <a:pt x="443" y="506"/>
                    </a:lnTo>
                    <a:lnTo>
                      <a:pt x="443" y="520"/>
                    </a:lnTo>
                    <a:lnTo>
                      <a:pt x="437" y="532"/>
                    </a:lnTo>
                    <a:lnTo>
                      <a:pt x="429" y="540"/>
                    </a:lnTo>
                    <a:lnTo>
                      <a:pt x="423" y="548"/>
                    </a:lnTo>
                    <a:lnTo>
                      <a:pt x="429" y="554"/>
                    </a:lnTo>
                    <a:lnTo>
                      <a:pt x="451" y="568"/>
                    </a:lnTo>
                    <a:lnTo>
                      <a:pt x="465" y="574"/>
                    </a:lnTo>
                    <a:lnTo>
                      <a:pt x="465" y="582"/>
                    </a:lnTo>
                    <a:lnTo>
                      <a:pt x="479" y="596"/>
                    </a:lnTo>
                    <a:lnTo>
                      <a:pt x="485" y="616"/>
                    </a:lnTo>
                    <a:lnTo>
                      <a:pt x="485" y="622"/>
                    </a:lnTo>
                    <a:lnTo>
                      <a:pt x="521" y="616"/>
                    </a:lnTo>
                    <a:lnTo>
                      <a:pt x="527" y="622"/>
                    </a:lnTo>
                    <a:lnTo>
                      <a:pt x="533" y="636"/>
                    </a:lnTo>
                    <a:lnTo>
                      <a:pt x="521" y="630"/>
                    </a:lnTo>
                    <a:lnTo>
                      <a:pt x="511" y="630"/>
                    </a:lnTo>
                    <a:lnTo>
                      <a:pt x="499" y="630"/>
                    </a:lnTo>
                    <a:lnTo>
                      <a:pt x="485" y="622"/>
                    </a:lnTo>
                    <a:lnTo>
                      <a:pt x="479" y="616"/>
                    </a:lnTo>
                    <a:lnTo>
                      <a:pt x="471" y="616"/>
                    </a:lnTo>
                    <a:lnTo>
                      <a:pt x="465" y="622"/>
                    </a:lnTo>
                    <a:lnTo>
                      <a:pt x="459" y="616"/>
                    </a:lnTo>
                    <a:lnTo>
                      <a:pt x="443" y="622"/>
                    </a:lnTo>
                    <a:lnTo>
                      <a:pt x="423" y="616"/>
                    </a:lnTo>
                    <a:lnTo>
                      <a:pt x="409" y="608"/>
                    </a:lnTo>
                    <a:lnTo>
                      <a:pt x="397" y="608"/>
                    </a:lnTo>
                    <a:lnTo>
                      <a:pt x="397" y="602"/>
                    </a:lnTo>
                    <a:lnTo>
                      <a:pt x="389" y="602"/>
                    </a:lnTo>
                    <a:lnTo>
                      <a:pt x="369" y="602"/>
                    </a:lnTo>
                    <a:lnTo>
                      <a:pt x="349" y="596"/>
                    </a:lnTo>
                    <a:lnTo>
                      <a:pt x="349" y="608"/>
                    </a:lnTo>
                    <a:lnTo>
                      <a:pt x="341" y="616"/>
                    </a:lnTo>
                    <a:lnTo>
                      <a:pt x="341" y="622"/>
                    </a:lnTo>
                    <a:lnTo>
                      <a:pt x="355" y="630"/>
                    </a:lnTo>
                    <a:lnTo>
                      <a:pt x="361" y="636"/>
                    </a:lnTo>
                    <a:lnTo>
                      <a:pt x="383" y="642"/>
                    </a:lnTo>
                    <a:lnTo>
                      <a:pt x="383" y="636"/>
                    </a:lnTo>
                    <a:lnTo>
                      <a:pt x="389" y="636"/>
                    </a:lnTo>
                    <a:lnTo>
                      <a:pt x="403" y="648"/>
                    </a:lnTo>
                    <a:lnTo>
                      <a:pt x="409" y="676"/>
                    </a:lnTo>
                    <a:lnTo>
                      <a:pt x="397" y="684"/>
                    </a:lnTo>
                    <a:lnTo>
                      <a:pt x="389" y="690"/>
                    </a:lnTo>
                    <a:lnTo>
                      <a:pt x="375" y="684"/>
                    </a:lnTo>
                    <a:lnTo>
                      <a:pt x="361" y="684"/>
                    </a:lnTo>
                    <a:lnTo>
                      <a:pt x="355" y="684"/>
                    </a:lnTo>
                    <a:lnTo>
                      <a:pt x="341" y="670"/>
                    </a:lnTo>
                    <a:lnTo>
                      <a:pt x="335" y="662"/>
                    </a:lnTo>
                    <a:lnTo>
                      <a:pt x="327" y="656"/>
                    </a:lnTo>
                    <a:lnTo>
                      <a:pt x="321" y="670"/>
                    </a:lnTo>
                    <a:lnTo>
                      <a:pt x="315" y="662"/>
                    </a:lnTo>
                    <a:lnTo>
                      <a:pt x="295" y="656"/>
                    </a:lnTo>
                    <a:lnTo>
                      <a:pt x="295" y="642"/>
                    </a:lnTo>
                    <a:lnTo>
                      <a:pt x="287" y="642"/>
                    </a:lnTo>
                    <a:lnTo>
                      <a:pt x="287" y="636"/>
                    </a:lnTo>
                    <a:lnTo>
                      <a:pt x="287" y="630"/>
                    </a:lnTo>
                    <a:lnTo>
                      <a:pt x="281" y="622"/>
                    </a:lnTo>
                    <a:lnTo>
                      <a:pt x="281" y="616"/>
                    </a:lnTo>
                    <a:lnTo>
                      <a:pt x="273" y="602"/>
                    </a:lnTo>
                    <a:lnTo>
                      <a:pt x="265" y="596"/>
                    </a:lnTo>
                    <a:lnTo>
                      <a:pt x="265" y="588"/>
                    </a:lnTo>
                    <a:lnTo>
                      <a:pt x="273" y="582"/>
                    </a:lnTo>
                    <a:lnTo>
                      <a:pt x="273" y="568"/>
                    </a:lnTo>
                    <a:lnTo>
                      <a:pt x="265" y="560"/>
                    </a:lnTo>
                    <a:lnTo>
                      <a:pt x="265" y="554"/>
                    </a:lnTo>
                    <a:lnTo>
                      <a:pt x="259" y="548"/>
                    </a:lnTo>
                    <a:lnTo>
                      <a:pt x="253" y="540"/>
                    </a:lnTo>
                    <a:lnTo>
                      <a:pt x="233" y="540"/>
                    </a:lnTo>
                    <a:lnTo>
                      <a:pt x="225" y="540"/>
                    </a:lnTo>
                    <a:lnTo>
                      <a:pt x="219" y="540"/>
                    </a:lnTo>
                    <a:lnTo>
                      <a:pt x="211" y="532"/>
                    </a:lnTo>
                    <a:lnTo>
                      <a:pt x="219" y="532"/>
                    </a:lnTo>
                    <a:lnTo>
                      <a:pt x="219" y="526"/>
                    </a:lnTo>
                    <a:lnTo>
                      <a:pt x="211" y="526"/>
                    </a:lnTo>
                    <a:lnTo>
                      <a:pt x="205" y="526"/>
                    </a:lnTo>
                    <a:lnTo>
                      <a:pt x="205" y="520"/>
                    </a:lnTo>
                    <a:lnTo>
                      <a:pt x="191" y="520"/>
                    </a:lnTo>
                    <a:lnTo>
                      <a:pt x="185" y="512"/>
                    </a:lnTo>
                    <a:lnTo>
                      <a:pt x="177" y="498"/>
                    </a:lnTo>
                    <a:lnTo>
                      <a:pt x="185" y="486"/>
                    </a:lnTo>
                    <a:lnTo>
                      <a:pt x="177" y="486"/>
                    </a:lnTo>
                    <a:lnTo>
                      <a:pt x="171" y="480"/>
                    </a:lnTo>
                    <a:lnTo>
                      <a:pt x="177" y="480"/>
                    </a:lnTo>
                    <a:lnTo>
                      <a:pt x="185" y="480"/>
                    </a:lnTo>
                    <a:lnTo>
                      <a:pt x="191" y="480"/>
                    </a:lnTo>
                    <a:lnTo>
                      <a:pt x="205" y="492"/>
                    </a:lnTo>
                    <a:lnTo>
                      <a:pt x="211" y="498"/>
                    </a:lnTo>
                    <a:lnTo>
                      <a:pt x="219" y="498"/>
                    </a:lnTo>
                    <a:lnTo>
                      <a:pt x="219" y="492"/>
                    </a:lnTo>
                    <a:lnTo>
                      <a:pt x="233" y="498"/>
                    </a:lnTo>
                    <a:lnTo>
                      <a:pt x="245" y="506"/>
                    </a:lnTo>
                    <a:lnTo>
                      <a:pt x="253" y="506"/>
                    </a:lnTo>
                    <a:lnTo>
                      <a:pt x="259" y="506"/>
                    </a:lnTo>
                    <a:lnTo>
                      <a:pt x="265" y="512"/>
                    </a:lnTo>
                    <a:lnTo>
                      <a:pt x="281" y="512"/>
                    </a:lnTo>
                    <a:lnTo>
                      <a:pt x="295" y="512"/>
                    </a:lnTo>
                    <a:lnTo>
                      <a:pt x="315" y="520"/>
                    </a:lnTo>
                    <a:lnTo>
                      <a:pt x="321" y="512"/>
                    </a:lnTo>
                    <a:lnTo>
                      <a:pt x="327" y="506"/>
                    </a:lnTo>
                    <a:lnTo>
                      <a:pt x="335" y="512"/>
                    </a:lnTo>
                    <a:lnTo>
                      <a:pt x="335" y="520"/>
                    </a:lnTo>
                    <a:lnTo>
                      <a:pt x="349" y="520"/>
                    </a:lnTo>
                    <a:lnTo>
                      <a:pt x="361" y="520"/>
                    </a:lnTo>
                    <a:lnTo>
                      <a:pt x="375" y="520"/>
                    </a:lnTo>
                    <a:lnTo>
                      <a:pt x="389" y="506"/>
                    </a:lnTo>
                    <a:lnTo>
                      <a:pt x="397" y="506"/>
                    </a:lnTo>
                    <a:lnTo>
                      <a:pt x="409" y="498"/>
                    </a:lnTo>
                    <a:lnTo>
                      <a:pt x="417" y="492"/>
                    </a:lnTo>
                    <a:lnTo>
                      <a:pt x="417" y="486"/>
                    </a:lnTo>
                    <a:lnTo>
                      <a:pt x="423" y="480"/>
                    </a:lnTo>
                    <a:lnTo>
                      <a:pt x="429" y="480"/>
                    </a:lnTo>
                    <a:lnTo>
                      <a:pt x="429" y="472"/>
                    </a:lnTo>
                    <a:lnTo>
                      <a:pt x="429" y="466"/>
                    </a:lnTo>
                    <a:lnTo>
                      <a:pt x="437" y="466"/>
                    </a:lnTo>
                    <a:lnTo>
                      <a:pt x="443" y="438"/>
                    </a:lnTo>
                    <a:lnTo>
                      <a:pt x="437" y="424"/>
                    </a:lnTo>
                    <a:lnTo>
                      <a:pt x="437" y="410"/>
                    </a:lnTo>
                    <a:lnTo>
                      <a:pt x="429" y="410"/>
                    </a:lnTo>
                    <a:lnTo>
                      <a:pt x="429" y="396"/>
                    </a:lnTo>
                    <a:lnTo>
                      <a:pt x="423" y="404"/>
                    </a:lnTo>
                    <a:lnTo>
                      <a:pt x="417" y="396"/>
                    </a:lnTo>
                    <a:lnTo>
                      <a:pt x="417" y="382"/>
                    </a:lnTo>
                    <a:lnTo>
                      <a:pt x="403" y="382"/>
                    </a:lnTo>
                    <a:lnTo>
                      <a:pt x="397" y="382"/>
                    </a:lnTo>
                    <a:lnTo>
                      <a:pt x="397" y="376"/>
                    </a:lnTo>
                    <a:lnTo>
                      <a:pt x="375" y="370"/>
                    </a:lnTo>
                    <a:lnTo>
                      <a:pt x="361" y="376"/>
                    </a:lnTo>
                    <a:lnTo>
                      <a:pt x="355" y="370"/>
                    </a:lnTo>
                    <a:lnTo>
                      <a:pt x="349" y="362"/>
                    </a:lnTo>
                    <a:lnTo>
                      <a:pt x="335" y="356"/>
                    </a:lnTo>
                    <a:lnTo>
                      <a:pt x="335" y="362"/>
                    </a:lnTo>
                    <a:lnTo>
                      <a:pt x="327" y="356"/>
                    </a:lnTo>
                    <a:lnTo>
                      <a:pt x="315" y="344"/>
                    </a:lnTo>
                    <a:lnTo>
                      <a:pt x="295" y="344"/>
                    </a:lnTo>
                    <a:lnTo>
                      <a:pt x="273" y="330"/>
                    </a:lnTo>
                    <a:lnTo>
                      <a:pt x="253" y="322"/>
                    </a:lnTo>
                    <a:lnTo>
                      <a:pt x="239" y="330"/>
                    </a:lnTo>
                    <a:lnTo>
                      <a:pt x="191" y="330"/>
                    </a:lnTo>
                    <a:lnTo>
                      <a:pt x="185" y="330"/>
                    </a:lnTo>
                    <a:lnTo>
                      <a:pt x="177" y="322"/>
                    </a:lnTo>
                    <a:lnTo>
                      <a:pt x="163" y="330"/>
                    </a:lnTo>
                    <a:lnTo>
                      <a:pt x="163" y="322"/>
                    </a:lnTo>
                    <a:lnTo>
                      <a:pt x="157" y="316"/>
                    </a:lnTo>
                    <a:lnTo>
                      <a:pt x="151" y="322"/>
                    </a:lnTo>
                    <a:lnTo>
                      <a:pt x="143" y="308"/>
                    </a:lnTo>
                    <a:lnTo>
                      <a:pt x="134" y="308"/>
                    </a:lnTo>
                    <a:lnTo>
                      <a:pt x="128" y="294"/>
                    </a:lnTo>
                    <a:lnTo>
                      <a:pt x="122" y="294"/>
                    </a:lnTo>
                    <a:lnTo>
                      <a:pt x="114" y="308"/>
                    </a:lnTo>
                    <a:lnTo>
                      <a:pt x="108" y="308"/>
                    </a:lnTo>
                    <a:lnTo>
                      <a:pt x="100" y="294"/>
                    </a:lnTo>
                    <a:lnTo>
                      <a:pt x="94" y="294"/>
                    </a:lnTo>
                    <a:lnTo>
                      <a:pt x="94" y="316"/>
                    </a:lnTo>
                    <a:lnTo>
                      <a:pt x="80" y="316"/>
                    </a:lnTo>
                    <a:lnTo>
                      <a:pt x="74" y="308"/>
                    </a:lnTo>
                    <a:lnTo>
                      <a:pt x="60" y="308"/>
                    </a:lnTo>
                    <a:lnTo>
                      <a:pt x="28" y="320"/>
                    </a:lnTo>
                    <a:lnTo>
                      <a:pt x="18" y="344"/>
                    </a:lnTo>
                    <a:lnTo>
                      <a:pt x="14" y="366"/>
                    </a:lnTo>
                    <a:lnTo>
                      <a:pt x="8" y="366"/>
                    </a:lnTo>
                    <a:lnTo>
                      <a:pt x="8" y="376"/>
                    </a:lnTo>
                    <a:lnTo>
                      <a:pt x="0" y="382"/>
                    </a:lnTo>
                    <a:lnTo>
                      <a:pt x="0" y="396"/>
                    </a:lnTo>
                    <a:lnTo>
                      <a:pt x="20" y="412"/>
                    </a:lnTo>
                    <a:lnTo>
                      <a:pt x="30" y="426"/>
                    </a:lnTo>
                    <a:lnTo>
                      <a:pt x="48" y="448"/>
                    </a:lnTo>
                    <a:lnTo>
                      <a:pt x="40" y="466"/>
                    </a:lnTo>
                    <a:lnTo>
                      <a:pt x="42" y="496"/>
                    </a:lnTo>
                    <a:lnTo>
                      <a:pt x="50" y="526"/>
                    </a:lnTo>
                    <a:lnTo>
                      <a:pt x="74" y="546"/>
                    </a:lnTo>
                    <a:lnTo>
                      <a:pt x="94" y="580"/>
                    </a:lnTo>
                    <a:lnTo>
                      <a:pt x="84" y="592"/>
                    </a:lnTo>
                    <a:lnTo>
                      <a:pt x="90" y="602"/>
                    </a:lnTo>
                    <a:lnTo>
                      <a:pt x="88" y="614"/>
                    </a:lnTo>
                    <a:lnTo>
                      <a:pt x="90" y="626"/>
                    </a:lnTo>
                    <a:lnTo>
                      <a:pt x="92" y="650"/>
                    </a:lnTo>
                    <a:lnTo>
                      <a:pt x="100" y="668"/>
                    </a:lnTo>
                    <a:lnTo>
                      <a:pt x="104" y="668"/>
                    </a:lnTo>
                    <a:lnTo>
                      <a:pt x="114" y="698"/>
                    </a:lnTo>
                    <a:lnTo>
                      <a:pt x="124" y="698"/>
                    </a:lnTo>
                    <a:lnTo>
                      <a:pt x="132" y="700"/>
                    </a:lnTo>
                    <a:lnTo>
                      <a:pt x="132" y="716"/>
                    </a:lnTo>
                    <a:lnTo>
                      <a:pt x="122" y="718"/>
                    </a:lnTo>
                    <a:lnTo>
                      <a:pt x="114" y="722"/>
                    </a:lnTo>
                    <a:lnTo>
                      <a:pt x="124" y="752"/>
                    </a:lnTo>
                    <a:lnTo>
                      <a:pt x="134" y="758"/>
                    </a:lnTo>
                    <a:lnTo>
                      <a:pt x="151" y="768"/>
                    </a:lnTo>
                    <a:lnTo>
                      <a:pt x="177" y="774"/>
                    </a:lnTo>
                    <a:lnTo>
                      <a:pt x="185" y="792"/>
                    </a:lnTo>
                    <a:lnTo>
                      <a:pt x="173" y="800"/>
                    </a:lnTo>
                    <a:lnTo>
                      <a:pt x="167" y="822"/>
                    </a:lnTo>
                    <a:lnTo>
                      <a:pt x="157" y="838"/>
                    </a:lnTo>
                    <a:lnTo>
                      <a:pt x="147" y="858"/>
                    </a:lnTo>
                    <a:lnTo>
                      <a:pt x="151" y="868"/>
                    </a:lnTo>
                    <a:lnTo>
                      <a:pt x="136" y="876"/>
                    </a:lnTo>
                    <a:lnTo>
                      <a:pt x="94" y="944"/>
                    </a:lnTo>
                    <a:lnTo>
                      <a:pt x="94" y="962"/>
                    </a:lnTo>
                    <a:lnTo>
                      <a:pt x="108" y="962"/>
                    </a:lnTo>
                    <a:lnTo>
                      <a:pt x="122" y="956"/>
                    </a:lnTo>
                    <a:lnTo>
                      <a:pt x="128" y="956"/>
                    </a:lnTo>
                    <a:lnTo>
                      <a:pt x="128" y="962"/>
                    </a:lnTo>
                    <a:lnTo>
                      <a:pt x="122" y="976"/>
                    </a:lnTo>
                    <a:lnTo>
                      <a:pt x="122" y="984"/>
                    </a:lnTo>
                    <a:lnTo>
                      <a:pt x="134" y="984"/>
                    </a:lnTo>
                    <a:lnTo>
                      <a:pt x="143" y="992"/>
                    </a:lnTo>
                    <a:lnTo>
                      <a:pt x="157" y="998"/>
                    </a:lnTo>
                    <a:lnTo>
                      <a:pt x="163" y="992"/>
                    </a:lnTo>
                    <a:lnTo>
                      <a:pt x="177" y="992"/>
                    </a:lnTo>
                    <a:lnTo>
                      <a:pt x="185" y="992"/>
                    </a:lnTo>
                    <a:lnTo>
                      <a:pt x="191" y="998"/>
                    </a:lnTo>
                    <a:lnTo>
                      <a:pt x="197" y="998"/>
                    </a:lnTo>
                    <a:lnTo>
                      <a:pt x="197" y="1012"/>
                    </a:lnTo>
                    <a:lnTo>
                      <a:pt x="191" y="1012"/>
                    </a:lnTo>
                    <a:lnTo>
                      <a:pt x="177" y="1012"/>
                    </a:lnTo>
                    <a:lnTo>
                      <a:pt x="163" y="1012"/>
                    </a:lnTo>
                    <a:lnTo>
                      <a:pt x="143" y="1012"/>
                    </a:lnTo>
                    <a:lnTo>
                      <a:pt x="143" y="1018"/>
                    </a:lnTo>
                    <a:lnTo>
                      <a:pt x="134" y="1018"/>
                    </a:lnTo>
                    <a:lnTo>
                      <a:pt x="134" y="1012"/>
                    </a:lnTo>
                    <a:lnTo>
                      <a:pt x="128" y="1018"/>
                    </a:lnTo>
                    <a:lnTo>
                      <a:pt x="128" y="1024"/>
                    </a:lnTo>
                    <a:lnTo>
                      <a:pt x="128" y="1032"/>
                    </a:lnTo>
                    <a:lnTo>
                      <a:pt x="128" y="1038"/>
                    </a:lnTo>
                    <a:lnTo>
                      <a:pt x="122" y="1038"/>
                    </a:lnTo>
                    <a:lnTo>
                      <a:pt x="114" y="1024"/>
                    </a:lnTo>
                    <a:lnTo>
                      <a:pt x="108" y="1032"/>
                    </a:lnTo>
                    <a:lnTo>
                      <a:pt x="108" y="1038"/>
                    </a:lnTo>
                    <a:lnTo>
                      <a:pt x="108" y="1046"/>
                    </a:lnTo>
                    <a:lnTo>
                      <a:pt x="108" y="1060"/>
                    </a:lnTo>
                    <a:lnTo>
                      <a:pt x="114" y="1066"/>
                    </a:lnTo>
                    <a:lnTo>
                      <a:pt x="114" y="1080"/>
                    </a:lnTo>
                    <a:lnTo>
                      <a:pt x="100" y="1094"/>
                    </a:lnTo>
                    <a:lnTo>
                      <a:pt x="100" y="1100"/>
                    </a:lnTo>
                    <a:lnTo>
                      <a:pt x="108" y="1106"/>
                    </a:lnTo>
                    <a:lnTo>
                      <a:pt x="100" y="1120"/>
                    </a:lnTo>
                    <a:lnTo>
                      <a:pt x="108" y="1134"/>
                    </a:lnTo>
                    <a:lnTo>
                      <a:pt x="108" y="1148"/>
                    </a:lnTo>
                    <a:lnTo>
                      <a:pt x="122" y="1154"/>
                    </a:lnTo>
                    <a:lnTo>
                      <a:pt x="128" y="1162"/>
                    </a:lnTo>
                    <a:lnTo>
                      <a:pt x="128" y="1168"/>
                    </a:lnTo>
                    <a:lnTo>
                      <a:pt x="122" y="1174"/>
                    </a:lnTo>
                    <a:lnTo>
                      <a:pt x="114" y="1168"/>
                    </a:lnTo>
                    <a:lnTo>
                      <a:pt x="108" y="1162"/>
                    </a:lnTo>
                    <a:lnTo>
                      <a:pt x="100" y="1168"/>
                    </a:lnTo>
                    <a:lnTo>
                      <a:pt x="100" y="1174"/>
                    </a:lnTo>
                    <a:lnTo>
                      <a:pt x="108" y="1182"/>
                    </a:lnTo>
                    <a:lnTo>
                      <a:pt x="114" y="1182"/>
                    </a:lnTo>
                    <a:lnTo>
                      <a:pt x="108" y="1196"/>
                    </a:lnTo>
                    <a:lnTo>
                      <a:pt x="100" y="1196"/>
                    </a:lnTo>
                    <a:lnTo>
                      <a:pt x="100" y="1196"/>
                    </a:lnTo>
                    <a:lnTo>
                      <a:pt x="100" y="1196"/>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0" name="Freeform 14"/>
              <p:cNvSpPr>
                <a:spLocks/>
              </p:cNvSpPr>
              <p:nvPr/>
            </p:nvSpPr>
            <p:spPr bwMode="gray">
              <a:xfrm>
                <a:off x="5547989" y="2155402"/>
                <a:ext cx="311219" cy="238178"/>
              </a:xfrm>
              <a:custGeom>
                <a:avLst/>
                <a:gdLst>
                  <a:gd name="T0" fmla="*/ 60 w 196"/>
                  <a:gd name="T1" fmla="*/ 122 h 150"/>
                  <a:gd name="T2" fmla="*/ 74 w 196"/>
                  <a:gd name="T3" fmla="*/ 122 h 150"/>
                  <a:gd name="T4" fmla="*/ 82 w 196"/>
                  <a:gd name="T5" fmla="*/ 116 h 150"/>
                  <a:gd name="T6" fmla="*/ 102 w 196"/>
                  <a:gd name="T7" fmla="*/ 122 h 150"/>
                  <a:gd name="T8" fmla="*/ 108 w 196"/>
                  <a:gd name="T9" fmla="*/ 136 h 150"/>
                  <a:gd name="T10" fmla="*/ 128 w 196"/>
                  <a:gd name="T11" fmla="*/ 136 h 150"/>
                  <a:gd name="T12" fmla="*/ 150 w 196"/>
                  <a:gd name="T13" fmla="*/ 144 h 150"/>
                  <a:gd name="T14" fmla="*/ 164 w 196"/>
                  <a:gd name="T15" fmla="*/ 144 h 150"/>
                  <a:gd name="T16" fmla="*/ 184 w 196"/>
                  <a:gd name="T17" fmla="*/ 130 h 150"/>
                  <a:gd name="T18" fmla="*/ 170 w 196"/>
                  <a:gd name="T19" fmla="*/ 122 h 150"/>
                  <a:gd name="T20" fmla="*/ 178 w 196"/>
                  <a:gd name="T21" fmla="*/ 110 h 150"/>
                  <a:gd name="T22" fmla="*/ 192 w 196"/>
                  <a:gd name="T23" fmla="*/ 122 h 150"/>
                  <a:gd name="T24" fmla="*/ 196 w 196"/>
                  <a:gd name="T25" fmla="*/ 110 h 150"/>
                  <a:gd name="T26" fmla="*/ 178 w 196"/>
                  <a:gd name="T27" fmla="*/ 96 h 150"/>
                  <a:gd name="T28" fmla="*/ 170 w 196"/>
                  <a:gd name="T29" fmla="*/ 68 h 150"/>
                  <a:gd name="T30" fmla="*/ 170 w 196"/>
                  <a:gd name="T31" fmla="*/ 48 h 150"/>
                  <a:gd name="T32" fmla="*/ 184 w 196"/>
                  <a:gd name="T33" fmla="*/ 28 h 150"/>
                  <a:gd name="T34" fmla="*/ 178 w 196"/>
                  <a:gd name="T35" fmla="*/ 6 h 150"/>
                  <a:gd name="T36" fmla="*/ 142 w 196"/>
                  <a:gd name="T37" fmla="*/ 6 h 150"/>
                  <a:gd name="T38" fmla="*/ 128 w 196"/>
                  <a:gd name="T39" fmla="*/ 0 h 150"/>
                  <a:gd name="T40" fmla="*/ 108 w 196"/>
                  <a:gd name="T41" fmla="*/ 6 h 150"/>
                  <a:gd name="T42" fmla="*/ 94 w 196"/>
                  <a:gd name="T43" fmla="*/ 0 h 150"/>
                  <a:gd name="T44" fmla="*/ 82 w 196"/>
                  <a:gd name="T45" fmla="*/ 0 h 150"/>
                  <a:gd name="T46" fmla="*/ 68 w 196"/>
                  <a:gd name="T47" fmla="*/ 6 h 150"/>
                  <a:gd name="T48" fmla="*/ 48 w 196"/>
                  <a:gd name="T49" fmla="*/ 6 h 150"/>
                  <a:gd name="T50" fmla="*/ 34 w 196"/>
                  <a:gd name="T51" fmla="*/ 6 h 150"/>
                  <a:gd name="T52" fmla="*/ 26 w 196"/>
                  <a:gd name="T53" fmla="*/ 14 h 150"/>
                  <a:gd name="T54" fmla="*/ 20 w 196"/>
                  <a:gd name="T55" fmla="*/ 20 h 150"/>
                  <a:gd name="T56" fmla="*/ 6 w 196"/>
                  <a:gd name="T57" fmla="*/ 20 h 150"/>
                  <a:gd name="T58" fmla="*/ 0 w 196"/>
                  <a:gd name="T59" fmla="*/ 34 h 150"/>
                  <a:gd name="T60" fmla="*/ 0 w 196"/>
                  <a:gd name="T61" fmla="*/ 48 h 150"/>
                  <a:gd name="T62" fmla="*/ 14 w 196"/>
                  <a:gd name="T63" fmla="*/ 54 h 150"/>
                  <a:gd name="T64" fmla="*/ 6 w 196"/>
                  <a:gd name="T65" fmla="*/ 62 h 150"/>
                  <a:gd name="T66" fmla="*/ 6 w 196"/>
                  <a:gd name="T67" fmla="*/ 88 h 150"/>
                  <a:gd name="T68" fmla="*/ 26 w 196"/>
                  <a:gd name="T69" fmla="*/ 102 h 150"/>
                  <a:gd name="T70" fmla="*/ 34 w 196"/>
                  <a:gd name="T71" fmla="*/ 88 h 150"/>
                  <a:gd name="T72" fmla="*/ 48 w 196"/>
                  <a:gd name="T73" fmla="*/ 96 h 150"/>
                  <a:gd name="T74" fmla="*/ 40 w 196"/>
                  <a:gd name="T75" fmla="*/ 122 h 150"/>
                  <a:gd name="T76" fmla="*/ 34 w 196"/>
                  <a:gd name="T77" fmla="*/ 130 h 150"/>
                  <a:gd name="T78" fmla="*/ 34 w 196"/>
                  <a:gd name="T79" fmla="*/ 13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6" h="150">
                    <a:moveTo>
                      <a:pt x="34" y="130"/>
                    </a:moveTo>
                    <a:lnTo>
                      <a:pt x="60" y="122"/>
                    </a:lnTo>
                    <a:lnTo>
                      <a:pt x="68" y="116"/>
                    </a:lnTo>
                    <a:lnTo>
                      <a:pt x="74" y="122"/>
                    </a:lnTo>
                    <a:lnTo>
                      <a:pt x="82" y="122"/>
                    </a:lnTo>
                    <a:lnTo>
                      <a:pt x="82" y="116"/>
                    </a:lnTo>
                    <a:lnTo>
                      <a:pt x="94" y="122"/>
                    </a:lnTo>
                    <a:lnTo>
                      <a:pt x="102" y="122"/>
                    </a:lnTo>
                    <a:lnTo>
                      <a:pt x="102" y="130"/>
                    </a:lnTo>
                    <a:lnTo>
                      <a:pt x="108" y="136"/>
                    </a:lnTo>
                    <a:lnTo>
                      <a:pt x="116" y="136"/>
                    </a:lnTo>
                    <a:lnTo>
                      <a:pt x="128" y="136"/>
                    </a:lnTo>
                    <a:lnTo>
                      <a:pt x="136" y="150"/>
                    </a:lnTo>
                    <a:lnTo>
                      <a:pt x="150" y="144"/>
                    </a:lnTo>
                    <a:lnTo>
                      <a:pt x="164" y="136"/>
                    </a:lnTo>
                    <a:lnTo>
                      <a:pt x="164" y="144"/>
                    </a:lnTo>
                    <a:lnTo>
                      <a:pt x="178" y="144"/>
                    </a:lnTo>
                    <a:lnTo>
                      <a:pt x="184" y="130"/>
                    </a:lnTo>
                    <a:lnTo>
                      <a:pt x="178" y="130"/>
                    </a:lnTo>
                    <a:lnTo>
                      <a:pt x="170" y="122"/>
                    </a:lnTo>
                    <a:lnTo>
                      <a:pt x="170" y="116"/>
                    </a:lnTo>
                    <a:lnTo>
                      <a:pt x="178" y="110"/>
                    </a:lnTo>
                    <a:lnTo>
                      <a:pt x="184" y="116"/>
                    </a:lnTo>
                    <a:lnTo>
                      <a:pt x="192" y="122"/>
                    </a:lnTo>
                    <a:lnTo>
                      <a:pt x="196" y="116"/>
                    </a:lnTo>
                    <a:lnTo>
                      <a:pt x="196" y="110"/>
                    </a:lnTo>
                    <a:lnTo>
                      <a:pt x="192" y="102"/>
                    </a:lnTo>
                    <a:lnTo>
                      <a:pt x="178" y="96"/>
                    </a:lnTo>
                    <a:lnTo>
                      <a:pt x="178" y="82"/>
                    </a:lnTo>
                    <a:lnTo>
                      <a:pt x="170" y="68"/>
                    </a:lnTo>
                    <a:lnTo>
                      <a:pt x="178" y="54"/>
                    </a:lnTo>
                    <a:lnTo>
                      <a:pt x="170" y="48"/>
                    </a:lnTo>
                    <a:lnTo>
                      <a:pt x="170" y="42"/>
                    </a:lnTo>
                    <a:lnTo>
                      <a:pt x="184" y="28"/>
                    </a:lnTo>
                    <a:lnTo>
                      <a:pt x="184" y="14"/>
                    </a:lnTo>
                    <a:lnTo>
                      <a:pt x="178" y="6"/>
                    </a:lnTo>
                    <a:lnTo>
                      <a:pt x="170" y="6"/>
                    </a:lnTo>
                    <a:lnTo>
                      <a:pt x="142" y="6"/>
                    </a:lnTo>
                    <a:lnTo>
                      <a:pt x="136" y="6"/>
                    </a:lnTo>
                    <a:lnTo>
                      <a:pt x="128" y="0"/>
                    </a:lnTo>
                    <a:lnTo>
                      <a:pt x="122" y="0"/>
                    </a:lnTo>
                    <a:lnTo>
                      <a:pt x="108" y="6"/>
                    </a:lnTo>
                    <a:lnTo>
                      <a:pt x="108" y="0"/>
                    </a:lnTo>
                    <a:lnTo>
                      <a:pt x="94" y="0"/>
                    </a:lnTo>
                    <a:lnTo>
                      <a:pt x="88" y="0"/>
                    </a:lnTo>
                    <a:lnTo>
                      <a:pt x="82" y="0"/>
                    </a:lnTo>
                    <a:lnTo>
                      <a:pt x="74" y="0"/>
                    </a:lnTo>
                    <a:lnTo>
                      <a:pt x="68" y="6"/>
                    </a:lnTo>
                    <a:lnTo>
                      <a:pt x="60" y="6"/>
                    </a:lnTo>
                    <a:lnTo>
                      <a:pt x="48" y="6"/>
                    </a:lnTo>
                    <a:lnTo>
                      <a:pt x="40" y="6"/>
                    </a:lnTo>
                    <a:lnTo>
                      <a:pt x="34" y="6"/>
                    </a:lnTo>
                    <a:lnTo>
                      <a:pt x="26" y="6"/>
                    </a:lnTo>
                    <a:lnTo>
                      <a:pt x="26" y="14"/>
                    </a:lnTo>
                    <a:lnTo>
                      <a:pt x="26" y="20"/>
                    </a:lnTo>
                    <a:lnTo>
                      <a:pt x="20" y="20"/>
                    </a:lnTo>
                    <a:lnTo>
                      <a:pt x="14" y="20"/>
                    </a:lnTo>
                    <a:lnTo>
                      <a:pt x="6" y="20"/>
                    </a:lnTo>
                    <a:lnTo>
                      <a:pt x="0" y="28"/>
                    </a:lnTo>
                    <a:lnTo>
                      <a:pt x="0" y="34"/>
                    </a:lnTo>
                    <a:lnTo>
                      <a:pt x="0" y="42"/>
                    </a:lnTo>
                    <a:lnTo>
                      <a:pt x="0" y="48"/>
                    </a:lnTo>
                    <a:lnTo>
                      <a:pt x="14" y="48"/>
                    </a:lnTo>
                    <a:lnTo>
                      <a:pt x="14" y="54"/>
                    </a:lnTo>
                    <a:lnTo>
                      <a:pt x="14" y="62"/>
                    </a:lnTo>
                    <a:lnTo>
                      <a:pt x="6" y="62"/>
                    </a:lnTo>
                    <a:lnTo>
                      <a:pt x="6" y="68"/>
                    </a:lnTo>
                    <a:lnTo>
                      <a:pt x="6" y="88"/>
                    </a:lnTo>
                    <a:lnTo>
                      <a:pt x="20" y="102"/>
                    </a:lnTo>
                    <a:lnTo>
                      <a:pt x="26" y="102"/>
                    </a:lnTo>
                    <a:lnTo>
                      <a:pt x="26" y="96"/>
                    </a:lnTo>
                    <a:lnTo>
                      <a:pt x="34" y="88"/>
                    </a:lnTo>
                    <a:lnTo>
                      <a:pt x="40" y="88"/>
                    </a:lnTo>
                    <a:lnTo>
                      <a:pt x="48" y="96"/>
                    </a:lnTo>
                    <a:lnTo>
                      <a:pt x="40" y="110"/>
                    </a:lnTo>
                    <a:lnTo>
                      <a:pt x="40" y="122"/>
                    </a:lnTo>
                    <a:lnTo>
                      <a:pt x="40" y="130"/>
                    </a:lnTo>
                    <a:lnTo>
                      <a:pt x="34" y="130"/>
                    </a:lnTo>
                    <a:lnTo>
                      <a:pt x="34" y="130"/>
                    </a:lnTo>
                    <a:lnTo>
                      <a:pt x="34" y="130"/>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1" name="Freeform 15"/>
              <p:cNvSpPr>
                <a:spLocks/>
              </p:cNvSpPr>
              <p:nvPr/>
            </p:nvSpPr>
            <p:spPr bwMode="gray">
              <a:xfrm>
                <a:off x="5382852" y="2339593"/>
                <a:ext cx="503350" cy="260408"/>
              </a:xfrm>
              <a:custGeom>
                <a:avLst/>
                <a:gdLst>
                  <a:gd name="T0" fmla="*/ 138 w 317"/>
                  <a:gd name="T1" fmla="*/ 28 h 164"/>
                  <a:gd name="T2" fmla="*/ 138 w 317"/>
                  <a:gd name="T3" fmla="*/ 48 h 164"/>
                  <a:gd name="T4" fmla="*/ 138 w 317"/>
                  <a:gd name="T5" fmla="*/ 70 h 164"/>
                  <a:gd name="T6" fmla="*/ 124 w 317"/>
                  <a:gd name="T7" fmla="*/ 82 h 164"/>
                  <a:gd name="T8" fmla="*/ 102 w 317"/>
                  <a:gd name="T9" fmla="*/ 70 h 164"/>
                  <a:gd name="T10" fmla="*/ 96 w 317"/>
                  <a:gd name="T11" fmla="*/ 48 h 164"/>
                  <a:gd name="T12" fmla="*/ 76 w 317"/>
                  <a:gd name="T13" fmla="*/ 34 h 164"/>
                  <a:gd name="T14" fmla="*/ 70 w 317"/>
                  <a:gd name="T15" fmla="*/ 22 h 164"/>
                  <a:gd name="T16" fmla="*/ 42 w 317"/>
                  <a:gd name="T17" fmla="*/ 28 h 164"/>
                  <a:gd name="T18" fmla="*/ 28 w 317"/>
                  <a:gd name="T19" fmla="*/ 34 h 164"/>
                  <a:gd name="T20" fmla="*/ 22 w 317"/>
                  <a:gd name="T21" fmla="*/ 62 h 164"/>
                  <a:gd name="T22" fmla="*/ 8 w 317"/>
                  <a:gd name="T23" fmla="*/ 90 h 164"/>
                  <a:gd name="T24" fmla="*/ 22 w 317"/>
                  <a:gd name="T25" fmla="*/ 124 h 164"/>
                  <a:gd name="T26" fmla="*/ 42 w 317"/>
                  <a:gd name="T27" fmla="*/ 116 h 164"/>
                  <a:gd name="T28" fmla="*/ 56 w 317"/>
                  <a:gd name="T29" fmla="*/ 116 h 164"/>
                  <a:gd name="T30" fmla="*/ 82 w 317"/>
                  <a:gd name="T31" fmla="*/ 116 h 164"/>
                  <a:gd name="T32" fmla="*/ 116 w 317"/>
                  <a:gd name="T33" fmla="*/ 110 h 164"/>
                  <a:gd name="T34" fmla="*/ 152 w 317"/>
                  <a:gd name="T35" fmla="*/ 110 h 164"/>
                  <a:gd name="T36" fmla="*/ 172 w 317"/>
                  <a:gd name="T37" fmla="*/ 124 h 164"/>
                  <a:gd name="T38" fmla="*/ 198 w 317"/>
                  <a:gd name="T39" fmla="*/ 130 h 164"/>
                  <a:gd name="T40" fmla="*/ 226 w 317"/>
                  <a:gd name="T41" fmla="*/ 158 h 164"/>
                  <a:gd name="T42" fmla="*/ 254 w 317"/>
                  <a:gd name="T43" fmla="*/ 164 h 164"/>
                  <a:gd name="T44" fmla="*/ 268 w 317"/>
                  <a:gd name="T45" fmla="*/ 164 h 164"/>
                  <a:gd name="T46" fmla="*/ 282 w 317"/>
                  <a:gd name="T47" fmla="*/ 164 h 164"/>
                  <a:gd name="T48" fmla="*/ 300 w 317"/>
                  <a:gd name="T49" fmla="*/ 152 h 164"/>
                  <a:gd name="T50" fmla="*/ 288 w 317"/>
                  <a:gd name="T51" fmla="*/ 138 h 164"/>
                  <a:gd name="T52" fmla="*/ 315 w 317"/>
                  <a:gd name="T53" fmla="*/ 124 h 164"/>
                  <a:gd name="T54" fmla="*/ 311 w 317"/>
                  <a:gd name="T55" fmla="*/ 110 h 164"/>
                  <a:gd name="T56" fmla="*/ 302 w 317"/>
                  <a:gd name="T57" fmla="*/ 82 h 164"/>
                  <a:gd name="T58" fmla="*/ 296 w 317"/>
                  <a:gd name="T59" fmla="*/ 76 h 164"/>
                  <a:gd name="T60" fmla="*/ 282 w 317"/>
                  <a:gd name="T61" fmla="*/ 62 h 164"/>
                  <a:gd name="T62" fmla="*/ 296 w 317"/>
                  <a:gd name="T63" fmla="*/ 48 h 164"/>
                  <a:gd name="T64" fmla="*/ 290 w 317"/>
                  <a:gd name="T65" fmla="*/ 34 h 164"/>
                  <a:gd name="T66" fmla="*/ 282 w 317"/>
                  <a:gd name="T67" fmla="*/ 34 h 164"/>
                  <a:gd name="T68" fmla="*/ 274 w 317"/>
                  <a:gd name="T69" fmla="*/ 28 h 164"/>
                  <a:gd name="T70" fmla="*/ 268 w 317"/>
                  <a:gd name="T71" fmla="*/ 28 h 164"/>
                  <a:gd name="T72" fmla="*/ 254 w 317"/>
                  <a:gd name="T73" fmla="*/ 28 h 164"/>
                  <a:gd name="T74" fmla="*/ 232 w 317"/>
                  <a:gd name="T75" fmla="*/ 22 h 164"/>
                  <a:gd name="T76" fmla="*/ 212 w 317"/>
                  <a:gd name="T77" fmla="*/ 22 h 164"/>
                  <a:gd name="T78" fmla="*/ 206 w 317"/>
                  <a:gd name="T79" fmla="*/ 6 h 164"/>
                  <a:gd name="T80" fmla="*/ 186 w 317"/>
                  <a:gd name="T81" fmla="*/ 0 h 164"/>
                  <a:gd name="T82" fmla="*/ 178 w 317"/>
                  <a:gd name="T83" fmla="*/ 6 h 164"/>
                  <a:gd name="T84" fmla="*/ 164 w 317"/>
                  <a:gd name="T85" fmla="*/ 6 h 164"/>
                  <a:gd name="T86" fmla="*/ 138 w 317"/>
                  <a:gd name="T87" fmla="*/ 22 h 164"/>
                  <a:gd name="T88" fmla="*/ 138 w 317"/>
                  <a:gd name="T89" fmla="*/ 2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7" h="164">
                    <a:moveTo>
                      <a:pt x="138" y="22"/>
                    </a:moveTo>
                    <a:lnTo>
                      <a:pt x="138" y="28"/>
                    </a:lnTo>
                    <a:lnTo>
                      <a:pt x="138" y="34"/>
                    </a:lnTo>
                    <a:lnTo>
                      <a:pt x="138" y="48"/>
                    </a:lnTo>
                    <a:lnTo>
                      <a:pt x="138" y="56"/>
                    </a:lnTo>
                    <a:lnTo>
                      <a:pt x="138" y="70"/>
                    </a:lnTo>
                    <a:lnTo>
                      <a:pt x="130" y="76"/>
                    </a:lnTo>
                    <a:lnTo>
                      <a:pt x="124" y="82"/>
                    </a:lnTo>
                    <a:lnTo>
                      <a:pt x="116" y="82"/>
                    </a:lnTo>
                    <a:lnTo>
                      <a:pt x="102" y="70"/>
                    </a:lnTo>
                    <a:lnTo>
                      <a:pt x="96" y="62"/>
                    </a:lnTo>
                    <a:lnTo>
                      <a:pt x="96" y="48"/>
                    </a:lnTo>
                    <a:lnTo>
                      <a:pt x="82" y="34"/>
                    </a:lnTo>
                    <a:lnTo>
                      <a:pt x="76" y="34"/>
                    </a:lnTo>
                    <a:lnTo>
                      <a:pt x="70" y="28"/>
                    </a:lnTo>
                    <a:lnTo>
                      <a:pt x="70" y="22"/>
                    </a:lnTo>
                    <a:lnTo>
                      <a:pt x="56" y="22"/>
                    </a:lnTo>
                    <a:lnTo>
                      <a:pt x="42" y="28"/>
                    </a:lnTo>
                    <a:lnTo>
                      <a:pt x="34" y="34"/>
                    </a:lnTo>
                    <a:lnTo>
                      <a:pt x="28" y="34"/>
                    </a:lnTo>
                    <a:lnTo>
                      <a:pt x="22" y="48"/>
                    </a:lnTo>
                    <a:lnTo>
                      <a:pt x="22" y="62"/>
                    </a:lnTo>
                    <a:lnTo>
                      <a:pt x="14" y="76"/>
                    </a:lnTo>
                    <a:lnTo>
                      <a:pt x="8" y="90"/>
                    </a:lnTo>
                    <a:lnTo>
                      <a:pt x="0" y="130"/>
                    </a:lnTo>
                    <a:lnTo>
                      <a:pt x="22" y="124"/>
                    </a:lnTo>
                    <a:lnTo>
                      <a:pt x="34" y="124"/>
                    </a:lnTo>
                    <a:lnTo>
                      <a:pt x="42" y="116"/>
                    </a:lnTo>
                    <a:lnTo>
                      <a:pt x="48" y="116"/>
                    </a:lnTo>
                    <a:lnTo>
                      <a:pt x="56" y="116"/>
                    </a:lnTo>
                    <a:lnTo>
                      <a:pt x="76" y="116"/>
                    </a:lnTo>
                    <a:lnTo>
                      <a:pt x="82" y="116"/>
                    </a:lnTo>
                    <a:lnTo>
                      <a:pt x="96" y="110"/>
                    </a:lnTo>
                    <a:lnTo>
                      <a:pt x="116" y="110"/>
                    </a:lnTo>
                    <a:lnTo>
                      <a:pt x="138" y="116"/>
                    </a:lnTo>
                    <a:lnTo>
                      <a:pt x="152" y="110"/>
                    </a:lnTo>
                    <a:lnTo>
                      <a:pt x="158" y="116"/>
                    </a:lnTo>
                    <a:lnTo>
                      <a:pt x="172" y="124"/>
                    </a:lnTo>
                    <a:lnTo>
                      <a:pt x="192" y="130"/>
                    </a:lnTo>
                    <a:lnTo>
                      <a:pt x="198" y="130"/>
                    </a:lnTo>
                    <a:lnTo>
                      <a:pt x="206" y="144"/>
                    </a:lnTo>
                    <a:lnTo>
                      <a:pt x="226" y="158"/>
                    </a:lnTo>
                    <a:lnTo>
                      <a:pt x="232" y="164"/>
                    </a:lnTo>
                    <a:lnTo>
                      <a:pt x="254" y="164"/>
                    </a:lnTo>
                    <a:lnTo>
                      <a:pt x="260" y="164"/>
                    </a:lnTo>
                    <a:lnTo>
                      <a:pt x="268" y="164"/>
                    </a:lnTo>
                    <a:lnTo>
                      <a:pt x="274" y="158"/>
                    </a:lnTo>
                    <a:lnTo>
                      <a:pt x="282" y="164"/>
                    </a:lnTo>
                    <a:lnTo>
                      <a:pt x="294" y="158"/>
                    </a:lnTo>
                    <a:lnTo>
                      <a:pt x="300" y="152"/>
                    </a:lnTo>
                    <a:lnTo>
                      <a:pt x="294" y="144"/>
                    </a:lnTo>
                    <a:lnTo>
                      <a:pt x="288" y="138"/>
                    </a:lnTo>
                    <a:lnTo>
                      <a:pt x="300" y="130"/>
                    </a:lnTo>
                    <a:lnTo>
                      <a:pt x="315" y="124"/>
                    </a:lnTo>
                    <a:lnTo>
                      <a:pt x="317" y="124"/>
                    </a:lnTo>
                    <a:lnTo>
                      <a:pt x="311" y="110"/>
                    </a:lnTo>
                    <a:lnTo>
                      <a:pt x="311" y="96"/>
                    </a:lnTo>
                    <a:lnTo>
                      <a:pt x="302" y="82"/>
                    </a:lnTo>
                    <a:lnTo>
                      <a:pt x="302" y="76"/>
                    </a:lnTo>
                    <a:lnTo>
                      <a:pt x="296" y="76"/>
                    </a:lnTo>
                    <a:lnTo>
                      <a:pt x="290" y="76"/>
                    </a:lnTo>
                    <a:lnTo>
                      <a:pt x="282" y="62"/>
                    </a:lnTo>
                    <a:lnTo>
                      <a:pt x="296" y="62"/>
                    </a:lnTo>
                    <a:lnTo>
                      <a:pt x="296" y="48"/>
                    </a:lnTo>
                    <a:lnTo>
                      <a:pt x="296" y="34"/>
                    </a:lnTo>
                    <a:lnTo>
                      <a:pt x="290" y="34"/>
                    </a:lnTo>
                    <a:lnTo>
                      <a:pt x="282" y="40"/>
                    </a:lnTo>
                    <a:lnTo>
                      <a:pt x="282" y="34"/>
                    </a:lnTo>
                    <a:lnTo>
                      <a:pt x="274" y="34"/>
                    </a:lnTo>
                    <a:lnTo>
                      <a:pt x="274" y="28"/>
                    </a:lnTo>
                    <a:lnTo>
                      <a:pt x="282" y="28"/>
                    </a:lnTo>
                    <a:lnTo>
                      <a:pt x="268" y="28"/>
                    </a:lnTo>
                    <a:lnTo>
                      <a:pt x="268" y="22"/>
                    </a:lnTo>
                    <a:lnTo>
                      <a:pt x="254" y="28"/>
                    </a:lnTo>
                    <a:lnTo>
                      <a:pt x="240" y="34"/>
                    </a:lnTo>
                    <a:lnTo>
                      <a:pt x="232" y="22"/>
                    </a:lnTo>
                    <a:lnTo>
                      <a:pt x="220" y="22"/>
                    </a:lnTo>
                    <a:lnTo>
                      <a:pt x="212" y="22"/>
                    </a:lnTo>
                    <a:lnTo>
                      <a:pt x="206" y="14"/>
                    </a:lnTo>
                    <a:lnTo>
                      <a:pt x="206" y="6"/>
                    </a:lnTo>
                    <a:lnTo>
                      <a:pt x="198" y="6"/>
                    </a:lnTo>
                    <a:lnTo>
                      <a:pt x="186" y="0"/>
                    </a:lnTo>
                    <a:lnTo>
                      <a:pt x="186" y="6"/>
                    </a:lnTo>
                    <a:lnTo>
                      <a:pt x="178" y="6"/>
                    </a:lnTo>
                    <a:lnTo>
                      <a:pt x="172" y="0"/>
                    </a:lnTo>
                    <a:lnTo>
                      <a:pt x="164" y="6"/>
                    </a:lnTo>
                    <a:lnTo>
                      <a:pt x="138" y="14"/>
                    </a:lnTo>
                    <a:lnTo>
                      <a:pt x="138" y="22"/>
                    </a:lnTo>
                    <a:lnTo>
                      <a:pt x="138" y="22"/>
                    </a:lnTo>
                    <a:lnTo>
                      <a:pt x="138" y="22"/>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2" name="Freeform 16"/>
              <p:cNvSpPr>
                <a:spLocks/>
              </p:cNvSpPr>
              <p:nvPr/>
            </p:nvSpPr>
            <p:spPr bwMode="gray">
              <a:xfrm>
                <a:off x="5382852" y="2514257"/>
                <a:ext cx="422369" cy="301692"/>
              </a:xfrm>
              <a:custGeom>
                <a:avLst/>
                <a:gdLst>
                  <a:gd name="T0" fmla="*/ 238 w 266"/>
                  <a:gd name="T1" fmla="*/ 82 h 190"/>
                  <a:gd name="T2" fmla="*/ 252 w 266"/>
                  <a:gd name="T3" fmla="*/ 102 h 190"/>
                  <a:gd name="T4" fmla="*/ 232 w 266"/>
                  <a:gd name="T5" fmla="*/ 110 h 190"/>
                  <a:gd name="T6" fmla="*/ 204 w 266"/>
                  <a:gd name="T7" fmla="*/ 124 h 190"/>
                  <a:gd name="T8" fmla="*/ 204 w 266"/>
                  <a:gd name="T9" fmla="*/ 150 h 190"/>
                  <a:gd name="T10" fmla="*/ 192 w 266"/>
                  <a:gd name="T11" fmla="*/ 164 h 190"/>
                  <a:gd name="T12" fmla="*/ 184 w 266"/>
                  <a:gd name="T13" fmla="*/ 164 h 190"/>
                  <a:gd name="T14" fmla="*/ 164 w 266"/>
                  <a:gd name="T15" fmla="*/ 170 h 190"/>
                  <a:gd name="T16" fmla="*/ 158 w 266"/>
                  <a:gd name="T17" fmla="*/ 170 h 190"/>
                  <a:gd name="T18" fmla="*/ 144 w 266"/>
                  <a:gd name="T19" fmla="*/ 190 h 190"/>
                  <a:gd name="T20" fmla="*/ 130 w 266"/>
                  <a:gd name="T21" fmla="*/ 184 h 190"/>
                  <a:gd name="T22" fmla="*/ 102 w 266"/>
                  <a:gd name="T23" fmla="*/ 170 h 190"/>
                  <a:gd name="T24" fmla="*/ 82 w 266"/>
                  <a:gd name="T25" fmla="*/ 156 h 190"/>
                  <a:gd name="T26" fmla="*/ 76 w 266"/>
                  <a:gd name="T27" fmla="*/ 150 h 190"/>
                  <a:gd name="T28" fmla="*/ 82 w 266"/>
                  <a:gd name="T29" fmla="*/ 136 h 190"/>
                  <a:gd name="T30" fmla="*/ 76 w 266"/>
                  <a:gd name="T31" fmla="*/ 124 h 190"/>
                  <a:gd name="T32" fmla="*/ 68 w 266"/>
                  <a:gd name="T33" fmla="*/ 110 h 190"/>
                  <a:gd name="T34" fmla="*/ 62 w 266"/>
                  <a:gd name="T35" fmla="*/ 116 h 190"/>
                  <a:gd name="T36" fmla="*/ 42 w 266"/>
                  <a:gd name="T37" fmla="*/ 116 h 190"/>
                  <a:gd name="T38" fmla="*/ 28 w 266"/>
                  <a:gd name="T39" fmla="*/ 110 h 190"/>
                  <a:gd name="T40" fmla="*/ 22 w 266"/>
                  <a:gd name="T41" fmla="*/ 96 h 190"/>
                  <a:gd name="T42" fmla="*/ 8 w 266"/>
                  <a:gd name="T43" fmla="*/ 76 h 190"/>
                  <a:gd name="T44" fmla="*/ 0 w 266"/>
                  <a:gd name="T45" fmla="*/ 48 h 190"/>
                  <a:gd name="T46" fmla="*/ 0 w 266"/>
                  <a:gd name="T47" fmla="*/ 20 h 190"/>
                  <a:gd name="T48" fmla="*/ 22 w 266"/>
                  <a:gd name="T49" fmla="*/ 14 h 190"/>
                  <a:gd name="T50" fmla="*/ 42 w 266"/>
                  <a:gd name="T51" fmla="*/ 6 h 190"/>
                  <a:gd name="T52" fmla="*/ 56 w 266"/>
                  <a:gd name="T53" fmla="*/ 6 h 190"/>
                  <a:gd name="T54" fmla="*/ 82 w 266"/>
                  <a:gd name="T55" fmla="*/ 6 h 190"/>
                  <a:gd name="T56" fmla="*/ 118 w 266"/>
                  <a:gd name="T57" fmla="*/ 0 h 190"/>
                  <a:gd name="T58" fmla="*/ 152 w 266"/>
                  <a:gd name="T59" fmla="*/ 0 h 190"/>
                  <a:gd name="T60" fmla="*/ 172 w 266"/>
                  <a:gd name="T61" fmla="*/ 14 h 190"/>
                  <a:gd name="T62" fmla="*/ 198 w 266"/>
                  <a:gd name="T63" fmla="*/ 20 h 190"/>
                  <a:gd name="T64" fmla="*/ 226 w 266"/>
                  <a:gd name="T65" fmla="*/ 48 h 190"/>
                  <a:gd name="T66" fmla="*/ 254 w 266"/>
                  <a:gd name="T67" fmla="*/ 54 h 190"/>
                  <a:gd name="T68" fmla="*/ 252 w 266"/>
                  <a:gd name="T69" fmla="*/ 54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6" h="190">
                    <a:moveTo>
                      <a:pt x="252" y="54"/>
                    </a:moveTo>
                    <a:lnTo>
                      <a:pt x="238" y="82"/>
                    </a:lnTo>
                    <a:lnTo>
                      <a:pt x="266" y="88"/>
                    </a:lnTo>
                    <a:lnTo>
                      <a:pt x="252" y="102"/>
                    </a:lnTo>
                    <a:lnTo>
                      <a:pt x="232" y="102"/>
                    </a:lnTo>
                    <a:lnTo>
                      <a:pt x="232" y="110"/>
                    </a:lnTo>
                    <a:lnTo>
                      <a:pt x="204" y="116"/>
                    </a:lnTo>
                    <a:lnTo>
                      <a:pt x="204" y="124"/>
                    </a:lnTo>
                    <a:lnTo>
                      <a:pt x="204" y="142"/>
                    </a:lnTo>
                    <a:lnTo>
                      <a:pt x="204" y="150"/>
                    </a:lnTo>
                    <a:lnTo>
                      <a:pt x="198" y="164"/>
                    </a:lnTo>
                    <a:lnTo>
                      <a:pt x="192" y="164"/>
                    </a:lnTo>
                    <a:lnTo>
                      <a:pt x="192" y="170"/>
                    </a:lnTo>
                    <a:lnTo>
                      <a:pt x="184" y="164"/>
                    </a:lnTo>
                    <a:lnTo>
                      <a:pt x="170" y="170"/>
                    </a:lnTo>
                    <a:lnTo>
                      <a:pt x="164" y="170"/>
                    </a:lnTo>
                    <a:lnTo>
                      <a:pt x="150" y="170"/>
                    </a:lnTo>
                    <a:lnTo>
                      <a:pt x="158" y="170"/>
                    </a:lnTo>
                    <a:lnTo>
                      <a:pt x="150" y="184"/>
                    </a:lnTo>
                    <a:lnTo>
                      <a:pt x="144" y="190"/>
                    </a:lnTo>
                    <a:lnTo>
                      <a:pt x="130" y="190"/>
                    </a:lnTo>
                    <a:lnTo>
                      <a:pt x="130" y="184"/>
                    </a:lnTo>
                    <a:lnTo>
                      <a:pt x="116" y="184"/>
                    </a:lnTo>
                    <a:lnTo>
                      <a:pt x="102" y="170"/>
                    </a:lnTo>
                    <a:lnTo>
                      <a:pt x="82" y="164"/>
                    </a:lnTo>
                    <a:lnTo>
                      <a:pt x="82" y="156"/>
                    </a:lnTo>
                    <a:lnTo>
                      <a:pt x="76" y="156"/>
                    </a:lnTo>
                    <a:lnTo>
                      <a:pt x="76" y="150"/>
                    </a:lnTo>
                    <a:lnTo>
                      <a:pt x="82" y="142"/>
                    </a:lnTo>
                    <a:lnTo>
                      <a:pt x="82" y="136"/>
                    </a:lnTo>
                    <a:lnTo>
                      <a:pt x="82" y="128"/>
                    </a:lnTo>
                    <a:lnTo>
                      <a:pt x="76" y="124"/>
                    </a:lnTo>
                    <a:lnTo>
                      <a:pt x="76" y="116"/>
                    </a:lnTo>
                    <a:lnTo>
                      <a:pt x="68" y="110"/>
                    </a:lnTo>
                    <a:lnTo>
                      <a:pt x="62" y="110"/>
                    </a:lnTo>
                    <a:lnTo>
                      <a:pt x="62" y="116"/>
                    </a:lnTo>
                    <a:lnTo>
                      <a:pt x="56" y="116"/>
                    </a:lnTo>
                    <a:lnTo>
                      <a:pt x="42" y="116"/>
                    </a:lnTo>
                    <a:lnTo>
                      <a:pt x="34" y="110"/>
                    </a:lnTo>
                    <a:lnTo>
                      <a:pt x="28" y="110"/>
                    </a:lnTo>
                    <a:lnTo>
                      <a:pt x="22" y="102"/>
                    </a:lnTo>
                    <a:lnTo>
                      <a:pt x="22" y="96"/>
                    </a:lnTo>
                    <a:lnTo>
                      <a:pt x="8" y="96"/>
                    </a:lnTo>
                    <a:lnTo>
                      <a:pt x="8" y="76"/>
                    </a:lnTo>
                    <a:lnTo>
                      <a:pt x="0" y="54"/>
                    </a:lnTo>
                    <a:lnTo>
                      <a:pt x="0" y="48"/>
                    </a:lnTo>
                    <a:lnTo>
                      <a:pt x="0" y="42"/>
                    </a:lnTo>
                    <a:lnTo>
                      <a:pt x="0" y="20"/>
                    </a:lnTo>
                    <a:lnTo>
                      <a:pt x="2" y="20"/>
                    </a:lnTo>
                    <a:lnTo>
                      <a:pt x="22" y="14"/>
                    </a:lnTo>
                    <a:lnTo>
                      <a:pt x="34" y="14"/>
                    </a:lnTo>
                    <a:lnTo>
                      <a:pt x="42" y="6"/>
                    </a:lnTo>
                    <a:lnTo>
                      <a:pt x="48" y="6"/>
                    </a:lnTo>
                    <a:lnTo>
                      <a:pt x="56" y="6"/>
                    </a:lnTo>
                    <a:lnTo>
                      <a:pt x="76" y="6"/>
                    </a:lnTo>
                    <a:lnTo>
                      <a:pt x="82" y="6"/>
                    </a:lnTo>
                    <a:lnTo>
                      <a:pt x="96" y="0"/>
                    </a:lnTo>
                    <a:lnTo>
                      <a:pt x="118" y="0"/>
                    </a:lnTo>
                    <a:lnTo>
                      <a:pt x="138" y="6"/>
                    </a:lnTo>
                    <a:lnTo>
                      <a:pt x="152" y="0"/>
                    </a:lnTo>
                    <a:lnTo>
                      <a:pt x="158" y="6"/>
                    </a:lnTo>
                    <a:lnTo>
                      <a:pt x="172" y="14"/>
                    </a:lnTo>
                    <a:lnTo>
                      <a:pt x="192" y="20"/>
                    </a:lnTo>
                    <a:lnTo>
                      <a:pt x="198" y="20"/>
                    </a:lnTo>
                    <a:lnTo>
                      <a:pt x="206" y="34"/>
                    </a:lnTo>
                    <a:lnTo>
                      <a:pt x="226" y="48"/>
                    </a:lnTo>
                    <a:lnTo>
                      <a:pt x="232" y="54"/>
                    </a:lnTo>
                    <a:lnTo>
                      <a:pt x="254" y="54"/>
                    </a:lnTo>
                    <a:lnTo>
                      <a:pt x="252" y="54"/>
                    </a:lnTo>
                    <a:lnTo>
                      <a:pt x="252" y="54"/>
                    </a:lnTo>
                    <a:lnTo>
                      <a:pt x="252" y="54"/>
                    </a:lnTo>
                    <a:close/>
                  </a:path>
                </a:pathLst>
              </a:custGeom>
              <a:solidFill>
                <a:srgbClr val="CBFCFF"/>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3" name="Freeform 17"/>
              <p:cNvSpPr>
                <a:spLocks/>
              </p:cNvSpPr>
              <p:nvPr/>
            </p:nvSpPr>
            <p:spPr bwMode="gray">
              <a:xfrm>
                <a:off x="5541638" y="2533311"/>
                <a:ext cx="725649" cy="565275"/>
              </a:xfrm>
              <a:custGeom>
                <a:avLst/>
                <a:gdLst>
                  <a:gd name="T0" fmla="*/ 24 w 457"/>
                  <a:gd name="T1" fmla="*/ 330 h 356"/>
                  <a:gd name="T2" fmla="*/ 4 w 457"/>
                  <a:gd name="T3" fmla="*/ 316 h 356"/>
                  <a:gd name="T4" fmla="*/ 20 w 457"/>
                  <a:gd name="T5" fmla="*/ 280 h 356"/>
                  <a:gd name="T6" fmla="*/ 34 w 457"/>
                  <a:gd name="T7" fmla="*/ 268 h 356"/>
                  <a:gd name="T8" fmla="*/ 28 w 457"/>
                  <a:gd name="T9" fmla="*/ 240 h 356"/>
                  <a:gd name="T10" fmla="*/ 24 w 457"/>
                  <a:gd name="T11" fmla="*/ 220 h 356"/>
                  <a:gd name="T12" fmla="*/ 4 w 457"/>
                  <a:gd name="T13" fmla="*/ 170 h 356"/>
                  <a:gd name="T14" fmla="*/ 30 w 457"/>
                  <a:gd name="T15" fmla="*/ 178 h 356"/>
                  <a:gd name="T16" fmla="*/ 60 w 457"/>
                  <a:gd name="T17" fmla="*/ 158 h 356"/>
                  <a:gd name="T18" fmla="*/ 72 w 457"/>
                  <a:gd name="T19" fmla="*/ 158 h 356"/>
                  <a:gd name="T20" fmla="*/ 94 w 457"/>
                  <a:gd name="T21" fmla="*/ 152 h 356"/>
                  <a:gd name="T22" fmla="*/ 106 w 457"/>
                  <a:gd name="T23" fmla="*/ 130 h 356"/>
                  <a:gd name="T24" fmla="*/ 134 w 457"/>
                  <a:gd name="T25" fmla="*/ 96 h 356"/>
                  <a:gd name="T26" fmla="*/ 168 w 457"/>
                  <a:gd name="T27" fmla="*/ 76 h 356"/>
                  <a:gd name="T28" fmla="*/ 162 w 457"/>
                  <a:gd name="T29" fmla="*/ 42 h 356"/>
                  <a:gd name="T30" fmla="*/ 182 w 457"/>
                  <a:gd name="T31" fmla="*/ 42 h 356"/>
                  <a:gd name="T32" fmla="*/ 196 w 457"/>
                  <a:gd name="T33" fmla="*/ 22 h 356"/>
                  <a:gd name="T34" fmla="*/ 217 w 457"/>
                  <a:gd name="T35" fmla="*/ 0 h 356"/>
                  <a:gd name="T36" fmla="*/ 231 w 457"/>
                  <a:gd name="T37" fmla="*/ 8 h 356"/>
                  <a:gd name="T38" fmla="*/ 273 w 457"/>
                  <a:gd name="T39" fmla="*/ 8 h 356"/>
                  <a:gd name="T40" fmla="*/ 285 w 457"/>
                  <a:gd name="T41" fmla="*/ 22 h 356"/>
                  <a:gd name="T42" fmla="*/ 307 w 457"/>
                  <a:gd name="T43" fmla="*/ 8 h 356"/>
                  <a:gd name="T44" fmla="*/ 341 w 457"/>
                  <a:gd name="T45" fmla="*/ 28 h 356"/>
                  <a:gd name="T46" fmla="*/ 333 w 457"/>
                  <a:gd name="T47" fmla="*/ 48 h 356"/>
                  <a:gd name="T48" fmla="*/ 341 w 457"/>
                  <a:gd name="T49" fmla="*/ 96 h 356"/>
                  <a:gd name="T50" fmla="*/ 361 w 457"/>
                  <a:gd name="T51" fmla="*/ 110 h 356"/>
                  <a:gd name="T52" fmla="*/ 403 w 457"/>
                  <a:gd name="T53" fmla="*/ 124 h 356"/>
                  <a:gd name="T54" fmla="*/ 415 w 457"/>
                  <a:gd name="T55" fmla="*/ 144 h 356"/>
                  <a:gd name="T56" fmla="*/ 435 w 457"/>
                  <a:gd name="T57" fmla="*/ 158 h 356"/>
                  <a:gd name="T58" fmla="*/ 449 w 457"/>
                  <a:gd name="T59" fmla="*/ 178 h 356"/>
                  <a:gd name="T60" fmla="*/ 423 w 457"/>
                  <a:gd name="T61" fmla="*/ 200 h 356"/>
                  <a:gd name="T62" fmla="*/ 395 w 457"/>
                  <a:gd name="T63" fmla="*/ 200 h 356"/>
                  <a:gd name="T64" fmla="*/ 395 w 457"/>
                  <a:gd name="T65" fmla="*/ 226 h 356"/>
                  <a:gd name="T66" fmla="*/ 409 w 457"/>
                  <a:gd name="T67" fmla="*/ 262 h 356"/>
                  <a:gd name="T68" fmla="*/ 429 w 457"/>
                  <a:gd name="T69" fmla="*/ 268 h 356"/>
                  <a:gd name="T70" fmla="*/ 407 w 457"/>
                  <a:gd name="T71" fmla="*/ 280 h 356"/>
                  <a:gd name="T72" fmla="*/ 381 w 457"/>
                  <a:gd name="T73" fmla="*/ 280 h 356"/>
                  <a:gd name="T74" fmla="*/ 367 w 457"/>
                  <a:gd name="T75" fmla="*/ 302 h 356"/>
                  <a:gd name="T76" fmla="*/ 367 w 457"/>
                  <a:gd name="T77" fmla="*/ 336 h 356"/>
                  <a:gd name="T78" fmla="*/ 345 w 457"/>
                  <a:gd name="T79" fmla="*/ 336 h 356"/>
                  <a:gd name="T80" fmla="*/ 311 w 457"/>
                  <a:gd name="T81" fmla="*/ 336 h 356"/>
                  <a:gd name="T82" fmla="*/ 299 w 457"/>
                  <a:gd name="T83" fmla="*/ 350 h 356"/>
                  <a:gd name="T84" fmla="*/ 279 w 457"/>
                  <a:gd name="T85" fmla="*/ 336 h 356"/>
                  <a:gd name="T86" fmla="*/ 259 w 457"/>
                  <a:gd name="T87" fmla="*/ 336 h 356"/>
                  <a:gd name="T88" fmla="*/ 215 w 457"/>
                  <a:gd name="T89" fmla="*/ 342 h 356"/>
                  <a:gd name="T90" fmla="*/ 174 w 457"/>
                  <a:gd name="T91" fmla="*/ 330 h 356"/>
                  <a:gd name="T92" fmla="*/ 120 w 457"/>
                  <a:gd name="T93" fmla="*/ 316 h 356"/>
                  <a:gd name="T94" fmla="*/ 72 w 457"/>
                  <a:gd name="T95" fmla="*/ 322 h 356"/>
                  <a:gd name="T96" fmla="*/ 52 w 457"/>
                  <a:gd name="T97" fmla="*/ 342 h 356"/>
                  <a:gd name="T98" fmla="*/ 30 w 457"/>
                  <a:gd name="T99" fmla="*/ 342 h 356"/>
                  <a:gd name="T100" fmla="*/ 24 w 457"/>
                  <a:gd name="T101" fmla="*/ 35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7" h="356">
                    <a:moveTo>
                      <a:pt x="24" y="350"/>
                    </a:moveTo>
                    <a:lnTo>
                      <a:pt x="24" y="336"/>
                    </a:lnTo>
                    <a:lnTo>
                      <a:pt x="24" y="330"/>
                    </a:lnTo>
                    <a:lnTo>
                      <a:pt x="24" y="322"/>
                    </a:lnTo>
                    <a:lnTo>
                      <a:pt x="10" y="322"/>
                    </a:lnTo>
                    <a:lnTo>
                      <a:pt x="4" y="316"/>
                    </a:lnTo>
                    <a:lnTo>
                      <a:pt x="0" y="304"/>
                    </a:lnTo>
                    <a:lnTo>
                      <a:pt x="10" y="294"/>
                    </a:lnTo>
                    <a:lnTo>
                      <a:pt x="20" y="280"/>
                    </a:lnTo>
                    <a:lnTo>
                      <a:pt x="30" y="280"/>
                    </a:lnTo>
                    <a:lnTo>
                      <a:pt x="32" y="276"/>
                    </a:lnTo>
                    <a:lnTo>
                      <a:pt x="34" y="268"/>
                    </a:lnTo>
                    <a:lnTo>
                      <a:pt x="34" y="254"/>
                    </a:lnTo>
                    <a:lnTo>
                      <a:pt x="28" y="250"/>
                    </a:lnTo>
                    <a:lnTo>
                      <a:pt x="28" y="240"/>
                    </a:lnTo>
                    <a:lnTo>
                      <a:pt x="24" y="232"/>
                    </a:lnTo>
                    <a:lnTo>
                      <a:pt x="24" y="226"/>
                    </a:lnTo>
                    <a:lnTo>
                      <a:pt x="24" y="220"/>
                    </a:lnTo>
                    <a:lnTo>
                      <a:pt x="24" y="206"/>
                    </a:lnTo>
                    <a:lnTo>
                      <a:pt x="16" y="192"/>
                    </a:lnTo>
                    <a:lnTo>
                      <a:pt x="4" y="170"/>
                    </a:lnTo>
                    <a:lnTo>
                      <a:pt x="18" y="172"/>
                    </a:lnTo>
                    <a:lnTo>
                      <a:pt x="30" y="172"/>
                    </a:lnTo>
                    <a:lnTo>
                      <a:pt x="30" y="178"/>
                    </a:lnTo>
                    <a:lnTo>
                      <a:pt x="44" y="178"/>
                    </a:lnTo>
                    <a:lnTo>
                      <a:pt x="52" y="172"/>
                    </a:lnTo>
                    <a:lnTo>
                      <a:pt x="60" y="158"/>
                    </a:lnTo>
                    <a:lnTo>
                      <a:pt x="52" y="158"/>
                    </a:lnTo>
                    <a:lnTo>
                      <a:pt x="66" y="158"/>
                    </a:lnTo>
                    <a:lnTo>
                      <a:pt x="72" y="158"/>
                    </a:lnTo>
                    <a:lnTo>
                      <a:pt x="86" y="152"/>
                    </a:lnTo>
                    <a:lnTo>
                      <a:pt x="94" y="158"/>
                    </a:lnTo>
                    <a:lnTo>
                      <a:pt x="94" y="152"/>
                    </a:lnTo>
                    <a:lnTo>
                      <a:pt x="100" y="152"/>
                    </a:lnTo>
                    <a:lnTo>
                      <a:pt x="106" y="138"/>
                    </a:lnTo>
                    <a:lnTo>
                      <a:pt x="106" y="130"/>
                    </a:lnTo>
                    <a:lnTo>
                      <a:pt x="106" y="110"/>
                    </a:lnTo>
                    <a:lnTo>
                      <a:pt x="106" y="104"/>
                    </a:lnTo>
                    <a:lnTo>
                      <a:pt x="134" y="96"/>
                    </a:lnTo>
                    <a:lnTo>
                      <a:pt x="134" y="90"/>
                    </a:lnTo>
                    <a:lnTo>
                      <a:pt x="154" y="90"/>
                    </a:lnTo>
                    <a:lnTo>
                      <a:pt x="168" y="76"/>
                    </a:lnTo>
                    <a:lnTo>
                      <a:pt x="140" y="68"/>
                    </a:lnTo>
                    <a:lnTo>
                      <a:pt x="154" y="42"/>
                    </a:lnTo>
                    <a:lnTo>
                      <a:pt x="162" y="42"/>
                    </a:lnTo>
                    <a:lnTo>
                      <a:pt x="168" y="42"/>
                    </a:lnTo>
                    <a:lnTo>
                      <a:pt x="176" y="34"/>
                    </a:lnTo>
                    <a:lnTo>
                      <a:pt x="182" y="42"/>
                    </a:lnTo>
                    <a:lnTo>
                      <a:pt x="196" y="34"/>
                    </a:lnTo>
                    <a:lnTo>
                      <a:pt x="202" y="28"/>
                    </a:lnTo>
                    <a:lnTo>
                      <a:pt x="196" y="22"/>
                    </a:lnTo>
                    <a:lnTo>
                      <a:pt x="190" y="14"/>
                    </a:lnTo>
                    <a:lnTo>
                      <a:pt x="202" y="8"/>
                    </a:lnTo>
                    <a:lnTo>
                      <a:pt x="217" y="0"/>
                    </a:lnTo>
                    <a:lnTo>
                      <a:pt x="225" y="0"/>
                    </a:lnTo>
                    <a:lnTo>
                      <a:pt x="231" y="0"/>
                    </a:lnTo>
                    <a:lnTo>
                      <a:pt x="231" y="8"/>
                    </a:lnTo>
                    <a:lnTo>
                      <a:pt x="245" y="8"/>
                    </a:lnTo>
                    <a:lnTo>
                      <a:pt x="259" y="8"/>
                    </a:lnTo>
                    <a:lnTo>
                      <a:pt x="273" y="8"/>
                    </a:lnTo>
                    <a:lnTo>
                      <a:pt x="279" y="14"/>
                    </a:lnTo>
                    <a:lnTo>
                      <a:pt x="279" y="22"/>
                    </a:lnTo>
                    <a:lnTo>
                      <a:pt x="285" y="22"/>
                    </a:lnTo>
                    <a:lnTo>
                      <a:pt x="299" y="14"/>
                    </a:lnTo>
                    <a:lnTo>
                      <a:pt x="299" y="8"/>
                    </a:lnTo>
                    <a:lnTo>
                      <a:pt x="307" y="8"/>
                    </a:lnTo>
                    <a:lnTo>
                      <a:pt x="319" y="14"/>
                    </a:lnTo>
                    <a:lnTo>
                      <a:pt x="327" y="28"/>
                    </a:lnTo>
                    <a:lnTo>
                      <a:pt x="341" y="28"/>
                    </a:lnTo>
                    <a:lnTo>
                      <a:pt x="341" y="34"/>
                    </a:lnTo>
                    <a:lnTo>
                      <a:pt x="333" y="42"/>
                    </a:lnTo>
                    <a:lnTo>
                      <a:pt x="333" y="48"/>
                    </a:lnTo>
                    <a:lnTo>
                      <a:pt x="347" y="68"/>
                    </a:lnTo>
                    <a:lnTo>
                      <a:pt x="355" y="90"/>
                    </a:lnTo>
                    <a:lnTo>
                      <a:pt x="341" y="96"/>
                    </a:lnTo>
                    <a:lnTo>
                      <a:pt x="361" y="96"/>
                    </a:lnTo>
                    <a:lnTo>
                      <a:pt x="361" y="104"/>
                    </a:lnTo>
                    <a:lnTo>
                      <a:pt x="361" y="110"/>
                    </a:lnTo>
                    <a:lnTo>
                      <a:pt x="381" y="116"/>
                    </a:lnTo>
                    <a:lnTo>
                      <a:pt x="389" y="116"/>
                    </a:lnTo>
                    <a:lnTo>
                      <a:pt x="403" y="124"/>
                    </a:lnTo>
                    <a:lnTo>
                      <a:pt x="403" y="138"/>
                    </a:lnTo>
                    <a:lnTo>
                      <a:pt x="403" y="144"/>
                    </a:lnTo>
                    <a:lnTo>
                      <a:pt x="415" y="144"/>
                    </a:lnTo>
                    <a:lnTo>
                      <a:pt x="423" y="144"/>
                    </a:lnTo>
                    <a:lnTo>
                      <a:pt x="435" y="144"/>
                    </a:lnTo>
                    <a:lnTo>
                      <a:pt x="435" y="158"/>
                    </a:lnTo>
                    <a:lnTo>
                      <a:pt x="449" y="158"/>
                    </a:lnTo>
                    <a:lnTo>
                      <a:pt x="457" y="172"/>
                    </a:lnTo>
                    <a:lnTo>
                      <a:pt x="449" y="178"/>
                    </a:lnTo>
                    <a:lnTo>
                      <a:pt x="443" y="186"/>
                    </a:lnTo>
                    <a:lnTo>
                      <a:pt x="435" y="192"/>
                    </a:lnTo>
                    <a:lnTo>
                      <a:pt x="423" y="200"/>
                    </a:lnTo>
                    <a:lnTo>
                      <a:pt x="415" y="206"/>
                    </a:lnTo>
                    <a:lnTo>
                      <a:pt x="403" y="200"/>
                    </a:lnTo>
                    <a:lnTo>
                      <a:pt x="395" y="200"/>
                    </a:lnTo>
                    <a:lnTo>
                      <a:pt x="395" y="206"/>
                    </a:lnTo>
                    <a:lnTo>
                      <a:pt x="395" y="220"/>
                    </a:lnTo>
                    <a:lnTo>
                      <a:pt x="395" y="226"/>
                    </a:lnTo>
                    <a:lnTo>
                      <a:pt x="403" y="240"/>
                    </a:lnTo>
                    <a:lnTo>
                      <a:pt x="409" y="254"/>
                    </a:lnTo>
                    <a:lnTo>
                      <a:pt x="409" y="262"/>
                    </a:lnTo>
                    <a:lnTo>
                      <a:pt x="415" y="268"/>
                    </a:lnTo>
                    <a:lnTo>
                      <a:pt x="429" y="274"/>
                    </a:lnTo>
                    <a:lnTo>
                      <a:pt x="429" y="268"/>
                    </a:lnTo>
                    <a:lnTo>
                      <a:pt x="429" y="280"/>
                    </a:lnTo>
                    <a:lnTo>
                      <a:pt x="415" y="280"/>
                    </a:lnTo>
                    <a:lnTo>
                      <a:pt x="407" y="280"/>
                    </a:lnTo>
                    <a:lnTo>
                      <a:pt x="401" y="280"/>
                    </a:lnTo>
                    <a:lnTo>
                      <a:pt x="395" y="280"/>
                    </a:lnTo>
                    <a:lnTo>
                      <a:pt x="381" y="280"/>
                    </a:lnTo>
                    <a:lnTo>
                      <a:pt x="375" y="280"/>
                    </a:lnTo>
                    <a:lnTo>
                      <a:pt x="367" y="288"/>
                    </a:lnTo>
                    <a:lnTo>
                      <a:pt x="367" y="302"/>
                    </a:lnTo>
                    <a:lnTo>
                      <a:pt x="361" y="316"/>
                    </a:lnTo>
                    <a:lnTo>
                      <a:pt x="367" y="330"/>
                    </a:lnTo>
                    <a:lnTo>
                      <a:pt x="367" y="336"/>
                    </a:lnTo>
                    <a:lnTo>
                      <a:pt x="367" y="350"/>
                    </a:lnTo>
                    <a:lnTo>
                      <a:pt x="361" y="350"/>
                    </a:lnTo>
                    <a:lnTo>
                      <a:pt x="345" y="336"/>
                    </a:lnTo>
                    <a:lnTo>
                      <a:pt x="339" y="336"/>
                    </a:lnTo>
                    <a:lnTo>
                      <a:pt x="333" y="342"/>
                    </a:lnTo>
                    <a:lnTo>
                      <a:pt x="311" y="336"/>
                    </a:lnTo>
                    <a:lnTo>
                      <a:pt x="305" y="336"/>
                    </a:lnTo>
                    <a:lnTo>
                      <a:pt x="299" y="342"/>
                    </a:lnTo>
                    <a:lnTo>
                      <a:pt x="299" y="350"/>
                    </a:lnTo>
                    <a:lnTo>
                      <a:pt x="293" y="356"/>
                    </a:lnTo>
                    <a:lnTo>
                      <a:pt x="285" y="342"/>
                    </a:lnTo>
                    <a:lnTo>
                      <a:pt x="279" y="336"/>
                    </a:lnTo>
                    <a:lnTo>
                      <a:pt x="271" y="350"/>
                    </a:lnTo>
                    <a:lnTo>
                      <a:pt x="265" y="342"/>
                    </a:lnTo>
                    <a:lnTo>
                      <a:pt x="259" y="336"/>
                    </a:lnTo>
                    <a:lnTo>
                      <a:pt x="243" y="336"/>
                    </a:lnTo>
                    <a:lnTo>
                      <a:pt x="237" y="342"/>
                    </a:lnTo>
                    <a:lnTo>
                      <a:pt x="215" y="342"/>
                    </a:lnTo>
                    <a:lnTo>
                      <a:pt x="208" y="336"/>
                    </a:lnTo>
                    <a:lnTo>
                      <a:pt x="200" y="336"/>
                    </a:lnTo>
                    <a:lnTo>
                      <a:pt x="174" y="330"/>
                    </a:lnTo>
                    <a:lnTo>
                      <a:pt x="160" y="322"/>
                    </a:lnTo>
                    <a:lnTo>
                      <a:pt x="140" y="316"/>
                    </a:lnTo>
                    <a:lnTo>
                      <a:pt x="120" y="316"/>
                    </a:lnTo>
                    <a:lnTo>
                      <a:pt x="98" y="322"/>
                    </a:lnTo>
                    <a:lnTo>
                      <a:pt x="86" y="322"/>
                    </a:lnTo>
                    <a:lnTo>
                      <a:pt x="72" y="322"/>
                    </a:lnTo>
                    <a:lnTo>
                      <a:pt x="58" y="330"/>
                    </a:lnTo>
                    <a:lnTo>
                      <a:pt x="58" y="336"/>
                    </a:lnTo>
                    <a:lnTo>
                      <a:pt x="52" y="342"/>
                    </a:lnTo>
                    <a:lnTo>
                      <a:pt x="44" y="350"/>
                    </a:lnTo>
                    <a:lnTo>
                      <a:pt x="38" y="342"/>
                    </a:lnTo>
                    <a:lnTo>
                      <a:pt x="30" y="342"/>
                    </a:lnTo>
                    <a:lnTo>
                      <a:pt x="24" y="356"/>
                    </a:lnTo>
                    <a:lnTo>
                      <a:pt x="24" y="350"/>
                    </a:lnTo>
                    <a:lnTo>
                      <a:pt x="24" y="350"/>
                    </a:lnTo>
                    <a:lnTo>
                      <a:pt x="24" y="35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4" name="Freeform 18"/>
              <p:cNvSpPr>
                <a:spLocks/>
              </p:cNvSpPr>
              <p:nvPr/>
            </p:nvSpPr>
            <p:spPr bwMode="gray">
              <a:xfrm>
                <a:off x="5459069" y="2936625"/>
                <a:ext cx="1460824" cy="736763"/>
              </a:xfrm>
              <a:custGeom>
                <a:avLst/>
                <a:gdLst>
                  <a:gd name="T0" fmla="*/ 465 w 920"/>
                  <a:gd name="T1" fmla="*/ 464 h 464"/>
                  <a:gd name="T2" fmla="*/ 499 w 920"/>
                  <a:gd name="T3" fmla="*/ 430 h 464"/>
                  <a:gd name="T4" fmla="*/ 527 w 920"/>
                  <a:gd name="T5" fmla="*/ 410 h 464"/>
                  <a:gd name="T6" fmla="*/ 541 w 920"/>
                  <a:gd name="T7" fmla="*/ 416 h 464"/>
                  <a:gd name="T8" fmla="*/ 535 w 920"/>
                  <a:gd name="T9" fmla="*/ 450 h 464"/>
                  <a:gd name="T10" fmla="*/ 603 w 920"/>
                  <a:gd name="T11" fmla="*/ 444 h 464"/>
                  <a:gd name="T12" fmla="*/ 631 w 920"/>
                  <a:gd name="T13" fmla="*/ 430 h 464"/>
                  <a:gd name="T14" fmla="*/ 679 w 920"/>
                  <a:gd name="T15" fmla="*/ 430 h 464"/>
                  <a:gd name="T16" fmla="*/ 697 w 920"/>
                  <a:gd name="T17" fmla="*/ 410 h 464"/>
                  <a:gd name="T18" fmla="*/ 753 w 920"/>
                  <a:gd name="T19" fmla="*/ 388 h 464"/>
                  <a:gd name="T20" fmla="*/ 795 w 920"/>
                  <a:gd name="T21" fmla="*/ 374 h 464"/>
                  <a:gd name="T22" fmla="*/ 821 w 920"/>
                  <a:gd name="T23" fmla="*/ 340 h 464"/>
                  <a:gd name="T24" fmla="*/ 843 w 920"/>
                  <a:gd name="T25" fmla="*/ 326 h 464"/>
                  <a:gd name="T26" fmla="*/ 898 w 920"/>
                  <a:gd name="T27" fmla="*/ 260 h 464"/>
                  <a:gd name="T28" fmla="*/ 898 w 920"/>
                  <a:gd name="T29" fmla="*/ 196 h 464"/>
                  <a:gd name="T30" fmla="*/ 898 w 920"/>
                  <a:gd name="T31" fmla="*/ 170 h 464"/>
                  <a:gd name="T32" fmla="*/ 920 w 920"/>
                  <a:gd name="T33" fmla="*/ 122 h 464"/>
                  <a:gd name="T34" fmla="*/ 863 w 920"/>
                  <a:gd name="T35" fmla="*/ 122 h 464"/>
                  <a:gd name="T36" fmla="*/ 837 w 920"/>
                  <a:gd name="T37" fmla="*/ 116 h 464"/>
                  <a:gd name="T38" fmla="*/ 801 w 920"/>
                  <a:gd name="T39" fmla="*/ 116 h 464"/>
                  <a:gd name="T40" fmla="*/ 755 w 920"/>
                  <a:gd name="T41" fmla="*/ 102 h 464"/>
                  <a:gd name="T42" fmla="*/ 713 w 920"/>
                  <a:gd name="T43" fmla="*/ 116 h 464"/>
                  <a:gd name="T44" fmla="*/ 673 w 920"/>
                  <a:gd name="T45" fmla="*/ 108 h 464"/>
                  <a:gd name="T46" fmla="*/ 645 w 920"/>
                  <a:gd name="T47" fmla="*/ 76 h 464"/>
                  <a:gd name="T48" fmla="*/ 603 w 920"/>
                  <a:gd name="T49" fmla="*/ 62 h 464"/>
                  <a:gd name="T50" fmla="*/ 583 w 920"/>
                  <a:gd name="T51" fmla="*/ 20 h 464"/>
                  <a:gd name="T52" fmla="*/ 535 w 920"/>
                  <a:gd name="T53" fmla="*/ 0 h 464"/>
                  <a:gd name="T54" fmla="*/ 493 w 920"/>
                  <a:gd name="T55" fmla="*/ 8 h 464"/>
                  <a:gd name="T56" fmla="*/ 467 w 920"/>
                  <a:gd name="T57" fmla="*/ 26 h 464"/>
                  <a:gd name="T58" fmla="*/ 425 w 920"/>
                  <a:gd name="T59" fmla="*/ 22 h 464"/>
                  <a:gd name="T60" fmla="*/ 415 w 920"/>
                  <a:gd name="T61" fmla="*/ 82 h 464"/>
                  <a:gd name="T62" fmla="*/ 385 w 920"/>
                  <a:gd name="T63" fmla="*/ 88 h 464"/>
                  <a:gd name="T64" fmla="*/ 343 w 920"/>
                  <a:gd name="T65" fmla="*/ 102 h 464"/>
                  <a:gd name="T66" fmla="*/ 309 w 920"/>
                  <a:gd name="T67" fmla="*/ 82 h 464"/>
                  <a:gd name="T68" fmla="*/ 252 w 920"/>
                  <a:gd name="T69" fmla="*/ 82 h 464"/>
                  <a:gd name="T70" fmla="*/ 150 w 920"/>
                  <a:gd name="T71" fmla="*/ 68 h 464"/>
                  <a:gd name="T72" fmla="*/ 102 w 920"/>
                  <a:gd name="T73" fmla="*/ 88 h 464"/>
                  <a:gd name="T74" fmla="*/ 78 w 920"/>
                  <a:gd name="T75" fmla="*/ 104 h 464"/>
                  <a:gd name="T76" fmla="*/ 96 w 920"/>
                  <a:gd name="T77" fmla="*/ 144 h 464"/>
                  <a:gd name="T78" fmla="*/ 96 w 920"/>
                  <a:gd name="T79" fmla="*/ 184 h 464"/>
                  <a:gd name="T80" fmla="*/ 42 w 920"/>
                  <a:gd name="T81" fmla="*/ 224 h 464"/>
                  <a:gd name="T82" fmla="*/ 28 w 920"/>
                  <a:gd name="T83" fmla="*/ 280 h 464"/>
                  <a:gd name="T84" fmla="*/ 14 w 920"/>
                  <a:gd name="T85" fmla="*/ 348 h 464"/>
                  <a:gd name="T86" fmla="*/ 96 w 920"/>
                  <a:gd name="T87" fmla="*/ 368 h 464"/>
                  <a:gd name="T88" fmla="*/ 156 w 920"/>
                  <a:gd name="T89" fmla="*/ 362 h 464"/>
                  <a:gd name="T90" fmla="*/ 212 w 920"/>
                  <a:gd name="T91" fmla="*/ 334 h 464"/>
                  <a:gd name="T92" fmla="*/ 246 w 920"/>
                  <a:gd name="T93" fmla="*/ 334 h 464"/>
                  <a:gd name="T94" fmla="*/ 301 w 920"/>
                  <a:gd name="T95" fmla="*/ 320 h 464"/>
                  <a:gd name="T96" fmla="*/ 343 w 920"/>
                  <a:gd name="T97" fmla="*/ 326 h 464"/>
                  <a:gd name="T98" fmla="*/ 377 w 920"/>
                  <a:gd name="T99" fmla="*/ 348 h 464"/>
                  <a:gd name="T100" fmla="*/ 383 w 920"/>
                  <a:gd name="T101" fmla="*/ 388 h 464"/>
                  <a:gd name="T102" fmla="*/ 411 w 920"/>
                  <a:gd name="T103" fmla="*/ 416 h 464"/>
                  <a:gd name="T104" fmla="*/ 431 w 920"/>
                  <a:gd name="T105" fmla="*/ 44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0" h="464">
                    <a:moveTo>
                      <a:pt x="439" y="458"/>
                    </a:moveTo>
                    <a:lnTo>
                      <a:pt x="445" y="450"/>
                    </a:lnTo>
                    <a:lnTo>
                      <a:pt x="453" y="458"/>
                    </a:lnTo>
                    <a:lnTo>
                      <a:pt x="459" y="464"/>
                    </a:lnTo>
                    <a:lnTo>
                      <a:pt x="465" y="464"/>
                    </a:lnTo>
                    <a:lnTo>
                      <a:pt x="465" y="444"/>
                    </a:lnTo>
                    <a:lnTo>
                      <a:pt x="473" y="430"/>
                    </a:lnTo>
                    <a:lnTo>
                      <a:pt x="479" y="430"/>
                    </a:lnTo>
                    <a:lnTo>
                      <a:pt x="485" y="436"/>
                    </a:lnTo>
                    <a:lnTo>
                      <a:pt x="499" y="430"/>
                    </a:lnTo>
                    <a:lnTo>
                      <a:pt x="513" y="416"/>
                    </a:lnTo>
                    <a:lnTo>
                      <a:pt x="521" y="416"/>
                    </a:lnTo>
                    <a:lnTo>
                      <a:pt x="521" y="422"/>
                    </a:lnTo>
                    <a:lnTo>
                      <a:pt x="527" y="422"/>
                    </a:lnTo>
                    <a:lnTo>
                      <a:pt x="527" y="410"/>
                    </a:lnTo>
                    <a:lnTo>
                      <a:pt x="527" y="402"/>
                    </a:lnTo>
                    <a:lnTo>
                      <a:pt x="527" y="388"/>
                    </a:lnTo>
                    <a:lnTo>
                      <a:pt x="535" y="402"/>
                    </a:lnTo>
                    <a:lnTo>
                      <a:pt x="541" y="410"/>
                    </a:lnTo>
                    <a:lnTo>
                      <a:pt x="541" y="416"/>
                    </a:lnTo>
                    <a:lnTo>
                      <a:pt x="549" y="430"/>
                    </a:lnTo>
                    <a:lnTo>
                      <a:pt x="535" y="430"/>
                    </a:lnTo>
                    <a:lnTo>
                      <a:pt x="535" y="436"/>
                    </a:lnTo>
                    <a:lnTo>
                      <a:pt x="535" y="444"/>
                    </a:lnTo>
                    <a:lnTo>
                      <a:pt x="535" y="450"/>
                    </a:lnTo>
                    <a:lnTo>
                      <a:pt x="549" y="458"/>
                    </a:lnTo>
                    <a:lnTo>
                      <a:pt x="561" y="464"/>
                    </a:lnTo>
                    <a:lnTo>
                      <a:pt x="583" y="450"/>
                    </a:lnTo>
                    <a:lnTo>
                      <a:pt x="595" y="444"/>
                    </a:lnTo>
                    <a:lnTo>
                      <a:pt x="603" y="444"/>
                    </a:lnTo>
                    <a:lnTo>
                      <a:pt x="609" y="436"/>
                    </a:lnTo>
                    <a:lnTo>
                      <a:pt x="617" y="458"/>
                    </a:lnTo>
                    <a:lnTo>
                      <a:pt x="623" y="450"/>
                    </a:lnTo>
                    <a:lnTo>
                      <a:pt x="631" y="436"/>
                    </a:lnTo>
                    <a:lnTo>
                      <a:pt x="631" y="430"/>
                    </a:lnTo>
                    <a:lnTo>
                      <a:pt x="637" y="430"/>
                    </a:lnTo>
                    <a:lnTo>
                      <a:pt x="645" y="436"/>
                    </a:lnTo>
                    <a:lnTo>
                      <a:pt x="651" y="430"/>
                    </a:lnTo>
                    <a:lnTo>
                      <a:pt x="657" y="430"/>
                    </a:lnTo>
                    <a:lnTo>
                      <a:pt x="679" y="430"/>
                    </a:lnTo>
                    <a:lnTo>
                      <a:pt x="679" y="436"/>
                    </a:lnTo>
                    <a:lnTo>
                      <a:pt x="685" y="436"/>
                    </a:lnTo>
                    <a:lnTo>
                      <a:pt x="685" y="430"/>
                    </a:lnTo>
                    <a:lnTo>
                      <a:pt x="691" y="430"/>
                    </a:lnTo>
                    <a:lnTo>
                      <a:pt x="697" y="410"/>
                    </a:lnTo>
                    <a:lnTo>
                      <a:pt x="711" y="402"/>
                    </a:lnTo>
                    <a:lnTo>
                      <a:pt x="711" y="416"/>
                    </a:lnTo>
                    <a:lnTo>
                      <a:pt x="719" y="416"/>
                    </a:lnTo>
                    <a:lnTo>
                      <a:pt x="739" y="394"/>
                    </a:lnTo>
                    <a:lnTo>
                      <a:pt x="753" y="388"/>
                    </a:lnTo>
                    <a:lnTo>
                      <a:pt x="759" y="382"/>
                    </a:lnTo>
                    <a:lnTo>
                      <a:pt x="767" y="374"/>
                    </a:lnTo>
                    <a:lnTo>
                      <a:pt x="773" y="374"/>
                    </a:lnTo>
                    <a:lnTo>
                      <a:pt x="787" y="382"/>
                    </a:lnTo>
                    <a:lnTo>
                      <a:pt x="795" y="374"/>
                    </a:lnTo>
                    <a:lnTo>
                      <a:pt x="787" y="368"/>
                    </a:lnTo>
                    <a:lnTo>
                      <a:pt x="801" y="362"/>
                    </a:lnTo>
                    <a:lnTo>
                      <a:pt x="807" y="348"/>
                    </a:lnTo>
                    <a:lnTo>
                      <a:pt x="815" y="340"/>
                    </a:lnTo>
                    <a:lnTo>
                      <a:pt x="821" y="340"/>
                    </a:lnTo>
                    <a:lnTo>
                      <a:pt x="829" y="334"/>
                    </a:lnTo>
                    <a:lnTo>
                      <a:pt x="829" y="326"/>
                    </a:lnTo>
                    <a:lnTo>
                      <a:pt x="835" y="334"/>
                    </a:lnTo>
                    <a:lnTo>
                      <a:pt x="841" y="334"/>
                    </a:lnTo>
                    <a:lnTo>
                      <a:pt x="843" y="326"/>
                    </a:lnTo>
                    <a:lnTo>
                      <a:pt x="843" y="294"/>
                    </a:lnTo>
                    <a:lnTo>
                      <a:pt x="863" y="286"/>
                    </a:lnTo>
                    <a:lnTo>
                      <a:pt x="871" y="266"/>
                    </a:lnTo>
                    <a:lnTo>
                      <a:pt x="877" y="260"/>
                    </a:lnTo>
                    <a:lnTo>
                      <a:pt x="898" y="260"/>
                    </a:lnTo>
                    <a:lnTo>
                      <a:pt x="912" y="260"/>
                    </a:lnTo>
                    <a:lnTo>
                      <a:pt x="920" y="238"/>
                    </a:lnTo>
                    <a:lnTo>
                      <a:pt x="920" y="218"/>
                    </a:lnTo>
                    <a:lnTo>
                      <a:pt x="906" y="196"/>
                    </a:lnTo>
                    <a:lnTo>
                      <a:pt x="898" y="196"/>
                    </a:lnTo>
                    <a:lnTo>
                      <a:pt x="898" y="190"/>
                    </a:lnTo>
                    <a:lnTo>
                      <a:pt x="906" y="184"/>
                    </a:lnTo>
                    <a:lnTo>
                      <a:pt x="912" y="176"/>
                    </a:lnTo>
                    <a:lnTo>
                      <a:pt x="912" y="170"/>
                    </a:lnTo>
                    <a:lnTo>
                      <a:pt x="898" y="170"/>
                    </a:lnTo>
                    <a:lnTo>
                      <a:pt x="892" y="164"/>
                    </a:lnTo>
                    <a:lnTo>
                      <a:pt x="898" y="156"/>
                    </a:lnTo>
                    <a:lnTo>
                      <a:pt x="912" y="150"/>
                    </a:lnTo>
                    <a:lnTo>
                      <a:pt x="920" y="144"/>
                    </a:lnTo>
                    <a:lnTo>
                      <a:pt x="920" y="122"/>
                    </a:lnTo>
                    <a:lnTo>
                      <a:pt x="912" y="122"/>
                    </a:lnTo>
                    <a:lnTo>
                      <a:pt x="906" y="130"/>
                    </a:lnTo>
                    <a:lnTo>
                      <a:pt x="892" y="130"/>
                    </a:lnTo>
                    <a:lnTo>
                      <a:pt x="877" y="122"/>
                    </a:lnTo>
                    <a:lnTo>
                      <a:pt x="863" y="122"/>
                    </a:lnTo>
                    <a:lnTo>
                      <a:pt x="863" y="130"/>
                    </a:lnTo>
                    <a:lnTo>
                      <a:pt x="857" y="122"/>
                    </a:lnTo>
                    <a:lnTo>
                      <a:pt x="857" y="116"/>
                    </a:lnTo>
                    <a:lnTo>
                      <a:pt x="851" y="116"/>
                    </a:lnTo>
                    <a:lnTo>
                      <a:pt x="837" y="116"/>
                    </a:lnTo>
                    <a:lnTo>
                      <a:pt x="837" y="122"/>
                    </a:lnTo>
                    <a:lnTo>
                      <a:pt x="823" y="122"/>
                    </a:lnTo>
                    <a:lnTo>
                      <a:pt x="823" y="116"/>
                    </a:lnTo>
                    <a:lnTo>
                      <a:pt x="809" y="122"/>
                    </a:lnTo>
                    <a:lnTo>
                      <a:pt x="801" y="116"/>
                    </a:lnTo>
                    <a:lnTo>
                      <a:pt x="795" y="108"/>
                    </a:lnTo>
                    <a:lnTo>
                      <a:pt x="795" y="116"/>
                    </a:lnTo>
                    <a:lnTo>
                      <a:pt x="781" y="122"/>
                    </a:lnTo>
                    <a:lnTo>
                      <a:pt x="761" y="108"/>
                    </a:lnTo>
                    <a:lnTo>
                      <a:pt x="755" y="102"/>
                    </a:lnTo>
                    <a:lnTo>
                      <a:pt x="755" y="96"/>
                    </a:lnTo>
                    <a:lnTo>
                      <a:pt x="741" y="96"/>
                    </a:lnTo>
                    <a:lnTo>
                      <a:pt x="727" y="108"/>
                    </a:lnTo>
                    <a:lnTo>
                      <a:pt x="721" y="116"/>
                    </a:lnTo>
                    <a:lnTo>
                      <a:pt x="713" y="116"/>
                    </a:lnTo>
                    <a:lnTo>
                      <a:pt x="707" y="108"/>
                    </a:lnTo>
                    <a:lnTo>
                      <a:pt x="699" y="116"/>
                    </a:lnTo>
                    <a:lnTo>
                      <a:pt x="693" y="108"/>
                    </a:lnTo>
                    <a:lnTo>
                      <a:pt x="685" y="108"/>
                    </a:lnTo>
                    <a:lnTo>
                      <a:pt x="673" y="108"/>
                    </a:lnTo>
                    <a:lnTo>
                      <a:pt x="665" y="108"/>
                    </a:lnTo>
                    <a:lnTo>
                      <a:pt x="665" y="102"/>
                    </a:lnTo>
                    <a:lnTo>
                      <a:pt x="657" y="82"/>
                    </a:lnTo>
                    <a:lnTo>
                      <a:pt x="657" y="76"/>
                    </a:lnTo>
                    <a:lnTo>
                      <a:pt x="645" y="76"/>
                    </a:lnTo>
                    <a:lnTo>
                      <a:pt x="637" y="62"/>
                    </a:lnTo>
                    <a:lnTo>
                      <a:pt x="637" y="54"/>
                    </a:lnTo>
                    <a:lnTo>
                      <a:pt x="631" y="54"/>
                    </a:lnTo>
                    <a:lnTo>
                      <a:pt x="623" y="62"/>
                    </a:lnTo>
                    <a:lnTo>
                      <a:pt x="603" y="62"/>
                    </a:lnTo>
                    <a:lnTo>
                      <a:pt x="589" y="62"/>
                    </a:lnTo>
                    <a:lnTo>
                      <a:pt x="589" y="54"/>
                    </a:lnTo>
                    <a:lnTo>
                      <a:pt x="589" y="40"/>
                    </a:lnTo>
                    <a:lnTo>
                      <a:pt x="589" y="26"/>
                    </a:lnTo>
                    <a:lnTo>
                      <a:pt x="583" y="20"/>
                    </a:lnTo>
                    <a:lnTo>
                      <a:pt x="575" y="8"/>
                    </a:lnTo>
                    <a:lnTo>
                      <a:pt x="569" y="0"/>
                    </a:lnTo>
                    <a:lnTo>
                      <a:pt x="561" y="0"/>
                    </a:lnTo>
                    <a:lnTo>
                      <a:pt x="549" y="8"/>
                    </a:lnTo>
                    <a:lnTo>
                      <a:pt x="535" y="0"/>
                    </a:lnTo>
                    <a:lnTo>
                      <a:pt x="529" y="0"/>
                    </a:lnTo>
                    <a:lnTo>
                      <a:pt x="521" y="8"/>
                    </a:lnTo>
                    <a:lnTo>
                      <a:pt x="515" y="8"/>
                    </a:lnTo>
                    <a:lnTo>
                      <a:pt x="501" y="14"/>
                    </a:lnTo>
                    <a:lnTo>
                      <a:pt x="493" y="8"/>
                    </a:lnTo>
                    <a:lnTo>
                      <a:pt x="481" y="14"/>
                    </a:lnTo>
                    <a:lnTo>
                      <a:pt x="481" y="20"/>
                    </a:lnTo>
                    <a:lnTo>
                      <a:pt x="481" y="14"/>
                    </a:lnTo>
                    <a:lnTo>
                      <a:pt x="481" y="26"/>
                    </a:lnTo>
                    <a:lnTo>
                      <a:pt x="467" y="26"/>
                    </a:lnTo>
                    <a:lnTo>
                      <a:pt x="459" y="26"/>
                    </a:lnTo>
                    <a:lnTo>
                      <a:pt x="453" y="26"/>
                    </a:lnTo>
                    <a:lnTo>
                      <a:pt x="445" y="22"/>
                    </a:lnTo>
                    <a:lnTo>
                      <a:pt x="433" y="22"/>
                    </a:lnTo>
                    <a:lnTo>
                      <a:pt x="425" y="22"/>
                    </a:lnTo>
                    <a:lnTo>
                      <a:pt x="415" y="34"/>
                    </a:lnTo>
                    <a:lnTo>
                      <a:pt x="415" y="46"/>
                    </a:lnTo>
                    <a:lnTo>
                      <a:pt x="409" y="62"/>
                    </a:lnTo>
                    <a:lnTo>
                      <a:pt x="417" y="76"/>
                    </a:lnTo>
                    <a:lnTo>
                      <a:pt x="415" y="82"/>
                    </a:lnTo>
                    <a:lnTo>
                      <a:pt x="415" y="96"/>
                    </a:lnTo>
                    <a:lnTo>
                      <a:pt x="411" y="96"/>
                    </a:lnTo>
                    <a:lnTo>
                      <a:pt x="397" y="82"/>
                    </a:lnTo>
                    <a:lnTo>
                      <a:pt x="391" y="82"/>
                    </a:lnTo>
                    <a:lnTo>
                      <a:pt x="385" y="88"/>
                    </a:lnTo>
                    <a:lnTo>
                      <a:pt x="363" y="82"/>
                    </a:lnTo>
                    <a:lnTo>
                      <a:pt x="357" y="82"/>
                    </a:lnTo>
                    <a:lnTo>
                      <a:pt x="349" y="88"/>
                    </a:lnTo>
                    <a:lnTo>
                      <a:pt x="347" y="96"/>
                    </a:lnTo>
                    <a:lnTo>
                      <a:pt x="343" y="102"/>
                    </a:lnTo>
                    <a:lnTo>
                      <a:pt x="335" y="84"/>
                    </a:lnTo>
                    <a:lnTo>
                      <a:pt x="329" y="82"/>
                    </a:lnTo>
                    <a:lnTo>
                      <a:pt x="321" y="96"/>
                    </a:lnTo>
                    <a:lnTo>
                      <a:pt x="317" y="88"/>
                    </a:lnTo>
                    <a:lnTo>
                      <a:pt x="309" y="82"/>
                    </a:lnTo>
                    <a:lnTo>
                      <a:pt x="295" y="82"/>
                    </a:lnTo>
                    <a:lnTo>
                      <a:pt x="289" y="88"/>
                    </a:lnTo>
                    <a:lnTo>
                      <a:pt x="267" y="88"/>
                    </a:lnTo>
                    <a:lnTo>
                      <a:pt x="260" y="82"/>
                    </a:lnTo>
                    <a:lnTo>
                      <a:pt x="252" y="82"/>
                    </a:lnTo>
                    <a:lnTo>
                      <a:pt x="226" y="76"/>
                    </a:lnTo>
                    <a:lnTo>
                      <a:pt x="212" y="68"/>
                    </a:lnTo>
                    <a:lnTo>
                      <a:pt x="192" y="62"/>
                    </a:lnTo>
                    <a:lnTo>
                      <a:pt x="172" y="62"/>
                    </a:lnTo>
                    <a:lnTo>
                      <a:pt x="150" y="68"/>
                    </a:lnTo>
                    <a:lnTo>
                      <a:pt x="138" y="68"/>
                    </a:lnTo>
                    <a:lnTo>
                      <a:pt x="124" y="66"/>
                    </a:lnTo>
                    <a:lnTo>
                      <a:pt x="112" y="74"/>
                    </a:lnTo>
                    <a:lnTo>
                      <a:pt x="108" y="82"/>
                    </a:lnTo>
                    <a:lnTo>
                      <a:pt x="102" y="88"/>
                    </a:lnTo>
                    <a:lnTo>
                      <a:pt x="96" y="96"/>
                    </a:lnTo>
                    <a:lnTo>
                      <a:pt x="90" y="88"/>
                    </a:lnTo>
                    <a:lnTo>
                      <a:pt x="80" y="88"/>
                    </a:lnTo>
                    <a:lnTo>
                      <a:pt x="76" y="102"/>
                    </a:lnTo>
                    <a:lnTo>
                      <a:pt x="78" y="104"/>
                    </a:lnTo>
                    <a:lnTo>
                      <a:pt x="74" y="108"/>
                    </a:lnTo>
                    <a:lnTo>
                      <a:pt x="68" y="116"/>
                    </a:lnTo>
                    <a:lnTo>
                      <a:pt x="74" y="122"/>
                    </a:lnTo>
                    <a:lnTo>
                      <a:pt x="88" y="136"/>
                    </a:lnTo>
                    <a:lnTo>
                      <a:pt x="96" y="144"/>
                    </a:lnTo>
                    <a:lnTo>
                      <a:pt x="88" y="150"/>
                    </a:lnTo>
                    <a:lnTo>
                      <a:pt x="88" y="156"/>
                    </a:lnTo>
                    <a:lnTo>
                      <a:pt x="96" y="164"/>
                    </a:lnTo>
                    <a:lnTo>
                      <a:pt x="96" y="176"/>
                    </a:lnTo>
                    <a:lnTo>
                      <a:pt x="96" y="184"/>
                    </a:lnTo>
                    <a:lnTo>
                      <a:pt x="88" y="184"/>
                    </a:lnTo>
                    <a:lnTo>
                      <a:pt x="82" y="184"/>
                    </a:lnTo>
                    <a:lnTo>
                      <a:pt x="74" y="196"/>
                    </a:lnTo>
                    <a:lnTo>
                      <a:pt x="62" y="204"/>
                    </a:lnTo>
                    <a:lnTo>
                      <a:pt x="42" y="224"/>
                    </a:lnTo>
                    <a:lnTo>
                      <a:pt x="34" y="232"/>
                    </a:lnTo>
                    <a:lnTo>
                      <a:pt x="28" y="246"/>
                    </a:lnTo>
                    <a:lnTo>
                      <a:pt x="34" y="266"/>
                    </a:lnTo>
                    <a:lnTo>
                      <a:pt x="34" y="280"/>
                    </a:lnTo>
                    <a:lnTo>
                      <a:pt x="28" y="280"/>
                    </a:lnTo>
                    <a:lnTo>
                      <a:pt x="20" y="280"/>
                    </a:lnTo>
                    <a:lnTo>
                      <a:pt x="8" y="300"/>
                    </a:lnTo>
                    <a:lnTo>
                      <a:pt x="0" y="320"/>
                    </a:lnTo>
                    <a:lnTo>
                      <a:pt x="0" y="334"/>
                    </a:lnTo>
                    <a:lnTo>
                      <a:pt x="14" y="348"/>
                    </a:lnTo>
                    <a:lnTo>
                      <a:pt x="28" y="354"/>
                    </a:lnTo>
                    <a:lnTo>
                      <a:pt x="42" y="354"/>
                    </a:lnTo>
                    <a:lnTo>
                      <a:pt x="68" y="354"/>
                    </a:lnTo>
                    <a:lnTo>
                      <a:pt x="82" y="362"/>
                    </a:lnTo>
                    <a:lnTo>
                      <a:pt x="96" y="368"/>
                    </a:lnTo>
                    <a:lnTo>
                      <a:pt x="116" y="362"/>
                    </a:lnTo>
                    <a:lnTo>
                      <a:pt x="122" y="354"/>
                    </a:lnTo>
                    <a:lnTo>
                      <a:pt x="136" y="362"/>
                    </a:lnTo>
                    <a:lnTo>
                      <a:pt x="144" y="368"/>
                    </a:lnTo>
                    <a:lnTo>
                      <a:pt x="156" y="362"/>
                    </a:lnTo>
                    <a:lnTo>
                      <a:pt x="172" y="348"/>
                    </a:lnTo>
                    <a:lnTo>
                      <a:pt x="184" y="348"/>
                    </a:lnTo>
                    <a:lnTo>
                      <a:pt x="198" y="348"/>
                    </a:lnTo>
                    <a:lnTo>
                      <a:pt x="204" y="348"/>
                    </a:lnTo>
                    <a:lnTo>
                      <a:pt x="212" y="334"/>
                    </a:lnTo>
                    <a:lnTo>
                      <a:pt x="220" y="334"/>
                    </a:lnTo>
                    <a:lnTo>
                      <a:pt x="232" y="334"/>
                    </a:lnTo>
                    <a:lnTo>
                      <a:pt x="232" y="326"/>
                    </a:lnTo>
                    <a:lnTo>
                      <a:pt x="240" y="334"/>
                    </a:lnTo>
                    <a:lnTo>
                      <a:pt x="246" y="334"/>
                    </a:lnTo>
                    <a:lnTo>
                      <a:pt x="267" y="326"/>
                    </a:lnTo>
                    <a:lnTo>
                      <a:pt x="275" y="320"/>
                    </a:lnTo>
                    <a:lnTo>
                      <a:pt x="281" y="314"/>
                    </a:lnTo>
                    <a:lnTo>
                      <a:pt x="301" y="314"/>
                    </a:lnTo>
                    <a:lnTo>
                      <a:pt x="301" y="320"/>
                    </a:lnTo>
                    <a:lnTo>
                      <a:pt x="315" y="320"/>
                    </a:lnTo>
                    <a:lnTo>
                      <a:pt x="323" y="326"/>
                    </a:lnTo>
                    <a:lnTo>
                      <a:pt x="329" y="334"/>
                    </a:lnTo>
                    <a:lnTo>
                      <a:pt x="335" y="326"/>
                    </a:lnTo>
                    <a:lnTo>
                      <a:pt x="343" y="326"/>
                    </a:lnTo>
                    <a:lnTo>
                      <a:pt x="349" y="334"/>
                    </a:lnTo>
                    <a:lnTo>
                      <a:pt x="363" y="340"/>
                    </a:lnTo>
                    <a:lnTo>
                      <a:pt x="363" y="334"/>
                    </a:lnTo>
                    <a:lnTo>
                      <a:pt x="377" y="340"/>
                    </a:lnTo>
                    <a:lnTo>
                      <a:pt x="377" y="348"/>
                    </a:lnTo>
                    <a:lnTo>
                      <a:pt x="377" y="354"/>
                    </a:lnTo>
                    <a:lnTo>
                      <a:pt x="383" y="354"/>
                    </a:lnTo>
                    <a:lnTo>
                      <a:pt x="383" y="368"/>
                    </a:lnTo>
                    <a:lnTo>
                      <a:pt x="383" y="382"/>
                    </a:lnTo>
                    <a:lnTo>
                      <a:pt x="383" y="388"/>
                    </a:lnTo>
                    <a:lnTo>
                      <a:pt x="391" y="388"/>
                    </a:lnTo>
                    <a:lnTo>
                      <a:pt x="397" y="388"/>
                    </a:lnTo>
                    <a:lnTo>
                      <a:pt x="405" y="402"/>
                    </a:lnTo>
                    <a:lnTo>
                      <a:pt x="405" y="416"/>
                    </a:lnTo>
                    <a:lnTo>
                      <a:pt x="411" y="416"/>
                    </a:lnTo>
                    <a:lnTo>
                      <a:pt x="419" y="416"/>
                    </a:lnTo>
                    <a:lnTo>
                      <a:pt x="419" y="422"/>
                    </a:lnTo>
                    <a:lnTo>
                      <a:pt x="419" y="430"/>
                    </a:lnTo>
                    <a:lnTo>
                      <a:pt x="425" y="436"/>
                    </a:lnTo>
                    <a:lnTo>
                      <a:pt x="431" y="444"/>
                    </a:lnTo>
                    <a:lnTo>
                      <a:pt x="439" y="450"/>
                    </a:lnTo>
                    <a:lnTo>
                      <a:pt x="439" y="458"/>
                    </a:lnTo>
                    <a:lnTo>
                      <a:pt x="439" y="458"/>
                    </a:lnTo>
                    <a:lnTo>
                      <a:pt x="439" y="458"/>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5" name="Freeform 19"/>
              <p:cNvSpPr>
                <a:spLocks/>
              </p:cNvSpPr>
              <p:nvPr/>
            </p:nvSpPr>
            <p:spPr bwMode="gray">
              <a:xfrm>
                <a:off x="5840154" y="3435211"/>
                <a:ext cx="347740" cy="368382"/>
              </a:xfrm>
              <a:custGeom>
                <a:avLst/>
                <a:gdLst>
                  <a:gd name="T0" fmla="*/ 6 w 219"/>
                  <a:gd name="T1" fmla="*/ 34 h 232"/>
                  <a:gd name="T2" fmla="*/ 12 w 219"/>
                  <a:gd name="T3" fmla="*/ 54 h 232"/>
                  <a:gd name="T4" fmla="*/ 27 w 219"/>
                  <a:gd name="T5" fmla="*/ 68 h 232"/>
                  <a:gd name="T6" fmla="*/ 47 w 219"/>
                  <a:gd name="T7" fmla="*/ 76 h 232"/>
                  <a:gd name="T8" fmla="*/ 55 w 219"/>
                  <a:gd name="T9" fmla="*/ 90 h 232"/>
                  <a:gd name="T10" fmla="*/ 75 w 219"/>
                  <a:gd name="T11" fmla="*/ 96 h 232"/>
                  <a:gd name="T12" fmla="*/ 83 w 219"/>
                  <a:gd name="T13" fmla="*/ 116 h 232"/>
                  <a:gd name="T14" fmla="*/ 89 w 219"/>
                  <a:gd name="T15" fmla="*/ 144 h 232"/>
                  <a:gd name="T16" fmla="*/ 83 w 219"/>
                  <a:gd name="T17" fmla="*/ 164 h 232"/>
                  <a:gd name="T18" fmla="*/ 89 w 219"/>
                  <a:gd name="T19" fmla="*/ 178 h 232"/>
                  <a:gd name="T20" fmla="*/ 83 w 219"/>
                  <a:gd name="T21" fmla="*/ 192 h 232"/>
                  <a:gd name="T22" fmla="*/ 83 w 219"/>
                  <a:gd name="T23" fmla="*/ 218 h 232"/>
                  <a:gd name="T24" fmla="*/ 95 w 219"/>
                  <a:gd name="T25" fmla="*/ 226 h 232"/>
                  <a:gd name="T26" fmla="*/ 109 w 219"/>
                  <a:gd name="T27" fmla="*/ 232 h 232"/>
                  <a:gd name="T28" fmla="*/ 131 w 219"/>
                  <a:gd name="T29" fmla="*/ 232 h 232"/>
                  <a:gd name="T30" fmla="*/ 145 w 219"/>
                  <a:gd name="T31" fmla="*/ 218 h 232"/>
                  <a:gd name="T32" fmla="*/ 157 w 219"/>
                  <a:gd name="T33" fmla="*/ 218 h 232"/>
                  <a:gd name="T34" fmla="*/ 165 w 219"/>
                  <a:gd name="T35" fmla="*/ 226 h 232"/>
                  <a:gd name="T36" fmla="*/ 173 w 219"/>
                  <a:gd name="T37" fmla="*/ 212 h 232"/>
                  <a:gd name="T38" fmla="*/ 165 w 219"/>
                  <a:gd name="T39" fmla="*/ 198 h 232"/>
                  <a:gd name="T40" fmla="*/ 173 w 219"/>
                  <a:gd name="T41" fmla="*/ 184 h 232"/>
                  <a:gd name="T42" fmla="*/ 179 w 219"/>
                  <a:gd name="T43" fmla="*/ 192 h 232"/>
                  <a:gd name="T44" fmla="*/ 199 w 219"/>
                  <a:gd name="T45" fmla="*/ 184 h 232"/>
                  <a:gd name="T46" fmla="*/ 213 w 219"/>
                  <a:gd name="T47" fmla="*/ 178 h 232"/>
                  <a:gd name="T48" fmla="*/ 219 w 219"/>
                  <a:gd name="T49" fmla="*/ 164 h 232"/>
                  <a:gd name="T50" fmla="*/ 205 w 219"/>
                  <a:gd name="T51" fmla="*/ 156 h 232"/>
                  <a:gd name="T52" fmla="*/ 193 w 219"/>
                  <a:gd name="T53" fmla="*/ 144 h 232"/>
                  <a:gd name="T54" fmla="*/ 199 w 219"/>
                  <a:gd name="T55" fmla="*/ 138 h 232"/>
                  <a:gd name="T56" fmla="*/ 187 w 219"/>
                  <a:gd name="T57" fmla="*/ 124 h 232"/>
                  <a:gd name="T58" fmla="*/ 179 w 219"/>
                  <a:gd name="T59" fmla="*/ 110 h 232"/>
                  <a:gd name="T60" fmla="*/ 173 w 219"/>
                  <a:gd name="T61" fmla="*/ 104 h 232"/>
                  <a:gd name="T62" fmla="*/ 165 w 219"/>
                  <a:gd name="T63" fmla="*/ 90 h 232"/>
                  <a:gd name="T64" fmla="*/ 151 w 219"/>
                  <a:gd name="T65" fmla="*/ 76 h 232"/>
                  <a:gd name="T66" fmla="*/ 145 w 219"/>
                  <a:gd name="T67" fmla="*/ 68 h 232"/>
                  <a:gd name="T68" fmla="*/ 145 w 219"/>
                  <a:gd name="T69" fmla="*/ 42 h 232"/>
                  <a:gd name="T70" fmla="*/ 139 w 219"/>
                  <a:gd name="T71" fmla="*/ 34 h 232"/>
                  <a:gd name="T72" fmla="*/ 123 w 219"/>
                  <a:gd name="T73" fmla="*/ 20 h 232"/>
                  <a:gd name="T74" fmla="*/ 111 w 219"/>
                  <a:gd name="T75" fmla="*/ 20 h 232"/>
                  <a:gd name="T76" fmla="*/ 97 w 219"/>
                  <a:gd name="T77" fmla="*/ 14 h 232"/>
                  <a:gd name="T78" fmla="*/ 83 w 219"/>
                  <a:gd name="T79" fmla="*/ 14 h 232"/>
                  <a:gd name="T80" fmla="*/ 63 w 219"/>
                  <a:gd name="T81" fmla="*/ 6 h 232"/>
                  <a:gd name="T82" fmla="*/ 43 w 219"/>
                  <a:gd name="T83" fmla="*/ 0 h 232"/>
                  <a:gd name="T84" fmla="*/ 29 w 219"/>
                  <a:gd name="T85" fmla="*/ 14 h 232"/>
                  <a:gd name="T86" fmla="*/ 0 w 219"/>
                  <a:gd name="T87" fmla="*/ 20 h 232"/>
                  <a:gd name="T88" fmla="*/ 0 w 219"/>
                  <a:gd name="T89" fmla="*/ 2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9" h="232">
                    <a:moveTo>
                      <a:pt x="0" y="20"/>
                    </a:moveTo>
                    <a:lnTo>
                      <a:pt x="6" y="34"/>
                    </a:lnTo>
                    <a:lnTo>
                      <a:pt x="12" y="34"/>
                    </a:lnTo>
                    <a:lnTo>
                      <a:pt x="12" y="54"/>
                    </a:lnTo>
                    <a:lnTo>
                      <a:pt x="20" y="62"/>
                    </a:lnTo>
                    <a:lnTo>
                      <a:pt x="27" y="68"/>
                    </a:lnTo>
                    <a:lnTo>
                      <a:pt x="41" y="76"/>
                    </a:lnTo>
                    <a:lnTo>
                      <a:pt x="47" y="76"/>
                    </a:lnTo>
                    <a:lnTo>
                      <a:pt x="47" y="82"/>
                    </a:lnTo>
                    <a:lnTo>
                      <a:pt x="55" y="90"/>
                    </a:lnTo>
                    <a:lnTo>
                      <a:pt x="61" y="90"/>
                    </a:lnTo>
                    <a:lnTo>
                      <a:pt x="75" y="96"/>
                    </a:lnTo>
                    <a:lnTo>
                      <a:pt x="75" y="104"/>
                    </a:lnTo>
                    <a:lnTo>
                      <a:pt x="83" y="116"/>
                    </a:lnTo>
                    <a:lnTo>
                      <a:pt x="83" y="130"/>
                    </a:lnTo>
                    <a:lnTo>
                      <a:pt x="89" y="144"/>
                    </a:lnTo>
                    <a:lnTo>
                      <a:pt x="89" y="156"/>
                    </a:lnTo>
                    <a:lnTo>
                      <a:pt x="83" y="164"/>
                    </a:lnTo>
                    <a:lnTo>
                      <a:pt x="83" y="170"/>
                    </a:lnTo>
                    <a:lnTo>
                      <a:pt x="89" y="178"/>
                    </a:lnTo>
                    <a:lnTo>
                      <a:pt x="83" y="184"/>
                    </a:lnTo>
                    <a:lnTo>
                      <a:pt x="83" y="192"/>
                    </a:lnTo>
                    <a:lnTo>
                      <a:pt x="83" y="206"/>
                    </a:lnTo>
                    <a:lnTo>
                      <a:pt x="83" y="218"/>
                    </a:lnTo>
                    <a:lnTo>
                      <a:pt x="83" y="226"/>
                    </a:lnTo>
                    <a:lnTo>
                      <a:pt x="95" y="226"/>
                    </a:lnTo>
                    <a:lnTo>
                      <a:pt x="103" y="232"/>
                    </a:lnTo>
                    <a:lnTo>
                      <a:pt x="109" y="232"/>
                    </a:lnTo>
                    <a:lnTo>
                      <a:pt x="117" y="232"/>
                    </a:lnTo>
                    <a:lnTo>
                      <a:pt x="131" y="232"/>
                    </a:lnTo>
                    <a:lnTo>
                      <a:pt x="139" y="226"/>
                    </a:lnTo>
                    <a:lnTo>
                      <a:pt x="145" y="218"/>
                    </a:lnTo>
                    <a:lnTo>
                      <a:pt x="151" y="212"/>
                    </a:lnTo>
                    <a:lnTo>
                      <a:pt x="157" y="218"/>
                    </a:lnTo>
                    <a:lnTo>
                      <a:pt x="165" y="218"/>
                    </a:lnTo>
                    <a:lnTo>
                      <a:pt x="165" y="226"/>
                    </a:lnTo>
                    <a:lnTo>
                      <a:pt x="173" y="226"/>
                    </a:lnTo>
                    <a:lnTo>
                      <a:pt x="173" y="212"/>
                    </a:lnTo>
                    <a:lnTo>
                      <a:pt x="173" y="206"/>
                    </a:lnTo>
                    <a:lnTo>
                      <a:pt x="165" y="198"/>
                    </a:lnTo>
                    <a:lnTo>
                      <a:pt x="165" y="192"/>
                    </a:lnTo>
                    <a:lnTo>
                      <a:pt x="173" y="184"/>
                    </a:lnTo>
                    <a:lnTo>
                      <a:pt x="179" y="184"/>
                    </a:lnTo>
                    <a:lnTo>
                      <a:pt x="179" y="192"/>
                    </a:lnTo>
                    <a:lnTo>
                      <a:pt x="185" y="184"/>
                    </a:lnTo>
                    <a:lnTo>
                      <a:pt x="199" y="184"/>
                    </a:lnTo>
                    <a:lnTo>
                      <a:pt x="205" y="178"/>
                    </a:lnTo>
                    <a:lnTo>
                      <a:pt x="213" y="178"/>
                    </a:lnTo>
                    <a:lnTo>
                      <a:pt x="219" y="178"/>
                    </a:lnTo>
                    <a:lnTo>
                      <a:pt x="219" y="164"/>
                    </a:lnTo>
                    <a:lnTo>
                      <a:pt x="213" y="156"/>
                    </a:lnTo>
                    <a:lnTo>
                      <a:pt x="205" y="156"/>
                    </a:lnTo>
                    <a:lnTo>
                      <a:pt x="193" y="150"/>
                    </a:lnTo>
                    <a:lnTo>
                      <a:pt x="193" y="144"/>
                    </a:lnTo>
                    <a:lnTo>
                      <a:pt x="199" y="144"/>
                    </a:lnTo>
                    <a:lnTo>
                      <a:pt x="199" y="138"/>
                    </a:lnTo>
                    <a:lnTo>
                      <a:pt x="193" y="130"/>
                    </a:lnTo>
                    <a:lnTo>
                      <a:pt x="187" y="124"/>
                    </a:lnTo>
                    <a:lnTo>
                      <a:pt x="179" y="116"/>
                    </a:lnTo>
                    <a:lnTo>
                      <a:pt x="179" y="110"/>
                    </a:lnTo>
                    <a:lnTo>
                      <a:pt x="179" y="104"/>
                    </a:lnTo>
                    <a:lnTo>
                      <a:pt x="173" y="104"/>
                    </a:lnTo>
                    <a:lnTo>
                      <a:pt x="165" y="104"/>
                    </a:lnTo>
                    <a:lnTo>
                      <a:pt x="165" y="90"/>
                    </a:lnTo>
                    <a:lnTo>
                      <a:pt x="159" y="76"/>
                    </a:lnTo>
                    <a:lnTo>
                      <a:pt x="151" y="76"/>
                    </a:lnTo>
                    <a:lnTo>
                      <a:pt x="145" y="76"/>
                    </a:lnTo>
                    <a:lnTo>
                      <a:pt x="145" y="68"/>
                    </a:lnTo>
                    <a:lnTo>
                      <a:pt x="145" y="54"/>
                    </a:lnTo>
                    <a:lnTo>
                      <a:pt x="145" y="42"/>
                    </a:lnTo>
                    <a:lnTo>
                      <a:pt x="139" y="42"/>
                    </a:lnTo>
                    <a:lnTo>
                      <a:pt x="139" y="34"/>
                    </a:lnTo>
                    <a:lnTo>
                      <a:pt x="139" y="28"/>
                    </a:lnTo>
                    <a:lnTo>
                      <a:pt x="123" y="20"/>
                    </a:lnTo>
                    <a:lnTo>
                      <a:pt x="123" y="28"/>
                    </a:lnTo>
                    <a:lnTo>
                      <a:pt x="111" y="20"/>
                    </a:lnTo>
                    <a:lnTo>
                      <a:pt x="105" y="14"/>
                    </a:lnTo>
                    <a:lnTo>
                      <a:pt x="97" y="14"/>
                    </a:lnTo>
                    <a:lnTo>
                      <a:pt x="91" y="20"/>
                    </a:lnTo>
                    <a:lnTo>
                      <a:pt x="83" y="14"/>
                    </a:lnTo>
                    <a:lnTo>
                      <a:pt x="77" y="6"/>
                    </a:lnTo>
                    <a:lnTo>
                      <a:pt x="63" y="6"/>
                    </a:lnTo>
                    <a:lnTo>
                      <a:pt x="63" y="0"/>
                    </a:lnTo>
                    <a:lnTo>
                      <a:pt x="43" y="0"/>
                    </a:lnTo>
                    <a:lnTo>
                      <a:pt x="35" y="6"/>
                    </a:lnTo>
                    <a:lnTo>
                      <a:pt x="29" y="14"/>
                    </a:lnTo>
                    <a:lnTo>
                      <a:pt x="8" y="20"/>
                    </a:lnTo>
                    <a:lnTo>
                      <a:pt x="0" y="20"/>
                    </a:lnTo>
                    <a:lnTo>
                      <a:pt x="0" y="20"/>
                    </a:lnTo>
                    <a:lnTo>
                      <a:pt x="0" y="2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6" name="Freeform 20"/>
              <p:cNvSpPr>
                <a:spLocks/>
              </p:cNvSpPr>
              <p:nvPr/>
            </p:nvSpPr>
            <p:spPr bwMode="gray">
              <a:xfrm>
                <a:off x="7046922" y="3790890"/>
                <a:ext cx="666898" cy="238178"/>
              </a:xfrm>
              <a:custGeom>
                <a:avLst/>
                <a:gdLst>
                  <a:gd name="T0" fmla="*/ 226 w 420"/>
                  <a:gd name="T1" fmla="*/ 150 h 150"/>
                  <a:gd name="T2" fmla="*/ 220 w 420"/>
                  <a:gd name="T3" fmla="*/ 144 h 150"/>
                  <a:gd name="T4" fmla="*/ 212 w 420"/>
                  <a:gd name="T5" fmla="*/ 138 h 150"/>
                  <a:gd name="T6" fmla="*/ 192 w 420"/>
                  <a:gd name="T7" fmla="*/ 138 h 150"/>
                  <a:gd name="T8" fmla="*/ 178 w 420"/>
                  <a:gd name="T9" fmla="*/ 144 h 150"/>
                  <a:gd name="T10" fmla="*/ 144 w 420"/>
                  <a:gd name="T11" fmla="*/ 144 h 150"/>
                  <a:gd name="T12" fmla="*/ 138 w 420"/>
                  <a:gd name="T13" fmla="*/ 150 h 150"/>
                  <a:gd name="T14" fmla="*/ 130 w 420"/>
                  <a:gd name="T15" fmla="*/ 144 h 150"/>
                  <a:gd name="T16" fmla="*/ 138 w 420"/>
                  <a:gd name="T17" fmla="*/ 124 h 150"/>
                  <a:gd name="T18" fmla="*/ 144 w 420"/>
                  <a:gd name="T19" fmla="*/ 116 h 150"/>
                  <a:gd name="T20" fmla="*/ 124 w 420"/>
                  <a:gd name="T21" fmla="*/ 96 h 150"/>
                  <a:gd name="T22" fmla="*/ 110 w 420"/>
                  <a:gd name="T23" fmla="*/ 76 h 150"/>
                  <a:gd name="T24" fmla="*/ 104 w 420"/>
                  <a:gd name="T25" fmla="*/ 62 h 150"/>
                  <a:gd name="T26" fmla="*/ 84 w 420"/>
                  <a:gd name="T27" fmla="*/ 62 h 150"/>
                  <a:gd name="T28" fmla="*/ 68 w 420"/>
                  <a:gd name="T29" fmla="*/ 48 h 150"/>
                  <a:gd name="T30" fmla="*/ 54 w 420"/>
                  <a:gd name="T31" fmla="*/ 42 h 150"/>
                  <a:gd name="T32" fmla="*/ 42 w 420"/>
                  <a:gd name="T33" fmla="*/ 48 h 150"/>
                  <a:gd name="T34" fmla="*/ 28 w 420"/>
                  <a:gd name="T35" fmla="*/ 42 h 150"/>
                  <a:gd name="T36" fmla="*/ 0 w 420"/>
                  <a:gd name="T37" fmla="*/ 36 h 150"/>
                  <a:gd name="T38" fmla="*/ 8 w 420"/>
                  <a:gd name="T39" fmla="*/ 22 h 150"/>
                  <a:gd name="T40" fmla="*/ 28 w 420"/>
                  <a:gd name="T41" fmla="*/ 22 h 150"/>
                  <a:gd name="T42" fmla="*/ 42 w 420"/>
                  <a:gd name="T43" fmla="*/ 0 h 150"/>
                  <a:gd name="T44" fmla="*/ 70 w 420"/>
                  <a:gd name="T45" fmla="*/ 14 h 150"/>
                  <a:gd name="T46" fmla="*/ 104 w 420"/>
                  <a:gd name="T47" fmla="*/ 14 h 150"/>
                  <a:gd name="T48" fmla="*/ 118 w 420"/>
                  <a:gd name="T49" fmla="*/ 22 h 150"/>
                  <a:gd name="T50" fmla="*/ 144 w 420"/>
                  <a:gd name="T51" fmla="*/ 22 h 150"/>
                  <a:gd name="T52" fmla="*/ 172 w 420"/>
                  <a:gd name="T53" fmla="*/ 14 h 150"/>
                  <a:gd name="T54" fmla="*/ 200 w 420"/>
                  <a:gd name="T55" fmla="*/ 22 h 150"/>
                  <a:gd name="T56" fmla="*/ 220 w 420"/>
                  <a:gd name="T57" fmla="*/ 22 h 150"/>
                  <a:gd name="T58" fmla="*/ 220 w 420"/>
                  <a:gd name="T59" fmla="*/ 36 h 150"/>
                  <a:gd name="T60" fmla="*/ 248 w 420"/>
                  <a:gd name="T61" fmla="*/ 36 h 150"/>
                  <a:gd name="T62" fmla="*/ 268 w 420"/>
                  <a:gd name="T63" fmla="*/ 22 h 150"/>
                  <a:gd name="T64" fmla="*/ 288 w 420"/>
                  <a:gd name="T65" fmla="*/ 28 h 150"/>
                  <a:gd name="T66" fmla="*/ 296 w 420"/>
                  <a:gd name="T67" fmla="*/ 14 h 150"/>
                  <a:gd name="T68" fmla="*/ 308 w 420"/>
                  <a:gd name="T69" fmla="*/ 14 h 150"/>
                  <a:gd name="T70" fmla="*/ 324 w 420"/>
                  <a:gd name="T71" fmla="*/ 22 h 150"/>
                  <a:gd name="T72" fmla="*/ 336 w 420"/>
                  <a:gd name="T73" fmla="*/ 14 h 150"/>
                  <a:gd name="T74" fmla="*/ 350 w 420"/>
                  <a:gd name="T75" fmla="*/ 28 h 150"/>
                  <a:gd name="T76" fmla="*/ 358 w 420"/>
                  <a:gd name="T77" fmla="*/ 42 h 150"/>
                  <a:gd name="T78" fmla="*/ 378 w 420"/>
                  <a:gd name="T79" fmla="*/ 36 h 150"/>
                  <a:gd name="T80" fmla="*/ 392 w 420"/>
                  <a:gd name="T81" fmla="*/ 42 h 150"/>
                  <a:gd name="T82" fmla="*/ 392 w 420"/>
                  <a:gd name="T83" fmla="*/ 62 h 150"/>
                  <a:gd name="T84" fmla="*/ 420 w 420"/>
                  <a:gd name="T85" fmla="*/ 76 h 150"/>
                  <a:gd name="T86" fmla="*/ 420 w 420"/>
                  <a:gd name="T87" fmla="*/ 96 h 150"/>
                  <a:gd name="T88" fmla="*/ 392 w 420"/>
                  <a:gd name="T89" fmla="*/ 96 h 150"/>
                  <a:gd name="T90" fmla="*/ 378 w 420"/>
                  <a:gd name="T91" fmla="*/ 96 h 150"/>
                  <a:gd name="T92" fmla="*/ 350 w 420"/>
                  <a:gd name="T93" fmla="*/ 82 h 150"/>
                  <a:gd name="T94" fmla="*/ 336 w 420"/>
                  <a:gd name="T95" fmla="*/ 102 h 150"/>
                  <a:gd name="T96" fmla="*/ 330 w 420"/>
                  <a:gd name="T97" fmla="*/ 110 h 150"/>
                  <a:gd name="T98" fmla="*/ 324 w 420"/>
                  <a:gd name="T99" fmla="*/ 116 h 150"/>
                  <a:gd name="T100" fmla="*/ 308 w 420"/>
                  <a:gd name="T101" fmla="*/ 124 h 150"/>
                  <a:gd name="T102" fmla="*/ 288 w 420"/>
                  <a:gd name="T103" fmla="*/ 124 h 150"/>
                  <a:gd name="T104" fmla="*/ 262 w 420"/>
                  <a:gd name="T105" fmla="*/ 138 h 150"/>
                  <a:gd name="T106" fmla="*/ 240 w 420"/>
                  <a:gd name="T107" fmla="*/ 150 h 150"/>
                  <a:gd name="T108" fmla="*/ 240 w 420"/>
                  <a:gd name="T10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20" h="150">
                    <a:moveTo>
                      <a:pt x="240" y="150"/>
                    </a:moveTo>
                    <a:lnTo>
                      <a:pt x="226" y="150"/>
                    </a:lnTo>
                    <a:lnTo>
                      <a:pt x="220" y="150"/>
                    </a:lnTo>
                    <a:lnTo>
                      <a:pt x="220" y="144"/>
                    </a:lnTo>
                    <a:lnTo>
                      <a:pt x="220" y="138"/>
                    </a:lnTo>
                    <a:lnTo>
                      <a:pt x="212" y="138"/>
                    </a:lnTo>
                    <a:lnTo>
                      <a:pt x="198" y="130"/>
                    </a:lnTo>
                    <a:lnTo>
                      <a:pt x="192" y="138"/>
                    </a:lnTo>
                    <a:lnTo>
                      <a:pt x="186" y="138"/>
                    </a:lnTo>
                    <a:lnTo>
                      <a:pt x="178" y="144"/>
                    </a:lnTo>
                    <a:lnTo>
                      <a:pt x="152" y="144"/>
                    </a:lnTo>
                    <a:lnTo>
                      <a:pt x="144" y="144"/>
                    </a:lnTo>
                    <a:lnTo>
                      <a:pt x="138" y="144"/>
                    </a:lnTo>
                    <a:lnTo>
                      <a:pt x="138" y="150"/>
                    </a:lnTo>
                    <a:lnTo>
                      <a:pt x="130" y="150"/>
                    </a:lnTo>
                    <a:lnTo>
                      <a:pt x="130" y="144"/>
                    </a:lnTo>
                    <a:lnTo>
                      <a:pt x="130" y="138"/>
                    </a:lnTo>
                    <a:lnTo>
                      <a:pt x="138" y="124"/>
                    </a:lnTo>
                    <a:lnTo>
                      <a:pt x="144" y="124"/>
                    </a:lnTo>
                    <a:lnTo>
                      <a:pt x="144" y="116"/>
                    </a:lnTo>
                    <a:lnTo>
                      <a:pt x="138" y="110"/>
                    </a:lnTo>
                    <a:lnTo>
                      <a:pt x="124" y="96"/>
                    </a:lnTo>
                    <a:lnTo>
                      <a:pt x="118" y="88"/>
                    </a:lnTo>
                    <a:lnTo>
                      <a:pt x="110" y="76"/>
                    </a:lnTo>
                    <a:lnTo>
                      <a:pt x="110" y="70"/>
                    </a:lnTo>
                    <a:lnTo>
                      <a:pt x="104" y="62"/>
                    </a:lnTo>
                    <a:lnTo>
                      <a:pt x="90" y="62"/>
                    </a:lnTo>
                    <a:lnTo>
                      <a:pt x="84" y="62"/>
                    </a:lnTo>
                    <a:lnTo>
                      <a:pt x="84" y="48"/>
                    </a:lnTo>
                    <a:lnTo>
                      <a:pt x="68" y="48"/>
                    </a:lnTo>
                    <a:lnTo>
                      <a:pt x="62" y="42"/>
                    </a:lnTo>
                    <a:lnTo>
                      <a:pt x="54" y="42"/>
                    </a:lnTo>
                    <a:lnTo>
                      <a:pt x="48" y="48"/>
                    </a:lnTo>
                    <a:lnTo>
                      <a:pt x="42" y="48"/>
                    </a:lnTo>
                    <a:lnTo>
                      <a:pt x="34" y="42"/>
                    </a:lnTo>
                    <a:lnTo>
                      <a:pt x="28" y="42"/>
                    </a:lnTo>
                    <a:lnTo>
                      <a:pt x="20" y="42"/>
                    </a:lnTo>
                    <a:lnTo>
                      <a:pt x="0" y="36"/>
                    </a:lnTo>
                    <a:lnTo>
                      <a:pt x="0" y="36"/>
                    </a:lnTo>
                    <a:lnTo>
                      <a:pt x="8" y="22"/>
                    </a:lnTo>
                    <a:lnTo>
                      <a:pt x="14" y="22"/>
                    </a:lnTo>
                    <a:lnTo>
                      <a:pt x="28" y="22"/>
                    </a:lnTo>
                    <a:lnTo>
                      <a:pt x="36" y="14"/>
                    </a:lnTo>
                    <a:lnTo>
                      <a:pt x="42" y="0"/>
                    </a:lnTo>
                    <a:lnTo>
                      <a:pt x="56" y="8"/>
                    </a:lnTo>
                    <a:lnTo>
                      <a:pt x="70" y="14"/>
                    </a:lnTo>
                    <a:lnTo>
                      <a:pt x="76" y="14"/>
                    </a:lnTo>
                    <a:lnTo>
                      <a:pt x="104" y="14"/>
                    </a:lnTo>
                    <a:lnTo>
                      <a:pt x="110" y="22"/>
                    </a:lnTo>
                    <a:lnTo>
                      <a:pt x="118" y="22"/>
                    </a:lnTo>
                    <a:lnTo>
                      <a:pt x="132" y="22"/>
                    </a:lnTo>
                    <a:lnTo>
                      <a:pt x="144" y="22"/>
                    </a:lnTo>
                    <a:lnTo>
                      <a:pt x="166" y="14"/>
                    </a:lnTo>
                    <a:lnTo>
                      <a:pt x="172" y="14"/>
                    </a:lnTo>
                    <a:lnTo>
                      <a:pt x="180" y="22"/>
                    </a:lnTo>
                    <a:lnTo>
                      <a:pt x="200" y="22"/>
                    </a:lnTo>
                    <a:lnTo>
                      <a:pt x="214" y="22"/>
                    </a:lnTo>
                    <a:lnTo>
                      <a:pt x="220" y="22"/>
                    </a:lnTo>
                    <a:lnTo>
                      <a:pt x="228" y="28"/>
                    </a:lnTo>
                    <a:lnTo>
                      <a:pt x="220" y="36"/>
                    </a:lnTo>
                    <a:lnTo>
                      <a:pt x="234" y="36"/>
                    </a:lnTo>
                    <a:lnTo>
                      <a:pt x="248" y="36"/>
                    </a:lnTo>
                    <a:lnTo>
                      <a:pt x="254" y="28"/>
                    </a:lnTo>
                    <a:lnTo>
                      <a:pt x="268" y="22"/>
                    </a:lnTo>
                    <a:lnTo>
                      <a:pt x="282" y="28"/>
                    </a:lnTo>
                    <a:lnTo>
                      <a:pt x="288" y="28"/>
                    </a:lnTo>
                    <a:lnTo>
                      <a:pt x="296" y="22"/>
                    </a:lnTo>
                    <a:lnTo>
                      <a:pt x="296" y="14"/>
                    </a:lnTo>
                    <a:lnTo>
                      <a:pt x="302" y="14"/>
                    </a:lnTo>
                    <a:lnTo>
                      <a:pt x="308" y="14"/>
                    </a:lnTo>
                    <a:lnTo>
                      <a:pt x="308" y="28"/>
                    </a:lnTo>
                    <a:lnTo>
                      <a:pt x="324" y="22"/>
                    </a:lnTo>
                    <a:lnTo>
                      <a:pt x="324" y="14"/>
                    </a:lnTo>
                    <a:lnTo>
                      <a:pt x="336" y="14"/>
                    </a:lnTo>
                    <a:lnTo>
                      <a:pt x="350" y="22"/>
                    </a:lnTo>
                    <a:lnTo>
                      <a:pt x="350" y="28"/>
                    </a:lnTo>
                    <a:lnTo>
                      <a:pt x="350" y="36"/>
                    </a:lnTo>
                    <a:lnTo>
                      <a:pt x="358" y="42"/>
                    </a:lnTo>
                    <a:lnTo>
                      <a:pt x="370" y="36"/>
                    </a:lnTo>
                    <a:lnTo>
                      <a:pt x="378" y="36"/>
                    </a:lnTo>
                    <a:lnTo>
                      <a:pt x="398" y="42"/>
                    </a:lnTo>
                    <a:lnTo>
                      <a:pt x="392" y="42"/>
                    </a:lnTo>
                    <a:lnTo>
                      <a:pt x="392" y="56"/>
                    </a:lnTo>
                    <a:lnTo>
                      <a:pt x="392" y="62"/>
                    </a:lnTo>
                    <a:lnTo>
                      <a:pt x="412" y="70"/>
                    </a:lnTo>
                    <a:lnTo>
                      <a:pt x="420" y="76"/>
                    </a:lnTo>
                    <a:lnTo>
                      <a:pt x="420" y="82"/>
                    </a:lnTo>
                    <a:lnTo>
                      <a:pt x="420" y="96"/>
                    </a:lnTo>
                    <a:lnTo>
                      <a:pt x="412" y="96"/>
                    </a:lnTo>
                    <a:lnTo>
                      <a:pt x="392" y="96"/>
                    </a:lnTo>
                    <a:lnTo>
                      <a:pt x="392" y="102"/>
                    </a:lnTo>
                    <a:lnTo>
                      <a:pt x="378" y="96"/>
                    </a:lnTo>
                    <a:lnTo>
                      <a:pt x="364" y="96"/>
                    </a:lnTo>
                    <a:lnTo>
                      <a:pt x="350" y="82"/>
                    </a:lnTo>
                    <a:lnTo>
                      <a:pt x="344" y="88"/>
                    </a:lnTo>
                    <a:lnTo>
                      <a:pt x="336" y="102"/>
                    </a:lnTo>
                    <a:lnTo>
                      <a:pt x="330" y="102"/>
                    </a:lnTo>
                    <a:lnTo>
                      <a:pt x="330" y="110"/>
                    </a:lnTo>
                    <a:lnTo>
                      <a:pt x="330" y="116"/>
                    </a:lnTo>
                    <a:lnTo>
                      <a:pt x="324" y="116"/>
                    </a:lnTo>
                    <a:lnTo>
                      <a:pt x="308" y="116"/>
                    </a:lnTo>
                    <a:lnTo>
                      <a:pt x="308" y="124"/>
                    </a:lnTo>
                    <a:lnTo>
                      <a:pt x="302" y="124"/>
                    </a:lnTo>
                    <a:lnTo>
                      <a:pt x="288" y="124"/>
                    </a:lnTo>
                    <a:lnTo>
                      <a:pt x="274" y="130"/>
                    </a:lnTo>
                    <a:lnTo>
                      <a:pt x="262" y="138"/>
                    </a:lnTo>
                    <a:lnTo>
                      <a:pt x="240" y="150"/>
                    </a:lnTo>
                    <a:lnTo>
                      <a:pt x="240" y="150"/>
                    </a:lnTo>
                    <a:lnTo>
                      <a:pt x="240" y="150"/>
                    </a:lnTo>
                    <a:lnTo>
                      <a:pt x="240" y="15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7" name="Freeform 21"/>
              <p:cNvSpPr>
                <a:spLocks/>
              </p:cNvSpPr>
              <p:nvPr>
                <p:custDataLst>
                  <p:tags r:id="rId131"/>
                </p:custDataLst>
              </p:nvPr>
            </p:nvSpPr>
            <p:spPr bwMode="gray">
              <a:xfrm>
                <a:off x="2631104" y="3600348"/>
                <a:ext cx="1132139" cy="952711"/>
              </a:xfrm>
              <a:custGeom>
                <a:avLst/>
                <a:gdLst>
                  <a:gd name="T0" fmla="*/ 415 w 713"/>
                  <a:gd name="T1" fmla="*/ 124 h 600"/>
                  <a:gd name="T2" fmla="*/ 373 w 713"/>
                  <a:gd name="T3" fmla="*/ 110 h 600"/>
                  <a:gd name="T4" fmla="*/ 325 w 713"/>
                  <a:gd name="T5" fmla="*/ 90 h 600"/>
                  <a:gd name="T6" fmla="*/ 291 w 713"/>
                  <a:gd name="T7" fmla="*/ 76 h 600"/>
                  <a:gd name="T8" fmla="*/ 241 w 713"/>
                  <a:gd name="T9" fmla="*/ 54 h 600"/>
                  <a:gd name="T10" fmla="*/ 201 w 713"/>
                  <a:gd name="T11" fmla="*/ 40 h 600"/>
                  <a:gd name="T12" fmla="*/ 158 w 713"/>
                  <a:gd name="T13" fmla="*/ 14 h 600"/>
                  <a:gd name="T14" fmla="*/ 130 w 713"/>
                  <a:gd name="T15" fmla="*/ 0 h 600"/>
                  <a:gd name="T16" fmla="*/ 116 w 713"/>
                  <a:gd name="T17" fmla="*/ 14 h 600"/>
                  <a:gd name="T18" fmla="*/ 88 w 713"/>
                  <a:gd name="T19" fmla="*/ 14 h 600"/>
                  <a:gd name="T20" fmla="*/ 54 w 713"/>
                  <a:gd name="T21" fmla="*/ 20 h 600"/>
                  <a:gd name="T22" fmla="*/ 62 w 713"/>
                  <a:gd name="T23" fmla="*/ 40 h 600"/>
                  <a:gd name="T24" fmla="*/ 54 w 713"/>
                  <a:gd name="T25" fmla="*/ 48 h 600"/>
                  <a:gd name="T26" fmla="*/ 54 w 713"/>
                  <a:gd name="T27" fmla="*/ 76 h 600"/>
                  <a:gd name="T28" fmla="*/ 40 w 713"/>
                  <a:gd name="T29" fmla="*/ 90 h 600"/>
                  <a:gd name="T30" fmla="*/ 76 w 713"/>
                  <a:gd name="T31" fmla="*/ 102 h 600"/>
                  <a:gd name="T32" fmla="*/ 88 w 713"/>
                  <a:gd name="T33" fmla="*/ 124 h 600"/>
                  <a:gd name="T34" fmla="*/ 124 w 713"/>
                  <a:gd name="T35" fmla="*/ 138 h 600"/>
                  <a:gd name="T36" fmla="*/ 144 w 713"/>
                  <a:gd name="T37" fmla="*/ 144 h 600"/>
                  <a:gd name="T38" fmla="*/ 158 w 713"/>
                  <a:gd name="T39" fmla="*/ 164 h 600"/>
                  <a:gd name="T40" fmla="*/ 164 w 713"/>
                  <a:gd name="T41" fmla="*/ 186 h 600"/>
                  <a:gd name="T42" fmla="*/ 144 w 713"/>
                  <a:gd name="T43" fmla="*/ 198 h 600"/>
                  <a:gd name="T44" fmla="*/ 124 w 713"/>
                  <a:gd name="T45" fmla="*/ 220 h 600"/>
                  <a:gd name="T46" fmla="*/ 110 w 713"/>
                  <a:gd name="T47" fmla="*/ 254 h 600"/>
                  <a:gd name="T48" fmla="*/ 96 w 713"/>
                  <a:gd name="T49" fmla="*/ 274 h 600"/>
                  <a:gd name="T50" fmla="*/ 68 w 713"/>
                  <a:gd name="T51" fmla="*/ 310 h 600"/>
                  <a:gd name="T52" fmla="*/ 62 w 713"/>
                  <a:gd name="T53" fmla="*/ 336 h 600"/>
                  <a:gd name="T54" fmla="*/ 48 w 713"/>
                  <a:gd name="T55" fmla="*/ 372 h 600"/>
                  <a:gd name="T56" fmla="*/ 34 w 713"/>
                  <a:gd name="T57" fmla="*/ 400 h 600"/>
                  <a:gd name="T58" fmla="*/ 26 w 713"/>
                  <a:gd name="T59" fmla="*/ 420 h 600"/>
                  <a:gd name="T60" fmla="*/ 6 w 713"/>
                  <a:gd name="T61" fmla="*/ 434 h 600"/>
                  <a:gd name="T62" fmla="*/ 12 w 713"/>
                  <a:gd name="T63" fmla="*/ 468 h 600"/>
                  <a:gd name="T64" fmla="*/ 48 w 713"/>
                  <a:gd name="T65" fmla="*/ 502 h 600"/>
                  <a:gd name="T66" fmla="*/ 62 w 713"/>
                  <a:gd name="T67" fmla="*/ 522 h 600"/>
                  <a:gd name="T68" fmla="*/ 48 w 713"/>
                  <a:gd name="T69" fmla="*/ 564 h 600"/>
                  <a:gd name="T70" fmla="*/ 82 w 713"/>
                  <a:gd name="T71" fmla="*/ 584 h 600"/>
                  <a:gd name="T72" fmla="*/ 124 w 713"/>
                  <a:gd name="T73" fmla="*/ 564 h 600"/>
                  <a:gd name="T74" fmla="*/ 178 w 713"/>
                  <a:gd name="T75" fmla="*/ 564 h 600"/>
                  <a:gd name="T76" fmla="*/ 241 w 713"/>
                  <a:gd name="T77" fmla="*/ 584 h 600"/>
                  <a:gd name="T78" fmla="*/ 291 w 713"/>
                  <a:gd name="T79" fmla="*/ 592 h 600"/>
                  <a:gd name="T80" fmla="*/ 311 w 713"/>
                  <a:gd name="T81" fmla="*/ 584 h 600"/>
                  <a:gd name="T82" fmla="*/ 345 w 713"/>
                  <a:gd name="T83" fmla="*/ 558 h 600"/>
                  <a:gd name="T84" fmla="*/ 401 w 713"/>
                  <a:gd name="T85" fmla="*/ 550 h 600"/>
                  <a:gd name="T86" fmla="*/ 421 w 713"/>
                  <a:gd name="T87" fmla="*/ 516 h 600"/>
                  <a:gd name="T88" fmla="*/ 463 w 713"/>
                  <a:gd name="T89" fmla="*/ 488 h 600"/>
                  <a:gd name="T90" fmla="*/ 455 w 713"/>
                  <a:gd name="T91" fmla="*/ 448 h 600"/>
                  <a:gd name="T92" fmla="*/ 497 w 713"/>
                  <a:gd name="T93" fmla="*/ 400 h 600"/>
                  <a:gd name="T94" fmla="*/ 547 w 713"/>
                  <a:gd name="T95" fmla="*/ 364 h 600"/>
                  <a:gd name="T96" fmla="*/ 553 w 713"/>
                  <a:gd name="T97" fmla="*/ 352 h 600"/>
                  <a:gd name="T98" fmla="*/ 609 w 713"/>
                  <a:gd name="T99" fmla="*/ 344 h 600"/>
                  <a:gd name="T100" fmla="*/ 651 w 713"/>
                  <a:gd name="T101" fmla="*/ 336 h 600"/>
                  <a:gd name="T102" fmla="*/ 691 w 713"/>
                  <a:gd name="T103" fmla="*/ 324 h 600"/>
                  <a:gd name="T104" fmla="*/ 713 w 713"/>
                  <a:gd name="T105" fmla="*/ 288 h 600"/>
                  <a:gd name="T106" fmla="*/ 691 w 713"/>
                  <a:gd name="T107" fmla="*/ 268 h 600"/>
                  <a:gd name="T108" fmla="*/ 651 w 713"/>
                  <a:gd name="T109" fmla="*/ 262 h 600"/>
                  <a:gd name="T110" fmla="*/ 615 w 713"/>
                  <a:gd name="T111" fmla="*/ 248 h 600"/>
                  <a:gd name="T112" fmla="*/ 587 w 713"/>
                  <a:gd name="T113" fmla="*/ 228 h 600"/>
                  <a:gd name="T114" fmla="*/ 547 w 713"/>
                  <a:gd name="T115" fmla="*/ 214 h 600"/>
                  <a:gd name="T116" fmla="*/ 497 w 713"/>
                  <a:gd name="T117" fmla="*/ 178 h 600"/>
                  <a:gd name="T118" fmla="*/ 471 w 713"/>
                  <a:gd name="T119" fmla="*/ 158 h 600"/>
                  <a:gd name="T120" fmla="*/ 455 w 713"/>
                  <a:gd name="T121" fmla="*/ 13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3" h="600">
                    <a:moveTo>
                      <a:pt x="455" y="138"/>
                    </a:moveTo>
                    <a:lnTo>
                      <a:pt x="449" y="138"/>
                    </a:lnTo>
                    <a:lnTo>
                      <a:pt x="443" y="130"/>
                    </a:lnTo>
                    <a:lnTo>
                      <a:pt x="429" y="130"/>
                    </a:lnTo>
                    <a:lnTo>
                      <a:pt x="415" y="124"/>
                    </a:lnTo>
                    <a:lnTo>
                      <a:pt x="407" y="116"/>
                    </a:lnTo>
                    <a:lnTo>
                      <a:pt x="401" y="116"/>
                    </a:lnTo>
                    <a:lnTo>
                      <a:pt x="393" y="116"/>
                    </a:lnTo>
                    <a:lnTo>
                      <a:pt x="381" y="116"/>
                    </a:lnTo>
                    <a:lnTo>
                      <a:pt x="373" y="110"/>
                    </a:lnTo>
                    <a:lnTo>
                      <a:pt x="367" y="96"/>
                    </a:lnTo>
                    <a:lnTo>
                      <a:pt x="353" y="96"/>
                    </a:lnTo>
                    <a:lnTo>
                      <a:pt x="345" y="90"/>
                    </a:lnTo>
                    <a:lnTo>
                      <a:pt x="339" y="90"/>
                    </a:lnTo>
                    <a:lnTo>
                      <a:pt x="325" y="90"/>
                    </a:lnTo>
                    <a:lnTo>
                      <a:pt x="317" y="90"/>
                    </a:lnTo>
                    <a:lnTo>
                      <a:pt x="311" y="82"/>
                    </a:lnTo>
                    <a:lnTo>
                      <a:pt x="303" y="82"/>
                    </a:lnTo>
                    <a:lnTo>
                      <a:pt x="297" y="82"/>
                    </a:lnTo>
                    <a:lnTo>
                      <a:pt x="291" y="76"/>
                    </a:lnTo>
                    <a:lnTo>
                      <a:pt x="283" y="68"/>
                    </a:lnTo>
                    <a:lnTo>
                      <a:pt x="277" y="68"/>
                    </a:lnTo>
                    <a:lnTo>
                      <a:pt x="263" y="62"/>
                    </a:lnTo>
                    <a:lnTo>
                      <a:pt x="255" y="62"/>
                    </a:lnTo>
                    <a:lnTo>
                      <a:pt x="241" y="54"/>
                    </a:lnTo>
                    <a:lnTo>
                      <a:pt x="241" y="48"/>
                    </a:lnTo>
                    <a:lnTo>
                      <a:pt x="229" y="48"/>
                    </a:lnTo>
                    <a:lnTo>
                      <a:pt x="221" y="40"/>
                    </a:lnTo>
                    <a:lnTo>
                      <a:pt x="215" y="40"/>
                    </a:lnTo>
                    <a:lnTo>
                      <a:pt x="201" y="40"/>
                    </a:lnTo>
                    <a:lnTo>
                      <a:pt x="193" y="34"/>
                    </a:lnTo>
                    <a:lnTo>
                      <a:pt x="186" y="28"/>
                    </a:lnTo>
                    <a:lnTo>
                      <a:pt x="172" y="34"/>
                    </a:lnTo>
                    <a:lnTo>
                      <a:pt x="164" y="20"/>
                    </a:lnTo>
                    <a:lnTo>
                      <a:pt x="158" y="14"/>
                    </a:lnTo>
                    <a:lnTo>
                      <a:pt x="158" y="6"/>
                    </a:lnTo>
                    <a:lnTo>
                      <a:pt x="158" y="0"/>
                    </a:lnTo>
                    <a:lnTo>
                      <a:pt x="144" y="6"/>
                    </a:lnTo>
                    <a:lnTo>
                      <a:pt x="138" y="6"/>
                    </a:lnTo>
                    <a:lnTo>
                      <a:pt x="130" y="0"/>
                    </a:lnTo>
                    <a:lnTo>
                      <a:pt x="130" y="6"/>
                    </a:lnTo>
                    <a:lnTo>
                      <a:pt x="124" y="6"/>
                    </a:lnTo>
                    <a:lnTo>
                      <a:pt x="116" y="6"/>
                    </a:lnTo>
                    <a:lnTo>
                      <a:pt x="110" y="6"/>
                    </a:lnTo>
                    <a:lnTo>
                      <a:pt x="116" y="14"/>
                    </a:lnTo>
                    <a:lnTo>
                      <a:pt x="110" y="20"/>
                    </a:lnTo>
                    <a:lnTo>
                      <a:pt x="102" y="28"/>
                    </a:lnTo>
                    <a:lnTo>
                      <a:pt x="102" y="20"/>
                    </a:lnTo>
                    <a:lnTo>
                      <a:pt x="96" y="14"/>
                    </a:lnTo>
                    <a:lnTo>
                      <a:pt x="88" y="14"/>
                    </a:lnTo>
                    <a:lnTo>
                      <a:pt x="82" y="14"/>
                    </a:lnTo>
                    <a:lnTo>
                      <a:pt x="76" y="6"/>
                    </a:lnTo>
                    <a:lnTo>
                      <a:pt x="68" y="20"/>
                    </a:lnTo>
                    <a:lnTo>
                      <a:pt x="62" y="14"/>
                    </a:lnTo>
                    <a:lnTo>
                      <a:pt x="54" y="20"/>
                    </a:lnTo>
                    <a:lnTo>
                      <a:pt x="48" y="28"/>
                    </a:lnTo>
                    <a:lnTo>
                      <a:pt x="54" y="34"/>
                    </a:lnTo>
                    <a:lnTo>
                      <a:pt x="54" y="40"/>
                    </a:lnTo>
                    <a:lnTo>
                      <a:pt x="62" y="34"/>
                    </a:lnTo>
                    <a:lnTo>
                      <a:pt x="62" y="40"/>
                    </a:lnTo>
                    <a:lnTo>
                      <a:pt x="54" y="48"/>
                    </a:lnTo>
                    <a:lnTo>
                      <a:pt x="48" y="48"/>
                    </a:lnTo>
                    <a:lnTo>
                      <a:pt x="48" y="54"/>
                    </a:lnTo>
                    <a:lnTo>
                      <a:pt x="54" y="54"/>
                    </a:lnTo>
                    <a:lnTo>
                      <a:pt x="54" y="48"/>
                    </a:lnTo>
                    <a:lnTo>
                      <a:pt x="68" y="48"/>
                    </a:lnTo>
                    <a:lnTo>
                      <a:pt x="68" y="54"/>
                    </a:lnTo>
                    <a:lnTo>
                      <a:pt x="62" y="62"/>
                    </a:lnTo>
                    <a:lnTo>
                      <a:pt x="62" y="68"/>
                    </a:lnTo>
                    <a:lnTo>
                      <a:pt x="54" y="76"/>
                    </a:lnTo>
                    <a:lnTo>
                      <a:pt x="62" y="76"/>
                    </a:lnTo>
                    <a:lnTo>
                      <a:pt x="62" y="82"/>
                    </a:lnTo>
                    <a:lnTo>
                      <a:pt x="54" y="90"/>
                    </a:lnTo>
                    <a:lnTo>
                      <a:pt x="48" y="82"/>
                    </a:lnTo>
                    <a:lnTo>
                      <a:pt x="40" y="90"/>
                    </a:lnTo>
                    <a:lnTo>
                      <a:pt x="40" y="102"/>
                    </a:lnTo>
                    <a:lnTo>
                      <a:pt x="54" y="102"/>
                    </a:lnTo>
                    <a:lnTo>
                      <a:pt x="62" y="102"/>
                    </a:lnTo>
                    <a:lnTo>
                      <a:pt x="62" y="96"/>
                    </a:lnTo>
                    <a:lnTo>
                      <a:pt x="76" y="102"/>
                    </a:lnTo>
                    <a:lnTo>
                      <a:pt x="82" y="102"/>
                    </a:lnTo>
                    <a:lnTo>
                      <a:pt x="82" y="110"/>
                    </a:lnTo>
                    <a:lnTo>
                      <a:pt x="82" y="116"/>
                    </a:lnTo>
                    <a:lnTo>
                      <a:pt x="82" y="124"/>
                    </a:lnTo>
                    <a:lnTo>
                      <a:pt x="88" y="124"/>
                    </a:lnTo>
                    <a:lnTo>
                      <a:pt x="96" y="124"/>
                    </a:lnTo>
                    <a:lnTo>
                      <a:pt x="102" y="124"/>
                    </a:lnTo>
                    <a:lnTo>
                      <a:pt x="110" y="130"/>
                    </a:lnTo>
                    <a:lnTo>
                      <a:pt x="116" y="130"/>
                    </a:lnTo>
                    <a:lnTo>
                      <a:pt x="124" y="138"/>
                    </a:lnTo>
                    <a:lnTo>
                      <a:pt x="130" y="144"/>
                    </a:lnTo>
                    <a:lnTo>
                      <a:pt x="130" y="138"/>
                    </a:lnTo>
                    <a:lnTo>
                      <a:pt x="138" y="138"/>
                    </a:lnTo>
                    <a:lnTo>
                      <a:pt x="144" y="138"/>
                    </a:lnTo>
                    <a:lnTo>
                      <a:pt x="144" y="144"/>
                    </a:lnTo>
                    <a:lnTo>
                      <a:pt x="152" y="144"/>
                    </a:lnTo>
                    <a:lnTo>
                      <a:pt x="158" y="144"/>
                    </a:lnTo>
                    <a:lnTo>
                      <a:pt x="164" y="152"/>
                    </a:lnTo>
                    <a:lnTo>
                      <a:pt x="158" y="158"/>
                    </a:lnTo>
                    <a:lnTo>
                      <a:pt x="158" y="164"/>
                    </a:lnTo>
                    <a:lnTo>
                      <a:pt x="158" y="172"/>
                    </a:lnTo>
                    <a:lnTo>
                      <a:pt x="164" y="172"/>
                    </a:lnTo>
                    <a:lnTo>
                      <a:pt x="172" y="178"/>
                    </a:lnTo>
                    <a:lnTo>
                      <a:pt x="172" y="186"/>
                    </a:lnTo>
                    <a:lnTo>
                      <a:pt x="164" y="186"/>
                    </a:lnTo>
                    <a:lnTo>
                      <a:pt x="164" y="192"/>
                    </a:lnTo>
                    <a:lnTo>
                      <a:pt x="158" y="192"/>
                    </a:lnTo>
                    <a:lnTo>
                      <a:pt x="152" y="192"/>
                    </a:lnTo>
                    <a:lnTo>
                      <a:pt x="152" y="198"/>
                    </a:lnTo>
                    <a:lnTo>
                      <a:pt x="144" y="198"/>
                    </a:lnTo>
                    <a:lnTo>
                      <a:pt x="138" y="198"/>
                    </a:lnTo>
                    <a:lnTo>
                      <a:pt x="138" y="206"/>
                    </a:lnTo>
                    <a:lnTo>
                      <a:pt x="130" y="206"/>
                    </a:lnTo>
                    <a:lnTo>
                      <a:pt x="124" y="214"/>
                    </a:lnTo>
                    <a:lnTo>
                      <a:pt x="124" y="220"/>
                    </a:lnTo>
                    <a:lnTo>
                      <a:pt x="116" y="228"/>
                    </a:lnTo>
                    <a:lnTo>
                      <a:pt x="116" y="234"/>
                    </a:lnTo>
                    <a:lnTo>
                      <a:pt x="110" y="240"/>
                    </a:lnTo>
                    <a:lnTo>
                      <a:pt x="110" y="248"/>
                    </a:lnTo>
                    <a:lnTo>
                      <a:pt x="110" y="254"/>
                    </a:lnTo>
                    <a:lnTo>
                      <a:pt x="110" y="262"/>
                    </a:lnTo>
                    <a:lnTo>
                      <a:pt x="110" y="268"/>
                    </a:lnTo>
                    <a:lnTo>
                      <a:pt x="102" y="268"/>
                    </a:lnTo>
                    <a:lnTo>
                      <a:pt x="96" y="268"/>
                    </a:lnTo>
                    <a:lnTo>
                      <a:pt x="96" y="274"/>
                    </a:lnTo>
                    <a:lnTo>
                      <a:pt x="82" y="288"/>
                    </a:lnTo>
                    <a:lnTo>
                      <a:pt x="82" y="296"/>
                    </a:lnTo>
                    <a:lnTo>
                      <a:pt x="76" y="302"/>
                    </a:lnTo>
                    <a:lnTo>
                      <a:pt x="76" y="310"/>
                    </a:lnTo>
                    <a:lnTo>
                      <a:pt x="68" y="310"/>
                    </a:lnTo>
                    <a:lnTo>
                      <a:pt x="54" y="302"/>
                    </a:lnTo>
                    <a:lnTo>
                      <a:pt x="54" y="316"/>
                    </a:lnTo>
                    <a:lnTo>
                      <a:pt x="54" y="324"/>
                    </a:lnTo>
                    <a:lnTo>
                      <a:pt x="54" y="330"/>
                    </a:lnTo>
                    <a:lnTo>
                      <a:pt x="62" y="336"/>
                    </a:lnTo>
                    <a:lnTo>
                      <a:pt x="62" y="344"/>
                    </a:lnTo>
                    <a:lnTo>
                      <a:pt x="62" y="352"/>
                    </a:lnTo>
                    <a:lnTo>
                      <a:pt x="54" y="358"/>
                    </a:lnTo>
                    <a:lnTo>
                      <a:pt x="48" y="364"/>
                    </a:lnTo>
                    <a:lnTo>
                      <a:pt x="48" y="372"/>
                    </a:lnTo>
                    <a:lnTo>
                      <a:pt x="40" y="372"/>
                    </a:lnTo>
                    <a:lnTo>
                      <a:pt x="34" y="378"/>
                    </a:lnTo>
                    <a:lnTo>
                      <a:pt x="34" y="386"/>
                    </a:lnTo>
                    <a:lnTo>
                      <a:pt x="26" y="392"/>
                    </a:lnTo>
                    <a:lnTo>
                      <a:pt x="34" y="400"/>
                    </a:lnTo>
                    <a:lnTo>
                      <a:pt x="40" y="400"/>
                    </a:lnTo>
                    <a:lnTo>
                      <a:pt x="40" y="406"/>
                    </a:lnTo>
                    <a:lnTo>
                      <a:pt x="40" y="412"/>
                    </a:lnTo>
                    <a:lnTo>
                      <a:pt x="34" y="412"/>
                    </a:lnTo>
                    <a:lnTo>
                      <a:pt x="26" y="420"/>
                    </a:lnTo>
                    <a:lnTo>
                      <a:pt x="20" y="420"/>
                    </a:lnTo>
                    <a:lnTo>
                      <a:pt x="12" y="420"/>
                    </a:lnTo>
                    <a:lnTo>
                      <a:pt x="12" y="426"/>
                    </a:lnTo>
                    <a:lnTo>
                      <a:pt x="6" y="426"/>
                    </a:lnTo>
                    <a:lnTo>
                      <a:pt x="6" y="434"/>
                    </a:lnTo>
                    <a:lnTo>
                      <a:pt x="0" y="440"/>
                    </a:lnTo>
                    <a:lnTo>
                      <a:pt x="0" y="454"/>
                    </a:lnTo>
                    <a:lnTo>
                      <a:pt x="0" y="468"/>
                    </a:lnTo>
                    <a:lnTo>
                      <a:pt x="6" y="468"/>
                    </a:lnTo>
                    <a:lnTo>
                      <a:pt x="12" y="468"/>
                    </a:lnTo>
                    <a:lnTo>
                      <a:pt x="20" y="476"/>
                    </a:lnTo>
                    <a:lnTo>
                      <a:pt x="26" y="482"/>
                    </a:lnTo>
                    <a:lnTo>
                      <a:pt x="34" y="488"/>
                    </a:lnTo>
                    <a:lnTo>
                      <a:pt x="34" y="496"/>
                    </a:lnTo>
                    <a:lnTo>
                      <a:pt x="48" y="502"/>
                    </a:lnTo>
                    <a:lnTo>
                      <a:pt x="54" y="510"/>
                    </a:lnTo>
                    <a:lnTo>
                      <a:pt x="54" y="516"/>
                    </a:lnTo>
                    <a:lnTo>
                      <a:pt x="48" y="522"/>
                    </a:lnTo>
                    <a:lnTo>
                      <a:pt x="54" y="522"/>
                    </a:lnTo>
                    <a:lnTo>
                      <a:pt x="62" y="522"/>
                    </a:lnTo>
                    <a:lnTo>
                      <a:pt x="54" y="536"/>
                    </a:lnTo>
                    <a:lnTo>
                      <a:pt x="54" y="544"/>
                    </a:lnTo>
                    <a:lnTo>
                      <a:pt x="40" y="544"/>
                    </a:lnTo>
                    <a:lnTo>
                      <a:pt x="48" y="550"/>
                    </a:lnTo>
                    <a:lnTo>
                      <a:pt x="48" y="564"/>
                    </a:lnTo>
                    <a:lnTo>
                      <a:pt x="54" y="572"/>
                    </a:lnTo>
                    <a:lnTo>
                      <a:pt x="62" y="572"/>
                    </a:lnTo>
                    <a:lnTo>
                      <a:pt x="68" y="578"/>
                    </a:lnTo>
                    <a:lnTo>
                      <a:pt x="76" y="592"/>
                    </a:lnTo>
                    <a:lnTo>
                      <a:pt x="82" y="584"/>
                    </a:lnTo>
                    <a:lnTo>
                      <a:pt x="82" y="578"/>
                    </a:lnTo>
                    <a:lnTo>
                      <a:pt x="96" y="572"/>
                    </a:lnTo>
                    <a:lnTo>
                      <a:pt x="110" y="572"/>
                    </a:lnTo>
                    <a:lnTo>
                      <a:pt x="116" y="564"/>
                    </a:lnTo>
                    <a:lnTo>
                      <a:pt x="124" y="564"/>
                    </a:lnTo>
                    <a:lnTo>
                      <a:pt x="138" y="572"/>
                    </a:lnTo>
                    <a:lnTo>
                      <a:pt x="144" y="572"/>
                    </a:lnTo>
                    <a:lnTo>
                      <a:pt x="152" y="558"/>
                    </a:lnTo>
                    <a:lnTo>
                      <a:pt x="164" y="558"/>
                    </a:lnTo>
                    <a:lnTo>
                      <a:pt x="178" y="564"/>
                    </a:lnTo>
                    <a:lnTo>
                      <a:pt x="186" y="572"/>
                    </a:lnTo>
                    <a:lnTo>
                      <a:pt x="201" y="572"/>
                    </a:lnTo>
                    <a:lnTo>
                      <a:pt x="207" y="584"/>
                    </a:lnTo>
                    <a:lnTo>
                      <a:pt x="221" y="584"/>
                    </a:lnTo>
                    <a:lnTo>
                      <a:pt x="241" y="584"/>
                    </a:lnTo>
                    <a:lnTo>
                      <a:pt x="249" y="584"/>
                    </a:lnTo>
                    <a:lnTo>
                      <a:pt x="263" y="592"/>
                    </a:lnTo>
                    <a:lnTo>
                      <a:pt x="269" y="584"/>
                    </a:lnTo>
                    <a:lnTo>
                      <a:pt x="283" y="584"/>
                    </a:lnTo>
                    <a:lnTo>
                      <a:pt x="291" y="592"/>
                    </a:lnTo>
                    <a:lnTo>
                      <a:pt x="297" y="592"/>
                    </a:lnTo>
                    <a:lnTo>
                      <a:pt x="297" y="600"/>
                    </a:lnTo>
                    <a:lnTo>
                      <a:pt x="303" y="600"/>
                    </a:lnTo>
                    <a:lnTo>
                      <a:pt x="311" y="592"/>
                    </a:lnTo>
                    <a:lnTo>
                      <a:pt x="311" y="584"/>
                    </a:lnTo>
                    <a:lnTo>
                      <a:pt x="311" y="578"/>
                    </a:lnTo>
                    <a:lnTo>
                      <a:pt x="325" y="572"/>
                    </a:lnTo>
                    <a:lnTo>
                      <a:pt x="325" y="564"/>
                    </a:lnTo>
                    <a:lnTo>
                      <a:pt x="339" y="564"/>
                    </a:lnTo>
                    <a:lnTo>
                      <a:pt x="345" y="558"/>
                    </a:lnTo>
                    <a:lnTo>
                      <a:pt x="359" y="558"/>
                    </a:lnTo>
                    <a:lnTo>
                      <a:pt x="367" y="558"/>
                    </a:lnTo>
                    <a:lnTo>
                      <a:pt x="381" y="564"/>
                    </a:lnTo>
                    <a:lnTo>
                      <a:pt x="387" y="558"/>
                    </a:lnTo>
                    <a:lnTo>
                      <a:pt x="401" y="550"/>
                    </a:lnTo>
                    <a:lnTo>
                      <a:pt x="401" y="536"/>
                    </a:lnTo>
                    <a:lnTo>
                      <a:pt x="407" y="530"/>
                    </a:lnTo>
                    <a:lnTo>
                      <a:pt x="415" y="530"/>
                    </a:lnTo>
                    <a:lnTo>
                      <a:pt x="421" y="522"/>
                    </a:lnTo>
                    <a:lnTo>
                      <a:pt x="421" y="516"/>
                    </a:lnTo>
                    <a:lnTo>
                      <a:pt x="435" y="510"/>
                    </a:lnTo>
                    <a:lnTo>
                      <a:pt x="443" y="510"/>
                    </a:lnTo>
                    <a:lnTo>
                      <a:pt x="455" y="510"/>
                    </a:lnTo>
                    <a:lnTo>
                      <a:pt x="471" y="496"/>
                    </a:lnTo>
                    <a:lnTo>
                      <a:pt x="463" y="488"/>
                    </a:lnTo>
                    <a:lnTo>
                      <a:pt x="463" y="482"/>
                    </a:lnTo>
                    <a:lnTo>
                      <a:pt x="455" y="476"/>
                    </a:lnTo>
                    <a:lnTo>
                      <a:pt x="455" y="468"/>
                    </a:lnTo>
                    <a:lnTo>
                      <a:pt x="455" y="462"/>
                    </a:lnTo>
                    <a:lnTo>
                      <a:pt x="455" y="448"/>
                    </a:lnTo>
                    <a:lnTo>
                      <a:pt x="455" y="434"/>
                    </a:lnTo>
                    <a:lnTo>
                      <a:pt x="463" y="426"/>
                    </a:lnTo>
                    <a:lnTo>
                      <a:pt x="471" y="420"/>
                    </a:lnTo>
                    <a:lnTo>
                      <a:pt x="483" y="412"/>
                    </a:lnTo>
                    <a:lnTo>
                      <a:pt x="497" y="400"/>
                    </a:lnTo>
                    <a:lnTo>
                      <a:pt x="505" y="400"/>
                    </a:lnTo>
                    <a:lnTo>
                      <a:pt x="513" y="392"/>
                    </a:lnTo>
                    <a:lnTo>
                      <a:pt x="525" y="378"/>
                    </a:lnTo>
                    <a:lnTo>
                      <a:pt x="533" y="372"/>
                    </a:lnTo>
                    <a:lnTo>
                      <a:pt x="547" y="364"/>
                    </a:lnTo>
                    <a:lnTo>
                      <a:pt x="553" y="364"/>
                    </a:lnTo>
                    <a:lnTo>
                      <a:pt x="547" y="364"/>
                    </a:lnTo>
                    <a:lnTo>
                      <a:pt x="547" y="358"/>
                    </a:lnTo>
                    <a:lnTo>
                      <a:pt x="553" y="358"/>
                    </a:lnTo>
                    <a:lnTo>
                      <a:pt x="553" y="352"/>
                    </a:lnTo>
                    <a:lnTo>
                      <a:pt x="561" y="344"/>
                    </a:lnTo>
                    <a:lnTo>
                      <a:pt x="567" y="344"/>
                    </a:lnTo>
                    <a:lnTo>
                      <a:pt x="581" y="344"/>
                    </a:lnTo>
                    <a:lnTo>
                      <a:pt x="595" y="344"/>
                    </a:lnTo>
                    <a:lnTo>
                      <a:pt x="609" y="344"/>
                    </a:lnTo>
                    <a:lnTo>
                      <a:pt x="615" y="344"/>
                    </a:lnTo>
                    <a:lnTo>
                      <a:pt x="623" y="344"/>
                    </a:lnTo>
                    <a:lnTo>
                      <a:pt x="629" y="344"/>
                    </a:lnTo>
                    <a:lnTo>
                      <a:pt x="643" y="336"/>
                    </a:lnTo>
                    <a:lnTo>
                      <a:pt x="651" y="336"/>
                    </a:lnTo>
                    <a:lnTo>
                      <a:pt x="657" y="330"/>
                    </a:lnTo>
                    <a:lnTo>
                      <a:pt x="671" y="330"/>
                    </a:lnTo>
                    <a:lnTo>
                      <a:pt x="677" y="330"/>
                    </a:lnTo>
                    <a:lnTo>
                      <a:pt x="685" y="324"/>
                    </a:lnTo>
                    <a:lnTo>
                      <a:pt x="691" y="324"/>
                    </a:lnTo>
                    <a:lnTo>
                      <a:pt x="699" y="316"/>
                    </a:lnTo>
                    <a:lnTo>
                      <a:pt x="705" y="310"/>
                    </a:lnTo>
                    <a:lnTo>
                      <a:pt x="705" y="302"/>
                    </a:lnTo>
                    <a:lnTo>
                      <a:pt x="713" y="296"/>
                    </a:lnTo>
                    <a:lnTo>
                      <a:pt x="713" y="288"/>
                    </a:lnTo>
                    <a:lnTo>
                      <a:pt x="713" y="274"/>
                    </a:lnTo>
                    <a:lnTo>
                      <a:pt x="709" y="270"/>
                    </a:lnTo>
                    <a:lnTo>
                      <a:pt x="705" y="274"/>
                    </a:lnTo>
                    <a:lnTo>
                      <a:pt x="699" y="274"/>
                    </a:lnTo>
                    <a:lnTo>
                      <a:pt x="691" y="268"/>
                    </a:lnTo>
                    <a:lnTo>
                      <a:pt x="685" y="274"/>
                    </a:lnTo>
                    <a:lnTo>
                      <a:pt x="677" y="268"/>
                    </a:lnTo>
                    <a:lnTo>
                      <a:pt x="663" y="268"/>
                    </a:lnTo>
                    <a:lnTo>
                      <a:pt x="657" y="268"/>
                    </a:lnTo>
                    <a:lnTo>
                      <a:pt x="651" y="262"/>
                    </a:lnTo>
                    <a:lnTo>
                      <a:pt x="643" y="254"/>
                    </a:lnTo>
                    <a:lnTo>
                      <a:pt x="637" y="254"/>
                    </a:lnTo>
                    <a:lnTo>
                      <a:pt x="629" y="254"/>
                    </a:lnTo>
                    <a:lnTo>
                      <a:pt x="623" y="254"/>
                    </a:lnTo>
                    <a:lnTo>
                      <a:pt x="615" y="248"/>
                    </a:lnTo>
                    <a:lnTo>
                      <a:pt x="617" y="238"/>
                    </a:lnTo>
                    <a:lnTo>
                      <a:pt x="611" y="232"/>
                    </a:lnTo>
                    <a:lnTo>
                      <a:pt x="605" y="226"/>
                    </a:lnTo>
                    <a:lnTo>
                      <a:pt x="597" y="220"/>
                    </a:lnTo>
                    <a:lnTo>
                      <a:pt x="587" y="228"/>
                    </a:lnTo>
                    <a:lnTo>
                      <a:pt x="573" y="228"/>
                    </a:lnTo>
                    <a:lnTo>
                      <a:pt x="573" y="220"/>
                    </a:lnTo>
                    <a:lnTo>
                      <a:pt x="567" y="220"/>
                    </a:lnTo>
                    <a:lnTo>
                      <a:pt x="553" y="214"/>
                    </a:lnTo>
                    <a:lnTo>
                      <a:pt x="547" y="214"/>
                    </a:lnTo>
                    <a:lnTo>
                      <a:pt x="533" y="206"/>
                    </a:lnTo>
                    <a:lnTo>
                      <a:pt x="533" y="198"/>
                    </a:lnTo>
                    <a:lnTo>
                      <a:pt x="519" y="192"/>
                    </a:lnTo>
                    <a:lnTo>
                      <a:pt x="513" y="192"/>
                    </a:lnTo>
                    <a:lnTo>
                      <a:pt x="497" y="178"/>
                    </a:lnTo>
                    <a:lnTo>
                      <a:pt x="491" y="178"/>
                    </a:lnTo>
                    <a:lnTo>
                      <a:pt x="483" y="172"/>
                    </a:lnTo>
                    <a:lnTo>
                      <a:pt x="477" y="164"/>
                    </a:lnTo>
                    <a:lnTo>
                      <a:pt x="471" y="164"/>
                    </a:lnTo>
                    <a:lnTo>
                      <a:pt x="471" y="158"/>
                    </a:lnTo>
                    <a:lnTo>
                      <a:pt x="471" y="152"/>
                    </a:lnTo>
                    <a:lnTo>
                      <a:pt x="463" y="144"/>
                    </a:lnTo>
                    <a:lnTo>
                      <a:pt x="455" y="138"/>
                    </a:lnTo>
                    <a:lnTo>
                      <a:pt x="455" y="138"/>
                    </a:lnTo>
                    <a:lnTo>
                      <a:pt x="455" y="138"/>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8" name="Freeform 22"/>
              <p:cNvSpPr>
                <a:spLocks/>
              </p:cNvSpPr>
              <p:nvPr>
                <p:custDataLst>
                  <p:tags r:id="rId132"/>
                </p:custDataLst>
              </p:nvPr>
            </p:nvSpPr>
            <p:spPr bwMode="gray">
              <a:xfrm>
                <a:off x="2475494" y="3752781"/>
                <a:ext cx="431896" cy="600208"/>
              </a:xfrm>
              <a:custGeom>
                <a:avLst/>
                <a:gdLst>
                  <a:gd name="T0" fmla="*/ 78 w 272"/>
                  <a:gd name="T1" fmla="*/ 378 h 378"/>
                  <a:gd name="T2" fmla="*/ 64 w 272"/>
                  <a:gd name="T3" fmla="*/ 372 h 378"/>
                  <a:gd name="T4" fmla="*/ 36 w 272"/>
                  <a:gd name="T5" fmla="*/ 358 h 378"/>
                  <a:gd name="T6" fmla="*/ 22 w 272"/>
                  <a:gd name="T7" fmla="*/ 344 h 378"/>
                  <a:gd name="T8" fmla="*/ 0 w 272"/>
                  <a:gd name="T9" fmla="*/ 352 h 378"/>
                  <a:gd name="T10" fmla="*/ 14 w 272"/>
                  <a:gd name="T11" fmla="*/ 324 h 378"/>
                  <a:gd name="T12" fmla="*/ 30 w 272"/>
                  <a:gd name="T13" fmla="*/ 310 h 378"/>
                  <a:gd name="T14" fmla="*/ 30 w 272"/>
                  <a:gd name="T15" fmla="*/ 282 h 378"/>
                  <a:gd name="T16" fmla="*/ 42 w 272"/>
                  <a:gd name="T17" fmla="*/ 262 h 378"/>
                  <a:gd name="T18" fmla="*/ 50 w 272"/>
                  <a:gd name="T19" fmla="*/ 234 h 378"/>
                  <a:gd name="T20" fmla="*/ 22 w 272"/>
                  <a:gd name="T21" fmla="*/ 228 h 378"/>
                  <a:gd name="T22" fmla="*/ 30 w 272"/>
                  <a:gd name="T23" fmla="*/ 206 h 378"/>
                  <a:gd name="T24" fmla="*/ 36 w 272"/>
                  <a:gd name="T25" fmla="*/ 186 h 378"/>
                  <a:gd name="T26" fmla="*/ 56 w 272"/>
                  <a:gd name="T27" fmla="*/ 172 h 378"/>
                  <a:gd name="T28" fmla="*/ 78 w 272"/>
                  <a:gd name="T29" fmla="*/ 152 h 378"/>
                  <a:gd name="T30" fmla="*/ 92 w 272"/>
                  <a:gd name="T31" fmla="*/ 132 h 378"/>
                  <a:gd name="T32" fmla="*/ 106 w 272"/>
                  <a:gd name="T33" fmla="*/ 96 h 378"/>
                  <a:gd name="T34" fmla="*/ 120 w 272"/>
                  <a:gd name="T35" fmla="*/ 68 h 378"/>
                  <a:gd name="T36" fmla="*/ 134 w 272"/>
                  <a:gd name="T37" fmla="*/ 42 h 378"/>
                  <a:gd name="T38" fmla="*/ 140 w 272"/>
                  <a:gd name="T39" fmla="*/ 20 h 378"/>
                  <a:gd name="T40" fmla="*/ 154 w 272"/>
                  <a:gd name="T41" fmla="*/ 8 h 378"/>
                  <a:gd name="T42" fmla="*/ 174 w 272"/>
                  <a:gd name="T43" fmla="*/ 8 h 378"/>
                  <a:gd name="T44" fmla="*/ 182 w 272"/>
                  <a:gd name="T45" fmla="*/ 20 h 378"/>
                  <a:gd name="T46" fmla="*/ 196 w 272"/>
                  <a:gd name="T47" fmla="*/ 28 h 378"/>
                  <a:gd name="T48" fmla="*/ 216 w 272"/>
                  <a:gd name="T49" fmla="*/ 34 h 378"/>
                  <a:gd name="T50" fmla="*/ 230 w 272"/>
                  <a:gd name="T51" fmla="*/ 42 h 378"/>
                  <a:gd name="T52" fmla="*/ 244 w 272"/>
                  <a:gd name="T53" fmla="*/ 48 h 378"/>
                  <a:gd name="T54" fmla="*/ 264 w 272"/>
                  <a:gd name="T55" fmla="*/ 56 h 378"/>
                  <a:gd name="T56" fmla="*/ 258 w 272"/>
                  <a:gd name="T57" fmla="*/ 76 h 378"/>
                  <a:gd name="T58" fmla="*/ 272 w 272"/>
                  <a:gd name="T59" fmla="*/ 90 h 378"/>
                  <a:gd name="T60" fmla="*/ 258 w 272"/>
                  <a:gd name="T61" fmla="*/ 96 h 378"/>
                  <a:gd name="T62" fmla="*/ 244 w 272"/>
                  <a:gd name="T63" fmla="*/ 104 h 378"/>
                  <a:gd name="T64" fmla="*/ 230 w 272"/>
                  <a:gd name="T65" fmla="*/ 110 h 378"/>
                  <a:gd name="T66" fmla="*/ 216 w 272"/>
                  <a:gd name="T67" fmla="*/ 132 h 378"/>
                  <a:gd name="T68" fmla="*/ 210 w 272"/>
                  <a:gd name="T69" fmla="*/ 152 h 378"/>
                  <a:gd name="T70" fmla="*/ 210 w 272"/>
                  <a:gd name="T71" fmla="*/ 172 h 378"/>
                  <a:gd name="T72" fmla="*/ 196 w 272"/>
                  <a:gd name="T73" fmla="*/ 178 h 378"/>
                  <a:gd name="T74" fmla="*/ 174 w 272"/>
                  <a:gd name="T75" fmla="*/ 206 h 378"/>
                  <a:gd name="T76" fmla="*/ 154 w 272"/>
                  <a:gd name="T77" fmla="*/ 206 h 378"/>
                  <a:gd name="T78" fmla="*/ 154 w 272"/>
                  <a:gd name="T79" fmla="*/ 234 h 378"/>
                  <a:gd name="T80" fmla="*/ 160 w 272"/>
                  <a:gd name="T81" fmla="*/ 256 h 378"/>
                  <a:gd name="T82" fmla="*/ 148 w 272"/>
                  <a:gd name="T83" fmla="*/ 276 h 378"/>
                  <a:gd name="T84" fmla="*/ 134 w 272"/>
                  <a:gd name="T85" fmla="*/ 290 h 378"/>
                  <a:gd name="T86" fmla="*/ 140 w 272"/>
                  <a:gd name="T87" fmla="*/ 304 h 378"/>
                  <a:gd name="T88" fmla="*/ 134 w 272"/>
                  <a:gd name="T89" fmla="*/ 316 h 378"/>
                  <a:gd name="T90" fmla="*/ 112 w 272"/>
                  <a:gd name="T91" fmla="*/ 324 h 378"/>
                  <a:gd name="T92" fmla="*/ 106 w 272"/>
                  <a:gd name="T93" fmla="*/ 338 h 378"/>
                  <a:gd name="T94" fmla="*/ 98 w 272"/>
                  <a:gd name="T95" fmla="*/ 372 h 378"/>
                  <a:gd name="T96" fmla="*/ 106 w 272"/>
                  <a:gd name="T97" fmla="*/ 372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2" h="378">
                    <a:moveTo>
                      <a:pt x="106" y="372"/>
                    </a:moveTo>
                    <a:lnTo>
                      <a:pt x="84" y="378"/>
                    </a:lnTo>
                    <a:lnTo>
                      <a:pt x="78" y="378"/>
                    </a:lnTo>
                    <a:lnTo>
                      <a:pt x="78" y="372"/>
                    </a:lnTo>
                    <a:lnTo>
                      <a:pt x="70" y="378"/>
                    </a:lnTo>
                    <a:lnTo>
                      <a:pt x="64" y="372"/>
                    </a:lnTo>
                    <a:lnTo>
                      <a:pt x="50" y="366"/>
                    </a:lnTo>
                    <a:lnTo>
                      <a:pt x="42" y="358"/>
                    </a:lnTo>
                    <a:lnTo>
                      <a:pt x="36" y="358"/>
                    </a:lnTo>
                    <a:lnTo>
                      <a:pt x="30" y="358"/>
                    </a:lnTo>
                    <a:lnTo>
                      <a:pt x="30" y="352"/>
                    </a:lnTo>
                    <a:lnTo>
                      <a:pt x="22" y="344"/>
                    </a:lnTo>
                    <a:lnTo>
                      <a:pt x="14" y="352"/>
                    </a:lnTo>
                    <a:lnTo>
                      <a:pt x="8" y="352"/>
                    </a:lnTo>
                    <a:lnTo>
                      <a:pt x="0" y="352"/>
                    </a:lnTo>
                    <a:lnTo>
                      <a:pt x="0" y="344"/>
                    </a:lnTo>
                    <a:lnTo>
                      <a:pt x="8" y="338"/>
                    </a:lnTo>
                    <a:lnTo>
                      <a:pt x="14" y="324"/>
                    </a:lnTo>
                    <a:lnTo>
                      <a:pt x="14" y="316"/>
                    </a:lnTo>
                    <a:lnTo>
                      <a:pt x="22" y="310"/>
                    </a:lnTo>
                    <a:lnTo>
                      <a:pt x="30" y="310"/>
                    </a:lnTo>
                    <a:lnTo>
                      <a:pt x="30" y="304"/>
                    </a:lnTo>
                    <a:lnTo>
                      <a:pt x="36" y="290"/>
                    </a:lnTo>
                    <a:lnTo>
                      <a:pt x="30" y="282"/>
                    </a:lnTo>
                    <a:lnTo>
                      <a:pt x="36" y="276"/>
                    </a:lnTo>
                    <a:lnTo>
                      <a:pt x="36" y="268"/>
                    </a:lnTo>
                    <a:lnTo>
                      <a:pt x="42" y="262"/>
                    </a:lnTo>
                    <a:lnTo>
                      <a:pt x="50" y="256"/>
                    </a:lnTo>
                    <a:lnTo>
                      <a:pt x="50" y="248"/>
                    </a:lnTo>
                    <a:lnTo>
                      <a:pt x="50" y="234"/>
                    </a:lnTo>
                    <a:lnTo>
                      <a:pt x="42" y="234"/>
                    </a:lnTo>
                    <a:lnTo>
                      <a:pt x="36" y="228"/>
                    </a:lnTo>
                    <a:lnTo>
                      <a:pt x="22" y="228"/>
                    </a:lnTo>
                    <a:lnTo>
                      <a:pt x="22" y="220"/>
                    </a:lnTo>
                    <a:lnTo>
                      <a:pt x="22" y="214"/>
                    </a:lnTo>
                    <a:lnTo>
                      <a:pt x="30" y="206"/>
                    </a:lnTo>
                    <a:lnTo>
                      <a:pt x="36" y="200"/>
                    </a:lnTo>
                    <a:lnTo>
                      <a:pt x="36" y="192"/>
                    </a:lnTo>
                    <a:lnTo>
                      <a:pt x="36" y="186"/>
                    </a:lnTo>
                    <a:lnTo>
                      <a:pt x="36" y="178"/>
                    </a:lnTo>
                    <a:lnTo>
                      <a:pt x="42" y="172"/>
                    </a:lnTo>
                    <a:lnTo>
                      <a:pt x="56" y="172"/>
                    </a:lnTo>
                    <a:lnTo>
                      <a:pt x="64" y="172"/>
                    </a:lnTo>
                    <a:lnTo>
                      <a:pt x="70" y="158"/>
                    </a:lnTo>
                    <a:lnTo>
                      <a:pt x="78" y="152"/>
                    </a:lnTo>
                    <a:lnTo>
                      <a:pt x="78" y="144"/>
                    </a:lnTo>
                    <a:lnTo>
                      <a:pt x="84" y="138"/>
                    </a:lnTo>
                    <a:lnTo>
                      <a:pt x="92" y="132"/>
                    </a:lnTo>
                    <a:lnTo>
                      <a:pt x="98" y="118"/>
                    </a:lnTo>
                    <a:lnTo>
                      <a:pt x="106" y="110"/>
                    </a:lnTo>
                    <a:lnTo>
                      <a:pt x="106" y="96"/>
                    </a:lnTo>
                    <a:lnTo>
                      <a:pt x="112" y="90"/>
                    </a:lnTo>
                    <a:lnTo>
                      <a:pt x="120" y="82"/>
                    </a:lnTo>
                    <a:lnTo>
                      <a:pt x="120" y="68"/>
                    </a:lnTo>
                    <a:lnTo>
                      <a:pt x="126" y="62"/>
                    </a:lnTo>
                    <a:lnTo>
                      <a:pt x="134" y="56"/>
                    </a:lnTo>
                    <a:lnTo>
                      <a:pt x="134" y="42"/>
                    </a:lnTo>
                    <a:lnTo>
                      <a:pt x="134" y="34"/>
                    </a:lnTo>
                    <a:lnTo>
                      <a:pt x="140" y="28"/>
                    </a:lnTo>
                    <a:lnTo>
                      <a:pt x="140" y="20"/>
                    </a:lnTo>
                    <a:lnTo>
                      <a:pt x="140" y="14"/>
                    </a:lnTo>
                    <a:lnTo>
                      <a:pt x="140" y="8"/>
                    </a:lnTo>
                    <a:lnTo>
                      <a:pt x="154" y="8"/>
                    </a:lnTo>
                    <a:lnTo>
                      <a:pt x="160" y="8"/>
                    </a:lnTo>
                    <a:lnTo>
                      <a:pt x="160" y="0"/>
                    </a:lnTo>
                    <a:lnTo>
                      <a:pt x="174" y="8"/>
                    </a:lnTo>
                    <a:lnTo>
                      <a:pt x="182" y="8"/>
                    </a:lnTo>
                    <a:lnTo>
                      <a:pt x="182" y="14"/>
                    </a:lnTo>
                    <a:lnTo>
                      <a:pt x="182" y="20"/>
                    </a:lnTo>
                    <a:lnTo>
                      <a:pt x="182" y="28"/>
                    </a:lnTo>
                    <a:lnTo>
                      <a:pt x="188" y="28"/>
                    </a:lnTo>
                    <a:lnTo>
                      <a:pt x="196" y="28"/>
                    </a:lnTo>
                    <a:lnTo>
                      <a:pt x="202" y="28"/>
                    </a:lnTo>
                    <a:lnTo>
                      <a:pt x="210" y="34"/>
                    </a:lnTo>
                    <a:lnTo>
                      <a:pt x="216" y="34"/>
                    </a:lnTo>
                    <a:lnTo>
                      <a:pt x="224" y="42"/>
                    </a:lnTo>
                    <a:lnTo>
                      <a:pt x="230" y="48"/>
                    </a:lnTo>
                    <a:lnTo>
                      <a:pt x="230" y="42"/>
                    </a:lnTo>
                    <a:lnTo>
                      <a:pt x="238" y="42"/>
                    </a:lnTo>
                    <a:lnTo>
                      <a:pt x="244" y="42"/>
                    </a:lnTo>
                    <a:lnTo>
                      <a:pt x="244" y="48"/>
                    </a:lnTo>
                    <a:lnTo>
                      <a:pt x="250" y="48"/>
                    </a:lnTo>
                    <a:lnTo>
                      <a:pt x="258" y="48"/>
                    </a:lnTo>
                    <a:lnTo>
                      <a:pt x="264" y="56"/>
                    </a:lnTo>
                    <a:lnTo>
                      <a:pt x="258" y="62"/>
                    </a:lnTo>
                    <a:lnTo>
                      <a:pt x="258" y="68"/>
                    </a:lnTo>
                    <a:lnTo>
                      <a:pt x="258" y="76"/>
                    </a:lnTo>
                    <a:lnTo>
                      <a:pt x="264" y="76"/>
                    </a:lnTo>
                    <a:lnTo>
                      <a:pt x="272" y="82"/>
                    </a:lnTo>
                    <a:lnTo>
                      <a:pt x="272" y="90"/>
                    </a:lnTo>
                    <a:lnTo>
                      <a:pt x="264" y="90"/>
                    </a:lnTo>
                    <a:lnTo>
                      <a:pt x="264" y="96"/>
                    </a:lnTo>
                    <a:lnTo>
                      <a:pt x="258" y="96"/>
                    </a:lnTo>
                    <a:lnTo>
                      <a:pt x="250" y="96"/>
                    </a:lnTo>
                    <a:lnTo>
                      <a:pt x="250" y="104"/>
                    </a:lnTo>
                    <a:lnTo>
                      <a:pt x="244" y="104"/>
                    </a:lnTo>
                    <a:lnTo>
                      <a:pt x="238" y="104"/>
                    </a:lnTo>
                    <a:lnTo>
                      <a:pt x="238" y="110"/>
                    </a:lnTo>
                    <a:lnTo>
                      <a:pt x="230" y="110"/>
                    </a:lnTo>
                    <a:lnTo>
                      <a:pt x="224" y="118"/>
                    </a:lnTo>
                    <a:lnTo>
                      <a:pt x="224" y="124"/>
                    </a:lnTo>
                    <a:lnTo>
                      <a:pt x="216" y="132"/>
                    </a:lnTo>
                    <a:lnTo>
                      <a:pt x="216" y="138"/>
                    </a:lnTo>
                    <a:lnTo>
                      <a:pt x="210" y="144"/>
                    </a:lnTo>
                    <a:lnTo>
                      <a:pt x="210" y="152"/>
                    </a:lnTo>
                    <a:lnTo>
                      <a:pt x="210" y="158"/>
                    </a:lnTo>
                    <a:lnTo>
                      <a:pt x="210" y="166"/>
                    </a:lnTo>
                    <a:lnTo>
                      <a:pt x="210" y="172"/>
                    </a:lnTo>
                    <a:lnTo>
                      <a:pt x="202" y="172"/>
                    </a:lnTo>
                    <a:lnTo>
                      <a:pt x="196" y="172"/>
                    </a:lnTo>
                    <a:lnTo>
                      <a:pt x="196" y="178"/>
                    </a:lnTo>
                    <a:lnTo>
                      <a:pt x="182" y="192"/>
                    </a:lnTo>
                    <a:lnTo>
                      <a:pt x="182" y="200"/>
                    </a:lnTo>
                    <a:lnTo>
                      <a:pt x="174" y="206"/>
                    </a:lnTo>
                    <a:lnTo>
                      <a:pt x="174" y="214"/>
                    </a:lnTo>
                    <a:lnTo>
                      <a:pt x="168" y="214"/>
                    </a:lnTo>
                    <a:lnTo>
                      <a:pt x="154" y="206"/>
                    </a:lnTo>
                    <a:lnTo>
                      <a:pt x="154" y="220"/>
                    </a:lnTo>
                    <a:lnTo>
                      <a:pt x="154" y="228"/>
                    </a:lnTo>
                    <a:lnTo>
                      <a:pt x="154" y="234"/>
                    </a:lnTo>
                    <a:lnTo>
                      <a:pt x="160" y="242"/>
                    </a:lnTo>
                    <a:lnTo>
                      <a:pt x="160" y="248"/>
                    </a:lnTo>
                    <a:lnTo>
                      <a:pt x="160" y="256"/>
                    </a:lnTo>
                    <a:lnTo>
                      <a:pt x="154" y="262"/>
                    </a:lnTo>
                    <a:lnTo>
                      <a:pt x="148" y="268"/>
                    </a:lnTo>
                    <a:lnTo>
                      <a:pt x="148" y="276"/>
                    </a:lnTo>
                    <a:lnTo>
                      <a:pt x="140" y="276"/>
                    </a:lnTo>
                    <a:lnTo>
                      <a:pt x="134" y="282"/>
                    </a:lnTo>
                    <a:lnTo>
                      <a:pt x="134" y="290"/>
                    </a:lnTo>
                    <a:lnTo>
                      <a:pt x="126" y="296"/>
                    </a:lnTo>
                    <a:lnTo>
                      <a:pt x="134" y="304"/>
                    </a:lnTo>
                    <a:lnTo>
                      <a:pt x="140" y="304"/>
                    </a:lnTo>
                    <a:lnTo>
                      <a:pt x="140" y="310"/>
                    </a:lnTo>
                    <a:lnTo>
                      <a:pt x="140" y="316"/>
                    </a:lnTo>
                    <a:lnTo>
                      <a:pt x="134" y="316"/>
                    </a:lnTo>
                    <a:lnTo>
                      <a:pt x="126" y="324"/>
                    </a:lnTo>
                    <a:lnTo>
                      <a:pt x="120" y="324"/>
                    </a:lnTo>
                    <a:lnTo>
                      <a:pt x="112" y="324"/>
                    </a:lnTo>
                    <a:lnTo>
                      <a:pt x="112" y="330"/>
                    </a:lnTo>
                    <a:lnTo>
                      <a:pt x="106" y="330"/>
                    </a:lnTo>
                    <a:lnTo>
                      <a:pt x="106" y="338"/>
                    </a:lnTo>
                    <a:lnTo>
                      <a:pt x="98" y="344"/>
                    </a:lnTo>
                    <a:lnTo>
                      <a:pt x="98" y="358"/>
                    </a:lnTo>
                    <a:lnTo>
                      <a:pt x="98" y="372"/>
                    </a:lnTo>
                    <a:lnTo>
                      <a:pt x="106" y="372"/>
                    </a:lnTo>
                    <a:lnTo>
                      <a:pt x="106" y="372"/>
                    </a:lnTo>
                    <a:lnTo>
                      <a:pt x="106" y="372"/>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2" name="Freeform 26"/>
              <p:cNvSpPr>
                <a:spLocks/>
              </p:cNvSpPr>
              <p:nvPr>
                <p:custDataLst>
                  <p:tags r:id="rId133"/>
                </p:custDataLst>
              </p:nvPr>
            </p:nvSpPr>
            <p:spPr bwMode="gray">
              <a:xfrm>
                <a:off x="3283711" y="3031896"/>
                <a:ext cx="1043220" cy="1009874"/>
              </a:xfrm>
              <a:custGeom>
                <a:avLst/>
                <a:gdLst>
                  <a:gd name="T0" fmla="*/ 553 w 657"/>
                  <a:gd name="T1" fmla="*/ 558 h 636"/>
                  <a:gd name="T2" fmla="*/ 545 w 657"/>
                  <a:gd name="T3" fmla="*/ 510 h 636"/>
                  <a:gd name="T4" fmla="*/ 525 w 657"/>
                  <a:gd name="T5" fmla="*/ 476 h 636"/>
                  <a:gd name="T6" fmla="*/ 567 w 657"/>
                  <a:gd name="T7" fmla="*/ 454 h 636"/>
                  <a:gd name="T8" fmla="*/ 559 w 657"/>
                  <a:gd name="T9" fmla="*/ 420 h 636"/>
                  <a:gd name="T10" fmla="*/ 553 w 657"/>
                  <a:gd name="T11" fmla="*/ 386 h 636"/>
                  <a:gd name="T12" fmla="*/ 553 w 657"/>
                  <a:gd name="T13" fmla="*/ 372 h 636"/>
                  <a:gd name="T14" fmla="*/ 539 w 657"/>
                  <a:gd name="T15" fmla="*/ 352 h 636"/>
                  <a:gd name="T16" fmla="*/ 581 w 657"/>
                  <a:gd name="T17" fmla="*/ 310 h 636"/>
                  <a:gd name="T18" fmla="*/ 615 w 657"/>
                  <a:gd name="T19" fmla="*/ 290 h 636"/>
                  <a:gd name="T20" fmla="*/ 629 w 657"/>
                  <a:gd name="T21" fmla="*/ 242 h 636"/>
                  <a:gd name="T22" fmla="*/ 635 w 657"/>
                  <a:gd name="T23" fmla="*/ 200 h 636"/>
                  <a:gd name="T24" fmla="*/ 581 w 657"/>
                  <a:gd name="T25" fmla="*/ 152 h 636"/>
                  <a:gd name="T26" fmla="*/ 539 w 657"/>
                  <a:gd name="T27" fmla="*/ 146 h 636"/>
                  <a:gd name="T28" fmla="*/ 511 w 657"/>
                  <a:gd name="T29" fmla="*/ 110 h 636"/>
                  <a:gd name="T30" fmla="*/ 483 w 657"/>
                  <a:gd name="T31" fmla="*/ 104 h 636"/>
                  <a:gd name="T32" fmla="*/ 469 w 657"/>
                  <a:gd name="T33" fmla="*/ 68 h 636"/>
                  <a:gd name="T34" fmla="*/ 443 w 657"/>
                  <a:gd name="T35" fmla="*/ 42 h 636"/>
                  <a:gd name="T36" fmla="*/ 421 w 657"/>
                  <a:gd name="T37" fmla="*/ 14 h 636"/>
                  <a:gd name="T38" fmla="*/ 386 w 657"/>
                  <a:gd name="T39" fmla="*/ 0 h 636"/>
                  <a:gd name="T40" fmla="*/ 366 w 657"/>
                  <a:gd name="T41" fmla="*/ 34 h 636"/>
                  <a:gd name="T42" fmla="*/ 338 w 657"/>
                  <a:gd name="T43" fmla="*/ 62 h 636"/>
                  <a:gd name="T44" fmla="*/ 290 w 657"/>
                  <a:gd name="T45" fmla="*/ 84 h 636"/>
                  <a:gd name="T46" fmla="*/ 276 w 657"/>
                  <a:gd name="T47" fmla="*/ 96 h 636"/>
                  <a:gd name="T48" fmla="*/ 220 w 657"/>
                  <a:gd name="T49" fmla="*/ 84 h 636"/>
                  <a:gd name="T50" fmla="*/ 206 w 657"/>
                  <a:gd name="T51" fmla="*/ 48 h 636"/>
                  <a:gd name="T52" fmla="*/ 178 w 657"/>
                  <a:gd name="T53" fmla="*/ 68 h 636"/>
                  <a:gd name="T54" fmla="*/ 186 w 657"/>
                  <a:gd name="T55" fmla="*/ 118 h 636"/>
                  <a:gd name="T56" fmla="*/ 158 w 657"/>
                  <a:gd name="T57" fmla="*/ 110 h 636"/>
                  <a:gd name="T58" fmla="*/ 110 w 657"/>
                  <a:gd name="T59" fmla="*/ 104 h 636"/>
                  <a:gd name="T60" fmla="*/ 96 w 657"/>
                  <a:gd name="T61" fmla="*/ 84 h 636"/>
                  <a:gd name="T62" fmla="*/ 48 w 657"/>
                  <a:gd name="T63" fmla="*/ 84 h 636"/>
                  <a:gd name="T64" fmla="*/ 6 w 657"/>
                  <a:gd name="T65" fmla="*/ 84 h 636"/>
                  <a:gd name="T66" fmla="*/ 26 w 657"/>
                  <a:gd name="T67" fmla="*/ 104 h 636"/>
                  <a:gd name="T68" fmla="*/ 6 w 657"/>
                  <a:gd name="T69" fmla="*/ 118 h 636"/>
                  <a:gd name="T70" fmla="*/ 40 w 657"/>
                  <a:gd name="T71" fmla="*/ 130 h 636"/>
                  <a:gd name="T72" fmla="*/ 68 w 657"/>
                  <a:gd name="T73" fmla="*/ 166 h 636"/>
                  <a:gd name="T74" fmla="*/ 102 w 657"/>
                  <a:gd name="T75" fmla="*/ 186 h 636"/>
                  <a:gd name="T76" fmla="*/ 110 w 657"/>
                  <a:gd name="T77" fmla="*/ 214 h 636"/>
                  <a:gd name="T78" fmla="*/ 116 w 657"/>
                  <a:gd name="T79" fmla="*/ 254 h 636"/>
                  <a:gd name="T80" fmla="*/ 144 w 657"/>
                  <a:gd name="T81" fmla="*/ 290 h 636"/>
                  <a:gd name="T82" fmla="*/ 138 w 657"/>
                  <a:gd name="T83" fmla="*/ 332 h 636"/>
                  <a:gd name="T84" fmla="*/ 144 w 657"/>
                  <a:gd name="T85" fmla="*/ 366 h 636"/>
                  <a:gd name="T86" fmla="*/ 138 w 657"/>
                  <a:gd name="T87" fmla="*/ 372 h 636"/>
                  <a:gd name="T88" fmla="*/ 116 w 657"/>
                  <a:gd name="T89" fmla="*/ 372 h 636"/>
                  <a:gd name="T90" fmla="*/ 110 w 657"/>
                  <a:gd name="T91" fmla="*/ 414 h 636"/>
                  <a:gd name="T92" fmla="*/ 82 w 657"/>
                  <a:gd name="T93" fmla="*/ 442 h 636"/>
                  <a:gd name="T94" fmla="*/ 40 w 657"/>
                  <a:gd name="T95" fmla="*/ 496 h 636"/>
                  <a:gd name="T96" fmla="*/ 68 w 657"/>
                  <a:gd name="T97" fmla="*/ 524 h 636"/>
                  <a:gd name="T98" fmla="*/ 116 w 657"/>
                  <a:gd name="T99" fmla="*/ 558 h 636"/>
                  <a:gd name="T100" fmla="*/ 174 w 657"/>
                  <a:gd name="T101" fmla="*/ 588 h 636"/>
                  <a:gd name="T102" fmla="*/ 214 w 657"/>
                  <a:gd name="T103" fmla="*/ 614 h 636"/>
                  <a:gd name="T104" fmla="*/ 262 w 657"/>
                  <a:gd name="T105" fmla="*/ 628 h 636"/>
                  <a:gd name="T106" fmla="*/ 302 w 657"/>
                  <a:gd name="T107" fmla="*/ 630 h 636"/>
                  <a:gd name="T108" fmla="*/ 302 w 657"/>
                  <a:gd name="T109" fmla="*/ 592 h 636"/>
                  <a:gd name="T110" fmla="*/ 338 w 657"/>
                  <a:gd name="T111" fmla="*/ 572 h 636"/>
                  <a:gd name="T112" fmla="*/ 380 w 657"/>
                  <a:gd name="T113" fmla="*/ 572 h 636"/>
                  <a:gd name="T114" fmla="*/ 421 w 657"/>
                  <a:gd name="T115" fmla="*/ 572 h 636"/>
                  <a:gd name="T116" fmla="*/ 443 w 657"/>
                  <a:gd name="T117" fmla="*/ 592 h 636"/>
                  <a:gd name="T118" fmla="*/ 469 w 657"/>
                  <a:gd name="T119" fmla="*/ 620 h 636"/>
                  <a:gd name="T120" fmla="*/ 511 w 657"/>
                  <a:gd name="T121" fmla="*/ 614 h 636"/>
                  <a:gd name="T122" fmla="*/ 531 w 657"/>
                  <a:gd name="T123" fmla="*/ 592 h 636"/>
                  <a:gd name="T124" fmla="*/ 559 w 657"/>
                  <a:gd name="T125" fmla="*/ 586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7" h="636">
                    <a:moveTo>
                      <a:pt x="559" y="586"/>
                    </a:moveTo>
                    <a:lnTo>
                      <a:pt x="567" y="580"/>
                    </a:lnTo>
                    <a:lnTo>
                      <a:pt x="567" y="572"/>
                    </a:lnTo>
                    <a:lnTo>
                      <a:pt x="573" y="566"/>
                    </a:lnTo>
                    <a:lnTo>
                      <a:pt x="567" y="558"/>
                    </a:lnTo>
                    <a:lnTo>
                      <a:pt x="553" y="558"/>
                    </a:lnTo>
                    <a:lnTo>
                      <a:pt x="545" y="558"/>
                    </a:lnTo>
                    <a:lnTo>
                      <a:pt x="539" y="544"/>
                    </a:lnTo>
                    <a:lnTo>
                      <a:pt x="539" y="538"/>
                    </a:lnTo>
                    <a:lnTo>
                      <a:pt x="539" y="524"/>
                    </a:lnTo>
                    <a:lnTo>
                      <a:pt x="539" y="516"/>
                    </a:lnTo>
                    <a:lnTo>
                      <a:pt x="545" y="510"/>
                    </a:lnTo>
                    <a:lnTo>
                      <a:pt x="545" y="504"/>
                    </a:lnTo>
                    <a:lnTo>
                      <a:pt x="545" y="496"/>
                    </a:lnTo>
                    <a:lnTo>
                      <a:pt x="539" y="490"/>
                    </a:lnTo>
                    <a:lnTo>
                      <a:pt x="531" y="490"/>
                    </a:lnTo>
                    <a:lnTo>
                      <a:pt x="525" y="482"/>
                    </a:lnTo>
                    <a:lnTo>
                      <a:pt x="525" y="476"/>
                    </a:lnTo>
                    <a:lnTo>
                      <a:pt x="531" y="476"/>
                    </a:lnTo>
                    <a:lnTo>
                      <a:pt x="539" y="476"/>
                    </a:lnTo>
                    <a:lnTo>
                      <a:pt x="545" y="476"/>
                    </a:lnTo>
                    <a:lnTo>
                      <a:pt x="553" y="468"/>
                    </a:lnTo>
                    <a:lnTo>
                      <a:pt x="559" y="462"/>
                    </a:lnTo>
                    <a:lnTo>
                      <a:pt x="567" y="454"/>
                    </a:lnTo>
                    <a:lnTo>
                      <a:pt x="559" y="448"/>
                    </a:lnTo>
                    <a:lnTo>
                      <a:pt x="559" y="442"/>
                    </a:lnTo>
                    <a:lnTo>
                      <a:pt x="553" y="434"/>
                    </a:lnTo>
                    <a:lnTo>
                      <a:pt x="553" y="428"/>
                    </a:lnTo>
                    <a:lnTo>
                      <a:pt x="559" y="428"/>
                    </a:lnTo>
                    <a:lnTo>
                      <a:pt x="559" y="420"/>
                    </a:lnTo>
                    <a:lnTo>
                      <a:pt x="559" y="414"/>
                    </a:lnTo>
                    <a:lnTo>
                      <a:pt x="553" y="406"/>
                    </a:lnTo>
                    <a:lnTo>
                      <a:pt x="553" y="400"/>
                    </a:lnTo>
                    <a:lnTo>
                      <a:pt x="559" y="400"/>
                    </a:lnTo>
                    <a:lnTo>
                      <a:pt x="553" y="392"/>
                    </a:lnTo>
                    <a:lnTo>
                      <a:pt x="553" y="386"/>
                    </a:lnTo>
                    <a:lnTo>
                      <a:pt x="559" y="386"/>
                    </a:lnTo>
                    <a:lnTo>
                      <a:pt x="567" y="386"/>
                    </a:lnTo>
                    <a:lnTo>
                      <a:pt x="567" y="378"/>
                    </a:lnTo>
                    <a:lnTo>
                      <a:pt x="559" y="366"/>
                    </a:lnTo>
                    <a:lnTo>
                      <a:pt x="553" y="366"/>
                    </a:lnTo>
                    <a:lnTo>
                      <a:pt x="553" y="372"/>
                    </a:lnTo>
                    <a:lnTo>
                      <a:pt x="545" y="372"/>
                    </a:lnTo>
                    <a:lnTo>
                      <a:pt x="539" y="386"/>
                    </a:lnTo>
                    <a:lnTo>
                      <a:pt x="525" y="392"/>
                    </a:lnTo>
                    <a:lnTo>
                      <a:pt x="519" y="378"/>
                    </a:lnTo>
                    <a:lnTo>
                      <a:pt x="525" y="366"/>
                    </a:lnTo>
                    <a:lnTo>
                      <a:pt x="539" y="352"/>
                    </a:lnTo>
                    <a:lnTo>
                      <a:pt x="539" y="344"/>
                    </a:lnTo>
                    <a:lnTo>
                      <a:pt x="545" y="338"/>
                    </a:lnTo>
                    <a:lnTo>
                      <a:pt x="559" y="338"/>
                    </a:lnTo>
                    <a:lnTo>
                      <a:pt x="573" y="332"/>
                    </a:lnTo>
                    <a:lnTo>
                      <a:pt x="581" y="318"/>
                    </a:lnTo>
                    <a:lnTo>
                      <a:pt x="581" y="310"/>
                    </a:lnTo>
                    <a:lnTo>
                      <a:pt x="587" y="304"/>
                    </a:lnTo>
                    <a:lnTo>
                      <a:pt x="595" y="310"/>
                    </a:lnTo>
                    <a:lnTo>
                      <a:pt x="601" y="318"/>
                    </a:lnTo>
                    <a:lnTo>
                      <a:pt x="609" y="304"/>
                    </a:lnTo>
                    <a:lnTo>
                      <a:pt x="615" y="310"/>
                    </a:lnTo>
                    <a:lnTo>
                      <a:pt x="615" y="290"/>
                    </a:lnTo>
                    <a:lnTo>
                      <a:pt x="621" y="282"/>
                    </a:lnTo>
                    <a:lnTo>
                      <a:pt x="621" y="276"/>
                    </a:lnTo>
                    <a:lnTo>
                      <a:pt x="621" y="262"/>
                    </a:lnTo>
                    <a:lnTo>
                      <a:pt x="621" y="254"/>
                    </a:lnTo>
                    <a:lnTo>
                      <a:pt x="629" y="248"/>
                    </a:lnTo>
                    <a:lnTo>
                      <a:pt x="629" y="242"/>
                    </a:lnTo>
                    <a:lnTo>
                      <a:pt x="635" y="228"/>
                    </a:lnTo>
                    <a:lnTo>
                      <a:pt x="643" y="220"/>
                    </a:lnTo>
                    <a:lnTo>
                      <a:pt x="657" y="208"/>
                    </a:lnTo>
                    <a:lnTo>
                      <a:pt x="649" y="200"/>
                    </a:lnTo>
                    <a:lnTo>
                      <a:pt x="643" y="200"/>
                    </a:lnTo>
                    <a:lnTo>
                      <a:pt x="635" y="200"/>
                    </a:lnTo>
                    <a:lnTo>
                      <a:pt x="629" y="192"/>
                    </a:lnTo>
                    <a:lnTo>
                      <a:pt x="615" y="192"/>
                    </a:lnTo>
                    <a:lnTo>
                      <a:pt x="601" y="186"/>
                    </a:lnTo>
                    <a:lnTo>
                      <a:pt x="595" y="180"/>
                    </a:lnTo>
                    <a:lnTo>
                      <a:pt x="587" y="166"/>
                    </a:lnTo>
                    <a:lnTo>
                      <a:pt x="581" y="152"/>
                    </a:lnTo>
                    <a:lnTo>
                      <a:pt x="567" y="152"/>
                    </a:lnTo>
                    <a:lnTo>
                      <a:pt x="559" y="146"/>
                    </a:lnTo>
                    <a:lnTo>
                      <a:pt x="553" y="146"/>
                    </a:lnTo>
                    <a:lnTo>
                      <a:pt x="545" y="146"/>
                    </a:lnTo>
                    <a:lnTo>
                      <a:pt x="539" y="152"/>
                    </a:lnTo>
                    <a:lnTo>
                      <a:pt x="539" y="146"/>
                    </a:lnTo>
                    <a:lnTo>
                      <a:pt x="531" y="138"/>
                    </a:lnTo>
                    <a:lnTo>
                      <a:pt x="525" y="130"/>
                    </a:lnTo>
                    <a:lnTo>
                      <a:pt x="519" y="130"/>
                    </a:lnTo>
                    <a:lnTo>
                      <a:pt x="519" y="124"/>
                    </a:lnTo>
                    <a:lnTo>
                      <a:pt x="511" y="118"/>
                    </a:lnTo>
                    <a:lnTo>
                      <a:pt x="511" y="110"/>
                    </a:lnTo>
                    <a:lnTo>
                      <a:pt x="505" y="104"/>
                    </a:lnTo>
                    <a:lnTo>
                      <a:pt x="505" y="96"/>
                    </a:lnTo>
                    <a:lnTo>
                      <a:pt x="497" y="96"/>
                    </a:lnTo>
                    <a:lnTo>
                      <a:pt x="497" y="104"/>
                    </a:lnTo>
                    <a:lnTo>
                      <a:pt x="491" y="104"/>
                    </a:lnTo>
                    <a:lnTo>
                      <a:pt x="483" y="104"/>
                    </a:lnTo>
                    <a:lnTo>
                      <a:pt x="477" y="96"/>
                    </a:lnTo>
                    <a:lnTo>
                      <a:pt x="483" y="90"/>
                    </a:lnTo>
                    <a:lnTo>
                      <a:pt x="483" y="84"/>
                    </a:lnTo>
                    <a:lnTo>
                      <a:pt x="483" y="68"/>
                    </a:lnTo>
                    <a:lnTo>
                      <a:pt x="477" y="68"/>
                    </a:lnTo>
                    <a:lnTo>
                      <a:pt x="469" y="68"/>
                    </a:lnTo>
                    <a:lnTo>
                      <a:pt x="463" y="68"/>
                    </a:lnTo>
                    <a:lnTo>
                      <a:pt x="455" y="56"/>
                    </a:lnTo>
                    <a:lnTo>
                      <a:pt x="455" y="48"/>
                    </a:lnTo>
                    <a:lnTo>
                      <a:pt x="449" y="48"/>
                    </a:lnTo>
                    <a:lnTo>
                      <a:pt x="443" y="48"/>
                    </a:lnTo>
                    <a:lnTo>
                      <a:pt x="443" y="42"/>
                    </a:lnTo>
                    <a:lnTo>
                      <a:pt x="443" y="34"/>
                    </a:lnTo>
                    <a:lnTo>
                      <a:pt x="435" y="34"/>
                    </a:lnTo>
                    <a:lnTo>
                      <a:pt x="429" y="34"/>
                    </a:lnTo>
                    <a:lnTo>
                      <a:pt x="429" y="28"/>
                    </a:lnTo>
                    <a:lnTo>
                      <a:pt x="421" y="20"/>
                    </a:lnTo>
                    <a:lnTo>
                      <a:pt x="421" y="14"/>
                    </a:lnTo>
                    <a:lnTo>
                      <a:pt x="421" y="8"/>
                    </a:lnTo>
                    <a:lnTo>
                      <a:pt x="421" y="0"/>
                    </a:lnTo>
                    <a:lnTo>
                      <a:pt x="407" y="0"/>
                    </a:lnTo>
                    <a:lnTo>
                      <a:pt x="401" y="0"/>
                    </a:lnTo>
                    <a:lnTo>
                      <a:pt x="392" y="0"/>
                    </a:lnTo>
                    <a:lnTo>
                      <a:pt x="386" y="0"/>
                    </a:lnTo>
                    <a:lnTo>
                      <a:pt x="380" y="0"/>
                    </a:lnTo>
                    <a:lnTo>
                      <a:pt x="372" y="8"/>
                    </a:lnTo>
                    <a:lnTo>
                      <a:pt x="372" y="14"/>
                    </a:lnTo>
                    <a:lnTo>
                      <a:pt x="372" y="20"/>
                    </a:lnTo>
                    <a:lnTo>
                      <a:pt x="366" y="28"/>
                    </a:lnTo>
                    <a:lnTo>
                      <a:pt x="366" y="34"/>
                    </a:lnTo>
                    <a:lnTo>
                      <a:pt x="366" y="48"/>
                    </a:lnTo>
                    <a:lnTo>
                      <a:pt x="366" y="56"/>
                    </a:lnTo>
                    <a:lnTo>
                      <a:pt x="358" y="56"/>
                    </a:lnTo>
                    <a:lnTo>
                      <a:pt x="352" y="56"/>
                    </a:lnTo>
                    <a:lnTo>
                      <a:pt x="344" y="62"/>
                    </a:lnTo>
                    <a:lnTo>
                      <a:pt x="338" y="62"/>
                    </a:lnTo>
                    <a:lnTo>
                      <a:pt x="324" y="68"/>
                    </a:lnTo>
                    <a:lnTo>
                      <a:pt x="310" y="76"/>
                    </a:lnTo>
                    <a:lnTo>
                      <a:pt x="296" y="76"/>
                    </a:lnTo>
                    <a:lnTo>
                      <a:pt x="282" y="76"/>
                    </a:lnTo>
                    <a:lnTo>
                      <a:pt x="282" y="84"/>
                    </a:lnTo>
                    <a:lnTo>
                      <a:pt x="290" y="84"/>
                    </a:lnTo>
                    <a:lnTo>
                      <a:pt x="302" y="90"/>
                    </a:lnTo>
                    <a:lnTo>
                      <a:pt x="310" y="96"/>
                    </a:lnTo>
                    <a:lnTo>
                      <a:pt x="302" y="96"/>
                    </a:lnTo>
                    <a:lnTo>
                      <a:pt x="302" y="104"/>
                    </a:lnTo>
                    <a:lnTo>
                      <a:pt x="290" y="96"/>
                    </a:lnTo>
                    <a:lnTo>
                      <a:pt x="276" y="96"/>
                    </a:lnTo>
                    <a:lnTo>
                      <a:pt x="262" y="96"/>
                    </a:lnTo>
                    <a:lnTo>
                      <a:pt x="262" y="90"/>
                    </a:lnTo>
                    <a:lnTo>
                      <a:pt x="248" y="90"/>
                    </a:lnTo>
                    <a:lnTo>
                      <a:pt x="234" y="84"/>
                    </a:lnTo>
                    <a:lnTo>
                      <a:pt x="220" y="76"/>
                    </a:lnTo>
                    <a:lnTo>
                      <a:pt x="220" y="84"/>
                    </a:lnTo>
                    <a:lnTo>
                      <a:pt x="206" y="76"/>
                    </a:lnTo>
                    <a:lnTo>
                      <a:pt x="214" y="68"/>
                    </a:lnTo>
                    <a:lnTo>
                      <a:pt x="206" y="62"/>
                    </a:lnTo>
                    <a:lnTo>
                      <a:pt x="206" y="56"/>
                    </a:lnTo>
                    <a:lnTo>
                      <a:pt x="214" y="48"/>
                    </a:lnTo>
                    <a:lnTo>
                      <a:pt x="206" y="48"/>
                    </a:lnTo>
                    <a:lnTo>
                      <a:pt x="200" y="48"/>
                    </a:lnTo>
                    <a:lnTo>
                      <a:pt x="192" y="42"/>
                    </a:lnTo>
                    <a:lnTo>
                      <a:pt x="186" y="42"/>
                    </a:lnTo>
                    <a:lnTo>
                      <a:pt x="186" y="48"/>
                    </a:lnTo>
                    <a:lnTo>
                      <a:pt x="178" y="56"/>
                    </a:lnTo>
                    <a:lnTo>
                      <a:pt x="178" y="68"/>
                    </a:lnTo>
                    <a:lnTo>
                      <a:pt x="178" y="76"/>
                    </a:lnTo>
                    <a:lnTo>
                      <a:pt x="186" y="90"/>
                    </a:lnTo>
                    <a:lnTo>
                      <a:pt x="178" y="96"/>
                    </a:lnTo>
                    <a:lnTo>
                      <a:pt x="178" y="104"/>
                    </a:lnTo>
                    <a:lnTo>
                      <a:pt x="178" y="110"/>
                    </a:lnTo>
                    <a:lnTo>
                      <a:pt x="186" y="118"/>
                    </a:lnTo>
                    <a:lnTo>
                      <a:pt x="186" y="124"/>
                    </a:lnTo>
                    <a:lnTo>
                      <a:pt x="172" y="124"/>
                    </a:lnTo>
                    <a:lnTo>
                      <a:pt x="164" y="118"/>
                    </a:lnTo>
                    <a:lnTo>
                      <a:pt x="158" y="118"/>
                    </a:lnTo>
                    <a:lnTo>
                      <a:pt x="152" y="118"/>
                    </a:lnTo>
                    <a:lnTo>
                      <a:pt x="158" y="110"/>
                    </a:lnTo>
                    <a:lnTo>
                      <a:pt x="144" y="110"/>
                    </a:lnTo>
                    <a:lnTo>
                      <a:pt x="130" y="110"/>
                    </a:lnTo>
                    <a:lnTo>
                      <a:pt x="124" y="104"/>
                    </a:lnTo>
                    <a:lnTo>
                      <a:pt x="124" y="110"/>
                    </a:lnTo>
                    <a:lnTo>
                      <a:pt x="110" y="110"/>
                    </a:lnTo>
                    <a:lnTo>
                      <a:pt x="110" y="104"/>
                    </a:lnTo>
                    <a:lnTo>
                      <a:pt x="110" y="90"/>
                    </a:lnTo>
                    <a:lnTo>
                      <a:pt x="102" y="90"/>
                    </a:lnTo>
                    <a:lnTo>
                      <a:pt x="96" y="90"/>
                    </a:lnTo>
                    <a:lnTo>
                      <a:pt x="96" y="84"/>
                    </a:lnTo>
                    <a:lnTo>
                      <a:pt x="102" y="76"/>
                    </a:lnTo>
                    <a:lnTo>
                      <a:pt x="96" y="84"/>
                    </a:lnTo>
                    <a:lnTo>
                      <a:pt x="82" y="76"/>
                    </a:lnTo>
                    <a:lnTo>
                      <a:pt x="76" y="84"/>
                    </a:lnTo>
                    <a:lnTo>
                      <a:pt x="76" y="90"/>
                    </a:lnTo>
                    <a:lnTo>
                      <a:pt x="62" y="90"/>
                    </a:lnTo>
                    <a:lnTo>
                      <a:pt x="62" y="84"/>
                    </a:lnTo>
                    <a:lnTo>
                      <a:pt x="48" y="84"/>
                    </a:lnTo>
                    <a:lnTo>
                      <a:pt x="40" y="84"/>
                    </a:lnTo>
                    <a:lnTo>
                      <a:pt x="34" y="76"/>
                    </a:lnTo>
                    <a:lnTo>
                      <a:pt x="26" y="84"/>
                    </a:lnTo>
                    <a:lnTo>
                      <a:pt x="20" y="84"/>
                    </a:lnTo>
                    <a:lnTo>
                      <a:pt x="12" y="84"/>
                    </a:lnTo>
                    <a:lnTo>
                      <a:pt x="6" y="84"/>
                    </a:lnTo>
                    <a:lnTo>
                      <a:pt x="6" y="90"/>
                    </a:lnTo>
                    <a:lnTo>
                      <a:pt x="12" y="90"/>
                    </a:lnTo>
                    <a:lnTo>
                      <a:pt x="20" y="90"/>
                    </a:lnTo>
                    <a:lnTo>
                      <a:pt x="26" y="90"/>
                    </a:lnTo>
                    <a:lnTo>
                      <a:pt x="26" y="96"/>
                    </a:lnTo>
                    <a:lnTo>
                      <a:pt x="26" y="104"/>
                    </a:lnTo>
                    <a:lnTo>
                      <a:pt x="20" y="104"/>
                    </a:lnTo>
                    <a:lnTo>
                      <a:pt x="20" y="110"/>
                    </a:lnTo>
                    <a:lnTo>
                      <a:pt x="12" y="110"/>
                    </a:lnTo>
                    <a:lnTo>
                      <a:pt x="6" y="110"/>
                    </a:lnTo>
                    <a:lnTo>
                      <a:pt x="0" y="118"/>
                    </a:lnTo>
                    <a:lnTo>
                      <a:pt x="6" y="118"/>
                    </a:lnTo>
                    <a:lnTo>
                      <a:pt x="12" y="124"/>
                    </a:lnTo>
                    <a:lnTo>
                      <a:pt x="20" y="138"/>
                    </a:lnTo>
                    <a:lnTo>
                      <a:pt x="20" y="130"/>
                    </a:lnTo>
                    <a:lnTo>
                      <a:pt x="34" y="138"/>
                    </a:lnTo>
                    <a:lnTo>
                      <a:pt x="34" y="130"/>
                    </a:lnTo>
                    <a:lnTo>
                      <a:pt x="40" y="130"/>
                    </a:lnTo>
                    <a:lnTo>
                      <a:pt x="40" y="138"/>
                    </a:lnTo>
                    <a:lnTo>
                      <a:pt x="54" y="152"/>
                    </a:lnTo>
                    <a:lnTo>
                      <a:pt x="62" y="152"/>
                    </a:lnTo>
                    <a:lnTo>
                      <a:pt x="62" y="158"/>
                    </a:lnTo>
                    <a:lnTo>
                      <a:pt x="68" y="158"/>
                    </a:lnTo>
                    <a:lnTo>
                      <a:pt x="68" y="166"/>
                    </a:lnTo>
                    <a:lnTo>
                      <a:pt x="68" y="172"/>
                    </a:lnTo>
                    <a:lnTo>
                      <a:pt x="82" y="172"/>
                    </a:lnTo>
                    <a:lnTo>
                      <a:pt x="96" y="172"/>
                    </a:lnTo>
                    <a:lnTo>
                      <a:pt x="88" y="180"/>
                    </a:lnTo>
                    <a:lnTo>
                      <a:pt x="96" y="180"/>
                    </a:lnTo>
                    <a:lnTo>
                      <a:pt x="102" y="186"/>
                    </a:lnTo>
                    <a:lnTo>
                      <a:pt x="96" y="200"/>
                    </a:lnTo>
                    <a:lnTo>
                      <a:pt x="102" y="200"/>
                    </a:lnTo>
                    <a:lnTo>
                      <a:pt x="110" y="208"/>
                    </a:lnTo>
                    <a:lnTo>
                      <a:pt x="124" y="208"/>
                    </a:lnTo>
                    <a:lnTo>
                      <a:pt x="110" y="208"/>
                    </a:lnTo>
                    <a:lnTo>
                      <a:pt x="110" y="214"/>
                    </a:lnTo>
                    <a:lnTo>
                      <a:pt x="116" y="214"/>
                    </a:lnTo>
                    <a:lnTo>
                      <a:pt x="116" y="220"/>
                    </a:lnTo>
                    <a:lnTo>
                      <a:pt x="102" y="234"/>
                    </a:lnTo>
                    <a:lnTo>
                      <a:pt x="102" y="242"/>
                    </a:lnTo>
                    <a:lnTo>
                      <a:pt x="110" y="254"/>
                    </a:lnTo>
                    <a:lnTo>
                      <a:pt x="116" y="254"/>
                    </a:lnTo>
                    <a:lnTo>
                      <a:pt x="116" y="270"/>
                    </a:lnTo>
                    <a:lnTo>
                      <a:pt x="124" y="276"/>
                    </a:lnTo>
                    <a:lnTo>
                      <a:pt x="124" y="282"/>
                    </a:lnTo>
                    <a:lnTo>
                      <a:pt x="138" y="290"/>
                    </a:lnTo>
                    <a:lnTo>
                      <a:pt x="144" y="282"/>
                    </a:lnTo>
                    <a:lnTo>
                      <a:pt x="144" y="290"/>
                    </a:lnTo>
                    <a:lnTo>
                      <a:pt x="144" y="296"/>
                    </a:lnTo>
                    <a:lnTo>
                      <a:pt x="138" y="304"/>
                    </a:lnTo>
                    <a:lnTo>
                      <a:pt x="144" y="304"/>
                    </a:lnTo>
                    <a:lnTo>
                      <a:pt x="138" y="310"/>
                    </a:lnTo>
                    <a:lnTo>
                      <a:pt x="138" y="324"/>
                    </a:lnTo>
                    <a:lnTo>
                      <a:pt x="138" y="332"/>
                    </a:lnTo>
                    <a:lnTo>
                      <a:pt x="130" y="338"/>
                    </a:lnTo>
                    <a:lnTo>
                      <a:pt x="130" y="344"/>
                    </a:lnTo>
                    <a:lnTo>
                      <a:pt x="138" y="344"/>
                    </a:lnTo>
                    <a:lnTo>
                      <a:pt x="138" y="352"/>
                    </a:lnTo>
                    <a:lnTo>
                      <a:pt x="138" y="358"/>
                    </a:lnTo>
                    <a:lnTo>
                      <a:pt x="144" y="366"/>
                    </a:lnTo>
                    <a:lnTo>
                      <a:pt x="144" y="372"/>
                    </a:lnTo>
                    <a:lnTo>
                      <a:pt x="144" y="386"/>
                    </a:lnTo>
                    <a:lnTo>
                      <a:pt x="144" y="392"/>
                    </a:lnTo>
                    <a:lnTo>
                      <a:pt x="138" y="386"/>
                    </a:lnTo>
                    <a:lnTo>
                      <a:pt x="138" y="378"/>
                    </a:lnTo>
                    <a:lnTo>
                      <a:pt x="138" y="372"/>
                    </a:lnTo>
                    <a:lnTo>
                      <a:pt x="130" y="366"/>
                    </a:lnTo>
                    <a:lnTo>
                      <a:pt x="130" y="358"/>
                    </a:lnTo>
                    <a:lnTo>
                      <a:pt x="124" y="352"/>
                    </a:lnTo>
                    <a:lnTo>
                      <a:pt x="124" y="344"/>
                    </a:lnTo>
                    <a:lnTo>
                      <a:pt x="116" y="352"/>
                    </a:lnTo>
                    <a:lnTo>
                      <a:pt x="116" y="372"/>
                    </a:lnTo>
                    <a:lnTo>
                      <a:pt x="116" y="378"/>
                    </a:lnTo>
                    <a:lnTo>
                      <a:pt x="110" y="386"/>
                    </a:lnTo>
                    <a:lnTo>
                      <a:pt x="110" y="400"/>
                    </a:lnTo>
                    <a:lnTo>
                      <a:pt x="102" y="400"/>
                    </a:lnTo>
                    <a:lnTo>
                      <a:pt x="116" y="406"/>
                    </a:lnTo>
                    <a:lnTo>
                      <a:pt x="110" y="414"/>
                    </a:lnTo>
                    <a:lnTo>
                      <a:pt x="96" y="414"/>
                    </a:lnTo>
                    <a:lnTo>
                      <a:pt x="96" y="420"/>
                    </a:lnTo>
                    <a:lnTo>
                      <a:pt x="96" y="428"/>
                    </a:lnTo>
                    <a:lnTo>
                      <a:pt x="88" y="434"/>
                    </a:lnTo>
                    <a:lnTo>
                      <a:pt x="88" y="442"/>
                    </a:lnTo>
                    <a:lnTo>
                      <a:pt x="82" y="442"/>
                    </a:lnTo>
                    <a:lnTo>
                      <a:pt x="82" y="454"/>
                    </a:lnTo>
                    <a:lnTo>
                      <a:pt x="76" y="454"/>
                    </a:lnTo>
                    <a:lnTo>
                      <a:pt x="68" y="462"/>
                    </a:lnTo>
                    <a:lnTo>
                      <a:pt x="68" y="468"/>
                    </a:lnTo>
                    <a:lnTo>
                      <a:pt x="54" y="482"/>
                    </a:lnTo>
                    <a:lnTo>
                      <a:pt x="40" y="496"/>
                    </a:lnTo>
                    <a:lnTo>
                      <a:pt x="48" y="504"/>
                    </a:lnTo>
                    <a:lnTo>
                      <a:pt x="54" y="510"/>
                    </a:lnTo>
                    <a:lnTo>
                      <a:pt x="54" y="516"/>
                    </a:lnTo>
                    <a:lnTo>
                      <a:pt x="54" y="524"/>
                    </a:lnTo>
                    <a:lnTo>
                      <a:pt x="62" y="524"/>
                    </a:lnTo>
                    <a:lnTo>
                      <a:pt x="68" y="524"/>
                    </a:lnTo>
                    <a:lnTo>
                      <a:pt x="82" y="538"/>
                    </a:lnTo>
                    <a:lnTo>
                      <a:pt x="88" y="538"/>
                    </a:lnTo>
                    <a:lnTo>
                      <a:pt x="96" y="552"/>
                    </a:lnTo>
                    <a:lnTo>
                      <a:pt x="102" y="552"/>
                    </a:lnTo>
                    <a:lnTo>
                      <a:pt x="110" y="552"/>
                    </a:lnTo>
                    <a:lnTo>
                      <a:pt x="116" y="558"/>
                    </a:lnTo>
                    <a:lnTo>
                      <a:pt x="130" y="572"/>
                    </a:lnTo>
                    <a:lnTo>
                      <a:pt x="138" y="572"/>
                    </a:lnTo>
                    <a:lnTo>
                      <a:pt x="152" y="580"/>
                    </a:lnTo>
                    <a:lnTo>
                      <a:pt x="158" y="580"/>
                    </a:lnTo>
                    <a:lnTo>
                      <a:pt x="158" y="586"/>
                    </a:lnTo>
                    <a:lnTo>
                      <a:pt x="174" y="588"/>
                    </a:lnTo>
                    <a:lnTo>
                      <a:pt x="190" y="582"/>
                    </a:lnTo>
                    <a:lnTo>
                      <a:pt x="198" y="588"/>
                    </a:lnTo>
                    <a:lnTo>
                      <a:pt x="202" y="596"/>
                    </a:lnTo>
                    <a:lnTo>
                      <a:pt x="200" y="606"/>
                    </a:lnTo>
                    <a:lnTo>
                      <a:pt x="206" y="614"/>
                    </a:lnTo>
                    <a:lnTo>
                      <a:pt x="214" y="614"/>
                    </a:lnTo>
                    <a:lnTo>
                      <a:pt x="220" y="614"/>
                    </a:lnTo>
                    <a:lnTo>
                      <a:pt x="226" y="614"/>
                    </a:lnTo>
                    <a:lnTo>
                      <a:pt x="234" y="620"/>
                    </a:lnTo>
                    <a:lnTo>
                      <a:pt x="240" y="628"/>
                    </a:lnTo>
                    <a:lnTo>
                      <a:pt x="248" y="628"/>
                    </a:lnTo>
                    <a:lnTo>
                      <a:pt x="262" y="628"/>
                    </a:lnTo>
                    <a:lnTo>
                      <a:pt x="268" y="634"/>
                    </a:lnTo>
                    <a:lnTo>
                      <a:pt x="276" y="636"/>
                    </a:lnTo>
                    <a:lnTo>
                      <a:pt x="282" y="634"/>
                    </a:lnTo>
                    <a:lnTo>
                      <a:pt x="290" y="634"/>
                    </a:lnTo>
                    <a:lnTo>
                      <a:pt x="294" y="636"/>
                    </a:lnTo>
                    <a:lnTo>
                      <a:pt x="302" y="630"/>
                    </a:lnTo>
                    <a:lnTo>
                      <a:pt x="300" y="628"/>
                    </a:lnTo>
                    <a:lnTo>
                      <a:pt x="298" y="624"/>
                    </a:lnTo>
                    <a:lnTo>
                      <a:pt x="296" y="620"/>
                    </a:lnTo>
                    <a:lnTo>
                      <a:pt x="302" y="614"/>
                    </a:lnTo>
                    <a:lnTo>
                      <a:pt x="296" y="606"/>
                    </a:lnTo>
                    <a:lnTo>
                      <a:pt x="302" y="592"/>
                    </a:lnTo>
                    <a:lnTo>
                      <a:pt x="302" y="586"/>
                    </a:lnTo>
                    <a:lnTo>
                      <a:pt x="310" y="580"/>
                    </a:lnTo>
                    <a:lnTo>
                      <a:pt x="316" y="580"/>
                    </a:lnTo>
                    <a:lnTo>
                      <a:pt x="324" y="572"/>
                    </a:lnTo>
                    <a:lnTo>
                      <a:pt x="330" y="572"/>
                    </a:lnTo>
                    <a:lnTo>
                      <a:pt x="338" y="572"/>
                    </a:lnTo>
                    <a:lnTo>
                      <a:pt x="344" y="572"/>
                    </a:lnTo>
                    <a:lnTo>
                      <a:pt x="352" y="566"/>
                    </a:lnTo>
                    <a:lnTo>
                      <a:pt x="358" y="558"/>
                    </a:lnTo>
                    <a:lnTo>
                      <a:pt x="366" y="558"/>
                    </a:lnTo>
                    <a:lnTo>
                      <a:pt x="372" y="566"/>
                    </a:lnTo>
                    <a:lnTo>
                      <a:pt x="380" y="572"/>
                    </a:lnTo>
                    <a:lnTo>
                      <a:pt x="386" y="572"/>
                    </a:lnTo>
                    <a:lnTo>
                      <a:pt x="401" y="572"/>
                    </a:lnTo>
                    <a:lnTo>
                      <a:pt x="401" y="586"/>
                    </a:lnTo>
                    <a:lnTo>
                      <a:pt x="407" y="580"/>
                    </a:lnTo>
                    <a:lnTo>
                      <a:pt x="415" y="580"/>
                    </a:lnTo>
                    <a:lnTo>
                      <a:pt x="421" y="572"/>
                    </a:lnTo>
                    <a:lnTo>
                      <a:pt x="429" y="572"/>
                    </a:lnTo>
                    <a:lnTo>
                      <a:pt x="429" y="580"/>
                    </a:lnTo>
                    <a:lnTo>
                      <a:pt x="429" y="586"/>
                    </a:lnTo>
                    <a:lnTo>
                      <a:pt x="435" y="586"/>
                    </a:lnTo>
                    <a:lnTo>
                      <a:pt x="443" y="586"/>
                    </a:lnTo>
                    <a:lnTo>
                      <a:pt x="443" y="592"/>
                    </a:lnTo>
                    <a:lnTo>
                      <a:pt x="443" y="600"/>
                    </a:lnTo>
                    <a:lnTo>
                      <a:pt x="449" y="592"/>
                    </a:lnTo>
                    <a:lnTo>
                      <a:pt x="455" y="600"/>
                    </a:lnTo>
                    <a:lnTo>
                      <a:pt x="463" y="606"/>
                    </a:lnTo>
                    <a:lnTo>
                      <a:pt x="463" y="614"/>
                    </a:lnTo>
                    <a:lnTo>
                      <a:pt x="469" y="620"/>
                    </a:lnTo>
                    <a:lnTo>
                      <a:pt x="477" y="620"/>
                    </a:lnTo>
                    <a:lnTo>
                      <a:pt x="483" y="620"/>
                    </a:lnTo>
                    <a:lnTo>
                      <a:pt x="491" y="620"/>
                    </a:lnTo>
                    <a:lnTo>
                      <a:pt x="497" y="620"/>
                    </a:lnTo>
                    <a:lnTo>
                      <a:pt x="505" y="620"/>
                    </a:lnTo>
                    <a:lnTo>
                      <a:pt x="511" y="614"/>
                    </a:lnTo>
                    <a:lnTo>
                      <a:pt x="511" y="606"/>
                    </a:lnTo>
                    <a:lnTo>
                      <a:pt x="511" y="600"/>
                    </a:lnTo>
                    <a:lnTo>
                      <a:pt x="519" y="600"/>
                    </a:lnTo>
                    <a:lnTo>
                      <a:pt x="525" y="600"/>
                    </a:lnTo>
                    <a:lnTo>
                      <a:pt x="531" y="600"/>
                    </a:lnTo>
                    <a:lnTo>
                      <a:pt x="531" y="592"/>
                    </a:lnTo>
                    <a:lnTo>
                      <a:pt x="539" y="592"/>
                    </a:lnTo>
                    <a:lnTo>
                      <a:pt x="545" y="592"/>
                    </a:lnTo>
                    <a:lnTo>
                      <a:pt x="545" y="600"/>
                    </a:lnTo>
                    <a:lnTo>
                      <a:pt x="559" y="586"/>
                    </a:lnTo>
                    <a:lnTo>
                      <a:pt x="553" y="592"/>
                    </a:lnTo>
                    <a:lnTo>
                      <a:pt x="559" y="586"/>
                    </a:lnTo>
                    <a:lnTo>
                      <a:pt x="559" y="586"/>
                    </a:lnTo>
                    <a:lnTo>
                      <a:pt x="559" y="586"/>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3" name="Freeform 27"/>
              <p:cNvSpPr>
                <a:spLocks/>
              </p:cNvSpPr>
              <p:nvPr/>
            </p:nvSpPr>
            <p:spPr bwMode="gray">
              <a:xfrm>
                <a:off x="3137292" y="776440"/>
                <a:ext cx="504937" cy="425544"/>
              </a:xfrm>
              <a:custGeom>
                <a:avLst/>
                <a:gdLst>
                  <a:gd name="T0" fmla="*/ 22 w 318"/>
                  <a:gd name="T1" fmla="*/ 178 h 268"/>
                  <a:gd name="T2" fmla="*/ 50 w 318"/>
                  <a:gd name="T3" fmla="*/ 192 h 268"/>
                  <a:gd name="T4" fmla="*/ 50 w 318"/>
                  <a:gd name="T5" fmla="*/ 218 h 268"/>
                  <a:gd name="T6" fmla="*/ 84 w 318"/>
                  <a:gd name="T7" fmla="*/ 240 h 268"/>
                  <a:gd name="T8" fmla="*/ 104 w 318"/>
                  <a:gd name="T9" fmla="*/ 268 h 268"/>
                  <a:gd name="T10" fmla="*/ 118 w 318"/>
                  <a:gd name="T11" fmla="*/ 260 h 268"/>
                  <a:gd name="T12" fmla="*/ 160 w 318"/>
                  <a:gd name="T13" fmla="*/ 254 h 268"/>
                  <a:gd name="T14" fmla="*/ 194 w 318"/>
                  <a:gd name="T15" fmla="*/ 260 h 268"/>
                  <a:gd name="T16" fmla="*/ 228 w 318"/>
                  <a:gd name="T17" fmla="*/ 254 h 268"/>
                  <a:gd name="T18" fmla="*/ 250 w 318"/>
                  <a:gd name="T19" fmla="*/ 260 h 268"/>
                  <a:gd name="T20" fmla="*/ 284 w 318"/>
                  <a:gd name="T21" fmla="*/ 248 h 268"/>
                  <a:gd name="T22" fmla="*/ 312 w 318"/>
                  <a:gd name="T23" fmla="*/ 226 h 268"/>
                  <a:gd name="T24" fmla="*/ 318 w 318"/>
                  <a:gd name="T25" fmla="*/ 198 h 268"/>
                  <a:gd name="T26" fmla="*/ 298 w 318"/>
                  <a:gd name="T27" fmla="*/ 178 h 268"/>
                  <a:gd name="T28" fmla="*/ 312 w 318"/>
                  <a:gd name="T29" fmla="*/ 164 h 268"/>
                  <a:gd name="T30" fmla="*/ 318 w 318"/>
                  <a:gd name="T31" fmla="*/ 136 h 268"/>
                  <a:gd name="T32" fmla="*/ 298 w 318"/>
                  <a:gd name="T33" fmla="*/ 130 h 268"/>
                  <a:gd name="T34" fmla="*/ 306 w 318"/>
                  <a:gd name="T35" fmla="*/ 102 h 268"/>
                  <a:gd name="T36" fmla="*/ 284 w 318"/>
                  <a:gd name="T37" fmla="*/ 116 h 268"/>
                  <a:gd name="T38" fmla="*/ 264 w 318"/>
                  <a:gd name="T39" fmla="*/ 110 h 268"/>
                  <a:gd name="T40" fmla="*/ 236 w 318"/>
                  <a:gd name="T41" fmla="*/ 102 h 268"/>
                  <a:gd name="T42" fmla="*/ 222 w 318"/>
                  <a:gd name="T43" fmla="*/ 122 h 268"/>
                  <a:gd name="T44" fmla="*/ 216 w 318"/>
                  <a:gd name="T45" fmla="*/ 102 h 268"/>
                  <a:gd name="T46" fmla="*/ 194 w 318"/>
                  <a:gd name="T47" fmla="*/ 82 h 268"/>
                  <a:gd name="T48" fmla="*/ 174 w 318"/>
                  <a:gd name="T49" fmla="*/ 102 h 268"/>
                  <a:gd name="T50" fmla="*/ 166 w 318"/>
                  <a:gd name="T51" fmla="*/ 68 h 268"/>
                  <a:gd name="T52" fmla="*/ 146 w 318"/>
                  <a:gd name="T53" fmla="*/ 88 h 268"/>
                  <a:gd name="T54" fmla="*/ 118 w 318"/>
                  <a:gd name="T55" fmla="*/ 102 h 268"/>
                  <a:gd name="T56" fmla="*/ 118 w 318"/>
                  <a:gd name="T57" fmla="*/ 82 h 268"/>
                  <a:gd name="T58" fmla="*/ 132 w 318"/>
                  <a:gd name="T59" fmla="*/ 60 h 268"/>
                  <a:gd name="T60" fmla="*/ 138 w 318"/>
                  <a:gd name="T61" fmla="*/ 34 h 268"/>
                  <a:gd name="T62" fmla="*/ 112 w 318"/>
                  <a:gd name="T63" fmla="*/ 0 h 268"/>
                  <a:gd name="T64" fmla="*/ 118 w 318"/>
                  <a:gd name="T65" fmla="*/ 26 h 268"/>
                  <a:gd name="T66" fmla="*/ 104 w 318"/>
                  <a:gd name="T67" fmla="*/ 40 h 268"/>
                  <a:gd name="T68" fmla="*/ 96 w 318"/>
                  <a:gd name="T69" fmla="*/ 6 h 268"/>
                  <a:gd name="T70" fmla="*/ 84 w 318"/>
                  <a:gd name="T71" fmla="*/ 26 h 268"/>
                  <a:gd name="T72" fmla="*/ 70 w 318"/>
                  <a:gd name="T73" fmla="*/ 40 h 268"/>
                  <a:gd name="T74" fmla="*/ 56 w 318"/>
                  <a:gd name="T75" fmla="*/ 20 h 268"/>
                  <a:gd name="T76" fmla="*/ 50 w 318"/>
                  <a:gd name="T77" fmla="*/ 26 h 268"/>
                  <a:gd name="T78" fmla="*/ 56 w 318"/>
                  <a:gd name="T79" fmla="*/ 40 h 268"/>
                  <a:gd name="T80" fmla="*/ 90 w 318"/>
                  <a:gd name="T81" fmla="*/ 60 h 268"/>
                  <a:gd name="T82" fmla="*/ 104 w 318"/>
                  <a:gd name="T83" fmla="*/ 82 h 268"/>
                  <a:gd name="T84" fmla="*/ 76 w 318"/>
                  <a:gd name="T85" fmla="*/ 82 h 268"/>
                  <a:gd name="T86" fmla="*/ 76 w 318"/>
                  <a:gd name="T87" fmla="*/ 102 h 268"/>
                  <a:gd name="T88" fmla="*/ 42 w 318"/>
                  <a:gd name="T89" fmla="*/ 82 h 268"/>
                  <a:gd name="T90" fmla="*/ 28 w 318"/>
                  <a:gd name="T91" fmla="*/ 88 h 268"/>
                  <a:gd name="T92" fmla="*/ 56 w 318"/>
                  <a:gd name="T93" fmla="*/ 102 h 268"/>
                  <a:gd name="T94" fmla="*/ 50 w 318"/>
                  <a:gd name="T95" fmla="*/ 136 h 268"/>
                  <a:gd name="T96" fmla="*/ 42 w 318"/>
                  <a:gd name="T97" fmla="*/ 150 h 268"/>
                  <a:gd name="T98" fmla="*/ 14 w 318"/>
                  <a:gd name="T99" fmla="*/ 158 h 268"/>
                  <a:gd name="T100" fmla="*/ 0 w 318"/>
                  <a:gd name="T101" fmla="*/ 164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8" h="268">
                    <a:moveTo>
                      <a:pt x="0" y="164"/>
                    </a:moveTo>
                    <a:lnTo>
                      <a:pt x="8" y="170"/>
                    </a:lnTo>
                    <a:lnTo>
                      <a:pt x="14" y="170"/>
                    </a:lnTo>
                    <a:lnTo>
                      <a:pt x="22" y="178"/>
                    </a:lnTo>
                    <a:lnTo>
                      <a:pt x="28" y="184"/>
                    </a:lnTo>
                    <a:lnTo>
                      <a:pt x="34" y="192"/>
                    </a:lnTo>
                    <a:lnTo>
                      <a:pt x="42" y="192"/>
                    </a:lnTo>
                    <a:lnTo>
                      <a:pt x="50" y="192"/>
                    </a:lnTo>
                    <a:lnTo>
                      <a:pt x="50" y="198"/>
                    </a:lnTo>
                    <a:lnTo>
                      <a:pt x="50" y="206"/>
                    </a:lnTo>
                    <a:lnTo>
                      <a:pt x="50" y="212"/>
                    </a:lnTo>
                    <a:lnTo>
                      <a:pt x="50" y="218"/>
                    </a:lnTo>
                    <a:lnTo>
                      <a:pt x="56" y="226"/>
                    </a:lnTo>
                    <a:lnTo>
                      <a:pt x="70" y="240"/>
                    </a:lnTo>
                    <a:lnTo>
                      <a:pt x="76" y="240"/>
                    </a:lnTo>
                    <a:lnTo>
                      <a:pt x="84" y="240"/>
                    </a:lnTo>
                    <a:lnTo>
                      <a:pt x="84" y="248"/>
                    </a:lnTo>
                    <a:lnTo>
                      <a:pt x="84" y="254"/>
                    </a:lnTo>
                    <a:lnTo>
                      <a:pt x="96" y="260"/>
                    </a:lnTo>
                    <a:lnTo>
                      <a:pt x="104" y="268"/>
                    </a:lnTo>
                    <a:lnTo>
                      <a:pt x="104" y="260"/>
                    </a:lnTo>
                    <a:lnTo>
                      <a:pt x="112" y="254"/>
                    </a:lnTo>
                    <a:lnTo>
                      <a:pt x="112" y="260"/>
                    </a:lnTo>
                    <a:lnTo>
                      <a:pt x="118" y="260"/>
                    </a:lnTo>
                    <a:lnTo>
                      <a:pt x="132" y="254"/>
                    </a:lnTo>
                    <a:lnTo>
                      <a:pt x="138" y="254"/>
                    </a:lnTo>
                    <a:lnTo>
                      <a:pt x="154" y="260"/>
                    </a:lnTo>
                    <a:lnTo>
                      <a:pt x="160" y="254"/>
                    </a:lnTo>
                    <a:lnTo>
                      <a:pt x="166" y="260"/>
                    </a:lnTo>
                    <a:lnTo>
                      <a:pt x="180" y="260"/>
                    </a:lnTo>
                    <a:lnTo>
                      <a:pt x="180" y="268"/>
                    </a:lnTo>
                    <a:lnTo>
                      <a:pt x="194" y="260"/>
                    </a:lnTo>
                    <a:lnTo>
                      <a:pt x="202" y="254"/>
                    </a:lnTo>
                    <a:lnTo>
                      <a:pt x="216" y="260"/>
                    </a:lnTo>
                    <a:lnTo>
                      <a:pt x="222" y="260"/>
                    </a:lnTo>
                    <a:lnTo>
                      <a:pt x="228" y="254"/>
                    </a:lnTo>
                    <a:lnTo>
                      <a:pt x="236" y="260"/>
                    </a:lnTo>
                    <a:lnTo>
                      <a:pt x="236" y="268"/>
                    </a:lnTo>
                    <a:lnTo>
                      <a:pt x="242" y="260"/>
                    </a:lnTo>
                    <a:lnTo>
                      <a:pt x="250" y="260"/>
                    </a:lnTo>
                    <a:lnTo>
                      <a:pt x="264" y="254"/>
                    </a:lnTo>
                    <a:lnTo>
                      <a:pt x="270" y="240"/>
                    </a:lnTo>
                    <a:lnTo>
                      <a:pt x="278" y="248"/>
                    </a:lnTo>
                    <a:lnTo>
                      <a:pt x="284" y="248"/>
                    </a:lnTo>
                    <a:lnTo>
                      <a:pt x="298" y="248"/>
                    </a:lnTo>
                    <a:lnTo>
                      <a:pt x="298" y="234"/>
                    </a:lnTo>
                    <a:lnTo>
                      <a:pt x="306" y="226"/>
                    </a:lnTo>
                    <a:lnTo>
                      <a:pt x="312" y="226"/>
                    </a:lnTo>
                    <a:lnTo>
                      <a:pt x="312" y="218"/>
                    </a:lnTo>
                    <a:lnTo>
                      <a:pt x="312" y="212"/>
                    </a:lnTo>
                    <a:lnTo>
                      <a:pt x="318" y="206"/>
                    </a:lnTo>
                    <a:lnTo>
                      <a:pt x="318" y="198"/>
                    </a:lnTo>
                    <a:lnTo>
                      <a:pt x="312" y="192"/>
                    </a:lnTo>
                    <a:lnTo>
                      <a:pt x="312" y="184"/>
                    </a:lnTo>
                    <a:lnTo>
                      <a:pt x="312" y="178"/>
                    </a:lnTo>
                    <a:lnTo>
                      <a:pt x="298" y="178"/>
                    </a:lnTo>
                    <a:lnTo>
                      <a:pt x="298" y="170"/>
                    </a:lnTo>
                    <a:lnTo>
                      <a:pt x="306" y="164"/>
                    </a:lnTo>
                    <a:lnTo>
                      <a:pt x="312" y="170"/>
                    </a:lnTo>
                    <a:lnTo>
                      <a:pt x="312" y="164"/>
                    </a:lnTo>
                    <a:lnTo>
                      <a:pt x="306" y="158"/>
                    </a:lnTo>
                    <a:lnTo>
                      <a:pt x="306" y="150"/>
                    </a:lnTo>
                    <a:lnTo>
                      <a:pt x="306" y="144"/>
                    </a:lnTo>
                    <a:lnTo>
                      <a:pt x="318" y="136"/>
                    </a:lnTo>
                    <a:lnTo>
                      <a:pt x="318" y="130"/>
                    </a:lnTo>
                    <a:lnTo>
                      <a:pt x="312" y="136"/>
                    </a:lnTo>
                    <a:lnTo>
                      <a:pt x="298" y="136"/>
                    </a:lnTo>
                    <a:lnTo>
                      <a:pt x="298" y="130"/>
                    </a:lnTo>
                    <a:lnTo>
                      <a:pt x="298" y="122"/>
                    </a:lnTo>
                    <a:lnTo>
                      <a:pt x="306" y="116"/>
                    </a:lnTo>
                    <a:lnTo>
                      <a:pt x="306" y="110"/>
                    </a:lnTo>
                    <a:lnTo>
                      <a:pt x="306" y="102"/>
                    </a:lnTo>
                    <a:lnTo>
                      <a:pt x="306" y="110"/>
                    </a:lnTo>
                    <a:lnTo>
                      <a:pt x="292" y="102"/>
                    </a:lnTo>
                    <a:lnTo>
                      <a:pt x="292" y="110"/>
                    </a:lnTo>
                    <a:lnTo>
                      <a:pt x="284" y="116"/>
                    </a:lnTo>
                    <a:lnTo>
                      <a:pt x="278" y="122"/>
                    </a:lnTo>
                    <a:lnTo>
                      <a:pt x="270" y="122"/>
                    </a:lnTo>
                    <a:lnTo>
                      <a:pt x="264" y="116"/>
                    </a:lnTo>
                    <a:lnTo>
                      <a:pt x="264" y="110"/>
                    </a:lnTo>
                    <a:lnTo>
                      <a:pt x="250" y="116"/>
                    </a:lnTo>
                    <a:lnTo>
                      <a:pt x="236" y="122"/>
                    </a:lnTo>
                    <a:lnTo>
                      <a:pt x="228" y="122"/>
                    </a:lnTo>
                    <a:lnTo>
                      <a:pt x="236" y="102"/>
                    </a:lnTo>
                    <a:lnTo>
                      <a:pt x="228" y="96"/>
                    </a:lnTo>
                    <a:lnTo>
                      <a:pt x="228" y="102"/>
                    </a:lnTo>
                    <a:lnTo>
                      <a:pt x="222" y="116"/>
                    </a:lnTo>
                    <a:lnTo>
                      <a:pt x="222" y="122"/>
                    </a:lnTo>
                    <a:lnTo>
                      <a:pt x="216" y="130"/>
                    </a:lnTo>
                    <a:lnTo>
                      <a:pt x="208" y="122"/>
                    </a:lnTo>
                    <a:lnTo>
                      <a:pt x="208" y="110"/>
                    </a:lnTo>
                    <a:lnTo>
                      <a:pt x="216" y="102"/>
                    </a:lnTo>
                    <a:lnTo>
                      <a:pt x="216" y="88"/>
                    </a:lnTo>
                    <a:lnTo>
                      <a:pt x="208" y="82"/>
                    </a:lnTo>
                    <a:lnTo>
                      <a:pt x="202" y="88"/>
                    </a:lnTo>
                    <a:lnTo>
                      <a:pt x="194" y="82"/>
                    </a:lnTo>
                    <a:lnTo>
                      <a:pt x="194" y="88"/>
                    </a:lnTo>
                    <a:lnTo>
                      <a:pt x="188" y="96"/>
                    </a:lnTo>
                    <a:lnTo>
                      <a:pt x="180" y="102"/>
                    </a:lnTo>
                    <a:lnTo>
                      <a:pt x="174" y="102"/>
                    </a:lnTo>
                    <a:lnTo>
                      <a:pt x="174" y="96"/>
                    </a:lnTo>
                    <a:lnTo>
                      <a:pt x="174" y="88"/>
                    </a:lnTo>
                    <a:lnTo>
                      <a:pt x="174" y="74"/>
                    </a:lnTo>
                    <a:lnTo>
                      <a:pt x="166" y="68"/>
                    </a:lnTo>
                    <a:lnTo>
                      <a:pt x="160" y="82"/>
                    </a:lnTo>
                    <a:lnTo>
                      <a:pt x="154" y="96"/>
                    </a:lnTo>
                    <a:lnTo>
                      <a:pt x="146" y="96"/>
                    </a:lnTo>
                    <a:lnTo>
                      <a:pt x="146" y="88"/>
                    </a:lnTo>
                    <a:lnTo>
                      <a:pt x="138" y="88"/>
                    </a:lnTo>
                    <a:lnTo>
                      <a:pt x="132" y="88"/>
                    </a:lnTo>
                    <a:lnTo>
                      <a:pt x="118" y="110"/>
                    </a:lnTo>
                    <a:lnTo>
                      <a:pt x="118" y="102"/>
                    </a:lnTo>
                    <a:lnTo>
                      <a:pt x="112" y="102"/>
                    </a:lnTo>
                    <a:lnTo>
                      <a:pt x="112" y="96"/>
                    </a:lnTo>
                    <a:lnTo>
                      <a:pt x="118" y="88"/>
                    </a:lnTo>
                    <a:lnTo>
                      <a:pt x="118" y="82"/>
                    </a:lnTo>
                    <a:lnTo>
                      <a:pt x="118" y="74"/>
                    </a:lnTo>
                    <a:lnTo>
                      <a:pt x="118" y="60"/>
                    </a:lnTo>
                    <a:lnTo>
                      <a:pt x="126" y="60"/>
                    </a:lnTo>
                    <a:lnTo>
                      <a:pt x="132" y="60"/>
                    </a:lnTo>
                    <a:lnTo>
                      <a:pt x="138" y="46"/>
                    </a:lnTo>
                    <a:lnTo>
                      <a:pt x="132" y="46"/>
                    </a:lnTo>
                    <a:lnTo>
                      <a:pt x="132" y="40"/>
                    </a:lnTo>
                    <a:lnTo>
                      <a:pt x="138" y="34"/>
                    </a:lnTo>
                    <a:lnTo>
                      <a:pt x="138" y="26"/>
                    </a:lnTo>
                    <a:lnTo>
                      <a:pt x="138" y="12"/>
                    </a:lnTo>
                    <a:lnTo>
                      <a:pt x="126" y="0"/>
                    </a:lnTo>
                    <a:lnTo>
                      <a:pt x="112" y="0"/>
                    </a:lnTo>
                    <a:lnTo>
                      <a:pt x="118" y="6"/>
                    </a:lnTo>
                    <a:lnTo>
                      <a:pt x="126" y="20"/>
                    </a:lnTo>
                    <a:lnTo>
                      <a:pt x="118" y="20"/>
                    </a:lnTo>
                    <a:lnTo>
                      <a:pt x="118" y="26"/>
                    </a:lnTo>
                    <a:lnTo>
                      <a:pt x="118" y="34"/>
                    </a:lnTo>
                    <a:lnTo>
                      <a:pt x="118" y="40"/>
                    </a:lnTo>
                    <a:lnTo>
                      <a:pt x="112" y="46"/>
                    </a:lnTo>
                    <a:lnTo>
                      <a:pt x="104" y="40"/>
                    </a:lnTo>
                    <a:lnTo>
                      <a:pt x="104" y="26"/>
                    </a:lnTo>
                    <a:lnTo>
                      <a:pt x="96" y="34"/>
                    </a:lnTo>
                    <a:lnTo>
                      <a:pt x="96" y="20"/>
                    </a:lnTo>
                    <a:lnTo>
                      <a:pt x="96" y="6"/>
                    </a:lnTo>
                    <a:lnTo>
                      <a:pt x="96" y="12"/>
                    </a:lnTo>
                    <a:lnTo>
                      <a:pt x="90" y="12"/>
                    </a:lnTo>
                    <a:lnTo>
                      <a:pt x="84" y="6"/>
                    </a:lnTo>
                    <a:lnTo>
                      <a:pt x="84" y="26"/>
                    </a:lnTo>
                    <a:lnTo>
                      <a:pt x="70" y="20"/>
                    </a:lnTo>
                    <a:lnTo>
                      <a:pt x="76" y="26"/>
                    </a:lnTo>
                    <a:lnTo>
                      <a:pt x="84" y="34"/>
                    </a:lnTo>
                    <a:lnTo>
                      <a:pt x="70" y="40"/>
                    </a:lnTo>
                    <a:lnTo>
                      <a:pt x="64" y="40"/>
                    </a:lnTo>
                    <a:lnTo>
                      <a:pt x="64" y="34"/>
                    </a:lnTo>
                    <a:lnTo>
                      <a:pt x="64" y="26"/>
                    </a:lnTo>
                    <a:lnTo>
                      <a:pt x="56" y="20"/>
                    </a:lnTo>
                    <a:lnTo>
                      <a:pt x="56" y="26"/>
                    </a:lnTo>
                    <a:lnTo>
                      <a:pt x="56" y="34"/>
                    </a:lnTo>
                    <a:lnTo>
                      <a:pt x="50" y="34"/>
                    </a:lnTo>
                    <a:lnTo>
                      <a:pt x="50" y="26"/>
                    </a:lnTo>
                    <a:lnTo>
                      <a:pt x="42" y="34"/>
                    </a:lnTo>
                    <a:lnTo>
                      <a:pt x="42" y="40"/>
                    </a:lnTo>
                    <a:lnTo>
                      <a:pt x="50" y="40"/>
                    </a:lnTo>
                    <a:lnTo>
                      <a:pt x="56" y="40"/>
                    </a:lnTo>
                    <a:lnTo>
                      <a:pt x="64" y="46"/>
                    </a:lnTo>
                    <a:lnTo>
                      <a:pt x="76" y="46"/>
                    </a:lnTo>
                    <a:lnTo>
                      <a:pt x="84" y="54"/>
                    </a:lnTo>
                    <a:lnTo>
                      <a:pt x="90" y="60"/>
                    </a:lnTo>
                    <a:lnTo>
                      <a:pt x="90" y="68"/>
                    </a:lnTo>
                    <a:lnTo>
                      <a:pt x="96" y="68"/>
                    </a:lnTo>
                    <a:lnTo>
                      <a:pt x="104" y="68"/>
                    </a:lnTo>
                    <a:lnTo>
                      <a:pt x="104" y="82"/>
                    </a:lnTo>
                    <a:lnTo>
                      <a:pt x="96" y="82"/>
                    </a:lnTo>
                    <a:lnTo>
                      <a:pt x="84" y="74"/>
                    </a:lnTo>
                    <a:lnTo>
                      <a:pt x="70" y="74"/>
                    </a:lnTo>
                    <a:lnTo>
                      <a:pt x="76" y="82"/>
                    </a:lnTo>
                    <a:lnTo>
                      <a:pt x="84" y="88"/>
                    </a:lnTo>
                    <a:lnTo>
                      <a:pt x="90" y="96"/>
                    </a:lnTo>
                    <a:lnTo>
                      <a:pt x="84" y="102"/>
                    </a:lnTo>
                    <a:lnTo>
                      <a:pt x="76" y="102"/>
                    </a:lnTo>
                    <a:lnTo>
                      <a:pt x="70" y="96"/>
                    </a:lnTo>
                    <a:lnTo>
                      <a:pt x="64" y="88"/>
                    </a:lnTo>
                    <a:lnTo>
                      <a:pt x="56" y="88"/>
                    </a:lnTo>
                    <a:lnTo>
                      <a:pt x="42" y="82"/>
                    </a:lnTo>
                    <a:lnTo>
                      <a:pt x="28" y="74"/>
                    </a:lnTo>
                    <a:lnTo>
                      <a:pt x="14" y="82"/>
                    </a:lnTo>
                    <a:lnTo>
                      <a:pt x="14" y="88"/>
                    </a:lnTo>
                    <a:lnTo>
                      <a:pt x="28" y="88"/>
                    </a:lnTo>
                    <a:lnTo>
                      <a:pt x="42" y="88"/>
                    </a:lnTo>
                    <a:lnTo>
                      <a:pt x="50" y="96"/>
                    </a:lnTo>
                    <a:lnTo>
                      <a:pt x="50" y="102"/>
                    </a:lnTo>
                    <a:lnTo>
                      <a:pt x="56" y="102"/>
                    </a:lnTo>
                    <a:lnTo>
                      <a:pt x="56" y="110"/>
                    </a:lnTo>
                    <a:lnTo>
                      <a:pt x="56" y="116"/>
                    </a:lnTo>
                    <a:lnTo>
                      <a:pt x="50" y="122"/>
                    </a:lnTo>
                    <a:lnTo>
                      <a:pt x="50" y="136"/>
                    </a:lnTo>
                    <a:lnTo>
                      <a:pt x="56" y="130"/>
                    </a:lnTo>
                    <a:lnTo>
                      <a:pt x="56" y="136"/>
                    </a:lnTo>
                    <a:lnTo>
                      <a:pt x="50" y="144"/>
                    </a:lnTo>
                    <a:lnTo>
                      <a:pt x="42" y="150"/>
                    </a:lnTo>
                    <a:lnTo>
                      <a:pt x="34" y="150"/>
                    </a:lnTo>
                    <a:lnTo>
                      <a:pt x="28" y="150"/>
                    </a:lnTo>
                    <a:lnTo>
                      <a:pt x="22" y="150"/>
                    </a:lnTo>
                    <a:lnTo>
                      <a:pt x="14" y="158"/>
                    </a:lnTo>
                    <a:lnTo>
                      <a:pt x="8" y="150"/>
                    </a:lnTo>
                    <a:lnTo>
                      <a:pt x="0" y="164"/>
                    </a:lnTo>
                    <a:lnTo>
                      <a:pt x="0" y="164"/>
                    </a:lnTo>
                    <a:lnTo>
                      <a:pt x="0" y="164"/>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4" name="Freeform 28"/>
              <p:cNvSpPr>
                <a:spLocks/>
              </p:cNvSpPr>
              <p:nvPr>
                <p:custDataLst>
                  <p:tags r:id="rId134"/>
                </p:custDataLst>
              </p:nvPr>
            </p:nvSpPr>
            <p:spPr bwMode="gray">
              <a:xfrm>
                <a:off x="3039182" y="2336417"/>
                <a:ext cx="406490" cy="381084"/>
              </a:xfrm>
              <a:custGeom>
                <a:avLst/>
                <a:gdLst>
                  <a:gd name="T0" fmla="*/ 250 w 256"/>
                  <a:gd name="T1" fmla="*/ 118 h 240"/>
                  <a:gd name="T2" fmla="*/ 242 w 256"/>
                  <a:gd name="T3" fmla="*/ 132 h 240"/>
                  <a:gd name="T4" fmla="*/ 236 w 256"/>
                  <a:gd name="T5" fmla="*/ 158 h 240"/>
                  <a:gd name="T6" fmla="*/ 228 w 256"/>
                  <a:gd name="T7" fmla="*/ 180 h 240"/>
                  <a:gd name="T8" fmla="*/ 228 w 256"/>
                  <a:gd name="T9" fmla="*/ 200 h 240"/>
                  <a:gd name="T10" fmla="*/ 214 w 256"/>
                  <a:gd name="T11" fmla="*/ 214 h 240"/>
                  <a:gd name="T12" fmla="*/ 202 w 256"/>
                  <a:gd name="T13" fmla="*/ 228 h 240"/>
                  <a:gd name="T14" fmla="*/ 166 w 256"/>
                  <a:gd name="T15" fmla="*/ 228 h 240"/>
                  <a:gd name="T16" fmla="*/ 132 w 256"/>
                  <a:gd name="T17" fmla="*/ 228 h 240"/>
                  <a:gd name="T18" fmla="*/ 118 w 256"/>
                  <a:gd name="T19" fmla="*/ 228 h 240"/>
                  <a:gd name="T20" fmla="*/ 104 w 256"/>
                  <a:gd name="T21" fmla="*/ 240 h 240"/>
                  <a:gd name="T22" fmla="*/ 76 w 256"/>
                  <a:gd name="T23" fmla="*/ 240 h 240"/>
                  <a:gd name="T24" fmla="*/ 48 w 256"/>
                  <a:gd name="T25" fmla="*/ 234 h 240"/>
                  <a:gd name="T26" fmla="*/ 34 w 256"/>
                  <a:gd name="T27" fmla="*/ 228 h 240"/>
                  <a:gd name="T28" fmla="*/ 34 w 256"/>
                  <a:gd name="T29" fmla="*/ 228 h 240"/>
                  <a:gd name="T30" fmla="*/ 20 w 256"/>
                  <a:gd name="T31" fmla="*/ 220 h 240"/>
                  <a:gd name="T32" fmla="*/ 20 w 256"/>
                  <a:gd name="T33" fmla="*/ 206 h 240"/>
                  <a:gd name="T34" fmla="*/ 28 w 256"/>
                  <a:gd name="T35" fmla="*/ 206 h 240"/>
                  <a:gd name="T36" fmla="*/ 6 w 256"/>
                  <a:gd name="T37" fmla="*/ 206 h 240"/>
                  <a:gd name="T38" fmla="*/ 14 w 256"/>
                  <a:gd name="T39" fmla="*/ 186 h 240"/>
                  <a:gd name="T40" fmla="*/ 34 w 256"/>
                  <a:gd name="T41" fmla="*/ 186 h 240"/>
                  <a:gd name="T42" fmla="*/ 6 w 256"/>
                  <a:gd name="T43" fmla="*/ 180 h 240"/>
                  <a:gd name="T44" fmla="*/ 20 w 256"/>
                  <a:gd name="T45" fmla="*/ 166 h 240"/>
                  <a:gd name="T46" fmla="*/ 54 w 256"/>
                  <a:gd name="T47" fmla="*/ 158 h 240"/>
                  <a:gd name="T48" fmla="*/ 82 w 256"/>
                  <a:gd name="T49" fmla="*/ 166 h 240"/>
                  <a:gd name="T50" fmla="*/ 76 w 256"/>
                  <a:gd name="T51" fmla="*/ 158 h 240"/>
                  <a:gd name="T52" fmla="*/ 48 w 256"/>
                  <a:gd name="T53" fmla="*/ 158 h 240"/>
                  <a:gd name="T54" fmla="*/ 68 w 256"/>
                  <a:gd name="T55" fmla="*/ 138 h 240"/>
                  <a:gd name="T56" fmla="*/ 104 w 256"/>
                  <a:gd name="T57" fmla="*/ 124 h 240"/>
                  <a:gd name="T58" fmla="*/ 82 w 256"/>
                  <a:gd name="T59" fmla="*/ 118 h 240"/>
                  <a:gd name="T60" fmla="*/ 68 w 256"/>
                  <a:gd name="T61" fmla="*/ 110 h 240"/>
                  <a:gd name="T62" fmla="*/ 68 w 256"/>
                  <a:gd name="T63" fmla="*/ 82 h 240"/>
                  <a:gd name="T64" fmla="*/ 90 w 256"/>
                  <a:gd name="T65" fmla="*/ 68 h 240"/>
                  <a:gd name="T66" fmla="*/ 90 w 256"/>
                  <a:gd name="T67" fmla="*/ 62 h 240"/>
                  <a:gd name="T68" fmla="*/ 90 w 256"/>
                  <a:gd name="T69" fmla="*/ 48 h 240"/>
                  <a:gd name="T70" fmla="*/ 118 w 256"/>
                  <a:gd name="T71" fmla="*/ 42 h 240"/>
                  <a:gd name="T72" fmla="*/ 138 w 256"/>
                  <a:gd name="T73" fmla="*/ 62 h 240"/>
                  <a:gd name="T74" fmla="*/ 160 w 256"/>
                  <a:gd name="T75" fmla="*/ 56 h 240"/>
                  <a:gd name="T76" fmla="*/ 180 w 256"/>
                  <a:gd name="T77" fmla="*/ 42 h 240"/>
                  <a:gd name="T78" fmla="*/ 152 w 256"/>
                  <a:gd name="T79" fmla="*/ 28 h 240"/>
                  <a:gd name="T80" fmla="*/ 186 w 256"/>
                  <a:gd name="T81" fmla="*/ 14 h 240"/>
                  <a:gd name="T82" fmla="*/ 202 w 256"/>
                  <a:gd name="T83" fmla="*/ 8 h 240"/>
                  <a:gd name="T84" fmla="*/ 228 w 256"/>
                  <a:gd name="T85" fmla="*/ 8 h 240"/>
                  <a:gd name="T86" fmla="*/ 242 w 256"/>
                  <a:gd name="T87" fmla="*/ 0 h 240"/>
                  <a:gd name="T88" fmla="*/ 250 w 256"/>
                  <a:gd name="T89" fmla="*/ 22 h 240"/>
                  <a:gd name="T90" fmla="*/ 242 w 256"/>
                  <a:gd name="T91" fmla="*/ 28 h 240"/>
                  <a:gd name="T92" fmla="*/ 214 w 256"/>
                  <a:gd name="T93" fmla="*/ 34 h 240"/>
                  <a:gd name="T94" fmla="*/ 202 w 256"/>
                  <a:gd name="T95" fmla="*/ 56 h 240"/>
                  <a:gd name="T96" fmla="*/ 186 w 256"/>
                  <a:gd name="T97" fmla="*/ 56 h 240"/>
                  <a:gd name="T98" fmla="*/ 194 w 256"/>
                  <a:gd name="T99" fmla="*/ 76 h 240"/>
                  <a:gd name="T100" fmla="*/ 214 w 256"/>
                  <a:gd name="T101" fmla="*/ 82 h 240"/>
                  <a:gd name="T102" fmla="*/ 242 w 256"/>
                  <a:gd name="T103" fmla="*/ 90 h 240"/>
                  <a:gd name="T104" fmla="*/ 256 w 256"/>
                  <a:gd name="T105" fmla="*/ 11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6" h="240">
                    <a:moveTo>
                      <a:pt x="256" y="118"/>
                    </a:moveTo>
                    <a:lnTo>
                      <a:pt x="250" y="124"/>
                    </a:lnTo>
                    <a:lnTo>
                      <a:pt x="250" y="118"/>
                    </a:lnTo>
                    <a:lnTo>
                      <a:pt x="242" y="118"/>
                    </a:lnTo>
                    <a:lnTo>
                      <a:pt x="250" y="124"/>
                    </a:lnTo>
                    <a:lnTo>
                      <a:pt x="242" y="132"/>
                    </a:lnTo>
                    <a:lnTo>
                      <a:pt x="242" y="138"/>
                    </a:lnTo>
                    <a:lnTo>
                      <a:pt x="242" y="152"/>
                    </a:lnTo>
                    <a:lnTo>
                      <a:pt x="236" y="158"/>
                    </a:lnTo>
                    <a:lnTo>
                      <a:pt x="236" y="166"/>
                    </a:lnTo>
                    <a:lnTo>
                      <a:pt x="236" y="172"/>
                    </a:lnTo>
                    <a:lnTo>
                      <a:pt x="228" y="180"/>
                    </a:lnTo>
                    <a:lnTo>
                      <a:pt x="228" y="186"/>
                    </a:lnTo>
                    <a:lnTo>
                      <a:pt x="228" y="192"/>
                    </a:lnTo>
                    <a:lnTo>
                      <a:pt x="228" y="200"/>
                    </a:lnTo>
                    <a:lnTo>
                      <a:pt x="222" y="200"/>
                    </a:lnTo>
                    <a:lnTo>
                      <a:pt x="222" y="206"/>
                    </a:lnTo>
                    <a:lnTo>
                      <a:pt x="214" y="214"/>
                    </a:lnTo>
                    <a:lnTo>
                      <a:pt x="208" y="214"/>
                    </a:lnTo>
                    <a:lnTo>
                      <a:pt x="208" y="220"/>
                    </a:lnTo>
                    <a:lnTo>
                      <a:pt x="202" y="228"/>
                    </a:lnTo>
                    <a:lnTo>
                      <a:pt x="186" y="234"/>
                    </a:lnTo>
                    <a:lnTo>
                      <a:pt x="180" y="228"/>
                    </a:lnTo>
                    <a:lnTo>
                      <a:pt x="166" y="228"/>
                    </a:lnTo>
                    <a:lnTo>
                      <a:pt x="152" y="228"/>
                    </a:lnTo>
                    <a:lnTo>
                      <a:pt x="138" y="228"/>
                    </a:lnTo>
                    <a:lnTo>
                      <a:pt x="132" y="228"/>
                    </a:lnTo>
                    <a:lnTo>
                      <a:pt x="124" y="234"/>
                    </a:lnTo>
                    <a:lnTo>
                      <a:pt x="118" y="234"/>
                    </a:lnTo>
                    <a:lnTo>
                      <a:pt x="118" y="228"/>
                    </a:lnTo>
                    <a:lnTo>
                      <a:pt x="110" y="234"/>
                    </a:lnTo>
                    <a:lnTo>
                      <a:pt x="104" y="234"/>
                    </a:lnTo>
                    <a:lnTo>
                      <a:pt x="104" y="240"/>
                    </a:lnTo>
                    <a:lnTo>
                      <a:pt x="90" y="240"/>
                    </a:lnTo>
                    <a:lnTo>
                      <a:pt x="82" y="234"/>
                    </a:lnTo>
                    <a:lnTo>
                      <a:pt x="76" y="240"/>
                    </a:lnTo>
                    <a:lnTo>
                      <a:pt x="62" y="240"/>
                    </a:lnTo>
                    <a:lnTo>
                      <a:pt x="54" y="234"/>
                    </a:lnTo>
                    <a:lnTo>
                      <a:pt x="48" y="234"/>
                    </a:lnTo>
                    <a:lnTo>
                      <a:pt x="34" y="240"/>
                    </a:lnTo>
                    <a:lnTo>
                      <a:pt x="34" y="234"/>
                    </a:lnTo>
                    <a:lnTo>
                      <a:pt x="34" y="228"/>
                    </a:lnTo>
                    <a:lnTo>
                      <a:pt x="14" y="234"/>
                    </a:lnTo>
                    <a:lnTo>
                      <a:pt x="20" y="234"/>
                    </a:lnTo>
                    <a:lnTo>
                      <a:pt x="34" y="228"/>
                    </a:lnTo>
                    <a:lnTo>
                      <a:pt x="14" y="228"/>
                    </a:lnTo>
                    <a:lnTo>
                      <a:pt x="28" y="220"/>
                    </a:lnTo>
                    <a:lnTo>
                      <a:pt x="20" y="220"/>
                    </a:lnTo>
                    <a:lnTo>
                      <a:pt x="14" y="220"/>
                    </a:lnTo>
                    <a:lnTo>
                      <a:pt x="14" y="214"/>
                    </a:lnTo>
                    <a:lnTo>
                      <a:pt x="20" y="206"/>
                    </a:lnTo>
                    <a:lnTo>
                      <a:pt x="28" y="206"/>
                    </a:lnTo>
                    <a:lnTo>
                      <a:pt x="34" y="206"/>
                    </a:lnTo>
                    <a:lnTo>
                      <a:pt x="28" y="206"/>
                    </a:lnTo>
                    <a:lnTo>
                      <a:pt x="20" y="206"/>
                    </a:lnTo>
                    <a:lnTo>
                      <a:pt x="14" y="200"/>
                    </a:lnTo>
                    <a:lnTo>
                      <a:pt x="6" y="206"/>
                    </a:lnTo>
                    <a:lnTo>
                      <a:pt x="0" y="200"/>
                    </a:lnTo>
                    <a:lnTo>
                      <a:pt x="6" y="192"/>
                    </a:lnTo>
                    <a:lnTo>
                      <a:pt x="14" y="186"/>
                    </a:lnTo>
                    <a:lnTo>
                      <a:pt x="20" y="186"/>
                    </a:lnTo>
                    <a:lnTo>
                      <a:pt x="28" y="186"/>
                    </a:lnTo>
                    <a:lnTo>
                      <a:pt x="34" y="186"/>
                    </a:lnTo>
                    <a:lnTo>
                      <a:pt x="28" y="180"/>
                    </a:lnTo>
                    <a:lnTo>
                      <a:pt x="14" y="180"/>
                    </a:lnTo>
                    <a:lnTo>
                      <a:pt x="6" y="180"/>
                    </a:lnTo>
                    <a:lnTo>
                      <a:pt x="6" y="172"/>
                    </a:lnTo>
                    <a:lnTo>
                      <a:pt x="14" y="166"/>
                    </a:lnTo>
                    <a:lnTo>
                      <a:pt x="20" y="166"/>
                    </a:lnTo>
                    <a:lnTo>
                      <a:pt x="40" y="166"/>
                    </a:lnTo>
                    <a:lnTo>
                      <a:pt x="40" y="158"/>
                    </a:lnTo>
                    <a:lnTo>
                      <a:pt x="54" y="158"/>
                    </a:lnTo>
                    <a:lnTo>
                      <a:pt x="62" y="158"/>
                    </a:lnTo>
                    <a:lnTo>
                      <a:pt x="68" y="166"/>
                    </a:lnTo>
                    <a:lnTo>
                      <a:pt x="82" y="166"/>
                    </a:lnTo>
                    <a:lnTo>
                      <a:pt x="90" y="166"/>
                    </a:lnTo>
                    <a:lnTo>
                      <a:pt x="82" y="158"/>
                    </a:lnTo>
                    <a:lnTo>
                      <a:pt x="76" y="158"/>
                    </a:lnTo>
                    <a:lnTo>
                      <a:pt x="68" y="158"/>
                    </a:lnTo>
                    <a:lnTo>
                      <a:pt x="62" y="152"/>
                    </a:lnTo>
                    <a:lnTo>
                      <a:pt x="48" y="158"/>
                    </a:lnTo>
                    <a:lnTo>
                      <a:pt x="40" y="152"/>
                    </a:lnTo>
                    <a:lnTo>
                      <a:pt x="54" y="152"/>
                    </a:lnTo>
                    <a:lnTo>
                      <a:pt x="68" y="138"/>
                    </a:lnTo>
                    <a:lnTo>
                      <a:pt x="90" y="132"/>
                    </a:lnTo>
                    <a:lnTo>
                      <a:pt x="96" y="132"/>
                    </a:lnTo>
                    <a:lnTo>
                      <a:pt x="104" y="124"/>
                    </a:lnTo>
                    <a:lnTo>
                      <a:pt x="104" y="118"/>
                    </a:lnTo>
                    <a:lnTo>
                      <a:pt x="96" y="118"/>
                    </a:lnTo>
                    <a:lnTo>
                      <a:pt x="82" y="118"/>
                    </a:lnTo>
                    <a:lnTo>
                      <a:pt x="76" y="124"/>
                    </a:lnTo>
                    <a:lnTo>
                      <a:pt x="76" y="110"/>
                    </a:lnTo>
                    <a:lnTo>
                      <a:pt x="68" y="110"/>
                    </a:lnTo>
                    <a:lnTo>
                      <a:pt x="68" y="104"/>
                    </a:lnTo>
                    <a:lnTo>
                      <a:pt x="62" y="90"/>
                    </a:lnTo>
                    <a:lnTo>
                      <a:pt x="68" y="82"/>
                    </a:lnTo>
                    <a:lnTo>
                      <a:pt x="76" y="82"/>
                    </a:lnTo>
                    <a:lnTo>
                      <a:pt x="82" y="76"/>
                    </a:lnTo>
                    <a:lnTo>
                      <a:pt x="90" y="68"/>
                    </a:lnTo>
                    <a:lnTo>
                      <a:pt x="96" y="68"/>
                    </a:lnTo>
                    <a:lnTo>
                      <a:pt x="90" y="68"/>
                    </a:lnTo>
                    <a:lnTo>
                      <a:pt x="90" y="62"/>
                    </a:lnTo>
                    <a:lnTo>
                      <a:pt x="90" y="56"/>
                    </a:lnTo>
                    <a:lnTo>
                      <a:pt x="82" y="48"/>
                    </a:lnTo>
                    <a:lnTo>
                      <a:pt x="90" y="48"/>
                    </a:lnTo>
                    <a:lnTo>
                      <a:pt x="96" y="34"/>
                    </a:lnTo>
                    <a:lnTo>
                      <a:pt x="110" y="34"/>
                    </a:lnTo>
                    <a:lnTo>
                      <a:pt x="118" y="42"/>
                    </a:lnTo>
                    <a:lnTo>
                      <a:pt x="124" y="48"/>
                    </a:lnTo>
                    <a:lnTo>
                      <a:pt x="124" y="56"/>
                    </a:lnTo>
                    <a:lnTo>
                      <a:pt x="138" y="62"/>
                    </a:lnTo>
                    <a:lnTo>
                      <a:pt x="144" y="68"/>
                    </a:lnTo>
                    <a:lnTo>
                      <a:pt x="160" y="62"/>
                    </a:lnTo>
                    <a:lnTo>
                      <a:pt x="160" y="56"/>
                    </a:lnTo>
                    <a:lnTo>
                      <a:pt x="160" y="48"/>
                    </a:lnTo>
                    <a:lnTo>
                      <a:pt x="174" y="48"/>
                    </a:lnTo>
                    <a:lnTo>
                      <a:pt x="180" y="42"/>
                    </a:lnTo>
                    <a:lnTo>
                      <a:pt x="174" y="42"/>
                    </a:lnTo>
                    <a:lnTo>
                      <a:pt x="160" y="34"/>
                    </a:lnTo>
                    <a:lnTo>
                      <a:pt x="152" y="28"/>
                    </a:lnTo>
                    <a:lnTo>
                      <a:pt x="174" y="22"/>
                    </a:lnTo>
                    <a:lnTo>
                      <a:pt x="180" y="14"/>
                    </a:lnTo>
                    <a:lnTo>
                      <a:pt x="186" y="14"/>
                    </a:lnTo>
                    <a:lnTo>
                      <a:pt x="180" y="14"/>
                    </a:lnTo>
                    <a:lnTo>
                      <a:pt x="186" y="8"/>
                    </a:lnTo>
                    <a:lnTo>
                      <a:pt x="202" y="8"/>
                    </a:lnTo>
                    <a:lnTo>
                      <a:pt x="208" y="0"/>
                    </a:lnTo>
                    <a:lnTo>
                      <a:pt x="222" y="8"/>
                    </a:lnTo>
                    <a:lnTo>
                      <a:pt x="228" y="8"/>
                    </a:lnTo>
                    <a:lnTo>
                      <a:pt x="236" y="8"/>
                    </a:lnTo>
                    <a:lnTo>
                      <a:pt x="242" y="8"/>
                    </a:lnTo>
                    <a:lnTo>
                      <a:pt x="242" y="0"/>
                    </a:lnTo>
                    <a:lnTo>
                      <a:pt x="250" y="8"/>
                    </a:lnTo>
                    <a:lnTo>
                      <a:pt x="256" y="14"/>
                    </a:lnTo>
                    <a:lnTo>
                      <a:pt x="250" y="22"/>
                    </a:lnTo>
                    <a:lnTo>
                      <a:pt x="242" y="22"/>
                    </a:lnTo>
                    <a:lnTo>
                      <a:pt x="236" y="22"/>
                    </a:lnTo>
                    <a:lnTo>
                      <a:pt x="242" y="28"/>
                    </a:lnTo>
                    <a:lnTo>
                      <a:pt x="236" y="28"/>
                    </a:lnTo>
                    <a:lnTo>
                      <a:pt x="222" y="28"/>
                    </a:lnTo>
                    <a:lnTo>
                      <a:pt x="214" y="34"/>
                    </a:lnTo>
                    <a:lnTo>
                      <a:pt x="208" y="42"/>
                    </a:lnTo>
                    <a:lnTo>
                      <a:pt x="208" y="48"/>
                    </a:lnTo>
                    <a:lnTo>
                      <a:pt x="202" y="56"/>
                    </a:lnTo>
                    <a:lnTo>
                      <a:pt x="194" y="48"/>
                    </a:lnTo>
                    <a:lnTo>
                      <a:pt x="186" y="48"/>
                    </a:lnTo>
                    <a:lnTo>
                      <a:pt x="186" y="56"/>
                    </a:lnTo>
                    <a:lnTo>
                      <a:pt x="180" y="62"/>
                    </a:lnTo>
                    <a:lnTo>
                      <a:pt x="186" y="68"/>
                    </a:lnTo>
                    <a:lnTo>
                      <a:pt x="194" y="76"/>
                    </a:lnTo>
                    <a:lnTo>
                      <a:pt x="202" y="82"/>
                    </a:lnTo>
                    <a:lnTo>
                      <a:pt x="208" y="90"/>
                    </a:lnTo>
                    <a:lnTo>
                      <a:pt x="214" y="82"/>
                    </a:lnTo>
                    <a:lnTo>
                      <a:pt x="222" y="82"/>
                    </a:lnTo>
                    <a:lnTo>
                      <a:pt x="228" y="82"/>
                    </a:lnTo>
                    <a:lnTo>
                      <a:pt x="242" y="90"/>
                    </a:lnTo>
                    <a:lnTo>
                      <a:pt x="242" y="96"/>
                    </a:lnTo>
                    <a:lnTo>
                      <a:pt x="250" y="104"/>
                    </a:lnTo>
                    <a:lnTo>
                      <a:pt x="256" y="118"/>
                    </a:lnTo>
                    <a:lnTo>
                      <a:pt x="256" y="118"/>
                    </a:lnTo>
                    <a:lnTo>
                      <a:pt x="256" y="118"/>
                    </a:lnTo>
                    <a:close/>
                  </a:path>
                </a:pathLst>
              </a:custGeom>
              <a:solidFill>
                <a:srgbClr val="D6D9DC"/>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5" name="Freeform 29"/>
              <p:cNvSpPr>
                <a:spLocks/>
              </p:cNvSpPr>
              <p:nvPr/>
            </p:nvSpPr>
            <p:spPr bwMode="gray">
              <a:xfrm>
                <a:off x="3321820" y="2371350"/>
                <a:ext cx="187367" cy="152434"/>
              </a:xfrm>
              <a:custGeom>
                <a:avLst/>
                <a:gdLst>
                  <a:gd name="T0" fmla="*/ 62 w 118"/>
                  <a:gd name="T1" fmla="*/ 6 h 96"/>
                  <a:gd name="T2" fmla="*/ 54 w 118"/>
                  <a:gd name="T3" fmla="*/ 6 h 96"/>
                  <a:gd name="T4" fmla="*/ 40 w 118"/>
                  <a:gd name="T5" fmla="*/ 6 h 96"/>
                  <a:gd name="T6" fmla="*/ 36 w 118"/>
                  <a:gd name="T7" fmla="*/ 14 h 96"/>
                  <a:gd name="T8" fmla="*/ 28 w 118"/>
                  <a:gd name="T9" fmla="*/ 20 h 96"/>
                  <a:gd name="T10" fmla="*/ 28 w 118"/>
                  <a:gd name="T11" fmla="*/ 28 h 96"/>
                  <a:gd name="T12" fmla="*/ 20 w 118"/>
                  <a:gd name="T13" fmla="*/ 34 h 96"/>
                  <a:gd name="T14" fmla="*/ 14 w 118"/>
                  <a:gd name="T15" fmla="*/ 28 h 96"/>
                  <a:gd name="T16" fmla="*/ 6 w 118"/>
                  <a:gd name="T17" fmla="*/ 28 h 96"/>
                  <a:gd name="T18" fmla="*/ 6 w 118"/>
                  <a:gd name="T19" fmla="*/ 34 h 96"/>
                  <a:gd name="T20" fmla="*/ 0 w 118"/>
                  <a:gd name="T21" fmla="*/ 40 h 96"/>
                  <a:gd name="T22" fmla="*/ 6 w 118"/>
                  <a:gd name="T23" fmla="*/ 48 h 96"/>
                  <a:gd name="T24" fmla="*/ 14 w 118"/>
                  <a:gd name="T25" fmla="*/ 54 h 96"/>
                  <a:gd name="T26" fmla="*/ 20 w 118"/>
                  <a:gd name="T27" fmla="*/ 62 h 96"/>
                  <a:gd name="T28" fmla="*/ 28 w 118"/>
                  <a:gd name="T29" fmla="*/ 68 h 96"/>
                  <a:gd name="T30" fmla="*/ 36 w 118"/>
                  <a:gd name="T31" fmla="*/ 62 h 96"/>
                  <a:gd name="T32" fmla="*/ 40 w 118"/>
                  <a:gd name="T33" fmla="*/ 62 h 96"/>
                  <a:gd name="T34" fmla="*/ 48 w 118"/>
                  <a:gd name="T35" fmla="*/ 62 h 96"/>
                  <a:gd name="T36" fmla="*/ 62 w 118"/>
                  <a:gd name="T37" fmla="*/ 68 h 96"/>
                  <a:gd name="T38" fmla="*/ 62 w 118"/>
                  <a:gd name="T39" fmla="*/ 76 h 96"/>
                  <a:gd name="T40" fmla="*/ 68 w 118"/>
                  <a:gd name="T41" fmla="*/ 82 h 96"/>
                  <a:gd name="T42" fmla="*/ 76 w 118"/>
                  <a:gd name="T43" fmla="*/ 96 h 96"/>
                  <a:gd name="T44" fmla="*/ 84 w 118"/>
                  <a:gd name="T45" fmla="*/ 88 h 96"/>
                  <a:gd name="T46" fmla="*/ 90 w 118"/>
                  <a:gd name="T47" fmla="*/ 82 h 96"/>
                  <a:gd name="T48" fmla="*/ 96 w 118"/>
                  <a:gd name="T49" fmla="*/ 82 h 96"/>
                  <a:gd name="T50" fmla="*/ 104 w 118"/>
                  <a:gd name="T51" fmla="*/ 82 h 96"/>
                  <a:gd name="T52" fmla="*/ 104 w 118"/>
                  <a:gd name="T53" fmla="*/ 68 h 96"/>
                  <a:gd name="T54" fmla="*/ 110 w 118"/>
                  <a:gd name="T55" fmla="*/ 62 h 96"/>
                  <a:gd name="T56" fmla="*/ 110 w 118"/>
                  <a:gd name="T57" fmla="*/ 68 h 96"/>
                  <a:gd name="T58" fmla="*/ 110 w 118"/>
                  <a:gd name="T59" fmla="*/ 76 h 96"/>
                  <a:gd name="T60" fmla="*/ 118 w 118"/>
                  <a:gd name="T61" fmla="*/ 76 h 96"/>
                  <a:gd name="T62" fmla="*/ 118 w 118"/>
                  <a:gd name="T63" fmla="*/ 68 h 96"/>
                  <a:gd name="T64" fmla="*/ 118 w 118"/>
                  <a:gd name="T65" fmla="*/ 62 h 96"/>
                  <a:gd name="T66" fmla="*/ 110 w 118"/>
                  <a:gd name="T67" fmla="*/ 54 h 96"/>
                  <a:gd name="T68" fmla="*/ 104 w 118"/>
                  <a:gd name="T69" fmla="*/ 62 h 96"/>
                  <a:gd name="T70" fmla="*/ 96 w 118"/>
                  <a:gd name="T71" fmla="*/ 54 h 96"/>
                  <a:gd name="T72" fmla="*/ 104 w 118"/>
                  <a:gd name="T73" fmla="*/ 48 h 96"/>
                  <a:gd name="T74" fmla="*/ 110 w 118"/>
                  <a:gd name="T75" fmla="*/ 48 h 96"/>
                  <a:gd name="T76" fmla="*/ 110 w 118"/>
                  <a:gd name="T77" fmla="*/ 40 h 96"/>
                  <a:gd name="T78" fmla="*/ 110 w 118"/>
                  <a:gd name="T79" fmla="*/ 34 h 96"/>
                  <a:gd name="T80" fmla="*/ 104 w 118"/>
                  <a:gd name="T81" fmla="*/ 20 h 96"/>
                  <a:gd name="T82" fmla="*/ 104 w 118"/>
                  <a:gd name="T83" fmla="*/ 14 h 96"/>
                  <a:gd name="T84" fmla="*/ 104 w 118"/>
                  <a:gd name="T85" fmla="*/ 6 h 96"/>
                  <a:gd name="T86" fmla="*/ 96 w 118"/>
                  <a:gd name="T87" fmla="*/ 6 h 96"/>
                  <a:gd name="T88" fmla="*/ 90 w 118"/>
                  <a:gd name="T89" fmla="*/ 6 h 96"/>
                  <a:gd name="T90" fmla="*/ 84 w 118"/>
                  <a:gd name="T91" fmla="*/ 6 h 96"/>
                  <a:gd name="T92" fmla="*/ 84 w 118"/>
                  <a:gd name="T93" fmla="*/ 0 h 96"/>
                  <a:gd name="T94" fmla="*/ 76 w 118"/>
                  <a:gd name="T95" fmla="*/ 0 h 96"/>
                  <a:gd name="T96" fmla="*/ 68 w 118"/>
                  <a:gd name="T97" fmla="*/ 6 h 96"/>
                  <a:gd name="T98" fmla="*/ 62 w 118"/>
                  <a:gd name="T99" fmla="*/ 6 h 96"/>
                  <a:gd name="T100" fmla="*/ 62 w 118"/>
                  <a:gd name="T101" fmla="*/ 6 h 96"/>
                  <a:gd name="T102" fmla="*/ 62 w 118"/>
                  <a:gd name="T103" fmla="*/ 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8" h="96">
                    <a:moveTo>
                      <a:pt x="62" y="6"/>
                    </a:moveTo>
                    <a:lnTo>
                      <a:pt x="54" y="6"/>
                    </a:lnTo>
                    <a:lnTo>
                      <a:pt x="40" y="6"/>
                    </a:lnTo>
                    <a:lnTo>
                      <a:pt x="36" y="14"/>
                    </a:lnTo>
                    <a:lnTo>
                      <a:pt x="28" y="20"/>
                    </a:lnTo>
                    <a:lnTo>
                      <a:pt x="28" y="28"/>
                    </a:lnTo>
                    <a:lnTo>
                      <a:pt x="20" y="34"/>
                    </a:lnTo>
                    <a:lnTo>
                      <a:pt x="14" y="28"/>
                    </a:lnTo>
                    <a:lnTo>
                      <a:pt x="6" y="28"/>
                    </a:lnTo>
                    <a:lnTo>
                      <a:pt x="6" y="34"/>
                    </a:lnTo>
                    <a:lnTo>
                      <a:pt x="0" y="40"/>
                    </a:lnTo>
                    <a:lnTo>
                      <a:pt x="6" y="48"/>
                    </a:lnTo>
                    <a:lnTo>
                      <a:pt x="14" y="54"/>
                    </a:lnTo>
                    <a:lnTo>
                      <a:pt x="20" y="62"/>
                    </a:lnTo>
                    <a:lnTo>
                      <a:pt x="28" y="68"/>
                    </a:lnTo>
                    <a:lnTo>
                      <a:pt x="36" y="62"/>
                    </a:lnTo>
                    <a:lnTo>
                      <a:pt x="40" y="62"/>
                    </a:lnTo>
                    <a:lnTo>
                      <a:pt x="48" y="62"/>
                    </a:lnTo>
                    <a:lnTo>
                      <a:pt x="62" y="68"/>
                    </a:lnTo>
                    <a:lnTo>
                      <a:pt x="62" y="76"/>
                    </a:lnTo>
                    <a:lnTo>
                      <a:pt x="68" y="82"/>
                    </a:lnTo>
                    <a:lnTo>
                      <a:pt x="76" y="96"/>
                    </a:lnTo>
                    <a:lnTo>
                      <a:pt x="84" y="88"/>
                    </a:lnTo>
                    <a:lnTo>
                      <a:pt x="90" y="82"/>
                    </a:lnTo>
                    <a:lnTo>
                      <a:pt x="96" y="82"/>
                    </a:lnTo>
                    <a:lnTo>
                      <a:pt x="104" y="82"/>
                    </a:lnTo>
                    <a:lnTo>
                      <a:pt x="104" y="68"/>
                    </a:lnTo>
                    <a:lnTo>
                      <a:pt x="110" y="62"/>
                    </a:lnTo>
                    <a:lnTo>
                      <a:pt x="110" y="68"/>
                    </a:lnTo>
                    <a:lnTo>
                      <a:pt x="110" y="76"/>
                    </a:lnTo>
                    <a:lnTo>
                      <a:pt x="118" y="76"/>
                    </a:lnTo>
                    <a:lnTo>
                      <a:pt x="118" y="68"/>
                    </a:lnTo>
                    <a:lnTo>
                      <a:pt x="118" y="62"/>
                    </a:lnTo>
                    <a:lnTo>
                      <a:pt x="110" y="54"/>
                    </a:lnTo>
                    <a:lnTo>
                      <a:pt x="104" y="62"/>
                    </a:lnTo>
                    <a:lnTo>
                      <a:pt x="96" y="54"/>
                    </a:lnTo>
                    <a:lnTo>
                      <a:pt x="104" y="48"/>
                    </a:lnTo>
                    <a:lnTo>
                      <a:pt x="110" y="48"/>
                    </a:lnTo>
                    <a:lnTo>
                      <a:pt x="110" y="40"/>
                    </a:lnTo>
                    <a:lnTo>
                      <a:pt x="110" y="34"/>
                    </a:lnTo>
                    <a:lnTo>
                      <a:pt x="104" y="20"/>
                    </a:lnTo>
                    <a:lnTo>
                      <a:pt x="104" y="14"/>
                    </a:lnTo>
                    <a:lnTo>
                      <a:pt x="104" y="6"/>
                    </a:lnTo>
                    <a:lnTo>
                      <a:pt x="96" y="6"/>
                    </a:lnTo>
                    <a:lnTo>
                      <a:pt x="90" y="6"/>
                    </a:lnTo>
                    <a:lnTo>
                      <a:pt x="84" y="6"/>
                    </a:lnTo>
                    <a:lnTo>
                      <a:pt x="84" y="0"/>
                    </a:lnTo>
                    <a:lnTo>
                      <a:pt x="76" y="0"/>
                    </a:lnTo>
                    <a:lnTo>
                      <a:pt x="68" y="6"/>
                    </a:lnTo>
                    <a:lnTo>
                      <a:pt x="62" y="6"/>
                    </a:lnTo>
                    <a:lnTo>
                      <a:pt x="62" y="6"/>
                    </a:lnTo>
                    <a:lnTo>
                      <a:pt x="62" y="6"/>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6" name="Freeform 30"/>
              <p:cNvSpPr>
                <a:spLocks/>
              </p:cNvSpPr>
              <p:nvPr>
                <p:custDataLst>
                  <p:tags r:id="rId135"/>
                </p:custDataLst>
              </p:nvPr>
            </p:nvSpPr>
            <p:spPr bwMode="gray">
              <a:xfrm>
                <a:off x="4253890" y="4095758"/>
                <a:ext cx="85744" cy="158785"/>
              </a:xfrm>
              <a:custGeom>
                <a:avLst/>
                <a:gdLst>
                  <a:gd name="T0" fmla="*/ 18 w 54"/>
                  <a:gd name="T1" fmla="*/ 92 h 100"/>
                  <a:gd name="T2" fmla="*/ 14 w 54"/>
                  <a:gd name="T3" fmla="*/ 92 h 100"/>
                  <a:gd name="T4" fmla="*/ 10 w 54"/>
                  <a:gd name="T5" fmla="*/ 84 h 100"/>
                  <a:gd name="T6" fmla="*/ 10 w 54"/>
                  <a:gd name="T7" fmla="*/ 78 h 100"/>
                  <a:gd name="T8" fmla="*/ 4 w 54"/>
                  <a:gd name="T9" fmla="*/ 72 h 100"/>
                  <a:gd name="T10" fmla="*/ 0 w 54"/>
                  <a:gd name="T11" fmla="*/ 64 h 100"/>
                  <a:gd name="T12" fmla="*/ 4 w 54"/>
                  <a:gd name="T13" fmla="*/ 60 h 100"/>
                  <a:gd name="T14" fmla="*/ 4 w 54"/>
                  <a:gd name="T15" fmla="*/ 58 h 100"/>
                  <a:gd name="T16" fmla="*/ 4 w 54"/>
                  <a:gd name="T17" fmla="*/ 50 h 100"/>
                  <a:gd name="T18" fmla="*/ 2 w 54"/>
                  <a:gd name="T19" fmla="*/ 44 h 100"/>
                  <a:gd name="T20" fmla="*/ 0 w 54"/>
                  <a:gd name="T21" fmla="*/ 38 h 100"/>
                  <a:gd name="T22" fmla="*/ 2 w 54"/>
                  <a:gd name="T23" fmla="*/ 30 h 100"/>
                  <a:gd name="T24" fmla="*/ 0 w 54"/>
                  <a:gd name="T25" fmla="*/ 24 h 100"/>
                  <a:gd name="T26" fmla="*/ 4 w 54"/>
                  <a:gd name="T27" fmla="*/ 20 h 100"/>
                  <a:gd name="T28" fmla="*/ 10 w 54"/>
                  <a:gd name="T29" fmla="*/ 12 h 100"/>
                  <a:gd name="T30" fmla="*/ 18 w 54"/>
                  <a:gd name="T31" fmla="*/ 10 h 100"/>
                  <a:gd name="T32" fmla="*/ 22 w 54"/>
                  <a:gd name="T33" fmla="*/ 4 h 100"/>
                  <a:gd name="T34" fmla="*/ 26 w 54"/>
                  <a:gd name="T35" fmla="*/ 2 h 100"/>
                  <a:gd name="T36" fmla="*/ 32 w 54"/>
                  <a:gd name="T37" fmla="*/ 2 h 100"/>
                  <a:gd name="T38" fmla="*/ 40 w 54"/>
                  <a:gd name="T39" fmla="*/ 0 h 100"/>
                  <a:gd name="T40" fmla="*/ 46 w 54"/>
                  <a:gd name="T41" fmla="*/ 2 h 100"/>
                  <a:gd name="T42" fmla="*/ 48 w 54"/>
                  <a:gd name="T43" fmla="*/ 0 h 100"/>
                  <a:gd name="T44" fmla="*/ 50 w 54"/>
                  <a:gd name="T45" fmla="*/ 2 h 100"/>
                  <a:gd name="T46" fmla="*/ 54 w 54"/>
                  <a:gd name="T47" fmla="*/ 10 h 100"/>
                  <a:gd name="T48" fmla="*/ 54 w 54"/>
                  <a:gd name="T49" fmla="*/ 16 h 100"/>
                  <a:gd name="T50" fmla="*/ 54 w 54"/>
                  <a:gd name="T51" fmla="*/ 24 h 100"/>
                  <a:gd name="T52" fmla="*/ 54 w 54"/>
                  <a:gd name="T53" fmla="*/ 38 h 100"/>
                  <a:gd name="T54" fmla="*/ 46 w 54"/>
                  <a:gd name="T55" fmla="*/ 44 h 100"/>
                  <a:gd name="T56" fmla="*/ 40 w 54"/>
                  <a:gd name="T57" fmla="*/ 50 h 100"/>
                  <a:gd name="T58" fmla="*/ 40 w 54"/>
                  <a:gd name="T59" fmla="*/ 58 h 100"/>
                  <a:gd name="T60" fmla="*/ 40 w 54"/>
                  <a:gd name="T61" fmla="*/ 64 h 100"/>
                  <a:gd name="T62" fmla="*/ 32 w 54"/>
                  <a:gd name="T63" fmla="*/ 78 h 100"/>
                  <a:gd name="T64" fmla="*/ 32 w 54"/>
                  <a:gd name="T65" fmla="*/ 86 h 100"/>
                  <a:gd name="T66" fmla="*/ 26 w 54"/>
                  <a:gd name="T67" fmla="*/ 92 h 100"/>
                  <a:gd name="T68" fmla="*/ 26 w 54"/>
                  <a:gd name="T69" fmla="*/ 100 h 100"/>
                  <a:gd name="T70" fmla="*/ 18 w 54"/>
                  <a:gd name="T71" fmla="*/ 92 h 100"/>
                  <a:gd name="T72" fmla="*/ 18 w 54"/>
                  <a:gd name="T73" fmla="*/ 92 h 100"/>
                  <a:gd name="T74" fmla="*/ 18 w 54"/>
                  <a:gd name="T75" fmla="*/ 9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100">
                    <a:moveTo>
                      <a:pt x="18" y="92"/>
                    </a:moveTo>
                    <a:lnTo>
                      <a:pt x="14" y="92"/>
                    </a:lnTo>
                    <a:lnTo>
                      <a:pt x="10" y="84"/>
                    </a:lnTo>
                    <a:lnTo>
                      <a:pt x="10" y="78"/>
                    </a:lnTo>
                    <a:lnTo>
                      <a:pt x="4" y="72"/>
                    </a:lnTo>
                    <a:lnTo>
                      <a:pt x="0" y="64"/>
                    </a:lnTo>
                    <a:lnTo>
                      <a:pt x="4" y="60"/>
                    </a:lnTo>
                    <a:lnTo>
                      <a:pt x="4" y="58"/>
                    </a:lnTo>
                    <a:lnTo>
                      <a:pt x="4" y="50"/>
                    </a:lnTo>
                    <a:lnTo>
                      <a:pt x="2" y="44"/>
                    </a:lnTo>
                    <a:lnTo>
                      <a:pt x="0" y="38"/>
                    </a:lnTo>
                    <a:lnTo>
                      <a:pt x="2" y="30"/>
                    </a:lnTo>
                    <a:lnTo>
                      <a:pt x="0" y="24"/>
                    </a:lnTo>
                    <a:lnTo>
                      <a:pt x="4" y="20"/>
                    </a:lnTo>
                    <a:lnTo>
                      <a:pt x="10" y="12"/>
                    </a:lnTo>
                    <a:lnTo>
                      <a:pt x="18" y="10"/>
                    </a:lnTo>
                    <a:lnTo>
                      <a:pt x="22" y="4"/>
                    </a:lnTo>
                    <a:lnTo>
                      <a:pt x="26" y="2"/>
                    </a:lnTo>
                    <a:lnTo>
                      <a:pt x="32" y="2"/>
                    </a:lnTo>
                    <a:lnTo>
                      <a:pt x="40" y="0"/>
                    </a:lnTo>
                    <a:lnTo>
                      <a:pt x="46" y="2"/>
                    </a:lnTo>
                    <a:lnTo>
                      <a:pt x="48" y="0"/>
                    </a:lnTo>
                    <a:lnTo>
                      <a:pt x="50" y="2"/>
                    </a:lnTo>
                    <a:lnTo>
                      <a:pt x="54" y="10"/>
                    </a:lnTo>
                    <a:lnTo>
                      <a:pt x="54" y="16"/>
                    </a:lnTo>
                    <a:lnTo>
                      <a:pt x="54" y="24"/>
                    </a:lnTo>
                    <a:lnTo>
                      <a:pt x="54" y="38"/>
                    </a:lnTo>
                    <a:lnTo>
                      <a:pt x="46" y="44"/>
                    </a:lnTo>
                    <a:lnTo>
                      <a:pt x="40" y="50"/>
                    </a:lnTo>
                    <a:lnTo>
                      <a:pt x="40" y="58"/>
                    </a:lnTo>
                    <a:lnTo>
                      <a:pt x="40" y="64"/>
                    </a:lnTo>
                    <a:lnTo>
                      <a:pt x="32" y="78"/>
                    </a:lnTo>
                    <a:lnTo>
                      <a:pt x="32" y="86"/>
                    </a:lnTo>
                    <a:lnTo>
                      <a:pt x="26" y="92"/>
                    </a:lnTo>
                    <a:lnTo>
                      <a:pt x="26" y="100"/>
                    </a:lnTo>
                    <a:lnTo>
                      <a:pt x="18" y="92"/>
                    </a:lnTo>
                    <a:lnTo>
                      <a:pt x="18" y="92"/>
                    </a:lnTo>
                    <a:lnTo>
                      <a:pt x="18" y="92"/>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7" name="Freeform 31"/>
              <p:cNvSpPr>
                <a:spLocks/>
              </p:cNvSpPr>
              <p:nvPr>
                <p:custDataLst>
                  <p:tags r:id="rId136"/>
                </p:custDataLst>
              </p:nvPr>
            </p:nvSpPr>
            <p:spPr bwMode="gray">
              <a:xfrm>
                <a:off x="4174497" y="4264070"/>
                <a:ext cx="152434" cy="260408"/>
              </a:xfrm>
              <a:custGeom>
                <a:avLst/>
                <a:gdLst>
                  <a:gd name="T0" fmla="*/ 12 w 96"/>
                  <a:gd name="T1" fmla="*/ 28 h 164"/>
                  <a:gd name="T2" fmla="*/ 34 w 96"/>
                  <a:gd name="T3" fmla="*/ 20 h 164"/>
                  <a:gd name="T4" fmla="*/ 48 w 96"/>
                  <a:gd name="T5" fmla="*/ 14 h 164"/>
                  <a:gd name="T6" fmla="*/ 60 w 96"/>
                  <a:gd name="T7" fmla="*/ 14 h 164"/>
                  <a:gd name="T8" fmla="*/ 68 w 96"/>
                  <a:gd name="T9" fmla="*/ 8 h 164"/>
                  <a:gd name="T10" fmla="*/ 74 w 96"/>
                  <a:gd name="T11" fmla="*/ 8 h 164"/>
                  <a:gd name="T12" fmla="*/ 88 w 96"/>
                  <a:gd name="T13" fmla="*/ 20 h 164"/>
                  <a:gd name="T14" fmla="*/ 88 w 96"/>
                  <a:gd name="T15" fmla="*/ 28 h 164"/>
                  <a:gd name="T16" fmla="*/ 96 w 96"/>
                  <a:gd name="T17" fmla="*/ 34 h 164"/>
                  <a:gd name="T18" fmla="*/ 88 w 96"/>
                  <a:gd name="T19" fmla="*/ 56 h 164"/>
                  <a:gd name="T20" fmla="*/ 96 w 96"/>
                  <a:gd name="T21" fmla="*/ 62 h 164"/>
                  <a:gd name="T22" fmla="*/ 82 w 96"/>
                  <a:gd name="T23" fmla="*/ 68 h 164"/>
                  <a:gd name="T24" fmla="*/ 82 w 96"/>
                  <a:gd name="T25" fmla="*/ 82 h 164"/>
                  <a:gd name="T26" fmla="*/ 82 w 96"/>
                  <a:gd name="T27" fmla="*/ 96 h 164"/>
                  <a:gd name="T28" fmla="*/ 74 w 96"/>
                  <a:gd name="T29" fmla="*/ 116 h 164"/>
                  <a:gd name="T30" fmla="*/ 74 w 96"/>
                  <a:gd name="T31" fmla="*/ 144 h 164"/>
                  <a:gd name="T32" fmla="*/ 68 w 96"/>
                  <a:gd name="T33" fmla="*/ 158 h 164"/>
                  <a:gd name="T34" fmla="*/ 54 w 96"/>
                  <a:gd name="T35" fmla="*/ 152 h 164"/>
                  <a:gd name="T36" fmla="*/ 34 w 96"/>
                  <a:gd name="T37" fmla="*/ 152 h 164"/>
                  <a:gd name="T38" fmla="*/ 34 w 96"/>
                  <a:gd name="T39" fmla="*/ 164 h 164"/>
                  <a:gd name="T40" fmla="*/ 20 w 96"/>
                  <a:gd name="T41" fmla="*/ 164 h 164"/>
                  <a:gd name="T42" fmla="*/ 6 w 96"/>
                  <a:gd name="T43" fmla="*/ 152 h 164"/>
                  <a:gd name="T44" fmla="*/ 0 w 96"/>
                  <a:gd name="T45" fmla="*/ 138 h 164"/>
                  <a:gd name="T46" fmla="*/ 0 w 96"/>
                  <a:gd name="T47" fmla="*/ 116 h 164"/>
                  <a:gd name="T48" fmla="*/ 12 w 96"/>
                  <a:gd name="T49" fmla="*/ 110 h 164"/>
                  <a:gd name="T50" fmla="*/ 12 w 96"/>
                  <a:gd name="T51" fmla="*/ 96 h 164"/>
                  <a:gd name="T52" fmla="*/ 26 w 96"/>
                  <a:gd name="T53" fmla="*/ 82 h 164"/>
                  <a:gd name="T54" fmla="*/ 6 w 96"/>
                  <a:gd name="T55" fmla="*/ 82 h 164"/>
                  <a:gd name="T56" fmla="*/ 6 w 96"/>
                  <a:gd name="T57" fmla="*/ 62 h 164"/>
                  <a:gd name="T58" fmla="*/ 0 w 96"/>
                  <a:gd name="T59" fmla="*/ 42 h 164"/>
                  <a:gd name="T60" fmla="*/ 6 w 96"/>
                  <a:gd name="T61" fmla="*/ 28 h 164"/>
                  <a:gd name="T62" fmla="*/ 6 w 96"/>
                  <a:gd name="T63" fmla="*/ 2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64">
                    <a:moveTo>
                      <a:pt x="6" y="20"/>
                    </a:moveTo>
                    <a:lnTo>
                      <a:pt x="12" y="28"/>
                    </a:lnTo>
                    <a:lnTo>
                      <a:pt x="20" y="20"/>
                    </a:lnTo>
                    <a:lnTo>
                      <a:pt x="34" y="20"/>
                    </a:lnTo>
                    <a:lnTo>
                      <a:pt x="40" y="20"/>
                    </a:lnTo>
                    <a:lnTo>
                      <a:pt x="48" y="14"/>
                    </a:lnTo>
                    <a:lnTo>
                      <a:pt x="54" y="14"/>
                    </a:lnTo>
                    <a:lnTo>
                      <a:pt x="60" y="14"/>
                    </a:lnTo>
                    <a:lnTo>
                      <a:pt x="60" y="8"/>
                    </a:lnTo>
                    <a:lnTo>
                      <a:pt x="68" y="8"/>
                    </a:lnTo>
                    <a:lnTo>
                      <a:pt x="74" y="0"/>
                    </a:lnTo>
                    <a:lnTo>
                      <a:pt x="74" y="8"/>
                    </a:lnTo>
                    <a:lnTo>
                      <a:pt x="82" y="14"/>
                    </a:lnTo>
                    <a:lnTo>
                      <a:pt x="88" y="20"/>
                    </a:lnTo>
                    <a:lnTo>
                      <a:pt x="82" y="20"/>
                    </a:lnTo>
                    <a:lnTo>
                      <a:pt x="88" y="28"/>
                    </a:lnTo>
                    <a:lnTo>
                      <a:pt x="88" y="34"/>
                    </a:lnTo>
                    <a:lnTo>
                      <a:pt x="96" y="34"/>
                    </a:lnTo>
                    <a:lnTo>
                      <a:pt x="96" y="42"/>
                    </a:lnTo>
                    <a:lnTo>
                      <a:pt x="88" y="56"/>
                    </a:lnTo>
                    <a:lnTo>
                      <a:pt x="96" y="56"/>
                    </a:lnTo>
                    <a:lnTo>
                      <a:pt x="96" y="62"/>
                    </a:lnTo>
                    <a:lnTo>
                      <a:pt x="88" y="68"/>
                    </a:lnTo>
                    <a:lnTo>
                      <a:pt x="82" y="68"/>
                    </a:lnTo>
                    <a:lnTo>
                      <a:pt x="82" y="76"/>
                    </a:lnTo>
                    <a:lnTo>
                      <a:pt x="82" y="82"/>
                    </a:lnTo>
                    <a:lnTo>
                      <a:pt x="82" y="88"/>
                    </a:lnTo>
                    <a:lnTo>
                      <a:pt x="82" y="96"/>
                    </a:lnTo>
                    <a:lnTo>
                      <a:pt x="82" y="104"/>
                    </a:lnTo>
                    <a:lnTo>
                      <a:pt x="74" y="116"/>
                    </a:lnTo>
                    <a:lnTo>
                      <a:pt x="74" y="130"/>
                    </a:lnTo>
                    <a:lnTo>
                      <a:pt x="74" y="144"/>
                    </a:lnTo>
                    <a:lnTo>
                      <a:pt x="74" y="152"/>
                    </a:lnTo>
                    <a:lnTo>
                      <a:pt x="68" y="158"/>
                    </a:lnTo>
                    <a:lnTo>
                      <a:pt x="60" y="152"/>
                    </a:lnTo>
                    <a:lnTo>
                      <a:pt x="54" y="152"/>
                    </a:lnTo>
                    <a:lnTo>
                      <a:pt x="40" y="144"/>
                    </a:lnTo>
                    <a:lnTo>
                      <a:pt x="34" y="152"/>
                    </a:lnTo>
                    <a:lnTo>
                      <a:pt x="34" y="158"/>
                    </a:lnTo>
                    <a:lnTo>
                      <a:pt x="34" y="164"/>
                    </a:lnTo>
                    <a:lnTo>
                      <a:pt x="26" y="164"/>
                    </a:lnTo>
                    <a:lnTo>
                      <a:pt x="20" y="164"/>
                    </a:lnTo>
                    <a:lnTo>
                      <a:pt x="6" y="158"/>
                    </a:lnTo>
                    <a:lnTo>
                      <a:pt x="6" y="152"/>
                    </a:lnTo>
                    <a:lnTo>
                      <a:pt x="6" y="144"/>
                    </a:lnTo>
                    <a:lnTo>
                      <a:pt x="0" y="138"/>
                    </a:lnTo>
                    <a:lnTo>
                      <a:pt x="6" y="124"/>
                    </a:lnTo>
                    <a:lnTo>
                      <a:pt x="0" y="116"/>
                    </a:lnTo>
                    <a:lnTo>
                      <a:pt x="6" y="116"/>
                    </a:lnTo>
                    <a:lnTo>
                      <a:pt x="12" y="110"/>
                    </a:lnTo>
                    <a:lnTo>
                      <a:pt x="12" y="104"/>
                    </a:lnTo>
                    <a:lnTo>
                      <a:pt x="12" y="96"/>
                    </a:lnTo>
                    <a:lnTo>
                      <a:pt x="20" y="88"/>
                    </a:lnTo>
                    <a:lnTo>
                      <a:pt x="26" y="82"/>
                    </a:lnTo>
                    <a:lnTo>
                      <a:pt x="12" y="82"/>
                    </a:lnTo>
                    <a:lnTo>
                      <a:pt x="6" y="82"/>
                    </a:lnTo>
                    <a:lnTo>
                      <a:pt x="6" y="68"/>
                    </a:lnTo>
                    <a:lnTo>
                      <a:pt x="6" y="62"/>
                    </a:lnTo>
                    <a:lnTo>
                      <a:pt x="0" y="48"/>
                    </a:lnTo>
                    <a:lnTo>
                      <a:pt x="0" y="42"/>
                    </a:lnTo>
                    <a:lnTo>
                      <a:pt x="0" y="34"/>
                    </a:lnTo>
                    <a:lnTo>
                      <a:pt x="6" y="28"/>
                    </a:lnTo>
                    <a:lnTo>
                      <a:pt x="6" y="20"/>
                    </a:lnTo>
                    <a:lnTo>
                      <a:pt x="6" y="20"/>
                    </a:lnTo>
                    <a:lnTo>
                      <a:pt x="6" y="20"/>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8" name="Freeform 32"/>
              <p:cNvSpPr>
                <a:spLocks/>
              </p:cNvSpPr>
              <p:nvPr>
                <p:custDataLst>
                  <p:tags r:id="rId137"/>
                </p:custDataLst>
              </p:nvPr>
            </p:nvSpPr>
            <p:spPr bwMode="gray">
              <a:xfrm>
                <a:off x="4546055" y="4648330"/>
                <a:ext cx="308043" cy="196894"/>
              </a:xfrm>
              <a:custGeom>
                <a:avLst/>
                <a:gdLst>
                  <a:gd name="T0" fmla="*/ 194 w 194"/>
                  <a:gd name="T1" fmla="*/ 6 h 124"/>
                  <a:gd name="T2" fmla="*/ 194 w 194"/>
                  <a:gd name="T3" fmla="*/ 14 h 124"/>
                  <a:gd name="T4" fmla="*/ 194 w 194"/>
                  <a:gd name="T5" fmla="*/ 20 h 124"/>
                  <a:gd name="T6" fmla="*/ 188 w 194"/>
                  <a:gd name="T7" fmla="*/ 34 h 124"/>
                  <a:gd name="T8" fmla="*/ 182 w 194"/>
                  <a:gd name="T9" fmla="*/ 34 h 124"/>
                  <a:gd name="T10" fmla="*/ 174 w 194"/>
                  <a:gd name="T11" fmla="*/ 40 h 124"/>
                  <a:gd name="T12" fmla="*/ 174 w 194"/>
                  <a:gd name="T13" fmla="*/ 48 h 124"/>
                  <a:gd name="T14" fmla="*/ 174 w 194"/>
                  <a:gd name="T15" fmla="*/ 54 h 124"/>
                  <a:gd name="T16" fmla="*/ 174 w 194"/>
                  <a:gd name="T17" fmla="*/ 62 h 124"/>
                  <a:gd name="T18" fmla="*/ 168 w 194"/>
                  <a:gd name="T19" fmla="*/ 68 h 124"/>
                  <a:gd name="T20" fmla="*/ 168 w 194"/>
                  <a:gd name="T21" fmla="*/ 74 h 124"/>
                  <a:gd name="T22" fmla="*/ 168 w 194"/>
                  <a:gd name="T23" fmla="*/ 82 h 124"/>
                  <a:gd name="T24" fmla="*/ 174 w 194"/>
                  <a:gd name="T25" fmla="*/ 82 h 124"/>
                  <a:gd name="T26" fmla="*/ 168 w 194"/>
                  <a:gd name="T27" fmla="*/ 90 h 124"/>
                  <a:gd name="T28" fmla="*/ 174 w 194"/>
                  <a:gd name="T29" fmla="*/ 90 h 124"/>
                  <a:gd name="T30" fmla="*/ 174 w 194"/>
                  <a:gd name="T31" fmla="*/ 104 h 124"/>
                  <a:gd name="T32" fmla="*/ 160 w 194"/>
                  <a:gd name="T33" fmla="*/ 110 h 124"/>
                  <a:gd name="T34" fmla="*/ 160 w 194"/>
                  <a:gd name="T35" fmla="*/ 124 h 124"/>
                  <a:gd name="T36" fmla="*/ 146 w 194"/>
                  <a:gd name="T37" fmla="*/ 116 h 124"/>
                  <a:gd name="T38" fmla="*/ 138 w 194"/>
                  <a:gd name="T39" fmla="*/ 124 h 124"/>
                  <a:gd name="T40" fmla="*/ 126 w 194"/>
                  <a:gd name="T41" fmla="*/ 116 h 124"/>
                  <a:gd name="T42" fmla="*/ 118 w 194"/>
                  <a:gd name="T43" fmla="*/ 104 h 124"/>
                  <a:gd name="T44" fmla="*/ 118 w 194"/>
                  <a:gd name="T45" fmla="*/ 96 h 124"/>
                  <a:gd name="T46" fmla="*/ 104 w 194"/>
                  <a:gd name="T47" fmla="*/ 90 h 124"/>
                  <a:gd name="T48" fmla="*/ 90 w 194"/>
                  <a:gd name="T49" fmla="*/ 90 h 124"/>
                  <a:gd name="T50" fmla="*/ 84 w 194"/>
                  <a:gd name="T51" fmla="*/ 82 h 124"/>
                  <a:gd name="T52" fmla="*/ 70 w 194"/>
                  <a:gd name="T53" fmla="*/ 82 h 124"/>
                  <a:gd name="T54" fmla="*/ 64 w 194"/>
                  <a:gd name="T55" fmla="*/ 68 h 124"/>
                  <a:gd name="T56" fmla="*/ 56 w 194"/>
                  <a:gd name="T57" fmla="*/ 62 h 124"/>
                  <a:gd name="T58" fmla="*/ 36 w 194"/>
                  <a:gd name="T59" fmla="*/ 54 h 124"/>
                  <a:gd name="T60" fmla="*/ 28 w 194"/>
                  <a:gd name="T61" fmla="*/ 48 h 124"/>
                  <a:gd name="T62" fmla="*/ 22 w 194"/>
                  <a:gd name="T63" fmla="*/ 48 h 124"/>
                  <a:gd name="T64" fmla="*/ 8 w 194"/>
                  <a:gd name="T65" fmla="*/ 40 h 124"/>
                  <a:gd name="T66" fmla="*/ 0 w 194"/>
                  <a:gd name="T67" fmla="*/ 34 h 124"/>
                  <a:gd name="T68" fmla="*/ 0 w 194"/>
                  <a:gd name="T69" fmla="*/ 28 h 124"/>
                  <a:gd name="T70" fmla="*/ 8 w 194"/>
                  <a:gd name="T71" fmla="*/ 20 h 124"/>
                  <a:gd name="T72" fmla="*/ 8 w 194"/>
                  <a:gd name="T73" fmla="*/ 6 h 124"/>
                  <a:gd name="T74" fmla="*/ 14 w 194"/>
                  <a:gd name="T75" fmla="*/ 6 h 124"/>
                  <a:gd name="T76" fmla="*/ 22 w 194"/>
                  <a:gd name="T77" fmla="*/ 0 h 124"/>
                  <a:gd name="T78" fmla="*/ 28 w 194"/>
                  <a:gd name="T79" fmla="*/ 6 h 124"/>
                  <a:gd name="T80" fmla="*/ 28 w 194"/>
                  <a:gd name="T81" fmla="*/ 14 h 124"/>
                  <a:gd name="T82" fmla="*/ 42 w 194"/>
                  <a:gd name="T83" fmla="*/ 6 h 124"/>
                  <a:gd name="T84" fmla="*/ 56 w 194"/>
                  <a:gd name="T85" fmla="*/ 6 h 124"/>
                  <a:gd name="T86" fmla="*/ 64 w 194"/>
                  <a:gd name="T87" fmla="*/ 14 h 124"/>
                  <a:gd name="T88" fmla="*/ 76 w 194"/>
                  <a:gd name="T89" fmla="*/ 20 h 124"/>
                  <a:gd name="T90" fmla="*/ 90 w 194"/>
                  <a:gd name="T91" fmla="*/ 28 h 124"/>
                  <a:gd name="T92" fmla="*/ 104 w 194"/>
                  <a:gd name="T93" fmla="*/ 28 h 124"/>
                  <a:gd name="T94" fmla="*/ 118 w 194"/>
                  <a:gd name="T95" fmla="*/ 20 h 124"/>
                  <a:gd name="T96" fmla="*/ 126 w 194"/>
                  <a:gd name="T97" fmla="*/ 20 h 124"/>
                  <a:gd name="T98" fmla="*/ 132 w 194"/>
                  <a:gd name="T99" fmla="*/ 20 h 124"/>
                  <a:gd name="T100" fmla="*/ 138 w 194"/>
                  <a:gd name="T101" fmla="*/ 20 h 124"/>
                  <a:gd name="T102" fmla="*/ 146 w 194"/>
                  <a:gd name="T103" fmla="*/ 14 h 124"/>
                  <a:gd name="T104" fmla="*/ 152 w 194"/>
                  <a:gd name="T105" fmla="*/ 14 h 124"/>
                  <a:gd name="T106" fmla="*/ 160 w 194"/>
                  <a:gd name="T107" fmla="*/ 20 h 124"/>
                  <a:gd name="T108" fmla="*/ 168 w 194"/>
                  <a:gd name="T109" fmla="*/ 14 h 124"/>
                  <a:gd name="T110" fmla="*/ 182 w 194"/>
                  <a:gd name="T111" fmla="*/ 14 h 124"/>
                  <a:gd name="T112" fmla="*/ 194 w 194"/>
                  <a:gd name="T113" fmla="*/ 6 h 124"/>
                  <a:gd name="T114" fmla="*/ 194 w 194"/>
                  <a:gd name="T115" fmla="*/ 6 h 124"/>
                  <a:gd name="T116" fmla="*/ 194 w 194"/>
                  <a:gd name="T117" fmla="*/ 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4" h="124">
                    <a:moveTo>
                      <a:pt x="194" y="6"/>
                    </a:moveTo>
                    <a:lnTo>
                      <a:pt x="194" y="14"/>
                    </a:lnTo>
                    <a:lnTo>
                      <a:pt x="194" y="20"/>
                    </a:lnTo>
                    <a:lnTo>
                      <a:pt x="188" y="34"/>
                    </a:lnTo>
                    <a:lnTo>
                      <a:pt x="182" y="34"/>
                    </a:lnTo>
                    <a:lnTo>
                      <a:pt x="174" y="40"/>
                    </a:lnTo>
                    <a:lnTo>
                      <a:pt x="174" y="48"/>
                    </a:lnTo>
                    <a:lnTo>
                      <a:pt x="174" y="54"/>
                    </a:lnTo>
                    <a:lnTo>
                      <a:pt x="174" y="62"/>
                    </a:lnTo>
                    <a:lnTo>
                      <a:pt x="168" y="68"/>
                    </a:lnTo>
                    <a:lnTo>
                      <a:pt x="168" y="74"/>
                    </a:lnTo>
                    <a:lnTo>
                      <a:pt x="168" y="82"/>
                    </a:lnTo>
                    <a:lnTo>
                      <a:pt x="174" y="82"/>
                    </a:lnTo>
                    <a:lnTo>
                      <a:pt x="168" y="90"/>
                    </a:lnTo>
                    <a:lnTo>
                      <a:pt x="174" y="90"/>
                    </a:lnTo>
                    <a:lnTo>
                      <a:pt x="174" y="104"/>
                    </a:lnTo>
                    <a:lnTo>
                      <a:pt x="160" y="110"/>
                    </a:lnTo>
                    <a:lnTo>
                      <a:pt x="160" y="124"/>
                    </a:lnTo>
                    <a:lnTo>
                      <a:pt x="146" y="116"/>
                    </a:lnTo>
                    <a:lnTo>
                      <a:pt x="138" y="124"/>
                    </a:lnTo>
                    <a:lnTo>
                      <a:pt x="126" y="116"/>
                    </a:lnTo>
                    <a:lnTo>
                      <a:pt x="118" y="104"/>
                    </a:lnTo>
                    <a:lnTo>
                      <a:pt x="118" y="96"/>
                    </a:lnTo>
                    <a:lnTo>
                      <a:pt x="104" y="90"/>
                    </a:lnTo>
                    <a:lnTo>
                      <a:pt x="90" y="90"/>
                    </a:lnTo>
                    <a:lnTo>
                      <a:pt x="84" y="82"/>
                    </a:lnTo>
                    <a:lnTo>
                      <a:pt x="70" y="82"/>
                    </a:lnTo>
                    <a:lnTo>
                      <a:pt x="64" y="68"/>
                    </a:lnTo>
                    <a:lnTo>
                      <a:pt x="56" y="62"/>
                    </a:lnTo>
                    <a:lnTo>
                      <a:pt x="36" y="54"/>
                    </a:lnTo>
                    <a:lnTo>
                      <a:pt x="28" y="48"/>
                    </a:lnTo>
                    <a:lnTo>
                      <a:pt x="22" y="48"/>
                    </a:lnTo>
                    <a:lnTo>
                      <a:pt x="8" y="40"/>
                    </a:lnTo>
                    <a:lnTo>
                      <a:pt x="0" y="34"/>
                    </a:lnTo>
                    <a:lnTo>
                      <a:pt x="0" y="28"/>
                    </a:lnTo>
                    <a:lnTo>
                      <a:pt x="8" y="20"/>
                    </a:lnTo>
                    <a:lnTo>
                      <a:pt x="8" y="6"/>
                    </a:lnTo>
                    <a:lnTo>
                      <a:pt x="14" y="6"/>
                    </a:lnTo>
                    <a:lnTo>
                      <a:pt x="22" y="0"/>
                    </a:lnTo>
                    <a:lnTo>
                      <a:pt x="28" y="6"/>
                    </a:lnTo>
                    <a:lnTo>
                      <a:pt x="28" y="14"/>
                    </a:lnTo>
                    <a:lnTo>
                      <a:pt x="42" y="6"/>
                    </a:lnTo>
                    <a:lnTo>
                      <a:pt x="56" y="6"/>
                    </a:lnTo>
                    <a:lnTo>
                      <a:pt x="64" y="14"/>
                    </a:lnTo>
                    <a:lnTo>
                      <a:pt x="76" y="20"/>
                    </a:lnTo>
                    <a:lnTo>
                      <a:pt x="90" y="28"/>
                    </a:lnTo>
                    <a:lnTo>
                      <a:pt x="104" y="28"/>
                    </a:lnTo>
                    <a:lnTo>
                      <a:pt x="118" y="20"/>
                    </a:lnTo>
                    <a:lnTo>
                      <a:pt x="126" y="20"/>
                    </a:lnTo>
                    <a:lnTo>
                      <a:pt x="132" y="20"/>
                    </a:lnTo>
                    <a:lnTo>
                      <a:pt x="138" y="20"/>
                    </a:lnTo>
                    <a:lnTo>
                      <a:pt x="146" y="14"/>
                    </a:lnTo>
                    <a:lnTo>
                      <a:pt x="152" y="14"/>
                    </a:lnTo>
                    <a:lnTo>
                      <a:pt x="160" y="20"/>
                    </a:lnTo>
                    <a:lnTo>
                      <a:pt x="168" y="14"/>
                    </a:lnTo>
                    <a:lnTo>
                      <a:pt x="182" y="14"/>
                    </a:lnTo>
                    <a:lnTo>
                      <a:pt x="194" y="6"/>
                    </a:lnTo>
                    <a:lnTo>
                      <a:pt x="194" y="6"/>
                    </a:lnTo>
                    <a:lnTo>
                      <a:pt x="194" y="6"/>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9" name="Freeform 33"/>
              <p:cNvSpPr>
                <a:spLocks/>
              </p:cNvSpPr>
              <p:nvPr/>
            </p:nvSpPr>
            <p:spPr bwMode="gray">
              <a:xfrm>
                <a:off x="3521889" y="2625406"/>
                <a:ext cx="31757" cy="19054"/>
              </a:xfrm>
              <a:custGeom>
                <a:avLst/>
                <a:gdLst>
                  <a:gd name="T0" fmla="*/ 14 w 20"/>
                  <a:gd name="T1" fmla="*/ 12 h 12"/>
                  <a:gd name="T2" fmla="*/ 8 w 20"/>
                  <a:gd name="T3" fmla="*/ 12 h 12"/>
                  <a:gd name="T4" fmla="*/ 0 w 20"/>
                  <a:gd name="T5" fmla="*/ 12 h 12"/>
                  <a:gd name="T6" fmla="*/ 0 w 20"/>
                  <a:gd name="T7" fmla="*/ 0 h 12"/>
                  <a:gd name="T8" fmla="*/ 8 w 20"/>
                  <a:gd name="T9" fmla="*/ 0 h 12"/>
                  <a:gd name="T10" fmla="*/ 14 w 20"/>
                  <a:gd name="T11" fmla="*/ 0 h 12"/>
                  <a:gd name="T12" fmla="*/ 20 w 20"/>
                  <a:gd name="T13" fmla="*/ 6 h 12"/>
                  <a:gd name="T14" fmla="*/ 14 w 20"/>
                  <a:gd name="T15" fmla="*/ 12 h 12"/>
                  <a:gd name="T16" fmla="*/ 14 w 20"/>
                  <a:gd name="T17" fmla="*/ 12 h 12"/>
                  <a:gd name="T18" fmla="*/ 14 w 20"/>
                  <a:gd name="T1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2">
                    <a:moveTo>
                      <a:pt x="14" y="12"/>
                    </a:moveTo>
                    <a:lnTo>
                      <a:pt x="8" y="12"/>
                    </a:lnTo>
                    <a:lnTo>
                      <a:pt x="0" y="12"/>
                    </a:lnTo>
                    <a:lnTo>
                      <a:pt x="0" y="0"/>
                    </a:lnTo>
                    <a:lnTo>
                      <a:pt x="8" y="0"/>
                    </a:lnTo>
                    <a:lnTo>
                      <a:pt x="14" y="0"/>
                    </a:lnTo>
                    <a:lnTo>
                      <a:pt x="20" y="6"/>
                    </a:lnTo>
                    <a:lnTo>
                      <a:pt x="14" y="12"/>
                    </a:lnTo>
                    <a:lnTo>
                      <a:pt x="14" y="12"/>
                    </a:lnTo>
                    <a:lnTo>
                      <a:pt x="14" y="12"/>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0" name="Freeform 34"/>
              <p:cNvSpPr>
                <a:spLocks/>
              </p:cNvSpPr>
              <p:nvPr/>
            </p:nvSpPr>
            <p:spPr bwMode="gray">
              <a:xfrm>
                <a:off x="3636215" y="2996963"/>
                <a:ext cx="34933" cy="9527"/>
              </a:xfrm>
              <a:custGeom>
                <a:avLst/>
                <a:gdLst>
                  <a:gd name="T0" fmla="*/ 14 w 22"/>
                  <a:gd name="T1" fmla="*/ 0 h 6"/>
                  <a:gd name="T2" fmla="*/ 0 w 22"/>
                  <a:gd name="T3" fmla="*/ 0 h 6"/>
                  <a:gd name="T4" fmla="*/ 8 w 22"/>
                  <a:gd name="T5" fmla="*/ 6 h 6"/>
                  <a:gd name="T6" fmla="*/ 14 w 22"/>
                  <a:gd name="T7" fmla="*/ 6 h 6"/>
                  <a:gd name="T8" fmla="*/ 22 w 22"/>
                  <a:gd name="T9" fmla="*/ 6 h 6"/>
                  <a:gd name="T10" fmla="*/ 22 w 22"/>
                  <a:gd name="T11" fmla="*/ 0 h 6"/>
                  <a:gd name="T12" fmla="*/ 14 w 22"/>
                  <a:gd name="T13" fmla="*/ 0 h 6"/>
                  <a:gd name="T14" fmla="*/ 14 w 22"/>
                  <a:gd name="T15" fmla="*/ 0 h 6"/>
                  <a:gd name="T16" fmla="*/ 14 w 22"/>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
                    <a:moveTo>
                      <a:pt x="14" y="0"/>
                    </a:moveTo>
                    <a:lnTo>
                      <a:pt x="0" y="0"/>
                    </a:lnTo>
                    <a:lnTo>
                      <a:pt x="8" y="6"/>
                    </a:lnTo>
                    <a:lnTo>
                      <a:pt x="14" y="6"/>
                    </a:lnTo>
                    <a:lnTo>
                      <a:pt x="22" y="6"/>
                    </a:lnTo>
                    <a:lnTo>
                      <a:pt x="22" y="0"/>
                    </a:lnTo>
                    <a:lnTo>
                      <a:pt x="14" y="0"/>
                    </a:lnTo>
                    <a:lnTo>
                      <a:pt x="14" y="0"/>
                    </a:lnTo>
                    <a:lnTo>
                      <a:pt x="14" y="0"/>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1" name="Freeform 35"/>
              <p:cNvSpPr>
                <a:spLocks/>
              </p:cNvSpPr>
              <p:nvPr/>
            </p:nvSpPr>
            <p:spPr bwMode="gray">
              <a:xfrm>
                <a:off x="3842635" y="1999792"/>
                <a:ext cx="19054" cy="34933"/>
              </a:xfrm>
              <a:custGeom>
                <a:avLst/>
                <a:gdLst>
                  <a:gd name="T0" fmla="*/ 12 w 12"/>
                  <a:gd name="T1" fmla="*/ 22 h 22"/>
                  <a:gd name="T2" fmla="*/ 6 w 12"/>
                  <a:gd name="T3" fmla="*/ 14 h 22"/>
                  <a:gd name="T4" fmla="*/ 0 w 12"/>
                  <a:gd name="T5" fmla="*/ 8 h 22"/>
                  <a:gd name="T6" fmla="*/ 6 w 12"/>
                  <a:gd name="T7" fmla="*/ 8 h 22"/>
                  <a:gd name="T8" fmla="*/ 12 w 12"/>
                  <a:gd name="T9" fmla="*/ 0 h 22"/>
                  <a:gd name="T10" fmla="*/ 12 w 12"/>
                  <a:gd name="T11" fmla="*/ 8 h 22"/>
                  <a:gd name="T12" fmla="*/ 12 w 12"/>
                  <a:gd name="T13" fmla="*/ 14 h 22"/>
                  <a:gd name="T14" fmla="*/ 12 w 12"/>
                  <a:gd name="T15" fmla="*/ 22 h 22"/>
                  <a:gd name="T16" fmla="*/ 12 w 12"/>
                  <a:gd name="T17" fmla="*/ 22 h 22"/>
                  <a:gd name="T18" fmla="*/ 12 w 12"/>
                  <a:gd name="T1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22">
                    <a:moveTo>
                      <a:pt x="12" y="22"/>
                    </a:moveTo>
                    <a:lnTo>
                      <a:pt x="6" y="14"/>
                    </a:lnTo>
                    <a:lnTo>
                      <a:pt x="0" y="8"/>
                    </a:lnTo>
                    <a:lnTo>
                      <a:pt x="6" y="8"/>
                    </a:lnTo>
                    <a:lnTo>
                      <a:pt x="12" y="0"/>
                    </a:lnTo>
                    <a:lnTo>
                      <a:pt x="12" y="8"/>
                    </a:lnTo>
                    <a:lnTo>
                      <a:pt x="12" y="14"/>
                    </a:lnTo>
                    <a:lnTo>
                      <a:pt x="12" y="22"/>
                    </a:lnTo>
                    <a:lnTo>
                      <a:pt x="12" y="22"/>
                    </a:lnTo>
                    <a:lnTo>
                      <a:pt x="12" y="22"/>
                    </a:lnTo>
                    <a:close/>
                  </a:path>
                </a:pathLst>
              </a:custGeom>
              <a:solidFill>
                <a:schemeClr val="accent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2" name="Freeform 36"/>
              <p:cNvSpPr>
                <a:spLocks/>
              </p:cNvSpPr>
              <p:nvPr/>
            </p:nvSpPr>
            <p:spPr bwMode="gray">
              <a:xfrm>
                <a:off x="3996657" y="1869589"/>
                <a:ext cx="34933" cy="85744"/>
              </a:xfrm>
              <a:custGeom>
                <a:avLst/>
                <a:gdLst>
                  <a:gd name="T0" fmla="*/ 0 w 22"/>
                  <a:gd name="T1" fmla="*/ 54 h 54"/>
                  <a:gd name="T2" fmla="*/ 8 w 22"/>
                  <a:gd name="T3" fmla="*/ 48 h 54"/>
                  <a:gd name="T4" fmla="*/ 8 w 22"/>
                  <a:gd name="T5" fmla="*/ 42 h 54"/>
                  <a:gd name="T6" fmla="*/ 0 w 22"/>
                  <a:gd name="T7" fmla="*/ 34 h 54"/>
                  <a:gd name="T8" fmla="*/ 0 w 22"/>
                  <a:gd name="T9" fmla="*/ 28 h 54"/>
                  <a:gd name="T10" fmla="*/ 14 w 22"/>
                  <a:gd name="T11" fmla="*/ 28 h 54"/>
                  <a:gd name="T12" fmla="*/ 14 w 22"/>
                  <a:gd name="T13" fmla="*/ 20 h 54"/>
                  <a:gd name="T14" fmla="*/ 22 w 22"/>
                  <a:gd name="T15" fmla="*/ 0 h 54"/>
                  <a:gd name="T16" fmla="*/ 22 w 22"/>
                  <a:gd name="T17" fmla="*/ 14 h 54"/>
                  <a:gd name="T18" fmla="*/ 22 w 22"/>
                  <a:gd name="T19" fmla="*/ 20 h 54"/>
                  <a:gd name="T20" fmla="*/ 22 w 22"/>
                  <a:gd name="T21" fmla="*/ 28 h 54"/>
                  <a:gd name="T22" fmla="*/ 22 w 22"/>
                  <a:gd name="T23" fmla="*/ 34 h 54"/>
                  <a:gd name="T24" fmla="*/ 14 w 22"/>
                  <a:gd name="T25" fmla="*/ 42 h 54"/>
                  <a:gd name="T26" fmla="*/ 14 w 22"/>
                  <a:gd name="T27" fmla="*/ 48 h 54"/>
                  <a:gd name="T28" fmla="*/ 0 w 22"/>
                  <a:gd name="T29" fmla="*/ 54 h 54"/>
                  <a:gd name="T30" fmla="*/ 0 w 22"/>
                  <a:gd name="T31" fmla="*/ 54 h 54"/>
                  <a:gd name="T32" fmla="*/ 0 w 22"/>
                  <a:gd name="T3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54">
                    <a:moveTo>
                      <a:pt x="0" y="54"/>
                    </a:moveTo>
                    <a:lnTo>
                      <a:pt x="8" y="48"/>
                    </a:lnTo>
                    <a:lnTo>
                      <a:pt x="8" y="42"/>
                    </a:lnTo>
                    <a:lnTo>
                      <a:pt x="0" y="34"/>
                    </a:lnTo>
                    <a:lnTo>
                      <a:pt x="0" y="28"/>
                    </a:lnTo>
                    <a:lnTo>
                      <a:pt x="14" y="28"/>
                    </a:lnTo>
                    <a:lnTo>
                      <a:pt x="14" y="20"/>
                    </a:lnTo>
                    <a:lnTo>
                      <a:pt x="22" y="0"/>
                    </a:lnTo>
                    <a:lnTo>
                      <a:pt x="22" y="14"/>
                    </a:lnTo>
                    <a:lnTo>
                      <a:pt x="22" y="20"/>
                    </a:lnTo>
                    <a:lnTo>
                      <a:pt x="22" y="28"/>
                    </a:lnTo>
                    <a:lnTo>
                      <a:pt x="22" y="34"/>
                    </a:lnTo>
                    <a:lnTo>
                      <a:pt x="14" y="42"/>
                    </a:lnTo>
                    <a:lnTo>
                      <a:pt x="14" y="48"/>
                    </a:lnTo>
                    <a:lnTo>
                      <a:pt x="0" y="54"/>
                    </a:lnTo>
                    <a:lnTo>
                      <a:pt x="0" y="54"/>
                    </a:lnTo>
                    <a:lnTo>
                      <a:pt x="0" y="54"/>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3" name="Freeform 37"/>
              <p:cNvSpPr>
                <a:spLocks/>
              </p:cNvSpPr>
              <p:nvPr/>
            </p:nvSpPr>
            <p:spPr bwMode="gray">
              <a:xfrm>
                <a:off x="3566349" y="2012495"/>
                <a:ext cx="76217" cy="76217"/>
              </a:xfrm>
              <a:custGeom>
                <a:avLst/>
                <a:gdLst>
                  <a:gd name="T0" fmla="*/ 0 w 48"/>
                  <a:gd name="T1" fmla="*/ 48 h 48"/>
                  <a:gd name="T2" fmla="*/ 6 w 48"/>
                  <a:gd name="T3" fmla="*/ 34 h 48"/>
                  <a:gd name="T4" fmla="*/ 14 w 48"/>
                  <a:gd name="T5" fmla="*/ 28 h 48"/>
                  <a:gd name="T6" fmla="*/ 20 w 48"/>
                  <a:gd name="T7" fmla="*/ 34 h 48"/>
                  <a:gd name="T8" fmla="*/ 20 w 48"/>
                  <a:gd name="T9" fmla="*/ 42 h 48"/>
                  <a:gd name="T10" fmla="*/ 28 w 48"/>
                  <a:gd name="T11" fmla="*/ 34 h 48"/>
                  <a:gd name="T12" fmla="*/ 28 w 48"/>
                  <a:gd name="T13" fmla="*/ 28 h 48"/>
                  <a:gd name="T14" fmla="*/ 34 w 48"/>
                  <a:gd name="T15" fmla="*/ 20 h 48"/>
                  <a:gd name="T16" fmla="*/ 42 w 48"/>
                  <a:gd name="T17" fmla="*/ 20 h 48"/>
                  <a:gd name="T18" fmla="*/ 42 w 48"/>
                  <a:gd name="T19" fmla="*/ 14 h 48"/>
                  <a:gd name="T20" fmla="*/ 48 w 48"/>
                  <a:gd name="T21" fmla="*/ 6 h 48"/>
                  <a:gd name="T22" fmla="*/ 48 w 48"/>
                  <a:gd name="T23" fmla="*/ 0 h 48"/>
                  <a:gd name="T24" fmla="*/ 42 w 48"/>
                  <a:gd name="T25" fmla="*/ 6 h 48"/>
                  <a:gd name="T26" fmla="*/ 34 w 48"/>
                  <a:gd name="T27" fmla="*/ 6 h 48"/>
                  <a:gd name="T28" fmla="*/ 20 w 48"/>
                  <a:gd name="T29" fmla="*/ 6 h 48"/>
                  <a:gd name="T30" fmla="*/ 20 w 48"/>
                  <a:gd name="T31" fmla="*/ 20 h 48"/>
                  <a:gd name="T32" fmla="*/ 14 w 48"/>
                  <a:gd name="T33" fmla="*/ 14 h 48"/>
                  <a:gd name="T34" fmla="*/ 14 w 48"/>
                  <a:gd name="T35" fmla="*/ 6 h 48"/>
                  <a:gd name="T36" fmla="*/ 6 w 48"/>
                  <a:gd name="T37" fmla="*/ 14 h 48"/>
                  <a:gd name="T38" fmla="*/ 6 w 48"/>
                  <a:gd name="T39" fmla="*/ 20 h 48"/>
                  <a:gd name="T40" fmla="*/ 0 w 48"/>
                  <a:gd name="T41" fmla="*/ 34 h 48"/>
                  <a:gd name="T42" fmla="*/ 0 w 48"/>
                  <a:gd name="T43" fmla="*/ 42 h 48"/>
                  <a:gd name="T44" fmla="*/ 0 w 48"/>
                  <a:gd name="T45" fmla="*/ 48 h 48"/>
                  <a:gd name="T46" fmla="*/ 0 w 48"/>
                  <a:gd name="T47" fmla="*/ 48 h 48"/>
                  <a:gd name="T48" fmla="*/ 0 w 48"/>
                  <a:gd name="T4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 h="48">
                    <a:moveTo>
                      <a:pt x="0" y="48"/>
                    </a:moveTo>
                    <a:lnTo>
                      <a:pt x="6" y="34"/>
                    </a:lnTo>
                    <a:lnTo>
                      <a:pt x="14" y="28"/>
                    </a:lnTo>
                    <a:lnTo>
                      <a:pt x="20" y="34"/>
                    </a:lnTo>
                    <a:lnTo>
                      <a:pt x="20" y="42"/>
                    </a:lnTo>
                    <a:lnTo>
                      <a:pt x="28" y="34"/>
                    </a:lnTo>
                    <a:lnTo>
                      <a:pt x="28" y="28"/>
                    </a:lnTo>
                    <a:lnTo>
                      <a:pt x="34" y="20"/>
                    </a:lnTo>
                    <a:lnTo>
                      <a:pt x="42" y="20"/>
                    </a:lnTo>
                    <a:lnTo>
                      <a:pt x="42" y="14"/>
                    </a:lnTo>
                    <a:lnTo>
                      <a:pt x="48" y="6"/>
                    </a:lnTo>
                    <a:lnTo>
                      <a:pt x="48" y="0"/>
                    </a:lnTo>
                    <a:lnTo>
                      <a:pt x="42" y="6"/>
                    </a:lnTo>
                    <a:lnTo>
                      <a:pt x="34" y="6"/>
                    </a:lnTo>
                    <a:lnTo>
                      <a:pt x="20" y="6"/>
                    </a:lnTo>
                    <a:lnTo>
                      <a:pt x="20" y="20"/>
                    </a:lnTo>
                    <a:lnTo>
                      <a:pt x="14" y="14"/>
                    </a:lnTo>
                    <a:lnTo>
                      <a:pt x="14" y="6"/>
                    </a:lnTo>
                    <a:lnTo>
                      <a:pt x="6" y="14"/>
                    </a:lnTo>
                    <a:lnTo>
                      <a:pt x="6" y="20"/>
                    </a:lnTo>
                    <a:lnTo>
                      <a:pt x="0" y="34"/>
                    </a:lnTo>
                    <a:lnTo>
                      <a:pt x="0" y="42"/>
                    </a:lnTo>
                    <a:lnTo>
                      <a:pt x="0" y="48"/>
                    </a:lnTo>
                    <a:lnTo>
                      <a:pt x="0" y="48"/>
                    </a:lnTo>
                    <a:lnTo>
                      <a:pt x="0" y="48"/>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4" name="Freeform 38"/>
              <p:cNvSpPr>
                <a:spLocks/>
              </p:cNvSpPr>
              <p:nvPr/>
            </p:nvSpPr>
            <p:spPr bwMode="gray">
              <a:xfrm>
                <a:off x="3553646" y="2514257"/>
                <a:ext cx="34933" cy="31757"/>
              </a:xfrm>
              <a:custGeom>
                <a:avLst/>
                <a:gdLst>
                  <a:gd name="T0" fmla="*/ 0 w 22"/>
                  <a:gd name="T1" fmla="*/ 14 h 20"/>
                  <a:gd name="T2" fmla="*/ 6 w 22"/>
                  <a:gd name="T3" fmla="*/ 6 h 20"/>
                  <a:gd name="T4" fmla="*/ 14 w 22"/>
                  <a:gd name="T5" fmla="*/ 0 h 20"/>
                  <a:gd name="T6" fmla="*/ 22 w 22"/>
                  <a:gd name="T7" fmla="*/ 6 h 20"/>
                  <a:gd name="T8" fmla="*/ 22 w 22"/>
                  <a:gd name="T9" fmla="*/ 14 h 20"/>
                  <a:gd name="T10" fmla="*/ 6 w 22"/>
                  <a:gd name="T11" fmla="*/ 20 h 20"/>
                  <a:gd name="T12" fmla="*/ 0 w 22"/>
                  <a:gd name="T13" fmla="*/ 14 h 20"/>
                  <a:gd name="T14" fmla="*/ 0 w 22"/>
                  <a:gd name="T15" fmla="*/ 14 h 20"/>
                  <a:gd name="T16" fmla="*/ 0 w 22"/>
                  <a:gd name="T17"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0">
                    <a:moveTo>
                      <a:pt x="0" y="14"/>
                    </a:moveTo>
                    <a:lnTo>
                      <a:pt x="6" y="6"/>
                    </a:lnTo>
                    <a:lnTo>
                      <a:pt x="14" y="0"/>
                    </a:lnTo>
                    <a:lnTo>
                      <a:pt x="22" y="6"/>
                    </a:lnTo>
                    <a:lnTo>
                      <a:pt x="22" y="14"/>
                    </a:lnTo>
                    <a:lnTo>
                      <a:pt x="6" y="20"/>
                    </a:lnTo>
                    <a:lnTo>
                      <a:pt x="0" y="14"/>
                    </a:lnTo>
                    <a:lnTo>
                      <a:pt x="0" y="14"/>
                    </a:lnTo>
                    <a:lnTo>
                      <a:pt x="0" y="14"/>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5" name="Freeform 39"/>
              <p:cNvSpPr>
                <a:spLocks/>
              </p:cNvSpPr>
              <p:nvPr/>
            </p:nvSpPr>
            <p:spPr bwMode="gray">
              <a:xfrm>
                <a:off x="3579052" y="2110942"/>
                <a:ext cx="41284" cy="66690"/>
              </a:xfrm>
              <a:custGeom>
                <a:avLst/>
                <a:gdLst>
                  <a:gd name="T0" fmla="*/ 20 w 26"/>
                  <a:gd name="T1" fmla="*/ 28 h 42"/>
                  <a:gd name="T2" fmla="*/ 20 w 26"/>
                  <a:gd name="T3" fmla="*/ 22 h 42"/>
                  <a:gd name="T4" fmla="*/ 20 w 26"/>
                  <a:gd name="T5" fmla="*/ 14 h 42"/>
                  <a:gd name="T6" fmla="*/ 26 w 26"/>
                  <a:gd name="T7" fmla="*/ 8 h 42"/>
                  <a:gd name="T8" fmla="*/ 26 w 26"/>
                  <a:gd name="T9" fmla="*/ 0 h 42"/>
                  <a:gd name="T10" fmla="*/ 20 w 26"/>
                  <a:gd name="T11" fmla="*/ 8 h 42"/>
                  <a:gd name="T12" fmla="*/ 12 w 26"/>
                  <a:gd name="T13" fmla="*/ 14 h 42"/>
                  <a:gd name="T14" fmla="*/ 12 w 26"/>
                  <a:gd name="T15" fmla="*/ 8 h 42"/>
                  <a:gd name="T16" fmla="*/ 12 w 26"/>
                  <a:gd name="T17" fmla="*/ 0 h 42"/>
                  <a:gd name="T18" fmla="*/ 0 w 26"/>
                  <a:gd name="T19" fmla="*/ 8 h 42"/>
                  <a:gd name="T20" fmla="*/ 0 w 26"/>
                  <a:gd name="T21" fmla="*/ 14 h 42"/>
                  <a:gd name="T22" fmla="*/ 0 w 26"/>
                  <a:gd name="T23" fmla="*/ 22 h 42"/>
                  <a:gd name="T24" fmla="*/ 12 w 26"/>
                  <a:gd name="T25" fmla="*/ 14 h 42"/>
                  <a:gd name="T26" fmla="*/ 6 w 26"/>
                  <a:gd name="T27" fmla="*/ 28 h 42"/>
                  <a:gd name="T28" fmla="*/ 12 w 26"/>
                  <a:gd name="T29" fmla="*/ 34 h 42"/>
                  <a:gd name="T30" fmla="*/ 12 w 26"/>
                  <a:gd name="T31" fmla="*/ 42 h 42"/>
                  <a:gd name="T32" fmla="*/ 20 w 26"/>
                  <a:gd name="T33" fmla="*/ 28 h 42"/>
                  <a:gd name="T34" fmla="*/ 20 w 26"/>
                  <a:gd name="T35" fmla="*/ 28 h 42"/>
                  <a:gd name="T36" fmla="*/ 20 w 26"/>
                  <a:gd name="T37" fmla="*/ 2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2">
                    <a:moveTo>
                      <a:pt x="20" y="28"/>
                    </a:moveTo>
                    <a:lnTo>
                      <a:pt x="20" y="22"/>
                    </a:lnTo>
                    <a:lnTo>
                      <a:pt x="20" y="14"/>
                    </a:lnTo>
                    <a:lnTo>
                      <a:pt x="26" y="8"/>
                    </a:lnTo>
                    <a:lnTo>
                      <a:pt x="26" y="0"/>
                    </a:lnTo>
                    <a:lnTo>
                      <a:pt x="20" y="8"/>
                    </a:lnTo>
                    <a:lnTo>
                      <a:pt x="12" y="14"/>
                    </a:lnTo>
                    <a:lnTo>
                      <a:pt x="12" y="8"/>
                    </a:lnTo>
                    <a:lnTo>
                      <a:pt x="12" y="0"/>
                    </a:lnTo>
                    <a:lnTo>
                      <a:pt x="0" y="8"/>
                    </a:lnTo>
                    <a:lnTo>
                      <a:pt x="0" y="14"/>
                    </a:lnTo>
                    <a:lnTo>
                      <a:pt x="0" y="22"/>
                    </a:lnTo>
                    <a:lnTo>
                      <a:pt x="12" y="14"/>
                    </a:lnTo>
                    <a:lnTo>
                      <a:pt x="6" y="28"/>
                    </a:lnTo>
                    <a:lnTo>
                      <a:pt x="12" y="34"/>
                    </a:lnTo>
                    <a:lnTo>
                      <a:pt x="12" y="42"/>
                    </a:lnTo>
                    <a:lnTo>
                      <a:pt x="20" y="28"/>
                    </a:lnTo>
                    <a:lnTo>
                      <a:pt x="20" y="28"/>
                    </a:lnTo>
                    <a:lnTo>
                      <a:pt x="20" y="28"/>
                    </a:lnTo>
                    <a:close/>
                  </a:path>
                </a:pathLst>
              </a:custGeom>
              <a:solidFill>
                <a:schemeClr val="accent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6" name="Freeform 40"/>
              <p:cNvSpPr>
                <a:spLocks/>
              </p:cNvSpPr>
              <p:nvPr/>
            </p:nvSpPr>
            <p:spPr bwMode="gray">
              <a:xfrm>
                <a:off x="3566349" y="2231619"/>
                <a:ext cx="22230" cy="31757"/>
              </a:xfrm>
              <a:custGeom>
                <a:avLst/>
                <a:gdLst>
                  <a:gd name="T0" fmla="*/ 6 w 14"/>
                  <a:gd name="T1" fmla="*/ 20 h 20"/>
                  <a:gd name="T2" fmla="*/ 6 w 14"/>
                  <a:gd name="T3" fmla="*/ 14 h 20"/>
                  <a:gd name="T4" fmla="*/ 0 w 14"/>
                  <a:gd name="T5" fmla="*/ 14 h 20"/>
                  <a:gd name="T6" fmla="*/ 6 w 14"/>
                  <a:gd name="T7" fmla="*/ 6 h 20"/>
                  <a:gd name="T8" fmla="*/ 6 w 14"/>
                  <a:gd name="T9" fmla="*/ 0 h 20"/>
                  <a:gd name="T10" fmla="*/ 0 w 14"/>
                  <a:gd name="T11" fmla="*/ 0 h 20"/>
                  <a:gd name="T12" fmla="*/ 14 w 14"/>
                  <a:gd name="T13" fmla="*/ 6 h 20"/>
                  <a:gd name="T14" fmla="*/ 14 w 14"/>
                  <a:gd name="T15" fmla="*/ 14 h 20"/>
                  <a:gd name="T16" fmla="*/ 6 w 14"/>
                  <a:gd name="T17" fmla="*/ 14 h 20"/>
                  <a:gd name="T18" fmla="*/ 6 w 14"/>
                  <a:gd name="T19" fmla="*/ 20 h 20"/>
                  <a:gd name="T20" fmla="*/ 6 w 14"/>
                  <a:gd name="T21" fmla="*/ 20 h 20"/>
                  <a:gd name="T22" fmla="*/ 6 w 14"/>
                  <a:gd name="T2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6" y="20"/>
                    </a:moveTo>
                    <a:lnTo>
                      <a:pt x="6" y="14"/>
                    </a:lnTo>
                    <a:lnTo>
                      <a:pt x="0" y="14"/>
                    </a:lnTo>
                    <a:lnTo>
                      <a:pt x="6" y="6"/>
                    </a:lnTo>
                    <a:lnTo>
                      <a:pt x="6" y="0"/>
                    </a:lnTo>
                    <a:lnTo>
                      <a:pt x="0" y="0"/>
                    </a:lnTo>
                    <a:lnTo>
                      <a:pt x="14" y="6"/>
                    </a:lnTo>
                    <a:lnTo>
                      <a:pt x="14" y="14"/>
                    </a:lnTo>
                    <a:lnTo>
                      <a:pt x="6" y="14"/>
                    </a:lnTo>
                    <a:lnTo>
                      <a:pt x="6" y="20"/>
                    </a:lnTo>
                    <a:lnTo>
                      <a:pt x="6" y="20"/>
                    </a:lnTo>
                    <a:lnTo>
                      <a:pt x="6" y="20"/>
                    </a:lnTo>
                    <a:close/>
                  </a:path>
                </a:pathLst>
              </a:custGeom>
              <a:solidFill>
                <a:schemeClr val="accent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7" name="Freeform 41"/>
              <p:cNvSpPr>
                <a:spLocks/>
              </p:cNvSpPr>
              <p:nvPr/>
            </p:nvSpPr>
            <p:spPr bwMode="gray">
              <a:xfrm>
                <a:off x="3309117" y="2409458"/>
                <a:ext cx="639905" cy="612911"/>
              </a:xfrm>
              <a:custGeom>
                <a:avLst/>
                <a:gdLst>
                  <a:gd name="T0" fmla="*/ 36 w 403"/>
                  <a:gd name="T1" fmla="*/ 330 h 386"/>
                  <a:gd name="T2" fmla="*/ 76 w 403"/>
                  <a:gd name="T3" fmla="*/ 302 h 386"/>
                  <a:gd name="T4" fmla="*/ 92 w 403"/>
                  <a:gd name="T5" fmla="*/ 296 h 386"/>
                  <a:gd name="T6" fmla="*/ 112 w 403"/>
                  <a:gd name="T7" fmla="*/ 302 h 386"/>
                  <a:gd name="T8" fmla="*/ 140 w 403"/>
                  <a:gd name="T9" fmla="*/ 310 h 386"/>
                  <a:gd name="T10" fmla="*/ 166 w 403"/>
                  <a:gd name="T11" fmla="*/ 296 h 386"/>
                  <a:gd name="T12" fmla="*/ 194 w 403"/>
                  <a:gd name="T13" fmla="*/ 282 h 386"/>
                  <a:gd name="T14" fmla="*/ 180 w 403"/>
                  <a:gd name="T15" fmla="*/ 276 h 386"/>
                  <a:gd name="T16" fmla="*/ 174 w 403"/>
                  <a:gd name="T17" fmla="*/ 248 h 386"/>
                  <a:gd name="T18" fmla="*/ 188 w 403"/>
                  <a:gd name="T19" fmla="*/ 228 h 386"/>
                  <a:gd name="T20" fmla="*/ 202 w 403"/>
                  <a:gd name="T21" fmla="*/ 200 h 386"/>
                  <a:gd name="T22" fmla="*/ 202 w 403"/>
                  <a:gd name="T23" fmla="*/ 172 h 386"/>
                  <a:gd name="T24" fmla="*/ 222 w 403"/>
                  <a:gd name="T25" fmla="*/ 164 h 386"/>
                  <a:gd name="T26" fmla="*/ 208 w 403"/>
                  <a:gd name="T27" fmla="*/ 152 h 386"/>
                  <a:gd name="T28" fmla="*/ 222 w 403"/>
                  <a:gd name="T29" fmla="*/ 130 h 386"/>
                  <a:gd name="T30" fmla="*/ 242 w 403"/>
                  <a:gd name="T31" fmla="*/ 116 h 386"/>
                  <a:gd name="T32" fmla="*/ 216 w 403"/>
                  <a:gd name="T33" fmla="*/ 110 h 386"/>
                  <a:gd name="T34" fmla="*/ 216 w 403"/>
                  <a:gd name="T35" fmla="*/ 82 h 386"/>
                  <a:gd name="T36" fmla="*/ 230 w 403"/>
                  <a:gd name="T37" fmla="*/ 48 h 386"/>
                  <a:gd name="T38" fmla="*/ 250 w 403"/>
                  <a:gd name="T39" fmla="*/ 40 h 386"/>
                  <a:gd name="T40" fmla="*/ 270 w 403"/>
                  <a:gd name="T41" fmla="*/ 34 h 386"/>
                  <a:gd name="T42" fmla="*/ 284 w 403"/>
                  <a:gd name="T43" fmla="*/ 20 h 386"/>
                  <a:gd name="T44" fmla="*/ 298 w 403"/>
                  <a:gd name="T45" fmla="*/ 14 h 386"/>
                  <a:gd name="T46" fmla="*/ 326 w 403"/>
                  <a:gd name="T47" fmla="*/ 20 h 386"/>
                  <a:gd name="T48" fmla="*/ 326 w 403"/>
                  <a:gd name="T49" fmla="*/ 54 h 386"/>
                  <a:gd name="T50" fmla="*/ 320 w 403"/>
                  <a:gd name="T51" fmla="*/ 90 h 386"/>
                  <a:gd name="T52" fmla="*/ 340 w 403"/>
                  <a:gd name="T53" fmla="*/ 102 h 386"/>
                  <a:gd name="T54" fmla="*/ 346 w 403"/>
                  <a:gd name="T55" fmla="*/ 130 h 386"/>
                  <a:gd name="T56" fmla="*/ 332 w 403"/>
                  <a:gd name="T57" fmla="*/ 164 h 386"/>
                  <a:gd name="T58" fmla="*/ 346 w 403"/>
                  <a:gd name="T59" fmla="*/ 178 h 386"/>
                  <a:gd name="T60" fmla="*/ 354 w 403"/>
                  <a:gd name="T61" fmla="*/ 206 h 386"/>
                  <a:gd name="T62" fmla="*/ 332 w 403"/>
                  <a:gd name="T63" fmla="*/ 228 h 386"/>
                  <a:gd name="T64" fmla="*/ 346 w 403"/>
                  <a:gd name="T65" fmla="*/ 240 h 386"/>
                  <a:gd name="T66" fmla="*/ 383 w 403"/>
                  <a:gd name="T67" fmla="*/ 240 h 386"/>
                  <a:gd name="T68" fmla="*/ 403 w 403"/>
                  <a:gd name="T69" fmla="*/ 276 h 386"/>
                  <a:gd name="T70" fmla="*/ 383 w 403"/>
                  <a:gd name="T71" fmla="*/ 310 h 386"/>
                  <a:gd name="T72" fmla="*/ 360 w 403"/>
                  <a:gd name="T73" fmla="*/ 316 h 386"/>
                  <a:gd name="T74" fmla="*/ 346 w 403"/>
                  <a:gd name="T75" fmla="*/ 324 h 386"/>
                  <a:gd name="T76" fmla="*/ 326 w 403"/>
                  <a:gd name="T77" fmla="*/ 330 h 386"/>
                  <a:gd name="T78" fmla="*/ 332 w 403"/>
                  <a:gd name="T79" fmla="*/ 352 h 386"/>
                  <a:gd name="T80" fmla="*/ 360 w 403"/>
                  <a:gd name="T81" fmla="*/ 352 h 386"/>
                  <a:gd name="T82" fmla="*/ 346 w 403"/>
                  <a:gd name="T83" fmla="*/ 372 h 386"/>
                  <a:gd name="T84" fmla="*/ 320 w 403"/>
                  <a:gd name="T85" fmla="*/ 378 h 386"/>
                  <a:gd name="T86" fmla="*/ 284 w 403"/>
                  <a:gd name="T87" fmla="*/ 372 h 386"/>
                  <a:gd name="T88" fmla="*/ 250 w 403"/>
                  <a:gd name="T89" fmla="*/ 372 h 386"/>
                  <a:gd name="T90" fmla="*/ 230 w 403"/>
                  <a:gd name="T91" fmla="*/ 358 h 386"/>
                  <a:gd name="T92" fmla="*/ 202 w 403"/>
                  <a:gd name="T93" fmla="*/ 364 h 386"/>
                  <a:gd name="T94" fmla="*/ 166 w 403"/>
                  <a:gd name="T95" fmla="*/ 364 h 386"/>
                  <a:gd name="T96" fmla="*/ 146 w 403"/>
                  <a:gd name="T97" fmla="*/ 344 h 386"/>
                  <a:gd name="T98" fmla="*/ 118 w 403"/>
                  <a:gd name="T99" fmla="*/ 338 h 386"/>
                  <a:gd name="T100" fmla="*/ 104 w 403"/>
                  <a:gd name="T101" fmla="*/ 364 h 386"/>
                  <a:gd name="T102" fmla="*/ 70 w 403"/>
                  <a:gd name="T103" fmla="*/ 352 h 386"/>
                  <a:gd name="T104" fmla="*/ 36 w 403"/>
                  <a:gd name="T105" fmla="*/ 352 h 386"/>
                  <a:gd name="T106" fmla="*/ 14 w 403"/>
                  <a:gd name="T107" fmla="*/ 358 h 386"/>
                  <a:gd name="T108" fmla="*/ 14 w 403"/>
                  <a:gd name="T109" fmla="*/ 344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3" h="386">
                    <a:moveTo>
                      <a:pt x="14" y="344"/>
                    </a:moveTo>
                    <a:lnTo>
                      <a:pt x="28" y="338"/>
                    </a:lnTo>
                    <a:lnTo>
                      <a:pt x="36" y="338"/>
                    </a:lnTo>
                    <a:lnTo>
                      <a:pt x="36" y="330"/>
                    </a:lnTo>
                    <a:lnTo>
                      <a:pt x="56" y="324"/>
                    </a:lnTo>
                    <a:lnTo>
                      <a:pt x="70" y="324"/>
                    </a:lnTo>
                    <a:lnTo>
                      <a:pt x="76" y="310"/>
                    </a:lnTo>
                    <a:lnTo>
                      <a:pt x="76" y="302"/>
                    </a:lnTo>
                    <a:lnTo>
                      <a:pt x="84" y="302"/>
                    </a:lnTo>
                    <a:lnTo>
                      <a:pt x="92" y="310"/>
                    </a:lnTo>
                    <a:lnTo>
                      <a:pt x="98" y="302"/>
                    </a:lnTo>
                    <a:lnTo>
                      <a:pt x="92" y="296"/>
                    </a:lnTo>
                    <a:lnTo>
                      <a:pt x="98" y="296"/>
                    </a:lnTo>
                    <a:lnTo>
                      <a:pt x="104" y="296"/>
                    </a:lnTo>
                    <a:lnTo>
                      <a:pt x="112" y="296"/>
                    </a:lnTo>
                    <a:lnTo>
                      <a:pt x="112" y="302"/>
                    </a:lnTo>
                    <a:lnTo>
                      <a:pt x="118" y="302"/>
                    </a:lnTo>
                    <a:lnTo>
                      <a:pt x="126" y="310"/>
                    </a:lnTo>
                    <a:lnTo>
                      <a:pt x="132" y="310"/>
                    </a:lnTo>
                    <a:lnTo>
                      <a:pt x="140" y="310"/>
                    </a:lnTo>
                    <a:lnTo>
                      <a:pt x="154" y="310"/>
                    </a:lnTo>
                    <a:lnTo>
                      <a:pt x="160" y="310"/>
                    </a:lnTo>
                    <a:lnTo>
                      <a:pt x="160" y="302"/>
                    </a:lnTo>
                    <a:lnTo>
                      <a:pt x="166" y="296"/>
                    </a:lnTo>
                    <a:lnTo>
                      <a:pt x="174" y="296"/>
                    </a:lnTo>
                    <a:lnTo>
                      <a:pt x="180" y="296"/>
                    </a:lnTo>
                    <a:lnTo>
                      <a:pt x="188" y="290"/>
                    </a:lnTo>
                    <a:lnTo>
                      <a:pt x="194" y="282"/>
                    </a:lnTo>
                    <a:lnTo>
                      <a:pt x="188" y="282"/>
                    </a:lnTo>
                    <a:lnTo>
                      <a:pt x="174" y="282"/>
                    </a:lnTo>
                    <a:lnTo>
                      <a:pt x="174" y="276"/>
                    </a:lnTo>
                    <a:lnTo>
                      <a:pt x="180" y="276"/>
                    </a:lnTo>
                    <a:lnTo>
                      <a:pt x="180" y="262"/>
                    </a:lnTo>
                    <a:lnTo>
                      <a:pt x="174" y="262"/>
                    </a:lnTo>
                    <a:lnTo>
                      <a:pt x="174" y="254"/>
                    </a:lnTo>
                    <a:lnTo>
                      <a:pt x="174" y="248"/>
                    </a:lnTo>
                    <a:lnTo>
                      <a:pt x="180" y="240"/>
                    </a:lnTo>
                    <a:lnTo>
                      <a:pt x="188" y="228"/>
                    </a:lnTo>
                    <a:lnTo>
                      <a:pt x="180" y="228"/>
                    </a:lnTo>
                    <a:lnTo>
                      <a:pt x="188" y="228"/>
                    </a:lnTo>
                    <a:lnTo>
                      <a:pt x="194" y="220"/>
                    </a:lnTo>
                    <a:lnTo>
                      <a:pt x="194" y="214"/>
                    </a:lnTo>
                    <a:lnTo>
                      <a:pt x="194" y="206"/>
                    </a:lnTo>
                    <a:lnTo>
                      <a:pt x="202" y="200"/>
                    </a:lnTo>
                    <a:lnTo>
                      <a:pt x="208" y="192"/>
                    </a:lnTo>
                    <a:lnTo>
                      <a:pt x="208" y="186"/>
                    </a:lnTo>
                    <a:lnTo>
                      <a:pt x="202" y="178"/>
                    </a:lnTo>
                    <a:lnTo>
                      <a:pt x="202" y="172"/>
                    </a:lnTo>
                    <a:lnTo>
                      <a:pt x="208" y="164"/>
                    </a:lnTo>
                    <a:lnTo>
                      <a:pt x="208" y="172"/>
                    </a:lnTo>
                    <a:lnTo>
                      <a:pt x="216" y="172"/>
                    </a:lnTo>
                    <a:lnTo>
                      <a:pt x="222" y="164"/>
                    </a:lnTo>
                    <a:lnTo>
                      <a:pt x="216" y="164"/>
                    </a:lnTo>
                    <a:lnTo>
                      <a:pt x="216" y="158"/>
                    </a:lnTo>
                    <a:lnTo>
                      <a:pt x="216" y="152"/>
                    </a:lnTo>
                    <a:lnTo>
                      <a:pt x="208" y="152"/>
                    </a:lnTo>
                    <a:lnTo>
                      <a:pt x="208" y="144"/>
                    </a:lnTo>
                    <a:lnTo>
                      <a:pt x="216" y="138"/>
                    </a:lnTo>
                    <a:lnTo>
                      <a:pt x="222" y="138"/>
                    </a:lnTo>
                    <a:lnTo>
                      <a:pt x="222" y="130"/>
                    </a:lnTo>
                    <a:lnTo>
                      <a:pt x="222" y="124"/>
                    </a:lnTo>
                    <a:lnTo>
                      <a:pt x="230" y="124"/>
                    </a:lnTo>
                    <a:lnTo>
                      <a:pt x="230" y="116"/>
                    </a:lnTo>
                    <a:lnTo>
                      <a:pt x="242" y="116"/>
                    </a:lnTo>
                    <a:lnTo>
                      <a:pt x="242" y="110"/>
                    </a:lnTo>
                    <a:lnTo>
                      <a:pt x="230" y="102"/>
                    </a:lnTo>
                    <a:lnTo>
                      <a:pt x="222" y="102"/>
                    </a:lnTo>
                    <a:lnTo>
                      <a:pt x="216" y="110"/>
                    </a:lnTo>
                    <a:lnTo>
                      <a:pt x="230" y="96"/>
                    </a:lnTo>
                    <a:lnTo>
                      <a:pt x="222" y="96"/>
                    </a:lnTo>
                    <a:lnTo>
                      <a:pt x="216" y="90"/>
                    </a:lnTo>
                    <a:lnTo>
                      <a:pt x="216" y="82"/>
                    </a:lnTo>
                    <a:lnTo>
                      <a:pt x="216" y="68"/>
                    </a:lnTo>
                    <a:lnTo>
                      <a:pt x="216" y="62"/>
                    </a:lnTo>
                    <a:lnTo>
                      <a:pt x="222" y="54"/>
                    </a:lnTo>
                    <a:lnTo>
                      <a:pt x="230" y="48"/>
                    </a:lnTo>
                    <a:lnTo>
                      <a:pt x="236" y="54"/>
                    </a:lnTo>
                    <a:lnTo>
                      <a:pt x="236" y="48"/>
                    </a:lnTo>
                    <a:lnTo>
                      <a:pt x="242" y="48"/>
                    </a:lnTo>
                    <a:lnTo>
                      <a:pt x="250" y="40"/>
                    </a:lnTo>
                    <a:lnTo>
                      <a:pt x="250" y="48"/>
                    </a:lnTo>
                    <a:lnTo>
                      <a:pt x="256" y="48"/>
                    </a:lnTo>
                    <a:lnTo>
                      <a:pt x="264" y="40"/>
                    </a:lnTo>
                    <a:lnTo>
                      <a:pt x="270" y="34"/>
                    </a:lnTo>
                    <a:lnTo>
                      <a:pt x="278" y="34"/>
                    </a:lnTo>
                    <a:lnTo>
                      <a:pt x="278" y="28"/>
                    </a:lnTo>
                    <a:lnTo>
                      <a:pt x="284" y="28"/>
                    </a:lnTo>
                    <a:lnTo>
                      <a:pt x="284" y="20"/>
                    </a:lnTo>
                    <a:lnTo>
                      <a:pt x="292" y="20"/>
                    </a:lnTo>
                    <a:lnTo>
                      <a:pt x="298" y="28"/>
                    </a:lnTo>
                    <a:lnTo>
                      <a:pt x="306" y="20"/>
                    </a:lnTo>
                    <a:lnTo>
                      <a:pt x="298" y="14"/>
                    </a:lnTo>
                    <a:lnTo>
                      <a:pt x="306" y="14"/>
                    </a:lnTo>
                    <a:lnTo>
                      <a:pt x="312" y="0"/>
                    </a:lnTo>
                    <a:lnTo>
                      <a:pt x="320" y="14"/>
                    </a:lnTo>
                    <a:lnTo>
                      <a:pt x="326" y="20"/>
                    </a:lnTo>
                    <a:lnTo>
                      <a:pt x="320" y="34"/>
                    </a:lnTo>
                    <a:lnTo>
                      <a:pt x="320" y="40"/>
                    </a:lnTo>
                    <a:lnTo>
                      <a:pt x="320" y="48"/>
                    </a:lnTo>
                    <a:lnTo>
                      <a:pt x="326" y="54"/>
                    </a:lnTo>
                    <a:lnTo>
                      <a:pt x="326" y="62"/>
                    </a:lnTo>
                    <a:lnTo>
                      <a:pt x="320" y="68"/>
                    </a:lnTo>
                    <a:lnTo>
                      <a:pt x="320" y="76"/>
                    </a:lnTo>
                    <a:lnTo>
                      <a:pt x="320" y="90"/>
                    </a:lnTo>
                    <a:lnTo>
                      <a:pt x="320" y="96"/>
                    </a:lnTo>
                    <a:lnTo>
                      <a:pt x="326" y="96"/>
                    </a:lnTo>
                    <a:lnTo>
                      <a:pt x="332" y="102"/>
                    </a:lnTo>
                    <a:lnTo>
                      <a:pt x="340" y="102"/>
                    </a:lnTo>
                    <a:lnTo>
                      <a:pt x="340" y="110"/>
                    </a:lnTo>
                    <a:lnTo>
                      <a:pt x="346" y="116"/>
                    </a:lnTo>
                    <a:lnTo>
                      <a:pt x="346" y="124"/>
                    </a:lnTo>
                    <a:lnTo>
                      <a:pt x="346" y="130"/>
                    </a:lnTo>
                    <a:lnTo>
                      <a:pt x="346" y="138"/>
                    </a:lnTo>
                    <a:lnTo>
                      <a:pt x="346" y="172"/>
                    </a:lnTo>
                    <a:lnTo>
                      <a:pt x="340" y="164"/>
                    </a:lnTo>
                    <a:lnTo>
                      <a:pt x="332" y="164"/>
                    </a:lnTo>
                    <a:lnTo>
                      <a:pt x="326" y="164"/>
                    </a:lnTo>
                    <a:lnTo>
                      <a:pt x="326" y="172"/>
                    </a:lnTo>
                    <a:lnTo>
                      <a:pt x="332" y="172"/>
                    </a:lnTo>
                    <a:lnTo>
                      <a:pt x="346" y="178"/>
                    </a:lnTo>
                    <a:lnTo>
                      <a:pt x="346" y="186"/>
                    </a:lnTo>
                    <a:lnTo>
                      <a:pt x="354" y="192"/>
                    </a:lnTo>
                    <a:lnTo>
                      <a:pt x="354" y="200"/>
                    </a:lnTo>
                    <a:lnTo>
                      <a:pt x="354" y="206"/>
                    </a:lnTo>
                    <a:lnTo>
                      <a:pt x="354" y="214"/>
                    </a:lnTo>
                    <a:lnTo>
                      <a:pt x="346" y="220"/>
                    </a:lnTo>
                    <a:lnTo>
                      <a:pt x="340" y="228"/>
                    </a:lnTo>
                    <a:lnTo>
                      <a:pt x="332" y="228"/>
                    </a:lnTo>
                    <a:lnTo>
                      <a:pt x="332" y="234"/>
                    </a:lnTo>
                    <a:lnTo>
                      <a:pt x="332" y="240"/>
                    </a:lnTo>
                    <a:lnTo>
                      <a:pt x="340" y="248"/>
                    </a:lnTo>
                    <a:lnTo>
                      <a:pt x="346" y="240"/>
                    </a:lnTo>
                    <a:lnTo>
                      <a:pt x="354" y="240"/>
                    </a:lnTo>
                    <a:lnTo>
                      <a:pt x="360" y="234"/>
                    </a:lnTo>
                    <a:lnTo>
                      <a:pt x="368" y="240"/>
                    </a:lnTo>
                    <a:lnTo>
                      <a:pt x="383" y="240"/>
                    </a:lnTo>
                    <a:lnTo>
                      <a:pt x="397" y="248"/>
                    </a:lnTo>
                    <a:lnTo>
                      <a:pt x="403" y="254"/>
                    </a:lnTo>
                    <a:lnTo>
                      <a:pt x="403" y="268"/>
                    </a:lnTo>
                    <a:lnTo>
                      <a:pt x="403" y="276"/>
                    </a:lnTo>
                    <a:lnTo>
                      <a:pt x="397" y="290"/>
                    </a:lnTo>
                    <a:lnTo>
                      <a:pt x="397" y="296"/>
                    </a:lnTo>
                    <a:lnTo>
                      <a:pt x="389" y="302"/>
                    </a:lnTo>
                    <a:lnTo>
                      <a:pt x="383" y="310"/>
                    </a:lnTo>
                    <a:lnTo>
                      <a:pt x="374" y="310"/>
                    </a:lnTo>
                    <a:lnTo>
                      <a:pt x="368" y="310"/>
                    </a:lnTo>
                    <a:lnTo>
                      <a:pt x="368" y="316"/>
                    </a:lnTo>
                    <a:lnTo>
                      <a:pt x="360" y="316"/>
                    </a:lnTo>
                    <a:lnTo>
                      <a:pt x="354" y="316"/>
                    </a:lnTo>
                    <a:lnTo>
                      <a:pt x="346" y="316"/>
                    </a:lnTo>
                    <a:lnTo>
                      <a:pt x="340" y="324"/>
                    </a:lnTo>
                    <a:lnTo>
                      <a:pt x="346" y="324"/>
                    </a:lnTo>
                    <a:lnTo>
                      <a:pt x="346" y="330"/>
                    </a:lnTo>
                    <a:lnTo>
                      <a:pt x="340" y="338"/>
                    </a:lnTo>
                    <a:lnTo>
                      <a:pt x="332" y="330"/>
                    </a:lnTo>
                    <a:lnTo>
                      <a:pt x="326" y="330"/>
                    </a:lnTo>
                    <a:lnTo>
                      <a:pt x="320" y="330"/>
                    </a:lnTo>
                    <a:lnTo>
                      <a:pt x="320" y="338"/>
                    </a:lnTo>
                    <a:lnTo>
                      <a:pt x="326" y="344"/>
                    </a:lnTo>
                    <a:lnTo>
                      <a:pt x="332" y="352"/>
                    </a:lnTo>
                    <a:lnTo>
                      <a:pt x="340" y="352"/>
                    </a:lnTo>
                    <a:lnTo>
                      <a:pt x="346" y="358"/>
                    </a:lnTo>
                    <a:lnTo>
                      <a:pt x="354" y="352"/>
                    </a:lnTo>
                    <a:lnTo>
                      <a:pt x="360" y="352"/>
                    </a:lnTo>
                    <a:lnTo>
                      <a:pt x="368" y="358"/>
                    </a:lnTo>
                    <a:lnTo>
                      <a:pt x="360" y="364"/>
                    </a:lnTo>
                    <a:lnTo>
                      <a:pt x="354" y="372"/>
                    </a:lnTo>
                    <a:lnTo>
                      <a:pt x="346" y="372"/>
                    </a:lnTo>
                    <a:lnTo>
                      <a:pt x="340" y="378"/>
                    </a:lnTo>
                    <a:lnTo>
                      <a:pt x="332" y="386"/>
                    </a:lnTo>
                    <a:lnTo>
                      <a:pt x="326" y="378"/>
                    </a:lnTo>
                    <a:lnTo>
                      <a:pt x="320" y="378"/>
                    </a:lnTo>
                    <a:lnTo>
                      <a:pt x="306" y="386"/>
                    </a:lnTo>
                    <a:lnTo>
                      <a:pt x="298" y="378"/>
                    </a:lnTo>
                    <a:lnTo>
                      <a:pt x="292" y="378"/>
                    </a:lnTo>
                    <a:lnTo>
                      <a:pt x="284" y="372"/>
                    </a:lnTo>
                    <a:lnTo>
                      <a:pt x="278" y="372"/>
                    </a:lnTo>
                    <a:lnTo>
                      <a:pt x="270" y="372"/>
                    </a:lnTo>
                    <a:lnTo>
                      <a:pt x="264" y="372"/>
                    </a:lnTo>
                    <a:lnTo>
                      <a:pt x="250" y="372"/>
                    </a:lnTo>
                    <a:lnTo>
                      <a:pt x="250" y="364"/>
                    </a:lnTo>
                    <a:lnTo>
                      <a:pt x="242" y="364"/>
                    </a:lnTo>
                    <a:lnTo>
                      <a:pt x="236" y="364"/>
                    </a:lnTo>
                    <a:lnTo>
                      <a:pt x="230" y="358"/>
                    </a:lnTo>
                    <a:lnTo>
                      <a:pt x="222" y="352"/>
                    </a:lnTo>
                    <a:lnTo>
                      <a:pt x="216" y="358"/>
                    </a:lnTo>
                    <a:lnTo>
                      <a:pt x="216" y="364"/>
                    </a:lnTo>
                    <a:lnTo>
                      <a:pt x="202" y="364"/>
                    </a:lnTo>
                    <a:lnTo>
                      <a:pt x="194" y="358"/>
                    </a:lnTo>
                    <a:lnTo>
                      <a:pt x="180" y="358"/>
                    </a:lnTo>
                    <a:lnTo>
                      <a:pt x="174" y="364"/>
                    </a:lnTo>
                    <a:lnTo>
                      <a:pt x="166" y="364"/>
                    </a:lnTo>
                    <a:lnTo>
                      <a:pt x="166" y="358"/>
                    </a:lnTo>
                    <a:lnTo>
                      <a:pt x="160" y="352"/>
                    </a:lnTo>
                    <a:lnTo>
                      <a:pt x="154" y="344"/>
                    </a:lnTo>
                    <a:lnTo>
                      <a:pt x="146" y="344"/>
                    </a:lnTo>
                    <a:lnTo>
                      <a:pt x="140" y="344"/>
                    </a:lnTo>
                    <a:lnTo>
                      <a:pt x="132" y="344"/>
                    </a:lnTo>
                    <a:lnTo>
                      <a:pt x="126" y="344"/>
                    </a:lnTo>
                    <a:lnTo>
                      <a:pt x="118" y="338"/>
                    </a:lnTo>
                    <a:lnTo>
                      <a:pt x="112" y="344"/>
                    </a:lnTo>
                    <a:lnTo>
                      <a:pt x="112" y="352"/>
                    </a:lnTo>
                    <a:lnTo>
                      <a:pt x="112" y="358"/>
                    </a:lnTo>
                    <a:lnTo>
                      <a:pt x="104" y="364"/>
                    </a:lnTo>
                    <a:lnTo>
                      <a:pt x="92" y="364"/>
                    </a:lnTo>
                    <a:lnTo>
                      <a:pt x="84" y="358"/>
                    </a:lnTo>
                    <a:lnTo>
                      <a:pt x="84" y="352"/>
                    </a:lnTo>
                    <a:lnTo>
                      <a:pt x="70" y="352"/>
                    </a:lnTo>
                    <a:lnTo>
                      <a:pt x="56" y="344"/>
                    </a:lnTo>
                    <a:lnTo>
                      <a:pt x="42" y="352"/>
                    </a:lnTo>
                    <a:lnTo>
                      <a:pt x="36" y="358"/>
                    </a:lnTo>
                    <a:lnTo>
                      <a:pt x="36" y="352"/>
                    </a:lnTo>
                    <a:lnTo>
                      <a:pt x="28" y="352"/>
                    </a:lnTo>
                    <a:lnTo>
                      <a:pt x="28" y="358"/>
                    </a:lnTo>
                    <a:lnTo>
                      <a:pt x="22" y="358"/>
                    </a:lnTo>
                    <a:lnTo>
                      <a:pt x="14" y="358"/>
                    </a:lnTo>
                    <a:lnTo>
                      <a:pt x="14" y="344"/>
                    </a:lnTo>
                    <a:lnTo>
                      <a:pt x="8" y="344"/>
                    </a:lnTo>
                    <a:lnTo>
                      <a:pt x="0" y="344"/>
                    </a:lnTo>
                    <a:lnTo>
                      <a:pt x="14" y="344"/>
                    </a:lnTo>
                    <a:lnTo>
                      <a:pt x="14" y="344"/>
                    </a:lnTo>
                    <a:lnTo>
                      <a:pt x="14" y="344"/>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8" name="Freeform 42"/>
              <p:cNvSpPr>
                <a:spLocks/>
              </p:cNvSpPr>
              <p:nvPr>
                <p:custDataLst>
                  <p:tags r:id="rId138"/>
                </p:custDataLst>
              </p:nvPr>
            </p:nvSpPr>
            <p:spPr bwMode="gray">
              <a:xfrm>
                <a:off x="3413915" y="2653988"/>
                <a:ext cx="231826" cy="215948"/>
              </a:xfrm>
              <a:custGeom>
                <a:avLst/>
                <a:gdLst>
                  <a:gd name="T0" fmla="*/ 132 w 146"/>
                  <a:gd name="T1" fmla="*/ 12 h 136"/>
                  <a:gd name="T2" fmla="*/ 126 w 146"/>
                  <a:gd name="T3" fmla="*/ 6 h 136"/>
                  <a:gd name="T4" fmla="*/ 118 w 146"/>
                  <a:gd name="T5" fmla="*/ 0 h 136"/>
                  <a:gd name="T6" fmla="*/ 90 w 146"/>
                  <a:gd name="T7" fmla="*/ 6 h 136"/>
                  <a:gd name="T8" fmla="*/ 70 w 146"/>
                  <a:gd name="T9" fmla="*/ 12 h 136"/>
                  <a:gd name="T10" fmla="*/ 56 w 146"/>
                  <a:gd name="T11" fmla="*/ 20 h 136"/>
                  <a:gd name="T12" fmla="*/ 62 w 146"/>
                  <a:gd name="T13" fmla="*/ 26 h 136"/>
                  <a:gd name="T14" fmla="*/ 78 w 146"/>
                  <a:gd name="T15" fmla="*/ 26 h 136"/>
                  <a:gd name="T16" fmla="*/ 90 w 146"/>
                  <a:gd name="T17" fmla="*/ 20 h 136"/>
                  <a:gd name="T18" fmla="*/ 84 w 146"/>
                  <a:gd name="T19" fmla="*/ 34 h 136"/>
                  <a:gd name="T20" fmla="*/ 84 w 146"/>
                  <a:gd name="T21" fmla="*/ 48 h 136"/>
                  <a:gd name="T22" fmla="*/ 84 w 146"/>
                  <a:gd name="T23" fmla="*/ 54 h 136"/>
                  <a:gd name="T24" fmla="*/ 70 w 146"/>
                  <a:gd name="T25" fmla="*/ 62 h 136"/>
                  <a:gd name="T26" fmla="*/ 56 w 146"/>
                  <a:gd name="T27" fmla="*/ 76 h 136"/>
                  <a:gd name="T28" fmla="*/ 42 w 146"/>
                  <a:gd name="T29" fmla="*/ 76 h 136"/>
                  <a:gd name="T30" fmla="*/ 28 w 146"/>
                  <a:gd name="T31" fmla="*/ 76 h 136"/>
                  <a:gd name="T32" fmla="*/ 14 w 146"/>
                  <a:gd name="T33" fmla="*/ 68 h 136"/>
                  <a:gd name="T34" fmla="*/ 8 w 146"/>
                  <a:gd name="T35" fmla="*/ 82 h 136"/>
                  <a:gd name="T36" fmla="*/ 14 w 146"/>
                  <a:gd name="T37" fmla="*/ 88 h 136"/>
                  <a:gd name="T38" fmla="*/ 22 w 146"/>
                  <a:gd name="T39" fmla="*/ 96 h 136"/>
                  <a:gd name="T40" fmla="*/ 14 w 146"/>
                  <a:gd name="T41" fmla="*/ 102 h 136"/>
                  <a:gd name="T42" fmla="*/ 36 w 146"/>
                  <a:gd name="T43" fmla="*/ 96 h 136"/>
                  <a:gd name="T44" fmla="*/ 48 w 146"/>
                  <a:gd name="T45" fmla="*/ 96 h 136"/>
                  <a:gd name="T46" fmla="*/ 48 w 146"/>
                  <a:gd name="T47" fmla="*/ 110 h 136"/>
                  <a:gd name="T48" fmla="*/ 48 w 146"/>
                  <a:gd name="T49" fmla="*/ 110 h 136"/>
                  <a:gd name="T50" fmla="*/ 62 w 146"/>
                  <a:gd name="T51" fmla="*/ 116 h 136"/>
                  <a:gd name="T52" fmla="*/ 62 w 146"/>
                  <a:gd name="T53" fmla="*/ 124 h 136"/>
                  <a:gd name="T54" fmla="*/ 78 w 146"/>
                  <a:gd name="T55" fmla="*/ 136 h 136"/>
                  <a:gd name="T56" fmla="*/ 98 w 146"/>
                  <a:gd name="T57" fmla="*/ 136 h 136"/>
                  <a:gd name="T58" fmla="*/ 112 w 146"/>
                  <a:gd name="T59" fmla="*/ 130 h 136"/>
                  <a:gd name="T60" fmla="*/ 118 w 146"/>
                  <a:gd name="T61" fmla="*/ 124 h 136"/>
                  <a:gd name="T62" fmla="*/ 112 w 146"/>
                  <a:gd name="T63" fmla="*/ 110 h 136"/>
                  <a:gd name="T64" fmla="*/ 112 w 146"/>
                  <a:gd name="T65" fmla="*/ 96 h 136"/>
                  <a:gd name="T66" fmla="*/ 126 w 146"/>
                  <a:gd name="T67" fmla="*/ 76 h 136"/>
                  <a:gd name="T68" fmla="*/ 126 w 146"/>
                  <a:gd name="T69" fmla="*/ 76 h 136"/>
                  <a:gd name="T70" fmla="*/ 132 w 146"/>
                  <a:gd name="T71" fmla="*/ 62 h 136"/>
                  <a:gd name="T72" fmla="*/ 140 w 146"/>
                  <a:gd name="T73" fmla="*/ 48 h 136"/>
                  <a:gd name="T74" fmla="*/ 146 w 146"/>
                  <a:gd name="T75" fmla="*/ 34 h 136"/>
                  <a:gd name="T76" fmla="*/ 140 w 146"/>
                  <a:gd name="T77" fmla="*/ 20 h 136"/>
                  <a:gd name="T78" fmla="*/ 140 w 146"/>
                  <a:gd name="T79"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6" h="136">
                    <a:moveTo>
                      <a:pt x="140" y="20"/>
                    </a:moveTo>
                    <a:lnTo>
                      <a:pt x="132" y="12"/>
                    </a:lnTo>
                    <a:lnTo>
                      <a:pt x="132" y="6"/>
                    </a:lnTo>
                    <a:lnTo>
                      <a:pt x="126" y="6"/>
                    </a:lnTo>
                    <a:lnTo>
                      <a:pt x="118" y="6"/>
                    </a:lnTo>
                    <a:lnTo>
                      <a:pt x="118" y="0"/>
                    </a:lnTo>
                    <a:lnTo>
                      <a:pt x="98" y="6"/>
                    </a:lnTo>
                    <a:lnTo>
                      <a:pt x="90" y="6"/>
                    </a:lnTo>
                    <a:lnTo>
                      <a:pt x="84" y="12"/>
                    </a:lnTo>
                    <a:lnTo>
                      <a:pt x="70" y="12"/>
                    </a:lnTo>
                    <a:lnTo>
                      <a:pt x="62" y="20"/>
                    </a:lnTo>
                    <a:lnTo>
                      <a:pt x="56" y="20"/>
                    </a:lnTo>
                    <a:lnTo>
                      <a:pt x="56" y="26"/>
                    </a:lnTo>
                    <a:lnTo>
                      <a:pt x="62" y="26"/>
                    </a:lnTo>
                    <a:lnTo>
                      <a:pt x="70" y="20"/>
                    </a:lnTo>
                    <a:lnTo>
                      <a:pt x="78" y="26"/>
                    </a:lnTo>
                    <a:lnTo>
                      <a:pt x="84" y="20"/>
                    </a:lnTo>
                    <a:lnTo>
                      <a:pt x="90" y="20"/>
                    </a:lnTo>
                    <a:lnTo>
                      <a:pt x="90" y="26"/>
                    </a:lnTo>
                    <a:lnTo>
                      <a:pt x="84" y="34"/>
                    </a:lnTo>
                    <a:lnTo>
                      <a:pt x="84" y="40"/>
                    </a:lnTo>
                    <a:lnTo>
                      <a:pt x="84" y="48"/>
                    </a:lnTo>
                    <a:lnTo>
                      <a:pt x="78" y="48"/>
                    </a:lnTo>
                    <a:lnTo>
                      <a:pt x="84" y="54"/>
                    </a:lnTo>
                    <a:lnTo>
                      <a:pt x="78" y="62"/>
                    </a:lnTo>
                    <a:lnTo>
                      <a:pt x="70" y="62"/>
                    </a:lnTo>
                    <a:lnTo>
                      <a:pt x="62" y="68"/>
                    </a:lnTo>
                    <a:lnTo>
                      <a:pt x="56" y="76"/>
                    </a:lnTo>
                    <a:lnTo>
                      <a:pt x="48" y="68"/>
                    </a:lnTo>
                    <a:lnTo>
                      <a:pt x="42" y="76"/>
                    </a:lnTo>
                    <a:lnTo>
                      <a:pt x="36" y="76"/>
                    </a:lnTo>
                    <a:lnTo>
                      <a:pt x="28" y="76"/>
                    </a:lnTo>
                    <a:lnTo>
                      <a:pt x="22" y="76"/>
                    </a:lnTo>
                    <a:lnTo>
                      <a:pt x="14" y="68"/>
                    </a:lnTo>
                    <a:lnTo>
                      <a:pt x="8" y="76"/>
                    </a:lnTo>
                    <a:lnTo>
                      <a:pt x="8" y="82"/>
                    </a:lnTo>
                    <a:lnTo>
                      <a:pt x="0" y="88"/>
                    </a:lnTo>
                    <a:lnTo>
                      <a:pt x="14" y="88"/>
                    </a:lnTo>
                    <a:lnTo>
                      <a:pt x="22" y="88"/>
                    </a:lnTo>
                    <a:lnTo>
                      <a:pt x="22" y="96"/>
                    </a:lnTo>
                    <a:lnTo>
                      <a:pt x="14" y="96"/>
                    </a:lnTo>
                    <a:lnTo>
                      <a:pt x="14" y="102"/>
                    </a:lnTo>
                    <a:lnTo>
                      <a:pt x="28" y="102"/>
                    </a:lnTo>
                    <a:lnTo>
                      <a:pt x="36" y="96"/>
                    </a:lnTo>
                    <a:lnTo>
                      <a:pt x="42" y="96"/>
                    </a:lnTo>
                    <a:lnTo>
                      <a:pt x="48" y="96"/>
                    </a:lnTo>
                    <a:lnTo>
                      <a:pt x="48" y="102"/>
                    </a:lnTo>
                    <a:lnTo>
                      <a:pt x="48" y="110"/>
                    </a:lnTo>
                    <a:lnTo>
                      <a:pt x="56" y="110"/>
                    </a:lnTo>
                    <a:lnTo>
                      <a:pt x="48" y="110"/>
                    </a:lnTo>
                    <a:lnTo>
                      <a:pt x="48" y="116"/>
                    </a:lnTo>
                    <a:lnTo>
                      <a:pt x="62" y="116"/>
                    </a:lnTo>
                    <a:lnTo>
                      <a:pt x="70" y="116"/>
                    </a:lnTo>
                    <a:lnTo>
                      <a:pt x="62" y="124"/>
                    </a:lnTo>
                    <a:lnTo>
                      <a:pt x="70" y="130"/>
                    </a:lnTo>
                    <a:lnTo>
                      <a:pt x="78" y="136"/>
                    </a:lnTo>
                    <a:lnTo>
                      <a:pt x="84" y="136"/>
                    </a:lnTo>
                    <a:lnTo>
                      <a:pt x="98" y="136"/>
                    </a:lnTo>
                    <a:lnTo>
                      <a:pt x="104" y="136"/>
                    </a:lnTo>
                    <a:lnTo>
                      <a:pt x="112" y="130"/>
                    </a:lnTo>
                    <a:lnTo>
                      <a:pt x="112" y="124"/>
                    </a:lnTo>
                    <a:lnTo>
                      <a:pt x="118" y="124"/>
                    </a:lnTo>
                    <a:lnTo>
                      <a:pt x="118" y="110"/>
                    </a:lnTo>
                    <a:lnTo>
                      <a:pt x="112" y="110"/>
                    </a:lnTo>
                    <a:lnTo>
                      <a:pt x="112" y="102"/>
                    </a:lnTo>
                    <a:lnTo>
                      <a:pt x="112" y="96"/>
                    </a:lnTo>
                    <a:lnTo>
                      <a:pt x="118" y="88"/>
                    </a:lnTo>
                    <a:lnTo>
                      <a:pt x="126" y="76"/>
                    </a:lnTo>
                    <a:lnTo>
                      <a:pt x="118" y="76"/>
                    </a:lnTo>
                    <a:lnTo>
                      <a:pt x="126" y="76"/>
                    </a:lnTo>
                    <a:lnTo>
                      <a:pt x="132" y="68"/>
                    </a:lnTo>
                    <a:lnTo>
                      <a:pt x="132" y="62"/>
                    </a:lnTo>
                    <a:lnTo>
                      <a:pt x="132" y="54"/>
                    </a:lnTo>
                    <a:lnTo>
                      <a:pt x="140" y="48"/>
                    </a:lnTo>
                    <a:lnTo>
                      <a:pt x="146" y="40"/>
                    </a:lnTo>
                    <a:lnTo>
                      <a:pt x="146" y="34"/>
                    </a:lnTo>
                    <a:lnTo>
                      <a:pt x="140" y="26"/>
                    </a:lnTo>
                    <a:lnTo>
                      <a:pt x="140" y="20"/>
                    </a:lnTo>
                    <a:lnTo>
                      <a:pt x="140" y="20"/>
                    </a:lnTo>
                    <a:lnTo>
                      <a:pt x="140" y="20"/>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9" name="Freeform 43"/>
              <p:cNvSpPr>
                <a:spLocks/>
              </p:cNvSpPr>
              <p:nvPr/>
            </p:nvSpPr>
            <p:spPr bwMode="gray">
              <a:xfrm>
                <a:off x="3563173" y="2041076"/>
                <a:ext cx="317570" cy="447774"/>
              </a:xfrm>
              <a:custGeom>
                <a:avLst/>
                <a:gdLst>
                  <a:gd name="T0" fmla="*/ 82 w 200"/>
                  <a:gd name="T1" fmla="*/ 276 h 282"/>
                  <a:gd name="T2" fmla="*/ 62 w 200"/>
                  <a:gd name="T3" fmla="*/ 268 h 282"/>
                  <a:gd name="T4" fmla="*/ 54 w 200"/>
                  <a:gd name="T5" fmla="*/ 268 h 282"/>
                  <a:gd name="T6" fmla="*/ 34 w 200"/>
                  <a:gd name="T7" fmla="*/ 262 h 282"/>
                  <a:gd name="T8" fmla="*/ 28 w 200"/>
                  <a:gd name="T9" fmla="*/ 282 h 282"/>
                  <a:gd name="T10" fmla="*/ 14 w 200"/>
                  <a:gd name="T11" fmla="*/ 262 h 282"/>
                  <a:gd name="T12" fmla="*/ 6 w 200"/>
                  <a:gd name="T13" fmla="*/ 276 h 282"/>
                  <a:gd name="T14" fmla="*/ 0 w 200"/>
                  <a:gd name="T15" fmla="*/ 254 h 282"/>
                  <a:gd name="T16" fmla="*/ 6 w 200"/>
                  <a:gd name="T17" fmla="*/ 240 h 282"/>
                  <a:gd name="T18" fmla="*/ 20 w 200"/>
                  <a:gd name="T19" fmla="*/ 228 h 282"/>
                  <a:gd name="T20" fmla="*/ 42 w 200"/>
                  <a:gd name="T21" fmla="*/ 214 h 282"/>
                  <a:gd name="T22" fmla="*/ 54 w 200"/>
                  <a:gd name="T23" fmla="*/ 200 h 282"/>
                  <a:gd name="T24" fmla="*/ 42 w 200"/>
                  <a:gd name="T25" fmla="*/ 186 h 282"/>
                  <a:gd name="T26" fmla="*/ 28 w 200"/>
                  <a:gd name="T27" fmla="*/ 180 h 282"/>
                  <a:gd name="T28" fmla="*/ 42 w 200"/>
                  <a:gd name="T29" fmla="*/ 164 h 282"/>
                  <a:gd name="T30" fmla="*/ 20 w 200"/>
                  <a:gd name="T31" fmla="*/ 172 h 282"/>
                  <a:gd name="T32" fmla="*/ 14 w 200"/>
                  <a:gd name="T33" fmla="*/ 164 h 282"/>
                  <a:gd name="T34" fmla="*/ 34 w 200"/>
                  <a:gd name="T35" fmla="*/ 144 h 282"/>
                  <a:gd name="T36" fmla="*/ 34 w 200"/>
                  <a:gd name="T37" fmla="*/ 138 h 282"/>
                  <a:gd name="T38" fmla="*/ 54 w 200"/>
                  <a:gd name="T39" fmla="*/ 118 h 282"/>
                  <a:gd name="T40" fmla="*/ 34 w 200"/>
                  <a:gd name="T41" fmla="*/ 124 h 282"/>
                  <a:gd name="T42" fmla="*/ 14 w 200"/>
                  <a:gd name="T43" fmla="*/ 124 h 282"/>
                  <a:gd name="T44" fmla="*/ 28 w 200"/>
                  <a:gd name="T45" fmla="*/ 104 h 282"/>
                  <a:gd name="T46" fmla="*/ 42 w 200"/>
                  <a:gd name="T47" fmla="*/ 90 h 282"/>
                  <a:gd name="T48" fmla="*/ 54 w 200"/>
                  <a:gd name="T49" fmla="*/ 76 h 282"/>
                  <a:gd name="T50" fmla="*/ 48 w 200"/>
                  <a:gd name="T51" fmla="*/ 70 h 282"/>
                  <a:gd name="T52" fmla="*/ 48 w 200"/>
                  <a:gd name="T53" fmla="*/ 48 h 282"/>
                  <a:gd name="T54" fmla="*/ 68 w 200"/>
                  <a:gd name="T55" fmla="*/ 42 h 282"/>
                  <a:gd name="T56" fmla="*/ 82 w 200"/>
                  <a:gd name="T57" fmla="*/ 56 h 282"/>
                  <a:gd name="T58" fmla="*/ 76 w 200"/>
                  <a:gd name="T59" fmla="*/ 34 h 282"/>
                  <a:gd name="T60" fmla="*/ 82 w 200"/>
                  <a:gd name="T61" fmla="*/ 20 h 282"/>
                  <a:gd name="T62" fmla="*/ 96 w 200"/>
                  <a:gd name="T63" fmla="*/ 20 h 282"/>
                  <a:gd name="T64" fmla="*/ 110 w 200"/>
                  <a:gd name="T65" fmla="*/ 0 h 282"/>
                  <a:gd name="T66" fmla="*/ 124 w 200"/>
                  <a:gd name="T67" fmla="*/ 14 h 282"/>
                  <a:gd name="T68" fmla="*/ 144 w 200"/>
                  <a:gd name="T69" fmla="*/ 20 h 282"/>
                  <a:gd name="T70" fmla="*/ 166 w 200"/>
                  <a:gd name="T71" fmla="*/ 20 h 282"/>
                  <a:gd name="T72" fmla="*/ 172 w 200"/>
                  <a:gd name="T73" fmla="*/ 34 h 282"/>
                  <a:gd name="T74" fmla="*/ 152 w 200"/>
                  <a:gd name="T75" fmla="*/ 48 h 282"/>
                  <a:gd name="T76" fmla="*/ 132 w 200"/>
                  <a:gd name="T77" fmla="*/ 56 h 282"/>
                  <a:gd name="T78" fmla="*/ 118 w 200"/>
                  <a:gd name="T79" fmla="*/ 70 h 282"/>
                  <a:gd name="T80" fmla="*/ 110 w 200"/>
                  <a:gd name="T81" fmla="*/ 82 h 282"/>
                  <a:gd name="T82" fmla="*/ 104 w 200"/>
                  <a:gd name="T83" fmla="*/ 96 h 282"/>
                  <a:gd name="T84" fmla="*/ 132 w 200"/>
                  <a:gd name="T85" fmla="*/ 90 h 282"/>
                  <a:gd name="T86" fmla="*/ 166 w 200"/>
                  <a:gd name="T87" fmla="*/ 90 h 282"/>
                  <a:gd name="T88" fmla="*/ 180 w 200"/>
                  <a:gd name="T89" fmla="*/ 104 h 282"/>
                  <a:gd name="T90" fmla="*/ 200 w 200"/>
                  <a:gd name="T91" fmla="*/ 104 h 282"/>
                  <a:gd name="T92" fmla="*/ 194 w 200"/>
                  <a:gd name="T93" fmla="*/ 124 h 282"/>
                  <a:gd name="T94" fmla="*/ 180 w 200"/>
                  <a:gd name="T95" fmla="*/ 132 h 282"/>
                  <a:gd name="T96" fmla="*/ 180 w 200"/>
                  <a:gd name="T97" fmla="*/ 152 h 282"/>
                  <a:gd name="T98" fmla="*/ 158 w 200"/>
                  <a:gd name="T99" fmla="*/ 172 h 282"/>
                  <a:gd name="T100" fmla="*/ 138 w 200"/>
                  <a:gd name="T101" fmla="*/ 172 h 282"/>
                  <a:gd name="T102" fmla="*/ 118 w 200"/>
                  <a:gd name="T103" fmla="*/ 180 h 282"/>
                  <a:gd name="T104" fmla="*/ 138 w 200"/>
                  <a:gd name="T105" fmla="*/ 186 h 282"/>
                  <a:gd name="T106" fmla="*/ 118 w 200"/>
                  <a:gd name="T107" fmla="*/ 200 h 282"/>
                  <a:gd name="T108" fmla="*/ 96 w 200"/>
                  <a:gd name="T109" fmla="*/ 194 h 282"/>
                  <a:gd name="T110" fmla="*/ 96 w 200"/>
                  <a:gd name="T111" fmla="*/ 200 h 282"/>
                  <a:gd name="T112" fmla="*/ 124 w 200"/>
                  <a:gd name="T113" fmla="*/ 206 h 282"/>
                  <a:gd name="T114" fmla="*/ 144 w 200"/>
                  <a:gd name="T115" fmla="*/ 220 h 282"/>
                  <a:gd name="T116" fmla="*/ 138 w 200"/>
                  <a:gd name="T117" fmla="*/ 248 h 282"/>
                  <a:gd name="T118" fmla="*/ 132 w 200"/>
                  <a:gd name="T119" fmla="*/ 254 h 282"/>
                  <a:gd name="T120" fmla="*/ 118 w 200"/>
                  <a:gd name="T121" fmla="*/ 262 h 282"/>
                  <a:gd name="T122" fmla="*/ 104 w 200"/>
                  <a:gd name="T123" fmla="*/ 276 h 282"/>
                  <a:gd name="T124" fmla="*/ 90 w 200"/>
                  <a:gd name="T125" fmla="*/ 276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 h="282">
                    <a:moveTo>
                      <a:pt x="90" y="276"/>
                    </a:moveTo>
                    <a:lnTo>
                      <a:pt x="90" y="268"/>
                    </a:lnTo>
                    <a:lnTo>
                      <a:pt x="82" y="276"/>
                    </a:lnTo>
                    <a:lnTo>
                      <a:pt x="76" y="276"/>
                    </a:lnTo>
                    <a:lnTo>
                      <a:pt x="68" y="268"/>
                    </a:lnTo>
                    <a:lnTo>
                      <a:pt x="62" y="268"/>
                    </a:lnTo>
                    <a:lnTo>
                      <a:pt x="62" y="276"/>
                    </a:lnTo>
                    <a:lnTo>
                      <a:pt x="54" y="276"/>
                    </a:lnTo>
                    <a:lnTo>
                      <a:pt x="54" y="268"/>
                    </a:lnTo>
                    <a:lnTo>
                      <a:pt x="42" y="276"/>
                    </a:lnTo>
                    <a:lnTo>
                      <a:pt x="42" y="268"/>
                    </a:lnTo>
                    <a:lnTo>
                      <a:pt x="34" y="262"/>
                    </a:lnTo>
                    <a:lnTo>
                      <a:pt x="28" y="268"/>
                    </a:lnTo>
                    <a:lnTo>
                      <a:pt x="28" y="276"/>
                    </a:lnTo>
                    <a:lnTo>
                      <a:pt x="28" y="282"/>
                    </a:lnTo>
                    <a:lnTo>
                      <a:pt x="20" y="276"/>
                    </a:lnTo>
                    <a:lnTo>
                      <a:pt x="20" y="268"/>
                    </a:lnTo>
                    <a:lnTo>
                      <a:pt x="14" y="262"/>
                    </a:lnTo>
                    <a:lnTo>
                      <a:pt x="6" y="262"/>
                    </a:lnTo>
                    <a:lnTo>
                      <a:pt x="6" y="268"/>
                    </a:lnTo>
                    <a:lnTo>
                      <a:pt x="6" y="276"/>
                    </a:lnTo>
                    <a:lnTo>
                      <a:pt x="0" y="276"/>
                    </a:lnTo>
                    <a:lnTo>
                      <a:pt x="0" y="268"/>
                    </a:lnTo>
                    <a:lnTo>
                      <a:pt x="0" y="254"/>
                    </a:lnTo>
                    <a:lnTo>
                      <a:pt x="0" y="248"/>
                    </a:lnTo>
                    <a:lnTo>
                      <a:pt x="6" y="248"/>
                    </a:lnTo>
                    <a:lnTo>
                      <a:pt x="6" y="240"/>
                    </a:lnTo>
                    <a:lnTo>
                      <a:pt x="14" y="240"/>
                    </a:lnTo>
                    <a:lnTo>
                      <a:pt x="20" y="234"/>
                    </a:lnTo>
                    <a:lnTo>
                      <a:pt x="20" y="228"/>
                    </a:lnTo>
                    <a:lnTo>
                      <a:pt x="28" y="228"/>
                    </a:lnTo>
                    <a:lnTo>
                      <a:pt x="34" y="220"/>
                    </a:lnTo>
                    <a:lnTo>
                      <a:pt x="42" y="214"/>
                    </a:lnTo>
                    <a:lnTo>
                      <a:pt x="48" y="206"/>
                    </a:lnTo>
                    <a:lnTo>
                      <a:pt x="48" y="200"/>
                    </a:lnTo>
                    <a:lnTo>
                      <a:pt x="54" y="200"/>
                    </a:lnTo>
                    <a:lnTo>
                      <a:pt x="54" y="194"/>
                    </a:lnTo>
                    <a:lnTo>
                      <a:pt x="48" y="194"/>
                    </a:lnTo>
                    <a:lnTo>
                      <a:pt x="42" y="186"/>
                    </a:lnTo>
                    <a:lnTo>
                      <a:pt x="34" y="186"/>
                    </a:lnTo>
                    <a:lnTo>
                      <a:pt x="28" y="186"/>
                    </a:lnTo>
                    <a:lnTo>
                      <a:pt x="28" y="180"/>
                    </a:lnTo>
                    <a:lnTo>
                      <a:pt x="34" y="180"/>
                    </a:lnTo>
                    <a:lnTo>
                      <a:pt x="42" y="172"/>
                    </a:lnTo>
                    <a:lnTo>
                      <a:pt x="42" y="164"/>
                    </a:lnTo>
                    <a:lnTo>
                      <a:pt x="34" y="158"/>
                    </a:lnTo>
                    <a:lnTo>
                      <a:pt x="28" y="158"/>
                    </a:lnTo>
                    <a:lnTo>
                      <a:pt x="20" y="172"/>
                    </a:lnTo>
                    <a:lnTo>
                      <a:pt x="14" y="180"/>
                    </a:lnTo>
                    <a:lnTo>
                      <a:pt x="14" y="172"/>
                    </a:lnTo>
                    <a:lnTo>
                      <a:pt x="14" y="164"/>
                    </a:lnTo>
                    <a:lnTo>
                      <a:pt x="20" y="152"/>
                    </a:lnTo>
                    <a:lnTo>
                      <a:pt x="28" y="144"/>
                    </a:lnTo>
                    <a:lnTo>
                      <a:pt x="34" y="144"/>
                    </a:lnTo>
                    <a:lnTo>
                      <a:pt x="42" y="144"/>
                    </a:lnTo>
                    <a:lnTo>
                      <a:pt x="42" y="138"/>
                    </a:lnTo>
                    <a:lnTo>
                      <a:pt x="34" y="138"/>
                    </a:lnTo>
                    <a:lnTo>
                      <a:pt x="42" y="132"/>
                    </a:lnTo>
                    <a:lnTo>
                      <a:pt x="48" y="124"/>
                    </a:lnTo>
                    <a:lnTo>
                      <a:pt x="54" y="118"/>
                    </a:lnTo>
                    <a:lnTo>
                      <a:pt x="48" y="118"/>
                    </a:lnTo>
                    <a:lnTo>
                      <a:pt x="42" y="124"/>
                    </a:lnTo>
                    <a:lnTo>
                      <a:pt x="34" y="124"/>
                    </a:lnTo>
                    <a:lnTo>
                      <a:pt x="28" y="138"/>
                    </a:lnTo>
                    <a:lnTo>
                      <a:pt x="20" y="132"/>
                    </a:lnTo>
                    <a:lnTo>
                      <a:pt x="14" y="124"/>
                    </a:lnTo>
                    <a:lnTo>
                      <a:pt x="28" y="118"/>
                    </a:lnTo>
                    <a:lnTo>
                      <a:pt x="28" y="110"/>
                    </a:lnTo>
                    <a:lnTo>
                      <a:pt x="28" y="104"/>
                    </a:lnTo>
                    <a:lnTo>
                      <a:pt x="34" y="96"/>
                    </a:lnTo>
                    <a:lnTo>
                      <a:pt x="42" y="96"/>
                    </a:lnTo>
                    <a:lnTo>
                      <a:pt x="42" y="90"/>
                    </a:lnTo>
                    <a:lnTo>
                      <a:pt x="42" y="82"/>
                    </a:lnTo>
                    <a:lnTo>
                      <a:pt x="54" y="82"/>
                    </a:lnTo>
                    <a:lnTo>
                      <a:pt x="54" y="76"/>
                    </a:lnTo>
                    <a:lnTo>
                      <a:pt x="48" y="70"/>
                    </a:lnTo>
                    <a:lnTo>
                      <a:pt x="42" y="70"/>
                    </a:lnTo>
                    <a:lnTo>
                      <a:pt x="48" y="70"/>
                    </a:lnTo>
                    <a:lnTo>
                      <a:pt x="48" y="62"/>
                    </a:lnTo>
                    <a:lnTo>
                      <a:pt x="48" y="56"/>
                    </a:lnTo>
                    <a:lnTo>
                      <a:pt x="48" y="48"/>
                    </a:lnTo>
                    <a:lnTo>
                      <a:pt x="54" y="42"/>
                    </a:lnTo>
                    <a:lnTo>
                      <a:pt x="62" y="42"/>
                    </a:lnTo>
                    <a:lnTo>
                      <a:pt x="68" y="42"/>
                    </a:lnTo>
                    <a:lnTo>
                      <a:pt x="68" y="48"/>
                    </a:lnTo>
                    <a:lnTo>
                      <a:pt x="76" y="48"/>
                    </a:lnTo>
                    <a:lnTo>
                      <a:pt x="82" y="56"/>
                    </a:lnTo>
                    <a:lnTo>
                      <a:pt x="82" y="48"/>
                    </a:lnTo>
                    <a:lnTo>
                      <a:pt x="82" y="42"/>
                    </a:lnTo>
                    <a:lnTo>
                      <a:pt x="76" y="34"/>
                    </a:lnTo>
                    <a:lnTo>
                      <a:pt x="82" y="28"/>
                    </a:lnTo>
                    <a:lnTo>
                      <a:pt x="90" y="28"/>
                    </a:lnTo>
                    <a:lnTo>
                      <a:pt x="82" y="20"/>
                    </a:lnTo>
                    <a:lnTo>
                      <a:pt x="96" y="28"/>
                    </a:lnTo>
                    <a:lnTo>
                      <a:pt x="104" y="20"/>
                    </a:lnTo>
                    <a:lnTo>
                      <a:pt x="96" y="20"/>
                    </a:lnTo>
                    <a:lnTo>
                      <a:pt x="104" y="6"/>
                    </a:lnTo>
                    <a:lnTo>
                      <a:pt x="104" y="0"/>
                    </a:lnTo>
                    <a:lnTo>
                      <a:pt x="110" y="0"/>
                    </a:lnTo>
                    <a:lnTo>
                      <a:pt x="124" y="6"/>
                    </a:lnTo>
                    <a:lnTo>
                      <a:pt x="118" y="6"/>
                    </a:lnTo>
                    <a:lnTo>
                      <a:pt x="124" y="14"/>
                    </a:lnTo>
                    <a:lnTo>
                      <a:pt x="132" y="6"/>
                    </a:lnTo>
                    <a:lnTo>
                      <a:pt x="132" y="14"/>
                    </a:lnTo>
                    <a:lnTo>
                      <a:pt x="144" y="20"/>
                    </a:lnTo>
                    <a:lnTo>
                      <a:pt x="158" y="14"/>
                    </a:lnTo>
                    <a:lnTo>
                      <a:pt x="158" y="20"/>
                    </a:lnTo>
                    <a:lnTo>
                      <a:pt x="166" y="20"/>
                    </a:lnTo>
                    <a:lnTo>
                      <a:pt x="172" y="20"/>
                    </a:lnTo>
                    <a:lnTo>
                      <a:pt x="180" y="28"/>
                    </a:lnTo>
                    <a:lnTo>
                      <a:pt x="172" y="34"/>
                    </a:lnTo>
                    <a:lnTo>
                      <a:pt x="172" y="42"/>
                    </a:lnTo>
                    <a:lnTo>
                      <a:pt x="158" y="42"/>
                    </a:lnTo>
                    <a:lnTo>
                      <a:pt x="152" y="48"/>
                    </a:lnTo>
                    <a:lnTo>
                      <a:pt x="144" y="56"/>
                    </a:lnTo>
                    <a:lnTo>
                      <a:pt x="138" y="56"/>
                    </a:lnTo>
                    <a:lnTo>
                      <a:pt x="132" y="56"/>
                    </a:lnTo>
                    <a:lnTo>
                      <a:pt x="124" y="62"/>
                    </a:lnTo>
                    <a:lnTo>
                      <a:pt x="124" y="70"/>
                    </a:lnTo>
                    <a:lnTo>
                      <a:pt x="118" y="70"/>
                    </a:lnTo>
                    <a:lnTo>
                      <a:pt x="104" y="76"/>
                    </a:lnTo>
                    <a:lnTo>
                      <a:pt x="104" y="82"/>
                    </a:lnTo>
                    <a:lnTo>
                      <a:pt x="110" y="82"/>
                    </a:lnTo>
                    <a:lnTo>
                      <a:pt x="104" y="82"/>
                    </a:lnTo>
                    <a:lnTo>
                      <a:pt x="104" y="90"/>
                    </a:lnTo>
                    <a:lnTo>
                      <a:pt x="104" y="96"/>
                    </a:lnTo>
                    <a:lnTo>
                      <a:pt x="110" y="96"/>
                    </a:lnTo>
                    <a:lnTo>
                      <a:pt x="124" y="90"/>
                    </a:lnTo>
                    <a:lnTo>
                      <a:pt x="132" y="90"/>
                    </a:lnTo>
                    <a:lnTo>
                      <a:pt x="144" y="90"/>
                    </a:lnTo>
                    <a:lnTo>
                      <a:pt x="152" y="90"/>
                    </a:lnTo>
                    <a:lnTo>
                      <a:pt x="166" y="90"/>
                    </a:lnTo>
                    <a:lnTo>
                      <a:pt x="172" y="90"/>
                    </a:lnTo>
                    <a:lnTo>
                      <a:pt x="180" y="96"/>
                    </a:lnTo>
                    <a:lnTo>
                      <a:pt x="180" y="104"/>
                    </a:lnTo>
                    <a:lnTo>
                      <a:pt x="186" y="104"/>
                    </a:lnTo>
                    <a:lnTo>
                      <a:pt x="194" y="104"/>
                    </a:lnTo>
                    <a:lnTo>
                      <a:pt x="200" y="104"/>
                    </a:lnTo>
                    <a:lnTo>
                      <a:pt x="200" y="110"/>
                    </a:lnTo>
                    <a:lnTo>
                      <a:pt x="200" y="118"/>
                    </a:lnTo>
                    <a:lnTo>
                      <a:pt x="194" y="124"/>
                    </a:lnTo>
                    <a:lnTo>
                      <a:pt x="186" y="124"/>
                    </a:lnTo>
                    <a:lnTo>
                      <a:pt x="186" y="132"/>
                    </a:lnTo>
                    <a:lnTo>
                      <a:pt x="180" y="132"/>
                    </a:lnTo>
                    <a:lnTo>
                      <a:pt x="172" y="138"/>
                    </a:lnTo>
                    <a:lnTo>
                      <a:pt x="180" y="144"/>
                    </a:lnTo>
                    <a:lnTo>
                      <a:pt x="180" y="152"/>
                    </a:lnTo>
                    <a:lnTo>
                      <a:pt x="172" y="158"/>
                    </a:lnTo>
                    <a:lnTo>
                      <a:pt x="158" y="164"/>
                    </a:lnTo>
                    <a:lnTo>
                      <a:pt x="158" y="172"/>
                    </a:lnTo>
                    <a:lnTo>
                      <a:pt x="152" y="172"/>
                    </a:lnTo>
                    <a:lnTo>
                      <a:pt x="144" y="180"/>
                    </a:lnTo>
                    <a:lnTo>
                      <a:pt x="138" y="172"/>
                    </a:lnTo>
                    <a:lnTo>
                      <a:pt x="132" y="172"/>
                    </a:lnTo>
                    <a:lnTo>
                      <a:pt x="118" y="172"/>
                    </a:lnTo>
                    <a:lnTo>
                      <a:pt x="118" y="180"/>
                    </a:lnTo>
                    <a:lnTo>
                      <a:pt x="124" y="180"/>
                    </a:lnTo>
                    <a:lnTo>
                      <a:pt x="132" y="186"/>
                    </a:lnTo>
                    <a:lnTo>
                      <a:pt x="138" y="186"/>
                    </a:lnTo>
                    <a:lnTo>
                      <a:pt x="132" y="194"/>
                    </a:lnTo>
                    <a:lnTo>
                      <a:pt x="118" y="194"/>
                    </a:lnTo>
                    <a:lnTo>
                      <a:pt x="118" y="200"/>
                    </a:lnTo>
                    <a:lnTo>
                      <a:pt x="110" y="200"/>
                    </a:lnTo>
                    <a:lnTo>
                      <a:pt x="104" y="200"/>
                    </a:lnTo>
                    <a:lnTo>
                      <a:pt x="96" y="194"/>
                    </a:lnTo>
                    <a:lnTo>
                      <a:pt x="90" y="194"/>
                    </a:lnTo>
                    <a:lnTo>
                      <a:pt x="90" y="200"/>
                    </a:lnTo>
                    <a:lnTo>
                      <a:pt x="96" y="200"/>
                    </a:lnTo>
                    <a:lnTo>
                      <a:pt x="104" y="206"/>
                    </a:lnTo>
                    <a:lnTo>
                      <a:pt x="110" y="206"/>
                    </a:lnTo>
                    <a:lnTo>
                      <a:pt x="124" y="206"/>
                    </a:lnTo>
                    <a:lnTo>
                      <a:pt x="132" y="206"/>
                    </a:lnTo>
                    <a:lnTo>
                      <a:pt x="138" y="214"/>
                    </a:lnTo>
                    <a:lnTo>
                      <a:pt x="144" y="220"/>
                    </a:lnTo>
                    <a:lnTo>
                      <a:pt x="152" y="234"/>
                    </a:lnTo>
                    <a:lnTo>
                      <a:pt x="144" y="248"/>
                    </a:lnTo>
                    <a:lnTo>
                      <a:pt x="138" y="248"/>
                    </a:lnTo>
                    <a:lnTo>
                      <a:pt x="144" y="254"/>
                    </a:lnTo>
                    <a:lnTo>
                      <a:pt x="138" y="262"/>
                    </a:lnTo>
                    <a:lnTo>
                      <a:pt x="132" y="254"/>
                    </a:lnTo>
                    <a:lnTo>
                      <a:pt x="124" y="254"/>
                    </a:lnTo>
                    <a:lnTo>
                      <a:pt x="124" y="262"/>
                    </a:lnTo>
                    <a:lnTo>
                      <a:pt x="118" y="262"/>
                    </a:lnTo>
                    <a:lnTo>
                      <a:pt x="118" y="268"/>
                    </a:lnTo>
                    <a:lnTo>
                      <a:pt x="110" y="268"/>
                    </a:lnTo>
                    <a:lnTo>
                      <a:pt x="104" y="276"/>
                    </a:lnTo>
                    <a:lnTo>
                      <a:pt x="96" y="282"/>
                    </a:lnTo>
                    <a:lnTo>
                      <a:pt x="90" y="282"/>
                    </a:lnTo>
                    <a:lnTo>
                      <a:pt x="90" y="276"/>
                    </a:lnTo>
                    <a:lnTo>
                      <a:pt x="90" y="276"/>
                    </a:lnTo>
                    <a:lnTo>
                      <a:pt x="90" y="276"/>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0" name="Freeform 44"/>
              <p:cNvSpPr>
                <a:spLocks/>
              </p:cNvSpPr>
              <p:nvPr>
                <p:custDataLst>
                  <p:tags r:id="rId139"/>
                </p:custDataLst>
              </p:nvPr>
            </p:nvSpPr>
            <p:spPr bwMode="gray">
              <a:xfrm>
                <a:off x="4114159" y="3619402"/>
                <a:ext cx="1036868" cy="1082915"/>
              </a:xfrm>
              <a:custGeom>
                <a:avLst/>
                <a:gdLst>
                  <a:gd name="T0" fmla="*/ 62 w 653"/>
                  <a:gd name="T1" fmla="*/ 208 h 682"/>
                  <a:gd name="T2" fmla="*/ 96 w 653"/>
                  <a:gd name="T3" fmla="*/ 172 h 682"/>
                  <a:gd name="T4" fmla="*/ 160 w 653"/>
                  <a:gd name="T5" fmla="*/ 194 h 682"/>
                  <a:gd name="T6" fmla="*/ 172 w 653"/>
                  <a:gd name="T7" fmla="*/ 186 h 682"/>
                  <a:gd name="T8" fmla="*/ 194 w 653"/>
                  <a:gd name="T9" fmla="*/ 248 h 682"/>
                  <a:gd name="T10" fmla="*/ 242 w 653"/>
                  <a:gd name="T11" fmla="*/ 332 h 682"/>
                  <a:gd name="T12" fmla="*/ 326 w 653"/>
                  <a:gd name="T13" fmla="*/ 420 h 682"/>
                  <a:gd name="T14" fmla="*/ 368 w 653"/>
                  <a:gd name="T15" fmla="*/ 442 h 682"/>
                  <a:gd name="T16" fmla="*/ 422 w 653"/>
                  <a:gd name="T17" fmla="*/ 490 h 682"/>
                  <a:gd name="T18" fmla="*/ 436 w 653"/>
                  <a:gd name="T19" fmla="*/ 524 h 682"/>
                  <a:gd name="T20" fmla="*/ 484 w 653"/>
                  <a:gd name="T21" fmla="*/ 544 h 682"/>
                  <a:gd name="T22" fmla="*/ 507 w 653"/>
                  <a:gd name="T23" fmla="*/ 620 h 682"/>
                  <a:gd name="T24" fmla="*/ 484 w 653"/>
                  <a:gd name="T25" fmla="*/ 642 h 682"/>
                  <a:gd name="T26" fmla="*/ 470 w 653"/>
                  <a:gd name="T27" fmla="*/ 676 h 682"/>
                  <a:gd name="T28" fmla="*/ 507 w 653"/>
                  <a:gd name="T29" fmla="*/ 676 h 682"/>
                  <a:gd name="T30" fmla="*/ 527 w 653"/>
                  <a:gd name="T31" fmla="*/ 642 h 682"/>
                  <a:gd name="T32" fmla="*/ 561 w 653"/>
                  <a:gd name="T33" fmla="*/ 620 h 682"/>
                  <a:gd name="T34" fmla="*/ 569 w 653"/>
                  <a:gd name="T35" fmla="*/ 586 h 682"/>
                  <a:gd name="T36" fmla="*/ 541 w 653"/>
                  <a:gd name="T37" fmla="*/ 560 h 682"/>
                  <a:gd name="T38" fmla="*/ 555 w 653"/>
                  <a:gd name="T39" fmla="*/ 518 h 682"/>
                  <a:gd name="T40" fmla="*/ 575 w 653"/>
                  <a:gd name="T41" fmla="*/ 504 h 682"/>
                  <a:gd name="T42" fmla="*/ 611 w 653"/>
                  <a:gd name="T43" fmla="*/ 518 h 682"/>
                  <a:gd name="T44" fmla="*/ 625 w 653"/>
                  <a:gd name="T45" fmla="*/ 544 h 682"/>
                  <a:gd name="T46" fmla="*/ 653 w 653"/>
                  <a:gd name="T47" fmla="*/ 530 h 682"/>
                  <a:gd name="T48" fmla="*/ 625 w 653"/>
                  <a:gd name="T49" fmla="*/ 482 h 682"/>
                  <a:gd name="T50" fmla="*/ 561 w 653"/>
                  <a:gd name="T51" fmla="*/ 454 h 682"/>
                  <a:gd name="T52" fmla="*/ 521 w 653"/>
                  <a:gd name="T53" fmla="*/ 434 h 682"/>
                  <a:gd name="T54" fmla="*/ 521 w 653"/>
                  <a:gd name="T55" fmla="*/ 414 h 682"/>
                  <a:gd name="T56" fmla="*/ 458 w 653"/>
                  <a:gd name="T57" fmla="*/ 394 h 682"/>
                  <a:gd name="T58" fmla="*/ 408 w 653"/>
                  <a:gd name="T59" fmla="*/ 338 h 682"/>
                  <a:gd name="T60" fmla="*/ 388 w 653"/>
                  <a:gd name="T61" fmla="*/ 276 h 682"/>
                  <a:gd name="T62" fmla="*/ 360 w 653"/>
                  <a:gd name="T63" fmla="*/ 242 h 682"/>
                  <a:gd name="T64" fmla="*/ 318 w 653"/>
                  <a:gd name="T65" fmla="*/ 214 h 682"/>
                  <a:gd name="T66" fmla="*/ 318 w 653"/>
                  <a:gd name="T67" fmla="*/ 172 h 682"/>
                  <a:gd name="T68" fmla="*/ 318 w 653"/>
                  <a:gd name="T69" fmla="*/ 146 h 682"/>
                  <a:gd name="T70" fmla="*/ 326 w 653"/>
                  <a:gd name="T71" fmla="*/ 118 h 682"/>
                  <a:gd name="T72" fmla="*/ 368 w 653"/>
                  <a:gd name="T73" fmla="*/ 110 h 682"/>
                  <a:gd name="T74" fmla="*/ 388 w 653"/>
                  <a:gd name="T75" fmla="*/ 110 h 682"/>
                  <a:gd name="T76" fmla="*/ 402 w 653"/>
                  <a:gd name="T77" fmla="*/ 90 h 682"/>
                  <a:gd name="T78" fmla="*/ 402 w 653"/>
                  <a:gd name="T79" fmla="*/ 56 h 682"/>
                  <a:gd name="T80" fmla="*/ 368 w 653"/>
                  <a:gd name="T81" fmla="*/ 42 h 682"/>
                  <a:gd name="T82" fmla="*/ 340 w 653"/>
                  <a:gd name="T83" fmla="*/ 22 h 682"/>
                  <a:gd name="T84" fmla="*/ 298 w 653"/>
                  <a:gd name="T85" fmla="*/ 8 h 682"/>
                  <a:gd name="T86" fmla="*/ 264 w 653"/>
                  <a:gd name="T87" fmla="*/ 14 h 682"/>
                  <a:gd name="T88" fmla="*/ 242 w 653"/>
                  <a:gd name="T89" fmla="*/ 0 h 682"/>
                  <a:gd name="T90" fmla="*/ 228 w 653"/>
                  <a:gd name="T91" fmla="*/ 22 h 682"/>
                  <a:gd name="T92" fmla="*/ 208 w 653"/>
                  <a:gd name="T93" fmla="*/ 42 h 682"/>
                  <a:gd name="T94" fmla="*/ 180 w 653"/>
                  <a:gd name="T95" fmla="*/ 28 h 682"/>
                  <a:gd name="T96" fmla="*/ 160 w 653"/>
                  <a:gd name="T97" fmla="*/ 42 h 682"/>
                  <a:gd name="T98" fmla="*/ 132 w 653"/>
                  <a:gd name="T99" fmla="*/ 50 h 682"/>
                  <a:gd name="T100" fmla="*/ 110 w 653"/>
                  <a:gd name="T101" fmla="*/ 22 h 682"/>
                  <a:gd name="T102" fmla="*/ 76 w 653"/>
                  <a:gd name="T103" fmla="*/ 50 h 682"/>
                  <a:gd name="T104" fmla="*/ 28 w 653"/>
                  <a:gd name="T105" fmla="*/ 56 h 682"/>
                  <a:gd name="T106" fmla="*/ 34 w 653"/>
                  <a:gd name="T107" fmla="*/ 90 h 682"/>
                  <a:gd name="T108" fmla="*/ 0 w 653"/>
                  <a:gd name="T109" fmla="*/ 104 h 682"/>
                  <a:gd name="T110" fmla="*/ 20 w 653"/>
                  <a:gd name="T111" fmla="*/ 132 h 682"/>
                  <a:gd name="T112" fmla="*/ 14 w 653"/>
                  <a:gd name="T113" fmla="*/ 172 h 682"/>
                  <a:gd name="T114" fmla="*/ 42 w 653"/>
                  <a:gd name="T115" fmla="*/ 200 h 682"/>
                  <a:gd name="T116" fmla="*/ 28 w 653"/>
                  <a:gd name="T117" fmla="*/ 22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53" h="682">
                    <a:moveTo>
                      <a:pt x="28" y="220"/>
                    </a:moveTo>
                    <a:lnTo>
                      <a:pt x="42" y="214"/>
                    </a:lnTo>
                    <a:lnTo>
                      <a:pt x="48" y="208"/>
                    </a:lnTo>
                    <a:lnTo>
                      <a:pt x="56" y="208"/>
                    </a:lnTo>
                    <a:lnTo>
                      <a:pt x="62" y="208"/>
                    </a:lnTo>
                    <a:lnTo>
                      <a:pt x="76" y="200"/>
                    </a:lnTo>
                    <a:lnTo>
                      <a:pt x="84" y="194"/>
                    </a:lnTo>
                    <a:lnTo>
                      <a:pt x="84" y="186"/>
                    </a:lnTo>
                    <a:lnTo>
                      <a:pt x="90" y="180"/>
                    </a:lnTo>
                    <a:lnTo>
                      <a:pt x="96" y="172"/>
                    </a:lnTo>
                    <a:lnTo>
                      <a:pt x="110" y="172"/>
                    </a:lnTo>
                    <a:lnTo>
                      <a:pt x="118" y="172"/>
                    </a:lnTo>
                    <a:lnTo>
                      <a:pt x="132" y="186"/>
                    </a:lnTo>
                    <a:lnTo>
                      <a:pt x="138" y="180"/>
                    </a:lnTo>
                    <a:lnTo>
                      <a:pt x="160" y="194"/>
                    </a:lnTo>
                    <a:lnTo>
                      <a:pt x="160" y="186"/>
                    </a:lnTo>
                    <a:lnTo>
                      <a:pt x="166" y="180"/>
                    </a:lnTo>
                    <a:lnTo>
                      <a:pt x="172" y="180"/>
                    </a:lnTo>
                    <a:lnTo>
                      <a:pt x="180" y="180"/>
                    </a:lnTo>
                    <a:lnTo>
                      <a:pt x="172" y="186"/>
                    </a:lnTo>
                    <a:lnTo>
                      <a:pt x="172" y="194"/>
                    </a:lnTo>
                    <a:lnTo>
                      <a:pt x="180" y="200"/>
                    </a:lnTo>
                    <a:lnTo>
                      <a:pt x="172" y="208"/>
                    </a:lnTo>
                    <a:lnTo>
                      <a:pt x="186" y="220"/>
                    </a:lnTo>
                    <a:lnTo>
                      <a:pt x="194" y="248"/>
                    </a:lnTo>
                    <a:lnTo>
                      <a:pt x="200" y="276"/>
                    </a:lnTo>
                    <a:lnTo>
                      <a:pt x="208" y="284"/>
                    </a:lnTo>
                    <a:lnTo>
                      <a:pt x="222" y="318"/>
                    </a:lnTo>
                    <a:lnTo>
                      <a:pt x="228" y="318"/>
                    </a:lnTo>
                    <a:lnTo>
                      <a:pt x="242" y="332"/>
                    </a:lnTo>
                    <a:lnTo>
                      <a:pt x="250" y="346"/>
                    </a:lnTo>
                    <a:lnTo>
                      <a:pt x="256" y="352"/>
                    </a:lnTo>
                    <a:lnTo>
                      <a:pt x="264" y="358"/>
                    </a:lnTo>
                    <a:lnTo>
                      <a:pt x="284" y="380"/>
                    </a:lnTo>
                    <a:lnTo>
                      <a:pt x="326" y="420"/>
                    </a:lnTo>
                    <a:lnTo>
                      <a:pt x="332" y="420"/>
                    </a:lnTo>
                    <a:lnTo>
                      <a:pt x="340" y="434"/>
                    </a:lnTo>
                    <a:lnTo>
                      <a:pt x="354" y="434"/>
                    </a:lnTo>
                    <a:lnTo>
                      <a:pt x="360" y="448"/>
                    </a:lnTo>
                    <a:lnTo>
                      <a:pt x="368" y="442"/>
                    </a:lnTo>
                    <a:lnTo>
                      <a:pt x="388" y="462"/>
                    </a:lnTo>
                    <a:lnTo>
                      <a:pt x="396" y="470"/>
                    </a:lnTo>
                    <a:lnTo>
                      <a:pt x="402" y="476"/>
                    </a:lnTo>
                    <a:lnTo>
                      <a:pt x="408" y="476"/>
                    </a:lnTo>
                    <a:lnTo>
                      <a:pt x="422" y="490"/>
                    </a:lnTo>
                    <a:lnTo>
                      <a:pt x="430" y="490"/>
                    </a:lnTo>
                    <a:lnTo>
                      <a:pt x="436" y="496"/>
                    </a:lnTo>
                    <a:lnTo>
                      <a:pt x="436" y="510"/>
                    </a:lnTo>
                    <a:lnTo>
                      <a:pt x="436" y="518"/>
                    </a:lnTo>
                    <a:lnTo>
                      <a:pt x="436" y="524"/>
                    </a:lnTo>
                    <a:lnTo>
                      <a:pt x="450" y="530"/>
                    </a:lnTo>
                    <a:lnTo>
                      <a:pt x="458" y="530"/>
                    </a:lnTo>
                    <a:lnTo>
                      <a:pt x="464" y="530"/>
                    </a:lnTo>
                    <a:lnTo>
                      <a:pt x="478" y="538"/>
                    </a:lnTo>
                    <a:lnTo>
                      <a:pt x="484" y="544"/>
                    </a:lnTo>
                    <a:lnTo>
                      <a:pt x="484" y="552"/>
                    </a:lnTo>
                    <a:lnTo>
                      <a:pt x="493" y="558"/>
                    </a:lnTo>
                    <a:lnTo>
                      <a:pt x="499" y="578"/>
                    </a:lnTo>
                    <a:lnTo>
                      <a:pt x="507" y="600"/>
                    </a:lnTo>
                    <a:lnTo>
                      <a:pt x="507" y="620"/>
                    </a:lnTo>
                    <a:lnTo>
                      <a:pt x="499" y="628"/>
                    </a:lnTo>
                    <a:lnTo>
                      <a:pt x="493" y="628"/>
                    </a:lnTo>
                    <a:lnTo>
                      <a:pt x="484" y="628"/>
                    </a:lnTo>
                    <a:lnTo>
                      <a:pt x="484" y="634"/>
                    </a:lnTo>
                    <a:lnTo>
                      <a:pt x="484" y="642"/>
                    </a:lnTo>
                    <a:lnTo>
                      <a:pt x="484" y="648"/>
                    </a:lnTo>
                    <a:lnTo>
                      <a:pt x="484" y="654"/>
                    </a:lnTo>
                    <a:lnTo>
                      <a:pt x="478" y="662"/>
                    </a:lnTo>
                    <a:lnTo>
                      <a:pt x="470" y="668"/>
                    </a:lnTo>
                    <a:lnTo>
                      <a:pt x="470" y="676"/>
                    </a:lnTo>
                    <a:lnTo>
                      <a:pt x="478" y="682"/>
                    </a:lnTo>
                    <a:lnTo>
                      <a:pt x="484" y="682"/>
                    </a:lnTo>
                    <a:lnTo>
                      <a:pt x="493" y="682"/>
                    </a:lnTo>
                    <a:lnTo>
                      <a:pt x="499" y="682"/>
                    </a:lnTo>
                    <a:lnTo>
                      <a:pt x="507" y="676"/>
                    </a:lnTo>
                    <a:lnTo>
                      <a:pt x="513" y="676"/>
                    </a:lnTo>
                    <a:lnTo>
                      <a:pt x="513" y="668"/>
                    </a:lnTo>
                    <a:lnTo>
                      <a:pt x="527" y="662"/>
                    </a:lnTo>
                    <a:lnTo>
                      <a:pt x="527" y="654"/>
                    </a:lnTo>
                    <a:lnTo>
                      <a:pt x="527" y="642"/>
                    </a:lnTo>
                    <a:lnTo>
                      <a:pt x="535" y="634"/>
                    </a:lnTo>
                    <a:lnTo>
                      <a:pt x="541" y="628"/>
                    </a:lnTo>
                    <a:lnTo>
                      <a:pt x="549" y="620"/>
                    </a:lnTo>
                    <a:lnTo>
                      <a:pt x="555" y="620"/>
                    </a:lnTo>
                    <a:lnTo>
                      <a:pt x="561" y="620"/>
                    </a:lnTo>
                    <a:lnTo>
                      <a:pt x="569" y="620"/>
                    </a:lnTo>
                    <a:lnTo>
                      <a:pt x="569" y="614"/>
                    </a:lnTo>
                    <a:lnTo>
                      <a:pt x="569" y="606"/>
                    </a:lnTo>
                    <a:lnTo>
                      <a:pt x="569" y="600"/>
                    </a:lnTo>
                    <a:lnTo>
                      <a:pt x="569" y="586"/>
                    </a:lnTo>
                    <a:lnTo>
                      <a:pt x="569" y="578"/>
                    </a:lnTo>
                    <a:lnTo>
                      <a:pt x="569" y="572"/>
                    </a:lnTo>
                    <a:lnTo>
                      <a:pt x="561" y="566"/>
                    </a:lnTo>
                    <a:lnTo>
                      <a:pt x="549" y="572"/>
                    </a:lnTo>
                    <a:lnTo>
                      <a:pt x="541" y="560"/>
                    </a:lnTo>
                    <a:lnTo>
                      <a:pt x="539" y="542"/>
                    </a:lnTo>
                    <a:lnTo>
                      <a:pt x="541" y="530"/>
                    </a:lnTo>
                    <a:lnTo>
                      <a:pt x="549" y="530"/>
                    </a:lnTo>
                    <a:lnTo>
                      <a:pt x="549" y="524"/>
                    </a:lnTo>
                    <a:lnTo>
                      <a:pt x="555" y="518"/>
                    </a:lnTo>
                    <a:lnTo>
                      <a:pt x="549" y="518"/>
                    </a:lnTo>
                    <a:lnTo>
                      <a:pt x="555" y="510"/>
                    </a:lnTo>
                    <a:lnTo>
                      <a:pt x="561" y="504"/>
                    </a:lnTo>
                    <a:lnTo>
                      <a:pt x="569" y="504"/>
                    </a:lnTo>
                    <a:lnTo>
                      <a:pt x="575" y="504"/>
                    </a:lnTo>
                    <a:lnTo>
                      <a:pt x="575" y="510"/>
                    </a:lnTo>
                    <a:lnTo>
                      <a:pt x="589" y="518"/>
                    </a:lnTo>
                    <a:lnTo>
                      <a:pt x="597" y="518"/>
                    </a:lnTo>
                    <a:lnTo>
                      <a:pt x="603" y="518"/>
                    </a:lnTo>
                    <a:lnTo>
                      <a:pt x="611" y="518"/>
                    </a:lnTo>
                    <a:lnTo>
                      <a:pt x="617" y="518"/>
                    </a:lnTo>
                    <a:lnTo>
                      <a:pt x="617" y="524"/>
                    </a:lnTo>
                    <a:lnTo>
                      <a:pt x="617" y="530"/>
                    </a:lnTo>
                    <a:lnTo>
                      <a:pt x="625" y="538"/>
                    </a:lnTo>
                    <a:lnTo>
                      <a:pt x="625" y="544"/>
                    </a:lnTo>
                    <a:lnTo>
                      <a:pt x="631" y="552"/>
                    </a:lnTo>
                    <a:lnTo>
                      <a:pt x="637" y="552"/>
                    </a:lnTo>
                    <a:lnTo>
                      <a:pt x="645" y="552"/>
                    </a:lnTo>
                    <a:lnTo>
                      <a:pt x="653" y="544"/>
                    </a:lnTo>
                    <a:lnTo>
                      <a:pt x="653" y="530"/>
                    </a:lnTo>
                    <a:lnTo>
                      <a:pt x="653" y="518"/>
                    </a:lnTo>
                    <a:lnTo>
                      <a:pt x="653" y="510"/>
                    </a:lnTo>
                    <a:lnTo>
                      <a:pt x="637" y="504"/>
                    </a:lnTo>
                    <a:lnTo>
                      <a:pt x="631" y="490"/>
                    </a:lnTo>
                    <a:lnTo>
                      <a:pt x="625" y="482"/>
                    </a:lnTo>
                    <a:lnTo>
                      <a:pt x="611" y="476"/>
                    </a:lnTo>
                    <a:lnTo>
                      <a:pt x="597" y="476"/>
                    </a:lnTo>
                    <a:lnTo>
                      <a:pt x="589" y="470"/>
                    </a:lnTo>
                    <a:lnTo>
                      <a:pt x="583" y="462"/>
                    </a:lnTo>
                    <a:lnTo>
                      <a:pt x="561" y="454"/>
                    </a:lnTo>
                    <a:lnTo>
                      <a:pt x="555" y="448"/>
                    </a:lnTo>
                    <a:lnTo>
                      <a:pt x="549" y="442"/>
                    </a:lnTo>
                    <a:lnTo>
                      <a:pt x="541" y="442"/>
                    </a:lnTo>
                    <a:lnTo>
                      <a:pt x="527" y="442"/>
                    </a:lnTo>
                    <a:lnTo>
                      <a:pt x="521" y="434"/>
                    </a:lnTo>
                    <a:lnTo>
                      <a:pt x="507" y="428"/>
                    </a:lnTo>
                    <a:lnTo>
                      <a:pt x="499" y="428"/>
                    </a:lnTo>
                    <a:lnTo>
                      <a:pt x="507" y="420"/>
                    </a:lnTo>
                    <a:lnTo>
                      <a:pt x="513" y="420"/>
                    </a:lnTo>
                    <a:lnTo>
                      <a:pt x="521" y="414"/>
                    </a:lnTo>
                    <a:lnTo>
                      <a:pt x="521" y="400"/>
                    </a:lnTo>
                    <a:lnTo>
                      <a:pt x="499" y="394"/>
                    </a:lnTo>
                    <a:lnTo>
                      <a:pt x="493" y="394"/>
                    </a:lnTo>
                    <a:lnTo>
                      <a:pt x="470" y="394"/>
                    </a:lnTo>
                    <a:lnTo>
                      <a:pt x="458" y="394"/>
                    </a:lnTo>
                    <a:lnTo>
                      <a:pt x="444" y="386"/>
                    </a:lnTo>
                    <a:lnTo>
                      <a:pt x="436" y="372"/>
                    </a:lnTo>
                    <a:lnTo>
                      <a:pt x="430" y="366"/>
                    </a:lnTo>
                    <a:lnTo>
                      <a:pt x="416" y="352"/>
                    </a:lnTo>
                    <a:lnTo>
                      <a:pt x="408" y="338"/>
                    </a:lnTo>
                    <a:lnTo>
                      <a:pt x="396" y="324"/>
                    </a:lnTo>
                    <a:lnTo>
                      <a:pt x="396" y="310"/>
                    </a:lnTo>
                    <a:lnTo>
                      <a:pt x="402" y="304"/>
                    </a:lnTo>
                    <a:lnTo>
                      <a:pt x="396" y="290"/>
                    </a:lnTo>
                    <a:lnTo>
                      <a:pt x="388" y="276"/>
                    </a:lnTo>
                    <a:lnTo>
                      <a:pt x="388" y="268"/>
                    </a:lnTo>
                    <a:lnTo>
                      <a:pt x="382" y="262"/>
                    </a:lnTo>
                    <a:lnTo>
                      <a:pt x="382" y="248"/>
                    </a:lnTo>
                    <a:lnTo>
                      <a:pt x="374" y="248"/>
                    </a:lnTo>
                    <a:lnTo>
                      <a:pt x="360" y="242"/>
                    </a:lnTo>
                    <a:lnTo>
                      <a:pt x="346" y="234"/>
                    </a:lnTo>
                    <a:lnTo>
                      <a:pt x="340" y="234"/>
                    </a:lnTo>
                    <a:lnTo>
                      <a:pt x="326" y="228"/>
                    </a:lnTo>
                    <a:lnTo>
                      <a:pt x="326" y="220"/>
                    </a:lnTo>
                    <a:lnTo>
                      <a:pt x="318" y="214"/>
                    </a:lnTo>
                    <a:lnTo>
                      <a:pt x="318" y="208"/>
                    </a:lnTo>
                    <a:lnTo>
                      <a:pt x="312" y="194"/>
                    </a:lnTo>
                    <a:lnTo>
                      <a:pt x="318" y="186"/>
                    </a:lnTo>
                    <a:lnTo>
                      <a:pt x="318" y="180"/>
                    </a:lnTo>
                    <a:lnTo>
                      <a:pt x="318" y="172"/>
                    </a:lnTo>
                    <a:lnTo>
                      <a:pt x="326" y="166"/>
                    </a:lnTo>
                    <a:lnTo>
                      <a:pt x="332" y="160"/>
                    </a:lnTo>
                    <a:lnTo>
                      <a:pt x="332" y="152"/>
                    </a:lnTo>
                    <a:lnTo>
                      <a:pt x="326" y="152"/>
                    </a:lnTo>
                    <a:lnTo>
                      <a:pt x="318" y="146"/>
                    </a:lnTo>
                    <a:lnTo>
                      <a:pt x="318" y="138"/>
                    </a:lnTo>
                    <a:lnTo>
                      <a:pt x="312" y="138"/>
                    </a:lnTo>
                    <a:lnTo>
                      <a:pt x="318" y="132"/>
                    </a:lnTo>
                    <a:lnTo>
                      <a:pt x="326" y="132"/>
                    </a:lnTo>
                    <a:lnTo>
                      <a:pt x="326" y="118"/>
                    </a:lnTo>
                    <a:lnTo>
                      <a:pt x="340" y="118"/>
                    </a:lnTo>
                    <a:lnTo>
                      <a:pt x="346" y="118"/>
                    </a:lnTo>
                    <a:lnTo>
                      <a:pt x="354" y="118"/>
                    </a:lnTo>
                    <a:lnTo>
                      <a:pt x="360" y="118"/>
                    </a:lnTo>
                    <a:lnTo>
                      <a:pt x="368" y="110"/>
                    </a:lnTo>
                    <a:lnTo>
                      <a:pt x="374" y="110"/>
                    </a:lnTo>
                    <a:lnTo>
                      <a:pt x="374" y="104"/>
                    </a:lnTo>
                    <a:lnTo>
                      <a:pt x="382" y="104"/>
                    </a:lnTo>
                    <a:lnTo>
                      <a:pt x="388" y="104"/>
                    </a:lnTo>
                    <a:lnTo>
                      <a:pt x="388" y="110"/>
                    </a:lnTo>
                    <a:lnTo>
                      <a:pt x="396" y="118"/>
                    </a:lnTo>
                    <a:lnTo>
                      <a:pt x="396" y="104"/>
                    </a:lnTo>
                    <a:lnTo>
                      <a:pt x="402" y="104"/>
                    </a:lnTo>
                    <a:lnTo>
                      <a:pt x="408" y="96"/>
                    </a:lnTo>
                    <a:lnTo>
                      <a:pt x="402" y="90"/>
                    </a:lnTo>
                    <a:lnTo>
                      <a:pt x="396" y="84"/>
                    </a:lnTo>
                    <a:lnTo>
                      <a:pt x="408" y="76"/>
                    </a:lnTo>
                    <a:lnTo>
                      <a:pt x="408" y="70"/>
                    </a:lnTo>
                    <a:lnTo>
                      <a:pt x="402" y="62"/>
                    </a:lnTo>
                    <a:lnTo>
                      <a:pt x="402" y="56"/>
                    </a:lnTo>
                    <a:lnTo>
                      <a:pt x="402" y="50"/>
                    </a:lnTo>
                    <a:lnTo>
                      <a:pt x="396" y="50"/>
                    </a:lnTo>
                    <a:lnTo>
                      <a:pt x="388" y="42"/>
                    </a:lnTo>
                    <a:lnTo>
                      <a:pt x="374" y="42"/>
                    </a:lnTo>
                    <a:lnTo>
                      <a:pt x="368" y="42"/>
                    </a:lnTo>
                    <a:lnTo>
                      <a:pt x="360" y="42"/>
                    </a:lnTo>
                    <a:lnTo>
                      <a:pt x="354" y="42"/>
                    </a:lnTo>
                    <a:lnTo>
                      <a:pt x="346" y="36"/>
                    </a:lnTo>
                    <a:lnTo>
                      <a:pt x="340" y="28"/>
                    </a:lnTo>
                    <a:lnTo>
                      <a:pt x="340" y="22"/>
                    </a:lnTo>
                    <a:lnTo>
                      <a:pt x="332" y="14"/>
                    </a:lnTo>
                    <a:lnTo>
                      <a:pt x="326" y="8"/>
                    </a:lnTo>
                    <a:lnTo>
                      <a:pt x="312" y="8"/>
                    </a:lnTo>
                    <a:lnTo>
                      <a:pt x="304" y="8"/>
                    </a:lnTo>
                    <a:lnTo>
                      <a:pt x="298" y="8"/>
                    </a:lnTo>
                    <a:lnTo>
                      <a:pt x="292" y="8"/>
                    </a:lnTo>
                    <a:lnTo>
                      <a:pt x="284" y="0"/>
                    </a:lnTo>
                    <a:lnTo>
                      <a:pt x="276" y="0"/>
                    </a:lnTo>
                    <a:lnTo>
                      <a:pt x="276" y="8"/>
                    </a:lnTo>
                    <a:lnTo>
                      <a:pt x="264" y="14"/>
                    </a:lnTo>
                    <a:lnTo>
                      <a:pt x="256" y="14"/>
                    </a:lnTo>
                    <a:lnTo>
                      <a:pt x="250" y="14"/>
                    </a:lnTo>
                    <a:lnTo>
                      <a:pt x="250" y="8"/>
                    </a:lnTo>
                    <a:lnTo>
                      <a:pt x="250" y="0"/>
                    </a:lnTo>
                    <a:lnTo>
                      <a:pt x="242" y="0"/>
                    </a:lnTo>
                    <a:lnTo>
                      <a:pt x="236" y="0"/>
                    </a:lnTo>
                    <a:lnTo>
                      <a:pt x="236" y="8"/>
                    </a:lnTo>
                    <a:lnTo>
                      <a:pt x="236" y="14"/>
                    </a:lnTo>
                    <a:lnTo>
                      <a:pt x="236" y="22"/>
                    </a:lnTo>
                    <a:lnTo>
                      <a:pt x="228" y="22"/>
                    </a:lnTo>
                    <a:lnTo>
                      <a:pt x="222" y="14"/>
                    </a:lnTo>
                    <a:lnTo>
                      <a:pt x="214" y="22"/>
                    </a:lnTo>
                    <a:lnTo>
                      <a:pt x="208" y="28"/>
                    </a:lnTo>
                    <a:lnTo>
                      <a:pt x="214" y="36"/>
                    </a:lnTo>
                    <a:lnTo>
                      <a:pt x="208" y="42"/>
                    </a:lnTo>
                    <a:lnTo>
                      <a:pt x="200" y="36"/>
                    </a:lnTo>
                    <a:lnTo>
                      <a:pt x="194" y="36"/>
                    </a:lnTo>
                    <a:lnTo>
                      <a:pt x="186" y="36"/>
                    </a:lnTo>
                    <a:lnTo>
                      <a:pt x="180" y="36"/>
                    </a:lnTo>
                    <a:lnTo>
                      <a:pt x="180" y="28"/>
                    </a:lnTo>
                    <a:lnTo>
                      <a:pt x="172" y="22"/>
                    </a:lnTo>
                    <a:lnTo>
                      <a:pt x="166" y="22"/>
                    </a:lnTo>
                    <a:lnTo>
                      <a:pt x="166" y="28"/>
                    </a:lnTo>
                    <a:lnTo>
                      <a:pt x="166" y="42"/>
                    </a:lnTo>
                    <a:lnTo>
                      <a:pt x="160" y="42"/>
                    </a:lnTo>
                    <a:lnTo>
                      <a:pt x="152" y="50"/>
                    </a:lnTo>
                    <a:lnTo>
                      <a:pt x="146" y="56"/>
                    </a:lnTo>
                    <a:lnTo>
                      <a:pt x="146" y="62"/>
                    </a:lnTo>
                    <a:lnTo>
                      <a:pt x="138" y="56"/>
                    </a:lnTo>
                    <a:lnTo>
                      <a:pt x="132" y="50"/>
                    </a:lnTo>
                    <a:lnTo>
                      <a:pt x="124" y="42"/>
                    </a:lnTo>
                    <a:lnTo>
                      <a:pt x="124" y="36"/>
                    </a:lnTo>
                    <a:lnTo>
                      <a:pt x="124" y="28"/>
                    </a:lnTo>
                    <a:lnTo>
                      <a:pt x="118" y="22"/>
                    </a:lnTo>
                    <a:lnTo>
                      <a:pt x="110" y="22"/>
                    </a:lnTo>
                    <a:lnTo>
                      <a:pt x="104" y="28"/>
                    </a:lnTo>
                    <a:lnTo>
                      <a:pt x="104" y="36"/>
                    </a:lnTo>
                    <a:lnTo>
                      <a:pt x="96" y="50"/>
                    </a:lnTo>
                    <a:lnTo>
                      <a:pt x="90" y="50"/>
                    </a:lnTo>
                    <a:lnTo>
                      <a:pt x="76" y="50"/>
                    </a:lnTo>
                    <a:lnTo>
                      <a:pt x="68" y="42"/>
                    </a:lnTo>
                    <a:lnTo>
                      <a:pt x="42" y="50"/>
                    </a:lnTo>
                    <a:lnTo>
                      <a:pt x="34" y="50"/>
                    </a:lnTo>
                    <a:lnTo>
                      <a:pt x="34" y="56"/>
                    </a:lnTo>
                    <a:lnTo>
                      <a:pt x="28" y="56"/>
                    </a:lnTo>
                    <a:lnTo>
                      <a:pt x="28" y="62"/>
                    </a:lnTo>
                    <a:lnTo>
                      <a:pt x="34" y="70"/>
                    </a:lnTo>
                    <a:lnTo>
                      <a:pt x="34" y="76"/>
                    </a:lnTo>
                    <a:lnTo>
                      <a:pt x="42" y="84"/>
                    </a:lnTo>
                    <a:lnTo>
                      <a:pt x="34" y="90"/>
                    </a:lnTo>
                    <a:lnTo>
                      <a:pt x="28" y="96"/>
                    </a:lnTo>
                    <a:lnTo>
                      <a:pt x="20" y="104"/>
                    </a:lnTo>
                    <a:lnTo>
                      <a:pt x="14" y="104"/>
                    </a:lnTo>
                    <a:lnTo>
                      <a:pt x="6" y="104"/>
                    </a:lnTo>
                    <a:lnTo>
                      <a:pt x="0" y="104"/>
                    </a:lnTo>
                    <a:lnTo>
                      <a:pt x="0" y="110"/>
                    </a:lnTo>
                    <a:lnTo>
                      <a:pt x="6" y="118"/>
                    </a:lnTo>
                    <a:lnTo>
                      <a:pt x="14" y="118"/>
                    </a:lnTo>
                    <a:lnTo>
                      <a:pt x="20" y="126"/>
                    </a:lnTo>
                    <a:lnTo>
                      <a:pt x="20" y="132"/>
                    </a:lnTo>
                    <a:lnTo>
                      <a:pt x="20" y="138"/>
                    </a:lnTo>
                    <a:lnTo>
                      <a:pt x="14" y="146"/>
                    </a:lnTo>
                    <a:lnTo>
                      <a:pt x="14" y="152"/>
                    </a:lnTo>
                    <a:lnTo>
                      <a:pt x="14" y="166"/>
                    </a:lnTo>
                    <a:lnTo>
                      <a:pt x="14" y="172"/>
                    </a:lnTo>
                    <a:lnTo>
                      <a:pt x="20" y="186"/>
                    </a:lnTo>
                    <a:lnTo>
                      <a:pt x="28" y="186"/>
                    </a:lnTo>
                    <a:lnTo>
                      <a:pt x="42" y="186"/>
                    </a:lnTo>
                    <a:lnTo>
                      <a:pt x="48" y="194"/>
                    </a:lnTo>
                    <a:lnTo>
                      <a:pt x="42" y="200"/>
                    </a:lnTo>
                    <a:lnTo>
                      <a:pt x="42" y="208"/>
                    </a:lnTo>
                    <a:lnTo>
                      <a:pt x="34" y="214"/>
                    </a:lnTo>
                    <a:lnTo>
                      <a:pt x="28" y="220"/>
                    </a:lnTo>
                    <a:lnTo>
                      <a:pt x="28" y="220"/>
                    </a:lnTo>
                    <a:lnTo>
                      <a:pt x="28" y="220"/>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1" name="Freeform 45"/>
              <p:cNvSpPr>
                <a:spLocks/>
              </p:cNvSpPr>
              <p:nvPr/>
            </p:nvSpPr>
            <p:spPr bwMode="gray">
              <a:xfrm>
                <a:off x="4104632" y="3514604"/>
                <a:ext cx="393788" cy="206421"/>
              </a:xfrm>
              <a:custGeom>
                <a:avLst/>
                <a:gdLst>
                  <a:gd name="T0" fmla="*/ 36 w 248"/>
                  <a:gd name="T1" fmla="*/ 104 h 130"/>
                  <a:gd name="T2" fmla="*/ 42 w 248"/>
                  <a:gd name="T3" fmla="*/ 96 h 130"/>
                  <a:gd name="T4" fmla="*/ 36 w 248"/>
                  <a:gd name="T5" fmla="*/ 82 h 130"/>
                  <a:gd name="T6" fmla="*/ 48 w 248"/>
                  <a:gd name="T7" fmla="*/ 82 h 130"/>
                  <a:gd name="T8" fmla="*/ 42 w 248"/>
                  <a:gd name="T9" fmla="*/ 62 h 130"/>
                  <a:gd name="T10" fmla="*/ 36 w 248"/>
                  <a:gd name="T11" fmla="*/ 68 h 130"/>
                  <a:gd name="T12" fmla="*/ 22 w 248"/>
                  <a:gd name="T13" fmla="*/ 82 h 130"/>
                  <a:gd name="T14" fmla="*/ 0 w 248"/>
                  <a:gd name="T15" fmla="*/ 74 h 130"/>
                  <a:gd name="T16" fmla="*/ 22 w 248"/>
                  <a:gd name="T17" fmla="*/ 48 h 130"/>
                  <a:gd name="T18" fmla="*/ 28 w 248"/>
                  <a:gd name="T19" fmla="*/ 34 h 130"/>
                  <a:gd name="T20" fmla="*/ 56 w 248"/>
                  <a:gd name="T21" fmla="*/ 28 h 130"/>
                  <a:gd name="T22" fmla="*/ 62 w 248"/>
                  <a:gd name="T23" fmla="*/ 6 h 130"/>
                  <a:gd name="T24" fmla="*/ 76 w 248"/>
                  <a:gd name="T25" fmla="*/ 6 h 130"/>
                  <a:gd name="T26" fmla="*/ 90 w 248"/>
                  <a:gd name="T27" fmla="*/ 0 h 130"/>
                  <a:gd name="T28" fmla="*/ 98 w 248"/>
                  <a:gd name="T29" fmla="*/ 0 h 130"/>
                  <a:gd name="T30" fmla="*/ 104 w 248"/>
                  <a:gd name="T31" fmla="*/ 0 h 130"/>
                  <a:gd name="T32" fmla="*/ 126 w 248"/>
                  <a:gd name="T33" fmla="*/ 6 h 130"/>
                  <a:gd name="T34" fmla="*/ 138 w 248"/>
                  <a:gd name="T35" fmla="*/ 6 h 130"/>
                  <a:gd name="T36" fmla="*/ 152 w 248"/>
                  <a:gd name="T37" fmla="*/ 6 h 130"/>
                  <a:gd name="T38" fmla="*/ 174 w 248"/>
                  <a:gd name="T39" fmla="*/ 6 h 130"/>
                  <a:gd name="T40" fmla="*/ 180 w 248"/>
                  <a:gd name="T41" fmla="*/ 14 h 130"/>
                  <a:gd name="T42" fmla="*/ 186 w 248"/>
                  <a:gd name="T43" fmla="*/ 20 h 130"/>
                  <a:gd name="T44" fmla="*/ 200 w 248"/>
                  <a:gd name="T45" fmla="*/ 34 h 130"/>
                  <a:gd name="T46" fmla="*/ 194 w 248"/>
                  <a:gd name="T47" fmla="*/ 48 h 130"/>
                  <a:gd name="T48" fmla="*/ 200 w 248"/>
                  <a:gd name="T49" fmla="*/ 54 h 130"/>
                  <a:gd name="T50" fmla="*/ 214 w 248"/>
                  <a:gd name="T51" fmla="*/ 62 h 130"/>
                  <a:gd name="T52" fmla="*/ 248 w 248"/>
                  <a:gd name="T53" fmla="*/ 68 h 130"/>
                  <a:gd name="T54" fmla="*/ 242 w 248"/>
                  <a:gd name="T55" fmla="*/ 74 h 130"/>
                  <a:gd name="T56" fmla="*/ 242 w 248"/>
                  <a:gd name="T57" fmla="*/ 90 h 130"/>
                  <a:gd name="T58" fmla="*/ 228 w 248"/>
                  <a:gd name="T59" fmla="*/ 82 h 130"/>
                  <a:gd name="T60" fmla="*/ 214 w 248"/>
                  <a:gd name="T61" fmla="*/ 96 h 130"/>
                  <a:gd name="T62" fmla="*/ 214 w 248"/>
                  <a:gd name="T63" fmla="*/ 110 h 130"/>
                  <a:gd name="T64" fmla="*/ 200 w 248"/>
                  <a:gd name="T65" fmla="*/ 104 h 130"/>
                  <a:gd name="T66" fmla="*/ 186 w 248"/>
                  <a:gd name="T67" fmla="*/ 104 h 130"/>
                  <a:gd name="T68" fmla="*/ 180 w 248"/>
                  <a:gd name="T69" fmla="*/ 90 h 130"/>
                  <a:gd name="T70" fmla="*/ 174 w 248"/>
                  <a:gd name="T71" fmla="*/ 96 h 130"/>
                  <a:gd name="T72" fmla="*/ 166 w 248"/>
                  <a:gd name="T73" fmla="*/ 110 h 130"/>
                  <a:gd name="T74" fmla="*/ 152 w 248"/>
                  <a:gd name="T75" fmla="*/ 124 h 130"/>
                  <a:gd name="T76" fmla="*/ 146 w 248"/>
                  <a:gd name="T77" fmla="*/ 124 h 130"/>
                  <a:gd name="T78" fmla="*/ 132 w 248"/>
                  <a:gd name="T79" fmla="*/ 110 h 130"/>
                  <a:gd name="T80" fmla="*/ 132 w 248"/>
                  <a:gd name="T81" fmla="*/ 96 h 130"/>
                  <a:gd name="T82" fmla="*/ 118 w 248"/>
                  <a:gd name="T83" fmla="*/ 90 h 130"/>
                  <a:gd name="T84" fmla="*/ 112 w 248"/>
                  <a:gd name="T85" fmla="*/ 104 h 130"/>
                  <a:gd name="T86" fmla="*/ 98 w 248"/>
                  <a:gd name="T87" fmla="*/ 116 h 130"/>
                  <a:gd name="T88" fmla="*/ 76 w 248"/>
                  <a:gd name="T89" fmla="*/ 110 h 130"/>
                  <a:gd name="T90" fmla="*/ 42 w 248"/>
                  <a:gd name="T91" fmla="*/ 110 h 130"/>
                  <a:gd name="T92" fmla="*/ 42 w 248"/>
                  <a:gd name="T93" fmla="*/ 11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8" h="130">
                    <a:moveTo>
                      <a:pt x="42" y="110"/>
                    </a:moveTo>
                    <a:lnTo>
                      <a:pt x="36" y="104"/>
                    </a:lnTo>
                    <a:lnTo>
                      <a:pt x="36" y="96"/>
                    </a:lnTo>
                    <a:lnTo>
                      <a:pt x="42" y="96"/>
                    </a:lnTo>
                    <a:lnTo>
                      <a:pt x="36" y="90"/>
                    </a:lnTo>
                    <a:lnTo>
                      <a:pt x="36" y="82"/>
                    </a:lnTo>
                    <a:lnTo>
                      <a:pt x="42" y="82"/>
                    </a:lnTo>
                    <a:lnTo>
                      <a:pt x="48" y="82"/>
                    </a:lnTo>
                    <a:lnTo>
                      <a:pt x="48" y="74"/>
                    </a:lnTo>
                    <a:lnTo>
                      <a:pt x="42" y="62"/>
                    </a:lnTo>
                    <a:lnTo>
                      <a:pt x="36" y="62"/>
                    </a:lnTo>
                    <a:lnTo>
                      <a:pt x="36" y="68"/>
                    </a:lnTo>
                    <a:lnTo>
                      <a:pt x="28" y="68"/>
                    </a:lnTo>
                    <a:lnTo>
                      <a:pt x="22" y="82"/>
                    </a:lnTo>
                    <a:lnTo>
                      <a:pt x="8" y="90"/>
                    </a:lnTo>
                    <a:lnTo>
                      <a:pt x="0" y="74"/>
                    </a:lnTo>
                    <a:lnTo>
                      <a:pt x="8" y="62"/>
                    </a:lnTo>
                    <a:lnTo>
                      <a:pt x="22" y="48"/>
                    </a:lnTo>
                    <a:lnTo>
                      <a:pt x="22" y="42"/>
                    </a:lnTo>
                    <a:lnTo>
                      <a:pt x="28" y="34"/>
                    </a:lnTo>
                    <a:lnTo>
                      <a:pt x="42" y="34"/>
                    </a:lnTo>
                    <a:lnTo>
                      <a:pt x="56" y="28"/>
                    </a:lnTo>
                    <a:lnTo>
                      <a:pt x="62" y="14"/>
                    </a:lnTo>
                    <a:lnTo>
                      <a:pt x="62" y="6"/>
                    </a:lnTo>
                    <a:lnTo>
                      <a:pt x="70" y="0"/>
                    </a:lnTo>
                    <a:lnTo>
                      <a:pt x="76" y="6"/>
                    </a:lnTo>
                    <a:lnTo>
                      <a:pt x="84" y="14"/>
                    </a:lnTo>
                    <a:lnTo>
                      <a:pt x="90" y="0"/>
                    </a:lnTo>
                    <a:lnTo>
                      <a:pt x="98" y="6"/>
                    </a:lnTo>
                    <a:lnTo>
                      <a:pt x="98" y="0"/>
                    </a:lnTo>
                    <a:lnTo>
                      <a:pt x="104" y="6"/>
                    </a:lnTo>
                    <a:lnTo>
                      <a:pt x="104" y="0"/>
                    </a:lnTo>
                    <a:lnTo>
                      <a:pt x="118" y="6"/>
                    </a:lnTo>
                    <a:lnTo>
                      <a:pt x="126" y="6"/>
                    </a:lnTo>
                    <a:lnTo>
                      <a:pt x="132" y="6"/>
                    </a:lnTo>
                    <a:lnTo>
                      <a:pt x="138" y="6"/>
                    </a:lnTo>
                    <a:lnTo>
                      <a:pt x="146" y="6"/>
                    </a:lnTo>
                    <a:lnTo>
                      <a:pt x="152" y="6"/>
                    </a:lnTo>
                    <a:lnTo>
                      <a:pt x="160" y="6"/>
                    </a:lnTo>
                    <a:lnTo>
                      <a:pt x="174" y="6"/>
                    </a:lnTo>
                    <a:lnTo>
                      <a:pt x="174" y="14"/>
                    </a:lnTo>
                    <a:lnTo>
                      <a:pt x="180" y="14"/>
                    </a:lnTo>
                    <a:lnTo>
                      <a:pt x="186" y="14"/>
                    </a:lnTo>
                    <a:lnTo>
                      <a:pt x="186" y="20"/>
                    </a:lnTo>
                    <a:lnTo>
                      <a:pt x="200" y="28"/>
                    </a:lnTo>
                    <a:lnTo>
                      <a:pt x="200" y="34"/>
                    </a:lnTo>
                    <a:lnTo>
                      <a:pt x="194" y="42"/>
                    </a:lnTo>
                    <a:lnTo>
                      <a:pt x="194" y="48"/>
                    </a:lnTo>
                    <a:lnTo>
                      <a:pt x="200" y="48"/>
                    </a:lnTo>
                    <a:lnTo>
                      <a:pt x="200" y="54"/>
                    </a:lnTo>
                    <a:lnTo>
                      <a:pt x="208" y="54"/>
                    </a:lnTo>
                    <a:lnTo>
                      <a:pt x="214" y="62"/>
                    </a:lnTo>
                    <a:lnTo>
                      <a:pt x="222" y="68"/>
                    </a:lnTo>
                    <a:lnTo>
                      <a:pt x="248" y="68"/>
                    </a:lnTo>
                    <a:lnTo>
                      <a:pt x="242" y="68"/>
                    </a:lnTo>
                    <a:lnTo>
                      <a:pt x="242" y="74"/>
                    </a:lnTo>
                    <a:lnTo>
                      <a:pt x="242" y="82"/>
                    </a:lnTo>
                    <a:lnTo>
                      <a:pt x="242" y="90"/>
                    </a:lnTo>
                    <a:lnTo>
                      <a:pt x="236" y="90"/>
                    </a:lnTo>
                    <a:lnTo>
                      <a:pt x="228" y="82"/>
                    </a:lnTo>
                    <a:lnTo>
                      <a:pt x="222" y="90"/>
                    </a:lnTo>
                    <a:lnTo>
                      <a:pt x="214" y="96"/>
                    </a:lnTo>
                    <a:lnTo>
                      <a:pt x="222" y="104"/>
                    </a:lnTo>
                    <a:lnTo>
                      <a:pt x="214" y="110"/>
                    </a:lnTo>
                    <a:lnTo>
                      <a:pt x="208" y="104"/>
                    </a:lnTo>
                    <a:lnTo>
                      <a:pt x="200" y="104"/>
                    </a:lnTo>
                    <a:lnTo>
                      <a:pt x="194" y="104"/>
                    </a:lnTo>
                    <a:lnTo>
                      <a:pt x="186" y="104"/>
                    </a:lnTo>
                    <a:lnTo>
                      <a:pt x="186" y="96"/>
                    </a:lnTo>
                    <a:lnTo>
                      <a:pt x="180" y="90"/>
                    </a:lnTo>
                    <a:lnTo>
                      <a:pt x="174" y="90"/>
                    </a:lnTo>
                    <a:lnTo>
                      <a:pt x="174" y="96"/>
                    </a:lnTo>
                    <a:lnTo>
                      <a:pt x="174" y="110"/>
                    </a:lnTo>
                    <a:lnTo>
                      <a:pt x="166" y="110"/>
                    </a:lnTo>
                    <a:lnTo>
                      <a:pt x="160" y="116"/>
                    </a:lnTo>
                    <a:lnTo>
                      <a:pt x="152" y="124"/>
                    </a:lnTo>
                    <a:lnTo>
                      <a:pt x="152" y="130"/>
                    </a:lnTo>
                    <a:lnTo>
                      <a:pt x="146" y="124"/>
                    </a:lnTo>
                    <a:lnTo>
                      <a:pt x="138" y="116"/>
                    </a:lnTo>
                    <a:lnTo>
                      <a:pt x="132" y="110"/>
                    </a:lnTo>
                    <a:lnTo>
                      <a:pt x="132" y="104"/>
                    </a:lnTo>
                    <a:lnTo>
                      <a:pt x="132" y="96"/>
                    </a:lnTo>
                    <a:lnTo>
                      <a:pt x="126" y="90"/>
                    </a:lnTo>
                    <a:lnTo>
                      <a:pt x="118" y="90"/>
                    </a:lnTo>
                    <a:lnTo>
                      <a:pt x="112" y="96"/>
                    </a:lnTo>
                    <a:lnTo>
                      <a:pt x="112" y="104"/>
                    </a:lnTo>
                    <a:lnTo>
                      <a:pt x="104" y="116"/>
                    </a:lnTo>
                    <a:lnTo>
                      <a:pt x="98" y="116"/>
                    </a:lnTo>
                    <a:lnTo>
                      <a:pt x="84" y="116"/>
                    </a:lnTo>
                    <a:lnTo>
                      <a:pt x="76" y="110"/>
                    </a:lnTo>
                    <a:lnTo>
                      <a:pt x="48" y="116"/>
                    </a:lnTo>
                    <a:lnTo>
                      <a:pt x="42" y="110"/>
                    </a:lnTo>
                    <a:lnTo>
                      <a:pt x="42" y="110"/>
                    </a:lnTo>
                    <a:lnTo>
                      <a:pt x="42" y="11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2" name="Freeform 46"/>
              <p:cNvSpPr>
                <a:spLocks/>
              </p:cNvSpPr>
              <p:nvPr>
                <p:custDataLst>
                  <p:tags r:id="rId140"/>
                </p:custDataLst>
              </p:nvPr>
            </p:nvSpPr>
            <p:spPr bwMode="gray">
              <a:xfrm>
                <a:off x="4412675" y="3425684"/>
                <a:ext cx="639905" cy="292165"/>
              </a:xfrm>
              <a:custGeom>
                <a:avLst/>
                <a:gdLst>
                  <a:gd name="T0" fmla="*/ 347 w 403"/>
                  <a:gd name="T1" fmla="*/ 164 h 184"/>
                  <a:gd name="T2" fmla="*/ 341 w 403"/>
                  <a:gd name="T3" fmla="*/ 164 h 184"/>
                  <a:gd name="T4" fmla="*/ 319 w 403"/>
                  <a:gd name="T5" fmla="*/ 164 h 184"/>
                  <a:gd name="T6" fmla="*/ 298 w 403"/>
                  <a:gd name="T7" fmla="*/ 164 h 184"/>
                  <a:gd name="T8" fmla="*/ 284 w 403"/>
                  <a:gd name="T9" fmla="*/ 178 h 184"/>
                  <a:gd name="T10" fmla="*/ 262 w 403"/>
                  <a:gd name="T11" fmla="*/ 184 h 184"/>
                  <a:gd name="T12" fmla="*/ 242 w 403"/>
                  <a:gd name="T13" fmla="*/ 178 h 184"/>
                  <a:gd name="T14" fmla="*/ 228 w 403"/>
                  <a:gd name="T15" fmla="*/ 178 h 184"/>
                  <a:gd name="T16" fmla="*/ 200 w 403"/>
                  <a:gd name="T17" fmla="*/ 164 h 184"/>
                  <a:gd name="T18" fmla="*/ 174 w 403"/>
                  <a:gd name="T19" fmla="*/ 164 h 184"/>
                  <a:gd name="T20" fmla="*/ 152 w 403"/>
                  <a:gd name="T21" fmla="*/ 150 h 184"/>
                  <a:gd name="T22" fmla="*/ 138 w 403"/>
                  <a:gd name="T23" fmla="*/ 130 h 184"/>
                  <a:gd name="T24" fmla="*/ 110 w 403"/>
                  <a:gd name="T25" fmla="*/ 130 h 184"/>
                  <a:gd name="T26" fmla="*/ 90 w 403"/>
                  <a:gd name="T27" fmla="*/ 124 h 184"/>
                  <a:gd name="T28" fmla="*/ 70 w 403"/>
                  <a:gd name="T29" fmla="*/ 138 h 184"/>
                  <a:gd name="T30" fmla="*/ 62 w 403"/>
                  <a:gd name="T31" fmla="*/ 124 h 184"/>
                  <a:gd name="T32" fmla="*/ 20 w 403"/>
                  <a:gd name="T33" fmla="*/ 116 h 184"/>
                  <a:gd name="T34" fmla="*/ 6 w 403"/>
                  <a:gd name="T35" fmla="*/ 104 h 184"/>
                  <a:gd name="T36" fmla="*/ 6 w 403"/>
                  <a:gd name="T37" fmla="*/ 88 h 184"/>
                  <a:gd name="T38" fmla="*/ 20 w 403"/>
                  <a:gd name="T39" fmla="*/ 76 h 184"/>
                  <a:gd name="T40" fmla="*/ 40 w 403"/>
                  <a:gd name="T41" fmla="*/ 88 h 184"/>
                  <a:gd name="T42" fmla="*/ 62 w 403"/>
                  <a:gd name="T43" fmla="*/ 88 h 184"/>
                  <a:gd name="T44" fmla="*/ 82 w 403"/>
                  <a:gd name="T45" fmla="*/ 88 h 184"/>
                  <a:gd name="T46" fmla="*/ 104 w 403"/>
                  <a:gd name="T47" fmla="*/ 82 h 184"/>
                  <a:gd name="T48" fmla="*/ 124 w 403"/>
                  <a:gd name="T49" fmla="*/ 88 h 184"/>
                  <a:gd name="T50" fmla="*/ 152 w 403"/>
                  <a:gd name="T51" fmla="*/ 82 h 184"/>
                  <a:gd name="T52" fmla="*/ 166 w 403"/>
                  <a:gd name="T53" fmla="*/ 82 h 184"/>
                  <a:gd name="T54" fmla="*/ 186 w 403"/>
                  <a:gd name="T55" fmla="*/ 96 h 184"/>
                  <a:gd name="T56" fmla="*/ 194 w 403"/>
                  <a:gd name="T57" fmla="*/ 104 h 184"/>
                  <a:gd name="T58" fmla="*/ 200 w 403"/>
                  <a:gd name="T59" fmla="*/ 88 h 184"/>
                  <a:gd name="T60" fmla="*/ 194 w 403"/>
                  <a:gd name="T61" fmla="*/ 68 h 184"/>
                  <a:gd name="T62" fmla="*/ 186 w 403"/>
                  <a:gd name="T63" fmla="*/ 42 h 184"/>
                  <a:gd name="T64" fmla="*/ 222 w 403"/>
                  <a:gd name="T65" fmla="*/ 28 h 184"/>
                  <a:gd name="T66" fmla="*/ 236 w 403"/>
                  <a:gd name="T67" fmla="*/ 20 h 184"/>
                  <a:gd name="T68" fmla="*/ 250 w 403"/>
                  <a:gd name="T69" fmla="*/ 14 h 184"/>
                  <a:gd name="T70" fmla="*/ 284 w 403"/>
                  <a:gd name="T71" fmla="*/ 20 h 184"/>
                  <a:gd name="T72" fmla="*/ 290 w 403"/>
                  <a:gd name="T73" fmla="*/ 0 h 184"/>
                  <a:gd name="T74" fmla="*/ 319 w 403"/>
                  <a:gd name="T75" fmla="*/ 0 h 184"/>
                  <a:gd name="T76" fmla="*/ 341 w 403"/>
                  <a:gd name="T77" fmla="*/ 6 h 184"/>
                  <a:gd name="T78" fmla="*/ 369 w 403"/>
                  <a:gd name="T79" fmla="*/ 14 h 184"/>
                  <a:gd name="T80" fmla="*/ 381 w 403"/>
                  <a:gd name="T81" fmla="*/ 28 h 184"/>
                  <a:gd name="T82" fmla="*/ 403 w 403"/>
                  <a:gd name="T83" fmla="*/ 34 h 184"/>
                  <a:gd name="T84" fmla="*/ 395 w 403"/>
                  <a:gd name="T85" fmla="*/ 54 h 184"/>
                  <a:gd name="T86" fmla="*/ 395 w 403"/>
                  <a:gd name="T87" fmla="*/ 88 h 184"/>
                  <a:gd name="T88" fmla="*/ 389 w 403"/>
                  <a:gd name="T89" fmla="*/ 88 h 184"/>
                  <a:gd name="T90" fmla="*/ 375 w 403"/>
                  <a:gd name="T91" fmla="*/ 96 h 184"/>
                  <a:gd name="T92" fmla="*/ 381 w 403"/>
                  <a:gd name="T93" fmla="*/ 116 h 184"/>
                  <a:gd name="T94" fmla="*/ 369 w 403"/>
                  <a:gd name="T95" fmla="*/ 144 h 184"/>
                  <a:gd name="T96" fmla="*/ 355 w 403"/>
                  <a:gd name="T97" fmla="*/ 164 h 184"/>
                  <a:gd name="T98" fmla="*/ 355 w 403"/>
                  <a:gd name="T99" fmla="*/ 158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3" h="184">
                    <a:moveTo>
                      <a:pt x="355" y="158"/>
                    </a:moveTo>
                    <a:lnTo>
                      <a:pt x="355" y="164"/>
                    </a:lnTo>
                    <a:lnTo>
                      <a:pt x="347" y="164"/>
                    </a:lnTo>
                    <a:lnTo>
                      <a:pt x="347" y="172"/>
                    </a:lnTo>
                    <a:lnTo>
                      <a:pt x="341" y="172"/>
                    </a:lnTo>
                    <a:lnTo>
                      <a:pt x="341" y="164"/>
                    </a:lnTo>
                    <a:lnTo>
                      <a:pt x="333" y="164"/>
                    </a:lnTo>
                    <a:lnTo>
                      <a:pt x="327" y="164"/>
                    </a:lnTo>
                    <a:lnTo>
                      <a:pt x="319" y="164"/>
                    </a:lnTo>
                    <a:lnTo>
                      <a:pt x="313" y="164"/>
                    </a:lnTo>
                    <a:lnTo>
                      <a:pt x="305" y="164"/>
                    </a:lnTo>
                    <a:lnTo>
                      <a:pt x="298" y="164"/>
                    </a:lnTo>
                    <a:lnTo>
                      <a:pt x="290" y="164"/>
                    </a:lnTo>
                    <a:lnTo>
                      <a:pt x="290" y="172"/>
                    </a:lnTo>
                    <a:lnTo>
                      <a:pt x="284" y="178"/>
                    </a:lnTo>
                    <a:lnTo>
                      <a:pt x="276" y="178"/>
                    </a:lnTo>
                    <a:lnTo>
                      <a:pt x="270" y="178"/>
                    </a:lnTo>
                    <a:lnTo>
                      <a:pt x="262" y="184"/>
                    </a:lnTo>
                    <a:lnTo>
                      <a:pt x="256" y="184"/>
                    </a:lnTo>
                    <a:lnTo>
                      <a:pt x="250" y="178"/>
                    </a:lnTo>
                    <a:lnTo>
                      <a:pt x="242" y="178"/>
                    </a:lnTo>
                    <a:lnTo>
                      <a:pt x="236" y="178"/>
                    </a:lnTo>
                    <a:lnTo>
                      <a:pt x="228" y="172"/>
                    </a:lnTo>
                    <a:lnTo>
                      <a:pt x="228" y="178"/>
                    </a:lnTo>
                    <a:lnTo>
                      <a:pt x="214" y="172"/>
                    </a:lnTo>
                    <a:lnTo>
                      <a:pt x="208" y="172"/>
                    </a:lnTo>
                    <a:lnTo>
                      <a:pt x="200" y="164"/>
                    </a:lnTo>
                    <a:lnTo>
                      <a:pt x="186" y="164"/>
                    </a:lnTo>
                    <a:lnTo>
                      <a:pt x="180" y="164"/>
                    </a:lnTo>
                    <a:lnTo>
                      <a:pt x="174" y="164"/>
                    </a:lnTo>
                    <a:lnTo>
                      <a:pt x="166" y="164"/>
                    </a:lnTo>
                    <a:lnTo>
                      <a:pt x="160" y="158"/>
                    </a:lnTo>
                    <a:lnTo>
                      <a:pt x="152" y="150"/>
                    </a:lnTo>
                    <a:lnTo>
                      <a:pt x="152" y="144"/>
                    </a:lnTo>
                    <a:lnTo>
                      <a:pt x="144" y="138"/>
                    </a:lnTo>
                    <a:lnTo>
                      <a:pt x="138" y="130"/>
                    </a:lnTo>
                    <a:lnTo>
                      <a:pt x="124" y="130"/>
                    </a:lnTo>
                    <a:lnTo>
                      <a:pt x="118" y="130"/>
                    </a:lnTo>
                    <a:lnTo>
                      <a:pt x="110" y="130"/>
                    </a:lnTo>
                    <a:lnTo>
                      <a:pt x="104" y="130"/>
                    </a:lnTo>
                    <a:lnTo>
                      <a:pt x="96" y="124"/>
                    </a:lnTo>
                    <a:lnTo>
                      <a:pt x="90" y="124"/>
                    </a:lnTo>
                    <a:lnTo>
                      <a:pt x="90" y="130"/>
                    </a:lnTo>
                    <a:lnTo>
                      <a:pt x="76" y="138"/>
                    </a:lnTo>
                    <a:lnTo>
                      <a:pt x="70" y="138"/>
                    </a:lnTo>
                    <a:lnTo>
                      <a:pt x="62" y="138"/>
                    </a:lnTo>
                    <a:lnTo>
                      <a:pt x="62" y="130"/>
                    </a:lnTo>
                    <a:lnTo>
                      <a:pt x="62" y="124"/>
                    </a:lnTo>
                    <a:lnTo>
                      <a:pt x="56" y="124"/>
                    </a:lnTo>
                    <a:lnTo>
                      <a:pt x="28" y="124"/>
                    </a:lnTo>
                    <a:lnTo>
                      <a:pt x="20" y="116"/>
                    </a:lnTo>
                    <a:lnTo>
                      <a:pt x="14" y="110"/>
                    </a:lnTo>
                    <a:lnTo>
                      <a:pt x="6" y="110"/>
                    </a:lnTo>
                    <a:lnTo>
                      <a:pt x="6" y="104"/>
                    </a:lnTo>
                    <a:lnTo>
                      <a:pt x="0" y="104"/>
                    </a:lnTo>
                    <a:lnTo>
                      <a:pt x="0" y="96"/>
                    </a:lnTo>
                    <a:lnTo>
                      <a:pt x="6" y="88"/>
                    </a:lnTo>
                    <a:lnTo>
                      <a:pt x="6" y="82"/>
                    </a:lnTo>
                    <a:lnTo>
                      <a:pt x="14" y="76"/>
                    </a:lnTo>
                    <a:lnTo>
                      <a:pt x="20" y="76"/>
                    </a:lnTo>
                    <a:lnTo>
                      <a:pt x="28" y="82"/>
                    </a:lnTo>
                    <a:lnTo>
                      <a:pt x="34" y="88"/>
                    </a:lnTo>
                    <a:lnTo>
                      <a:pt x="40" y="88"/>
                    </a:lnTo>
                    <a:lnTo>
                      <a:pt x="48" y="96"/>
                    </a:lnTo>
                    <a:lnTo>
                      <a:pt x="56" y="88"/>
                    </a:lnTo>
                    <a:lnTo>
                      <a:pt x="62" y="88"/>
                    </a:lnTo>
                    <a:lnTo>
                      <a:pt x="70" y="76"/>
                    </a:lnTo>
                    <a:lnTo>
                      <a:pt x="82" y="82"/>
                    </a:lnTo>
                    <a:lnTo>
                      <a:pt x="82" y="88"/>
                    </a:lnTo>
                    <a:lnTo>
                      <a:pt x="90" y="88"/>
                    </a:lnTo>
                    <a:lnTo>
                      <a:pt x="96" y="88"/>
                    </a:lnTo>
                    <a:lnTo>
                      <a:pt x="104" y="82"/>
                    </a:lnTo>
                    <a:lnTo>
                      <a:pt x="110" y="88"/>
                    </a:lnTo>
                    <a:lnTo>
                      <a:pt x="118" y="88"/>
                    </a:lnTo>
                    <a:lnTo>
                      <a:pt x="124" y="88"/>
                    </a:lnTo>
                    <a:lnTo>
                      <a:pt x="132" y="82"/>
                    </a:lnTo>
                    <a:lnTo>
                      <a:pt x="138" y="82"/>
                    </a:lnTo>
                    <a:lnTo>
                      <a:pt x="152" y="82"/>
                    </a:lnTo>
                    <a:lnTo>
                      <a:pt x="160" y="82"/>
                    </a:lnTo>
                    <a:lnTo>
                      <a:pt x="166" y="88"/>
                    </a:lnTo>
                    <a:lnTo>
                      <a:pt x="166" y="82"/>
                    </a:lnTo>
                    <a:lnTo>
                      <a:pt x="174" y="82"/>
                    </a:lnTo>
                    <a:lnTo>
                      <a:pt x="186" y="88"/>
                    </a:lnTo>
                    <a:lnTo>
                      <a:pt x="186" y="96"/>
                    </a:lnTo>
                    <a:lnTo>
                      <a:pt x="186" y="104"/>
                    </a:lnTo>
                    <a:lnTo>
                      <a:pt x="194" y="110"/>
                    </a:lnTo>
                    <a:lnTo>
                      <a:pt x="194" y="104"/>
                    </a:lnTo>
                    <a:lnTo>
                      <a:pt x="200" y="104"/>
                    </a:lnTo>
                    <a:lnTo>
                      <a:pt x="200" y="96"/>
                    </a:lnTo>
                    <a:lnTo>
                      <a:pt x="200" y="88"/>
                    </a:lnTo>
                    <a:lnTo>
                      <a:pt x="194" y="82"/>
                    </a:lnTo>
                    <a:lnTo>
                      <a:pt x="194" y="76"/>
                    </a:lnTo>
                    <a:lnTo>
                      <a:pt x="194" y="68"/>
                    </a:lnTo>
                    <a:lnTo>
                      <a:pt x="186" y="62"/>
                    </a:lnTo>
                    <a:lnTo>
                      <a:pt x="186" y="54"/>
                    </a:lnTo>
                    <a:lnTo>
                      <a:pt x="186" y="42"/>
                    </a:lnTo>
                    <a:lnTo>
                      <a:pt x="208" y="42"/>
                    </a:lnTo>
                    <a:lnTo>
                      <a:pt x="214" y="34"/>
                    </a:lnTo>
                    <a:lnTo>
                      <a:pt x="222" y="28"/>
                    </a:lnTo>
                    <a:lnTo>
                      <a:pt x="222" y="20"/>
                    </a:lnTo>
                    <a:lnTo>
                      <a:pt x="228" y="20"/>
                    </a:lnTo>
                    <a:lnTo>
                      <a:pt x="236" y="20"/>
                    </a:lnTo>
                    <a:lnTo>
                      <a:pt x="242" y="20"/>
                    </a:lnTo>
                    <a:lnTo>
                      <a:pt x="242" y="14"/>
                    </a:lnTo>
                    <a:lnTo>
                      <a:pt x="250" y="14"/>
                    </a:lnTo>
                    <a:lnTo>
                      <a:pt x="256" y="20"/>
                    </a:lnTo>
                    <a:lnTo>
                      <a:pt x="270" y="20"/>
                    </a:lnTo>
                    <a:lnTo>
                      <a:pt x="284" y="20"/>
                    </a:lnTo>
                    <a:lnTo>
                      <a:pt x="290" y="14"/>
                    </a:lnTo>
                    <a:lnTo>
                      <a:pt x="290" y="6"/>
                    </a:lnTo>
                    <a:lnTo>
                      <a:pt x="290" y="0"/>
                    </a:lnTo>
                    <a:lnTo>
                      <a:pt x="298" y="0"/>
                    </a:lnTo>
                    <a:lnTo>
                      <a:pt x="313" y="0"/>
                    </a:lnTo>
                    <a:lnTo>
                      <a:pt x="319" y="0"/>
                    </a:lnTo>
                    <a:lnTo>
                      <a:pt x="327" y="0"/>
                    </a:lnTo>
                    <a:lnTo>
                      <a:pt x="333" y="6"/>
                    </a:lnTo>
                    <a:lnTo>
                      <a:pt x="341" y="6"/>
                    </a:lnTo>
                    <a:lnTo>
                      <a:pt x="355" y="6"/>
                    </a:lnTo>
                    <a:lnTo>
                      <a:pt x="361" y="14"/>
                    </a:lnTo>
                    <a:lnTo>
                      <a:pt x="369" y="14"/>
                    </a:lnTo>
                    <a:lnTo>
                      <a:pt x="369" y="20"/>
                    </a:lnTo>
                    <a:lnTo>
                      <a:pt x="375" y="28"/>
                    </a:lnTo>
                    <a:lnTo>
                      <a:pt x="381" y="28"/>
                    </a:lnTo>
                    <a:lnTo>
                      <a:pt x="389" y="28"/>
                    </a:lnTo>
                    <a:lnTo>
                      <a:pt x="395" y="28"/>
                    </a:lnTo>
                    <a:lnTo>
                      <a:pt x="403" y="34"/>
                    </a:lnTo>
                    <a:lnTo>
                      <a:pt x="395" y="42"/>
                    </a:lnTo>
                    <a:lnTo>
                      <a:pt x="403" y="54"/>
                    </a:lnTo>
                    <a:lnTo>
                      <a:pt x="395" y="54"/>
                    </a:lnTo>
                    <a:lnTo>
                      <a:pt x="403" y="68"/>
                    </a:lnTo>
                    <a:lnTo>
                      <a:pt x="403" y="82"/>
                    </a:lnTo>
                    <a:lnTo>
                      <a:pt x="395" y="88"/>
                    </a:lnTo>
                    <a:lnTo>
                      <a:pt x="395" y="96"/>
                    </a:lnTo>
                    <a:lnTo>
                      <a:pt x="389" y="96"/>
                    </a:lnTo>
                    <a:lnTo>
                      <a:pt x="389" y="88"/>
                    </a:lnTo>
                    <a:lnTo>
                      <a:pt x="381" y="88"/>
                    </a:lnTo>
                    <a:lnTo>
                      <a:pt x="375" y="88"/>
                    </a:lnTo>
                    <a:lnTo>
                      <a:pt x="375" y="96"/>
                    </a:lnTo>
                    <a:lnTo>
                      <a:pt x="381" y="104"/>
                    </a:lnTo>
                    <a:lnTo>
                      <a:pt x="381" y="110"/>
                    </a:lnTo>
                    <a:lnTo>
                      <a:pt x="381" y="116"/>
                    </a:lnTo>
                    <a:lnTo>
                      <a:pt x="375" y="116"/>
                    </a:lnTo>
                    <a:lnTo>
                      <a:pt x="375" y="130"/>
                    </a:lnTo>
                    <a:lnTo>
                      <a:pt x="369" y="144"/>
                    </a:lnTo>
                    <a:lnTo>
                      <a:pt x="361" y="144"/>
                    </a:lnTo>
                    <a:lnTo>
                      <a:pt x="355" y="158"/>
                    </a:lnTo>
                    <a:lnTo>
                      <a:pt x="355" y="164"/>
                    </a:lnTo>
                    <a:lnTo>
                      <a:pt x="355" y="158"/>
                    </a:lnTo>
                    <a:lnTo>
                      <a:pt x="355" y="158"/>
                    </a:lnTo>
                    <a:lnTo>
                      <a:pt x="355" y="158"/>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3" name="Freeform 47"/>
              <p:cNvSpPr>
                <a:spLocks/>
              </p:cNvSpPr>
              <p:nvPr>
                <p:custDataLst>
                  <p:tags r:id="rId141"/>
                </p:custDataLst>
              </p:nvPr>
            </p:nvSpPr>
            <p:spPr bwMode="gray">
              <a:xfrm>
                <a:off x="4193551" y="2673042"/>
                <a:ext cx="741528" cy="930481"/>
              </a:xfrm>
              <a:custGeom>
                <a:avLst/>
                <a:gdLst>
                  <a:gd name="T0" fmla="*/ 14 w 467"/>
                  <a:gd name="T1" fmla="*/ 358 h 586"/>
                  <a:gd name="T2" fmla="*/ 14 w 467"/>
                  <a:gd name="T3" fmla="*/ 392 h 586"/>
                  <a:gd name="T4" fmla="*/ 62 w 467"/>
                  <a:gd name="T5" fmla="*/ 426 h 586"/>
                  <a:gd name="T6" fmla="*/ 62 w 467"/>
                  <a:gd name="T7" fmla="*/ 454 h 586"/>
                  <a:gd name="T8" fmla="*/ 48 w 467"/>
                  <a:gd name="T9" fmla="*/ 502 h 586"/>
                  <a:gd name="T10" fmla="*/ 48 w 467"/>
                  <a:gd name="T11" fmla="*/ 538 h 586"/>
                  <a:gd name="T12" fmla="*/ 84 w 467"/>
                  <a:gd name="T13" fmla="*/ 538 h 586"/>
                  <a:gd name="T14" fmla="*/ 118 w 467"/>
                  <a:gd name="T15" fmla="*/ 544 h 586"/>
                  <a:gd name="T16" fmla="*/ 154 w 467"/>
                  <a:gd name="T17" fmla="*/ 550 h 586"/>
                  <a:gd name="T18" fmla="*/ 188 w 467"/>
                  <a:gd name="T19" fmla="*/ 572 h 586"/>
                  <a:gd name="T20" fmla="*/ 222 w 467"/>
                  <a:gd name="T21" fmla="*/ 564 h 586"/>
                  <a:gd name="T22" fmla="*/ 258 w 467"/>
                  <a:gd name="T23" fmla="*/ 564 h 586"/>
                  <a:gd name="T24" fmla="*/ 298 w 467"/>
                  <a:gd name="T25" fmla="*/ 558 h 586"/>
                  <a:gd name="T26" fmla="*/ 326 w 467"/>
                  <a:gd name="T27" fmla="*/ 572 h 586"/>
                  <a:gd name="T28" fmla="*/ 340 w 467"/>
                  <a:gd name="T29" fmla="*/ 572 h 586"/>
                  <a:gd name="T30" fmla="*/ 326 w 467"/>
                  <a:gd name="T31" fmla="*/ 538 h 586"/>
                  <a:gd name="T32" fmla="*/ 360 w 467"/>
                  <a:gd name="T33" fmla="*/ 502 h 586"/>
                  <a:gd name="T34" fmla="*/ 382 w 467"/>
                  <a:gd name="T35" fmla="*/ 490 h 586"/>
                  <a:gd name="T36" fmla="*/ 354 w 467"/>
                  <a:gd name="T37" fmla="*/ 462 h 586"/>
                  <a:gd name="T38" fmla="*/ 326 w 467"/>
                  <a:gd name="T39" fmla="*/ 414 h 586"/>
                  <a:gd name="T40" fmla="*/ 306 w 467"/>
                  <a:gd name="T41" fmla="*/ 372 h 586"/>
                  <a:gd name="T42" fmla="*/ 320 w 467"/>
                  <a:gd name="T43" fmla="*/ 352 h 586"/>
                  <a:gd name="T44" fmla="*/ 368 w 467"/>
                  <a:gd name="T45" fmla="*/ 344 h 586"/>
                  <a:gd name="T46" fmla="*/ 424 w 467"/>
                  <a:gd name="T47" fmla="*/ 310 h 586"/>
                  <a:gd name="T48" fmla="*/ 465 w 467"/>
                  <a:gd name="T49" fmla="*/ 308 h 586"/>
                  <a:gd name="T50" fmla="*/ 459 w 467"/>
                  <a:gd name="T51" fmla="*/ 264 h 586"/>
                  <a:gd name="T52" fmla="*/ 453 w 467"/>
                  <a:gd name="T53" fmla="*/ 210 h 586"/>
                  <a:gd name="T54" fmla="*/ 434 w 467"/>
                  <a:gd name="T55" fmla="*/ 180 h 586"/>
                  <a:gd name="T56" fmla="*/ 443 w 467"/>
                  <a:gd name="T57" fmla="*/ 140 h 586"/>
                  <a:gd name="T58" fmla="*/ 410 w 467"/>
                  <a:gd name="T59" fmla="*/ 98 h 586"/>
                  <a:gd name="T60" fmla="*/ 382 w 467"/>
                  <a:gd name="T61" fmla="*/ 70 h 586"/>
                  <a:gd name="T62" fmla="*/ 354 w 467"/>
                  <a:gd name="T63" fmla="*/ 70 h 586"/>
                  <a:gd name="T64" fmla="*/ 312 w 467"/>
                  <a:gd name="T65" fmla="*/ 84 h 586"/>
                  <a:gd name="T66" fmla="*/ 284 w 467"/>
                  <a:gd name="T67" fmla="*/ 70 h 586"/>
                  <a:gd name="T68" fmla="*/ 278 w 467"/>
                  <a:gd name="T69" fmla="*/ 56 h 586"/>
                  <a:gd name="T70" fmla="*/ 250 w 467"/>
                  <a:gd name="T71" fmla="*/ 42 h 586"/>
                  <a:gd name="T72" fmla="*/ 236 w 467"/>
                  <a:gd name="T73" fmla="*/ 22 h 586"/>
                  <a:gd name="T74" fmla="*/ 196 w 467"/>
                  <a:gd name="T75" fmla="*/ 0 h 586"/>
                  <a:gd name="T76" fmla="*/ 188 w 467"/>
                  <a:gd name="T77" fmla="*/ 42 h 586"/>
                  <a:gd name="T78" fmla="*/ 188 w 467"/>
                  <a:gd name="T79" fmla="*/ 64 h 586"/>
                  <a:gd name="T80" fmla="*/ 216 w 467"/>
                  <a:gd name="T81" fmla="*/ 104 h 586"/>
                  <a:gd name="T82" fmla="*/ 174 w 467"/>
                  <a:gd name="T83" fmla="*/ 90 h 586"/>
                  <a:gd name="T84" fmla="*/ 160 w 467"/>
                  <a:gd name="T85" fmla="*/ 112 h 586"/>
                  <a:gd name="T86" fmla="*/ 146 w 467"/>
                  <a:gd name="T87" fmla="*/ 104 h 586"/>
                  <a:gd name="T88" fmla="*/ 112 w 467"/>
                  <a:gd name="T89" fmla="*/ 84 h 586"/>
                  <a:gd name="T90" fmla="*/ 104 w 467"/>
                  <a:gd name="T91" fmla="*/ 104 h 586"/>
                  <a:gd name="T92" fmla="*/ 104 w 467"/>
                  <a:gd name="T93" fmla="*/ 138 h 586"/>
                  <a:gd name="T94" fmla="*/ 98 w 467"/>
                  <a:gd name="T95" fmla="*/ 172 h 586"/>
                  <a:gd name="T96" fmla="*/ 84 w 467"/>
                  <a:gd name="T97" fmla="*/ 214 h 586"/>
                  <a:gd name="T98" fmla="*/ 36 w 467"/>
                  <a:gd name="T99" fmla="*/ 214 h 586"/>
                  <a:gd name="T100" fmla="*/ 22 w 467"/>
                  <a:gd name="T101" fmla="*/ 256 h 586"/>
                  <a:gd name="T102" fmla="*/ 0 w 467"/>
                  <a:gd name="T103" fmla="*/ 296 h 586"/>
                  <a:gd name="T104" fmla="*/ 0 w 467"/>
                  <a:gd name="T105" fmla="*/ 318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7" h="586">
                    <a:moveTo>
                      <a:pt x="0" y="332"/>
                    </a:moveTo>
                    <a:lnTo>
                      <a:pt x="0" y="338"/>
                    </a:lnTo>
                    <a:lnTo>
                      <a:pt x="8" y="344"/>
                    </a:lnTo>
                    <a:lnTo>
                      <a:pt x="14" y="352"/>
                    </a:lnTo>
                    <a:lnTo>
                      <a:pt x="14" y="358"/>
                    </a:lnTo>
                    <a:lnTo>
                      <a:pt x="14" y="366"/>
                    </a:lnTo>
                    <a:lnTo>
                      <a:pt x="14" y="372"/>
                    </a:lnTo>
                    <a:lnTo>
                      <a:pt x="14" y="380"/>
                    </a:lnTo>
                    <a:lnTo>
                      <a:pt x="8" y="380"/>
                    </a:lnTo>
                    <a:lnTo>
                      <a:pt x="14" y="392"/>
                    </a:lnTo>
                    <a:lnTo>
                      <a:pt x="22" y="406"/>
                    </a:lnTo>
                    <a:lnTo>
                      <a:pt x="28" y="414"/>
                    </a:lnTo>
                    <a:lnTo>
                      <a:pt x="42" y="420"/>
                    </a:lnTo>
                    <a:lnTo>
                      <a:pt x="56" y="420"/>
                    </a:lnTo>
                    <a:lnTo>
                      <a:pt x="62" y="426"/>
                    </a:lnTo>
                    <a:lnTo>
                      <a:pt x="70" y="426"/>
                    </a:lnTo>
                    <a:lnTo>
                      <a:pt x="76" y="426"/>
                    </a:lnTo>
                    <a:lnTo>
                      <a:pt x="84" y="434"/>
                    </a:lnTo>
                    <a:lnTo>
                      <a:pt x="70" y="448"/>
                    </a:lnTo>
                    <a:lnTo>
                      <a:pt x="62" y="454"/>
                    </a:lnTo>
                    <a:lnTo>
                      <a:pt x="56" y="468"/>
                    </a:lnTo>
                    <a:lnTo>
                      <a:pt x="56" y="476"/>
                    </a:lnTo>
                    <a:lnTo>
                      <a:pt x="48" y="482"/>
                    </a:lnTo>
                    <a:lnTo>
                      <a:pt x="48" y="490"/>
                    </a:lnTo>
                    <a:lnTo>
                      <a:pt x="48" y="502"/>
                    </a:lnTo>
                    <a:lnTo>
                      <a:pt x="48" y="510"/>
                    </a:lnTo>
                    <a:lnTo>
                      <a:pt x="42" y="516"/>
                    </a:lnTo>
                    <a:lnTo>
                      <a:pt x="42" y="532"/>
                    </a:lnTo>
                    <a:lnTo>
                      <a:pt x="42" y="530"/>
                    </a:lnTo>
                    <a:lnTo>
                      <a:pt x="48" y="538"/>
                    </a:lnTo>
                    <a:lnTo>
                      <a:pt x="48" y="530"/>
                    </a:lnTo>
                    <a:lnTo>
                      <a:pt x="62" y="538"/>
                    </a:lnTo>
                    <a:lnTo>
                      <a:pt x="70" y="538"/>
                    </a:lnTo>
                    <a:lnTo>
                      <a:pt x="76" y="538"/>
                    </a:lnTo>
                    <a:lnTo>
                      <a:pt x="84" y="538"/>
                    </a:lnTo>
                    <a:lnTo>
                      <a:pt x="90" y="538"/>
                    </a:lnTo>
                    <a:lnTo>
                      <a:pt x="98" y="538"/>
                    </a:lnTo>
                    <a:lnTo>
                      <a:pt x="104" y="538"/>
                    </a:lnTo>
                    <a:lnTo>
                      <a:pt x="118" y="538"/>
                    </a:lnTo>
                    <a:lnTo>
                      <a:pt x="118" y="544"/>
                    </a:lnTo>
                    <a:lnTo>
                      <a:pt x="126" y="544"/>
                    </a:lnTo>
                    <a:lnTo>
                      <a:pt x="132" y="544"/>
                    </a:lnTo>
                    <a:lnTo>
                      <a:pt x="132" y="550"/>
                    </a:lnTo>
                    <a:lnTo>
                      <a:pt x="146" y="558"/>
                    </a:lnTo>
                    <a:lnTo>
                      <a:pt x="154" y="550"/>
                    </a:lnTo>
                    <a:lnTo>
                      <a:pt x="160" y="550"/>
                    </a:lnTo>
                    <a:lnTo>
                      <a:pt x="166" y="558"/>
                    </a:lnTo>
                    <a:lnTo>
                      <a:pt x="174" y="564"/>
                    </a:lnTo>
                    <a:lnTo>
                      <a:pt x="180" y="564"/>
                    </a:lnTo>
                    <a:lnTo>
                      <a:pt x="188" y="572"/>
                    </a:lnTo>
                    <a:lnTo>
                      <a:pt x="196" y="564"/>
                    </a:lnTo>
                    <a:lnTo>
                      <a:pt x="202" y="564"/>
                    </a:lnTo>
                    <a:lnTo>
                      <a:pt x="208" y="550"/>
                    </a:lnTo>
                    <a:lnTo>
                      <a:pt x="222" y="558"/>
                    </a:lnTo>
                    <a:lnTo>
                      <a:pt x="222" y="564"/>
                    </a:lnTo>
                    <a:lnTo>
                      <a:pt x="228" y="564"/>
                    </a:lnTo>
                    <a:lnTo>
                      <a:pt x="236" y="564"/>
                    </a:lnTo>
                    <a:lnTo>
                      <a:pt x="244" y="558"/>
                    </a:lnTo>
                    <a:lnTo>
                      <a:pt x="250" y="564"/>
                    </a:lnTo>
                    <a:lnTo>
                      <a:pt x="258" y="564"/>
                    </a:lnTo>
                    <a:lnTo>
                      <a:pt x="264" y="564"/>
                    </a:lnTo>
                    <a:lnTo>
                      <a:pt x="272" y="558"/>
                    </a:lnTo>
                    <a:lnTo>
                      <a:pt x="278" y="558"/>
                    </a:lnTo>
                    <a:lnTo>
                      <a:pt x="292" y="558"/>
                    </a:lnTo>
                    <a:lnTo>
                      <a:pt x="298" y="558"/>
                    </a:lnTo>
                    <a:lnTo>
                      <a:pt x="306" y="564"/>
                    </a:lnTo>
                    <a:lnTo>
                      <a:pt x="306" y="558"/>
                    </a:lnTo>
                    <a:lnTo>
                      <a:pt x="312" y="558"/>
                    </a:lnTo>
                    <a:lnTo>
                      <a:pt x="326" y="564"/>
                    </a:lnTo>
                    <a:lnTo>
                      <a:pt x="326" y="572"/>
                    </a:lnTo>
                    <a:lnTo>
                      <a:pt x="326" y="578"/>
                    </a:lnTo>
                    <a:lnTo>
                      <a:pt x="334" y="586"/>
                    </a:lnTo>
                    <a:lnTo>
                      <a:pt x="334" y="578"/>
                    </a:lnTo>
                    <a:lnTo>
                      <a:pt x="340" y="578"/>
                    </a:lnTo>
                    <a:lnTo>
                      <a:pt x="340" y="572"/>
                    </a:lnTo>
                    <a:lnTo>
                      <a:pt x="340" y="564"/>
                    </a:lnTo>
                    <a:lnTo>
                      <a:pt x="334" y="558"/>
                    </a:lnTo>
                    <a:lnTo>
                      <a:pt x="334" y="550"/>
                    </a:lnTo>
                    <a:lnTo>
                      <a:pt x="334" y="544"/>
                    </a:lnTo>
                    <a:lnTo>
                      <a:pt x="326" y="538"/>
                    </a:lnTo>
                    <a:lnTo>
                      <a:pt x="326" y="530"/>
                    </a:lnTo>
                    <a:lnTo>
                      <a:pt x="326" y="516"/>
                    </a:lnTo>
                    <a:lnTo>
                      <a:pt x="348" y="516"/>
                    </a:lnTo>
                    <a:lnTo>
                      <a:pt x="354" y="510"/>
                    </a:lnTo>
                    <a:lnTo>
                      <a:pt x="360" y="502"/>
                    </a:lnTo>
                    <a:lnTo>
                      <a:pt x="360" y="496"/>
                    </a:lnTo>
                    <a:lnTo>
                      <a:pt x="368" y="496"/>
                    </a:lnTo>
                    <a:lnTo>
                      <a:pt x="374" y="496"/>
                    </a:lnTo>
                    <a:lnTo>
                      <a:pt x="382" y="496"/>
                    </a:lnTo>
                    <a:lnTo>
                      <a:pt x="382" y="490"/>
                    </a:lnTo>
                    <a:lnTo>
                      <a:pt x="382" y="482"/>
                    </a:lnTo>
                    <a:lnTo>
                      <a:pt x="374" y="476"/>
                    </a:lnTo>
                    <a:lnTo>
                      <a:pt x="368" y="468"/>
                    </a:lnTo>
                    <a:lnTo>
                      <a:pt x="360" y="462"/>
                    </a:lnTo>
                    <a:lnTo>
                      <a:pt x="354" y="462"/>
                    </a:lnTo>
                    <a:lnTo>
                      <a:pt x="348" y="454"/>
                    </a:lnTo>
                    <a:lnTo>
                      <a:pt x="340" y="440"/>
                    </a:lnTo>
                    <a:lnTo>
                      <a:pt x="334" y="426"/>
                    </a:lnTo>
                    <a:lnTo>
                      <a:pt x="326" y="420"/>
                    </a:lnTo>
                    <a:lnTo>
                      <a:pt x="326" y="414"/>
                    </a:lnTo>
                    <a:lnTo>
                      <a:pt x="326" y="400"/>
                    </a:lnTo>
                    <a:lnTo>
                      <a:pt x="320" y="392"/>
                    </a:lnTo>
                    <a:lnTo>
                      <a:pt x="312" y="386"/>
                    </a:lnTo>
                    <a:lnTo>
                      <a:pt x="312" y="372"/>
                    </a:lnTo>
                    <a:lnTo>
                      <a:pt x="306" y="372"/>
                    </a:lnTo>
                    <a:lnTo>
                      <a:pt x="298" y="358"/>
                    </a:lnTo>
                    <a:lnTo>
                      <a:pt x="298" y="344"/>
                    </a:lnTo>
                    <a:lnTo>
                      <a:pt x="306" y="352"/>
                    </a:lnTo>
                    <a:lnTo>
                      <a:pt x="306" y="358"/>
                    </a:lnTo>
                    <a:lnTo>
                      <a:pt x="320" y="352"/>
                    </a:lnTo>
                    <a:lnTo>
                      <a:pt x="326" y="358"/>
                    </a:lnTo>
                    <a:lnTo>
                      <a:pt x="340" y="358"/>
                    </a:lnTo>
                    <a:lnTo>
                      <a:pt x="354" y="352"/>
                    </a:lnTo>
                    <a:lnTo>
                      <a:pt x="360" y="352"/>
                    </a:lnTo>
                    <a:lnTo>
                      <a:pt x="368" y="344"/>
                    </a:lnTo>
                    <a:lnTo>
                      <a:pt x="374" y="344"/>
                    </a:lnTo>
                    <a:lnTo>
                      <a:pt x="396" y="332"/>
                    </a:lnTo>
                    <a:lnTo>
                      <a:pt x="402" y="324"/>
                    </a:lnTo>
                    <a:lnTo>
                      <a:pt x="410" y="318"/>
                    </a:lnTo>
                    <a:lnTo>
                      <a:pt x="424" y="310"/>
                    </a:lnTo>
                    <a:lnTo>
                      <a:pt x="430" y="318"/>
                    </a:lnTo>
                    <a:lnTo>
                      <a:pt x="430" y="324"/>
                    </a:lnTo>
                    <a:lnTo>
                      <a:pt x="438" y="324"/>
                    </a:lnTo>
                    <a:lnTo>
                      <a:pt x="445" y="318"/>
                    </a:lnTo>
                    <a:lnTo>
                      <a:pt x="465" y="308"/>
                    </a:lnTo>
                    <a:lnTo>
                      <a:pt x="463" y="292"/>
                    </a:lnTo>
                    <a:lnTo>
                      <a:pt x="467" y="282"/>
                    </a:lnTo>
                    <a:lnTo>
                      <a:pt x="459" y="276"/>
                    </a:lnTo>
                    <a:lnTo>
                      <a:pt x="461" y="272"/>
                    </a:lnTo>
                    <a:lnTo>
                      <a:pt x="459" y="264"/>
                    </a:lnTo>
                    <a:lnTo>
                      <a:pt x="459" y="248"/>
                    </a:lnTo>
                    <a:lnTo>
                      <a:pt x="465" y="238"/>
                    </a:lnTo>
                    <a:lnTo>
                      <a:pt x="457" y="222"/>
                    </a:lnTo>
                    <a:lnTo>
                      <a:pt x="459" y="216"/>
                    </a:lnTo>
                    <a:lnTo>
                      <a:pt x="453" y="210"/>
                    </a:lnTo>
                    <a:lnTo>
                      <a:pt x="451" y="206"/>
                    </a:lnTo>
                    <a:lnTo>
                      <a:pt x="453" y="196"/>
                    </a:lnTo>
                    <a:lnTo>
                      <a:pt x="440" y="190"/>
                    </a:lnTo>
                    <a:lnTo>
                      <a:pt x="438" y="184"/>
                    </a:lnTo>
                    <a:lnTo>
                      <a:pt x="434" y="180"/>
                    </a:lnTo>
                    <a:lnTo>
                      <a:pt x="440" y="174"/>
                    </a:lnTo>
                    <a:lnTo>
                      <a:pt x="445" y="168"/>
                    </a:lnTo>
                    <a:lnTo>
                      <a:pt x="438" y="158"/>
                    </a:lnTo>
                    <a:lnTo>
                      <a:pt x="445" y="148"/>
                    </a:lnTo>
                    <a:lnTo>
                      <a:pt x="443" y="140"/>
                    </a:lnTo>
                    <a:lnTo>
                      <a:pt x="438" y="138"/>
                    </a:lnTo>
                    <a:lnTo>
                      <a:pt x="436" y="130"/>
                    </a:lnTo>
                    <a:lnTo>
                      <a:pt x="430" y="112"/>
                    </a:lnTo>
                    <a:lnTo>
                      <a:pt x="410" y="112"/>
                    </a:lnTo>
                    <a:lnTo>
                      <a:pt x="410" y="98"/>
                    </a:lnTo>
                    <a:lnTo>
                      <a:pt x="410" y="84"/>
                    </a:lnTo>
                    <a:lnTo>
                      <a:pt x="396" y="84"/>
                    </a:lnTo>
                    <a:lnTo>
                      <a:pt x="388" y="84"/>
                    </a:lnTo>
                    <a:lnTo>
                      <a:pt x="388" y="76"/>
                    </a:lnTo>
                    <a:lnTo>
                      <a:pt x="382" y="70"/>
                    </a:lnTo>
                    <a:lnTo>
                      <a:pt x="382" y="64"/>
                    </a:lnTo>
                    <a:lnTo>
                      <a:pt x="374" y="64"/>
                    </a:lnTo>
                    <a:lnTo>
                      <a:pt x="368" y="70"/>
                    </a:lnTo>
                    <a:lnTo>
                      <a:pt x="360" y="70"/>
                    </a:lnTo>
                    <a:lnTo>
                      <a:pt x="354" y="70"/>
                    </a:lnTo>
                    <a:lnTo>
                      <a:pt x="340" y="76"/>
                    </a:lnTo>
                    <a:lnTo>
                      <a:pt x="326" y="84"/>
                    </a:lnTo>
                    <a:lnTo>
                      <a:pt x="320" y="76"/>
                    </a:lnTo>
                    <a:lnTo>
                      <a:pt x="320" y="84"/>
                    </a:lnTo>
                    <a:lnTo>
                      <a:pt x="312" y="84"/>
                    </a:lnTo>
                    <a:lnTo>
                      <a:pt x="298" y="84"/>
                    </a:lnTo>
                    <a:lnTo>
                      <a:pt x="292" y="84"/>
                    </a:lnTo>
                    <a:lnTo>
                      <a:pt x="278" y="76"/>
                    </a:lnTo>
                    <a:lnTo>
                      <a:pt x="284" y="76"/>
                    </a:lnTo>
                    <a:lnTo>
                      <a:pt x="284" y="70"/>
                    </a:lnTo>
                    <a:lnTo>
                      <a:pt x="292" y="70"/>
                    </a:lnTo>
                    <a:lnTo>
                      <a:pt x="292" y="64"/>
                    </a:lnTo>
                    <a:lnTo>
                      <a:pt x="292" y="56"/>
                    </a:lnTo>
                    <a:lnTo>
                      <a:pt x="284" y="56"/>
                    </a:lnTo>
                    <a:lnTo>
                      <a:pt x="278" y="56"/>
                    </a:lnTo>
                    <a:lnTo>
                      <a:pt x="272" y="64"/>
                    </a:lnTo>
                    <a:lnTo>
                      <a:pt x="264" y="48"/>
                    </a:lnTo>
                    <a:lnTo>
                      <a:pt x="258" y="48"/>
                    </a:lnTo>
                    <a:lnTo>
                      <a:pt x="250" y="48"/>
                    </a:lnTo>
                    <a:lnTo>
                      <a:pt x="250" y="42"/>
                    </a:lnTo>
                    <a:lnTo>
                      <a:pt x="244" y="42"/>
                    </a:lnTo>
                    <a:lnTo>
                      <a:pt x="236" y="42"/>
                    </a:lnTo>
                    <a:lnTo>
                      <a:pt x="236" y="36"/>
                    </a:lnTo>
                    <a:lnTo>
                      <a:pt x="244" y="28"/>
                    </a:lnTo>
                    <a:lnTo>
                      <a:pt x="236" y="22"/>
                    </a:lnTo>
                    <a:lnTo>
                      <a:pt x="228" y="14"/>
                    </a:lnTo>
                    <a:lnTo>
                      <a:pt x="222" y="8"/>
                    </a:lnTo>
                    <a:lnTo>
                      <a:pt x="208" y="8"/>
                    </a:lnTo>
                    <a:lnTo>
                      <a:pt x="202" y="0"/>
                    </a:lnTo>
                    <a:lnTo>
                      <a:pt x="196" y="0"/>
                    </a:lnTo>
                    <a:lnTo>
                      <a:pt x="196" y="14"/>
                    </a:lnTo>
                    <a:lnTo>
                      <a:pt x="196" y="22"/>
                    </a:lnTo>
                    <a:lnTo>
                      <a:pt x="202" y="28"/>
                    </a:lnTo>
                    <a:lnTo>
                      <a:pt x="202" y="36"/>
                    </a:lnTo>
                    <a:lnTo>
                      <a:pt x="188" y="42"/>
                    </a:lnTo>
                    <a:lnTo>
                      <a:pt x="180" y="42"/>
                    </a:lnTo>
                    <a:lnTo>
                      <a:pt x="180" y="48"/>
                    </a:lnTo>
                    <a:lnTo>
                      <a:pt x="188" y="48"/>
                    </a:lnTo>
                    <a:lnTo>
                      <a:pt x="188" y="56"/>
                    </a:lnTo>
                    <a:lnTo>
                      <a:pt x="188" y="64"/>
                    </a:lnTo>
                    <a:lnTo>
                      <a:pt x="202" y="70"/>
                    </a:lnTo>
                    <a:lnTo>
                      <a:pt x="196" y="76"/>
                    </a:lnTo>
                    <a:lnTo>
                      <a:pt x="202" y="84"/>
                    </a:lnTo>
                    <a:lnTo>
                      <a:pt x="216" y="90"/>
                    </a:lnTo>
                    <a:lnTo>
                      <a:pt x="216" y="104"/>
                    </a:lnTo>
                    <a:lnTo>
                      <a:pt x="208" y="90"/>
                    </a:lnTo>
                    <a:lnTo>
                      <a:pt x="202" y="84"/>
                    </a:lnTo>
                    <a:lnTo>
                      <a:pt x="188" y="84"/>
                    </a:lnTo>
                    <a:lnTo>
                      <a:pt x="174" y="84"/>
                    </a:lnTo>
                    <a:lnTo>
                      <a:pt x="174" y="90"/>
                    </a:lnTo>
                    <a:lnTo>
                      <a:pt x="174" y="104"/>
                    </a:lnTo>
                    <a:lnTo>
                      <a:pt x="174" y="112"/>
                    </a:lnTo>
                    <a:lnTo>
                      <a:pt x="166" y="118"/>
                    </a:lnTo>
                    <a:lnTo>
                      <a:pt x="166" y="124"/>
                    </a:lnTo>
                    <a:lnTo>
                      <a:pt x="160" y="112"/>
                    </a:lnTo>
                    <a:lnTo>
                      <a:pt x="160" y="104"/>
                    </a:lnTo>
                    <a:lnTo>
                      <a:pt x="160" y="98"/>
                    </a:lnTo>
                    <a:lnTo>
                      <a:pt x="154" y="98"/>
                    </a:lnTo>
                    <a:lnTo>
                      <a:pt x="154" y="104"/>
                    </a:lnTo>
                    <a:lnTo>
                      <a:pt x="146" y="104"/>
                    </a:lnTo>
                    <a:lnTo>
                      <a:pt x="146" y="98"/>
                    </a:lnTo>
                    <a:lnTo>
                      <a:pt x="154" y="90"/>
                    </a:lnTo>
                    <a:lnTo>
                      <a:pt x="138" y="84"/>
                    </a:lnTo>
                    <a:lnTo>
                      <a:pt x="126" y="84"/>
                    </a:lnTo>
                    <a:lnTo>
                      <a:pt x="112" y="84"/>
                    </a:lnTo>
                    <a:lnTo>
                      <a:pt x="104" y="84"/>
                    </a:lnTo>
                    <a:lnTo>
                      <a:pt x="104" y="90"/>
                    </a:lnTo>
                    <a:lnTo>
                      <a:pt x="98" y="98"/>
                    </a:lnTo>
                    <a:lnTo>
                      <a:pt x="98" y="104"/>
                    </a:lnTo>
                    <a:lnTo>
                      <a:pt x="104" y="104"/>
                    </a:lnTo>
                    <a:lnTo>
                      <a:pt x="104" y="112"/>
                    </a:lnTo>
                    <a:lnTo>
                      <a:pt x="112" y="118"/>
                    </a:lnTo>
                    <a:lnTo>
                      <a:pt x="104" y="124"/>
                    </a:lnTo>
                    <a:lnTo>
                      <a:pt x="104" y="132"/>
                    </a:lnTo>
                    <a:lnTo>
                      <a:pt x="104" y="138"/>
                    </a:lnTo>
                    <a:lnTo>
                      <a:pt x="104" y="146"/>
                    </a:lnTo>
                    <a:lnTo>
                      <a:pt x="98" y="146"/>
                    </a:lnTo>
                    <a:lnTo>
                      <a:pt x="98" y="152"/>
                    </a:lnTo>
                    <a:lnTo>
                      <a:pt x="98" y="166"/>
                    </a:lnTo>
                    <a:lnTo>
                      <a:pt x="98" y="172"/>
                    </a:lnTo>
                    <a:lnTo>
                      <a:pt x="90" y="180"/>
                    </a:lnTo>
                    <a:lnTo>
                      <a:pt x="98" y="186"/>
                    </a:lnTo>
                    <a:lnTo>
                      <a:pt x="98" y="194"/>
                    </a:lnTo>
                    <a:lnTo>
                      <a:pt x="90" y="214"/>
                    </a:lnTo>
                    <a:lnTo>
                      <a:pt x="84" y="214"/>
                    </a:lnTo>
                    <a:lnTo>
                      <a:pt x="76" y="214"/>
                    </a:lnTo>
                    <a:lnTo>
                      <a:pt x="70" y="214"/>
                    </a:lnTo>
                    <a:lnTo>
                      <a:pt x="62" y="214"/>
                    </a:lnTo>
                    <a:lnTo>
                      <a:pt x="56" y="206"/>
                    </a:lnTo>
                    <a:lnTo>
                      <a:pt x="36" y="214"/>
                    </a:lnTo>
                    <a:lnTo>
                      <a:pt x="22" y="220"/>
                    </a:lnTo>
                    <a:lnTo>
                      <a:pt x="22" y="228"/>
                    </a:lnTo>
                    <a:lnTo>
                      <a:pt x="22" y="234"/>
                    </a:lnTo>
                    <a:lnTo>
                      <a:pt x="22" y="248"/>
                    </a:lnTo>
                    <a:lnTo>
                      <a:pt x="22" y="256"/>
                    </a:lnTo>
                    <a:lnTo>
                      <a:pt x="8" y="262"/>
                    </a:lnTo>
                    <a:lnTo>
                      <a:pt x="8" y="268"/>
                    </a:lnTo>
                    <a:lnTo>
                      <a:pt x="8" y="276"/>
                    </a:lnTo>
                    <a:lnTo>
                      <a:pt x="8" y="282"/>
                    </a:lnTo>
                    <a:lnTo>
                      <a:pt x="0" y="296"/>
                    </a:lnTo>
                    <a:lnTo>
                      <a:pt x="8" y="296"/>
                    </a:lnTo>
                    <a:lnTo>
                      <a:pt x="8" y="304"/>
                    </a:lnTo>
                    <a:lnTo>
                      <a:pt x="8" y="310"/>
                    </a:lnTo>
                    <a:lnTo>
                      <a:pt x="0" y="310"/>
                    </a:lnTo>
                    <a:lnTo>
                      <a:pt x="0" y="318"/>
                    </a:lnTo>
                    <a:lnTo>
                      <a:pt x="0" y="324"/>
                    </a:lnTo>
                    <a:lnTo>
                      <a:pt x="0" y="332"/>
                    </a:lnTo>
                    <a:lnTo>
                      <a:pt x="0" y="332"/>
                    </a:lnTo>
                    <a:lnTo>
                      <a:pt x="0" y="332"/>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solidFill>
                    <a:schemeClr val="bg1"/>
                  </a:solidFill>
                </a:endParaRPr>
              </a:p>
            </p:txBody>
          </p:sp>
          <p:sp>
            <p:nvSpPr>
              <p:cNvPr id="804" name="Freeform 48"/>
              <p:cNvSpPr>
                <a:spLocks/>
              </p:cNvSpPr>
              <p:nvPr/>
            </p:nvSpPr>
            <p:spPr bwMode="gray">
              <a:xfrm>
                <a:off x="4473013" y="2444391"/>
                <a:ext cx="196894" cy="254057"/>
              </a:xfrm>
              <a:custGeom>
                <a:avLst/>
                <a:gdLst>
                  <a:gd name="T0" fmla="*/ 28 w 124"/>
                  <a:gd name="T1" fmla="*/ 146 h 160"/>
                  <a:gd name="T2" fmla="*/ 50 w 124"/>
                  <a:gd name="T3" fmla="*/ 152 h 160"/>
                  <a:gd name="T4" fmla="*/ 48 w 124"/>
                  <a:gd name="T5" fmla="*/ 160 h 160"/>
                  <a:gd name="T6" fmla="*/ 62 w 124"/>
                  <a:gd name="T7" fmla="*/ 152 h 160"/>
                  <a:gd name="T8" fmla="*/ 48 w 124"/>
                  <a:gd name="T9" fmla="*/ 138 h 160"/>
                  <a:gd name="T10" fmla="*/ 62 w 124"/>
                  <a:gd name="T11" fmla="*/ 132 h 160"/>
                  <a:gd name="T12" fmla="*/ 56 w 124"/>
                  <a:gd name="T13" fmla="*/ 118 h 160"/>
                  <a:gd name="T14" fmla="*/ 62 w 124"/>
                  <a:gd name="T15" fmla="*/ 110 h 160"/>
                  <a:gd name="T16" fmla="*/ 70 w 124"/>
                  <a:gd name="T17" fmla="*/ 104 h 160"/>
                  <a:gd name="T18" fmla="*/ 84 w 124"/>
                  <a:gd name="T19" fmla="*/ 96 h 160"/>
                  <a:gd name="T20" fmla="*/ 98 w 124"/>
                  <a:gd name="T21" fmla="*/ 82 h 160"/>
                  <a:gd name="T22" fmla="*/ 98 w 124"/>
                  <a:gd name="T23" fmla="*/ 62 h 160"/>
                  <a:gd name="T24" fmla="*/ 112 w 124"/>
                  <a:gd name="T25" fmla="*/ 56 h 160"/>
                  <a:gd name="T26" fmla="*/ 118 w 124"/>
                  <a:gd name="T27" fmla="*/ 62 h 160"/>
                  <a:gd name="T28" fmla="*/ 124 w 124"/>
                  <a:gd name="T29" fmla="*/ 48 h 160"/>
                  <a:gd name="T30" fmla="*/ 118 w 124"/>
                  <a:gd name="T31" fmla="*/ 34 h 160"/>
                  <a:gd name="T32" fmla="*/ 104 w 124"/>
                  <a:gd name="T33" fmla="*/ 34 h 160"/>
                  <a:gd name="T34" fmla="*/ 98 w 124"/>
                  <a:gd name="T35" fmla="*/ 28 h 160"/>
                  <a:gd name="T36" fmla="*/ 104 w 124"/>
                  <a:gd name="T37" fmla="*/ 14 h 160"/>
                  <a:gd name="T38" fmla="*/ 104 w 124"/>
                  <a:gd name="T39" fmla="*/ 6 h 160"/>
                  <a:gd name="T40" fmla="*/ 98 w 124"/>
                  <a:gd name="T41" fmla="*/ 0 h 160"/>
                  <a:gd name="T42" fmla="*/ 90 w 124"/>
                  <a:gd name="T43" fmla="*/ 6 h 160"/>
                  <a:gd name="T44" fmla="*/ 70 w 124"/>
                  <a:gd name="T45" fmla="*/ 6 h 160"/>
                  <a:gd name="T46" fmla="*/ 70 w 124"/>
                  <a:gd name="T47" fmla="*/ 20 h 160"/>
                  <a:gd name="T48" fmla="*/ 70 w 124"/>
                  <a:gd name="T49" fmla="*/ 34 h 160"/>
                  <a:gd name="T50" fmla="*/ 62 w 124"/>
                  <a:gd name="T51" fmla="*/ 20 h 160"/>
                  <a:gd name="T52" fmla="*/ 56 w 124"/>
                  <a:gd name="T53" fmla="*/ 20 h 160"/>
                  <a:gd name="T54" fmla="*/ 48 w 124"/>
                  <a:gd name="T55" fmla="*/ 14 h 160"/>
                  <a:gd name="T56" fmla="*/ 42 w 124"/>
                  <a:gd name="T57" fmla="*/ 28 h 160"/>
                  <a:gd name="T58" fmla="*/ 36 w 124"/>
                  <a:gd name="T59" fmla="*/ 34 h 160"/>
                  <a:gd name="T60" fmla="*/ 28 w 124"/>
                  <a:gd name="T61" fmla="*/ 20 h 160"/>
                  <a:gd name="T62" fmla="*/ 22 w 124"/>
                  <a:gd name="T63" fmla="*/ 14 h 160"/>
                  <a:gd name="T64" fmla="*/ 14 w 124"/>
                  <a:gd name="T65" fmla="*/ 20 h 160"/>
                  <a:gd name="T66" fmla="*/ 8 w 124"/>
                  <a:gd name="T67" fmla="*/ 34 h 160"/>
                  <a:gd name="T68" fmla="*/ 8 w 124"/>
                  <a:gd name="T69" fmla="*/ 56 h 160"/>
                  <a:gd name="T70" fmla="*/ 8 w 124"/>
                  <a:gd name="T71" fmla="*/ 70 h 160"/>
                  <a:gd name="T72" fmla="*/ 8 w 124"/>
                  <a:gd name="T73" fmla="*/ 82 h 160"/>
                  <a:gd name="T74" fmla="*/ 8 w 124"/>
                  <a:gd name="T75" fmla="*/ 96 h 160"/>
                  <a:gd name="T76" fmla="*/ 14 w 124"/>
                  <a:gd name="T77" fmla="*/ 104 h 160"/>
                  <a:gd name="T78" fmla="*/ 22 w 124"/>
                  <a:gd name="T79" fmla="*/ 118 h 160"/>
                  <a:gd name="T80" fmla="*/ 22 w 124"/>
                  <a:gd name="T81" fmla="*/ 138 h 160"/>
                  <a:gd name="T82" fmla="*/ 22 w 124"/>
                  <a:gd name="T83" fmla="*/ 152 h 160"/>
                  <a:gd name="T84" fmla="*/ 22 w 124"/>
                  <a:gd name="T85" fmla="*/ 14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4" h="160">
                    <a:moveTo>
                      <a:pt x="22" y="146"/>
                    </a:moveTo>
                    <a:lnTo>
                      <a:pt x="28" y="146"/>
                    </a:lnTo>
                    <a:lnTo>
                      <a:pt x="36" y="152"/>
                    </a:lnTo>
                    <a:lnTo>
                      <a:pt x="50" y="152"/>
                    </a:lnTo>
                    <a:lnTo>
                      <a:pt x="52" y="156"/>
                    </a:lnTo>
                    <a:lnTo>
                      <a:pt x="48" y="160"/>
                    </a:lnTo>
                    <a:lnTo>
                      <a:pt x="56" y="152"/>
                    </a:lnTo>
                    <a:lnTo>
                      <a:pt x="62" y="152"/>
                    </a:lnTo>
                    <a:lnTo>
                      <a:pt x="56" y="146"/>
                    </a:lnTo>
                    <a:lnTo>
                      <a:pt x="48" y="138"/>
                    </a:lnTo>
                    <a:lnTo>
                      <a:pt x="56" y="132"/>
                    </a:lnTo>
                    <a:lnTo>
                      <a:pt x="62" y="132"/>
                    </a:lnTo>
                    <a:lnTo>
                      <a:pt x="56" y="124"/>
                    </a:lnTo>
                    <a:lnTo>
                      <a:pt x="56" y="118"/>
                    </a:lnTo>
                    <a:lnTo>
                      <a:pt x="62" y="118"/>
                    </a:lnTo>
                    <a:lnTo>
                      <a:pt x="62" y="110"/>
                    </a:lnTo>
                    <a:lnTo>
                      <a:pt x="62" y="104"/>
                    </a:lnTo>
                    <a:lnTo>
                      <a:pt x="70" y="104"/>
                    </a:lnTo>
                    <a:lnTo>
                      <a:pt x="76" y="96"/>
                    </a:lnTo>
                    <a:lnTo>
                      <a:pt x="84" y="96"/>
                    </a:lnTo>
                    <a:lnTo>
                      <a:pt x="84" y="90"/>
                    </a:lnTo>
                    <a:lnTo>
                      <a:pt x="98" y="82"/>
                    </a:lnTo>
                    <a:lnTo>
                      <a:pt x="104" y="70"/>
                    </a:lnTo>
                    <a:lnTo>
                      <a:pt x="98" y="62"/>
                    </a:lnTo>
                    <a:lnTo>
                      <a:pt x="104" y="56"/>
                    </a:lnTo>
                    <a:lnTo>
                      <a:pt x="112" y="56"/>
                    </a:lnTo>
                    <a:lnTo>
                      <a:pt x="112" y="62"/>
                    </a:lnTo>
                    <a:lnTo>
                      <a:pt x="118" y="62"/>
                    </a:lnTo>
                    <a:lnTo>
                      <a:pt x="124" y="56"/>
                    </a:lnTo>
                    <a:lnTo>
                      <a:pt x="124" y="48"/>
                    </a:lnTo>
                    <a:lnTo>
                      <a:pt x="124" y="42"/>
                    </a:lnTo>
                    <a:lnTo>
                      <a:pt x="118" y="34"/>
                    </a:lnTo>
                    <a:lnTo>
                      <a:pt x="112" y="34"/>
                    </a:lnTo>
                    <a:lnTo>
                      <a:pt x="104" y="34"/>
                    </a:lnTo>
                    <a:lnTo>
                      <a:pt x="104" y="28"/>
                    </a:lnTo>
                    <a:lnTo>
                      <a:pt x="98" y="28"/>
                    </a:lnTo>
                    <a:lnTo>
                      <a:pt x="98" y="20"/>
                    </a:lnTo>
                    <a:lnTo>
                      <a:pt x="104" y="14"/>
                    </a:lnTo>
                    <a:lnTo>
                      <a:pt x="112" y="14"/>
                    </a:lnTo>
                    <a:lnTo>
                      <a:pt x="104" y="6"/>
                    </a:lnTo>
                    <a:lnTo>
                      <a:pt x="104" y="0"/>
                    </a:lnTo>
                    <a:lnTo>
                      <a:pt x="98" y="0"/>
                    </a:lnTo>
                    <a:lnTo>
                      <a:pt x="90" y="0"/>
                    </a:lnTo>
                    <a:lnTo>
                      <a:pt x="90" y="6"/>
                    </a:lnTo>
                    <a:lnTo>
                      <a:pt x="76" y="6"/>
                    </a:lnTo>
                    <a:lnTo>
                      <a:pt x="70" y="6"/>
                    </a:lnTo>
                    <a:lnTo>
                      <a:pt x="62" y="14"/>
                    </a:lnTo>
                    <a:lnTo>
                      <a:pt x="70" y="20"/>
                    </a:lnTo>
                    <a:lnTo>
                      <a:pt x="70" y="28"/>
                    </a:lnTo>
                    <a:lnTo>
                      <a:pt x="70" y="34"/>
                    </a:lnTo>
                    <a:lnTo>
                      <a:pt x="70" y="28"/>
                    </a:lnTo>
                    <a:lnTo>
                      <a:pt x="62" y="20"/>
                    </a:lnTo>
                    <a:lnTo>
                      <a:pt x="56" y="28"/>
                    </a:lnTo>
                    <a:lnTo>
                      <a:pt x="56" y="20"/>
                    </a:lnTo>
                    <a:lnTo>
                      <a:pt x="56" y="14"/>
                    </a:lnTo>
                    <a:lnTo>
                      <a:pt x="48" y="14"/>
                    </a:lnTo>
                    <a:lnTo>
                      <a:pt x="42" y="20"/>
                    </a:lnTo>
                    <a:lnTo>
                      <a:pt x="42" y="28"/>
                    </a:lnTo>
                    <a:lnTo>
                      <a:pt x="36" y="28"/>
                    </a:lnTo>
                    <a:lnTo>
                      <a:pt x="36" y="34"/>
                    </a:lnTo>
                    <a:lnTo>
                      <a:pt x="36" y="28"/>
                    </a:lnTo>
                    <a:lnTo>
                      <a:pt x="28" y="20"/>
                    </a:lnTo>
                    <a:lnTo>
                      <a:pt x="22" y="20"/>
                    </a:lnTo>
                    <a:lnTo>
                      <a:pt x="22" y="14"/>
                    </a:lnTo>
                    <a:lnTo>
                      <a:pt x="14" y="14"/>
                    </a:lnTo>
                    <a:lnTo>
                      <a:pt x="14" y="20"/>
                    </a:lnTo>
                    <a:lnTo>
                      <a:pt x="8" y="28"/>
                    </a:lnTo>
                    <a:lnTo>
                      <a:pt x="8" y="34"/>
                    </a:lnTo>
                    <a:lnTo>
                      <a:pt x="8" y="48"/>
                    </a:lnTo>
                    <a:lnTo>
                      <a:pt x="8" y="56"/>
                    </a:lnTo>
                    <a:lnTo>
                      <a:pt x="8" y="62"/>
                    </a:lnTo>
                    <a:lnTo>
                      <a:pt x="8" y="70"/>
                    </a:lnTo>
                    <a:lnTo>
                      <a:pt x="8" y="76"/>
                    </a:lnTo>
                    <a:lnTo>
                      <a:pt x="8" y="82"/>
                    </a:lnTo>
                    <a:lnTo>
                      <a:pt x="0" y="90"/>
                    </a:lnTo>
                    <a:lnTo>
                      <a:pt x="8" y="96"/>
                    </a:lnTo>
                    <a:lnTo>
                      <a:pt x="14" y="96"/>
                    </a:lnTo>
                    <a:lnTo>
                      <a:pt x="14" y="104"/>
                    </a:lnTo>
                    <a:lnTo>
                      <a:pt x="22" y="110"/>
                    </a:lnTo>
                    <a:lnTo>
                      <a:pt x="22" y="118"/>
                    </a:lnTo>
                    <a:lnTo>
                      <a:pt x="22" y="124"/>
                    </a:lnTo>
                    <a:lnTo>
                      <a:pt x="22" y="138"/>
                    </a:lnTo>
                    <a:lnTo>
                      <a:pt x="22" y="146"/>
                    </a:lnTo>
                    <a:lnTo>
                      <a:pt x="22" y="152"/>
                    </a:lnTo>
                    <a:lnTo>
                      <a:pt x="22" y="146"/>
                    </a:lnTo>
                    <a:lnTo>
                      <a:pt x="22" y="146"/>
                    </a:lnTo>
                    <a:lnTo>
                      <a:pt x="22" y="146"/>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5" name="Freeform 49"/>
              <p:cNvSpPr>
                <a:spLocks/>
              </p:cNvSpPr>
              <p:nvPr>
                <p:custDataLst>
                  <p:tags r:id="rId142"/>
                </p:custDataLst>
              </p:nvPr>
            </p:nvSpPr>
            <p:spPr bwMode="gray">
              <a:xfrm>
                <a:off x="3952198" y="3012842"/>
                <a:ext cx="254057" cy="263584"/>
              </a:xfrm>
              <a:custGeom>
                <a:avLst/>
                <a:gdLst>
                  <a:gd name="T0" fmla="*/ 146 w 160"/>
                  <a:gd name="T1" fmla="*/ 28 h 166"/>
                  <a:gd name="T2" fmla="*/ 132 w 160"/>
                  <a:gd name="T3" fmla="*/ 14 h 166"/>
                  <a:gd name="T4" fmla="*/ 118 w 160"/>
                  <a:gd name="T5" fmla="*/ 22 h 166"/>
                  <a:gd name="T6" fmla="*/ 112 w 160"/>
                  <a:gd name="T7" fmla="*/ 14 h 166"/>
                  <a:gd name="T8" fmla="*/ 84 w 160"/>
                  <a:gd name="T9" fmla="*/ 8 h 166"/>
                  <a:gd name="T10" fmla="*/ 76 w 160"/>
                  <a:gd name="T11" fmla="*/ 22 h 166"/>
                  <a:gd name="T12" fmla="*/ 56 w 160"/>
                  <a:gd name="T13" fmla="*/ 22 h 166"/>
                  <a:gd name="T14" fmla="*/ 50 w 160"/>
                  <a:gd name="T15" fmla="*/ 14 h 166"/>
                  <a:gd name="T16" fmla="*/ 36 w 160"/>
                  <a:gd name="T17" fmla="*/ 8 h 166"/>
                  <a:gd name="T18" fmla="*/ 28 w 160"/>
                  <a:gd name="T19" fmla="*/ 0 h 166"/>
                  <a:gd name="T20" fmla="*/ 14 w 160"/>
                  <a:gd name="T21" fmla="*/ 0 h 166"/>
                  <a:gd name="T22" fmla="*/ 0 w 160"/>
                  <a:gd name="T23" fmla="*/ 14 h 166"/>
                  <a:gd name="T24" fmla="*/ 0 w 160"/>
                  <a:gd name="T25" fmla="*/ 28 h 166"/>
                  <a:gd name="T26" fmla="*/ 8 w 160"/>
                  <a:gd name="T27" fmla="*/ 42 h 166"/>
                  <a:gd name="T28" fmla="*/ 14 w 160"/>
                  <a:gd name="T29" fmla="*/ 48 h 166"/>
                  <a:gd name="T30" fmla="*/ 20 w 160"/>
                  <a:gd name="T31" fmla="*/ 56 h 166"/>
                  <a:gd name="T32" fmla="*/ 28 w 160"/>
                  <a:gd name="T33" fmla="*/ 62 h 166"/>
                  <a:gd name="T34" fmla="*/ 36 w 160"/>
                  <a:gd name="T35" fmla="*/ 70 h 166"/>
                  <a:gd name="T36" fmla="*/ 50 w 160"/>
                  <a:gd name="T37" fmla="*/ 84 h 166"/>
                  <a:gd name="T38" fmla="*/ 62 w 160"/>
                  <a:gd name="T39" fmla="*/ 84 h 166"/>
                  <a:gd name="T40" fmla="*/ 62 w 160"/>
                  <a:gd name="T41" fmla="*/ 104 h 166"/>
                  <a:gd name="T42" fmla="*/ 62 w 160"/>
                  <a:gd name="T43" fmla="*/ 118 h 166"/>
                  <a:gd name="T44" fmla="*/ 76 w 160"/>
                  <a:gd name="T45" fmla="*/ 118 h 166"/>
                  <a:gd name="T46" fmla="*/ 84 w 160"/>
                  <a:gd name="T47" fmla="*/ 110 h 166"/>
                  <a:gd name="T48" fmla="*/ 90 w 160"/>
                  <a:gd name="T49" fmla="*/ 124 h 166"/>
                  <a:gd name="T50" fmla="*/ 98 w 160"/>
                  <a:gd name="T51" fmla="*/ 138 h 166"/>
                  <a:gd name="T52" fmla="*/ 104 w 160"/>
                  <a:gd name="T53" fmla="*/ 144 h 166"/>
                  <a:gd name="T54" fmla="*/ 118 w 160"/>
                  <a:gd name="T55" fmla="*/ 158 h 166"/>
                  <a:gd name="T56" fmla="*/ 126 w 160"/>
                  <a:gd name="T57" fmla="*/ 158 h 166"/>
                  <a:gd name="T58" fmla="*/ 134 w 160"/>
                  <a:gd name="T59" fmla="*/ 158 h 166"/>
                  <a:gd name="T60" fmla="*/ 134 w 160"/>
                  <a:gd name="T61" fmla="*/ 138 h 166"/>
                  <a:gd name="T62" fmla="*/ 134 w 160"/>
                  <a:gd name="T63" fmla="*/ 124 h 166"/>
                  <a:gd name="T64" fmla="*/ 148 w 160"/>
                  <a:gd name="T65" fmla="*/ 110 h 166"/>
                  <a:gd name="T66" fmla="*/ 154 w 160"/>
                  <a:gd name="T67" fmla="*/ 104 h 166"/>
                  <a:gd name="T68" fmla="*/ 160 w 160"/>
                  <a:gd name="T69" fmla="*/ 98 h 166"/>
                  <a:gd name="T70" fmla="*/ 160 w 160"/>
                  <a:gd name="T71" fmla="*/ 84 h 166"/>
                  <a:gd name="T72" fmla="*/ 160 w 160"/>
                  <a:gd name="T73" fmla="*/ 70 h 166"/>
                  <a:gd name="T74" fmla="*/ 160 w 160"/>
                  <a:gd name="T75" fmla="*/ 56 h 166"/>
                  <a:gd name="T76" fmla="*/ 160 w 160"/>
                  <a:gd name="T77" fmla="*/ 42 h 166"/>
                  <a:gd name="T78" fmla="*/ 160 w 160"/>
                  <a:gd name="T79" fmla="*/ 4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 h="166">
                    <a:moveTo>
                      <a:pt x="160" y="42"/>
                    </a:moveTo>
                    <a:lnTo>
                      <a:pt x="146" y="28"/>
                    </a:lnTo>
                    <a:lnTo>
                      <a:pt x="140" y="22"/>
                    </a:lnTo>
                    <a:lnTo>
                      <a:pt x="132" y="14"/>
                    </a:lnTo>
                    <a:lnTo>
                      <a:pt x="126" y="14"/>
                    </a:lnTo>
                    <a:lnTo>
                      <a:pt x="118" y="22"/>
                    </a:lnTo>
                    <a:lnTo>
                      <a:pt x="112" y="22"/>
                    </a:lnTo>
                    <a:lnTo>
                      <a:pt x="112" y="14"/>
                    </a:lnTo>
                    <a:lnTo>
                      <a:pt x="90" y="8"/>
                    </a:lnTo>
                    <a:lnTo>
                      <a:pt x="84" y="8"/>
                    </a:lnTo>
                    <a:lnTo>
                      <a:pt x="76" y="14"/>
                    </a:lnTo>
                    <a:lnTo>
                      <a:pt x="76" y="22"/>
                    </a:lnTo>
                    <a:lnTo>
                      <a:pt x="62" y="22"/>
                    </a:lnTo>
                    <a:lnTo>
                      <a:pt x="56" y="22"/>
                    </a:lnTo>
                    <a:lnTo>
                      <a:pt x="50" y="22"/>
                    </a:lnTo>
                    <a:lnTo>
                      <a:pt x="50" y="14"/>
                    </a:lnTo>
                    <a:lnTo>
                      <a:pt x="42" y="8"/>
                    </a:lnTo>
                    <a:lnTo>
                      <a:pt x="36" y="8"/>
                    </a:lnTo>
                    <a:lnTo>
                      <a:pt x="36" y="0"/>
                    </a:lnTo>
                    <a:lnTo>
                      <a:pt x="28" y="0"/>
                    </a:lnTo>
                    <a:lnTo>
                      <a:pt x="20" y="8"/>
                    </a:lnTo>
                    <a:lnTo>
                      <a:pt x="14" y="0"/>
                    </a:lnTo>
                    <a:lnTo>
                      <a:pt x="14" y="8"/>
                    </a:lnTo>
                    <a:lnTo>
                      <a:pt x="0" y="14"/>
                    </a:lnTo>
                    <a:lnTo>
                      <a:pt x="0" y="22"/>
                    </a:lnTo>
                    <a:lnTo>
                      <a:pt x="0" y="28"/>
                    </a:lnTo>
                    <a:lnTo>
                      <a:pt x="0" y="34"/>
                    </a:lnTo>
                    <a:lnTo>
                      <a:pt x="8" y="42"/>
                    </a:lnTo>
                    <a:lnTo>
                      <a:pt x="8" y="48"/>
                    </a:lnTo>
                    <a:lnTo>
                      <a:pt x="14" y="48"/>
                    </a:lnTo>
                    <a:lnTo>
                      <a:pt x="20" y="48"/>
                    </a:lnTo>
                    <a:lnTo>
                      <a:pt x="20" y="56"/>
                    </a:lnTo>
                    <a:lnTo>
                      <a:pt x="20" y="62"/>
                    </a:lnTo>
                    <a:lnTo>
                      <a:pt x="28" y="62"/>
                    </a:lnTo>
                    <a:lnTo>
                      <a:pt x="36" y="62"/>
                    </a:lnTo>
                    <a:lnTo>
                      <a:pt x="36" y="70"/>
                    </a:lnTo>
                    <a:lnTo>
                      <a:pt x="42" y="84"/>
                    </a:lnTo>
                    <a:lnTo>
                      <a:pt x="50" y="84"/>
                    </a:lnTo>
                    <a:lnTo>
                      <a:pt x="56" y="84"/>
                    </a:lnTo>
                    <a:lnTo>
                      <a:pt x="62" y="84"/>
                    </a:lnTo>
                    <a:lnTo>
                      <a:pt x="62" y="98"/>
                    </a:lnTo>
                    <a:lnTo>
                      <a:pt x="62" y="104"/>
                    </a:lnTo>
                    <a:lnTo>
                      <a:pt x="56" y="110"/>
                    </a:lnTo>
                    <a:lnTo>
                      <a:pt x="62" y="118"/>
                    </a:lnTo>
                    <a:lnTo>
                      <a:pt x="70" y="118"/>
                    </a:lnTo>
                    <a:lnTo>
                      <a:pt x="76" y="118"/>
                    </a:lnTo>
                    <a:lnTo>
                      <a:pt x="76" y="110"/>
                    </a:lnTo>
                    <a:lnTo>
                      <a:pt x="84" y="110"/>
                    </a:lnTo>
                    <a:lnTo>
                      <a:pt x="84" y="118"/>
                    </a:lnTo>
                    <a:lnTo>
                      <a:pt x="90" y="124"/>
                    </a:lnTo>
                    <a:lnTo>
                      <a:pt x="90" y="132"/>
                    </a:lnTo>
                    <a:lnTo>
                      <a:pt x="98" y="138"/>
                    </a:lnTo>
                    <a:lnTo>
                      <a:pt x="98" y="144"/>
                    </a:lnTo>
                    <a:lnTo>
                      <a:pt x="104" y="144"/>
                    </a:lnTo>
                    <a:lnTo>
                      <a:pt x="112" y="152"/>
                    </a:lnTo>
                    <a:lnTo>
                      <a:pt x="118" y="158"/>
                    </a:lnTo>
                    <a:lnTo>
                      <a:pt x="118" y="166"/>
                    </a:lnTo>
                    <a:lnTo>
                      <a:pt x="126" y="158"/>
                    </a:lnTo>
                    <a:lnTo>
                      <a:pt x="132" y="158"/>
                    </a:lnTo>
                    <a:lnTo>
                      <a:pt x="134" y="158"/>
                    </a:lnTo>
                    <a:lnTo>
                      <a:pt x="138" y="146"/>
                    </a:lnTo>
                    <a:lnTo>
                      <a:pt x="134" y="138"/>
                    </a:lnTo>
                    <a:lnTo>
                      <a:pt x="134" y="132"/>
                    </a:lnTo>
                    <a:lnTo>
                      <a:pt x="134" y="124"/>
                    </a:lnTo>
                    <a:lnTo>
                      <a:pt x="140" y="118"/>
                    </a:lnTo>
                    <a:lnTo>
                      <a:pt x="148" y="110"/>
                    </a:lnTo>
                    <a:lnTo>
                      <a:pt x="154" y="110"/>
                    </a:lnTo>
                    <a:lnTo>
                      <a:pt x="154" y="104"/>
                    </a:lnTo>
                    <a:lnTo>
                      <a:pt x="154" y="98"/>
                    </a:lnTo>
                    <a:lnTo>
                      <a:pt x="160" y="98"/>
                    </a:lnTo>
                    <a:lnTo>
                      <a:pt x="160" y="90"/>
                    </a:lnTo>
                    <a:lnTo>
                      <a:pt x="160" y="84"/>
                    </a:lnTo>
                    <a:lnTo>
                      <a:pt x="154" y="84"/>
                    </a:lnTo>
                    <a:lnTo>
                      <a:pt x="160" y="70"/>
                    </a:lnTo>
                    <a:lnTo>
                      <a:pt x="160" y="62"/>
                    </a:lnTo>
                    <a:lnTo>
                      <a:pt x="160" y="56"/>
                    </a:lnTo>
                    <a:lnTo>
                      <a:pt x="160" y="48"/>
                    </a:lnTo>
                    <a:lnTo>
                      <a:pt x="160" y="42"/>
                    </a:lnTo>
                    <a:lnTo>
                      <a:pt x="160" y="42"/>
                    </a:lnTo>
                    <a:lnTo>
                      <a:pt x="160" y="42"/>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6" name="Freeform 50"/>
              <p:cNvSpPr>
                <a:spLocks/>
              </p:cNvSpPr>
              <p:nvPr/>
            </p:nvSpPr>
            <p:spPr bwMode="gray">
              <a:xfrm>
                <a:off x="4161794" y="3187506"/>
                <a:ext cx="53987" cy="88920"/>
              </a:xfrm>
              <a:custGeom>
                <a:avLst/>
                <a:gdLst>
                  <a:gd name="T0" fmla="*/ 2 w 34"/>
                  <a:gd name="T1" fmla="*/ 48 h 56"/>
                  <a:gd name="T2" fmla="*/ 4 w 34"/>
                  <a:gd name="T3" fmla="*/ 36 h 56"/>
                  <a:gd name="T4" fmla="*/ 0 w 34"/>
                  <a:gd name="T5" fmla="*/ 28 h 56"/>
                  <a:gd name="T6" fmla="*/ 0 w 34"/>
                  <a:gd name="T7" fmla="*/ 22 h 56"/>
                  <a:gd name="T8" fmla="*/ 0 w 34"/>
                  <a:gd name="T9" fmla="*/ 14 h 56"/>
                  <a:gd name="T10" fmla="*/ 8 w 34"/>
                  <a:gd name="T11" fmla="*/ 8 h 56"/>
                  <a:gd name="T12" fmla="*/ 14 w 34"/>
                  <a:gd name="T13" fmla="*/ 0 h 56"/>
                  <a:gd name="T14" fmla="*/ 22 w 34"/>
                  <a:gd name="T15" fmla="*/ 8 h 56"/>
                  <a:gd name="T16" fmla="*/ 22 w 34"/>
                  <a:gd name="T17" fmla="*/ 14 h 56"/>
                  <a:gd name="T18" fmla="*/ 28 w 34"/>
                  <a:gd name="T19" fmla="*/ 22 h 56"/>
                  <a:gd name="T20" fmla="*/ 34 w 34"/>
                  <a:gd name="T21" fmla="*/ 28 h 56"/>
                  <a:gd name="T22" fmla="*/ 34 w 34"/>
                  <a:gd name="T23" fmla="*/ 34 h 56"/>
                  <a:gd name="T24" fmla="*/ 34 w 34"/>
                  <a:gd name="T25" fmla="*/ 42 h 56"/>
                  <a:gd name="T26" fmla="*/ 34 w 34"/>
                  <a:gd name="T27" fmla="*/ 48 h 56"/>
                  <a:gd name="T28" fmla="*/ 34 w 34"/>
                  <a:gd name="T29" fmla="*/ 56 h 56"/>
                  <a:gd name="T30" fmla="*/ 28 w 34"/>
                  <a:gd name="T31" fmla="*/ 56 h 56"/>
                  <a:gd name="T32" fmla="*/ 2 w 34"/>
                  <a:gd name="T33" fmla="*/ 48 h 56"/>
                  <a:gd name="T34" fmla="*/ 2 w 34"/>
                  <a:gd name="T35" fmla="*/ 48 h 56"/>
                  <a:gd name="T36" fmla="*/ 2 w 34"/>
                  <a:gd name="T37"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6">
                    <a:moveTo>
                      <a:pt x="2" y="48"/>
                    </a:moveTo>
                    <a:lnTo>
                      <a:pt x="4" y="36"/>
                    </a:lnTo>
                    <a:lnTo>
                      <a:pt x="0" y="28"/>
                    </a:lnTo>
                    <a:lnTo>
                      <a:pt x="0" y="22"/>
                    </a:lnTo>
                    <a:lnTo>
                      <a:pt x="0" y="14"/>
                    </a:lnTo>
                    <a:lnTo>
                      <a:pt x="8" y="8"/>
                    </a:lnTo>
                    <a:lnTo>
                      <a:pt x="14" y="0"/>
                    </a:lnTo>
                    <a:lnTo>
                      <a:pt x="22" y="8"/>
                    </a:lnTo>
                    <a:lnTo>
                      <a:pt x="22" y="14"/>
                    </a:lnTo>
                    <a:lnTo>
                      <a:pt x="28" y="22"/>
                    </a:lnTo>
                    <a:lnTo>
                      <a:pt x="34" y="28"/>
                    </a:lnTo>
                    <a:lnTo>
                      <a:pt x="34" y="34"/>
                    </a:lnTo>
                    <a:lnTo>
                      <a:pt x="34" y="42"/>
                    </a:lnTo>
                    <a:lnTo>
                      <a:pt x="34" y="48"/>
                    </a:lnTo>
                    <a:lnTo>
                      <a:pt x="34" y="56"/>
                    </a:lnTo>
                    <a:lnTo>
                      <a:pt x="28" y="56"/>
                    </a:lnTo>
                    <a:lnTo>
                      <a:pt x="2" y="48"/>
                    </a:lnTo>
                    <a:lnTo>
                      <a:pt x="2" y="48"/>
                    </a:lnTo>
                    <a:lnTo>
                      <a:pt x="2" y="48"/>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7" name="Freeform 51"/>
              <p:cNvSpPr>
                <a:spLocks/>
              </p:cNvSpPr>
              <p:nvPr>
                <p:custDataLst>
                  <p:tags r:id="rId143"/>
                </p:custDataLst>
              </p:nvPr>
            </p:nvSpPr>
            <p:spPr bwMode="gray">
              <a:xfrm>
                <a:off x="4072875" y="2815949"/>
                <a:ext cx="298516" cy="276286"/>
              </a:xfrm>
              <a:custGeom>
                <a:avLst/>
                <a:gdLst>
                  <a:gd name="T0" fmla="*/ 166 w 188"/>
                  <a:gd name="T1" fmla="*/ 28 h 174"/>
                  <a:gd name="T2" fmla="*/ 160 w 188"/>
                  <a:gd name="T3" fmla="*/ 0 h 174"/>
                  <a:gd name="T4" fmla="*/ 146 w 188"/>
                  <a:gd name="T5" fmla="*/ 8 h 174"/>
                  <a:gd name="T6" fmla="*/ 132 w 188"/>
                  <a:gd name="T7" fmla="*/ 8 h 174"/>
                  <a:gd name="T8" fmla="*/ 124 w 188"/>
                  <a:gd name="T9" fmla="*/ 8 h 174"/>
                  <a:gd name="T10" fmla="*/ 112 w 188"/>
                  <a:gd name="T11" fmla="*/ 8 h 174"/>
                  <a:gd name="T12" fmla="*/ 90 w 188"/>
                  <a:gd name="T13" fmla="*/ 22 h 174"/>
                  <a:gd name="T14" fmla="*/ 90 w 188"/>
                  <a:gd name="T15" fmla="*/ 36 h 174"/>
                  <a:gd name="T16" fmla="*/ 90 w 188"/>
                  <a:gd name="T17" fmla="*/ 50 h 174"/>
                  <a:gd name="T18" fmla="*/ 76 w 188"/>
                  <a:gd name="T19" fmla="*/ 76 h 174"/>
                  <a:gd name="T20" fmla="*/ 62 w 188"/>
                  <a:gd name="T21" fmla="*/ 76 h 174"/>
                  <a:gd name="T22" fmla="*/ 70 w 188"/>
                  <a:gd name="T23" fmla="*/ 56 h 174"/>
                  <a:gd name="T24" fmla="*/ 70 w 188"/>
                  <a:gd name="T25" fmla="*/ 50 h 174"/>
                  <a:gd name="T26" fmla="*/ 76 w 188"/>
                  <a:gd name="T27" fmla="*/ 36 h 174"/>
                  <a:gd name="T28" fmla="*/ 56 w 188"/>
                  <a:gd name="T29" fmla="*/ 28 h 174"/>
                  <a:gd name="T30" fmla="*/ 56 w 188"/>
                  <a:gd name="T31" fmla="*/ 28 h 174"/>
                  <a:gd name="T32" fmla="*/ 48 w 188"/>
                  <a:gd name="T33" fmla="*/ 56 h 174"/>
                  <a:gd name="T34" fmla="*/ 42 w 188"/>
                  <a:gd name="T35" fmla="*/ 70 h 174"/>
                  <a:gd name="T36" fmla="*/ 34 w 188"/>
                  <a:gd name="T37" fmla="*/ 76 h 174"/>
                  <a:gd name="T38" fmla="*/ 14 w 188"/>
                  <a:gd name="T39" fmla="*/ 84 h 174"/>
                  <a:gd name="T40" fmla="*/ 20 w 188"/>
                  <a:gd name="T41" fmla="*/ 98 h 174"/>
                  <a:gd name="T42" fmla="*/ 8 w 188"/>
                  <a:gd name="T43" fmla="*/ 112 h 174"/>
                  <a:gd name="T44" fmla="*/ 0 w 188"/>
                  <a:gd name="T45" fmla="*/ 98 h 174"/>
                  <a:gd name="T46" fmla="*/ 0 w 188"/>
                  <a:gd name="T47" fmla="*/ 112 h 174"/>
                  <a:gd name="T48" fmla="*/ 8 w 188"/>
                  <a:gd name="T49" fmla="*/ 126 h 174"/>
                  <a:gd name="T50" fmla="*/ 34 w 188"/>
                  <a:gd name="T51" fmla="*/ 138 h 174"/>
                  <a:gd name="T52" fmla="*/ 42 w 188"/>
                  <a:gd name="T53" fmla="*/ 146 h 174"/>
                  <a:gd name="T54" fmla="*/ 56 w 188"/>
                  <a:gd name="T55" fmla="*/ 138 h 174"/>
                  <a:gd name="T56" fmla="*/ 70 w 188"/>
                  <a:gd name="T57" fmla="*/ 152 h 174"/>
                  <a:gd name="T58" fmla="*/ 82 w 188"/>
                  <a:gd name="T59" fmla="*/ 174 h 174"/>
                  <a:gd name="T60" fmla="*/ 96 w 188"/>
                  <a:gd name="T61" fmla="*/ 160 h 174"/>
                  <a:gd name="T62" fmla="*/ 96 w 188"/>
                  <a:gd name="T63" fmla="*/ 138 h 174"/>
                  <a:gd name="T64" fmla="*/ 112 w 188"/>
                  <a:gd name="T65" fmla="*/ 126 h 174"/>
                  <a:gd name="T66" fmla="*/ 138 w 188"/>
                  <a:gd name="T67" fmla="*/ 126 h 174"/>
                  <a:gd name="T68" fmla="*/ 152 w 188"/>
                  <a:gd name="T69" fmla="*/ 126 h 174"/>
                  <a:gd name="T70" fmla="*/ 166 w 188"/>
                  <a:gd name="T71" fmla="*/ 126 h 174"/>
                  <a:gd name="T72" fmla="*/ 174 w 188"/>
                  <a:gd name="T73" fmla="*/ 98 h 174"/>
                  <a:gd name="T74" fmla="*/ 174 w 188"/>
                  <a:gd name="T75" fmla="*/ 84 h 174"/>
                  <a:gd name="T76" fmla="*/ 174 w 188"/>
                  <a:gd name="T77" fmla="*/ 64 h 174"/>
                  <a:gd name="T78" fmla="*/ 180 w 188"/>
                  <a:gd name="T79" fmla="*/ 56 h 174"/>
                  <a:gd name="T80" fmla="*/ 180 w 188"/>
                  <a:gd name="T81" fmla="*/ 42 h 174"/>
                  <a:gd name="T82" fmla="*/ 188 w 188"/>
                  <a:gd name="T83" fmla="*/ 28 h 174"/>
                  <a:gd name="T84" fmla="*/ 174 w 188"/>
                  <a:gd name="T85" fmla="*/ 28 h 174"/>
                  <a:gd name="T86" fmla="*/ 174 w 188"/>
                  <a:gd name="T87" fmla="*/ 2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 h="174">
                    <a:moveTo>
                      <a:pt x="174" y="28"/>
                    </a:moveTo>
                    <a:lnTo>
                      <a:pt x="166" y="28"/>
                    </a:lnTo>
                    <a:lnTo>
                      <a:pt x="166" y="0"/>
                    </a:lnTo>
                    <a:lnTo>
                      <a:pt x="160" y="0"/>
                    </a:lnTo>
                    <a:lnTo>
                      <a:pt x="152" y="0"/>
                    </a:lnTo>
                    <a:lnTo>
                      <a:pt x="146" y="8"/>
                    </a:lnTo>
                    <a:lnTo>
                      <a:pt x="132" y="14"/>
                    </a:lnTo>
                    <a:lnTo>
                      <a:pt x="132" y="8"/>
                    </a:lnTo>
                    <a:lnTo>
                      <a:pt x="132" y="0"/>
                    </a:lnTo>
                    <a:lnTo>
                      <a:pt x="124" y="8"/>
                    </a:lnTo>
                    <a:lnTo>
                      <a:pt x="118" y="8"/>
                    </a:lnTo>
                    <a:lnTo>
                      <a:pt x="112" y="8"/>
                    </a:lnTo>
                    <a:lnTo>
                      <a:pt x="96" y="14"/>
                    </a:lnTo>
                    <a:lnTo>
                      <a:pt x="90" y="22"/>
                    </a:lnTo>
                    <a:lnTo>
                      <a:pt x="90" y="28"/>
                    </a:lnTo>
                    <a:lnTo>
                      <a:pt x="90" y="36"/>
                    </a:lnTo>
                    <a:lnTo>
                      <a:pt x="90" y="42"/>
                    </a:lnTo>
                    <a:lnTo>
                      <a:pt x="90" y="50"/>
                    </a:lnTo>
                    <a:lnTo>
                      <a:pt x="90" y="64"/>
                    </a:lnTo>
                    <a:lnTo>
                      <a:pt x="76" y="76"/>
                    </a:lnTo>
                    <a:lnTo>
                      <a:pt x="70" y="76"/>
                    </a:lnTo>
                    <a:lnTo>
                      <a:pt x="62" y="76"/>
                    </a:lnTo>
                    <a:lnTo>
                      <a:pt x="62" y="64"/>
                    </a:lnTo>
                    <a:lnTo>
                      <a:pt x="70" y="56"/>
                    </a:lnTo>
                    <a:lnTo>
                      <a:pt x="62" y="56"/>
                    </a:lnTo>
                    <a:lnTo>
                      <a:pt x="70" y="50"/>
                    </a:lnTo>
                    <a:lnTo>
                      <a:pt x="76" y="42"/>
                    </a:lnTo>
                    <a:lnTo>
                      <a:pt x="76" y="36"/>
                    </a:lnTo>
                    <a:lnTo>
                      <a:pt x="70" y="28"/>
                    </a:lnTo>
                    <a:lnTo>
                      <a:pt x="56" y="28"/>
                    </a:lnTo>
                    <a:lnTo>
                      <a:pt x="56" y="22"/>
                    </a:lnTo>
                    <a:lnTo>
                      <a:pt x="56" y="28"/>
                    </a:lnTo>
                    <a:lnTo>
                      <a:pt x="48" y="42"/>
                    </a:lnTo>
                    <a:lnTo>
                      <a:pt x="48" y="56"/>
                    </a:lnTo>
                    <a:lnTo>
                      <a:pt x="42" y="64"/>
                    </a:lnTo>
                    <a:lnTo>
                      <a:pt x="42" y="70"/>
                    </a:lnTo>
                    <a:lnTo>
                      <a:pt x="34" y="70"/>
                    </a:lnTo>
                    <a:lnTo>
                      <a:pt x="34" y="76"/>
                    </a:lnTo>
                    <a:lnTo>
                      <a:pt x="28" y="84"/>
                    </a:lnTo>
                    <a:lnTo>
                      <a:pt x="14" y="84"/>
                    </a:lnTo>
                    <a:lnTo>
                      <a:pt x="14" y="98"/>
                    </a:lnTo>
                    <a:lnTo>
                      <a:pt x="20" y="98"/>
                    </a:lnTo>
                    <a:lnTo>
                      <a:pt x="20" y="104"/>
                    </a:lnTo>
                    <a:lnTo>
                      <a:pt x="8" y="112"/>
                    </a:lnTo>
                    <a:lnTo>
                      <a:pt x="8" y="98"/>
                    </a:lnTo>
                    <a:lnTo>
                      <a:pt x="0" y="98"/>
                    </a:lnTo>
                    <a:lnTo>
                      <a:pt x="0" y="104"/>
                    </a:lnTo>
                    <a:lnTo>
                      <a:pt x="0" y="112"/>
                    </a:lnTo>
                    <a:lnTo>
                      <a:pt x="0" y="126"/>
                    </a:lnTo>
                    <a:lnTo>
                      <a:pt x="8" y="126"/>
                    </a:lnTo>
                    <a:lnTo>
                      <a:pt x="14" y="132"/>
                    </a:lnTo>
                    <a:lnTo>
                      <a:pt x="34" y="138"/>
                    </a:lnTo>
                    <a:lnTo>
                      <a:pt x="34" y="146"/>
                    </a:lnTo>
                    <a:lnTo>
                      <a:pt x="42" y="146"/>
                    </a:lnTo>
                    <a:lnTo>
                      <a:pt x="48" y="138"/>
                    </a:lnTo>
                    <a:lnTo>
                      <a:pt x="56" y="138"/>
                    </a:lnTo>
                    <a:lnTo>
                      <a:pt x="62" y="146"/>
                    </a:lnTo>
                    <a:lnTo>
                      <a:pt x="70" y="152"/>
                    </a:lnTo>
                    <a:lnTo>
                      <a:pt x="82" y="168"/>
                    </a:lnTo>
                    <a:lnTo>
                      <a:pt x="82" y="174"/>
                    </a:lnTo>
                    <a:lnTo>
                      <a:pt x="96" y="168"/>
                    </a:lnTo>
                    <a:lnTo>
                      <a:pt x="96" y="160"/>
                    </a:lnTo>
                    <a:lnTo>
                      <a:pt x="96" y="146"/>
                    </a:lnTo>
                    <a:lnTo>
                      <a:pt x="96" y="138"/>
                    </a:lnTo>
                    <a:lnTo>
                      <a:pt x="96" y="132"/>
                    </a:lnTo>
                    <a:lnTo>
                      <a:pt x="112" y="126"/>
                    </a:lnTo>
                    <a:lnTo>
                      <a:pt x="132" y="118"/>
                    </a:lnTo>
                    <a:lnTo>
                      <a:pt x="138" y="126"/>
                    </a:lnTo>
                    <a:lnTo>
                      <a:pt x="146" y="126"/>
                    </a:lnTo>
                    <a:lnTo>
                      <a:pt x="152" y="126"/>
                    </a:lnTo>
                    <a:lnTo>
                      <a:pt x="160" y="126"/>
                    </a:lnTo>
                    <a:lnTo>
                      <a:pt x="166" y="126"/>
                    </a:lnTo>
                    <a:lnTo>
                      <a:pt x="174" y="104"/>
                    </a:lnTo>
                    <a:lnTo>
                      <a:pt x="174" y="98"/>
                    </a:lnTo>
                    <a:lnTo>
                      <a:pt x="166" y="90"/>
                    </a:lnTo>
                    <a:lnTo>
                      <a:pt x="174" y="84"/>
                    </a:lnTo>
                    <a:lnTo>
                      <a:pt x="174" y="76"/>
                    </a:lnTo>
                    <a:lnTo>
                      <a:pt x="174" y="64"/>
                    </a:lnTo>
                    <a:lnTo>
                      <a:pt x="174" y="56"/>
                    </a:lnTo>
                    <a:lnTo>
                      <a:pt x="180" y="56"/>
                    </a:lnTo>
                    <a:lnTo>
                      <a:pt x="180" y="50"/>
                    </a:lnTo>
                    <a:lnTo>
                      <a:pt x="180" y="42"/>
                    </a:lnTo>
                    <a:lnTo>
                      <a:pt x="180" y="36"/>
                    </a:lnTo>
                    <a:lnTo>
                      <a:pt x="188" y="28"/>
                    </a:lnTo>
                    <a:lnTo>
                      <a:pt x="180" y="22"/>
                    </a:lnTo>
                    <a:lnTo>
                      <a:pt x="174" y="28"/>
                    </a:lnTo>
                    <a:lnTo>
                      <a:pt x="174" y="28"/>
                    </a:lnTo>
                    <a:lnTo>
                      <a:pt x="174" y="28"/>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8" name="Freeform 52"/>
              <p:cNvSpPr>
                <a:spLocks/>
              </p:cNvSpPr>
              <p:nvPr/>
            </p:nvSpPr>
            <p:spPr bwMode="gray">
              <a:xfrm>
                <a:off x="4517473" y="2352295"/>
                <a:ext cx="177840" cy="107974"/>
              </a:xfrm>
              <a:custGeom>
                <a:avLst/>
                <a:gdLst>
                  <a:gd name="T0" fmla="*/ 8 w 112"/>
                  <a:gd name="T1" fmla="*/ 68 h 68"/>
                  <a:gd name="T2" fmla="*/ 8 w 112"/>
                  <a:gd name="T3" fmla="*/ 62 h 68"/>
                  <a:gd name="T4" fmla="*/ 8 w 112"/>
                  <a:gd name="T5" fmla="*/ 54 h 68"/>
                  <a:gd name="T6" fmla="*/ 14 w 112"/>
                  <a:gd name="T7" fmla="*/ 48 h 68"/>
                  <a:gd name="T8" fmla="*/ 22 w 112"/>
                  <a:gd name="T9" fmla="*/ 48 h 68"/>
                  <a:gd name="T10" fmla="*/ 28 w 112"/>
                  <a:gd name="T11" fmla="*/ 48 h 68"/>
                  <a:gd name="T12" fmla="*/ 34 w 112"/>
                  <a:gd name="T13" fmla="*/ 48 h 68"/>
                  <a:gd name="T14" fmla="*/ 42 w 112"/>
                  <a:gd name="T15" fmla="*/ 48 h 68"/>
                  <a:gd name="T16" fmla="*/ 50 w 112"/>
                  <a:gd name="T17" fmla="*/ 48 h 68"/>
                  <a:gd name="T18" fmla="*/ 56 w 112"/>
                  <a:gd name="T19" fmla="*/ 42 h 68"/>
                  <a:gd name="T20" fmla="*/ 64 w 112"/>
                  <a:gd name="T21" fmla="*/ 42 h 68"/>
                  <a:gd name="T22" fmla="*/ 76 w 112"/>
                  <a:gd name="T23" fmla="*/ 42 h 68"/>
                  <a:gd name="T24" fmla="*/ 84 w 112"/>
                  <a:gd name="T25" fmla="*/ 48 h 68"/>
                  <a:gd name="T26" fmla="*/ 92 w 112"/>
                  <a:gd name="T27" fmla="*/ 54 h 68"/>
                  <a:gd name="T28" fmla="*/ 92 w 112"/>
                  <a:gd name="T29" fmla="*/ 48 h 68"/>
                  <a:gd name="T30" fmla="*/ 98 w 112"/>
                  <a:gd name="T31" fmla="*/ 42 h 68"/>
                  <a:gd name="T32" fmla="*/ 106 w 112"/>
                  <a:gd name="T33" fmla="*/ 34 h 68"/>
                  <a:gd name="T34" fmla="*/ 106 w 112"/>
                  <a:gd name="T35" fmla="*/ 20 h 68"/>
                  <a:gd name="T36" fmla="*/ 98 w 112"/>
                  <a:gd name="T37" fmla="*/ 20 h 68"/>
                  <a:gd name="T38" fmla="*/ 98 w 112"/>
                  <a:gd name="T39" fmla="*/ 14 h 68"/>
                  <a:gd name="T40" fmla="*/ 106 w 112"/>
                  <a:gd name="T41" fmla="*/ 6 h 68"/>
                  <a:gd name="T42" fmla="*/ 112 w 112"/>
                  <a:gd name="T43" fmla="*/ 0 h 68"/>
                  <a:gd name="T44" fmla="*/ 106 w 112"/>
                  <a:gd name="T45" fmla="*/ 0 h 68"/>
                  <a:gd name="T46" fmla="*/ 98 w 112"/>
                  <a:gd name="T47" fmla="*/ 6 h 68"/>
                  <a:gd name="T48" fmla="*/ 92 w 112"/>
                  <a:gd name="T49" fmla="*/ 6 h 68"/>
                  <a:gd name="T50" fmla="*/ 84 w 112"/>
                  <a:gd name="T51" fmla="*/ 6 h 68"/>
                  <a:gd name="T52" fmla="*/ 76 w 112"/>
                  <a:gd name="T53" fmla="*/ 14 h 68"/>
                  <a:gd name="T54" fmla="*/ 70 w 112"/>
                  <a:gd name="T55" fmla="*/ 14 h 68"/>
                  <a:gd name="T56" fmla="*/ 64 w 112"/>
                  <a:gd name="T57" fmla="*/ 20 h 68"/>
                  <a:gd name="T58" fmla="*/ 56 w 112"/>
                  <a:gd name="T59" fmla="*/ 28 h 68"/>
                  <a:gd name="T60" fmla="*/ 56 w 112"/>
                  <a:gd name="T61" fmla="*/ 34 h 68"/>
                  <a:gd name="T62" fmla="*/ 50 w 112"/>
                  <a:gd name="T63" fmla="*/ 42 h 68"/>
                  <a:gd name="T64" fmla="*/ 42 w 112"/>
                  <a:gd name="T65" fmla="*/ 42 h 68"/>
                  <a:gd name="T66" fmla="*/ 34 w 112"/>
                  <a:gd name="T67" fmla="*/ 42 h 68"/>
                  <a:gd name="T68" fmla="*/ 14 w 112"/>
                  <a:gd name="T69" fmla="*/ 42 h 68"/>
                  <a:gd name="T70" fmla="*/ 8 w 112"/>
                  <a:gd name="T71" fmla="*/ 42 h 68"/>
                  <a:gd name="T72" fmla="*/ 0 w 112"/>
                  <a:gd name="T73" fmla="*/ 48 h 68"/>
                  <a:gd name="T74" fmla="*/ 0 w 112"/>
                  <a:gd name="T75" fmla="*/ 54 h 68"/>
                  <a:gd name="T76" fmla="*/ 8 w 112"/>
                  <a:gd name="T77" fmla="*/ 68 h 68"/>
                  <a:gd name="T78" fmla="*/ 8 w 112"/>
                  <a:gd name="T79" fmla="*/ 68 h 68"/>
                  <a:gd name="T80" fmla="*/ 8 w 112"/>
                  <a:gd name="T8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68">
                    <a:moveTo>
                      <a:pt x="8" y="68"/>
                    </a:moveTo>
                    <a:lnTo>
                      <a:pt x="8" y="62"/>
                    </a:lnTo>
                    <a:lnTo>
                      <a:pt x="8" y="54"/>
                    </a:lnTo>
                    <a:lnTo>
                      <a:pt x="14" y="48"/>
                    </a:lnTo>
                    <a:lnTo>
                      <a:pt x="22" y="48"/>
                    </a:lnTo>
                    <a:lnTo>
                      <a:pt x="28" y="48"/>
                    </a:lnTo>
                    <a:lnTo>
                      <a:pt x="34" y="48"/>
                    </a:lnTo>
                    <a:lnTo>
                      <a:pt x="42" y="48"/>
                    </a:lnTo>
                    <a:lnTo>
                      <a:pt x="50" y="48"/>
                    </a:lnTo>
                    <a:lnTo>
                      <a:pt x="56" y="42"/>
                    </a:lnTo>
                    <a:lnTo>
                      <a:pt x="64" y="42"/>
                    </a:lnTo>
                    <a:lnTo>
                      <a:pt x="76" y="42"/>
                    </a:lnTo>
                    <a:lnTo>
                      <a:pt x="84" y="48"/>
                    </a:lnTo>
                    <a:lnTo>
                      <a:pt x="92" y="54"/>
                    </a:lnTo>
                    <a:lnTo>
                      <a:pt x="92" y="48"/>
                    </a:lnTo>
                    <a:lnTo>
                      <a:pt x="98" y="42"/>
                    </a:lnTo>
                    <a:lnTo>
                      <a:pt x="106" y="34"/>
                    </a:lnTo>
                    <a:lnTo>
                      <a:pt x="106" y="20"/>
                    </a:lnTo>
                    <a:lnTo>
                      <a:pt x="98" y="20"/>
                    </a:lnTo>
                    <a:lnTo>
                      <a:pt x="98" y="14"/>
                    </a:lnTo>
                    <a:lnTo>
                      <a:pt x="106" y="6"/>
                    </a:lnTo>
                    <a:lnTo>
                      <a:pt x="112" y="0"/>
                    </a:lnTo>
                    <a:lnTo>
                      <a:pt x="106" y="0"/>
                    </a:lnTo>
                    <a:lnTo>
                      <a:pt x="98" y="6"/>
                    </a:lnTo>
                    <a:lnTo>
                      <a:pt x="92" y="6"/>
                    </a:lnTo>
                    <a:lnTo>
                      <a:pt x="84" y="6"/>
                    </a:lnTo>
                    <a:lnTo>
                      <a:pt x="76" y="14"/>
                    </a:lnTo>
                    <a:lnTo>
                      <a:pt x="70" y="14"/>
                    </a:lnTo>
                    <a:lnTo>
                      <a:pt x="64" y="20"/>
                    </a:lnTo>
                    <a:lnTo>
                      <a:pt x="56" y="28"/>
                    </a:lnTo>
                    <a:lnTo>
                      <a:pt x="56" y="34"/>
                    </a:lnTo>
                    <a:lnTo>
                      <a:pt x="50" y="42"/>
                    </a:lnTo>
                    <a:lnTo>
                      <a:pt x="42" y="42"/>
                    </a:lnTo>
                    <a:lnTo>
                      <a:pt x="34" y="42"/>
                    </a:lnTo>
                    <a:lnTo>
                      <a:pt x="14" y="42"/>
                    </a:lnTo>
                    <a:lnTo>
                      <a:pt x="8" y="42"/>
                    </a:lnTo>
                    <a:lnTo>
                      <a:pt x="0" y="48"/>
                    </a:lnTo>
                    <a:lnTo>
                      <a:pt x="0" y="54"/>
                    </a:lnTo>
                    <a:lnTo>
                      <a:pt x="8" y="68"/>
                    </a:lnTo>
                    <a:lnTo>
                      <a:pt x="8" y="68"/>
                    </a:lnTo>
                    <a:lnTo>
                      <a:pt x="8" y="68"/>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9" name="Freeform 53"/>
              <p:cNvSpPr>
                <a:spLocks/>
              </p:cNvSpPr>
              <p:nvPr/>
            </p:nvSpPr>
            <p:spPr bwMode="gray">
              <a:xfrm>
                <a:off x="4596866" y="2615879"/>
                <a:ext cx="53987" cy="53987"/>
              </a:xfrm>
              <a:custGeom>
                <a:avLst/>
                <a:gdLst>
                  <a:gd name="T0" fmla="*/ 34 w 34"/>
                  <a:gd name="T1" fmla="*/ 34 h 34"/>
                  <a:gd name="T2" fmla="*/ 26 w 34"/>
                  <a:gd name="T3" fmla="*/ 34 h 34"/>
                  <a:gd name="T4" fmla="*/ 14 w 34"/>
                  <a:gd name="T5" fmla="*/ 34 h 34"/>
                  <a:gd name="T6" fmla="*/ 14 w 34"/>
                  <a:gd name="T7" fmla="*/ 28 h 34"/>
                  <a:gd name="T8" fmla="*/ 0 w 34"/>
                  <a:gd name="T9" fmla="*/ 28 h 34"/>
                  <a:gd name="T10" fmla="*/ 0 w 34"/>
                  <a:gd name="T11" fmla="*/ 14 h 34"/>
                  <a:gd name="T12" fmla="*/ 0 w 34"/>
                  <a:gd name="T13" fmla="*/ 6 h 34"/>
                  <a:gd name="T14" fmla="*/ 6 w 34"/>
                  <a:gd name="T15" fmla="*/ 6 h 34"/>
                  <a:gd name="T16" fmla="*/ 6 w 34"/>
                  <a:gd name="T17" fmla="*/ 0 h 34"/>
                  <a:gd name="T18" fmla="*/ 14 w 34"/>
                  <a:gd name="T19" fmla="*/ 6 h 34"/>
                  <a:gd name="T20" fmla="*/ 20 w 34"/>
                  <a:gd name="T21" fmla="*/ 0 h 34"/>
                  <a:gd name="T22" fmla="*/ 26 w 34"/>
                  <a:gd name="T23" fmla="*/ 6 h 34"/>
                  <a:gd name="T24" fmla="*/ 34 w 34"/>
                  <a:gd name="T25" fmla="*/ 6 h 34"/>
                  <a:gd name="T26" fmla="*/ 34 w 34"/>
                  <a:gd name="T27" fmla="*/ 14 h 34"/>
                  <a:gd name="T28" fmla="*/ 34 w 34"/>
                  <a:gd name="T29" fmla="*/ 20 h 34"/>
                  <a:gd name="T30" fmla="*/ 34 w 34"/>
                  <a:gd name="T31" fmla="*/ 28 h 34"/>
                  <a:gd name="T32" fmla="*/ 34 w 34"/>
                  <a:gd name="T33" fmla="*/ 34 h 34"/>
                  <a:gd name="T34" fmla="*/ 26 w 34"/>
                  <a:gd name="T35" fmla="*/ 34 h 34"/>
                  <a:gd name="T36" fmla="*/ 34 w 34"/>
                  <a:gd name="T37" fmla="*/ 34 h 34"/>
                  <a:gd name="T38" fmla="*/ 34 w 34"/>
                  <a:gd name="T39" fmla="*/ 34 h 34"/>
                  <a:gd name="T40" fmla="*/ 34 w 34"/>
                  <a:gd name="T4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34">
                    <a:moveTo>
                      <a:pt x="34" y="34"/>
                    </a:moveTo>
                    <a:lnTo>
                      <a:pt x="26" y="34"/>
                    </a:lnTo>
                    <a:lnTo>
                      <a:pt x="14" y="34"/>
                    </a:lnTo>
                    <a:lnTo>
                      <a:pt x="14" y="28"/>
                    </a:lnTo>
                    <a:lnTo>
                      <a:pt x="0" y="28"/>
                    </a:lnTo>
                    <a:lnTo>
                      <a:pt x="0" y="14"/>
                    </a:lnTo>
                    <a:lnTo>
                      <a:pt x="0" y="6"/>
                    </a:lnTo>
                    <a:lnTo>
                      <a:pt x="6" y="6"/>
                    </a:lnTo>
                    <a:lnTo>
                      <a:pt x="6" y="0"/>
                    </a:lnTo>
                    <a:lnTo>
                      <a:pt x="14" y="6"/>
                    </a:lnTo>
                    <a:lnTo>
                      <a:pt x="20" y="0"/>
                    </a:lnTo>
                    <a:lnTo>
                      <a:pt x="26" y="6"/>
                    </a:lnTo>
                    <a:lnTo>
                      <a:pt x="34" y="6"/>
                    </a:lnTo>
                    <a:lnTo>
                      <a:pt x="34" y="14"/>
                    </a:lnTo>
                    <a:lnTo>
                      <a:pt x="34" y="20"/>
                    </a:lnTo>
                    <a:lnTo>
                      <a:pt x="34" y="28"/>
                    </a:lnTo>
                    <a:lnTo>
                      <a:pt x="34" y="34"/>
                    </a:lnTo>
                    <a:lnTo>
                      <a:pt x="26" y="34"/>
                    </a:lnTo>
                    <a:lnTo>
                      <a:pt x="34" y="34"/>
                    </a:lnTo>
                    <a:lnTo>
                      <a:pt x="34" y="34"/>
                    </a:lnTo>
                    <a:lnTo>
                      <a:pt x="34" y="34"/>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0" name="Freeform 54"/>
              <p:cNvSpPr>
                <a:spLocks/>
              </p:cNvSpPr>
              <p:nvPr/>
            </p:nvSpPr>
            <p:spPr bwMode="gray">
              <a:xfrm>
                <a:off x="4666731" y="2558716"/>
                <a:ext cx="111150" cy="130204"/>
              </a:xfrm>
              <a:custGeom>
                <a:avLst/>
                <a:gdLst>
                  <a:gd name="T0" fmla="*/ 34 w 70"/>
                  <a:gd name="T1" fmla="*/ 82 h 82"/>
                  <a:gd name="T2" fmla="*/ 20 w 70"/>
                  <a:gd name="T3" fmla="*/ 76 h 82"/>
                  <a:gd name="T4" fmla="*/ 28 w 70"/>
                  <a:gd name="T5" fmla="*/ 76 h 82"/>
                  <a:gd name="T6" fmla="*/ 28 w 70"/>
                  <a:gd name="T7" fmla="*/ 68 h 82"/>
                  <a:gd name="T8" fmla="*/ 20 w 70"/>
                  <a:gd name="T9" fmla="*/ 68 h 82"/>
                  <a:gd name="T10" fmla="*/ 6 w 70"/>
                  <a:gd name="T11" fmla="*/ 68 h 82"/>
                  <a:gd name="T12" fmla="*/ 0 w 70"/>
                  <a:gd name="T13" fmla="*/ 62 h 82"/>
                  <a:gd name="T14" fmla="*/ 0 w 70"/>
                  <a:gd name="T15" fmla="*/ 56 h 82"/>
                  <a:gd name="T16" fmla="*/ 6 w 70"/>
                  <a:gd name="T17" fmla="*/ 48 h 82"/>
                  <a:gd name="T18" fmla="*/ 0 w 70"/>
                  <a:gd name="T19" fmla="*/ 42 h 82"/>
                  <a:gd name="T20" fmla="*/ 0 w 70"/>
                  <a:gd name="T21" fmla="*/ 34 h 82"/>
                  <a:gd name="T22" fmla="*/ 6 w 70"/>
                  <a:gd name="T23" fmla="*/ 28 h 82"/>
                  <a:gd name="T24" fmla="*/ 14 w 70"/>
                  <a:gd name="T25" fmla="*/ 28 h 82"/>
                  <a:gd name="T26" fmla="*/ 20 w 70"/>
                  <a:gd name="T27" fmla="*/ 22 h 82"/>
                  <a:gd name="T28" fmla="*/ 20 w 70"/>
                  <a:gd name="T29" fmla="*/ 14 h 82"/>
                  <a:gd name="T30" fmla="*/ 28 w 70"/>
                  <a:gd name="T31" fmla="*/ 14 h 82"/>
                  <a:gd name="T32" fmla="*/ 28 w 70"/>
                  <a:gd name="T33" fmla="*/ 22 h 82"/>
                  <a:gd name="T34" fmla="*/ 20 w 70"/>
                  <a:gd name="T35" fmla="*/ 28 h 82"/>
                  <a:gd name="T36" fmla="*/ 28 w 70"/>
                  <a:gd name="T37" fmla="*/ 34 h 82"/>
                  <a:gd name="T38" fmla="*/ 34 w 70"/>
                  <a:gd name="T39" fmla="*/ 34 h 82"/>
                  <a:gd name="T40" fmla="*/ 34 w 70"/>
                  <a:gd name="T41" fmla="*/ 28 h 82"/>
                  <a:gd name="T42" fmla="*/ 34 w 70"/>
                  <a:gd name="T43" fmla="*/ 22 h 82"/>
                  <a:gd name="T44" fmla="*/ 42 w 70"/>
                  <a:gd name="T45" fmla="*/ 22 h 82"/>
                  <a:gd name="T46" fmla="*/ 48 w 70"/>
                  <a:gd name="T47" fmla="*/ 22 h 82"/>
                  <a:gd name="T48" fmla="*/ 56 w 70"/>
                  <a:gd name="T49" fmla="*/ 14 h 82"/>
                  <a:gd name="T50" fmla="*/ 48 w 70"/>
                  <a:gd name="T51" fmla="*/ 8 h 82"/>
                  <a:gd name="T52" fmla="*/ 42 w 70"/>
                  <a:gd name="T53" fmla="*/ 8 h 82"/>
                  <a:gd name="T54" fmla="*/ 48 w 70"/>
                  <a:gd name="T55" fmla="*/ 0 h 82"/>
                  <a:gd name="T56" fmla="*/ 56 w 70"/>
                  <a:gd name="T57" fmla="*/ 0 h 82"/>
                  <a:gd name="T58" fmla="*/ 70 w 70"/>
                  <a:gd name="T59" fmla="*/ 0 h 82"/>
                  <a:gd name="T60" fmla="*/ 62 w 70"/>
                  <a:gd name="T61" fmla="*/ 8 h 82"/>
                  <a:gd name="T62" fmla="*/ 70 w 70"/>
                  <a:gd name="T63" fmla="*/ 8 h 82"/>
                  <a:gd name="T64" fmla="*/ 62 w 70"/>
                  <a:gd name="T65" fmla="*/ 14 h 82"/>
                  <a:gd name="T66" fmla="*/ 70 w 70"/>
                  <a:gd name="T67" fmla="*/ 28 h 82"/>
                  <a:gd name="T68" fmla="*/ 62 w 70"/>
                  <a:gd name="T69" fmla="*/ 34 h 82"/>
                  <a:gd name="T70" fmla="*/ 48 w 70"/>
                  <a:gd name="T71" fmla="*/ 48 h 82"/>
                  <a:gd name="T72" fmla="*/ 56 w 70"/>
                  <a:gd name="T73" fmla="*/ 56 h 82"/>
                  <a:gd name="T74" fmla="*/ 48 w 70"/>
                  <a:gd name="T75" fmla="*/ 68 h 82"/>
                  <a:gd name="T76" fmla="*/ 42 w 70"/>
                  <a:gd name="T77" fmla="*/ 68 h 82"/>
                  <a:gd name="T78" fmla="*/ 34 w 70"/>
                  <a:gd name="T79" fmla="*/ 76 h 82"/>
                  <a:gd name="T80" fmla="*/ 42 w 70"/>
                  <a:gd name="T81" fmla="*/ 82 h 82"/>
                  <a:gd name="T82" fmla="*/ 34 w 70"/>
                  <a:gd name="T83" fmla="*/ 82 h 82"/>
                  <a:gd name="T84" fmla="*/ 34 w 70"/>
                  <a:gd name="T85" fmla="*/ 82 h 82"/>
                  <a:gd name="T86" fmla="*/ 34 w 70"/>
                  <a:gd name="T8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 h="82">
                    <a:moveTo>
                      <a:pt x="34" y="82"/>
                    </a:moveTo>
                    <a:lnTo>
                      <a:pt x="20" y="76"/>
                    </a:lnTo>
                    <a:lnTo>
                      <a:pt x="28" y="76"/>
                    </a:lnTo>
                    <a:lnTo>
                      <a:pt x="28" y="68"/>
                    </a:lnTo>
                    <a:lnTo>
                      <a:pt x="20" y="68"/>
                    </a:lnTo>
                    <a:lnTo>
                      <a:pt x="6" y="68"/>
                    </a:lnTo>
                    <a:lnTo>
                      <a:pt x="0" y="62"/>
                    </a:lnTo>
                    <a:lnTo>
                      <a:pt x="0" y="56"/>
                    </a:lnTo>
                    <a:lnTo>
                      <a:pt x="6" y="48"/>
                    </a:lnTo>
                    <a:lnTo>
                      <a:pt x="0" y="42"/>
                    </a:lnTo>
                    <a:lnTo>
                      <a:pt x="0" y="34"/>
                    </a:lnTo>
                    <a:lnTo>
                      <a:pt x="6" y="28"/>
                    </a:lnTo>
                    <a:lnTo>
                      <a:pt x="14" y="28"/>
                    </a:lnTo>
                    <a:lnTo>
                      <a:pt x="20" y="22"/>
                    </a:lnTo>
                    <a:lnTo>
                      <a:pt x="20" y="14"/>
                    </a:lnTo>
                    <a:lnTo>
                      <a:pt x="28" y="14"/>
                    </a:lnTo>
                    <a:lnTo>
                      <a:pt x="28" y="22"/>
                    </a:lnTo>
                    <a:lnTo>
                      <a:pt x="20" y="28"/>
                    </a:lnTo>
                    <a:lnTo>
                      <a:pt x="28" y="34"/>
                    </a:lnTo>
                    <a:lnTo>
                      <a:pt x="34" y="34"/>
                    </a:lnTo>
                    <a:lnTo>
                      <a:pt x="34" y="28"/>
                    </a:lnTo>
                    <a:lnTo>
                      <a:pt x="34" y="22"/>
                    </a:lnTo>
                    <a:lnTo>
                      <a:pt x="42" y="22"/>
                    </a:lnTo>
                    <a:lnTo>
                      <a:pt x="48" y="22"/>
                    </a:lnTo>
                    <a:lnTo>
                      <a:pt x="56" y="14"/>
                    </a:lnTo>
                    <a:lnTo>
                      <a:pt x="48" y="8"/>
                    </a:lnTo>
                    <a:lnTo>
                      <a:pt x="42" y="8"/>
                    </a:lnTo>
                    <a:lnTo>
                      <a:pt x="48" y="0"/>
                    </a:lnTo>
                    <a:lnTo>
                      <a:pt x="56" y="0"/>
                    </a:lnTo>
                    <a:lnTo>
                      <a:pt x="70" y="0"/>
                    </a:lnTo>
                    <a:lnTo>
                      <a:pt x="62" y="8"/>
                    </a:lnTo>
                    <a:lnTo>
                      <a:pt x="70" y="8"/>
                    </a:lnTo>
                    <a:lnTo>
                      <a:pt x="62" y="14"/>
                    </a:lnTo>
                    <a:lnTo>
                      <a:pt x="70" y="28"/>
                    </a:lnTo>
                    <a:lnTo>
                      <a:pt x="62" y="34"/>
                    </a:lnTo>
                    <a:lnTo>
                      <a:pt x="48" y="48"/>
                    </a:lnTo>
                    <a:lnTo>
                      <a:pt x="56" y="56"/>
                    </a:lnTo>
                    <a:lnTo>
                      <a:pt x="48" y="68"/>
                    </a:lnTo>
                    <a:lnTo>
                      <a:pt x="42" y="68"/>
                    </a:lnTo>
                    <a:lnTo>
                      <a:pt x="34" y="76"/>
                    </a:lnTo>
                    <a:lnTo>
                      <a:pt x="42" y="82"/>
                    </a:lnTo>
                    <a:lnTo>
                      <a:pt x="34" y="82"/>
                    </a:lnTo>
                    <a:lnTo>
                      <a:pt x="34" y="82"/>
                    </a:lnTo>
                    <a:lnTo>
                      <a:pt x="34" y="82"/>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1" name="Freeform 55"/>
              <p:cNvSpPr>
                <a:spLocks/>
              </p:cNvSpPr>
              <p:nvPr/>
            </p:nvSpPr>
            <p:spPr bwMode="gray">
              <a:xfrm>
                <a:off x="4654029" y="2701623"/>
                <a:ext cx="44460" cy="31757"/>
              </a:xfrm>
              <a:custGeom>
                <a:avLst/>
                <a:gdLst>
                  <a:gd name="T0" fmla="*/ 22 w 28"/>
                  <a:gd name="T1" fmla="*/ 20 h 20"/>
                  <a:gd name="T2" fmla="*/ 14 w 28"/>
                  <a:gd name="T3" fmla="*/ 20 h 20"/>
                  <a:gd name="T4" fmla="*/ 8 w 28"/>
                  <a:gd name="T5" fmla="*/ 14 h 20"/>
                  <a:gd name="T6" fmla="*/ 0 w 28"/>
                  <a:gd name="T7" fmla="*/ 8 h 20"/>
                  <a:gd name="T8" fmla="*/ 0 w 28"/>
                  <a:gd name="T9" fmla="*/ 0 h 20"/>
                  <a:gd name="T10" fmla="*/ 8 w 28"/>
                  <a:gd name="T11" fmla="*/ 0 h 20"/>
                  <a:gd name="T12" fmla="*/ 14 w 28"/>
                  <a:gd name="T13" fmla="*/ 0 h 20"/>
                  <a:gd name="T14" fmla="*/ 14 w 28"/>
                  <a:gd name="T15" fmla="*/ 8 h 20"/>
                  <a:gd name="T16" fmla="*/ 22 w 28"/>
                  <a:gd name="T17" fmla="*/ 8 h 20"/>
                  <a:gd name="T18" fmla="*/ 28 w 28"/>
                  <a:gd name="T19" fmla="*/ 14 h 20"/>
                  <a:gd name="T20" fmla="*/ 28 w 28"/>
                  <a:gd name="T21" fmla="*/ 20 h 20"/>
                  <a:gd name="T22" fmla="*/ 22 w 28"/>
                  <a:gd name="T23" fmla="*/ 20 h 20"/>
                  <a:gd name="T24" fmla="*/ 22 w 28"/>
                  <a:gd name="T25" fmla="*/ 20 h 20"/>
                  <a:gd name="T26" fmla="*/ 22 w 28"/>
                  <a:gd name="T2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20">
                    <a:moveTo>
                      <a:pt x="22" y="20"/>
                    </a:moveTo>
                    <a:lnTo>
                      <a:pt x="14" y="20"/>
                    </a:lnTo>
                    <a:lnTo>
                      <a:pt x="8" y="14"/>
                    </a:lnTo>
                    <a:lnTo>
                      <a:pt x="0" y="8"/>
                    </a:lnTo>
                    <a:lnTo>
                      <a:pt x="0" y="0"/>
                    </a:lnTo>
                    <a:lnTo>
                      <a:pt x="8" y="0"/>
                    </a:lnTo>
                    <a:lnTo>
                      <a:pt x="14" y="0"/>
                    </a:lnTo>
                    <a:lnTo>
                      <a:pt x="14" y="8"/>
                    </a:lnTo>
                    <a:lnTo>
                      <a:pt x="22" y="8"/>
                    </a:lnTo>
                    <a:lnTo>
                      <a:pt x="28" y="14"/>
                    </a:lnTo>
                    <a:lnTo>
                      <a:pt x="28" y="20"/>
                    </a:lnTo>
                    <a:lnTo>
                      <a:pt x="22" y="20"/>
                    </a:lnTo>
                    <a:lnTo>
                      <a:pt x="22" y="20"/>
                    </a:lnTo>
                    <a:lnTo>
                      <a:pt x="22" y="20"/>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2" name="Freeform 56"/>
              <p:cNvSpPr>
                <a:spLocks/>
              </p:cNvSpPr>
              <p:nvPr/>
            </p:nvSpPr>
            <p:spPr bwMode="gray">
              <a:xfrm>
                <a:off x="4711192" y="2701623"/>
                <a:ext cx="22230" cy="31757"/>
              </a:xfrm>
              <a:custGeom>
                <a:avLst/>
                <a:gdLst>
                  <a:gd name="T0" fmla="*/ 0 w 14"/>
                  <a:gd name="T1" fmla="*/ 14 h 20"/>
                  <a:gd name="T2" fmla="*/ 0 w 14"/>
                  <a:gd name="T3" fmla="*/ 8 h 20"/>
                  <a:gd name="T4" fmla="*/ 0 w 14"/>
                  <a:gd name="T5" fmla="*/ 0 h 20"/>
                  <a:gd name="T6" fmla="*/ 8 w 14"/>
                  <a:gd name="T7" fmla="*/ 8 h 20"/>
                  <a:gd name="T8" fmla="*/ 14 w 14"/>
                  <a:gd name="T9" fmla="*/ 8 h 20"/>
                  <a:gd name="T10" fmla="*/ 14 w 14"/>
                  <a:gd name="T11" fmla="*/ 14 h 20"/>
                  <a:gd name="T12" fmla="*/ 8 w 14"/>
                  <a:gd name="T13" fmla="*/ 14 h 20"/>
                  <a:gd name="T14" fmla="*/ 8 w 14"/>
                  <a:gd name="T15" fmla="*/ 20 h 20"/>
                  <a:gd name="T16" fmla="*/ 0 w 14"/>
                  <a:gd name="T17" fmla="*/ 14 h 20"/>
                  <a:gd name="T18" fmla="*/ 0 w 14"/>
                  <a:gd name="T19" fmla="*/ 14 h 20"/>
                  <a:gd name="T20" fmla="*/ 0 w 14"/>
                  <a:gd name="T21"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20">
                    <a:moveTo>
                      <a:pt x="0" y="14"/>
                    </a:moveTo>
                    <a:lnTo>
                      <a:pt x="0" y="8"/>
                    </a:lnTo>
                    <a:lnTo>
                      <a:pt x="0" y="0"/>
                    </a:lnTo>
                    <a:lnTo>
                      <a:pt x="8" y="8"/>
                    </a:lnTo>
                    <a:lnTo>
                      <a:pt x="14" y="8"/>
                    </a:lnTo>
                    <a:lnTo>
                      <a:pt x="14" y="14"/>
                    </a:lnTo>
                    <a:lnTo>
                      <a:pt x="8" y="14"/>
                    </a:lnTo>
                    <a:lnTo>
                      <a:pt x="8" y="20"/>
                    </a:lnTo>
                    <a:lnTo>
                      <a:pt x="0" y="14"/>
                    </a:lnTo>
                    <a:lnTo>
                      <a:pt x="0" y="14"/>
                    </a:lnTo>
                    <a:lnTo>
                      <a:pt x="0" y="14"/>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3" name="Freeform 57"/>
              <p:cNvSpPr>
                <a:spLocks/>
              </p:cNvSpPr>
              <p:nvPr>
                <p:custDataLst>
                  <p:tags r:id="rId144"/>
                </p:custDataLst>
              </p:nvPr>
            </p:nvSpPr>
            <p:spPr bwMode="gray">
              <a:xfrm>
                <a:off x="4973186" y="3460617"/>
                <a:ext cx="555748" cy="349328"/>
              </a:xfrm>
              <a:custGeom>
                <a:avLst/>
                <a:gdLst>
                  <a:gd name="T0" fmla="*/ 56 w 350"/>
                  <a:gd name="T1" fmla="*/ 48 h 220"/>
                  <a:gd name="T2" fmla="*/ 70 w 350"/>
                  <a:gd name="T3" fmla="*/ 54 h 220"/>
                  <a:gd name="T4" fmla="*/ 84 w 350"/>
                  <a:gd name="T5" fmla="*/ 68 h 220"/>
                  <a:gd name="T6" fmla="*/ 104 w 350"/>
                  <a:gd name="T7" fmla="*/ 68 h 220"/>
                  <a:gd name="T8" fmla="*/ 114 w 350"/>
                  <a:gd name="T9" fmla="*/ 68 h 220"/>
                  <a:gd name="T10" fmla="*/ 138 w 350"/>
                  <a:gd name="T11" fmla="*/ 62 h 220"/>
                  <a:gd name="T12" fmla="*/ 138 w 350"/>
                  <a:gd name="T13" fmla="*/ 54 h 220"/>
                  <a:gd name="T14" fmla="*/ 150 w 350"/>
                  <a:gd name="T15" fmla="*/ 46 h 220"/>
                  <a:gd name="T16" fmla="*/ 166 w 350"/>
                  <a:gd name="T17" fmla="*/ 48 h 220"/>
                  <a:gd name="T18" fmla="*/ 188 w 350"/>
                  <a:gd name="T19" fmla="*/ 40 h 220"/>
                  <a:gd name="T20" fmla="*/ 208 w 350"/>
                  <a:gd name="T21" fmla="*/ 26 h 220"/>
                  <a:gd name="T22" fmla="*/ 222 w 350"/>
                  <a:gd name="T23" fmla="*/ 12 h 220"/>
                  <a:gd name="T24" fmla="*/ 230 w 350"/>
                  <a:gd name="T25" fmla="*/ 0 h 220"/>
                  <a:gd name="T26" fmla="*/ 242 w 350"/>
                  <a:gd name="T27" fmla="*/ 0 h 220"/>
                  <a:gd name="T28" fmla="*/ 264 w 350"/>
                  <a:gd name="T29" fmla="*/ 0 h 220"/>
                  <a:gd name="T30" fmla="*/ 278 w 350"/>
                  <a:gd name="T31" fmla="*/ 0 h 220"/>
                  <a:gd name="T32" fmla="*/ 284 w 350"/>
                  <a:gd name="T33" fmla="*/ 6 h 220"/>
                  <a:gd name="T34" fmla="*/ 304 w 350"/>
                  <a:gd name="T35" fmla="*/ 6 h 220"/>
                  <a:gd name="T36" fmla="*/ 322 w 350"/>
                  <a:gd name="T37" fmla="*/ 20 h 220"/>
                  <a:gd name="T38" fmla="*/ 334 w 350"/>
                  <a:gd name="T39" fmla="*/ 20 h 220"/>
                  <a:gd name="T40" fmla="*/ 350 w 350"/>
                  <a:gd name="T41" fmla="*/ 32 h 220"/>
                  <a:gd name="T42" fmla="*/ 348 w 350"/>
                  <a:gd name="T43" fmla="*/ 52 h 220"/>
                  <a:gd name="T44" fmla="*/ 328 w 350"/>
                  <a:gd name="T45" fmla="*/ 68 h 220"/>
                  <a:gd name="T46" fmla="*/ 314 w 350"/>
                  <a:gd name="T47" fmla="*/ 74 h 220"/>
                  <a:gd name="T48" fmla="*/ 306 w 350"/>
                  <a:gd name="T49" fmla="*/ 98 h 220"/>
                  <a:gd name="T50" fmla="*/ 300 w 350"/>
                  <a:gd name="T51" fmla="*/ 112 h 220"/>
                  <a:gd name="T52" fmla="*/ 288 w 350"/>
                  <a:gd name="T53" fmla="*/ 138 h 220"/>
                  <a:gd name="T54" fmla="*/ 274 w 350"/>
                  <a:gd name="T55" fmla="*/ 148 h 220"/>
                  <a:gd name="T56" fmla="*/ 262 w 350"/>
                  <a:gd name="T57" fmla="*/ 164 h 220"/>
                  <a:gd name="T58" fmla="*/ 252 w 350"/>
                  <a:gd name="T59" fmla="*/ 174 h 220"/>
                  <a:gd name="T60" fmla="*/ 244 w 350"/>
                  <a:gd name="T61" fmla="*/ 186 h 220"/>
                  <a:gd name="T62" fmla="*/ 214 w 350"/>
                  <a:gd name="T63" fmla="*/ 178 h 220"/>
                  <a:gd name="T64" fmla="*/ 208 w 350"/>
                  <a:gd name="T65" fmla="*/ 186 h 220"/>
                  <a:gd name="T66" fmla="*/ 188 w 350"/>
                  <a:gd name="T67" fmla="*/ 192 h 220"/>
                  <a:gd name="T68" fmla="*/ 166 w 350"/>
                  <a:gd name="T69" fmla="*/ 192 h 220"/>
                  <a:gd name="T70" fmla="*/ 146 w 350"/>
                  <a:gd name="T71" fmla="*/ 200 h 220"/>
                  <a:gd name="T72" fmla="*/ 132 w 350"/>
                  <a:gd name="T73" fmla="*/ 206 h 220"/>
                  <a:gd name="T74" fmla="*/ 118 w 350"/>
                  <a:gd name="T75" fmla="*/ 220 h 220"/>
                  <a:gd name="T76" fmla="*/ 96 w 350"/>
                  <a:gd name="T77" fmla="*/ 214 h 220"/>
                  <a:gd name="T78" fmla="*/ 84 w 350"/>
                  <a:gd name="T79" fmla="*/ 214 h 220"/>
                  <a:gd name="T80" fmla="*/ 70 w 350"/>
                  <a:gd name="T81" fmla="*/ 206 h 220"/>
                  <a:gd name="T82" fmla="*/ 62 w 350"/>
                  <a:gd name="T83" fmla="*/ 200 h 220"/>
                  <a:gd name="T84" fmla="*/ 48 w 350"/>
                  <a:gd name="T85" fmla="*/ 192 h 220"/>
                  <a:gd name="T86" fmla="*/ 34 w 350"/>
                  <a:gd name="T87" fmla="*/ 178 h 220"/>
                  <a:gd name="T88" fmla="*/ 28 w 350"/>
                  <a:gd name="T89" fmla="*/ 164 h 220"/>
                  <a:gd name="T90" fmla="*/ 20 w 350"/>
                  <a:gd name="T91" fmla="*/ 152 h 220"/>
                  <a:gd name="T92" fmla="*/ 14 w 350"/>
                  <a:gd name="T93" fmla="*/ 138 h 220"/>
                  <a:gd name="T94" fmla="*/ 0 w 350"/>
                  <a:gd name="T95" fmla="*/ 144 h 220"/>
                  <a:gd name="T96" fmla="*/ 8 w 350"/>
                  <a:gd name="T97" fmla="*/ 124 h 220"/>
                  <a:gd name="T98" fmla="*/ 20 w 350"/>
                  <a:gd name="T99" fmla="*/ 110 h 220"/>
                  <a:gd name="T100" fmla="*/ 28 w 350"/>
                  <a:gd name="T101" fmla="*/ 96 h 220"/>
                  <a:gd name="T102" fmla="*/ 28 w 350"/>
                  <a:gd name="T103" fmla="*/ 82 h 220"/>
                  <a:gd name="T104" fmla="*/ 20 w 350"/>
                  <a:gd name="T105" fmla="*/ 68 h 220"/>
                  <a:gd name="T106" fmla="*/ 32 w 350"/>
                  <a:gd name="T107" fmla="*/ 66 h 220"/>
                  <a:gd name="T108" fmla="*/ 42 w 350"/>
                  <a:gd name="T109" fmla="*/ 72 h 220"/>
                  <a:gd name="T110" fmla="*/ 48 w 350"/>
                  <a:gd name="T111" fmla="*/ 62 h 220"/>
                  <a:gd name="T112" fmla="*/ 40 w 350"/>
                  <a:gd name="T113" fmla="*/ 36 h 220"/>
                  <a:gd name="T114" fmla="*/ 40 w 350"/>
                  <a:gd name="T115" fmla="*/ 3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0" h="220">
                    <a:moveTo>
                      <a:pt x="40" y="36"/>
                    </a:moveTo>
                    <a:lnTo>
                      <a:pt x="56" y="48"/>
                    </a:lnTo>
                    <a:lnTo>
                      <a:pt x="62" y="54"/>
                    </a:lnTo>
                    <a:lnTo>
                      <a:pt x="70" y="54"/>
                    </a:lnTo>
                    <a:lnTo>
                      <a:pt x="76" y="62"/>
                    </a:lnTo>
                    <a:lnTo>
                      <a:pt x="84" y="68"/>
                    </a:lnTo>
                    <a:lnTo>
                      <a:pt x="96" y="68"/>
                    </a:lnTo>
                    <a:lnTo>
                      <a:pt x="104" y="68"/>
                    </a:lnTo>
                    <a:lnTo>
                      <a:pt x="112" y="68"/>
                    </a:lnTo>
                    <a:lnTo>
                      <a:pt x="114" y="68"/>
                    </a:lnTo>
                    <a:lnTo>
                      <a:pt x="132" y="62"/>
                    </a:lnTo>
                    <a:lnTo>
                      <a:pt x="138" y="62"/>
                    </a:lnTo>
                    <a:lnTo>
                      <a:pt x="134" y="56"/>
                    </a:lnTo>
                    <a:lnTo>
                      <a:pt x="138" y="54"/>
                    </a:lnTo>
                    <a:lnTo>
                      <a:pt x="138" y="48"/>
                    </a:lnTo>
                    <a:lnTo>
                      <a:pt x="150" y="46"/>
                    </a:lnTo>
                    <a:lnTo>
                      <a:pt x="158" y="48"/>
                    </a:lnTo>
                    <a:lnTo>
                      <a:pt x="166" y="48"/>
                    </a:lnTo>
                    <a:lnTo>
                      <a:pt x="174" y="48"/>
                    </a:lnTo>
                    <a:lnTo>
                      <a:pt x="188" y="40"/>
                    </a:lnTo>
                    <a:lnTo>
                      <a:pt x="194" y="34"/>
                    </a:lnTo>
                    <a:lnTo>
                      <a:pt x="208" y="26"/>
                    </a:lnTo>
                    <a:lnTo>
                      <a:pt x="214" y="20"/>
                    </a:lnTo>
                    <a:lnTo>
                      <a:pt x="222" y="12"/>
                    </a:lnTo>
                    <a:lnTo>
                      <a:pt x="222" y="6"/>
                    </a:lnTo>
                    <a:lnTo>
                      <a:pt x="230" y="0"/>
                    </a:lnTo>
                    <a:lnTo>
                      <a:pt x="236" y="0"/>
                    </a:lnTo>
                    <a:lnTo>
                      <a:pt x="242" y="0"/>
                    </a:lnTo>
                    <a:lnTo>
                      <a:pt x="256" y="0"/>
                    </a:lnTo>
                    <a:lnTo>
                      <a:pt x="264" y="0"/>
                    </a:lnTo>
                    <a:lnTo>
                      <a:pt x="270" y="0"/>
                    </a:lnTo>
                    <a:lnTo>
                      <a:pt x="278" y="0"/>
                    </a:lnTo>
                    <a:lnTo>
                      <a:pt x="278" y="6"/>
                    </a:lnTo>
                    <a:lnTo>
                      <a:pt x="284" y="6"/>
                    </a:lnTo>
                    <a:lnTo>
                      <a:pt x="292" y="12"/>
                    </a:lnTo>
                    <a:lnTo>
                      <a:pt x="304" y="6"/>
                    </a:lnTo>
                    <a:lnTo>
                      <a:pt x="318" y="12"/>
                    </a:lnTo>
                    <a:lnTo>
                      <a:pt x="322" y="20"/>
                    </a:lnTo>
                    <a:lnTo>
                      <a:pt x="326" y="18"/>
                    </a:lnTo>
                    <a:lnTo>
                      <a:pt x="334" y="20"/>
                    </a:lnTo>
                    <a:lnTo>
                      <a:pt x="340" y="26"/>
                    </a:lnTo>
                    <a:lnTo>
                      <a:pt x="350" y="32"/>
                    </a:lnTo>
                    <a:lnTo>
                      <a:pt x="350" y="40"/>
                    </a:lnTo>
                    <a:lnTo>
                      <a:pt x="348" y="52"/>
                    </a:lnTo>
                    <a:lnTo>
                      <a:pt x="338" y="62"/>
                    </a:lnTo>
                    <a:lnTo>
                      <a:pt x="328" y="68"/>
                    </a:lnTo>
                    <a:lnTo>
                      <a:pt x="322" y="72"/>
                    </a:lnTo>
                    <a:lnTo>
                      <a:pt x="314" y="74"/>
                    </a:lnTo>
                    <a:lnTo>
                      <a:pt x="308" y="84"/>
                    </a:lnTo>
                    <a:lnTo>
                      <a:pt x="306" y="98"/>
                    </a:lnTo>
                    <a:lnTo>
                      <a:pt x="302" y="104"/>
                    </a:lnTo>
                    <a:lnTo>
                      <a:pt x="300" y="112"/>
                    </a:lnTo>
                    <a:lnTo>
                      <a:pt x="296" y="130"/>
                    </a:lnTo>
                    <a:lnTo>
                      <a:pt x="288" y="138"/>
                    </a:lnTo>
                    <a:lnTo>
                      <a:pt x="284" y="146"/>
                    </a:lnTo>
                    <a:lnTo>
                      <a:pt x="274" y="148"/>
                    </a:lnTo>
                    <a:lnTo>
                      <a:pt x="274" y="156"/>
                    </a:lnTo>
                    <a:lnTo>
                      <a:pt x="262" y="164"/>
                    </a:lnTo>
                    <a:lnTo>
                      <a:pt x="260" y="166"/>
                    </a:lnTo>
                    <a:lnTo>
                      <a:pt x="252" y="174"/>
                    </a:lnTo>
                    <a:lnTo>
                      <a:pt x="248" y="180"/>
                    </a:lnTo>
                    <a:lnTo>
                      <a:pt x="244" y="186"/>
                    </a:lnTo>
                    <a:lnTo>
                      <a:pt x="222" y="186"/>
                    </a:lnTo>
                    <a:lnTo>
                      <a:pt x="214" y="178"/>
                    </a:lnTo>
                    <a:lnTo>
                      <a:pt x="208" y="178"/>
                    </a:lnTo>
                    <a:lnTo>
                      <a:pt x="208" y="186"/>
                    </a:lnTo>
                    <a:lnTo>
                      <a:pt x="194" y="192"/>
                    </a:lnTo>
                    <a:lnTo>
                      <a:pt x="188" y="192"/>
                    </a:lnTo>
                    <a:lnTo>
                      <a:pt x="180" y="186"/>
                    </a:lnTo>
                    <a:lnTo>
                      <a:pt x="166" y="192"/>
                    </a:lnTo>
                    <a:lnTo>
                      <a:pt x="158" y="200"/>
                    </a:lnTo>
                    <a:lnTo>
                      <a:pt x="146" y="200"/>
                    </a:lnTo>
                    <a:lnTo>
                      <a:pt x="138" y="200"/>
                    </a:lnTo>
                    <a:lnTo>
                      <a:pt x="132" y="206"/>
                    </a:lnTo>
                    <a:lnTo>
                      <a:pt x="126" y="214"/>
                    </a:lnTo>
                    <a:lnTo>
                      <a:pt x="118" y="220"/>
                    </a:lnTo>
                    <a:lnTo>
                      <a:pt x="112" y="220"/>
                    </a:lnTo>
                    <a:lnTo>
                      <a:pt x="96" y="214"/>
                    </a:lnTo>
                    <a:lnTo>
                      <a:pt x="90" y="214"/>
                    </a:lnTo>
                    <a:lnTo>
                      <a:pt x="84" y="214"/>
                    </a:lnTo>
                    <a:lnTo>
                      <a:pt x="76" y="214"/>
                    </a:lnTo>
                    <a:lnTo>
                      <a:pt x="70" y="206"/>
                    </a:lnTo>
                    <a:lnTo>
                      <a:pt x="62" y="206"/>
                    </a:lnTo>
                    <a:lnTo>
                      <a:pt x="62" y="200"/>
                    </a:lnTo>
                    <a:lnTo>
                      <a:pt x="56" y="200"/>
                    </a:lnTo>
                    <a:lnTo>
                      <a:pt x="48" y="192"/>
                    </a:lnTo>
                    <a:lnTo>
                      <a:pt x="42" y="186"/>
                    </a:lnTo>
                    <a:lnTo>
                      <a:pt x="34" y="178"/>
                    </a:lnTo>
                    <a:lnTo>
                      <a:pt x="28" y="172"/>
                    </a:lnTo>
                    <a:lnTo>
                      <a:pt x="28" y="164"/>
                    </a:lnTo>
                    <a:lnTo>
                      <a:pt x="28" y="158"/>
                    </a:lnTo>
                    <a:lnTo>
                      <a:pt x="20" y="152"/>
                    </a:lnTo>
                    <a:lnTo>
                      <a:pt x="14" y="144"/>
                    </a:lnTo>
                    <a:lnTo>
                      <a:pt x="14" y="138"/>
                    </a:lnTo>
                    <a:lnTo>
                      <a:pt x="0" y="138"/>
                    </a:lnTo>
                    <a:lnTo>
                      <a:pt x="0" y="144"/>
                    </a:lnTo>
                    <a:lnTo>
                      <a:pt x="0" y="138"/>
                    </a:lnTo>
                    <a:lnTo>
                      <a:pt x="8" y="124"/>
                    </a:lnTo>
                    <a:lnTo>
                      <a:pt x="14" y="124"/>
                    </a:lnTo>
                    <a:lnTo>
                      <a:pt x="20" y="110"/>
                    </a:lnTo>
                    <a:lnTo>
                      <a:pt x="20" y="96"/>
                    </a:lnTo>
                    <a:lnTo>
                      <a:pt x="28" y="96"/>
                    </a:lnTo>
                    <a:lnTo>
                      <a:pt x="28" y="90"/>
                    </a:lnTo>
                    <a:lnTo>
                      <a:pt x="28" y="82"/>
                    </a:lnTo>
                    <a:lnTo>
                      <a:pt x="20" y="76"/>
                    </a:lnTo>
                    <a:lnTo>
                      <a:pt x="20" y="68"/>
                    </a:lnTo>
                    <a:lnTo>
                      <a:pt x="28" y="68"/>
                    </a:lnTo>
                    <a:lnTo>
                      <a:pt x="32" y="66"/>
                    </a:lnTo>
                    <a:lnTo>
                      <a:pt x="34" y="70"/>
                    </a:lnTo>
                    <a:lnTo>
                      <a:pt x="42" y="72"/>
                    </a:lnTo>
                    <a:lnTo>
                      <a:pt x="42" y="68"/>
                    </a:lnTo>
                    <a:lnTo>
                      <a:pt x="48" y="62"/>
                    </a:lnTo>
                    <a:lnTo>
                      <a:pt x="44" y="48"/>
                    </a:lnTo>
                    <a:lnTo>
                      <a:pt x="40" y="36"/>
                    </a:lnTo>
                    <a:lnTo>
                      <a:pt x="40" y="36"/>
                    </a:lnTo>
                    <a:lnTo>
                      <a:pt x="40" y="36"/>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4" name="Freeform 58"/>
              <p:cNvSpPr>
                <a:spLocks/>
              </p:cNvSpPr>
              <p:nvPr>
                <p:custDataLst>
                  <p:tags r:id="rId145"/>
                </p:custDataLst>
              </p:nvPr>
            </p:nvSpPr>
            <p:spPr bwMode="gray">
              <a:xfrm>
                <a:off x="5589273" y="4581641"/>
                <a:ext cx="155609" cy="107974"/>
              </a:xfrm>
              <a:custGeom>
                <a:avLst/>
                <a:gdLst>
                  <a:gd name="T0" fmla="*/ 0 w 98"/>
                  <a:gd name="T1" fmla="*/ 6 h 68"/>
                  <a:gd name="T2" fmla="*/ 14 w 98"/>
                  <a:gd name="T3" fmla="*/ 0 h 68"/>
                  <a:gd name="T4" fmla="*/ 20 w 98"/>
                  <a:gd name="T5" fmla="*/ 0 h 68"/>
                  <a:gd name="T6" fmla="*/ 28 w 98"/>
                  <a:gd name="T7" fmla="*/ 6 h 68"/>
                  <a:gd name="T8" fmla="*/ 34 w 98"/>
                  <a:gd name="T9" fmla="*/ 12 h 68"/>
                  <a:gd name="T10" fmla="*/ 48 w 98"/>
                  <a:gd name="T11" fmla="*/ 12 h 68"/>
                  <a:gd name="T12" fmla="*/ 62 w 98"/>
                  <a:gd name="T13" fmla="*/ 20 h 68"/>
                  <a:gd name="T14" fmla="*/ 70 w 98"/>
                  <a:gd name="T15" fmla="*/ 26 h 68"/>
                  <a:gd name="T16" fmla="*/ 76 w 98"/>
                  <a:gd name="T17" fmla="*/ 26 h 68"/>
                  <a:gd name="T18" fmla="*/ 84 w 98"/>
                  <a:gd name="T19" fmla="*/ 34 h 68"/>
                  <a:gd name="T20" fmla="*/ 84 w 98"/>
                  <a:gd name="T21" fmla="*/ 40 h 68"/>
                  <a:gd name="T22" fmla="*/ 90 w 98"/>
                  <a:gd name="T23" fmla="*/ 46 h 68"/>
                  <a:gd name="T24" fmla="*/ 98 w 98"/>
                  <a:gd name="T25" fmla="*/ 54 h 68"/>
                  <a:gd name="T26" fmla="*/ 98 w 98"/>
                  <a:gd name="T27" fmla="*/ 68 h 68"/>
                  <a:gd name="T28" fmla="*/ 90 w 98"/>
                  <a:gd name="T29" fmla="*/ 68 h 68"/>
                  <a:gd name="T30" fmla="*/ 84 w 98"/>
                  <a:gd name="T31" fmla="*/ 54 h 68"/>
                  <a:gd name="T32" fmla="*/ 76 w 98"/>
                  <a:gd name="T33" fmla="*/ 46 h 68"/>
                  <a:gd name="T34" fmla="*/ 70 w 98"/>
                  <a:gd name="T35" fmla="*/ 40 h 68"/>
                  <a:gd name="T36" fmla="*/ 56 w 98"/>
                  <a:gd name="T37" fmla="*/ 34 h 68"/>
                  <a:gd name="T38" fmla="*/ 48 w 98"/>
                  <a:gd name="T39" fmla="*/ 26 h 68"/>
                  <a:gd name="T40" fmla="*/ 34 w 98"/>
                  <a:gd name="T41" fmla="*/ 20 h 68"/>
                  <a:gd name="T42" fmla="*/ 28 w 98"/>
                  <a:gd name="T43" fmla="*/ 12 h 68"/>
                  <a:gd name="T44" fmla="*/ 14 w 98"/>
                  <a:gd name="T45" fmla="*/ 12 h 68"/>
                  <a:gd name="T46" fmla="*/ 6 w 98"/>
                  <a:gd name="T47" fmla="*/ 12 h 68"/>
                  <a:gd name="T48" fmla="*/ 0 w 98"/>
                  <a:gd name="T49" fmla="*/ 6 h 68"/>
                  <a:gd name="T50" fmla="*/ 0 w 98"/>
                  <a:gd name="T51" fmla="*/ 6 h 68"/>
                  <a:gd name="T52" fmla="*/ 0 w 98"/>
                  <a:gd name="T53" fmla="*/ 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68">
                    <a:moveTo>
                      <a:pt x="0" y="6"/>
                    </a:moveTo>
                    <a:lnTo>
                      <a:pt x="14" y="0"/>
                    </a:lnTo>
                    <a:lnTo>
                      <a:pt x="20" y="0"/>
                    </a:lnTo>
                    <a:lnTo>
                      <a:pt x="28" y="6"/>
                    </a:lnTo>
                    <a:lnTo>
                      <a:pt x="34" y="12"/>
                    </a:lnTo>
                    <a:lnTo>
                      <a:pt x="48" y="12"/>
                    </a:lnTo>
                    <a:lnTo>
                      <a:pt x="62" y="20"/>
                    </a:lnTo>
                    <a:lnTo>
                      <a:pt x="70" y="26"/>
                    </a:lnTo>
                    <a:lnTo>
                      <a:pt x="76" y="26"/>
                    </a:lnTo>
                    <a:lnTo>
                      <a:pt x="84" y="34"/>
                    </a:lnTo>
                    <a:lnTo>
                      <a:pt x="84" y="40"/>
                    </a:lnTo>
                    <a:lnTo>
                      <a:pt x="90" y="46"/>
                    </a:lnTo>
                    <a:lnTo>
                      <a:pt x="98" y="54"/>
                    </a:lnTo>
                    <a:lnTo>
                      <a:pt x="98" y="68"/>
                    </a:lnTo>
                    <a:lnTo>
                      <a:pt x="90" y="68"/>
                    </a:lnTo>
                    <a:lnTo>
                      <a:pt x="84" y="54"/>
                    </a:lnTo>
                    <a:lnTo>
                      <a:pt x="76" y="46"/>
                    </a:lnTo>
                    <a:lnTo>
                      <a:pt x="70" y="40"/>
                    </a:lnTo>
                    <a:lnTo>
                      <a:pt x="56" y="34"/>
                    </a:lnTo>
                    <a:lnTo>
                      <a:pt x="48" y="26"/>
                    </a:lnTo>
                    <a:lnTo>
                      <a:pt x="34" y="20"/>
                    </a:lnTo>
                    <a:lnTo>
                      <a:pt x="28" y="12"/>
                    </a:lnTo>
                    <a:lnTo>
                      <a:pt x="14" y="12"/>
                    </a:lnTo>
                    <a:lnTo>
                      <a:pt x="6" y="12"/>
                    </a:lnTo>
                    <a:lnTo>
                      <a:pt x="0" y="6"/>
                    </a:lnTo>
                    <a:lnTo>
                      <a:pt x="0" y="6"/>
                    </a:lnTo>
                    <a:lnTo>
                      <a:pt x="0" y="6"/>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5" name="Freeform 59"/>
              <p:cNvSpPr>
                <a:spLocks/>
              </p:cNvSpPr>
              <p:nvPr/>
            </p:nvSpPr>
            <p:spPr bwMode="gray">
              <a:xfrm>
                <a:off x="5157377" y="1018500"/>
                <a:ext cx="53987" cy="66690"/>
              </a:xfrm>
              <a:custGeom>
                <a:avLst/>
                <a:gdLst>
                  <a:gd name="T0" fmla="*/ 6 w 34"/>
                  <a:gd name="T1" fmla="*/ 42 h 42"/>
                  <a:gd name="T2" fmla="*/ 14 w 34"/>
                  <a:gd name="T3" fmla="*/ 34 h 42"/>
                  <a:gd name="T4" fmla="*/ 14 w 34"/>
                  <a:gd name="T5" fmla="*/ 28 h 42"/>
                  <a:gd name="T6" fmla="*/ 20 w 34"/>
                  <a:gd name="T7" fmla="*/ 28 h 42"/>
                  <a:gd name="T8" fmla="*/ 28 w 34"/>
                  <a:gd name="T9" fmla="*/ 28 h 42"/>
                  <a:gd name="T10" fmla="*/ 34 w 34"/>
                  <a:gd name="T11" fmla="*/ 8 h 42"/>
                  <a:gd name="T12" fmla="*/ 28 w 34"/>
                  <a:gd name="T13" fmla="*/ 0 h 42"/>
                  <a:gd name="T14" fmla="*/ 20 w 34"/>
                  <a:gd name="T15" fmla="*/ 0 h 42"/>
                  <a:gd name="T16" fmla="*/ 20 w 34"/>
                  <a:gd name="T17" fmla="*/ 8 h 42"/>
                  <a:gd name="T18" fmla="*/ 14 w 34"/>
                  <a:gd name="T19" fmla="*/ 8 h 42"/>
                  <a:gd name="T20" fmla="*/ 6 w 34"/>
                  <a:gd name="T21" fmla="*/ 8 h 42"/>
                  <a:gd name="T22" fmla="*/ 6 w 34"/>
                  <a:gd name="T23" fmla="*/ 14 h 42"/>
                  <a:gd name="T24" fmla="*/ 6 w 34"/>
                  <a:gd name="T25" fmla="*/ 22 h 42"/>
                  <a:gd name="T26" fmla="*/ 0 w 34"/>
                  <a:gd name="T27" fmla="*/ 28 h 42"/>
                  <a:gd name="T28" fmla="*/ 6 w 34"/>
                  <a:gd name="T29" fmla="*/ 34 h 42"/>
                  <a:gd name="T30" fmla="*/ 6 w 34"/>
                  <a:gd name="T31" fmla="*/ 42 h 42"/>
                  <a:gd name="T32" fmla="*/ 6 w 34"/>
                  <a:gd name="T33" fmla="*/ 42 h 42"/>
                  <a:gd name="T34" fmla="*/ 6 w 34"/>
                  <a:gd name="T3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42">
                    <a:moveTo>
                      <a:pt x="6" y="42"/>
                    </a:moveTo>
                    <a:lnTo>
                      <a:pt x="14" y="34"/>
                    </a:lnTo>
                    <a:lnTo>
                      <a:pt x="14" y="28"/>
                    </a:lnTo>
                    <a:lnTo>
                      <a:pt x="20" y="28"/>
                    </a:lnTo>
                    <a:lnTo>
                      <a:pt x="28" y="28"/>
                    </a:lnTo>
                    <a:lnTo>
                      <a:pt x="34" y="8"/>
                    </a:lnTo>
                    <a:lnTo>
                      <a:pt x="28" y="0"/>
                    </a:lnTo>
                    <a:lnTo>
                      <a:pt x="20" y="0"/>
                    </a:lnTo>
                    <a:lnTo>
                      <a:pt x="20" y="8"/>
                    </a:lnTo>
                    <a:lnTo>
                      <a:pt x="14" y="8"/>
                    </a:lnTo>
                    <a:lnTo>
                      <a:pt x="6" y="8"/>
                    </a:lnTo>
                    <a:lnTo>
                      <a:pt x="6" y="14"/>
                    </a:lnTo>
                    <a:lnTo>
                      <a:pt x="6" y="22"/>
                    </a:lnTo>
                    <a:lnTo>
                      <a:pt x="0" y="28"/>
                    </a:lnTo>
                    <a:lnTo>
                      <a:pt x="6" y="34"/>
                    </a:lnTo>
                    <a:lnTo>
                      <a:pt x="6" y="42"/>
                    </a:lnTo>
                    <a:lnTo>
                      <a:pt x="6" y="42"/>
                    </a:lnTo>
                    <a:lnTo>
                      <a:pt x="6" y="42"/>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6" name="Freeform 60"/>
              <p:cNvSpPr>
                <a:spLocks/>
              </p:cNvSpPr>
              <p:nvPr>
                <p:custDataLst>
                  <p:tags r:id="rId146"/>
                </p:custDataLst>
              </p:nvPr>
            </p:nvSpPr>
            <p:spPr bwMode="gray">
              <a:xfrm>
                <a:off x="4365040" y="802551"/>
                <a:ext cx="1398899" cy="1495757"/>
              </a:xfrm>
              <a:custGeom>
                <a:avLst/>
                <a:gdLst>
                  <a:gd name="T0" fmla="*/ 256 w 881"/>
                  <a:gd name="T1" fmla="*/ 866 h 942"/>
                  <a:gd name="T2" fmla="*/ 304 w 881"/>
                  <a:gd name="T3" fmla="*/ 804 h 942"/>
                  <a:gd name="T4" fmla="*/ 318 w 881"/>
                  <a:gd name="T5" fmla="*/ 716 h 942"/>
                  <a:gd name="T6" fmla="*/ 312 w 881"/>
                  <a:gd name="T7" fmla="*/ 646 h 942"/>
                  <a:gd name="T8" fmla="*/ 318 w 881"/>
                  <a:gd name="T9" fmla="*/ 556 h 942"/>
                  <a:gd name="T10" fmla="*/ 383 w 881"/>
                  <a:gd name="T11" fmla="*/ 536 h 942"/>
                  <a:gd name="T12" fmla="*/ 395 w 881"/>
                  <a:gd name="T13" fmla="*/ 468 h 942"/>
                  <a:gd name="T14" fmla="*/ 431 w 881"/>
                  <a:gd name="T15" fmla="*/ 378 h 942"/>
                  <a:gd name="T16" fmla="*/ 485 w 881"/>
                  <a:gd name="T17" fmla="*/ 308 h 942"/>
                  <a:gd name="T18" fmla="*/ 521 w 881"/>
                  <a:gd name="T19" fmla="*/ 240 h 942"/>
                  <a:gd name="T20" fmla="*/ 569 w 881"/>
                  <a:gd name="T21" fmla="*/ 220 h 942"/>
                  <a:gd name="T22" fmla="*/ 611 w 881"/>
                  <a:gd name="T23" fmla="*/ 150 h 942"/>
                  <a:gd name="T24" fmla="*/ 665 w 881"/>
                  <a:gd name="T25" fmla="*/ 192 h 942"/>
                  <a:gd name="T26" fmla="*/ 735 w 881"/>
                  <a:gd name="T27" fmla="*/ 172 h 942"/>
                  <a:gd name="T28" fmla="*/ 769 w 881"/>
                  <a:gd name="T29" fmla="*/ 96 h 942"/>
                  <a:gd name="T30" fmla="*/ 833 w 881"/>
                  <a:gd name="T31" fmla="*/ 116 h 942"/>
                  <a:gd name="T32" fmla="*/ 835 w 881"/>
                  <a:gd name="T33" fmla="*/ 140 h 942"/>
                  <a:gd name="T34" fmla="*/ 867 w 881"/>
                  <a:gd name="T35" fmla="*/ 82 h 942"/>
                  <a:gd name="T36" fmla="*/ 867 w 881"/>
                  <a:gd name="T37" fmla="*/ 34 h 942"/>
                  <a:gd name="T38" fmla="*/ 797 w 881"/>
                  <a:gd name="T39" fmla="*/ 48 h 942"/>
                  <a:gd name="T40" fmla="*/ 777 w 881"/>
                  <a:gd name="T41" fmla="*/ 20 h 942"/>
                  <a:gd name="T42" fmla="*/ 749 w 881"/>
                  <a:gd name="T43" fmla="*/ 20 h 942"/>
                  <a:gd name="T44" fmla="*/ 721 w 881"/>
                  <a:gd name="T45" fmla="*/ 62 h 942"/>
                  <a:gd name="T46" fmla="*/ 721 w 881"/>
                  <a:gd name="T47" fmla="*/ 14 h 942"/>
                  <a:gd name="T48" fmla="*/ 687 w 881"/>
                  <a:gd name="T49" fmla="*/ 48 h 942"/>
                  <a:gd name="T50" fmla="*/ 651 w 881"/>
                  <a:gd name="T51" fmla="*/ 82 h 942"/>
                  <a:gd name="T52" fmla="*/ 611 w 881"/>
                  <a:gd name="T53" fmla="*/ 88 h 942"/>
                  <a:gd name="T54" fmla="*/ 583 w 881"/>
                  <a:gd name="T55" fmla="*/ 130 h 942"/>
                  <a:gd name="T56" fmla="*/ 561 w 881"/>
                  <a:gd name="T57" fmla="*/ 150 h 942"/>
                  <a:gd name="T58" fmla="*/ 521 w 881"/>
                  <a:gd name="T59" fmla="*/ 178 h 942"/>
                  <a:gd name="T60" fmla="*/ 493 w 881"/>
                  <a:gd name="T61" fmla="*/ 212 h 942"/>
                  <a:gd name="T62" fmla="*/ 479 w 881"/>
                  <a:gd name="T63" fmla="*/ 226 h 942"/>
                  <a:gd name="T64" fmla="*/ 457 w 881"/>
                  <a:gd name="T65" fmla="*/ 246 h 942"/>
                  <a:gd name="T66" fmla="*/ 457 w 881"/>
                  <a:gd name="T67" fmla="*/ 274 h 942"/>
                  <a:gd name="T68" fmla="*/ 431 w 881"/>
                  <a:gd name="T69" fmla="*/ 302 h 942"/>
                  <a:gd name="T70" fmla="*/ 381 w 881"/>
                  <a:gd name="T71" fmla="*/ 336 h 942"/>
                  <a:gd name="T72" fmla="*/ 375 w 881"/>
                  <a:gd name="T73" fmla="*/ 370 h 942"/>
                  <a:gd name="T74" fmla="*/ 353 w 881"/>
                  <a:gd name="T75" fmla="*/ 412 h 942"/>
                  <a:gd name="T76" fmla="*/ 341 w 881"/>
                  <a:gd name="T77" fmla="*/ 446 h 942"/>
                  <a:gd name="T78" fmla="*/ 318 w 881"/>
                  <a:gd name="T79" fmla="*/ 488 h 942"/>
                  <a:gd name="T80" fmla="*/ 270 w 881"/>
                  <a:gd name="T81" fmla="*/ 496 h 942"/>
                  <a:gd name="T82" fmla="*/ 236 w 881"/>
                  <a:gd name="T83" fmla="*/ 550 h 942"/>
                  <a:gd name="T84" fmla="*/ 188 w 881"/>
                  <a:gd name="T85" fmla="*/ 578 h 942"/>
                  <a:gd name="T86" fmla="*/ 152 w 881"/>
                  <a:gd name="T87" fmla="*/ 584 h 942"/>
                  <a:gd name="T88" fmla="*/ 110 w 881"/>
                  <a:gd name="T89" fmla="*/ 598 h 942"/>
                  <a:gd name="T90" fmla="*/ 76 w 881"/>
                  <a:gd name="T91" fmla="*/ 618 h 942"/>
                  <a:gd name="T92" fmla="*/ 62 w 881"/>
                  <a:gd name="T93" fmla="*/ 640 h 942"/>
                  <a:gd name="T94" fmla="*/ 28 w 881"/>
                  <a:gd name="T95" fmla="*/ 668 h 942"/>
                  <a:gd name="T96" fmla="*/ 28 w 881"/>
                  <a:gd name="T97" fmla="*/ 702 h 942"/>
                  <a:gd name="T98" fmla="*/ 34 w 881"/>
                  <a:gd name="T99" fmla="*/ 750 h 942"/>
                  <a:gd name="T100" fmla="*/ 48 w 881"/>
                  <a:gd name="T101" fmla="*/ 776 h 942"/>
                  <a:gd name="T102" fmla="*/ 14 w 881"/>
                  <a:gd name="T103" fmla="*/ 804 h 942"/>
                  <a:gd name="T104" fmla="*/ 34 w 881"/>
                  <a:gd name="T105" fmla="*/ 846 h 942"/>
                  <a:gd name="T106" fmla="*/ 14 w 881"/>
                  <a:gd name="T107" fmla="*/ 894 h 942"/>
                  <a:gd name="T108" fmla="*/ 90 w 881"/>
                  <a:gd name="T109" fmla="*/ 942 h 942"/>
                  <a:gd name="T110" fmla="*/ 160 w 881"/>
                  <a:gd name="T111" fmla="*/ 894 h 942"/>
                  <a:gd name="T112" fmla="*/ 214 w 881"/>
                  <a:gd name="T113" fmla="*/ 852 h 942"/>
                  <a:gd name="T114" fmla="*/ 228 w 881"/>
                  <a:gd name="T115" fmla="*/ 838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81" h="942">
                    <a:moveTo>
                      <a:pt x="242" y="880"/>
                    </a:moveTo>
                    <a:lnTo>
                      <a:pt x="250" y="880"/>
                    </a:lnTo>
                    <a:lnTo>
                      <a:pt x="250" y="886"/>
                    </a:lnTo>
                    <a:lnTo>
                      <a:pt x="256" y="894"/>
                    </a:lnTo>
                    <a:lnTo>
                      <a:pt x="264" y="886"/>
                    </a:lnTo>
                    <a:lnTo>
                      <a:pt x="264" y="880"/>
                    </a:lnTo>
                    <a:lnTo>
                      <a:pt x="264" y="874"/>
                    </a:lnTo>
                    <a:lnTo>
                      <a:pt x="256" y="866"/>
                    </a:lnTo>
                    <a:lnTo>
                      <a:pt x="270" y="852"/>
                    </a:lnTo>
                    <a:lnTo>
                      <a:pt x="270" y="846"/>
                    </a:lnTo>
                    <a:lnTo>
                      <a:pt x="278" y="838"/>
                    </a:lnTo>
                    <a:lnTo>
                      <a:pt x="278" y="832"/>
                    </a:lnTo>
                    <a:lnTo>
                      <a:pt x="284" y="826"/>
                    </a:lnTo>
                    <a:lnTo>
                      <a:pt x="292" y="826"/>
                    </a:lnTo>
                    <a:lnTo>
                      <a:pt x="298" y="826"/>
                    </a:lnTo>
                    <a:lnTo>
                      <a:pt x="304" y="804"/>
                    </a:lnTo>
                    <a:lnTo>
                      <a:pt x="304" y="784"/>
                    </a:lnTo>
                    <a:lnTo>
                      <a:pt x="304" y="776"/>
                    </a:lnTo>
                    <a:lnTo>
                      <a:pt x="304" y="770"/>
                    </a:lnTo>
                    <a:lnTo>
                      <a:pt x="298" y="756"/>
                    </a:lnTo>
                    <a:lnTo>
                      <a:pt x="298" y="750"/>
                    </a:lnTo>
                    <a:lnTo>
                      <a:pt x="318" y="736"/>
                    </a:lnTo>
                    <a:lnTo>
                      <a:pt x="318" y="728"/>
                    </a:lnTo>
                    <a:lnTo>
                      <a:pt x="318" y="716"/>
                    </a:lnTo>
                    <a:lnTo>
                      <a:pt x="318" y="708"/>
                    </a:lnTo>
                    <a:lnTo>
                      <a:pt x="312" y="702"/>
                    </a:lnTo>
                    <a:lnTo>
                      <a:pt x="304" y="694"/>
                    </a:lnTo>
                    <a:lnTo>
                      <a:pt x="304" y="686"/>
                    </a:lnTo>
                    <a:lnTo>
                      <a:pt x="304" y="680"/>
                    </a:lnTo>
                    <a:lnTo>
                      <a:pt x="312" y="668"/>
                    </a:lnTo>
                    <a:lnTo>
                      <a:pt x="312" y="660"/>
                    </a:lnTo>
                    <a:lnTo>
                      <a:pt x="312" y="646"/>
                    </a:lnTo>
                    <a:lnTo>
                      <a:pt x="304" y="640"/>
                    </a:lnTo>
                    <a:lnTo>
                      <a:pt x="304" y="632"/>
                    </a:lnTo>
                    <a:lnTo>
                      <a:pt x="304" y="618"/>
                    </a:lnTo>
                    <a:lnTo>
                      <a:pt x="312" y="612"/>
                    </a:lnTo>
                    <a:lnTo>
                      <a:pt x="312" y="598"/>
                    </a:lnTo>
                    <a:lnTo>
                      <a:pt x="312" y="584"/>
                    </a:lnTo>
                    <a:lnTo>
                      <a:pt x="312" y="570"/>
                    </a:lnTo>
                    <a:lnTo>
                      <a:pt x="318" y="556"/>
                    </a:lnTo>
                    <a:lnTo>
                      <a:pt x="326" y="550"/>
                    </a:lnTo>
                    <a:lnTo>
                      <a:pt x="341" y="544"/>
                    </a:lnTo>
                    <a:lnTo>
                      <a:pt x="341" y="550"/>
                    </a:lnTo>
                    <a:lnTo>
                      <a:pt x="347" y="550"/>
                    </a:lnTo>
                    <a:lnTo>
                      <a:pt x="355" y="544"/>
                    </a:lnTo>
                    <a:lnTo>
                      <a:pt x="361" y="536"/>
                    </a:lnTo>
                    <a:lnTo>
                      <a:pt x="369" y="536"/>
                    </a:lnTo>
                    <a:lnTo>
                      <a:pt x="383" y="536"/>
                    </a:lnTo>
                    <a:lnTo>
                      <a:pt x="389" y="528"/>
                    </a:lnTo>
                    <a:lnTo>
                      <a:pt x="383" y="516"/>
                    </a:lnTo>
                    <a:lnTo>
                      <a:pt x="383" y="508"/>
                    </a:lnTo>
                    <a:lnTo>
                      <a:pt x="383" y="502"/>
                    </a:lnTo>
                    <a:lnTo>
                      <a:pt x="375" y="488"/>
                    </a:lnTo>
                    <a:lnTo>
                      <a:pt x="383" y="480"/>
                    </a:lnTo>
                    <a:lnTo>
                      <a:pt x="395" y="474"/>
                    </a:lnTo>
                    <a:lnTo>
                      <a:pt x="395" y="468"/>
                    </a:lnTo>
                    <a:lnTo>
                      <a:pt x="403" y="446"/>
                    </a:lnTo>
                    <a:lnTo>
                      <a:pt x="403" y="440"/>
                    </a:lnTo>
                    <a:lnTo>
                      <a:pt x="403" y="432"/>
                    </a:lnTo>
                    <a:lnTo>
                      <a:pt x="403" y="418"/>
                    </a:lnTo>
                    <a:lnTo>
                      <a:pt x="409" y="412"/>
                    </a:lnTo>
                    <a:lnTo>
                      <a:pt x="417" y="398"/>
                    </a:lnTo>
                    <a:lnTo>
                      <a:pt x="417" y="384"/>
                    </a:lnTo>
                    <a:lnTo>
                      <a:pt x="431" y="378"/>
                    </a:lnTo>
                    <a:lnTo>
                      <a:pt x="445" y="370"/>
                    </a:lnTo>
                    <a:lnTo>
                      <a:pt x="451" y="364"/>
                    </a:lnTo>
                    <a:lnTo>
                      <a:pt x="451" y="358"/>
                    </a:lnTo>
                    <a:lnTo>
                      <a:pt x="451" y="344"/>
                    </a:lnTo>
                    <a:lnTo>
                      <a:pt x="465" y="336"/>
                    </a:lnTo>
                    <a:lnTo>
                      <a:pt x="479" y="324"/>
                    </a:lnTo>
                    <a:lnTo>
                      <a:pt x="479" y="316"/>
                    </a:lnTo>
                    <a:lnTo>
                      <a:pt x="485" y="308"/>
                    </a:lnTo>
                    <a:lnTo>
                      <a:pt x="479" y="296"/>
                    </a:lnTo>
                    <a:lnTo>
                      <a:pt x="471" y="288"/>
                    </a:lnTo>
                    <a:lnTo>
                      <a:pt x="479" y="282"/>
                    </a:lnTo>
                    <a:lnTo>
                      <a:pt x="485" y="274"/>
                    </a:lnTo>
                    <a:lnTo>
                      <a:pt x="507" y="260"/>
                    </a:lnTo>
                    <a:lnTo>
                      <a:pt x="507" y="254"/>
                    </a:lnTo>
                    <a:lnTo>
                      <a:pt x="513" y="240"/>
                    </a:lnTo>
                    <a:lnTo>
                      <a:pt x="521" y="240"/>
                    </a:lnTo>
                    <a:lnTo>
                      <a:pt x="535" y="246"/>
                    </a:lnTo>
                    <a:lnTo>
                      <a:pt x="541" y="246"/>
                    </a:lnTo>
                    <a:lnTo>
                      <a:pt x="541" y="240"/>
                    </a:lnTo>
                    <a:lnTo>
                      <a:pt x="541" y="226"/>
                    </a:lnTo>
                    <a:lnTo>
                      <a:pt x="555" y="220"/>
                    </a:lnTo>
                    <a:lnTo>
                      <a:pt x="563" y="226"/>
                    </a:lnTo>
                    <a:lnTo>
                      <a:pt x="569" y="226"/>
                    </a:lnTo>
                    <a:lnTo>
                      <a:pt x="569" y="220"/>
                    </a:lnTo>
                    <a:lnTo>
                      <a:pt x="575" y="198"/>
                    </a:lnTo>
                    <a:lnTo>
                      <a:pt x="589" y="206"/>
                    </a:lnTo>
                    <a:lnTo>
                      <a:pt x="589" y="198"/>
                    </a:lnTo>
                    <a:lnTo>
                      <a:pt x="589" y="186"/>
                    </a:lnTo>
                    <a:lnTo>
                      <a:pt x="589" y="178"/>
                    </a:lnTo>
                    <a:lnTo>
                      <a:pt x="603" y="178"/>
                    </a:lnTo>
                    <a:lnTo>
                      <a:pt x="603" y="164"/>
                    </a:lnTo>
                    <a:lnTo>
                      <a:pt x="611" y="150"/>
                    </a:lnTo>
                    <a:lnTo>
                      <a:pt x="617" y="150"/>
                    </a:lnTo>
                    <a:lnTo>
                      <a:pt x="625" y="158"/>
                    </a:lnTo>
                    <a:lnTo>
                      <a:pt x="639" y="164"/>
                    </a:lnTo>
                    <a:lnTo>
                      <a:pt x="639" y="172"/>
                    </a:lnTo>
                    <a:lnTo>
                      <a:pt x="645" y="186"/>
                    </a:lnTo>
                    <a:lnTo>
                      <a:pt x="653" y="186"/>
                    </a:lnTo>
                    <a:lnTo>
                      <a:pt x="659" y="186"/>
                    </a:lnTo>
                    <a:lnTo>
                      <a:pt x="665" y="192"/>
                    </a:lnTo>
                    <a:lnTo>
                      <a:pt x="687" y="192"/>
                    </a:lnTo>
                    <a:lnTo>
                      <a:pt x="693" y="186"/>
                    </a:lnTo>
                    <a:lnTo>
                      <a:pt x="701" y="186"/>
                    </a:lnTo>
                    <a:lnTo>
                      <a:pt x="707" y="198"/>
                    </a:lnTo>
                    <a:lnTo>
                      <a:pt x="721" y="192"/>
                    </a:lnTo>
                    <a:lnTo>
                      <a:pt x="729" y="192"/>
                    </a:lnTo>
                    <a:lnTo>
                      <a:pt x="729" y="186"/>
                    </a:lnTo>
                    <a:lnTo>
                      <a:pt x="735" y="172"/>
                    </a:lnTo>
                    <a:lnTo>
                      <a:pt x="743" y="164"/>
                    </a:lnTo>
                    <a:lnTo>
                      <a:pt x="743" y="158"/>
                    </a:lnTo>
                    <a:lnTo>
                      <a:pt x="743" y="150"/>
                    </a:lnTo>
                    <a:lnTo>
                      <a:pt x="743" y="144"/>
                    </a:lnTo>
                    <a:lnTo>
                      <a:pt x="749" y="130"/>
                    </a:lnTo>
                    <a:lnTo>
                      <a:pt x="749" y="102"/>
                    </a:lnTo>
                    <a:lnTo>
                      <a:pt x="755" y="96"/>
                    </a:lnTo>
                    <a:lnTo>
                      <a:pt x="769" y="96"/>
                    </a:lnTo>
                    <a:lnTo>
                      <a:pt x="783" y="88"/>
                    </a:lnTo>
                    <a:lnTo>
                      <a:pt x="791" y="82"/>
                    </a:lnTo>
                    <a:lnTo>
                      <a:pt x="797" y="82"/>
                    </a:lnTo>
                    <a:lnTo>
                      <a:pt x="791" y="96"/>
                    </a:lnTo>
                    <a:lnTo>
                      <a:pt x="811" y="102"/>
                    </a:lnTo>
                    <a:lnTo>
                      <a:pt x="817" y="102"/>
                    </a:lnTo>
                    <a:lnTo>
                      <a:pt x="825" y="110"/>
                    </a:lnTo>
                    <a:lnTo>
                      <a:pt x="833" y="116"/>
                    </a:lnTo>
                    <a:lnTo>
                      <a:pt x="833" y="124"/>
                    </a:lnTo>
                    <a:lnTo>
                      <a:pt x="825" y="130"/>
                    </a:lnTo>
                    <a:lnTo>
                      <a:pt x="825" y="144"/>
                    </a:lnTo>
                    <a:lnTo>
                      <a:pt x="825" y="150"/>
                    </a:lnTo>
                    <a:lnTo>
                      <a:pt x="825" y="158"/>
                    </a:lnTo>
                    <a:lnTo>
                      <a:pt x="825" y="164"/>
                    </a:lnTo>
                    <a:lnTo>
                      <a:pt x="833" y="164"/>
                    </a:lnTo>
                    <a:lnTo>
                      <a:pt x="835" y="140"/>
                    </a:lnTo>
                    <a:lnTo>
                      <a:pt x="845" y="124"/>
                    </a:lnTo>
                    <a:lnTo>
                      <a:pt x="859" y="116"/>
                    </a:lnTo>
                    <a:lnTo>
                      <a:pt x="875" y="112"/>
                    </a:lnTo>
                    <a:lnTo>
                      <a:pt x="881" y="88"/>
                    </a:lnTo>
                    <a:lnTo>
                      <a:pt x="879" y="88"/>
                    </a:lnTo>
                    <a:lnTo>
                      <a:pt x="867" y="88"/>
                    </a:lnTo>
                    <a:lnTo>
                      <a:pt x="859" y="88"/>
                    </a:lnTo>
                    <a:lnTo>
                      <a:pt x="867" y="82"/>
                    </a:lnTo>
                    <a:lnTo>
                      <a:pt x="867" y="68"/>
                    </a:lnTo>
                    <a:lnTo>
                      <a:pt x="859" y="62"/>
                    </a:lnTo>
                    <a:lnTo>
                      <a:pt x="867" y="62"/>
                    </a:lnTo>
                    <a:lnTo>
                      <a:pt x="873" y="54"/>
                    </a:lnTo>
                    <a:lnTo>
                      <a:pt x="873" y="48"/>
                    </a:lnTo>
                    <a:lnTo>
                      <a:pt x="873" y="40"/>
                    </a:lnTo>
                    <a:lnTo>
                      <a:pt x="867" y="40"/>
                    </a:lnTo>
                    <a:lnTo>
                      <a:pt x="867" y="34"/>
                    </a:lnTo>
                    <a:lnTo>
                      <a:pt x="853" y="34"/>
                    </a:lnTo>
                    <a:lnTo>
                      <a:pt x="839" y="40"/>
                    </a:lnTo>
                    <a:lnTo>
                      <a:pt x="839" y="26"/>
                    </a:lnTo>
                    <a:lnTo>
                      <a:pt x="825" y="26"/>
                    </a:lnTo>
                    <a:lnTo>
                      <a:pt x="817" y="20"/>
                    </a:lnTo>
                    <a:lnTo>
                      <a:pt x="803" y="34"/>
                    </a:lnTo>
                    <a:lnTo>
                      <a:pt x="803" y="40"/>
                    </a:lnTo>
                    <a:lnTo>
                      <a:pt x="797" y="48"/>
                    </a:lnTo>
                    <a:lnTo>
                      <a:pt x="791" y="34"/>
                    </a:lnTo>
                    <a:lnTo>
                      <a:pt x="791" y="26"/>
                    </a:lnTo>
                    <a:lnTo>
                      <a:pt x="797" y="20"/>
                    </a:lnTo>
                    <a:lnTo>
                      <a:pt x="797" y="14"/>
                    </a:lnTo>
                    <a:lnTo>
                      <a:pt x="797" y="0"/>
                    </a:lnTo>
                    <a:lnTo>
                      <a:pt x="791" y="0"/>
                    </a:lnTo>
                    <a:lnTo>
                      <a:pt x="777" y="14"/>
                    </a:lnTo>
                    <a:lnTo>
                      <a:pt x="777" y="20"/>
                    </a:lnTo>
                    <a:lnTo>
                      <a:pt x="763" y="26"/>
                    </a:lnTo>
                    <a:lnTo>
                      <a:pt x="763" y="48"/>
                    </a:lnTo>
                    <a:lnTo>
                      <a:pt x="763" y="54"/>
                    </a:lnTo>
                    <a:lnTo>
                      <a:pt x="755" y="48"/>
                    </a:lnTo>
                    <a:lnTo>
                      <a:pt x="755" y="40"/>
                    </a:lnTo>
                    <a:lnTo>
                      <a:pt x="749" y="34"/>
                    </a:lnTo>
                    <a:lnTo>
                      <a:pt x="749" y="26"/>
                    </a:lnTo>
                    <a:lnTo>
                      <a:pt x="749" y="20"/>
                    </a:lnTo>
                    <a:lnTo>
                      <a:pt x="749" y="14"/>
                    </a:lnTo>
                    <a:lnTo>
                      <a:pt x="741" y="14"/>
                    </a:lnTo>
                    <a:lnTo>
                      <a:pt x="741" y="20"/>
                    </a:lnTo>
                    <a:lnTo>
                      <a:pt x="741" y="26"/>
                    </a:lnTo>
                    <a:lnTo>
                      <a:pt x="735" y="40"/>
                    </a:lnTo>
                    <a:lnTo>
                      <a:pt x="727" y="54"/>
                    </a:lnTo>
                    <a:lnTo>
                      <a:pt x="721" y="68"/>
                    </a:lnTo>
                    <a:lnTo>
                      <a:pt x="721" y="62"/>
                    </a:lnTo>
                    <a:lnTo>
                      <a:pt x="721" y="54"/>
                    </a:lnTo>
                    <a:lnTo>
                      <a:pt x="721" y="40"/>
                    </a:lnTo>
                    <a:lnTo>
                      <a:pt x="735" y="34"/>
                    </a:lnTo>
                    <a:lnTo>
                      <a:pt x="735" y="26"/>
                    </a:lnTo>
                    <a:lnTo>
                      <a:pt x="741" y="14"/>
                    </a:lnTo>
                    <a:lnTo>
                      <a:pt x="749" y="6"/>
                    </a:lnTo>
                    <a:lnTo>
                      <a:pt x="741" y="0"/>
                    </a:lnTo>
                    <a:lnTo>
                      <a:pt x="721" y="14"/>
                    </a:lnTo>
                    <a:lnTo>
                      <a:pt x="713" y="6"/>
                    </a:lnTo>
                    <a:lnTo>
                      <a:pt x="707" y="14"/>
                    </a:lnTo>
                    <a:lnTo>
                      <a:pt x="707" y="20"/>
                    </a:lnTo>
                    <a:lnTo>
                      <a:pt x="721" y="26"/>
                    </a:lnTo>
                    <a:lnTo>
                      <a:pt x="701" y="34"/>
                    </a:lnTo>
                    <a:lnTo>
                      <a:pt x="693" y="26"/>
                    </a:lnTo>
                    <a:lnTo>
                      <a:pt x="687" y="34"/>
                    </a:lnTo>
                    <a:lnTo>
                      <a:pt x="687" y="48"/>
                    </a:lnTo>
                    <a:lnTo>
                      <a:pt x="679" y="48"/>
                    </a:lnTo>
                    <a:lnTo>
                      <a:pt x="687" y="54"/>
                    </a:lnTo>
                    <a:lnTo>
                      <a:pt x="673" y="68"/>
                    </a:lnTo>
                    <a:lnTo>
                      <a:pt x="665" y="54"/>
                    </a:lnTo>
                    <a:lnTo>
                      <a:pt x="659" y="62"/>
                    </a:lnTo>
                    <a:lnTo>
                      <a:pt x="659" y="68"/>
                    </a:lnTo>
                    <a:lnTo>
                      <a:pt x="659" y="76"/>
                    </a:lnTo>
                    <a:lnTo>
                      <a:pt x="651" y="82"/>
                    </a:lnTo>
                    <a:lnTo>
                      <a:pt x="645" y="76"/>
                    </a:lnTo>
                    <a:lnTo>
                      <a:pt x="637" y="76"/>
                    </a:lnTo>
                    <a:lnTo>
                      <a:pt x="637" y="82"/>
                    </a:lnTo>
                    <a:lnTo>
                      <a:pt x="631" y="76"/>
                    </a:lnTo>
                    <a:lnTo>
                      <a:pt x="623" y="76"/>
                    </a:lnTo>
                    <a:lnTo>
                      <a:pt x="617" y="82"/>
                    </a:lnTo>
                    <a:lnTo>
                      <a:pt x="617" y="88"/>
                    </a:lnTo>
                    <a:lnTo>
                      <a:pt x="611" y="88"/>
                    </a:lnTo>
                    <a:lnTo>
                      <a:pt x="603" y="96"/>
                    </a:lnTo>
                    <a:lnTo>
                      <a:pt x="603" y="110"/>
                    </a:lnTo>
                    <a:lnTo>
                      <a:pt x="611" y="116"/>
                    </a:lnTo>
                    <a:lnTo>
                      <a:pt x="611" y="130"/>
                    </a:lnTo>
                    <a:lnTo>
                      <a:pt x="603" y="124"/>
                    </a:lnTo>
                    <a:lnTo>
                      <a:pt x="597" y="116"/>
                    </a:lnTo>
                    <a:lnTo>
                      <a:pt x="589" y="116"/>
                    </a:lnTo>
                    <a:lnTo>
                      <a:pt x="583" y="130"/>
                    </a:lnTo>
                    <a:lnTo>
                      <a:pt x="575" y="116"/>
                    </a:lnTo>
                    <a:lnTo>
                      <a:pt x="569" y="124"/>
                    </a:lnTo>
                    <a:lnTo>
                      <a:pt x="569" y="138"/>
                    </a:lnTo>
                    <a:lnTo>
                      <a:pt x="575" y="150"/>
                    </a:lnTo>
                    <a:lnTo>
                      <a:pt x="575" y="158"/>
                    </a:lnTo>
                    <a:lnTo>
                      <a:pt x="569" y="150"/>
                    </a:lnTo>
                    <a:lnTo>
                      <a:pt x="561" y="138"/>
                    </a:lnTo>
                    <a:lnTo>
                      <a:pt x="561" y="150"/>
                    </a:lnTo>
                    <a:lnTo>
                      <a:pt x="555" y="164"/>
                    </a:lnTo>
                    <a:lnTo>
                      <a:pt x="547" y="158"/>
                    </a:lnTo>
                    <a:lnTo>
                      <a:pt x="547" y="144"/>
                    </a:lnTo>
                    <a:lnTo>
                      <a:pt x="541" y="150"/>
                    </a:lnTo>
                    <a:lnTo>
                      <a:pt x="541" y="172"/>
                    </a:lnTo>
                    <a:lnTo>
                      <a:pt x="535" y="172"/>
                    </a:lnTo>
                    <a:lnTo>
                      <a:pt x="527" y="172"/>
                    </a:lnTo>
                    <a:lnTo>
                      <a:pt x="521" y="178"/>
                    </a:lnTo>
                    <a:lnTo>
                      <a:pt x="527" y="186"/>
                    </a:lnTo>
                    <a:lnTo>
                      <a:pt x="521" y="192"/>
                    </a:lnTo>
                    <a:lnTo>
                      <a:pt x="513" y="198"/>
                    </a:lnTo>
                    <a:lnTo>
                      <a:pt x="513" y="206"/>
                    </a:lnTo>
                    <a:lnTo>
                      <a:pt x="521" y="212"/>
                    </a:lnTo>
                    <a:lnTo>
                      <a:pt x="513" y="220"/>
                    </a:lnTo>
                    <a:lnTo>
                      <a:pt x="493" y="220"/>
                    </a:lnTo>
                    <a:lnTo>
                      <a:pt x="493" y="212"/>
                    </a:lnTo>
                    <a:lnTo>
                      <a:pt x="485" y="220"/>
                    </a:lnTo>
                    <a:lnTo>
                      <a:pt x="485" y="226"/>
                    </a:lnTo>
                    <a:lnTo>
                      <a:pt x="485" y="240"/>
                    </a:lnTo>
                    <a:lnTo>
                      <a:pt x="485" y="246"/>
                    </a:lnTo>
                    <a:lnTo>
                      <a:pt x="479" y="260"/>
                    </a:lnTo>
                    <a:lnTo>
                      <a:pt x="479" y="246"/>
                    </a:lnTo>
                    <a:lnTo>
                      <a:pt x="479" y="234"/>
                    </a:lnTo>
                    <a:lnTo>
                      <a:pt x="479" y="226"/>
                    </a:lnTo>
                    <a:lnTo>
                      <a:pt x="471" y="234"/>
                    </a:lnTo>
                    <a:lnTo>
                      <a:pt x="465" y="234"/>
                    </a:lnTo>
                    <a:lnTo>
                      <a:pt x="457" y="234"/>
                    </a:lnTo>
                    <a:lnTo>
                      <a:pt x="451" y="240"/>
                    </a:lnTo>
                    <a:lnTo>
                      <a:pt x="457" y="240"/>
                    </a:lnTo>
                    <a:lnTo>
                      <a:pt x="465" y="246"/>
                    </a:lnTo>
                    <a:lnTo>
                      <a:pt x="465" y="254"/>
                    </a:lnTo>
                    <a:lnTo>
                      <a:pt x="457" y="246"/>
                    </a:lnTo>
                    <a:lnTo>
                      <a:pt x="451" y="254"/>
                    </a:lnTo>
                    <a:lnTo>
                      <a:pt x="443" y="246"/>
                    </a:lnTo>
                    <a:lnTo>
                      <a:pt x="437" y="246"/>
                    </a:lnTo>
                    <a:lnTo>
                      <a:pt x="437" y="260"/>
                    </a:lnTo>
                    <a:lnTo>
                      <a:pt x="431" y="268"/>
                    </a:lnTo>
                    <a:lnTo>
                      <a:pt x="451" y="260"/>
                    </a:lnTo>
                    <a:lnTo>
                      <a:pt x="457" y="268"/>
                    </a:lnTo>
                    <a:lnTo>
                      <a:pt x="457" y="274"/>
                    </a:lnTo>
                    <a:lnTo>
                      <a:pt x="443" y="274"/>
                    </a:lnTo>
                    <a:lnTo>
                      <a:pt x="437" y="274"/>
                    </a:lnTo>
                    <a:lnTo>
                      <a:pt x="431" y="282"/>
                    </a:lnTo>
                    <a:lnTo>
                      <a:pt x="431" y="288"/>
                    </a:lnTo>
                    <a:lnTo>
                      <a:pt x="443" y="288"/>
                    </a:lnTo>
                    <a:lnTo>
                      <a:pt x="443" y="302"/>
                    </a:lnTo>
                    <a:lnTo>
                      <a:pt x="437" y="302"/>
                    </a:lnTo>
                    <a:lnTo>
                      <a:pt x="431" y="302"/>
                    </a:lnTo>
                    <a:lnTo>
                      <a:pt x="423" y="308"/>
                    </a:lnTo>
                    <a:lnTo>
                      <a:pt x="417" y="316"/>
                    </a:lnTo>
                    <a:lnTo>
                      <a:pt x="403" y="308"/>
                    </a:lnTo>
                    <a:lnTo>
                      <a:pt x="395" y="316"/>
                    </a:lnTo>
                    <a:lnTo>
                      <a:pt x="395" y="324"/>
                    </a:lnTo>
                    <a:lnTo>
                      <a:pt x="395" y="330"/>
                    </a:lnTo>
                    <a:lnTo>
                      <a:pt x="389" y="330"/>
                    </a:lnTo>
                    <a:lnTo>
                      <a:pt x="381" y="336"/>
                    </a:lnTo>
                    <a:lnTo>
                      <a:pt x="389" y="344"/>
                    </a:lnTo>
                    <a:lnTo>
                      <a:pt x="381" y="350"/>
                    </a:lnTo>
                    <a:lnTo>
                      <a:pt x="367" y="350"/>
                    </a:lnTo>
                    <a:lnTo>
                      <a:pt x="375" y="358"/>
                    </a:lnTo>
                    <a:lnTo>
                      <a:pt x="381" y="364"/>
                    </a:lnTo>
                    <a:lnTo>
                      <a:pt x="389" y="358"/>
                    </a:lnTo>
                    <a:lnTo>
                      <a:pt x="389" y="370"/>
                    </a:lnTo>
                    <a:lnTo>
                      <a:pt x="375" y="370"/>
                    </a:lnTo>
                    <a:lnTo>
                      <a:pt x="367" y="370"/>
                    </a:lnTo>
                    <a:lnTo>
                      <a:pt x="367" y="378"/>
                    </a:lnTo>
                    <a:lnTo>
                      <a:pt x="375" y="384"/>
                    </a:lnTo>
                    <a:lnTo>
                      <a:pt x="367" y="392"/>
                    </a:lnTo>
                    <a:lnTo>
                      <a:pt x="361" y="392"/>
                    </a:lnTo>
                    <a:lnTo>
                      <a:pt x="353" y="398"/>
                    </a:lnTo>
                    <a:lnTo>
                      <a:pt x="347" y="406"/>
                    </a:lnTo>
                    <a:lnTo>
                      <a:pt x="353" y="412"/>
                    </a:lnTo>
                    <a:lnTo>
                      <a:pt x="353" y="418"/>
                    </a:lnTo>
                    <a:lnTo>
                      <a:pt x="347" y="426"/>
                    </a:lnTo>
                    <a:lnTo>
                      <a:pt x="341" y="418"/>
                    </a:lnTo>
                    <a:lnTo>
                      <a:pt x="341" y="412"/>
                    </a:lnTo>
                    <a:lnTo>
                      <a:pt x="332" y="426"/>
                    </a:lnTo>
                    <a:lnTo>
                      <a:pt x="332" y="432"/>
                    </a:lnTo>
                    <a:lnTo>
                      <a:pt x="341" y="432"/>
                    </a:lnTo>
                    <a:lnTo>
                      <a:pt x="341" y="446"/>
                    </a:lnTo>
                    <a:lnTo>
                      <a:pt x="332" y="454"/>
                    </a:lnTo>
                    <a:lnTo>
                      <a:pt x="326" y="454"/>
                    </a:lnTo>
                    <a:lnTo>
                      <a:pt x="326" y="468"/>
                    </a:lnTo>
                    <a:lnTo>
                      <a:pt x="318" y="474"/>
                    </a:lnTo>
                    <a:lnTo>
                      <a:pt x="312" y="474"/>
                    </a:lnTo>
                    <a:lnTo>
                      <a:pt x="312" y="480"/>
                    </a:lnTo>
                    <a:lnTo>
                      <a:pt x="318" y="480"/>
                    </a:lnTo>
                    <a:lnTo>
                      <a:pt x="318" y="488"/>
                    </a:lnTo>
                    <a:lnTo>
                      <a:pt x="318" y="496"/>
                    </a:lnTo>
                    <a:lnTo>
                      <a:pt x="312" y="502"/>
                    </a:lnTo>
                    <a:lnTo>
                      <a:pt x="298" y="496"/>
                    </a:lnTo>
                    <a:lnTo>
                      <a:pt x="298" y="488"/>
                    </a:lnTo>
                    <a:lnTo>
                      <a:pt x="290" y="480"/>
                    </a:lnTo>
                    <a:lnTo>
                      <a:pt x="284" y="488"/>
                    </a:lnTo>
                    <a:lnTo>
                      <a:pt x="276" y="496"/>
                    </a:lnTo>
                    <a:lnTo>
                      <a:pt x="270" y="496"/>
                    </a:lnTo>
                    <a:lnTo>
                      <a:pt x="264" y="496"/>
                    </a:lnTo>
                    <a:lnTo>
                      <a:pt x="264" y="508"/>
                    </a:lnTo>
                    <a:lnTo>
                      <a:pt x="256" y="516"/>
                    </a:lnTo>
                    <a:lnTo>
                      <a:pt x="250" y="528"/>
                    </a:lnTo>
                    <a:lnTo>
                      <a:pt x="242" y="528"/>
                    </a:lnTo>
                    <a:lnTo>
                      <a:pt x="236" y="528"/>
                    </a:lnTo>
                    <a:lnTo>
                      <a:pt x="236" y="536"/>
                    </a:lnTo>
                    <a:lnTo>
                      <a:pt x="236" y="550"/>
                    </a:lnTo>
                    <a:lnTo>
                      <a:pt x="228" y="544"/>
                    </a:lnTo>
                    <a:lnTo>
                      <a:pt x="222" y="550"/>
                    </a:lnTo>
                    <a:lnTo>
                      <a:pt x="214" y="556"/>
                    </a:lnTo>
                    <a:lnTo>
                      <a:pt x="208" y="550"/>
                    </a:lnTo>
                    <a:lnTo>
                      <a:pt x="202" y="556"/>
                    </a:lnTo>
                    <a:lnTo>
                      <a:pt x="194" y="564"/>
                    </a:lnTo>
                    <a:lnTo>
                      <a:pt x="188" y="564"/>
                    </a:lnTo>
                    <a:lnTo>
                      <a:pt x="188" y="578"/>
                    </a:lnTo>
                    <a:lnTo>
                      <a:pt x="180" y="570"/>
                    </a:lnTo>
                    <a:lnTo>
                      <a:pt x="172" y="570"/>
                    </a:lnTo>
                    <a:lnTo>
                      <a:pt x="180" y="578"/>
                    </a:lnTo>
                    <a:lnTo>
                      <a:pt x="180" y="584"/>
                    </a:lnTo>
                    <a:lnTo>
                      <a:pt x="172" y="584"/>
                    </a:lnTo>
                    <a:lnTo>
                      <a:pt x="166" y="578"/>
                    </a:lnTo>
                    <a:lnTo>
                      <a:pt x="160" y="584"/>
                    </a:lnTo>
                    <a:lnTo>
                      <a:pt x="152" y="584"/>
                    </a:lnTo>
                    <a:lnTo>
                      <a:pt x="146" y="584"/>
                    </a:lnTo>
                    <a:lnTo>
                      <a:pt x="138" y="584"/>
                    </a:lnTo>
                    <a:lnTo>
                      <a:pt x="138" y="592"/>
                    </a:lnTo>
                    <a:lnTo>
                      <a:pt x="146" y="604"/>
                    </a:lnTo>
                    <a:lnTo>
                      <a:pt x="138" y="604"/>
                    </a:lnTo>
                    <a:lnTo>
                      <a:pt x="130" y="604"/>
                    </a:lnTo>
                    <a:lnTo>
                      <a:pt x="118" y="598"/>
                    </a:lnTo>
                    <a:lnTo>
                      <a:pt x="110" y="598"/>
                    </a:lnTo>
                    <a:lnTo>
                      <a:pt x="104" y="604"/>
                    </a:lnTo>
                    <a:lnTo>
                      <a:pt x="110" y="612"/>
                    </a:lnTo>
                    <a:lnTo>
                      <a:pt x="110" y="618"/>
                    </a:lnTo>
                    <a:lnTo>
                      <a:pt x="104" y="618"/>
                    </a:lnTo>
                    <a:lnTo>
                      <a:pt x="90" y="618"/>
                    </a:lnTo>
                    <a:lnTo>
                      <a:pt x="82" y="632"/>
                    </a:lnTo>
                    <a:lnTo>
                      <a:pt x="82" y="618"/>
                    </a:lnTo>
                    <a:lnTo>
                      <a:pt x="76" y="618"/>
                    </a:lnTo>
                    <a:lnTo>
                      <a:pt x="68" y="626"/>
                    </a:lnTo>
                    <a:lnTo>
                      <a:pt x="62" y="618"/>
                    </a:lnTo>
                    <a:lnTo>
                      <a:pt x="56" y="618"/>
                    </a:lnTo>
                    <a:lnTo>
                      <a:pt x="48" y="618"/>
                    </a:lnTo>
                    <a:lnTo>
                      <a:pt x="48" y="626"/>
                    </a:lnTo>
                    <a:lnTo>
                      <a:pt x="48" y="632"/>
                    </a:lnTo>
                    <a:lnTo>
                      <a:pt x="56" y="640"/>
                    </a:lnTo>
                    <a:lnTo>
                      <a:pt x="62" y="640"/>
                    </a:lnTo>
                    <a:lnTo>
                      <a:pt x="62" y="646"/>
                    </a:lnTo>
                    <a:lnTo>
                      <a:pt x="56" y="646"/>
                    </a:lnTo>
                    <a:lnTo>
                      <a:pt x="48" y="654"/>
                    </a:lnTo>
                    <a:lnTo>
                      <a:pt x="34" y="654"/>
                    </a:lnTo>
                    <a:lnTo>
                      <a:pt x="34" y="660"/>
                    </a:lnTo>
                    <a:lnTo>
                      <a:pt x="42" y="668"/>
                    </a:lnTo>
                    <a:lnTo>
                      <a:pt x="42" y="674"/>
                    </a:lnTo>
                    <a:lnTo>
                      <a:pt x="28" y="668"/>
                    </a:lnTo>
                    <a:lnTo>
                      <a:pt x="28" y="674"/>
                    </a:lnTo>
                    <a:lnTo>
                      <a:pt x="28" y="680"/>
                    </a:lnTo>
                    <a:lnTo>
                      <a:pt x="34" y="694"/>
                    </a:lnTo>
                    <a:lnTo>
                      <a:pt x="48" y="694"/>
                    </a:lnTo>
                    <a:lnTo>
                      <a:pt x="48" y="702"/>
                    </a:lnTo>
                    <a:lnTo>
                      <a:pt x="42" y="702"/>
                    </a:lnTo>
                    <a:lnTo>
                      <a:pt x="28" y="694"/>
                    </a:lnTo>
                    <a:lnTo>
                      <a:pt x="28" y="702"/>
                    </a:lnTo>
                    <a:lnTo>
                      <a:pt x="28" y="708"/>
                    </a:lnTo>
                    <a:lnTo>
                      <a:pt x="34" y="722"/>
                    </a:lnTo>
                    <a:lnTo>
                      <a:pt x="42" y="728"/>
                    </a:lnTo>
                    <a:lnTo>
                      <a:pt x="34" y="736"/>
                    </a:lnTo>
                    <a:lnTo>
                      <a:pt x="28" y="728"/>
                    </a:lnTo>
                    <a:lnTo>
                      <a:pt x="20" y="736"/>
                    </a:lnTo>
                    <a:lnTo>
                      <a:pt x="20" y="742"/>
                    </a:lnTo>
                    <a:lnTo>
                      <a:pt x="34" y="750"/>
                    </a:lnTo>
                    <a:lnTo>
                      <a:pt x="28" y="750"/>
                    </a:lnTo>
                    <a:lnTo>
                      <a:pt x="20" y="750"/>
                    </a:lnTo>
                    <a:lnTo>
                      <a:pt x="20" y="756"/>
                    </a:lnTo>
                    <a:lnTo>
                      <a:pt x="28" y="764"/>
                    </a:lnTo>
                    <a:lnTo>
                      <a:pt x="34" y="770"/>
                    </a:lnTo>
                    <a:lnTo>
                      <a:pt x="48" y="770"/>
                    </a:lnTo>
                    <a:lnTo>
                      <a:pt x="62" y="764"/>
                    </a:lnTo>
                    <a:lnTo>
                      <a:pt x="48" y="776"/>
                    </a:lnTo>
                    <a:lnTo>
                      <a:pt x="42" y="784"/>
                    </a:lnTo>
                    <a:lnTo>
                      <a:pt x="34" y="790"/>
                    </a:lnTo>
                    <a:lnTo>
                      <a:pt x="48" y="804"/>
                    </a:lnTo>
                    <a:lnTo>
                      <a:pt x="42" y="804"/>
                    </a:lnTo>
                    <a:lnTo>
                      <a:pt x="34" y="804"/>
                    </a:lnTo>
                    <a:lnTo>
                      <a:pt x="28" y="812"/>
                    </a:lnTo>
                    <a:lnTo>
                      <a:pt x="20" y="804"/>
                    </a:lnTo>
                    <a:lnTo>
                      <a:pt x="14" y="804"/>
                    </a:lnTo>
                    <a:lnTo>
                      <a:pt x="6" y="818"/>
                    </a:lnTo>
                    <a:lnTo>
                      <a:pt x="6" y="826"/>
                    </a:lnTo>
                    <a:lnTo>
                      <a:pt x="0" y="838"/>
                    </a:lnTo>
                    <a:lnTo>
                      <a:pt x="6" y="846"/>
                    </a:lnTo>
                    <a:lnTo>
                      <a:pt x="20" y="826"/>
                    </a:lnTo>
                    <a:lnTo>
                      <a:pt x="34" y="826"/>
                    </a:lnTo>
                    <a:lnTo>
                      <a:pt x="34" y="832"/>
                    </a:lnTo>
                    <a:lnTo>
                      <a:pt x="34" y="846"/>
                    </a:lnTo>
                    <a:lnTo>
                      <a:pt x="28" y="846"/>
                    </a:lnTo>
                    <a:lnTo>
                      <a:pt x="28" y="860"/>
                    </a:lnTo>
                    <a:lnTo>
                      <a:pt x="20" y="866"/>
                    </a:lnTo>
                    <a:lnTo>
                      <a:pt x="20" y="860"/>
                    </a:lnTo>
                    <a:lnTo>
                      <a:pt x="14" y="866"/>
                    </a:lnTo>
                    <a:lnTo>
                      <a:pt x="14" y="874"/>
                    </a:lnTo>
                    <a:lnTo>
                      <a:pt x="14" y="886"/>
                    </a:lnTo>
                    <a:lnTo>
                      <a:pt x="14" y="894"/>
                    </a:lnTo>
                    <a:lnTo>
                      <a:pt x="28" y="908"/>
                    </a:lnTo>
                    <a:lnTo>
                      <a:pt x="48" y="914"/>
                    </a:lnTo>
                    <a:lnTo>
                      <a:pt x="34" y="928"/>
                    </a:lnTo>
                    <a:lnTo>
                      <a:pt x="48" y="936"/>
                    </a:lnTo>
                    <a:lnTo>
                      <a:pt x="56" y="928"/>
                    </a:lnTo>
                    <a:lnTo>
                      <a:pt x="56" y="942"/>
                    </a:lnTo>
                    <a:lnTo>
                      <a:pt x="76" y="942"/>
                    </a:lnTo>
                    <a:lnTo>
                      <a:pt x="90" y="942"/>
                    </a:lnTo>
                    <a:lnTo>
                      <a:pt x="104" y="936"/>
                    </a:lnTo>
                    <a:lnTo>
                      <a:pt x="104" y="942"/>
                    </a:lnTo>
                    <a:lnTo>
                      <a:pt x="118" y="936"/>
                    </a:lnTo>
                    <a:lnTo>
                      <a:pt x="124" y="928"/>
                    </a:lnTo>
                    <a:lnTo>
                      <a:pt x="130" y="914"/>
                    </a:lnTo>
                    <a:lnTo>
                      <a:pt x="138" y="908"/>
                    </a:lnTo>
                    <a:lnTo>
                      <a:pt x="160" y="900"/>
                    </a:lnTo>
                    <a:lnTo>
                      <a:pt x="160" y="894"/>
                    </a:lnTo>
                    <a:lnTo>
                      <a:pt x="166" y="886"/>
                    </a:lnTo>
                    <a:lnTo>
                      <a:pt x="180" y="886"/>
                    </a:lnTo>
                    <a:lnTo>
                      <a:pt x="180" y="894"/>
                    </a:lnTo>
                    <a:lnTo>
                      <a:pt x="188" y="900"/>
                    </a:lnTo>
                    <a:lnTo>
                      <a:pt x="202" y="894"/>
                    </a:lnTo>
                    <a:lnTo>
                      <a:pt x="202" y="880"/>
                    </a:lnTo>
                    <a:lnTo>
                      <a:pt x="214" y="866"/>
                    </a:lnTo>
                    <a:lnTo>
                      <a:pt x="214" y="852"/>
                    </a:lnTo>
                    <a:lnTo>
                      <a:pt x="208" y="846"/>
                    </a:lnTo>
                    <a:lnTo>
                      <a:pt x="222" y="832"/>
                    </a:lnTo>
                    <a:lnTo>
                      <a:pt x="228" y="826"/>
                    </a:lnTo>
                    <a:lnTo>
                      <a:pt x="236" y="818"/>
                    </a:lnTo>
                    <a:lnTo>
                      <a:pt x="242" y="818"/>
                    </a:lnTo>
                    <a:lnTo>
                      <a:pt x="242" y="832"/>
                    </a:lnTo>
                    <a:lnTo>
                      <a:pt x="236" y="838"/>
                    </a:lnTo>
                    <a:lnTo>
                      <a:pt x="228" y="838"/>
                    </a:lnTo>
                    <a:lnTo>
                      <a:pt x="228" y="852"/>
                    </a:lnTo>
                    <a:lnTo>
                      <a:pt x="236" y="852"/>
                    </a:lnTo>
                    <a:lnTo>
                      <a:pt x="256" y="866"/>
                    </a:lnTo>
                    <a:lnTo>
                      <a:pt x="242" y="880"/>
                    </a:lnTo>
                    <a:lnTo>
                      <a:pt x="242" y="880"/>
                    </a:lnTo>
                    <a:lnTo>
                      <a:pt x="242" y="88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7" name="Freeform 61"/>
              <p:cNvSpPr>
                <a:spLocks/>
              </p:cNvSpPr>
              <p:nvPr>
                <p:custDataLst>
                  <p:tags r:id="rId147"/>
                </p:custDataLst>
              </p:nvPr>
            </p:nvSpPr>
            <p:spPr bwMode="gray">
              <a:xfrm>
                <a:off x="4749300" y="1085189"/>
                <a:ext cx="757406" cy="1575150"/>
              </a:xfrm>
              <a:custGeom>
                <a:avLst/>
                <a:gdLst>
                  <a:gd name="T0" fmla="*/ 465 w 477"/>
                  <a:gd name="T1" fmla="*/ 180 h 992"/>
                  <a:gd name="T2" fmla="*/ 465 w 477"/>
                  <a:gd name="T3" fmla="*/ 130 h 992"/>
                  <a:gd name="T4" fmla="*/ 443 w 477"/>
                  <a:gd name="T5" fmla="*/ 104 h 992"/>
                  <a:gd name="T6" fmla="*/ 451 w 477"/>
                  <a:gd name="T7" fmla="*/ 68 h 992"/>
                  <a:gd name="T8" fmla="*/ 409 w 477"/>
                  <a:gd name="T9" fmla="*/ 34 h 992"/>
                  <a:gd name="T10" fmla="*/ 375 w 477"/>
                  <a:gd name="T11" fmla="*/ 8 h 992"/>
                  <a:gd name="T12" fmla="*/ 347 w 477"/>
                  <a:gd name="T13" fmla="*/ 28 h 992"/>
                  <a:gd name="T14" fmla="*/ 311 w 477"/>
                  <a:gd name="T15" fmla="*/ 42 h 992"/>
                  <a:gd name="T16" fmla="*/ 277 w 477"/>
                  <a:gd name="T17" fmla="*/ 62 h 992"/>
                  <a:gd name="T18" fmla="*/ 237 w 477"/>
                  <a:gd name="T19" fmla="*/ 104 h 992"/>
                  <a:gd name="T20" fmla="*/ 237 w 477"/>
                  <a:gd name="T21" fmla="*/ 144 h 992"/>
                  <a:gd name="T22" fmla="*/ 201 w 477"/>
                  <a:gd name="T23" fmla="*/ 192 h 992"/>
                  <a:gd name="T24" fmla="*/ 159 w 477"/>
                  <a:gd name="T25" fmla="*/ 240 h 992"/>
                  <a:gd name="T26" fmla="*/ 153 w 477"/>
                  <a:gd name="T27" fmla="*/ 296 h 992"/>
                  <a:gd name="T28" fmla="*/ 139 w 477"/>
                  <a:gd name="T29" fmla="*/ 338 h 992"/>
                  <a:gd name="T30" fmla="*/ 111 w 477"/>
                  <a:gd name="T31" fmla="*/ 366 h 992"/>
                  <a:gd name="T32" fmla="*/ 76 w 477"/>
                  <a:gd name="T33" fmla="*/ 380 h 992"/>
                  <a:gd name="T34" fmla="*/ 62 w 477"/>
                  <a:gd name="T35" fmla="*/ 442 h 992"/>
                  <a:gd name="T36" fmla="*/ 68 w 477"/>
                  <a:gd name="T37" fmla="*/ 490 h 992"/>
                  <a:gd name="T38" fmla="*/ 76 w 477"/>
                  <a:gd name="T39" fmla="*/ 530 h 992"/>
                  <a:gd name="T40" fmla="*/ 56 w 477"/>
                  <a:gd name="T41" fmla="*/ 580 h 992"/>
                  <a:gd name="T42" fmla="*/ 56 w 477"/>
                  <a:gd name="T43" fmla="*/ 648 h 992"/>
                  <a:gd name="T44" fmla="*/ 28 w 477"/>
                  <a:gd name="T45" fmla="*/ 670 h 992"/>
                  <a:gd name="T46" fmla="*/ 20 w 477"/>
                  <a:gd name="T47" fmla="*/ 710 h 992"/>
                  <a:gd name="T48" fmla="*/ 0 w 477"/>
                  <a:gd name="T49" fmla="*/ 704 h 992"/>
                  <a:gd name="T50" fmla="*/ 0 w 477"/>
                  <a:gd name="T51" fmla="*/ 752 h 992"/>
                  <a:gd name="T52" fmla="*/ 14 w 477"/>
                  <a:gd name="T53" fmla="*/ 772 h 992"/>
                  <a:gd name="T54" fmla="*/ 14 w 477"/>
                  <a:gd name="T55" fmla="*/ 814 h 992"/>
                  <a:gd name="T56" fmla="*/ 14 w 477"/>
                  <a:gd name="T57" fmla="*/ 862 h 992"/>
                  <a:gd name="T58" fmla="*/ 42 w 477"/>
                  <a:gd name="T59" fmla="*/ 902 h 992"/>
                  <a:gd name="T60" fmla="*/ 28 w 477"/>
                  <a:gd name="T61" fmla="*/ 930 h 992"/>
                  <a:gd name="T62" fmla="*/ 42 w 477"/>
                  <a:gd name="T63" fmla="*/ 964 h 992"/>
                  <a:gd name="T64" fmla="*/ 56 w 477"/>
                  <a:gd name="T65" fmla="*/ 992 h 992"/>
                  <a:gd name="T66" fmla="*/ 99 w 477"/>
                  <a:gd name="T67" fmla="*/ 986 h 992"/>
                  <a:gd name="T68" fmla="*/ 119 w 477"/>
                  <a:gd name="T69" fmla="*/ 952 h 992"/>
                  <a:gd name="T70" fmla="*/ 153 w 477"/>
                  <a:gd name="T71" fmla="*/ 938 h 992"/>
                  <a:gd name="T72" fmla="*/ 181 w 477"/>
                  <a:gd name="T73" fmla="*/ 930 h 992"/>
                  <a:gd name="T74" fmla="*/ 209 w 477"/>
                  <a:gd name="T75" fmla="*/ 876 h 992"/>
                  <a:gd name="T76" fmla="*/ 209 w 477"/>
                  <a:gd name="T77" fmla="*/ 840 h 992"/>
                  <a:gd name="T78" fmla="*/ 223 w 477"/>
                  <a:gd name="T79" fmla="*/ 800 h 992"/>
                  <a:gd name="T80" fmla="*/ 209 w 477"/>
                  <a:gd name="T81" fmla="*/ 758 h 992"/>
                  <a:gd name="T82" fmla="*/ 249 w 477"/>
                  <a:gd name="T83" fmla="*/ 738 h 992"/>
                  <a:gd name="T84" fmla="*/ 277 w 477"/>
                  <a:gd name="T85" fmla="*/ 724 h 992"/>
                  <a:gd name="T86" fmla="*/ 291 w 477"/>
                  <a:gd name="T87" fmla="*/ 690 h 992"/>
                  <a:gd name="T88" fmla="*/ 291 w 477"/>
                  <a:gd name="T89" fmla="*/ 654 h 992"/>
                  <a:gd name="T90" fmla="*/ 277 w 477"/>
                  <a:gd name="T91" fmla="*/ 620 h 992"/>
                  <a:gd name="T92" fmla="*/ 249 w 477"/>
                  <a:gd name="T93" fmla="*/ 592 h 992"/>
                  <a:gd name="T94" fmla="*/ 249 w 477"/>
                  <a:gd name="T95" fmla="*/ 566 h 992"/>
                  <a:gd name="T96" fmla="*/ 249 w 477"/>
                  <a:gd name="T97" fmla="*/ 524 h 992"/>
                  <a:gd name="T98" fmla="*/ 243 w 477"/>
                  <a:gd name="T99" fmla="*/ 482 h 992"/>
                  <a:gd name="T100" fmla="*/ 277 w 477"/>
                  <a:gd name="T101" fmla="*/ 462 h 992"/>
                  <a:gd name="T102" fmla="*/ 313 w 477"/>
                  <a:gd name="T103" fmla="*/ 428 h 992"/>
                  <a:gd name="T104" fmla="*/ 347 w 477"/>
                  <a:gd name="T105" fmla="*/ 406 h 992"/>
                  <a:gd name="T106" fmla="*/ 367 w 477"/>
                  <a:gd name="T107" fmla="*/ 372 h 992"/>
                  <a:gd name="T108" fmla="*/ 389 w 477"/>
                  <a:gd name="T109" fmla="*/ 330 h 992"/>
                  <a:gd name="T110" fmla="*/ 389 w 477"/>
                  <a:gd name="T111" fmla="*/ 282 h 992"/>
                  <a:gd name="T112" fmla="*/ 417 w 477"/>
                  <a:gd name="T113" fmla="*/ 254 h 992"/>
                  <a:gd name="T114" fmla="*/ 429 w 477"/>
                  <a:gd name="T115" fmla="*/ 228 h 992"/>
                  <a:gd name="T116" fmla="*/ 471 w 477"/>
                  <a:gd name="T117" fmla="*/ 228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7" h="992">
                    <a:moveTo>
                      <a:pt x="477" y="220"/>
                    </a:moveTo>
                    <a:lnTo>
                      <a:pt x="477" y="206"/>
                    </a:lnTo>
                    <a:lnTo>
                      <a:pt x="471" y="200"/>
                    </a:lnTo>
                    <a:lnTo>
                      <a:pt x="465" y="186"/>
                    </a:lnTo>
                    <a:lnTo>
                      <a:pt x="465" y="180"/>
                    </a:lnTo>
                    <a:lnTo>
                      <a:pt x="465" y="166"/>
                    </a:lnTo>
                    <a:lnTo>
                      <a:pt x="465" y="152"/>
                    </a:lnTo>
                    <a:lnTo>
                      <a:pt x="471" y="144"/>
                    </a:lnTo>
                    <a:lnTo>
                      <a:pt x="465" y="138"/>
                    </a:lnTo>
                    <a:lnTo>
                      <a:pt x="465" y="130"/>
                    </a:lnTo>
                    <a:lnTo>
                      <a:pt x="457" y="124"/>
                    </a:lnTo>
                    <a:lnTo>
                      <a:pt x="457" y="116"/>
                    </a:lnTo>
                    <a:lnTo>
                      <a:pt x="457" y="110"/>
                    </a:lnTo>
                    <a:lnTo>
                      <a:pt x="457" y="104"/>
                    </a:lnTo>
                    <a:lnTo>
                      <a:pt x="443" y="104"/>
                    </a:lnTo>
                    <a:lnTo>
                      <a:pt x="451" y="96"/>
                    </a:lnTo>
                    <a:lnTo>
                      <a:pt x="451" y="90"/>
                    </a:lnTo>
                    <a:lnTo>
                      <a:pt x="451" y="82"/>
                    </a:lnTo>
                    <a:lnTo>
                      <a:pt x="451" y="76"/>
                    </a:lnTo>
                    <a:lnTo>
                      <a:pt x="451" y="68"/>
                    </a:lnTo>
                    <a:lnTo>
                      <a:pt x="443" y="62"/>
                    </a:lnTo>
                    <a:lnTo>
                      <a:pt x="443" y="48"/>
                    </a:lnTo>
                    <a:lnTo>
                      <a:pt x="437" y="48"/>
                    </a:lnTo>
                    <a:lnTo>
                      <a:pt x="423" y="42"/>
                    </a:lnTo>
                    <a:lnTo>
                      <a:pt x="409" y="34"/>
                    </a:lnTo>
                    <a:lnTo>
                      <a:pt x="403" y="34"/>
                    </a:lnTo>
                    <a:lnTo>
                      <a:pt x="395" y="28"/>
                    </a:lnTo>
                    <a:lnTo>
                      <a:pt x="387" y="28"/>
                    </a:lnTo>
                    <a:lnTo>
                      <a:pt x="387" y="14"/>
                    </a:lnTo>
                    <a:lnTo>
                      <a:pt x="375" y="8"/>
                    </a:lnTo>
                    <a:lnTo>
                      <a:pt x="361" y="0"/>
                    </a:lnTo>
                    <a:lnTo>
                      <a:pt x="347" y="0"/>
                    </a:lnTo>
                    <a:lnTo>
                      <a:pt x="347" y="8"/>
                    </a:lnTo>
                    <a:lnTo>
                      <a:pt x="347" y="20"/>
                    </a:lnTo>
                    <a:lnTo>
                      <a:pt x="347" y="28"/>
                    </a:lnTo>
                    <a:lnTo>
                      <a:pt x="333" y="20"/>
                    </a:lnTo>
                    <a:lnTo>
                      <a:pt x="327" y="42"/>
                    </a:lnTo>
                    <a:lnTo>
                      <a:pt x="327" y="48"/>
                    </a:lnTo>
                    <a:lnTo>
                      <a:pt x="319" y="48"/>
                    </a:lnTo>
                    <a:lnTo>
                      <a:pt x="311" y="42"/>
                    </a:lnTo>
                    <a:lnTo>
                      <a:pt x="297" y="48"/>
                    </a:lnTo>
                    <a:lnTo>
                      <a:pt x="297" y="62"/>
                    </a:lnTo>
                    <a:lnTo>
                      <a:pt x="297" y="68"/>
                    </a:lnTo>
                    <a:lnTo>
                      <a:pt x="291" y="68"/>
                    </a:lnTo>
                    <a:lnTo>
                      <a:pt x="277" y="62"/>
                    </a:lnTo>
                    <a:lnTo>
                      <a:pt x="271" y="62"/>
                    </a:lnTo>
                    <a:lnTo>
                      <a:pt x="263" y="76"/>
                    </a:lnTo>
                    <a:lnTo>
                      <a:pt x="263" y="82"/>
                    </a:lnTo>
                    <a:lnTo>
                      <a:pt x="243" y="96"/>
                    </a:lnTo>
                    <a:lnTo>
                      <a:pt x="237" y="104"/>
                    </a:lnTo>
                    <a:lnTo>
                      <a:pt x="229" y="110"/>
                    </a:lnTo>
                    <a:lnTo>
                      <a:pt x="237" y="116"/>
                    </a:lnTo>
                    <a:lnTo>
                      <a:pt x="243" y="130"/>
                    </a:lnTo>
                    <a:lnTo>
                      <a:pt x="237" y="138"/>
                    </a:lnTo>
                    <a:lnTo>
                      <a:pt x="237" y="144"/>
                    </a:lnTo>
                    <a:lnTo>
                      <a:pt x="223" y="158"/>
                    </a:lnTo>
                    <a:lnTo>
                      <a:pt x="207" y="166"/>
                    </a:lnTo>
                    <a:lnTo>
                      <a:pt x="207" y="180"/>
                    </a:lnTo>
                    <a:lnTo>
                      <a:pt x="207" y="186"/>
                    </a:lnTo>
                    <a:lnTo>
                      <a:pt x="201" y="192"/>
                    </a:lnTo>
                    <a:lnTo>
                      <a:pt x="187" y="200"/>
                    </a:lnTo>
                    <a:lnTo>
                      <a:pt x="173" y="206"/>
                    </a:lnTo>
                    <a:lnTo>
                      <a:pt x="173" y="220"/>
                    </a:lnTo>
                    <a:lnTo>
                      <a:pt x="167" y="234"/>
                    </a:lnTo>
                    <a:lnTo>
                      <a:pt x="159" y="240"/>
                    </a:lnTo>
                    <a:lnTo>
                      <a:pt x="159" y="254"/>
                    </a:lnTo>
                    <a:lnTo>
                      <a:pt x="159" y="262"/>
                    </a:lnTo>
                    <a:lnTo>
                      <a:pt x="159" y="268"/>
                    </a:lnTo>
                    <a:lnTo>
                      <a:pt x="153" y="290"/>
                    </a:lnTo>
                    <a:lnTo>
                      <a:pt x="153" y="296"/>
                    </a:lnTo>
                    <a:lnTo>
                      <a:pt x="139" y="302"/>
                    </a:lnTo>
                    <a:lnTo>
                      <a:pt x="133" y="310"/>
                    </a:lnTo>
                    <a:lnTo>
                      <a:pt x="139" y="324"/>
                    </a:lnTo>
                    <a:lnTo>
                      <a:pt x="139" y="330"/>
                    </a:lnTo>
                    <a:lnTo>
                      <a:pt x="139" y="338"/>
                    </a:lnTo>
                    <a:lnTo>
                      <a:pt x="147" y="352"/>
                    </a:lnTo>
                    <a:lnTo>
                      <a:pt x="139" y="358"/>
                    </a:lnTo>
                    <a:lnTo>
                      <a:pt x="125" y="358"/>
                    </a:lnTo>
                    <a:lnTo>
                      <a:pt x="119" y="358"/>
                    </a:lnTo>
                    <a:lnTo>
                      <a:pt x="111" y="366"/>
                    </a:lnTo>
                    <a:lnTo>
                      <a:pt x="105" y="372"/>
                    </a:lnTo>
                    <a:lnTo>
                      <a:pt x="97" y="372"/>
                    </a:lnTo>
                    <a:lnTo>
                      <a:pt x="97" y="366"/>
                    </a:lnTo>
                    <a:lnTo>
                      <a:pt x="82" y="372"/>
                    </a:lnTo>
                    <a:lnTo>
                      <a:pt x="76" y="380"/>
                    </a:lnTo>
                    <a:lnTo>
                      <a:pt x="68" y="392"/>
                    </a:lnTo>
                    <a:lnTo>
                      <a:pt x="68" y="406"/>
                    </a:lnTo>
                    <a:lnTo>
                      <a:pt x="68" y="420"/>
                    </a:lnTo>
                    <a:lnTo>
                      <a:pt x="68" y="434"/>
                    </a:lnTo>
                    <a:lnTo>
                      <a:pt x="62" y="442"/>
                    </a:lnTo>
                    <a:lnTo>
                      <a:pt x="62" y="456"/>
                    </a:lnTo>
                    <a:lnTo>
                      <a:pt x="62" y="462"/>
                    </a:lnTo>
                    <a:lnTo>
                      <a:pt x="68" y="468"/>
                    </a:lnTo>
                    <a:lnTo>
                      <a:pt x="68" y="482"/>
                    </a:lnTo>
                    <a:lnTo>
                      <a:pt x="68" y="490"/>
                    </a:lnTo>
                    <a:lnTo>
                      <a:pt x="62" y="504"/>
                    </a:lnTo>
                    <a:lnTo>
                      <a:pt x="62" y="510"/>
                    </a:lnTo>
                    <a:lnTo>
                      <a:pt x="62" y="516"/>
                    </a:lnTo>
                    <a:lnTo>
                      <a:pt x="68" y="524"/>
                    </a:lnTo>
                    <a:lnTo>
                      <a:pt x="76" y="530"/>
                    </a:lnTo>
                    <a:lnTo>
                      <a:pt x="76" y="538"/>
                    </a:lnTo>
                    <a:lnTo>
                      <a:pt x="76" y="552"/>
                    </a:lnTo>
                    <a:lnTo>
                      <a:pt x="76" y="558"/>
                    </a:lnTo>
                    <a:lnTo>
                      <a:pt x="56" y="572"/>
                    </a:lnTo>
                    <a:lnTo>
                      <a:pt x="56" y="580"/>
                    </a:lnTo>
                    <a:lnTo>
                      <a:pt x="62" y="592"/>
                    </a:lnTo>
                    <a:lnTo>
                      <a:pt x="62" y="600"/>
                    </a:lnTo>
                    <a:lnTo>
                      <a:pt x="62" y="606"/>
                    </a:lnTo>
                    <a:lnTo>
                      <a:pt x="62" y="628"/>
                    </a:lnTo>
                    <a:lnTo>
                      <a:pt x="56" y="648"/>
                    </a:lnTo>
                    <a:lnTo>
                      <a:pt x="48" y="648"/>
                    </a:lnTo>
                    <a:lnTo>
                      <a:pt x="42" y="648"/>
                    </a:lnTo>
                    <a:lnTo>
                      <a:pt x="34" y="654"/>
                    </a:lnTo>
                    <a:lnTo>
                      <a:pt x="34" y="662"/>
                    </a:lnTo>
                    <a:lnTo>
                      <a:pt x="28" y="670"/>
                    </a:lnTo>
                    <a:lnTo>
                      <a:pt x="28" y="676"/>
                    </a:lnTo>
                    <a:lnTo>
                      <a:pt x="14" y="690"/>
                    </a:lnTo>
                    <a:lnTo>
                      <a:pt x="20" y="696"/>
                    </a:lnTo>
                    <a:lnTo>
                      <a:pt x="20" y="704"/>
                    </a:lnTo>
                    <a:lnTo>
                      <a:pt x="20" y="710"/>
                    </a:lnTo>
                    <a:lnTo>
                      <a:pt x="14" y="718"/>
                    </a:lnTo>
                    <a:lnTo>
                      <a:pt x="6" y="710"/>
                    </a:lnTo>
                    <a:lnTo>
                      <a:pt x="6" y="704"/>
                    </a:lnTo>
                    <a:lnTo>
                      <a:pt x="0" y="704"/>
                    </a:lnTo>
                    <a:lnTo>
                      <a:pt x="0" y="704"/>
                    </a:lnTo>
                    <a:lnTo>
                      <a:pt x="0" y="718"/>
                    </a:lnTo>
                    <a:lnTo>
                      <a:pt x="0" y="724"/>
                    </a:lnTo>
                    <a:lnTo>
                      <a:pt x="0" y="738"/>
                    </a:lnTo>
                    <a:lnTo>
                      <a:pt x="0" y="744"/>
                    </a:lnTo>
                    <a:lnTo>
                      <a:pt x="0" y="752"/>
                    </a:lnTo>
                    <a:lnTo>
                      <a:pt x="0" y="758"/>
                    </a:lnTo>
                    <a:lnTo>
                      <a:pt x="0" y="766"/>
                    </a:lnTo>
                    <a:lnTo>
                      <a:pt x="8" y="766"/>
                    </a:lnTo>
                    <a:lnTo>
                      <a:pt x="8" y="780"/>
                    </a:lnTo>
                    <a:lnTo>
                      <a:pt x="14" y="772"/>
                    </a:lnTo>
                    <a:lnTo>
                      <a:pt x="20" y="780"/>
                    </a:lnTo>
                    <a:lnTo>
                      <a:pt x="14" y="794"/>
                    </a:lnTo>
                    <a:lnTo>
                      <a:pt x="14" y="800"/>
                    </a:lnTo>
                    <a:lnTo>
                      <a:pt x="14" y="806"/>
                    </a:lnTo>
                    <a:lnTo>
                      <a:pt x="14" y="814"/>
                    </a:lnTo>
                    <a:lnTo>
                      <a:pt x="14" y="828"/>
                    </a:lnTo>
                    <a:lnTo>
                      <a:pt x="14" y="834"/>
                    </a:lnTo>
                    <a:lnTo>
                      <a:pt x="20" y="840"/>
                    </a:lnTo>
                    <a:lnTo>
                      <a:pt x="14" y="848"/>
                    </a:lnTo>
                    <a:lnTo>
                      <a:pt x="14" y="862"/>
                    </a:lnTo>
                    <a:lnTo>
                      <a:pt x="20" y="868"/>
                    </a:lnTo>
                    <a:lnTo>
                      <a:pt x="28" y="868"/>
                    </a:lnTo>
                    <a:lnTo>
                      <a:pt x="28" y="890"/>
                    </a:lnTo>
                    <a:lnTo>
                      <a:pt x="42" y="896"/>
                    </a:lnTo>
                    <a:lnTo>
                      <a:pt x="42" y="902"/>
                    </a:lnTo>
                    <a:lnTo>
                      <a:pt x="42" y="910"/>
                    </a:lnTo>
                    <a:lnTo>
                      <a:pt x="34" y="910"/>
                    </a:lnTo>
                    <a:lnTo>
                      <a:pt x="34" y="918"/>
                    </a:lnTo>
                    <a:lnTo>
                      <a:pt x="28" y="924"/>
                    </a:lnTo>
                    <a:lnTo>
                      <a:pt x="28" y="930"/>
                    </a:lnTo>
                    <a:lnTo>
                      <a:pt x="28" y="938"/>
                    </a:lnTo>
                    <a:lnTo>
                      <a:pt x="34" y="944"/>
                    </a:lnTo>
                    <a:lnTo>
                      <a:pt x="34" y="952"/>
                    </a:lnTo>
                    <a:lnTo>
                      <a:pt x="42" y="958"/>
                    </a:lnTo>
                    <a:lnTo>
                      <a:pt x="42" y="964"/>
                    </a:lnTo>
                    <a:lnTo>
                      <a:pt x="42" y="980"/>
                    </a:lnTo>
                    <a:lnTo>
                      <a:pt x="34" y="986"/>
                    </a:lnTo>
                    <a:lnTo>
                      <a:pt x="42" y="992"/>
                    </a:lnTo>
                    <a:lnTo>
                      <a:pt x="48" y="986"/>
                    </a:lnTo>
                    <a:lnTo>
                      <a:pt x="56" y="992"/>
                    </a:lnTo>
                    <a:lnTo>
                      <a:pt x="76" y="986"/>
                    </a:lnTo>
                    <a:lnTo>
                      <a:pt x="84" y="992"/>
                    </a:lnTo>
                    <a:lnTo>
                      <a:pt x="90" y="992"/>
                    </a:lnTo>
                    <a:lnTo>
                      <a:pt x="99" y="992"/>
                    </a:lnTo>
                    <a:lnTo>
                      <a:pt x="99" y="986"/>
                    </a:lnTo>
                    <a:lnTo>
                      <a:pt x="99" y="972"/>
                    </a:lnTo>
                    <a:lnTo>
                      <a:pt x="99" y="958"/>
                    </a:lnTo>
                    <a:lnTo>
                      <a:pt x="105" y="952"/>
                    </a:lnTo>
                    <a:lnTo>
                      <a:pt x="111" y="952"/>
                    </a:lnTo>
                    <a:lnTo>
                      <a:pt x="119" y="952"/>
                    </a:lnTo>
                    <a:lnTo>
                      <a:pt x="125" y="944"/>
                    </a:lnTo>
                    <a:lnTo>
                      <a:pt x="119" y="944"/>
                    </a:lnTo>
                    <a:lnTo>
                      <a:pt x="125" y="938"/>
                    </a:lnTo>
                    <a:lnTo>
                      <a:pt x="139" y="930"/>
                    </a:lnTo>
                    <a:lnTo>
                      <a:pt x="153" y="938"/>
                    </a:lnTo>
                    <a:lnTo>
                      <a:pt x="153" y="944"/>
                    </a:lnTo>
                    <a:lnTo>
                      <a:pt x="161" y="944"/>
                    </a:lnTo>
                    <a:lnTo>
                      <a:pt x="175" y="944"/>
                    </a:lnTo>
                    <a:lnTo>
                      <a:pt x="181" y="944"/>
                    </a:lnTo>
                    <a:lnTo>
                      <a:pt x="181" y="930"/>
                    </a:lnTo>
                    <a:lnTo>
                      <a:pt x="181" y="924"/>
                    </a:lnTo>
                    <a:lnTo>
                      <a:pt x="195" y="902"/>
                    </a:lnTo>
                    <a:lnTo>
                      <a:pt x="195" y="890"/>
                    </a:lnTo>
                    <a:lnTo>
                      <a:pt x="201" y="882"/>
                    </a:lnTo>
                    <a:lnTo>
                      <a:pt x="209" y="876"/>
                    </a:lnTo>
                    <a:lnTo>
                      <a:pt x="209" y="868"/>
                    </a:lnTo>
                    <a:lnTo>
                      <a:pt x="201" y="868"/>
                    </a:lnTo>
                    <a:lnTo>
                      <a:pt x="209" y="854"/>
                    </a:lnTo>
                    <a:lnTo>
                      <a:pt x="215" y="848"/>
                    </a:lnTo>
                    <a:lnTo>
                      <a:pt x="209" y="840"/>
                    </a:lnTo>
                    <a:lnTo>
                      <a:pt x="209" y="834"/>
                    </a:lnTo>
                    <a:lnTo>
                      <a:pt x="209" y="828"/>
                    </a:lnTo>
                    <a:lnTo>
                      <a:pt x="215" y="820"/>
                    </a:lnTo>
                    <a:lnTo>
                      <a:pt x="215" y="814"/>
                    </a:lnTo>
                    <a:lnTo>
                      <a:pt x="223" y="800"/>
                    </a:lnTo>
                    <a:lnTo>
                      <a:pt x="223" y="794"/>
                    </a:lnTo>
                    <a:lnTo>
                      <a:pt x="223" y="786"/>
                    </a:lnTo>
                    <a:lnTo>
                      <a:pt x="215" y="772"/>
                    </a:lnTo>
                    <a:lnTo>
                      <a:pt x="229" y="766"/>
                    </a:lnTo>
                    <a:lnTo>
                      <a:pt x="209" y="758"/>
                    </a:lnTo>
                    <a:lnTo>
                      <a:pt x="215" y="752"/>
                    </a:lnTo>
                    <a:lnTo>
                      <a:pt x="229" y="758"/>
                    </a:lnTo>
                    <a:lnTo>
                      <a:pt x="237" y="758"/>
                    </a:lnTo>
                    <a:lnTo>
                      <a:pt x="249" y="744"/>
                    </a:lnTo>
                    <a:lnTo>
                      <a:pt x="249" y="738"/>
                    </a:lnTo>
                    <a:lnTo>
                      <a:pt x="249" y="730"/>
                    </a:lnTo>
                    <a:lnTo>
                      <a:pt x="257" y="730"/>
                    </a:lnTo>
                    <a:lnTo>
                      <a:pt x="263" y="730"/>
                    </a:lnTo>
                    <a:lnTo>
                      <a:pt x="271" y="738"/>
                    </a:lnTo>
                    <a:lnTo>
                      <a:pt x="277" y="724"/>
                    </a:lnTo>
                    <a:lnTo>
                      <a:pt x="285" y="718"/>
                    </a:lnTo>
                    <a:lnTo>
                      <a:pt x="299" y="710"/>
                    </a:lnTo>
                    <a:lnTo>
                      <a:pt x="285" y="704"/>
                    </a:lnTo>
                    <a:lnTo>
                      <a:pt x="285" y="696"/>
                    </a:lnTo>
                    <a:lnTo>
                      <a:pt x="291" y="690"/>
                    </a:lnTo>
                    <a:lnTo>
                      <a:pt x="299" y="690"/>
                    </a:lnTo>
                    <a:lnTo>
                      <a:pt x="313" y="670"/>
                    </a:lnTo>
                    <a:lnTo>
                      <a:pt x="305" y="662"/>
                    </a:lnTo>
                    <a:lnTo>
                      <a:pt x="305" y="648"/>
                    </a:lnTo>
                    <a:lnTo>
                      <a:pt x="291" y="654"/>
                    </a:lnTo>
                    <a:lnTo>
                      <a:pt x="291" y="648"/>
                    </a:lnTo>
                    <a:lnTo>
                      <a:pt x="291" y="640"/>
                    </a:lnTo>
                    <a:lnTo>
                      <a:pt x="285" y="634"/>
                    </a:lnTo>
                    <a:lnTo>
                      <a:pt x="277" y="628"/>
                    </a:lnTo>
                    <a:lnTo>
                      <a:pt x="277" y="620"/>
                    </a:lnTo>
                    <a:lnTo>
                      <a:pt x="277" y="614"/>
                    </a:lnTo>
                    <a:lnTo>
                      <a:pt x="263" y="620"/>
                    </a:lnTo>
                    <a:lnTo>
                      <a:pt x="257" y="614"/>
                    </a:lnTo>
                    <a:lnTo>
                      <a:pt x="249" y="606"/>
                    </a:lnTo>
                    <a:lnTo>
                      <a:pt x="249" y="592"/>
                    </a:lnTo>
                    <a:lnTo>
                      <a:pt x="243" y="586"/>
                    </a:lnTo>
                    <a:lnTo>
                      <a:pt x="243" y="580"/>
                    </a:lnTo>
                    <a:lnTo>
                      <a:pt x="237" y="572"/>
                    </a:lnTo>
                    <a:lnTo>
                      <a:pt x="243" y="572"/>
                    </a:lnTo>
                    <a:lnTo>
                      <a:pt x="249" y="566"/>
                    </a:lnTo>
                    <a:lnTo>
                      <a:pt x="249" y="552"/>
                    </a:lnTo>
                    <a:lnTo>
                      <a:pt x="249" y="544"/>
                    </a:lnTo>
                    <a:lnTo>
                      <a:pt x="249" y="530"/>
                    </a:lnTo>
                    <a:lnTo>
                      <a:pt x="257" y="530"/>
                    </a:lnTo>
                    <a:lnTo>
                      <a:pt x="249" y="524"/>
                    </a:lnTo>
                    <a:lnTo>
                      <a:pt x="257" y="516"/>
                    </a:lnTo>
                    <a:lnTo>
                      <a:pt x="257" y="504"/>
                    </a:lnTo>
                    <a:lnTo>
                      <a:pt x="263" y="496"/>
                    </a:lnTo>
                    <a:lnTo>
                      <a:pt x="263" y="482"/>
                    </a:lnTo>
                    <a:lnTo>
                      <a:pt x="243" y="482"/>
                    </a:lnTo>
                    <a:lnTo>
                      <a:pt x="243" y="468"/>
                    </a:lnTo>
                    <a:lnTo>
                      <a:pt x="249" y="462"/>
                    </a:lnTo>
                    <a:lnTo>
                      <a:pt x="263" y="468"/>
                    </a:lnTo>
                    <a:lnTo>
                      <a:pt x="271" y="462"/>
                    </a:lnTo>
                    <a:lnTo>
                      <a:pt x="277" y="462"/>
                    </a:lnTo>
                    <a:lnTo>
                      <a:pt x="285" y="456"/>
                    </a:lnTo>
                    <a:lnTo>
                      <a:pt x="291" y="456"/>
                    </a:lnTo>
                    <a:lnTo>
                      <a:pt x="305" y="448"/>
                    </a:lnTo>
                    <a:lnTo>
                      <a:pt x="299" y="442"/>
                    </a:lnTo>
                    <a:lnTo>
                      <a:pt x="313" y="428"/>
                    </a:lnTo>
                    <a:lnTo>
                      <a:pt x="305" y="420"/>
                    </a:lnTo>
                    <a:lnTo>
                      <a:pt x="319" y="420"/>
                    </a:lnTo>
                    <a:lnTo>
                      <a:pt x="327" y="406"/>
                    </a:lnTo>
                    <a:lnTo>
                      <a:pt x="333" y="414"/>
                    </a:lnTo>
                    <a:lnTo>
                      <a:pt x="347" y="406"/>
                    </a:lnTo>
                    <a:lnTo>
                      <a:pt x="341" y="400"/>
                    </a:lnTo>
                    <a:lnTo>
                      <a:pt x="347" y="392"/>
                    </a:lnTo>
                    <a:lnTo>
                      <a:pt x="353" y="392"/>
                    </a:lnTo>
                    <a:lnTo>
                      <a:pt x="367" y="386"/>
                    </a:lnTo>
                    <a:lnTo>
                      <a:pt x="367" y="372"/>
                    </a:lnTo>
                    <a:lnTo>
                      <a:pt x="367" y="366"/>
                    </a:lnTo>
                    <a:lnTo>
                      <a:pt x="367" y="358"/>
                    </a:lnTo>
                    <a:lnTo>
                      <a:pt x="375" y="344"/>
                    </a:lnTo>
                    <a:lnTo>
                      <a:pt x="381" y="344"/>
                    </a:lnTo>
                    <a:lnTo>
                      <a:pt x="389" y="330"/>
                    </a:lnTo>
                    <a:lnTo>
                      <a:pt x="395" y="324"/>
                    </a:lnTo>
                    <a:lnTo>
                      <a:pt x="389" y="318"/>
                    </a:lnTo>
                    <a:lnTo>
                      <a:pt x="389" y="310"/>
                    </a:lnTo>
                    <a:lnTo>
                      <a:pt x="389" y="296"/>
                    </a:lnTo>
                    <a:lnTo>
                      <a:pt x="389" y="282"/>
                    </a:lnTo>
                    <a:lnTo>
                      <a:pt x="395" y="276"/>
                    </a:lnTo>
                    <a:lnTo>
                      <a:pt x="395" y="268"/>
                    </a:lnTo>
                    <a:lnTo>
                      <a:pt x="395" y="262"/>
                    </a:lnTo>
                    <a:lnTo>
                      <a:pt x="403" y="254"/>
                    </a:lnTo>
                    <a:lnTo>
                      <a:pt x="417" y="254"/>
                    </a:lnTo>
                    <a:lnTo>
                      <a:pt x="417" y="240"/>
                    </a:lnTo>
                    <a:lnTo>
                      <a:pt x="417" y="228"/>
                    </a:lnTo>
                    <a:lnTo>
                      <a:pt x="417" y="220"/>
                    </a:lnTo>
                    <a:lnTo>
                      <a:pt x="423" y="220"/>
                    </a:lnTo>
                    <a:lnTo>
                      <a:pt x="429" y="228"/>
                    </a:lnTo>
                    <a:lnTo>
                      <a:pt x="443" y="214"/>
                    </a:lnTo>
                    <a:lnTo>
                      <a:pt x="451" y="220"/>
                    </a:lnTo>
                    <a:lnTo>
                      <a:pt x="457" y="220"/>
                    </a:lnTo>
                    <a:lnTo>
                      <a:pt x="465" y="220"/>
                    </a:lnTo>
                    <a:lnTo>
                      <a:pt x="471" y="228"/>
                    </a:lnTo>
                    <a:lnTo>
                      <a:pt x="477" y="220"/>
                    </a:lnTo>
                    <a:lnTo>
                      <a:pt x="477" y="220"/>
                    </a:lnTo>
                    <a:lnTo>
                      <a:pt x="477" y="220"/>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8" name="Freeform 62"/>
              <p:cNvSpPr>
                <a:spLocks/>
              </p:cNvSpPr>
              <p:nvPr>
                <p:custDataLst>
                  <p:tags r:id="rId148"/>
                </p:custDataLst>
              </p:nvPr>
            </p:nvSpPr>
            <p:spPr bwMode="gray">
              <a:xfrm>
                <a:off x="5322514" y="932755"/>
                <a:ext cx="652608" cy="1190889"/>
              </a:xfrm>
              <a:custGeom>
                <a:avLst/>
                <a:gdLst>
                  <a:gd name="T0" fmla="*/ 222 w 411"/>
                  <a:gd name="T1" fmla="*/ 68 h 750"/>
                  <a:gd name="T2" fmla="*/ 228 w 411"/>
                  <a:gd name="T3" fmla="*/ 34 h 750"/>
                  <a:gd name="T4" fmla="*/ 186 w 411"/>
                  <a:gd name="T5" fmla="*/ 14 h 750"/>
                  <a:gd name="T6" fmla="*/ 166 w 411"/>
                  <a:gd name="T7" fmla="*/ 14 h 750"/>
                  <a:gd name="T8" fmla="*/ 138 w 411"/>
                  <a:gd name="T9" fmla="*/ 62 h 750"/>
                  <a:gd name="T10" fmla="*/ 130 w 411"/>
                  <a:gd name="T11" fmla="*/ 88 h 750"/>
                  <a:gd name="T12" fmla="*/ 104 w 411"/>
                  <a:gd name="T13" fmla="*/ 116 h 750"/>
                  <a:gd name="T14" fmla="*/ 62 w 411"/>
                  <a:gd name="T15" fmla="*/ 110 h 750"/>
                  <a:gd name="T16" fmla="*/ 34 w 411"/>
                  <a:gd name="T17" fmla="*/ 88 h 750"/>
                  <a:gd name="T18" fmla="*/ 6 w 411"/>
                  <a:gd name="T19" fmla="*/ 68 h 750"/>
                  <a:gd name="T20" fmla="*/ 26 w 411"/>
                  <a:gd name="T21" fmla="*/ 110 h 750"/>
                  <a:gd name="T22" fmla="*/ 48 w 411"/>
                  <a:gd name="T23" fmla="*/ 130 h 750"/>
                  <a:gd name="T24" fmla="*/ 82 w 411"/>
                  <a:gd name="T25" fmla="*/ 158 h 750"/>
                  <a:gd name="T26" fmla="*/ 90 w 411"/>
                  <a:gd name="T27" fmla="*/ 186 h 750"/>
                  <a:gd name="T28" fmla="*/ 96 w 411"/>
                  <a:gd name="T29" fmla="*/ 206 h 750"/>
                  <a:gd name="T30" fmla="*/ 104 w 411"/>
                  <a:gd name="T31" fmla="*/ 234 h 750"/>
                  <a:gd name="T32" fmla="*/ 104 w 411"/>
                  <a:gd name="T33" fmla="*/ 276 h 750"/>
                  <a:gd name="T34" fmla="*/ 116 w 411"/>
                  <a:gd name="T35" fmla="*/ 316 h 750"/>
                  <a:gd name="T36" fmla="*/ 144 w 411"/>
                  <a:gd name="T37" fmla="*/ 330 h 750"/>
                  <a:gd name="T38" fmla="*/ 152 w 411"/>
                  <a:gd name="T39" fmla="*/ 364 h 750"/>
                  <a:gd name="T40" fmla="*/ 152 w 411"/>
                  <a:gd name="T41" fmla="*/ 384 h 750"/>
                  <a:gd name="T42" fmla="*/ 124 w 411"/>
                  <a:gd name="T43" fmla="*/ 414 h 750"/>
                  <a:gd name="T44" fmla="*/ 96 w 411"/>
                  <a:gd name="T45" fmla="*/ 454 h 750"/>
                  <a:gd name="T46" fmla="*/ 82 w 411"/>
                  <a:gd name="T47" fmla="*/ 482 h 750"/>
                  <a:gd name="T48" fmla="*/ 68 w 411"/>
                  <a:gd name="T49" fmla="*/ 496 h 750"/>
                  <a:gd name="T50" fmla="*/ 40 w 411"/>
                  <a:gd name="T51" fmla="*/ 510 h 750"/>
                  <a:gd name="T52" fmla="*/ 26 w 411"/>
                  <a:gd name="T53" fmla="*/ 558 h 750"/>
                  <a:gd name="T54" fmla="*/ 26 w 411"/>
                  <a:gd name="T55" fmla="*/ 592 h 750"/>
                  <a:gd name="T56" fmla="*/ 40 w 411"/>
                  <a:gd name="T57" fmla="*/ 640 h 750"/>
                  <a:gd name="T58" fmla="*/ 26 w 411"/>
                  <a:gd name="T59" fmla="*/ 682 h 750"/>
                  <a:gd name="T60" fmla="*/ 82 w 411"/>
                  <a:gd name="T61" fmla="*/ 710 h 750"/>
                  <a:gd name="T62" fmla="*/ 104 w 411"/>
                  <a:gd name="T63" fmla="*/ 744 h 750"/>
                  <a:gd name="T64" fmla="*/ 144 w 411"/>
                  <a:gd name="T65" fmla="*/ 736 h 750"/>
                  <a:gd name="T66" fmla="*/ 172 w 411"/>
                  <a:gd name="T67" fmla="*/ 730 h 750"/>
                  <a:gd name="T68" fmla="*/ 222 w 411"/>
                  <a:gd name="T69" fmla="*/ 716 h 750"/>
                  <a:gd name="T70" fmla="*/ 236 w 411"/>
                  <a:gd name="T71" fmla="*/ 710 h 750"/>
                  <a:gd name="T72" fmla="*/ 270 w 411"/>
                  <a:gd name="T73" fmla="*/ 688 h 750"/>
                  <a:gd name="T74" fmla="*/ 312 w 411"/>
                  <a:gd name="T75" fmla="*/ 654 h 750"/>
                  <a:gd name="T76" fmla="*/ 338 w 411"/>
                  <a:gd name="T77" fmla="*/ 620 h 750"/>
                  <a:gd name="T78" fmla="*/ 361 w 411"/>
                  <a:gd name="T79" fmla="*/ 592 h 750"/>
                  <a:gd name="T80" fmla="*/ 367 w 411"/>
                  <a:gd name="T81" fmla="*/ 558 h 750"/>
                  <a:gd name="T82" fmla="*/ 389 w 411"/>
                  <a:gd name="T83" fmla="*/ 522 h 750"/>
                  <a:gd name="T84" fmla="*/ 395 w 411"/>
                  <a:gd name="T85" fmla="*/ 482 h 750"/>
                  <a:gd name="T86" fmla="*/ 338 w 411"/>
                  <a:gd name="T87" fmla="*/ 454 h 750"/>
                  <a:gd name="T88" fmla="*/ 338 w 411"/>
                  <a:gd name="T89" fmla="*/ 440 h 750"/>
                  <a:gd name="T90" fmla="*/ 338 w 411"/>
                  <a:gd name="T91" fmla="*/ 414 h 750"/>
                  <a:gd name="T92" fmla="*/ 326 w 411"/>
                  <a:gd name="T93" fmla="*/ 392 h 750"/>
                  <a:gd name="T94" fmla="*/ 318 w 411"/>
                  <a:gd name="T95" fmla="*/ 364 h 750"/>
                  <a:gd name="T96" fmla="*/ 304 w 411"/>
                  <a:gd name="T97" fmla="*/ 350 h 750"/>
                  <a:gd name="T98" fmla="*/ 304 w 411"/>
                  <a:gd name="T99" fmla="*/ 322 h 750"/>
                  <a:gd name="T100" fmla="*/ 304 w 411"/>
                  <a:gd name="T101" fmla="*/ 288 h 750"/>
                  <a:gd name="T102" fmla="*/ 270 w 411"/>
                  <a:gd name="T103" fmla="*/ 248 h 750"/>
                  <a:gd name="T104" fmla="*/ 256 w 411"/>
                  <a:gd name="T105" fmla="*/ 206 h 750"/>
                  <a:gd name="T106" fmla="*/ 262 w 411"/>
                  <a:gd name="T107" fmla="*/ 172 h 750"/>
                  <a:gd name="T108" fmla="*/ 236 w 411"/>
                  <a:gd name="T109" fmla="*/ 130 h 750"/>
                  <a:gd name="T110" fmla="*/ 214 w 411"/>
                  <a:gd name="T111" fmla="*/ 102 h 750"/>
                  <a:gd name="T112" fmla="*/ 228 w 411"/>
                  <a:gd name="T113" fmla="*/ 82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1" h="750">
                    <a:moveTo>
                      <a:pt x="228" y="82"/>
                    </a:moveTo>
                    <a:lnTo>
                      <a:pt x="222" y="82"/>
                    </a:lnTo>
                    <a:lnTo>
                      <a:pt x="222" y="74"/>
                    </a:lnTo>
                    <a:lnTo>
                      <a:pt x="222" y="68"/>
                    </a:lnTo>
                    <a:lnTo>
                      <a:pt x="222" y="62"/>
                    </a:lnTo>
                    <a:lnTo>
                      <a:pt x="222" y="48"/>
                    </a:lnTo>
                    <a:lnTo>
                      <a:pt x="228" y="40"/>
                    </a:lnTo>
                    <a:lnTo>
                      <a:pt x="228" y="34"/>
                    </a:lnTo>
                    <a:lnTo>
                      <a:pt x="222" y="26"/>
                    </a:lnTo>
                    <a:lnTo>
                      <a:pt x="214" y="20"/>
                    </a:lnTo>
                    <a:lnTo>
                      <a:pt x="206" y="20"/>
                    </a:lnTo>
                    <a:lnTo>
                      <a:pt x="186" y="14"/>
                    </a:lnTo>
                    <a:lnTo>
                      <a:pt x="194" y="0"/>
                    </a:lnTo>
                    <a:lnTo>
                      <a:pt x="186" y="0"/>
                    </a:lnTo>
                    <a:lnTo>
                      <a:pt x="180" y="6"/>
                    </a:lnTo>
                    <a:lnTo>
                      <a:pt x="166" y="14"/>
                    </a:lnTo>
                    <a:lnTo>
                      <a:pt x="152" y="14"/>
                    </a:lnTo>
                    <a:lnTo>
                      <a:pt x="144" y="20"/>
                    </a:lnTo>
                    <a:lnTo>
                      <a:pt x="144" y="48"/>
                    </a:lnTo>
                    <a:lnTo>
                      <a:pt x="138" y="62"/>
                    </a:lnTo>
                    <a:lnTo>
                      <a:pt x="138" y="68"/>
                    </a:lnTo>
                    <a:lnTo>
                      <a:pt x="138" y="74"/>
                    </a:lnTo>
                    <a:lnTo>
                      <a:pt x="138" y="82"/>
                    </a:lnTo>
                    <a:lnTo>
                      <a:pt x="130" y="88"/>
                    </a:lnTo>
                    <a:lnTo>
                      <a:pt x="124" y="102"/>
                    </a:lnTo>
                    <a:lnTo>
                      <a:pt x="124" y="110"/>
                    </a:lnTo>
                    <a:lnTo>
                      <a:pt x="116" y="110"/>
                    </a:lnTo>
                    <a:lnTo>
                      <a:pt x="104" y="116"/>
                    </a:lnTo>
                    <a:lnTo>
                      <a:pt x="96" y="102"/>
                    </a:lnTo>
                    <a:lnTo>
                      <a:pt x="90" y="102"/>
                    </a:lnTo>
                    <a:lnTo>
                      <a:pt x="82" y="110"/>
                    </a:lnTo>
                    <a:lnTo>
                      <a:pt x="62" y="110"/>
                    </a:lnTo>
                    <a:lnTo>
                      <a:pt x="54" y="102"/>
                    </a:lnTo>
                    <a:lnTo>
                      <a:pt x="48" y="102"/>
                    </a:lnTo>
                    <a:lnTo>
                      <a:pt x="40" y="102"/>
                    </a:lnTo>
                    <a:lnTo>
                      <a:pt x="34" y="88"/>
                    </a:lnTo>
                    <a:lnTo>
                      <a:pt x="34" y="82"/>
                    </a:lnTo>
                    <a:lnTo>
                      <a:pt x="20" y="74"/>
                    </a:lnTo>
                    <a:lnTo>
                      <a:pt x="14" y="68"/>
                    </a:lnTo>
                    <a:lnTo>
                      <a:pt x="6" y="68"/>
                    </a:lnTo>
                    <a:lnTo>
                      <a:pt x="0" y="82"/>
                    </a:lnTo>
                    <a:lnTo>
                      <a:pt x="0" y="96"/>
                    </a:lnTo>
                    <a:lnTo>
                      <a:pt x="14" y="102"/>
                    </a:lnTo>
                    <a:lnTo>
                      <a:pt x="26" y="110"/>
                    </a:lnTo>
                    <a:lnTo>
                      <a:pt x="26" y="124"/>
                    </a:lnTo>
                    <a:lnTo>
                      <a:pt x="34" y="124"/>
                    </a:lnTo>
                    <a:lnTo>
                      <a:pt x="40" y="130"/>
                    </a:lnTo>
                    <a:lnTo>
                      <a:pt x="48" y="130"/>
                    </a:lnTo>
                    <a:lnTo>
                      <a:pt x="62" y="138"/>
                    </a:lnTo>
                    <a:lnTo>
                      <a:pt x="76" y="144"/>
                    </a:lnTo>
                    <a:lnTo>
                      <a:pt x="82" y="144"/>
                    </a:lnTo>
                    <a:lnTo>
                      <a:pt x="82" y="158"/>
                    </a:lnTo>
                    <a:lnTo>
                      <a:pt x="90" y="164"/>
                    </a:lnTo>
                    <a:lnTo>
                      <a:pt x="90" y="172"/>
                    </a:lnTo>
                    <a:lnTo>
                      <a:pt x="90" y="178"/>
                    </a:lnTo>
                    <a:lnTo>
                      <a:pt x="90" y="186"/>
                    </a:lnTo>
                    <a:lnTo>
                      <a:pt x="90" y="192"/>
                    </a:lnTo>
                    <a:lnTo>
                      <a:pt x="82" y="198"/>
                    </a:lnTo>
                    <a:lnTo>
                      <a:pt x="96" y="198"/>
                    </a:lnTo>
                    <a:lnTo>
                      <a:pt x="96" y="206"/>
                    </a:lnTo>
                    <a:lnTo>
                      <a:pt x="96" y="212"/>
                    </a:lnTo>
                    <a:lnTo>
                      <a:pt x="96" y="220"/>
                    </a:lnTo>
                    <a:lnTo>
                      <a:pt x="104" y="226"/>
                    </a:lnTo>
                    <a:lnTo>
                      <a:pt x="104" y="234"/>
                    </a:lnTo>
                    <a:lnTo>
                      <a:pt x="110" y="240"/>
                    </a:lnTo>
                    <a:lnTo>
                      <a:pt x="104" y="248"/>
                    </a:lnTo>
                    <a:lnTo>
                      <a:pt x="104" y="262"/>
                    </a:lnTo>
                    <a:lnTo>
                      <a:pt x="104" y="276"/>
                    </a:lnTo>
                    <a:lnTo>
                      <a:pt x="104" y="282"/>
                    </a:lnTo>
                    <a:lnTo>
                      <a:pt x="110" y="296"/>
                    </a:lnTo>
                    <a:lnTo>
                      <a:pt x="116" y="302"/>
                    </a:lnTo>
                    <a:lnTo>
                      <a:pt x="116" y="316"/>
                    </a:lnTo>
                    <a:lnTo>
                      <a:pt x="124" y="316"/>
                    </a:lnTo>
                    <a:lnTo>
                      <a:pt x="130" y="322"/>
                    </a:lnTo>
                    <a:lnTo>
                      <a:pt x="144" y="322"/>
                    </a:lnTo>
                    <a:lnTo>
                      <a:pt x="144" y="330"/>
                    </a:lnTo>
                    <a:lnTo>
                      <a:pt x="152" y="336"/>
                    </a:lnTo>
                    <a:lnTo>
                      <a:pt x="152" y="344"/>
                    </a:lnTo>
                    <a:lnTo>
                      <a:pt x="152" y="350"/>
                    </a:lnTo>
                    <a:lnTo>
                      <a:pt x="152" y="364"/>
                    </a:lnTo>
                    <a:lnTo>
                      <a:pt x="152" y="372"/>
                    </a:lnTo>
                    <a:lnTo>
                      <a:pt x="158" y="378"/>
                    </a:lnTo>
                    <a:lnTo>
                      <a:pt x="158" y="384"/>
                    </a:lnTo>
                    <a:lnTo>
                      <a:pt x="152" y="384"/>
                    </a:lnTo>
                    <a:lnTo>
                      <a:pt x="144" y="384"/>
                    </a:lnTo>
                    <a:lnTo>
                      <a:pt x="138" y="384"/>
                    </a:lnTo>
                    <a:lnTo>
                      <a:pt x="138" y="392"/>
                    </a:lnTo>
                    <a:lnTo>
                      <a:pt x="124" y="414"/>
                    </a:lnTo>
                    <a:lnTo>
                      <a:pt x="124" y="420"/>
                    </a:lnTo>
                    <a:lnTo>
                      <a:pt x="116" y="434"/>
                    </a:lnTo>
                    <a:lnTo>
                      <a:pt x="110" y="440"/>
                    </a:lnTo>
                    <a:lnTo>
                      <a:pt x="96" y="454"/>
                    </a:lnTo>
                    <a:lnTo>
                      <a:pt x="96" y="462"/>
                    </a:lnTo>
                    <a:lnTo>
                      <a:pt x="96" y="468"/>
                    </a:lnTo>
                    <a:lnTo>
                      <a:pt x="82" y="474"/>
                    </a:lnTo>
                    <a:lnTo>
                      <a:pt x="82" y="482"/>
                    </a:lnTo>
                    <a:lnTo>
                      <a:pt x="82" y="474"/>
                    </a:lnTo>
                    <a:lnTo>
                      <a:pt x="76" y="482"/>
                    </a:lnTo>
                    <a:lnTo>
                      <a:pt x="68" y="488"/>
                    </a:lnTo>
                    <a:lnTo>
                      <a:pt x="68" y="496"/>
                    </a:lnTo>
                    <a:lnTo>
                      <a:pt x="68" y="510"/>
                    </a:lnTo>
                    <a:lnTo>
                      <a:pt x="54" y="516"/>
                    </a:lnTo>
                    <a:lnTo>
                      <a:pt x="48" y="510"/>
                    </a:lnTo>
                    <a:lnTo>
                      <a:pt x="40" y="510"/>
                    </a:lnTo>
                    <a:lnTo>
                      <a:pt x="40" y="522"/>
                    </a:lnTo>
                    <a:lnTo>
                      <a:pt x="26" y="536"/>
                    </a:lnTo>
                    <a:lnTo>
                      <a:pt x="26" y="550"/>
                    </a:lnTo>
                    <a:lnTo>
                      <a:pt x="26" y="558"/>
                    </a:lnTo>
                    <a:lnTo>
                      <a:pt x="34" y="564"/>
                    </a:lnTo>
                    <a:lnTo>
                      <a:pt x="34" y="578"/>
                    </a:lnTo>
                    <a:lnTo>
                      <a:pt x="26" y="586"/>
                    </a:lnTo>
                    <a:lnTo>
                      <a:pt x="26" y="592"/>
                    </a:lnTo>
                    <a:lnTo>
                      <a:pt x="40" y="598"/>
                    </a:lnTo>
                    <a:lnTo>
                      <a:pt x="40" y="606"/>
                    </a:lnTo>
                    <a:lnTo>
                      <a:pt x="40" y="620"/>
                    </a:lnTo>
                    <a:lnTo>
                      <a:pt x="40" y="640"/>
                    </a:lnTo>
                    <a:lnTo>
                      <a:pt x="40" y="654"/>
                    </a:lnTo>
                    <a:lnTo>
                      <a:pt x="26" y="660"/>
                    </a:lnTo>
                    <a:lnTo>
                      <a:pt x="26" y="674"/>
                    </a:lnTo>
                    <a:lnTo>
                      <a:pt x="26" y="682"/>
                    </a:lnTo>
                    <a:lnTo>
                      <a:pt x="40" y="702"/>
                    </a:lnTo>
                    <a:lnTo>
                      <a:pt x="62" y="702"/>
                    </a:lnTo>
                    <a:lnTo>
                      <a:pt x="68" y="710"/>
                    </a:lnTo>
                    <a:lnTo>
                      <a:pt x="82" y="710"/>
                    </a:lnTo>
                    <a:lnTo>
                      <a:pt x="90" y="710"/>
                    </a:lnTo>
                    <a:lnTo>
                      <a:pt x="96" y="724"/>
                    </a:lnTo>
                    <a:lnTo>
                      <a:pt x="96" y="736"/>
                    </a:lnTo>
                    <a:lnTo>
                      <a:pt x="104" y="744"/>
                    </a:lnTo>
                    <a:lnTo>
                      <a:pt x="110" y="750"/>
                    </a:lnTo>
                    <a:lnTo>
                      <a:pt x="130" y="750"/>
                    </a:lnTo>
                    <a:lnTo>
                      <a:pt x="138" y="750"/>
                    </a:lnTo>
                    <a:lnTo>
                      <a:pt x="144" y="736"/>
                    </a:lnTo>
                    <a:lnTo>
                      <a:pt x="152" y="730"/>
                    </a:lnTo>
                    <a:lnTo>
                      <a:pt x="158" y="744"/>
                    </a:lnTo>
                    <a:lnTo>
                      <a:pt x="166" y="736"/>
                    </a:lnTo>
                    <a:lnTo>
                      <a:pt x="172" y="730"/>
                    </a:lnTo>
                    <a:lnTo>
                      <a:pt x="186" y="724"/>
                    </a:lnTo>
                    <a:lnTo>
                      <a:pt x="206" y="716"/>
                    </a:lnTo>
                    <a:lnTo>
                      <a:pt x="214" y="716"/>
                    </a:lnTo>
                    <a:lnTo>
                      <a:pt x="222" y="716"/>
                    </a:lnTo>
                    <a:lnTo>
                      <a:pt x="222" y="710"/>
                    </a:lnTo>
                    <a:lnTo>
                      <a:pt x="222" y="702"/>
                    </a:lnTo>
                    <a:lnTo>
                      <a:pt x="228" y="696"/>
                    </a:lnTo>
                    <a:lnTo>
                      <a:pt x="236" y="710"/>
                    </a:lnTo>
                    <a:lnTo>
                      <a:pt x="242" y="702"/>
                    </a:lnTo>
                    <a:lnTo>
                      <a:pt x="256" y="696"/>
                    </a:lnTo>
                    <a:lnTo>
                      <a:pt x="262" y="682"/>
                    </a:lnTo>
                    <a:lnTo>
                      <a:pt x="270" y="688"/>
                    </a:lnTo>
                    <a:lnTo>
                      <a:pt x="284" y="688"/>
                    </a:lnTo>
                    <a:lnTo>
                      <a:pt x="290" y="688"/>
                    </a:lnTo>
                    <a:lnTo>
                      <a:pt x="298" y="682"/>
                    </a:lnTo>
                    <a:lnTo>
                      <a:pt x="312" y="654"/>
                    </a:lnTo>
                    <a:lnTo>
                      <a:pt x="318" y="648"/>
                    </a:lnTo>
                    <a:lnTo>
                      <a:pt x="326" y="634"/>
                    </a:lnTo>
                    <a:lnTo>
                      <a:pt x="332" y="626"/>
                    </a:lnTo>
                    <a:lnTo>
                      <a:pt x="338" y="620"/>
                    </a:lnTo>
                    <a:lnTo>
                      <a:pt x="346" y="606"/>
                    </a:lnTo>
                    <a:lnTo>
                      <a:pt x="353" y="586"/>
                    </a:lnTo>
                    <a:lnTo>
                      <a:pt x="353" y="592"/>
                    </a:lnTo>
                    <a:lnTo>
                      <a:pt x="361" y="592"/>
                    </a:lnTo>
                    <a:lnTo>
                      <a:pt x="367" y="586"/>
                    </a:lnTo>
                    <a:lnTo>
                      <a:pt x="361" y="578"/>
                    </a:lnTo>
                    <a:lnTo>
                      <a:pt x="367" y="572"/>
                    </a:lnTo>
                    <a:lnTo>
                      <a:pt x="367" y="558"/>
                    </a:lnTo>
                    <a:lnTo>
                      <a:pt x="375" y="550"/>
                    </a:lnTo>
                    <a:lnTo>
                      <a:pt x="381" y="544"/>
                    </a:lnTo>
                    <a:lnTo>
                      <a:pt x="381" y="536"/>
                    </a:lnTo>
                    <a:lnTo>
                      <a:pt x="389" y="522"/>
                    </a:lnTo>
                    <a:lnTo>
                      <a:pt x="403" y="516"/>
                    </a:lnTo>
                    <a:lnTo>
                      <a:pt x="411" y="502"/>
                    </a:lnTo>
                    <a:lnTo>
                      <a:pt x="403" y="488"/>
                    </a:lnTo>
                    <a:lnTo>
                      <a:pt x="395" y="482"/>
                    </a:lnTo>
                    <a:lnTo>
                      <a:pt x="375" y="474"/>
                    </a:lnTo>
                    <a:lnTo>
                      <a:pt x="353" y="468"/>
                    </a:lnTo>
                    <a:lnTo>
                      <a:pt x="346" y="462"/>
                    </a:lnTo>
                    <a:lnTo>
                      <a:pt x="338" y="454"/>
                    </a:lnTo>
                    <a:lnTo>
                      <a:pt x="332" y="454"/>
                    </a:lnTo>
                    <a:lnTo>
                      <a:pt x="326" y="440"/>
                    </a:lnTo>
                    <a:lnTo>
                      <a:pt x="332" y="440"/>
                    </a:lnTo>
                    <a:lnTo>
                      <a:pt x="338" y="440"/>
                    </a:lnTo>
                    <a:lnTo>
                      <a:pt x="346" y="434"/>
                    </a:lnTo>
                    <a:lnTo>
                      <a:pt x="346" y="426"/>
                    </a:lnTo>
                    <a:lnTo>
                      <a:pt x="346" y="420"/>
                    </a:lnTo>
                    <a:lnTo>
                      <a:pt x="338" y="414"/>
                    </a:lnTo>
                    <a:lnTo>
                      <a:pt x="338" y="406"/>
                    </a:lnTo>
                    <a:lnTo>
                      <a:pt x="326" y="406"/>
                    </a:lnTo>
                    <a:lnTo>
                      <a:pt x="326" y="398"/>
                    </a:lnTo>
                    <a:lnTo>
                      <a:pt x="326" y="392"/>
                    </a:lnTo>
                    <a:lnTo>
                      <a:pt x="312" y="384"/>
                    </a:lnTo>
                    <a:lnTo>
                      <a:pt x="326" y="378"/>
                    </a:lnTo>
                    <a:lnTo>
                      <a:pt x="318" y="372"/>
                    </a:lnTo>
                    <a:lnTo>
                      <a:pt x="318" y="364"/>
                    </a:lnTo>
                    <a:lnTo>
                      <a:pt x="312" y="372"/>
                    </a:lnTo>
                    <a:lnTo>
                      <a:pt x="304" y="364"/>
                    </a:lnTo>
                    <a:lnTo>
                      <a:pt x="304" y="358"/>
                    </a:lnTo>
                    <a:lnTo>
                      <a:pt x="304" y="350"/>
                    </a:lnTo>
                    <a:lnTo>
                      <a:pt x="304" y="344"/>
                    </a:lnTo>
                    <a:lnTo>
                      <a:pt x="298" y="336"/>
                    </a:lnTo>
                    <a:lnTo>
                      <a:pt x="298" y="330"/>
                    </a:lnTo>
                    <a:lnTo>
                      <a:pt x="304" y="322"/>
                    </a:lnTo>
                    <a:lnTo>
                      <a:pt x="298" y="310"/>
                    </a:lnTo>
                    <a:lnTo>
                      <a:pt x="304" y="302"/>
                    </a:lnTo>
                    <a:lnTo>
                      <a:pt x="304" y="296"/>
                    </a:lnTo>
                    <a:lnTo>
                      <a:pt x="304" y="288"/>
                    </a:lnTo>
                    <a:lnTo>
                      <a:pt x="298" y="276"/>
                    </a:lnTo>
                    <a:lnTo>
                      <a:pt x="290" y="262"/>
                    </a:lnTo>
                    <a:lnTo>
                      <a:pt x="284" y="254"/>
                    </a:lnTo>
                    <a:lnTo>
                      <a:pt x="270" y="248"/>
                    </a:lnTo>
                    <a:lnTo>
                      <a:pt x="270" y="240"/>
                    </a:lnTo>
                    <a:lnTo>
                      <a:pt x="262" y="234"/>
                    </a:lnTo>
                    <a:lnTo>
                      <a:pt x="256" y="220"/>
                    </a:lnTo>
                    <a:lnTo>
                      <a:pt x="256" y="206"/>
                    </a:lnTo>
                    <a:lnTo>
                      <a:pt x="256" y="198"/>
                    </a:lnTo>
                    <a:lnTo>
                      <a:pt x="256" y="186"/>
                    </a:lnTo>
                    <a:lnTo>
                      <a:pt x="262" y="178"/>
                    </a:lnTo>
                    <a:lnTo>
                      <a:pt x="262" y="172"/>
                    </a:lnTo>
                    <a:lnTo>
                      <a:pt x="262" y="158"/>
                    </a:lnTo>
                    <a:lnTo>
                      <a:pt x="248" y="144"/>
                    </a:lnTo>
                    <a:lnTo>
                      <a:pt x="236" y="138"/>
                    </a:lnTo>
                    <a:lnTo>
                      <a:pt x="236" y="130"/>
                    </a:lnTo>
                    <a:lnTo>
                      <a:pt x="228" y="124"/>
                    </a:lnTo>
                    <a:lnTo>
                      <a:pt x="222" y="116"/>
                    </a:lnTo>
                    <a:lnTo>
                      <a:pt x="214" y="110"/>
                    </a:lnTo>
                    <a:lnTo>
                      <a:pt x="214" y="102"/>
                    </a:lnTo>
                    <a:lnTo>
                      <a:pt x="222" y="96"/>
                    </a:lnTo>
                    <a:lnTo>
                      <a:pt x="222" y="88"/>
                    </a:lnTo>
                    <a:lnTo>
                      <a:pt x="228" y="82"/>
                    </a:lnTo>
                    <a:lnTo>
                      <a:pt x="228" y="82"/>
                    </a:lnTo>
                    <a:lnTo>
                      <a:pt x="228" y="82"/>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9" name="Freeform 63"/>
              <p:cNvSpPr>
                <a:spLocks/>
              </p:cNvSpPr>
              <p:nvPr>
                <p:custDataLst>
                  <p:tags r:id="rId149"/>
                </p:custDataLst>
              </p:nvPr>
            </p:nvSpPr>
            <p:spPr bwMode="gray">
              <a:xfrm>
                <a:off x="5494002" y="3952851"/>
                <a:ext cx="573215" cy="358855"/>
              </a:xfrm>
              <a:custGeom>
                <a:avLst/>
                <a:gdLst>
                  <a:gd name="T0" fmla="*/ 56 w 361"/>
                  <a:gd name="T1" fmla="*/ 220 h 226"/>
                  <a:gd name="T2" fmla="*/ 84 w 361"/>
                  <a:gd name="T3" fmla="*/ 220 h 226"/>
                  <a:gd name="T4" fmla="*/ 104 w 361"/>
                  <a:gd name="T5" fmla="*/ 226 h 226"/>
                  <a:gd name="T6" fmla="*/ 118 w 361"/>
                  <a:gd name="T7" fmla="*/ 212 h 226"/>
                  <a:gd name="T8" fmla="*/ 132 w 361"/>
                  <a:gd name="T9" fmla="*/ 206 h 226"/>
                  <a:gd name="T10" fmla="*/ 140 w 361"/>
                  <a:gd name="T11" fmla="*/ 206 h 226"/>
                  <a:gd name="T12" fmla="*/ 152 w 361"/>
                  <a:gd name="T13" fmla="*/ 212 h 226"/>
                  <a:gd name="T14" fmla="*/ 160 w 361"/>
                  <a:gd name="T15" fmla="*/ 220 h 226"/>
                  <a:gd name="T16" fmla="*/ 180 w 361"/>
                  <a:gd name="T17" fmla="*/ 212 h 226"/>
                  <a:gd name="T18" fmla="*/ 202 w 361"/>
                  <a:gd name="T19" fmla="*/ 212 h 226"/>
                  <a:gd name="T20" fmla="*/ 222 w 361"/>
                  <a:gd name="T21" fmla="*/ 206 h 226"/>
                  <a:gd name="T22" fmla="*/ 243 w 361"/>
                  <a:gd name="T23" fmla="*/ 200 h 226"/>
                  <a:gd name="T24" fmla="*/ 236 w 361"/>
                  <a:gd name="T25" fmla="*/ 186 h 226"/>
                  <a:gd name="T26" fmla="*/ 251 w 361"/>
                  <a:gd name="T27" fmla="*/ 186 h 226"/>
                  <a:gd name="T28" fmla="*/ 259 w 361"/>
                  <a:gd name="T29" fmla="*/ 178 h 226"/>
                  <a:gd name="T30" fmla="*/ 269 w 361"/>
                  <a:gd name="T31" fmla="*/ 166 h 226"/>
                  <a:gd name="T32" fmla="*/ 279 w 361"/>
                  <a:gd name="T33" fmla="*/ 158 h 226"/>
                  <a:gd name="T34" fmla="*/ 293 w 361"/>
                  <a:gd name="T35" fmla="*/ 158 h 226"/>
                  <a:gd name="T36" fmla="*/ 299 w 361"/>
                  <a:gd name="T37" fmla="*/ 164 h 226"/>
                  <a:gd name="T38" fmla="*/ 319 w 361"/>
                  <a:gd name="T39" fmla="*/ 164 h 226"/>
                  <a:gd name="T40" fmla="*/ 341 w 361"/>
                  <a:gd name="T41" fmla="*/ 158 h 226"/>
                  <a:gd name="T42" fmla="*/ 333 w 361"/>
                  <a:gd name="T43" fmla="*/ 144 h 226"/>
                  <a:gd name="T44" fmla="*/ 327 w 361"/>
                  <a:gd name="T45" fmla="*/ 130 h 226"/>
                  <a:gd name="T46" fmla="*/ 305 w 361"/>
                  <a:gd name="T47" fmla="*/ 138 h 226"/>
                  <a:gd name="T48" fmla="*/ 305 w 361"/>
                  <a:gd name="T49" fmla="*/ 116 h 226"/>
                  <a:gd name="T50" fmla="*/ 319 w 361"/>
                  <a:gd name="T51" fmla="*/ 110 h 226"/>
                  <a:gd name="T52" fmla="*/ 327 w 361"/>
                  <a:gd name="T53" fmla="*/ 96 h 226"/>
                  <a:gd name="T54" fmla="*/ 319 w 361"/>
                  <a:gd name="T55" fmla="*/ 76 h 226"/>
                  <a:gd name="T56" fmla="*/ 327 w 361"/>
                  <a:gd name="T57" fmla="*/ 62 h 226"/>
                  <a:gd name="T58" fmla="*/ 341 w 361"/>
                  <a:gd name="T59" fmla="*/ 48 h 226"/>
                  <a:gd name="T60" fmla="*/ 361 w 361"/>
                  <a:gd name="T61" fmla="*/ 42 h 226"/>
                  <a:gd name="T62" fmla="*/ 353 w 361"/>
                  <a:gd name="T63" fmla="*/ 20 h 226"/>
                  <a:gd name="T64" fmla="*/ 319 w 361"/>
                  <a:gd name="T65" fmla="*/ 8 h 226"/>
                  <a:gd name="T66" fmla="*/ 307 w 361"/>
                  <a:gd name="T67" fmla="*/ 8 h 226"/>
                  <a:gd name="T68" fmla="*/ 285 w 361"/>
                  <a:gd name="T69" fmla="*/ 6 h 226"/>
                  <a:gd name="T70" fmla="*/ 265 w 361"/>
                  <a:gd name="T71" fmla="*/ 6 h 226"/>
                  <a:gd name="T72" fmla="*/ 228 w 361"/>
                  <a:gd name="T73" fmla="*/ 6 h 226"/>
                  <a:gd name="T74" fmla="*/ 208 w 361"/>
                  <a:gd name="T75" fmla="*/ 28 h 226"/>
                  <a:gd name="T76" fmla="*/ 180 w 361"/>
                  <a:gd name="T77" fmla="*/ 48 h 226"/>
                  <a:gd name="T78" fmla="*/ 160 w 361"/>
                  <a:gd name="T79" fmla="*/ 54 h 226"/>
                  <a:gd name="T80" fmla="*/ 140 w 361"/>
                  <a:gd name="T81" fmla="*/ 48 h 226"/>
                  <a:gd name="T82" fmla="*/ 118 w 361"/>
                  <a:gd name="T83" fmla="*/ 48 h 226"/>
                  <a:gd name="T84" fmla="*/ 90 w 361"/>
                  <a:gd name="T85" fmla="*/ 48 h 226"/>
                  <a:gd name="T86" fmla="*/ 70 w 361"/>
                  <a:gd name="T87" fmla="*/ 42 h 226"/>
                  <a:gd name="T88" fmla="*/ 42 w 361"/>
                  <a:gd name="T89" fmla="*/ 42 h 226"/>
                  <a:gd name="T90" fmla="*/ 36 w 361"/>
                  <a:gd name="T91" fmla="*/ 28 h 226"/>
                  <a:gd name="T92" fmla="*/ 22 w 361"/>
                  <a:gd name="T93" fmla="*/ 14 h 226"/>
                  <a:gd name="T94" fmla="*/ 14 w 361"/>
                  <a:gd name="T95" fmla="*/ 28 h 226"/>
                  <a:gd name="T96" fmla="*/ 0 w 361"/>
                  <a:gd name="T97" fmla="*/ 34 h 226"/>
                  <a:gd name="T98" fmla="*/ 8 w 361"/>
                  <a:gd name="T99" fmla="*/ 62 h 226"/>
                  <a:gd name="T100" fmla="*/ 14 w 361"/>
                  <a:gd name="T101" fmla="*/ 76 h 226"/>
                  <a:gd name="T102" fmla="*/ 28 w 361"/>
                  <a:gd name="T103" fmla="*/ 76 h 226"/>
                  <a:gd name="T104" fmla="*/ 28 w 361"/>
                  <a:gd name="T105" fmla="*/ 90 h 226"/>
                  <a:gd name="T106" fmla="*/ 14 w 361"/>
                  <a:gd name="T107" fmla="*/ 102 h 226"/>
                  <a:gd name="T108" fmla="*/ 14 w 361"/>
                  <a:gd name="T109" fmla="*/ 124 h 226"/>
                  <a:gd name="T110" fmla="*/ 8 w 361"/>
                  <a:gd name="T111" fmla="*/ 138 h 226"/>
                  <a:gd name="T112" fmla="*/ 8 w 361"/>
                  <a:gd name="T113" fmla="*/ 158 h 226"/>
                  <a:gd name="T114" fmla="*/ 28 w 361"/>
                  <a:gd name="T115" fmla="*/ 172 h 226"/>
                  <a:gd name="T116" fmla="*/ 42 w 361"/>
                  <a:gd name="T117" fmla="*/ 186 h 226"/>
                  <a:gd name="T118" fmla="*/ 48 w 361"/>
                  <a:gd name="T119" fmla="*/ 200 h 226"/>
                  <a:gd name="T120" fmla="*/ 42 w 361"/>
                  <a:gd name="T121" fmla="*/ 212 h 226"/>
                  <a:gd name="T122" fmla="*/ 42 w 361"/>
                  <a:gd name="T123" fmla="*/ 22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1" h="226">
                    <a:moveTo>
                      <a:pt x="42" y="220"/>
                    </a:moveTo>
                    <a:lnTo>
                      <a:pt x="56" y="220"/>
                    </a:lnTo>
                    <a:lnTo>
                      <a:pt x="70" y="220"/>
                    </a:lnTo>
                    <a:lnTo>
                      <a:pt x="84" y="220"/>
                    </a:lnTo>
                    <a:lnTo>
                      <a:pt x="98" y="220"/>
                    </a:lnTo>
                    <a:lnTo>
                      <a:pt x="104" y="226"/>
                    </a:lnTo>
                    <a:lnTo>
                      <a:pt x="118" y="220"/>
                    </a:lnTo>
                    <a:lnTo>
                      <a:pt x="118" y="212"/>
                    </a:lnTo>
                    <a:lnTo>
                      <a:pt x="124" y="212"/>
                    </a:lnTo>
                    <a:lnTo>
                      <a:pt x="132" y="206"/>
                    </a:lnTo>
                    <a:lnTo>
                      <a:pt x="140" y="212"/>
                    </a:lnTo>
                    <a:lnTo>
                      <a:pt x="140" y="206"/>
                    </a:lnTo>
                    <a:lnTo>
                      <a:pt x="146" y="206"/>
                    </a:lnTo>
                    <a:lnTo>
                      <a:pt x="152" y="212"/>
                    </a:lnTo>
                    <a:lnTo>
                      <a:pt x="160" y="212"/>
                    </a:lnTo>
                    <a:lnTo>
                      <a:pt x="160" y="220"/>
                    </a:lnTo>
                    <a:lnTo>
                      <a:pt x="174" y="212"/>
                    </a:lnTo>
                    <a:lnTo>
                      <a:pt x="180" y="212"/>
                    </a:lnTo>
                    <a:lnTo>
                      <a:pt x="186" y="212"/>
                    </a:lnTo>
                    <a:lnTo>
                      <a:pt x="202" y="212"/>
                    </a:lnTo>
                    <a:lnTo>
                      <a:pt x="208" y="206"/>
                    </a:lnTo>
                    <a:lnTo>
                      <a:pt x="222" y="206"/>
                    </a:lnTo>
                    <a:lnTo>
                      <a:pt x="236" y="206"/>
                    </a:lnTo>
                    <a:lnTo>
                      <a:pt x="243" y="200"/>
                    </a:lnTo>
                    <a:lnTo>
                      <a:pt x="236" y="192"/>
                    </a:lnTo>
                    <a:lnTo>
                      <a:pt x="236" y="186"/>
                    </a:lnTo>
                    <a:lnTo>
                      <a:pt x="243" y="186"/>
                    </a:lnTo>
                    <a:lnTo>
                      <a:pt x="251" y="186"/>
                    </a:lnTo>
                    <a:lnTo>
                      <a:pt x="251" y="178"/>
                    </a:lnTo>
                    <a:lnTo>
                      <a:pt x="259" y="178"/>
                    </a:lnTo>
                    <a:lnTo>
                      <a:pt x="261" y="166"/>
                    </a:lnTo>
                    <a:lnTo>
                      <a:pt x="269" y="166"/>
                    </a:lnTo>
                    <a:lnTo>
                      <a:pt x="271" y="164"/>
                    </a:lnTo>
                    <a:lnTo>
                      <a:pt x="279" y="158"/>
                    </a:lnTo>
                    <a:lnTo>
                      <a:pt x="285" y="158"/>
                    </a:lnTo>
                    <a:lnTo>
                      <a:pt x="293" y="158"/>
                    </a:lnTo>
                    <a:lnTo>
                      <a:pt x="299" y="158"/>
                    </a:lnTo>
                    <a:lnTo>
                      <a:pt x="299" y="164"/>
                    </a:lnTo>
                    <a:lnTo>
                      <a:pt x="305" y="164"/>
                    </a:lnTo>
                    <a:lnTo>
                      <a:pt x="319" y="164"/>
                    </a:lnTo>
                    <a:lnTo>
                      <a:pt x="341" y="164"/>
                    </a:lnTo>
                    <a:lnTo>
                      <a:pt x="341" y="158"/>
                    </a:lnTo>
                    <a:lnTo>
                      <a:pt x="341" y="144"/>
                    </a:lnTo>
                    <a:lnTo>
                      <a:pt x="333" y="144"/>
                    </a:lnTo>
                    <a:lnTo>
                      <a:pt x="327" y="138"/>
                    </a:lnTo>
                    <a:lnTo>
                      <a:pt x="327" y="130"/>
                    </a:lnTo>
                    <a:lnTo>
                      <a:pt x="313" y="130"/>
                    </a:lnTo>
                    <a:lnTo>
                      <a:pt x="305" y="138"/>
                    </a:lnTo>
                    <a:lnTo>
                      <a:pt x="305" y="124"/>
                    </a:lnTo>
                    <a:lnTo>
                      <a:pt x="305" y="116"/>
                    </a:lnTo>
                    <a:lnTo>
                      <a:pt x="313" y="110"/>
                    </a:lnTo>
                    <a:lnTo>
                      <a:pt x="319" y="110"/>
                    </a:lnTo>
                    <a:lnTo>
                      <a:pt x="319" y="102"/>
                    </a:lnTo>
                    <a:lnTo>
                      <a:pt x="327" y="96"/>
                    </a:lnTo>
                    <a:lnTo>
                      <a:pt x="319" y="90"/>
                    </a:lnTo>
                    <a:lnTo>
                      <a:pt x="319" y="76"/>
                    </a:lnTo>
                    <a:lnTo>
                      <a:pt x="327" y="76"/>
                    </a:lnTo>
                    <a:lnTo>
                      <a:pt x="327" y="62"/>
                    </a:lnTo>
                    <a:lnTo>
                      <a:pt x="327" y="48"/>
                    </a:lnTo>
                    <a:lnTo>
                      <a:pt x="341" y="48"/>
                    </a:lnTo>
                    <a:lnTo>
                      <a:pt x="355" y="48"/>
                    </a:lnTo>
                    <a:lnTo>
                      <a:pt x="361" y="42"/>
                    </a:lnTo>
                    <a:lnTo>
                      <a:pt x="353" y="24"/>
                    </a:lnTo>
                    <a:lnTo>
                      <a:pt x="353" y="20"/>
                    </a:lnTo>
                    <a:lnTo>
                      <a:pt x="327" y="10"/>
                    </a:lnTo>
                    <a:lnTo>
                      <a:pt x="319" y="8"/>
                    </a:lnTo>
                    <a:lnTo>
                      <a:pt x="313" y="8"/>
                    </a:lnTo>
                    <a:lnTo>
                      <a:pt x="307" y="8"/>
                    </a:lnTo>
                    <a:lnTo>
                      <a:pt x="291" y="10"/>
                    </a:lnTo>
                    <a:lnTo>
                      <a:pt x="285" y="6"/>
                    </a:lnTo>
                    <a:lnTo>
                      <a:pt x="271" y="6"/>
                    </a:lnTo>
                    <a:lnTo>
                      <a:pt x="265" y="6"/>
                    </a:lnTo>
                    <a:lnTo>
                      <a:pt x="257" y="0"/>
                    </a:lnTo>
                    <a:lnTo>
                      <a:pt x="228" y="6"/>
                    </a:lnTo>
                    <a:lnTo>
                      <a:pt x="222" y="14"/>
                    </a:lnTo>
                    <a:lnTo>
                      <a:pt x="208" y="28"/>
                    </a:lnTo>
                    <a:lnTo>
                      <a:pt x="194" y="42"/>
                    </a:lnTo>
                    <a:lnTo>
                      <a:pt x="180" y="48"/>
                    </a:lnTo>
                    <a:lnTo>
                      <a:pt x="174" y="54"/>
                    </a:lnTo>
                    <a:lnTo>
                      <a:pt x="160" y="54"/>
                    </a:lnTo>
                    <a:lnTo>
                      <a:pt x="146" y="48"/>
                    </a:lnTo>
                    <a:lnTo>
                      <a:pt x="140" y="48"/>
                    </a:lnTo>
                    <a:lnTo>
                      <a:pt x="124" y="48"/>
                    </a:lnTo>
                    <a:lnTo>
                      <a:pt x="118" y="48"/>
                    </a:lnTo>
                    <a:lnTo>
                      <a:pt x="104" y="48"/>
                    </a:lnTo>
                    <a:lnTo>
                      <a:pt x="90" y="48"/>
                    </a:lnTo>
                    <a:lnTo>
                      <a:pt x="84" y="42"/>
                    </a:lnTo>
                    <a:lnTo>
                      <a:pt x="70" y="42"/>
                    </a:lnTo>
                    <a:lnTo>
                      <a:pt x="56" y="42"/>
                    </a:lnTo>
                    <a:lnTo>
                      <a:pt x="42" y="42"/>
                    </a:lnTo>
                    <a:lnTo>
                      <a:pt x="36" y="34"/>
                    </a:lnTo>
                    <a:lnTo>
                      <a:pt x="36" y="28"/>
                    </a:lnTo>
                    <a:lnTo>
                      <a:pt x="36" y="14"/>
                    </a:lnTo>
                    <a:lnTo>
                      <a:pt x="22" y="14"/>
                    </a:lnTo>
                    <a:lnTo>
                      <a:pt x="28" y="14"/>
                    </a:lnTo>
                    <a:lnTo>
                      <a:pt x="14" y="28"/>
                    </a:lnTo>
                    <a:lnTo>
                      <a:pt x="8" y="34"/>
                    </a:lnTo>
                    <a:lnTo>
                      <a:pt x="0" y="34"/>
                    </a:lnTo>
                    <a:lnTo>
                      <a:pt x="8" y="48"/>
                    </a:lnTo>
                    <a:lnTo>
                      <a:pt x="8" y="62"/>
                    </a:lnTo>
                    <a:lnTo>
                      <a:pt x="14" y="68"/>
                    </a:lnTo>
                    <a:lnTo>
                      <a:pt x="14" y="76"/>
                    </a:lnTo>
                    <a:lnTo>
                      <a:pt x="22" y="76"/>
                    </a:lnTo>
                    <a:lnTo>
                      <a:pt x="28" y="76"/>
                    </a:lnTo>
                    <a:lnTo>
                      <a:pt x="36" y="82"/>
                    </a:lnTo>
                    <a:lnTo>
                      <a:pt x="28" y="90"/>
                    </a:lnTo>
                    <a:lnTo>
                      <a:pt x="28" y="96"/>
                    </a:lnTo>
                    <a:lnTo>
                      <a:pt x="14" y="102"/>
                    </a:lnTo>
                    <a:lnTo>
                      <a:pt x="14" y="110"/>
                    </a:lnTo>
                    <a:lnTo>
                      <a:pt x="14" y="124"/>
                    </a:lnTo>
                    <a:lnTo>
                      <a:pt x="8" y="124"/>
                    </a:lnTo>
                    <a:lnTo>
                      <a:pt x="8" y="138"/>
                    </a:lnTo>
                    <a:lnTo>
                      <a:pt x="8" y="144"/>
                    </a:lnTo>
                    <a:lnTo>
                      <a:pt x="8" y="158"/>
                    </a:lnTo>
                    <a:lnTo>
                      <a:pt x="22" y="164"/>
                    </a:lnTo>
                    <a:lnTo>
                      <a:pt x="28" y="172"/>
                    </a:lnTo>
                    <a:lnTo>
                      <a:pt x="36" y="178"/>
                    </a:lnTo>
                    <a:lnTo>
                      <a:pt x="42" y="186"/>
                    </a:lnTo>
                    <a:lnTo>
                      <a:pt x="48" y="192"/>
                    </a:lnTo>
                    <a:lnTo>
                      <a:pt x="48" y="200"/>
                    </a:lnTo>
                    <a:lnTo>
                      <a:pt x="48" y="206"/>
                    </a:lnTo>
                    <a:lnTo>
                      <a:pt x="42" y="212"/>
                    </a:lnTo>
                    <a:lnTo>
                      <a:pt x="42" y="220"/>
                    </a:lnTo>
                    <a:lnTo>
                      <a:pt x="42" y="220"/>
                    </a:lnTo>
                    <a:lnTo>
                      <a:pt x="42" y="220"/>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0" name="Freeform 64"/>
              <p:cNvSpPr>
                <a:spLocks/>
              </p:cNvSpPr>
              <p:nvPr>
                <p:custDataLst>
                  <p:tags r:id="rId150"/>
                </p:custDataLst>
              </p:nvPr>
            </p:nvSpPr>
            <p:spPr bwMode="gray">
              <a:xfrm>
                <a:off x="5347919" y="3454265"/>
                <a:ext cx="792339" cy="590681"/>
              </a:xfrm>
              <a:custGeom>
                <a:avLst/>
                <a:gdLst>
                  <a:gd name="T0" fmla="*/ 110 w 499"/>
                  <a:gd name="T1" fmla="*/ 312 h 372"/>
                  <a:gd name="T2" fmla="*/ 110 w 499"/>
                  <a:gd name="T3" fmla="*/ 292 h 372"/>
                  <a:gd name="T4" fmla="*/ 76 w 499"/>
                  <a:gd name="T5" fmla="*/ 300 h 372"/>
                  <a:gd name="T6" fmla="*/ 48 w 499"/>
                  <a:gd name="T7" fmla="*/ 292 h 372"/>
                  <a:gd name="T8" fmla="*/ 40 w 499"/>
                  <a:gd name="T9" fmla="*/ 278 h 372"/>
                  <a:gd name="T10" fmla="*/ 40 w 499"/>
                  <a:gd name="T11" fmla="*/ 258 h 372"/>
                  <a:gd name="T12" fmla="*/ 20 w 499"/>
                  <a:gd name="T13" fmla="*/ 250 h 372"/>
                  <a:gd name="T14" fmla="*/ 12 w 499"/>
                  <a:gd name="T15" fmla="*/ 224 h 372"/>
                  <a:gd name="T16" fmla="*/ 6 w 499"/>
                  <a:gd name="T17" fmla="*/ 202 h 372"/>
                  <a:gd name="T18" fmla="*/ 6 w 499"/>
                  <a:gd name="T19" fmla="*/ 190 h 372"/>
                  <a:gd name="T20" fmla="*/ 28 w 499"/>
                  <a:gd name="T21" fmla="*/ 162 h 372"/>
                  <a:gd name="T22" fmla="*/ 42 w 499"/>
                  <a:gd name="T23" fmla="*/ 142 h 372"/>
                  <a:gd name="T24" fmla="*/ 62 w 499"/>
                  <a:gd name="T25" fmla="*/ 126 h 372"/>
                  <a:gd name="T26" fmla="*/ 68 w 499"/>
                  <a:gd name="T27" fmla="*/ 86 h 372"/>
                  <a:gd name="T28" fmla="*/ 90 w 499"/>
                  <a:gd name="T29" fmla="*/ 72 h 372"/>
                  <a:gd name="T30" fmla="*/ 110 w 499"/>
                  <a:gd name="T31" fmla="*/ 52 h 372"/>
                  <a:gd name="T32" fmla="*/ 112 w 499"/>
                  <a:gd name="T33" fmla="*/ 24 h 372"/>
                  <a:gd name="T34" fmla="*/ 154 w 499"/>
                  <a:gd name="T35" fmla="*/ 32 h 372"/>
                  <a:gd name="T36" fmla="*/ 180 w 499"/>
                  <a:gd name="T37" fmla="*/ 30 h 372"/>
                  <a:gd name="T38" fmla="*/ 220 w 499"/>
                  <a:gd name="T39" fmla="*/ 36 h 372"/>
                  <a:gd name="T40" fmla="*/ 248 w 499"/>
                  <a:gd name="T41" fmla="*/ 20 h 372"/>
                  <a:gd name="T42" fmla="*/ 274 w 499"/>
                  <a:gd name="T43" fmla="*/ 16 h 372"/>
                  <a:gd name="T44" fmla="*/ 310 w 499"/>
                  <a:gd name="T45" fmla="*/ 6 h 372"/>
                  <a:gd name="T46" fmla="*/ 353 w 499"/>
                  <a:gd name="T47" fmla="*/ 30 h 372"/>
                  <a:gd name="T48" fmla="*/ 381 w 499"/>
                  <a:gd name="T49" fmla="*/ 64 h 372"/>
                  <a:gd name="T50" fmla="*/ 395 w 499"/>
                  <a:gd name="T51" fmla="*/ 92 h 372"/>
                  <a:gd name="T52" fmla="*/ 415 w 499"/>
                  <a:gd name="T53" fmla="*/ 120 h 372"/>
                  <a:gd name="T54" fmla="*/ 409 w 499"/>
                  <a:gd name="T55" fmla="*/ 140 h 372"/>
                  <a:gd name="T56" fmla="*/ 415 w 499"/>
                  <a:gd name="T57" fmla="*/ 160 h 372"/>
                  <a:gd name="T58" fmla="*/ 415 w 499"/>
                  <a:gd name="T59" fmla="*/ 196 h 372"/>
                  <a:gd name="T60" fmla="*/ 445 w 499"/>
                  <a:gd name="T61" fmla="*/ 208 h 372"/>
                  <a:gd name="T62" fmla="*/ 459 w 499"/>
                  <a:gd name="T63" fmla="*/ 200 h 372"/>
                  <a:gd name="T64" fmla="*/ 485 w 499"/>
                  <a:gd name="T65" fmla="*/ 208 h 372"/>
                  <a:gd name="T66" fmla="*/ 499 w 499"/>
                  <a:gd name="T67" fmla="*/ 236 h 372"/>
                  <a:gd name="T68" fmla="*/ 485 w 499"/>
                  <a:gd name="T69" fmla="*/ 258 h 372"/>
                  <a:gd name="T70" fmla="*/ 471 w 499"/>
                  <a:gd name="T71" fmla="*/ 250 h 372"/>
                  <a:gd name="T72" fmla="*/ 457 w 499"/>
                  <a:gd name="T73" fmla="*/ 258 h 372"/>
                  <a:gd name="T74" fmla="*/ 457 w 499"/>
                  <a:gd name="T75" fmla="*/ 278 h 372"/>
                  <a:gd name="T76" fmla="*/ 451 w 499"/>
                  <a:gd name="T77" fmla="*/ 292 h 372"/>
                  <a:gd name="T78" fmla="*/ 457 w 499"/>
                  <a:gd name="T79" fmla="*/ 320 h 372"/>
                  <a:gd name="T80" fmla="*/ 449 w 499"/>
                  <a:gd name="T81" fmla="*/ 342 h 372"/>
                  <a:gd name="T82" fmla="*/ 409 w 499"/>
                  <a:gd name="T83" fmla="*/ 326 h 372"/>
                  <a:gd name="T84" fmla="*/ 381 w 499"/>
                  <a:gd name="T85" fmla="*/ 324 h 372"/>
                  <a:gd name="T86" fmla="*/ 353 w 499"/>
                  <a:gd name="T87" fmla="*/ 316 h 372"/>
                  <a:gd name="T88" fmla="*/ 306 w 499"/>
                  <a:gd name="T89" fmla="*/ 342 h 372"/>
                  <a:gd name="T90" fmla="*/ 270 w 499"/>
                  <a:gd name="T91" fmla="*/ 370 h 372"/>
                  <a:gd name="T92" fmla="*/ 236 w 499"/>
                  <a:gd name="T93" fmla="*/ 366 h 372"/>
                  <a:gd name="T94" fmla="*/ 200 w 499"/>
                  <a:gd name="T95" fmla="*/ 366 h 372"/>
                  <a:gd name="T96" fmla="*/ 166 w 499"/>
                  <a:gd name="T97" fmla="*/ 360 h 372"/>
                  <a:gd name="T98" fmla="*/ 130 w 499"/>
                  <a:gd name="T99" fmla="*/ 356 h 372"/>
                  <a:gd name="T100" fmla="*/ 124 w 499"/>
                  <a:gd name="T101" fmla="*/ 334 h 372"/>
                  <a:gd name="T102" fmla="*/ 124 w 499"/>
                  <a:gd name="T103" fmla="*/ 33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99" h="372">
                    <a:moveTo>
                      <a:pt x="124" y="330"/>
                    </a:moveTo>
                    <a:lnTo>
                      <a:pt x="116" y="316"/>
                    </a:lnTo>
                    <a:lnTo>
                      <a:pt x="110" y="312"/>
                    </a:lnTo>
                    <a:lnTo>
                      <a:pt x="110" y="306"/>
                    </a:lnTo>
                    <a:lnTo>
                      <a:pt x="116" y="300"/>
                    </a:lnTo>
                    <a:lnTo>
                      <a:pt x="110" y="292"/>
                    </a:lnTo>
                    <a:lnTo>
                      <a:pt x="96" y="300"/>
                    </a:lnTo>
                    <a:lnTo>
                      <a:pt x="90" y="306"/>
                    </a:lnTo>
                    <a:lnTo>
                      <a:pt x="76" y="300"/>
                    </a:lnTo>
                    <a:lnTo>
                      <a:pt x="68" y="292"/>
                    </a:lnTo>
                    <a:lnTo>
                      <a:pt x="62" y="292"/>
                    </a:lnTo>
                    <a:lnTo>
                      <a:pt x="48" y="292"/>
                    </a:lnTo>
                    <a:lnTo>
                      <a:pt x="40" y="292"/>
                    </a:lnTo>
                    <a:lnTo>
                      <a:pt x="40" y="286"/>
                    </a:lnTo>
                    <a:lnTo>
                      <a:pt x="40" y="278"/>
                    </a:lnTo>
                    <a:lnTo>
                      <a:pt x="48" y="272"/>
                    </a:lnTo>
                    <a:lnTo>
                      <a:pt x="48" y="264"/>
                    </a:lnTo>
                    <a:lnTo>
                      <a:pt x="40" y="258"/>
                    </a:lnTo>
                    <a:lnTo>
                      <a:pt x="34" y="250"/>
                    </a:lnTo>
                    <a:lnTo>
                      <a:pt x="26" y="250"/>
                    </a:lnTo>
                    <a:lnTo>
                      <a:pt x="20" y="250"/>
                    </a:lnTo>
                    <a:lnTo>
                      <a:pt x="20" y="236"/>
                    </a:lnTo>
                    <a:lnTo>
                      <a:pt x="12" y="230"/>
                    </a:lnTo>
                    <a:lnTo>
                      <a:pt x="12" y="224"/>
                    </a:lnTo>
                    <a:lnTo>
                      <a:pt x="12" y="210"/>
                    </a:lnTo>
                    <a:lnTo>
                      <a:pt x="12" y="202"/>
                    </a:lnTo>
                    <a:lnTo>
                      <a:pt x="6" y="202"/>
                    </a:lnTo>
                    <a:lnTo>
                      <a:pt x="0" y="202"/>
                    </a:lnTo>
                    <a:lnTo>
                      <a:pt x="6" y="188"/>
                    </a:lnTo>
                    <a:lnTo>
                      <a:pt x="6" y="190"/>
                    </a:lnTo>
                    <a:lnTo>
                      <a:pt x="14" y="176"/>
                    </a:lnTo>
                    <a:lnTo>
                      <a:pt x="20" y="168"/>
                    </a:lnTo>
                    <a:lnTo>
                      <a:pt x="28" y="162"/>
                    </a:lnTo>
                    <a:lnTo>
                      <a:pt x="34" y="154"/>
                    </a:lnTo>
                    <a:lnTo>
                      <a:pt x="42" y="148"/>
                    </a:lnTo>
                    <a:lnTo>
                      <a:pt x="42" y="142"/>
                    </a:lnTo>
                    <a:lnTo>
                      <a:pt x="48" y="142"/>
                    </a:lnTo>
                    <a:lnTo>
                      <a:pt x="56" y="134"/>
                    </a:lnTo>
                    <a:lnTo>
                      <a:pt x="62" y="126"/>
                    </a:lnTo>
                    <a:lnTo>
                      <a:pt x="62" y="106"/>
                    </a:lnTo>
                    <a:lnTo>
                      <a:pt x="68" y="100"/>
                    </a:lnTo>
                    <a:lnTo>
                      <a:pt x="68" y="86"/>
                    </a:lnTo>
                    <a:lnTo>
                      <a:pt x="76" y="78"/>
                    </a:lnTo>
                    <a:lnTo>
                      <a:pt x="82" y="72"/>
                    </a:lnTo>
                    <a:lnTo>
                      <a:pt x="90" y="72"/>
                    </a:lnTo>
                    <a:lnTo>
                      <a:pt x="96" y="64"/>
                    </a:lnTo>
                    <a:lnTo>
                      <a:pt x="104" y="58"/>
                    </a:lnTo>
                    <a:lnTo>
                      <a:pt x="110" y="52"/>
                    </a:lnTo>
                    <a:lnTo>
                      <a:pt x="110" y="44"/>
                    </a:lnTo>
                    <a:lnTo>
                      <a:pt x="98" y="28"/>
                    </a:lnTo>
                    <a:lnTo>
                      <a:pt x="112" y="24"/>
                    </a:lnTo>
                    <a:lnTo>
                      <a:pt x="130" y="24"/>
                    </a:lnTo>
                    <a:lnTo>
                      <a:pt x="144" y="28"/>
                    </a:lnTo>
                    <a:lnTo>
                      <a:pt x="154" y="32"/>
                    </a:lnTo>
                    <a:lnTo>
                      <a:pt x="162" y="36"/>
                    </a:lnTo>
                    <a:lnTo>
                      <a:pt x="174" y="40"/>
                    </a:lnTo>
                    <a:lnTo>
                      <a:pt x="180" y="30"/>
                    </a:lnTo>
                    <a:lnTo>
                      <a:pt x="192" y="28"/>
                    </a:lnTo>
                    <a:lnTo>
                      <a:pt x="200" y="28"/>
                    </a:lnTo>
                    <a:lnTo>
                      <a:pt x="220" y="36"/>
                    </a:lnTo>
                    <a:lnTo>
                      <a:pt x="228" y="32"/>
                    </a:lnTo>
                    <a:lnTo>
                      <a:pt x="242" y="20"/>
                    </a:lnTo>
                    <a:lnTo>
                      <a:pt x="248" y="20"/>
                    </a:lnTo>
                    <a:lnTo>
                      <a:pt x="260" y="20"/>
                    </a:lnTo>
                    <a:lnTo>
                      <a:pt x="272" y="20"/>
                    </a:lnTo>
                    <a:lnTo>
                      <a:pt x="274" y="16"/>
                    </a:lnTo>
                    <a:lnTo>
                      <a:pt x="278" y="8"/>
                    </a:lnTo>
                    <a:lnTo>
                      <a:pt x="298" y="0"/>
                    </a:lnTo>
                    <a:lnTo>
                      <a:pt x="310" y="6"/>
                    </a:lnTo>
                    <a:lnTo>
                      <a:pt x="324" y="10"/>
                    </a:lnTo>
                    <a:lnTo>
                      <a:pt x="333" y="16"/>
                    </a:lnTo>
                    <a:lnTo>
                      <a:pt x="353" y="30"/>
                    </a:lnTo>
                    <a:lnTo>
                      <a:pt x="351" y="54"/>
                    </a:lnTo>
                    <a:lnTo>
                      <a:pt x="367" y="58"/>
                    </a:lnTo>
                    <a:lnTo>
                      <a:pt x="381" y="64"/>
                    </a:lnTo>
                    <a:lnTo>
                      <a:pt x="381" y="78"/>
                    </a:lnTo>
                    <a:lnTo>
                      <a:pt x="387" y="86"/>
                    </a:lnTo>
                    <a:lnTo>
                      <a:pt x="395" y="92"/>
                    </a:lnTo>
                    <a:lnTo>
                      <a:pt x="409" y="100"/>
                    </a:lnTo>
                    <a:lnTo>
                      <a:pt x="409" y="106"/>
                    </a:lnTo>
                    <a:lnTo>
                      <a:pt x="415" y="120"/>
                    </a:lnTo>
                    <a:lnTo>
                      <a:pt x="415" y="126"/>
                    </a:lnTo>
                    <a:lnTo>
                      <a:pt x="415" y="140"/>
                    </a:lnTo>
                    <a:lnTo>
                      <a:pt x="409" y="140"/>
                    </a:lnTo>
                    <a:lnTo>
                      <a:pt x="409" y="146"/>
                    </a:lnTo>
                    <a:lnTo>
                      <a:pt x="409" y="154"/>
                    </a:lnTo>
                    <a:lnTo>
                      <a:pt x="415" y="160"/>
                    </a:lnTo>
                    <a:lnTo>
                      <a:pt x="415" y="168"/>
                    </a:lnTo>
                    <a:lnTo>
                      <a:pt x="415" y="182"/>
                    </a:lnTo>
                    <a:lnTo>
                      <a:pt x="415" y="196"/>
                    </a:lnTo>
                    <a:lnTo>
                      <a:pt x="423" y="206"/>
                    </a:lnTo>
                    <a:lnTo>
                      <a:pt x="437" y="202"/>
                    </a:lnTo>
                    <a:lnTo>
                      <a:pt x="445" y="208"/>
                    </a:lnTo>
                    <a:lnTo>
                      <a:pt x="449" y="210"/>
                    </a:lnTo>
                    <a:lnTo>
                      <a:pt x="453" y="208"/>
                    </a:lnTo>
                    <a:lnTo>
                      <a:pt x="459" y="200"/>
                    </a:lnTo>
                    <a:lnTo>
                      <a:pt x="475" y="202"/>
                    </a:lnTo>
                    <a:lnTo>
                      <a:pt x="479" y="206"/>
                    </a:lnTo>
                    <a:lnTo>
                      <a:pt x="485" y="208"/>
                    </a:lnTo>
                    <a:lnTo>
                      <a:pt x="493" y="220"/>
                    </a:lnTo>
                    <a:lnTo>
                      <a:pt x="499" y="210"/>
                    </a:lnTo>
                    <a:lnTo>
                      <a:pt x="499" y="236"/>
                    </a:lnTo>
                    <a:lnTo>
                      <a:pt x="491" y="250"/>
                    </a:lnTo>
                    <a:lnTo>
                      <a:pt x="485" y="250"/>
                    </a:lnTo>
                    <a:lnTo>
                      <a:pt x="485" y="258"/>
                    </a:lnTo>
                    <a:lnTo>
                      <a:pt x="477" y="264"/>
                    </a:lnTo>
                    <a:lnTo>
                      <a:pt x="471" y="264"/>
                    </a:lnTo>
                    <a:lnTo>
                      <a:pt x="471" y="250"/>
                    </a:lnTo>
                    <a:lnTo>
                      <a:pt x="463" y="244"/>
                    </a:lnTo>
                    <a:lnTo>
                      <a:pt x="457" y="250"/>
                    </a:lnTo>
                    <a:lnTo>
                      <a:pt x="457" y="258"/>
                    </a:lnTo>
                    <a:lnTo>
                      <a:pt x="451" y="272"/>
                    </a:lnTo>
                    <a:lnTo>
                      <a:pt x="451" y="278"/>
                    </a:lnTo>
                    <a:lnTo>
                      <a:pt x="457" y="278"/>
                    </a:lnTo>
                    <a:lnTo>
                      <a:pt x="463" y="278"/>
                    </a:lnTo>
                    <a:lnTo>
                      <a:pt x="457" y="286"/>
                    </a:lnTo>
                    <a:lnTo>
                      <a:pt x="451" y="292"/>
                    </a:lnTo>
                    <a:lnTo>
                      <a:pt x="451" y="300"/>
                    </a:lnTo>
                    <a:lnTo>
                      <a:pt x="451" y="312"/>
                    </a:lnTo>
                    <a:lnTo>
                      <a:pt x="457" y="320"/>
                    </a:lnTo>
                    <a:lnTo>
                      <a:pt x="451" y="334"/>
                    </a:lnTo>
                    <a:lnTo>
                      <a:pt x="451" y="340"/>
                    </a:lnTo>
                    <a:lnTo>
                      <a:pt x="449" y="342"/>
                    </a:lnTo>
                    <a:lnTo>
                      <a:pt x="423" y="328"/>
                    </a:lnTo>
                    <a:lnTo>
                      <a:pt x="415" y="328"/>
                    </a:lnTo>
                    <a:lnTo>
                      <a:pt x="409" y="326"/>
                    </a:lnTo>
                    <a:lnTo>
                      <a:pt x="403" y="326"/>
                    </a:lnTo>
                    <a:lnTo>
                      <a:pt x="387" y="328"/>
                    </a:lnTo>
                    <a:lnTo>
                      <a:pt x="381" y="324"/>
                    </a:lnTo>
                    <a:lnTo>
                      <a:pt x="367" y="324"/>
                    </a:lnTo>
                    <a:lnTo>
                      <a:pt x="361" y="324"/>
                    </a:lnTo>
                    <a:lnTo>
                      <a:pt x="353" y="316"/>
                    </a:lnTo>
                    <a:lnTo>
                      <a:pt x="324" y="324"/>
                    </a:lnTo>
                    <a:lnTo>
                      <a:pt x="318" y="326"/>
                    </a:lnTo>
                    <a:lnTo>
                      <a:pt x="306" y="342"/>
                    </a:lnTo>
                    <a:lnTo>
                      <a:pt x="290" y="358"/>
                    </a:lnTo>
                    <a:lnTo>
                      <a:pt x="274" y="362"/>
                    </a:lnTo>
                    <a:lnTo>
                      <a:pt x="270" y="370"/>
                    </a:lnTo>
                    <a:lnTo>
                      <a:pt x="254" y="372"/>
                    </a:lnTo>
                    <a:lnTo>
                      <a:pt x="242" y="366"/>
                    </a:lnTo>
                    <a:lnTo>
                      <a:pt x="236" y="366"/>
                    </a:lnTo>
                    <a:lnTo>
                      <a:pt x="220" y="366"/>
                    </a:lnTo>
                    <a:lnTo>
                      <a:pt x="212" y="366"/>
                    </a:lnTo>
                    <a:lnTo>
                      <a:pt x="200" y="366"/>
                    </a:lnTo>
                    <a:lnTo>
                      <a:pt x="186" y="366"/>
                    </a:lnTo>
                    <a:lnTo>
                      <a:pt x="176" y="360"/>
                    </a:lnTo>
                    <a:lnTo>
                      <a:pt x="166" y="360"/>
                    </a:lnTo>
                    <a:lnTo>
                      <a:pt x="150" y="360"/>
                    </a:lnTo>
                    <a:lnTo>
                      <a:pt x="138" y="360"/>
                    </a:lnTo>
                    <a:lnTo>
                      <a:pt x="130" y="356"/>
                    </a:lnTo>
                    <a:lnTo>
                      <a:pt x="128" y="346"/>
                    </a:lnTo>
                    <a:lnTo>
                      <a:pt x="126" y="336"/>
                    </a:lnTo>
                    <a:lnTo>
                      <a:pt x="124" y="334"/>
                    </a:lnTo>
                    <a:lnTo>
                      <a:pt x="124" y="330"/>
                    </a:lnTo>
                    <a:lnTo>
                      <a:pt x="124" y="330"/>
                    </a:lnTo>
                    <a:lnTo>
                      <a:pt x="124" y="33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2" name="Freeform 66"/>
              <p:cNvSpPr>
                <a:spLocks/>
              </p:cNvSpPr>
              <p:nvPr>
                <p:custDataLst>
                  <p:tags r:id="rId151"/>
                </p:custDataLst>
              </p:nvPr>
            </p:nvSpPr>
            <p:spPr bwMode="gray">
              <a:xfrm>
                <a:off x="5312987" y="4235489"/>
                <a:ext cx="604972" cy="641492"/>
              </a:xfrm>
              <a:custGeom>
                <a:avLst/>
                <a:gdLst>
                  <a:gd name="T0" fmla="*/ 214 w 381"/>
                  <a:gd name="T1" fmla="*/ 40 h 404"/>
                  <a:gd name="T2" fmla="*/ 248 w 381"/>
                  <a:gd name="T3" fmla="*/ 24 h 404"/>
                  <a:gd name="T4" fmla="*/ 278 w 381"/>
                  <a:gd name="T5" fmla="*/ 32 h 404"/>
                  <a:gd name="T6" fmla="*/ 318 w 381"/>
                  <a:gd name="T7" fmla="*/ 32 h 404"/>
                  <a:gd name="T8" fmla="*/ 348 w 381"/>
                  <a:gd name="T9" fmla="*/ 12 h 404"/>
                  <a:gd name="T10" fmla="*/ 381 w 381"/>
                  <a:gd name="T11" fmla="*/ 12 h 404"/>
                  <a:gd name="T12" fmla="*/ 369 w 381"/>
                  <a:gd name="T13" fmla="*/ 42 h 404"/>
                  <a:gd name="T14" fmla="*/ 355 w 381"/>
                  <a:gd name="T15" fmla="*/ 82 h 404"/>
                  <a:gd name="T16" fmla="*/ 292 w 381"/>
                  <a:gd name="T17" fmla="*/ 68 h 404"/>
                  <a:gd name="T18" fmla="*/ 264 w 381"/>
                  <a:gd name="T19" fmla="*/ 74 h 404"/>
                  <a:gd name="T20" fmla="*/ 242 w 381"/>
                  <a:gd name="T21" fmla="*/ 88 h 404"/>
                  <a:gd name="T22" fmla="*/ 228 w 381"/>
                  <a:gd name="T23" fmla="*/ 108 h 404"/>
                  <a:gd name="T24" fmla="*/ 242 w 381"/>
                  <a:gd name="T25" fmla="*/ 136 h 404"/>
                  <a:gd name="T26" fmla="*/ 222 w 381"/>
                  <a:gd name="T27" fmla="*/ 130 h 404"/>
                  <a:gd name="T28" fmla="*/ 208 w 381"/>
                  <a:gd name="T29" fmla="*/ 136 h 404"/>
                  <a:gd name="T30" fmla="*/ 202 w 381"/>
                  <a:gd name="T31" fmla="*/ 144 h 404"/>
                  <a:gd name="T32" fmla="*/ 180 w 381"/>
                  <a:gd name="T33" fmla="*/ 130 h 404"/>
                  <a:gd name="T34" fmla="*/ 146 w 381"/>
                  <a:gd name="T35" fmla="*/ 102 h 404"/>
                  <a:gd name="T36" fmla="*/ 146 w 381"/>
                  <a:gd name="T37" fmla="*/ 144 h 404"/>
                  <a:gd name="T38" fmla="*/ 202 w 381"/>
                  <a:gd name="T39" fmla="*/ 192 h 404"/>
                  <a:gd name="T40" fmla="*/ 180 w 381"/>
                  <a:gd name="T41" fmla="*/ 184 h 404"/>
                  <a:gd name="T42" fmla="*/ 166 w 381"/>
                  <a:gd name="T43" fmla="*/ 204 h 404"/>
                  <a:gd name="T44" fmla="*/ 174 w 381"/>
                  <a:gd name="T45" fmla="*/ 232 h 404"/>
                  <a:gd name="T46" fmla="*/ 228 w 381"/>
                  <a:gd name="T47" fmla="*/ 266 h 404"/>
                  <a:gd name="T48" fmla="*/ 236 w 381"/>
                  <a:gd name="T49" fmla="*/ 308 h 404"/>
                  <a:gd name="T50" fmla="*/ 188 w 381"/>
                  <a:gd name="T51" fmla="*/ 308 h 404"/>
                  <a:gd name="T52" fmla="*/ 214 w 381"/>
                  <a:gd name="T53" fmla="*/ 328 h 404"/>
                  <a:gd name="T54" fmla="*/ 174 w 381"/>
                  <a:gd name="T55" fmla="*/ 328 h 404"/>
                  <a:gd name="T56" fmla="*/ 174 w 381"/>
                  <a:gd name="T57" fmla="*/ 356 h 404"/>
                  <a:gd name="T58" fmla="*/ 202 w 381"/>
                  <a:gd name="T59" fmla="*/ 390 h 404"/>
                  <a:gd name="T60" fmla="*/ 158 w 381"/>
                  <a:gd name="T61" fmla="*/ 384 h 404"/>
                  <a:gd name="T62" fmla="*/ 152 w 381"/>
                  <a:gd name="T63" fmla="*/ 404 h 404"/>
                  <a:gd name="T64" fmla="*/ 124 w 381"/>
                  <a:gd name="T65" fmla="*/ 378 h 404"/>
                  <a:gd name="T66" fmla="*/ 112 w 381"/>
                  <a:gd name="T67" fmla="*/ 370 h 404"/>
                  <a:gd name="T68" fmla="*/ 90 w 381"/>
                  <a:gd name="T69" fmla="*/ 370 h 404"/>
                  <a:gd name="T70" fmla="*/ 90 w 381"/>
                  <a:gd name="T71" fmla="*/ 328 h 404"/>
                  <a:gd name="T72" fmla="*/ 62 w 381"/>
                  <a:gd name="T73" fmla="*/ 294 h 404"/>
                  <a:gd name="T74" fmla="*/ 90 w 381"/>
                  <a:gd name="T75" fmla="*/ 280 h 404"/>
                  <a:gd name="T76" fmla="*/ 124 w 381"/>
                  <a:gd name="T77" fmla="*/ 274 h 404"/>
                  <a:gd name="T78" fmla="*/ 152 w 381"/>
                  <a:gd name="T79" fmla="*/ 288 h 404"/>
                  <a:gd name="T80" fmla="*/ 166 w 381"/>
                  <a:gd name="T81" fmla="*/ 274 h 404"/>
                  <a:gd name="T82" fmla="*/ 132 w 381"/>
                  <a:gd name="T83" fmla="*/ 260 h 404"/>
                  <a:gd name="T84" fmla="*/ 82 w 381"/>
                  <a:gd name="T85" fmla="*/ 260 h 404"/>
                  <a:gd name="T86" fmla="*/ 48 w 381"/>
                  <a:gd name="T87" fmla="*/ 254 h 404"/>
                  <a:gd name="T88" fmla="*/ 42 w 381"/>
                  <a:gd name="T89" fmla="*/ 226 h 404"/>
                  <a:gd name="T90" fmla="*/ 56 w 381"/>
                  <a:gd name="T91" fmla="*/ 212 h 404"/>
                  <a:gd name="T92" fmla="*/ 28 w 381"/>
                  <a:gd name="T93" fmla="*/ 198 h 404"/>
                  <a:gd name="T94" fmla="*/ 6 w 381"/>
                  <a:gd name="T95" fmla="*/ 170 h 404"/>
                  <a:gd name="T96" fmla="*/ 34 w 381"/>
                  <a:gd name="T97" fmla="*/ 144 h 404"/>
                  <a:gd name="T98" fmla="*/ 56 w 381"/>
                  <a:gd name="T99" fmla="*/ 108 h 404"/>
                  <a:gd name="T100" fmla="*/ 48 w 381"/>
                  <a:gd name="T101" fmla="*/ 74 h 404"/>
                  <a:gd name="T102" fmla="*/ 82 w 381"/>
                  <a:gd name="T103" fmla="*/ 74 h 404"/>
                  <a:gd name="T104" fmla="*/ 132 w 381"/>
                  <a:gd name="T105" fmla="*/ 60 h 404"/>
                  <a:gd name="T106" fmla="*/ 174 w 381"/>
                  <a:gd name="T107" fmla="*/ 4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1" h="404">
                    <a:moveTo>
                      <a:pt x="158" y="40"/>
                    </a:moveTo>
                    <a:lnTo>
                      <a:pt x="174" y="40"/>
                    </a:lnTo>
                    <a:lnTo>
                      <a:pt x="188" y="40"/>
                    </a:lnTo>
                    <a:lnTo>
                      <a:pt x="202" y="40"/>
                    </a:lnTo>
                    <a:lnTo>
                      <a:pt x="214" y="40"/>
                    </a:lnTo>
                    <a:lnTo>
                      <a:pt x="222" y="46"/>
                    </a:lnTo>
                    <a:lnTo>
                      <a:pt x="232" y="40"/>
                    </a:lnTo>
                    <a:lnTo>
                      <a:pt x="228" y="32"/>
                    </a:lnTo>
                    <a:lnTo>
                      <a:pt x="234" y="30"/>
                    </a:lnTo>
                    <a:lnTo>
                      <a:pt x="248" y="24"/>
                    </a:lnTo>
                    <a:lnTo>
                      <a:pt x="256" y="30"/>
                    </a:lnTo>
                    <a:lnTo>
                      <a:pt x="262" y="24"/>
                    </a:lnTo>
                    <a:lnTo>
                      <a:pt x="264" y="24"/>
                    </a:lnTo>
                    <a:lnTo>
                      <a:pt x="270" y="32"/>
                    </a:lnTo>
                    <a:lnTo>
                      <a:pt x="278" y="32"/>
                    </a:lnTo>
                    <a:lnTo>
                      <a:pt x="278" y="40"/>
                    </a:lnTo>
                    <a:lnTo>
                      <a:pt x="292" y="32"/>
                    </a:lnTo>
                    <a:lnTo>
                      <a:pt x="298" y="32"/>
                    </a:lnTo>
                    <a:lnTo>
                      <a:pt x="304" y="32"/>
                    </a:lnTo>
                    <a:lnTo>
                      <a:pt x="318" y="32"/>
                    </a:lnTo>
                    <a:lnTo>
                      <a:pt x="326" y="26"/>
                    </a:lnTo>
                    <a:lnTo>
                      <a:pt x="340" y="26"/>
                    </a:lnTo>
                    <a:lnTo>
                      <a:pt x="355" y="26"/>
                    </a:lnTo>
                    <a:lnTo>
                      <a:pt x="352" y="20"/>
                    </a:lnTo>
                    <a:lnTo>
                      <a:pt x="348" y="12"/>
                    </a:lnTo>
                    <a:lnTo>
                      <a:pt x="348" y="6"/>
                    </a:lnTo>
                    <a:lnTo>
                      <a:pt x="361" y="0"/>
                    </a:lnTo>
                    <a:lnTo>
                      <a:pt x="371" y="6"/>
                    </a:lnTo>
                    <a:lnTo>
                      <a:pt x="375" y="12"/>
                    </a:lnTo>
                    <a:lnTo>
                      <a:pt x="381" y="12"/>
                    </a:lnTo>
                    <a:lnTo>
                      <a:pt x="381" y="20"/>
                    </a:lnTo>
                    <a:lnTo>
                      <a:pt x="381" y="26"/>
                    </a:lnTo>
                    <a:lnTo>
                      <a:pt x="375" y="32"/>
                    </a:lnTo>
                    <a:lnTo>
                      <a:pt x="379" y="40"/>
                    </a:lnTo>
                    <a:lnTo>
                      <a:pt x="369" y="42"/>
                    </a:lnTo>
                    <a:lnTo>
                      <a:pt x="371" y="46"/>
                    </a:lnTo>
                    <a:lnTo>
                      <a:pt x="367" y="60"/>
                    </a:lnTo>
                    <a:lnTo>
                      <a:pt x="361" y="68"/>
                    </a:lnTo>
                    <a:lnTo>
                      <a:pt x="361" y="74"/>
                    </a:lnTo>
                    <a:lnTo>
                      <a:pt x="355" y="82"/>
                    </a:lnTo>
                    <a:lnTo>
                      <a:pt x="346" y="82"/>
                    </a:lnTo>
                    <a:lnTo>
                      <a:pt x="340" y="74"/>
                    </a:lnTo>
                    <a:lnTo>
                      <a:pt x="318" y="74"/>
                    </a:lnTo>
                    <a:lnTo>
                      <a:pt x="304" y="68"/>
                    </a:lnTo>
                    <a:lnTo>
                      <a:pt x="292" y="68"/>
                    </a:lnTo>
                    <a:lnTo>
                      <a:pt x="284" y="68"/>
                    </a:lnTo>
                    <a:lnTo>
                      <a:pt x="292" y="74"/>
                    </a:lnTo>
                    <a:lnTo>
                      <a:pt x="284" y="82"/>
                    </a:lnTo>
                    <a:lnTo>
                      <a:pt x="270" y="82"/>
                    </a:lnTo>
                    <a:lnTo>
                      <a:pt x="264" y="74"/>
                    </a:lnTo>
                    <a:lnTo>
                      <a:pt x="256" y="68"/>
                    </a:lnTo>
                    <a:lnTo>
                      <a:pt x="250" y="74"/>
                    </a:lnTo>
                    <a:lnTo>
                      <a:pt x="250" y="82"/>
                    </a:lnTo>
                    <a:lnTo>
                      <a:pt x="250" y="88"/>
                    </a:lnTo>
                    <a:lnTo>
                      <a:pt x="242" y="88"/>
                    </a:lnTo>
                    <a:lnTo>
                      <a:pt x="222" y="88"/>
                    </a:lnTo>
                    <a:lnTo>
                      <a:pt x="214" y="88"/>
                    </a:lnTo>
                    <a:lnTo>
                      <a:pt x="214" y="94"/>
                    </a:lnTo>
                    <a:lnTo>
                      <a:pt x="222" y="102"/>
                    </a:lnTo>
                    <a:lnTo>
                      <a:pt x="228" y="108"/>
                    </a:lnTo>
                    <a:lnTo>
                      <a:pt x="242" y="116"/>
                    </a:lnTo>
                    <a:lnTo>
                      <a:pt x="256" y="122"/>
                    </a:lnTo>
                    <a:lnTo>
                      <a:pt x="264" y="122"/>
                    </a:lnTo>
                    <a:lnTo>
                      <a:pt x="256" y="130"/>
                    </a:lnTo>
                    <a:lnTo>
                      <a:pt x="242" y="136"/>
                    </a:lnTo>
                    <a:lnTo>
                      <a:pt x="228" y="136"/>
                    </a:lnTo>
                    <a:lnTo>
                      <a:pt x="228" y="122"/>
                    </a:lnTo>
                    <a:lnTo>
                      <a:pt x="222" y="122"/>
                    </a:lnTo>
                    <a:lnTo>
                      <a:pt x="214" y="122"/>
                    </a:lnTo>
                    <a:lnTo>
                      <a:pt x="222" y="130"/>
                    </a:lnTo>
                    <a:lnTo>
                      <a:pt x="228" y="144"/>
                    </a:lnTo>
                    <a:lnTo>
                      <a:pt x="236" y="144"/>
                    </a:lnTo>
                    <a:lnTo>
                      <a:pt x="236" y="150"/>
                    </a:lnTo>
                    <a:lnTo>
                      <a:pt x="214" y="144"/>
                    </a:lnTo>
                    <a:lnTo>
                      <a:pt x="208" y="136"/>
                    </a:lnTo>
                    <a:lnTo>
                      <a:pt x="202" y="130"/>
                    </a:lnTo>
                    <a:lnTo>
                      <a:pt x="194" y="122"/>
                    </a:lnTo>
                    <a:lnTo>
                      <a:pt x="194" y="130"/>
                    </a:lnTo>
                    <a:lnTo>
                      <a:pt x="194" y="136"/>
                    </a:lnTo>
                    <a:lnTo>
                      <a:pt x="202" y="144"/>
                    </a:lnTo>
                    <a:lnTo>
                      <a:pt x="214" y="150"/>
                    </a:lnTo>
                    <a:lnTo>
                      <a:pt x="214" y="156"/>
                    </a:lnTo>
                    <a:lnTo>
                      <a:pt x="202" y="150"/>
                    </a:lnTo>
                    <a:lnTo>
                      <a:pt x="188" y="144"/>
                    </a:lnTo>
                    <a:lnTo>
                      <a:pt x="180" y="130"/>
                    </a:lnTo>
                    <a:lnTo>
                      <a:pt x="174" y="116"/>
                    </a:lnTo>
                    <a:lnTo>
                      <a:pt x="166" y="108"/>
                    </a:lnTo>
                    <a:lnTo>
                      <a:pt x="166" y="94"/>
                    </a:lnTo>
                    <a:lnTo>
                      <a:pt x="158" y="94"/>
                    </a:lnTo>
                    <a:lnTo>
                      <a:pt x="146" y="102"/>
                    </a:lnTo>
                    <a:lnTo>
                      <a:pt x="138" y="108"/>
                    </a:lnTo>
                    <a:lnTo>
                      <a:pt x="146" y="116"/>
                    </a:lnTo>
                    <a:lnTo>
                      <a:pt x="146" y="122"/>
                    </a:lnTo>
                    <a:lnTo>
                      <a:pt x="146" y="130"/>
                    </a:lnTo>
                    <a:lnTo>
                      <a:pt x="146" y="144"/>
                    </a:lnTo>
                    <a:lnTo>
                      <a:pt x="152" y="150"/>
                    </a:lnTo>
                    <a:lnTo>
                      <a:pt x="166" y="156"/>
                    </a:lnTo>
                    <a:lnTo>
                      <a:pt x="174" y="170"/>
                    </a:lnTo>
                    <a:lnTo>
                      <a:pt x="194" y="192"/>
                    </a:lnTo>
                    <a:lnTo>
                      <a:pt x="202" y="192"/>
                    </a:lnTo>
                    <a:lnTo>
                      <a:pt x="194" y="204"/>
                    </a:lnTo>
                    <a:lnTo>
                      <a:pt x="188" y="204"/>
                    </a:lnTo>
                    <a:lnTo>
                      <a:pt x="188" y="198"/>
                    </a:lnTo>
                    <a:lnTo>
                      <a:pt x="188" y="192"/>
                    </a:lnTo>
                    <a:lnTo>
                      <a:pt x="180" y="184"/>
                    </a:lnTo>
                    <a:lnTo>
                      <a:pt x="166" y="184"/>
                    </a:lnTo>
                    <a:lnTo>
                      <a:pt x="158" y="184"/>
                    </a:lnTo>
                    <a:lnTo>
                      <a:pt x="152" y="192"/>
                    </a:lnTo>
                    <a:lnTo>
                      <a:pt x="158" y="204"/>
                    </a:lnTo>
                    <a:lnTo>
                      <a:pt x="166" y="204"/>
                    </a:lnTo>
                    <a:lnTo>
                      <a:pt x="166" y="212"/>
                    </a:lnTo>
                    <a:lnTo>
                      <a:pt x="158" y="220"/>
                    </a:lnTo>
                    <a:lnTo>
                      <a:pt x="152" y="226"/>
                    </a:lnTo>
                    <a:lnTo>
                      <a:pt x="158" y="232"/>
                    </a:lnTo>
                    <a:lnTo>
                      <a:pt x="174" y="232"/>
                    </a:lnTo>
                    <a:lnTo>
                      <a:pt x="188" y="240"/>
                    </a:lnTo>
                    <a:lnTo>
                      <a:pt x="202" y="246"/>
                    </a:lnTo>
                    <a:lnTo>
                      <a:pt x="208" y="246"/>
                    </a:lnTo>
                    <a:lnTo>
                      <a:pt x="214" y="260"/>
                    </a:lnTo>
                    <a:lnTo>
                      <a:pt x="228" y="266"/>
                    </a:lnTo>
                    <a:lnTo>
                      <a:pt x="236" y="266"/>
                    </a:lnTo>
                    <a:lnTo>
                      <a:pt x="236" y="280"/>
                    </a:lnTo>
                    <a:lnTo>
                      <a:pt x="236" y="294"/>
                    </a:lnTo>
                    <a:lnTo>
                      <a:pt x="236" y="302"/>
                    </a:lnTo>
                    <a:lnTo>
                      <a:pt x="236" y="308"/>
                    </a:lnTo>
                    <a:lnTo>
                      <a:pt x="222" y="302"/>
                    </a:lnTo>
                    <a:lnTo>
                      <a:pt x="214" y="288"/>
                    </a:lnTo>
                    <a:lnTo>
                      <a:pt x="208" y="288"/>
                    </a:lnTo>
                    <a:lnTo>
                      <a:pt x="194" y="302"/>
                    </a:lnTo>
                    <a:lnTo>
                      <a:pt x="188" y="308"/>
                    </a:lnTo>
                    <a:lnTo>
                      <a:pt x="188" y="314"/>
                    </a:lnTo>
                    <a:lnTo>
                      <a:pt x="194" y="322"/>
                    </a:lnTo>
                    <a:lnTo>
                      <a:pt x="202" y="322"/>
                    </a:lnTo>
                    <a:lnTo>
                      <a:pt x="214" y="314"/>
                    </a:lnTo>
                    <a:lnTo>
                      <a:pt x="214" y="328"/>
                    </a:lnTo>
                    <a:lnTo>
                      <a:pt x="202" y="336"/>
                    </a:lnTo>
                    <a:lnTo>
                      <a:pt x="188" y="342"/>
                    </a:lnTo>
                    <a:lnTo>
                      <a:pt x="180" y="342"/>
                    </a:lnTo>
                    <a:lnTo>
                      <a:pt x="174" y="336"/>
                    </a:lnTo>
                    <a:lnTo>
                      <a:pt x="174" y="328"/>
                    </a:lnTo>
                    <a:lnTo>
                      <a:pt x="166" y="322"/>
                    </a:lnTo>
                    <a:lnTo>
                      <a:pt x="158" y="322"/>
                    </a:lnTo>
                    <a:lnTo>
                      <a:pt x="158" y="336"/>
                    </a:lnTo>
                    <a:lnTo>
                      <a:pt x="166" y="342"/>
                    </a:lnTo>
                    <a:lnTo>
                      <a:pt x="174" y="356"/>
                    </a:lnTo>
                    <a:lnTo>
                      <a:pt x="180" y="356"/>
                    </a:lnTo>
                    <a:lnTo>
                      <a:pt x="180" y="370"/>
                    </a:lnTo>
                    <a:lnTo>
                      <a:pt x="188" y="378"/>
                    </a:lnTo>
                    <a:lnTo>
                      <a:pt x="188" y="384"/>
                    </a:lnTo>
                    <a:lnTo>
                      <a:pt x="202" y="390"/>
                    </a:lnTo>
                    <a:lnTo>
                      <a:pt x="202" y="398"/>
                    </a:lnTo>
                    <a:lnTo>
                      <a:pt x="174" y="398"/>
                    </a:lnTo>
                    <a:lnTo>
                      <a:pt x="166" y="398"/>
                    </a:lnTo>
                    <a:lnTo>
                      <a:pt x="166" y="384"/>
                    </a:lnTo>
                    <a:lnTo>
                      <a:pt x="158" y="384"/>
                    </a:lnTo>
                    <a:lnTo>
                      <a:pt x="158" y="370"/>
                    </a:lnTo>
                    <a:lnTo>
                      <a:pt x="152" y="378"/>
                    </a:lnTo>
                    <a:lnTo>
                      <a:pt x="152" y="384"/>
                    </a:lnTo>
                    <a:lnTo>
                      <a:pt x="152" y="390"/>
                    </a:lnTo>
                    <a:lnTo>
                      <a:pt x="152" y="404"/>
                    </a:lnTo>
                    <a:lnTo>
                      <a:pt x="146" y="404"/>
                    </a:lnTo>
                    <a:lnTo>
                      <a:pt x="138" y="390"/>
                    </a:lnTo>
                    <a:lnTo>
                      <a:pt x="132" y="390"/>
                    </a:lnTo>
                    <a:lnTo>
                      <a:pt x="124" y="384"/>
                    </a:lnTo>
                    <a:lnTo>
                      <a:pt x="124" y="378"/>
                    </a:lnTo>
                    <a:lnTo>
                      <a:pt x="124" y="370"/>
                    </a:lnTo>
                    <a:lnTo>
                      <a:pt x="124" y="364"/>
                    </a:lnTo>
                    <a:lnTo>
                      <a:pt x="118" y="356"/>
                    </a:lnTo>
                    <a:lnTo>
                      <a:pt x="112" y="364"/>
                    </a:lnTo>
                    <a:lnTo>
                      <a:pt x="112" y="370"/>
                    </a:lnTo>
                    <a:lnTo>
                      <a:pt x="118" y="378"/>
                    </a:lnTo>
                    <a:lnTo>
                      <a:pt x="112" y="384"/>
                    </a:lnTo>
                    <a:lnTo>
                      <a:pt x="104" y="384"/>
                    </a:lnTo>
                    <a:lnTo>
                      <a:pt x="96" y="384"/>
                    </a:lnTo>
                    <a:lnTo>
                      <a:pt x="90" y="370"/>
                    </a:lnTo>
                    <a:lnTo>
                      <a:pt x="90" y="364"/>
                    </a:lnTo>
                    <a:lnTo>
                      <a:pt x="90" y="356"/>
                    </a:lnTo>
                    <a:lnTo>
                      <a:pt x="82" y="350"/>
                    </a:lnTo>
                    <a:lnTo>
                      <a:pt x="90" y="342"/>
                    </a:lnTo>
                    <a:lnTo>
                      <a:pt x="90" y="328"/>
                    </a:lnTo>
                    <a:lnTo>
                      <a:pt x="90" y="322"/>
                    </a:lnTo>
                    <a:lnTo>
                      <a:pt x="82" y="314"/>
                    </a:lnTo>
                    <a:lnTo>
                      <a:pt x="76" y="308"/>
                    </a:lnTo>
                    <a:lnTo>
                      <a:pt x="70" y="308"/>
                    </a:lnTo>
                    <a:lnTo>
                      <a:pt x="62" y="294"/>
                    </a:lnTo>
                    <a:lnTo>
                      <a:pt x="62" y="288"/>
                    </a:lnTo>
                    <a:lnTo>
                      <a:pt x="70" y="280"/>
                    </a:lnTo>
                    <a:lnTo>
                      <a:pt x="76" y="280"/>
                    </a:lnTo>
                    <a:lnTo>
                      <a:pt x="82" y="280"/>
                    </a:lnTo>
                    <a:lnTo>
                      <a:pt x="90" y="280"/>
                    </a:lnTo>
                    <a:lnTo>
                      <a:pt x="96" y="280"/>
                    </a:lnTo>
                    <a:lnTo>
                      <a:pt x="104" y="274"/>
                    </a:lnTo>
                    <a:lnTo>
                      <a:pt x="112" y="274"/>
                    </a:lnTo>
                    <a:lnTo>
                      <a:pt x="118" y="274"/>
                    </a:lnTo>
                    <a:lnTo>
                      <a:pt x="124" y="274"/>
                    </a:lnTo>
                    <a:lnTo>
                      <a:pt x="132" y="274"/>
                    </a:lnTo>
                    <a:lnTo>
                      <a:pt x="132" y="280"/>
                    </a:lnTo>
                    <a:lnTo>
                      <a:pt x="146" y="274"/>
                    </a:lnTo>
                    <a:lnTo>
                      <a:pt x="152" y="280"/>
                    </a:lnTo>
                    <a:lnTo>
                      <a:pt x="152" y="288"/>
                    </a:lnTo>
                    <a:lnTo>
                      <a:pt x="158" y="294"/>
                    </a:lnTo>
                    <a:lnTo>
                      <a:pt x="166" y="288"/>
                    </a:lnTo>
                    <a:lnTo>
                      <a:pt x="174" y="288"/>
                    </a:lnTo>
                    <a:lnTo>
                      <a:pt x="180" y="280"/>
                    </a:lnTo>
                    <a:lnTo>
                      <a:pt x="166" y="274"/>
                    </a:lnTo>
                    <a:lnTo>
                      <a:pt x="158" y="266"/>
                    </a:lnTo>
                    <a:lnTo>
                      <a:pt x="152" y="260"/>
                    </a:lnTo>
                    <a:lnTo>
                      <a:pt x="138" y="260"/>
                    </a:lnTo>
                    <a:lnTo>
                      <a:pt x="138" y="266"/>
                    </a:lnTo>
                    <a:lnTo>
                      <a:pt x="132" y="260"/>
                    </a:lnTo>
                    <a:lnTo>
                      <a:pt x="124" y="254"/>
                    </a:lnTo>
                    <a:lnTo>
                      <a:pt x="112" y="254"/>
                    </a:lnTo>
                    <a:lnTo>
                      <a:pt x="104" y="254"/>
                    </a:lnTo>
                    <a:lnTo>
                      <a:pt x="96" y="254"/>
                    </a:lnTo>
                    <a:lnTo>
                      <a:pt x="82" y="260"/>
                    </a:lnTo>
                    <a:lnTo>
                      <a:pt x="82" y="254"/>
                    </a:lnTo>
                    <a:lnTo>
                      <a:pt x="76" y="254"/>
                    </a:lnTo>
                    <a:lnTo>
                      <a:pt x="70" y="254"/>
                    </a:lnTo>
                    <a:lnTo>
                      <a:pt x="62" y="260"/>
                    </a:lnTo>
                    <a:lnTo>
                      <a:pt x="48" y="254"/>
                    </a:lnTo>
                    <a:lnTo>
                      <a:pt x="42" y="254"/>
                    </a:lnTo>
                    <a:lnTo>
                      <a:pt x="42" y="246"/>
                    </a:lnTo>
                    <a:lnTo>
                      <a:pt x="42" y="240"/>
                    </a:lnTo>
                    <a:lnTo>
                      <a:pt x="34" y="232"/>
                    </a:lnTo>
                    <a:lnTo>
                      <a:pt x="42" y="226"/>
                    </a:lnTo>
                    <a:lnTo>
                      <a:pt x="48" y="226"/>
                    </a:lnTo>
                    <a:lnTo>
                      <a:pt x="62" y="226"/>
                    </a:lnTo>
                    <a:lnTo>
                      <a:pt x="62" y="220"/>
                    </a:lnTo>
                    <a:lnTo>
                      <a:pt x="62" y="212"/>
                    </a:lnTo>
                    <a:lnTo>
                      <a:pt x="56" y="212"/>
                    </a:lnTo>
                    <a:lnTo>
                      <a:pt x="48" y="212"/>
                    </a:lnTo>
                    <a:lnTo>
                      <a:pt x="42" y="212"/>
                    </a:lnTo>
                    <a:lnTo>
                      <a:pt x="34" y="220"/>
                    </a:lnTo>
                    <a:lnTo>
                      <a:pt x="28" y="212"/>
                    </a:lnTo>
                    <a:lnTo>
                      <a:pt x="28" y="198"/>
                    </a:lnTo>
                    <a:lnTo>
                      <a:pt x="28" y="192"/>
                    </a:lnTo>
                    <a:lnTo>
                      <a:pt x="14" y="192"/>
                    </a:lnTo>
                    <a:lnTo>
                      <a:pt x="6" y="184"/>
                    </a:lnTo>
                    <a:lnTo>
                      <a:pt x="0" y="170"/>
                    </a:lnTo>
                    <a:lnTo>
                      <a:pt x="6" y="170"/>
                    </a:lnTo>
                    <a:lnTo>
                      <a:pt x="6" y="164"/>
                    </a:lnTo>
                    <a:lnTo>
                      <a:pt x="6" y="156"/>
                    </a:lnTo>
                    <a:lnTo>
                      <a:pt x="14" y="150"/>
                    </a:lnTo>
                    <a:lnTo>
                      <a:pt x="22" y="150"/>
                    </a:lnTo>
                    <a:lnTo>
                      <a:pt x="34" y="144"/>
                    </a:lnTo>
                    <a:lnTo>
                      <a:pt x="28" y="136"/>
                    </a:lnTo>
                    <a:lnTo>
                      <a:pt x="34" y="136"/>
                    </a:lnTo>
                    <a:lnTo>
                      <a:pt x="42" y="130"/>
                    </a:lnTo>
                    <a:lnTo>
                      <a:pt x="48" y="116"/>
                    </a:lnTo>
                    <a:lnTo>
                      <a:pt x="56" y="108"/>
                    </a:lnTo>
                    <a:lnTo>
                      <a:pt x="56" y="102"/>
                    </a:lnTo>
                    <a:lnTo>
                      <a:pt x="56" y="94"/>
                    </a:lnTo>
                    <a:lnTo>
                      <a:pt x="48" y="88"/>
                    </a:lnTo>
                    <a:lnTo>
                      <a:pt x="42" y="82"/>
                    </a:lnTo>
                    <a:lnTo>
                      <a:pt x="48" y="74"/>
                    </a:lnTo>
                    <a:lnTo>
                      <a:pt x="56" y="74"/>
                    </a:lnTo>
                    <a:lnTo>
                      <a:pt x="56" y="68"/>
                    </a:lnTo>
                    <a:lnTo>
                      <a:pt x="62" y="74"/>
                    </a:lnTo>
                    <a:lnTo>
                      <a:pt x="76" y="74"/>
                    </a:lnTo>
                    <a:lnTo>
                      <a:pt x="82" y="74"/>
                    </a:lnTo>
                    <a:lnTo>
                      <a:pt x="96" y="68"/>
                    </a:lnTo>
                    <a:lnTo>
                      <a:pt x="112" y="68"/>
                    </a:lnTo>
                    <a:lnTo>
                      <a:pt x="118" y="60"/>
                    </a:lnTo>
                    <a:lnTo>
                      <a:pt x="124" y="54"/>
                    </a:lnTo>
                    <a:lnTo>
                      <a:pt x="132" y="60"/>
                    </a:lnTo>
                    <a:lnTo>
                      <a:pt x="138" y="60"/>
                    </a:lnTo>
                    <a:lnTo>
                      <a:pt x="146" y="60"/>
                    </a:lnTo>
                    <a:lnTo>
                      <a:pt x="152" y="54"/>
                    </a:lnTo>
                    <a:lnTo>
                      <a:pt x="158" y="46"/>
                    </a:lnTo>
                    <a:lnTo>
                      <a:pt x="174" y="40"/>
                    </a:lnTo>
                    <a:lnTo>
                      <a:pt x="158" y="40"/>
                    </a:lnTo>
                    <a:lnTo>
                      <a:pt x="158" y="40"/>
                    </a:lnTo>
                    <a:lnTo>
                      <a:pt x="158" y="40"/>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3" name="Freeform 69"/>
              <p:cNvSpPr>
                <a:spLocks/>
              </p:cNvSpPr>
              <p:nvPr/>
            </p:nvSpPr>
            <p:spPr bwMode="gray">
              <a:xfrm>
                <a:off x="3629863" y="3990959"/>
                <a:ext cx="44460" cy="41284"/>
              </a:xfrm>
              <a:custGeom>
                <a:avLst/>
                <a:gdLst>
                  <a:gd name="T0" fmla="*/ 0 w 28"/>
                  <a:gd name="T1" fmla="*/ 10 h 26"/>
                  <a:gd name="T2" fmla="*/ 4 w 28"/>
                  <a:gd name="T3" fmla="*/ 4 h 26"/>
                  <a:gd name="T4" fmla="*/ 8 w 28"/>
                  <a:gd name="T5" fmla="*/ 2 h 26"/>
                  <a:gd name="T6" fmla="*/ 16 w 28"/>
                  <a:gd name="T7" fmla="*/ 0 h 26"/>
                  <a:gd name="T8" fmla="*/ 22 w 28"/>
                  <a:gd name="T9" fmla="*/ 0 h 26"/>
                  <a:gd name="T10" fmla="*/ 28 w 28"/>
                  <a:gd name="T11" fmla="*/ 10 h 26"/>
                  <a:gd name="T12" fmla="*/ 28 w 28"/>
                  <a:gd name="T13" fmla="*/ 20 h 26"/>
                  <a:gd name="T14" fmla="*/ 22 w 28"/>
                  <a:gd name="T15" fmla="*/ 26 h 26"/>
                  <a:gd name="T16" fmla="*/ 16 w 28"/>
                  <a:gd name="T17" fmla="*/ 26 h 26"/>
                  <a:gd name="T18" fmla="*/ 10 w 28"/>
                  <a:gd name="T19" fmla="*/ 26 h 26"/>
                  <a:gd name="T20" fmla="*/ 4 w 28"/>
                  <a:gd name="T21" fmla="*/ 22 h 26"/>
                  <a:gd name="T22" fmla="*/ 0 w 28"/>
                  <a:gd name="T23" fmla="*/ 10 h 26"/>
                  <a:gd name="T24" fmla="*/ 0 w 28"/>
                  <a:gd name="T25" fmla="*/ 10 h 26"/>
                  <a:gd name="T26" fmla="*/ 0 w 28"/>
                  <a:gd name="T2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26">
                    <a:moveTo>
                      <a:pt x="0" y="10"/>
                    </a:moveTo>
                    <a:lnTo>
                      <a:pt x="4" y="4"/>
                    </a:lnTo>
                    <a:lnTo>
                      <a:pt x="8" y="2"/>
                    </a:lnTo>
                    <a:lnTo>
                      <a:pt x="16" y="0"/>
                    </a:lnTo>
                    <a:lnTo>
                      <a:pt x="22" y="0"/>
                    </a:lnTo>
                    <a:lnTo>
                      <a:pt x="28" y="10"/>
                    </a:lnTo>
                    <a:lnTo>
                      <a:pt x="28" y="20"/>
                    </a:lnTo>
                    <a:lnTo>
                      <a:pt x="22" y="26"/>
                    </a:lnTo>
                    <a:lnTo>
                      <a:pt x="16" y="26"/>
                    </a:lnTo>
                    <a:lnTo>
                      <a:pt x="10" y="26"/>
                    </a:lnTo>
                    <a:lnTo>
                      <a:pt x="4" y="22"/>
                    </a:lnTo>
                    <a:lnTo>
                      <a:pt x="0" y="10"/>
                    </a:lnTo>
                    <a:lnTo>
                      <a:pt x="0" y="10"/>
                    </a:lnTo>
                    <a:lnTo>
                      <a:pt x="0" y="10"/>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4" name="Freeform 70"/>
              <p:cNvSpPr>
                <a:spLocks/>
              </p:cNvSpPr>
              <p:nvPr/>
            </p:nvSpPr>
            <p:spPr bwMode="gray">
              <a:xfrm>
                <a:off x="4412675" y="3568591"/>
                <a:ext cx="31757" cy="34933"/>
              </a:xfrm>
              <a:custGeom>
                <a:avLst/>
                <a:gdLst>
                  <a:gd name="T0" fmla="*/ 10 w 20"/>
                  <a:gd name="T1" fmla="*/ 0 h 22"/>
                  <a:gd name="T2" fmla="*/ 20 w 20"/>
                  <a:gd name="T3" fmla="*/ 6 h 22"/>
                  <a:gd name="T4" fmla="*/ 20 w 20"/>
                  <a:gd name="T5" fmla="*/ 18 h 22"/>
                  <a:gd name="T6" fmla="*/ 16 w 20"/>
                  <a:gd name="T7" fmla="*/ 22 h 22"/>
                  <a:gd name="T8" fmla="*/ 10 w 20"/>
                  <a:gd name="T9" fmla="*/ 22 h 22"/>
                  <a:gd name="T10" fmla="*/ 4 w 20"/>
                  <a:gd name="T11" fmla="*/ 22 h 22"/>
                  <a:gd name="T12" fmla="*/ 0 w 20"/>
                  <a:gd name="T13" fmla="*/ 18 h 22"/>
                  <a:gd name="T14" fmla="*/ 0 w 20"/>
                  <a:gd name="T15" fmla="*/ 6 h 22"/>
                  <a:gd name="T16" fmla="*/ 8 w 20"/>
                  <a:gd name="T17" fmla="*/ 2 h 22"/>
                  <a:gd name="T18" fmla="*/ 10 w 20"/>
                  <a:gd name="T19" fmla="*/ 0 h 22"/>
                  <a:gd name="T20" fmla="*/ 10 w 20"/>
                  <a:gd name="T21" fmla="*/ 0 h 22"/>
                  <a:gd name="T22" fmla="*/ 10 w 2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2">
                    <a:moveTo>
                      <a:pt x="10" y="0"/>
                    </a:moveTo>
                    <a:lnTo>
                      <a:pt x="20" y="6"/>
                    </a:lnTo>
                    <a:lnTo>
                      <a:pt x="20" y="18"/>
                    </a:lnTo>
                    <a:lnTo>
                      <a:pt x="16" y="22"/>
                    </a:lnTo>
                    <a:lnTo>
                      <a:pt x="10" y="22"/>
                    </a:lnTo>
                    <a:lnTo>
                      <a:pt x="4" y="22"/>
                    </a:lnTo>
                    <a:lnTo>
                      <a:pt x="0" y="18"/>
                    </a:lnTo>
                    <a:lnTo>
                      <a:pt x="0" y="6"/>
                    </a:lnTo>
                    <a:lnTo>
                      <a:pt x="8" y="2"/>
                    </a:lnTo>
                    <a:lnTo>
                      <a:pt x="10" y="0"/>
                    </a:lnTo>
                    <a:lnTo>
                      <a:pt x="10" y="0"/>
                    </a:lnTo>
                    <a:lnTo>
                      <a:pt x="10" y="0"/>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5" name="Line 71"/>
              <p:cNvSpPr>
                <a:spLocks noChangeShapeType="1"/>
              </p:cNvSpPr>
              <p:nvPr/>
            </p:nvSpPr>
            <p:spPr bwMode="gray">
              <a:xfrm>
                <a:off x="5039876" y="3295480"/>
                <a:ext cx="0" cy="0"/>
              </a:xfrm>
              <a:prstGeom prst="line">
                <a:avLst/>
              </a:prstGeom>
              <a:solidFill>
                <a:schemeClr val="bg2">
                  <a:lumMod val="40000"/>
                  <a:lumOff val="60000"/>
                </a:schemeClr>
              </a:solid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826" name="Line 72"/>
              <p:cNvSpPr>
                <a:spLocks noChangeShapeType="1"/>
              </p:cNvSpPr>
              <p:nvPr/>
            </p:nvSpPr>
            <p:spPr bwMode="gray">
              <a:xfrm>
                <a:off x="5039876" y="3295480"/>
                <a:ext cx="0" cy="0"/>
              </a:xfrm>
              <a:prstGeom prst="line">
                <a:avLst/>
              </a:prstGeom>
              <a:solidFill>
                <a:schemeClr val="bg2">
                  <a:lumMod val="40000"/>
                  <a:lumOff val="60000"/>
                </a:schemeClr>
              </a:solid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827" name="Freeform 73"/>
              <p:cNvSpPr>
                <a:spLocks/>
              </p:cNvSpPr>
              <p:nvPr>
                <p:custDataLst>
                  <p:tags r:id="rId152"/>
                </p:custDataLst>
              </p:nvPr>
            </p:nvSpPr>
            <p:spPr bwMode="gray">
              <a:xfrm>
                <a:off x="4669907" y="3158925"/>
                <a:ext cx="570039" cy="314395"/>
              </a:xfrm>
              <a:custGeom>
                <a:avLst/>
                <a:gdLst>
                  <a:gd name="T0" fmla="*/ 133 w 179"/>
                  <a:gd name="T1" fmla="*/ 19 h 99"/>
                  <a:gd name="T2" fmla="*/ 114 w 179"/>
                  <a:gd name="T3" fmla="*/ 13 h 99"/>
                  <a:gd name="T4" fmla="*/ 95 w 179"/>
                  <a:gd name="T5" fmla="*/ 5 h 99"/>
                  <a:gd name="T6" fmla="*/ 79 w 179"/>
                  <a:gd name="T7" fmla="*/ 2 h 99"/>
                  <a:gd name="T8" fmla="*/ 72 w 179"/>
                  <a:gd name="T9" fmla="*/ 6 h 99"/>
                  <a:gd name="T10" fmla="*/ 65 w 179"/>
                  <a:gd name="T11" fmla="*/ 9 h 99"/>
                  <a:gd name="T12" fmla="*/ 62 w 179"/>
                  <a:gd name="T13" fmla="*/ 2 h 99"/>
                  <a:gd name="T14" fmla="*/ 51 w 179"/>
                  <a:gd name="T15" fmla="*/ 9 h 99"/>
                  <a:gd name="T16" fmla="*/ 37 w 179"/>
                  <a:gd name="T17" fmla="*/ 19 h 99"/>
                  <a:gd name="T18" fmla="*/ 30 w 179"/>
                  <a:gd name="T19" fmla="*/ 23 h 99"/>
                  <a:gd name="T20" fmla="*/ 20 w 179"/>
                  <a:gd name="T21" fmla="*/ 26 h 99"/>
                  <a:gd name="T22" fmla="*/ 10 w 179"/>
                  <a:gd name="T23" fmla="*/ 23 h 99"/>
                  <a:gd name="T24" fmla="*/ 3 w 179"/>
                  <a:gd name="T25" fmla="*/ 23 h 99"/>
                  <a:gd name="T26" fmla="*/ 0 w 179"/>
                  <a:gd name="T27" fmla="*/ 26 h 99"/>
                  <a:gd name="T28" fmla="*/ 7 w 179"/>
                  <a:gd name="T29" fmla="*/ 33 h 99"/>
                  <a:gd name="T30" fmla="*/ 10 w 179"/>
                  <a:gd name="T31" fmla="*/ 43 h 99"/>
                  <a:gd name="T32" fmla="*/ 13 w 179"/>
                  <a:gd name="T33" fmla="*/ 54 h 99"/>
                  <a:gd name="T34" fmla="*/ 17 w 179"/>
                  <a:gd name="T35" fmla="*/ 60 h 99"/>
                  <a:gd name="T36" fmla="*/ 24 w 179"/>
                  <a:gd name="T37" fmla="*/ 74 h 99"/>
                  <a:gd name="T38" fmla="*/ 30 w 179"/>
                  <a:gd name="T39" fmla="*/ 78 h 99"/>
                  <a:gd name="T40" fmla="*/ 36 w 179"/>
                  <a:gd name="T41" fmla="*/ 84 h 99"/>
                  <a:gd name="T42" fmla="*/ 41 w 179"/>
                  <a:gd name="T43" fmla="*/ 91 h 99"/>
                  <a:gd name="T44" fmla="*/ 48 w 179"/>
                  <a:gd name="T45" fmla="*/ 95 h 99"/>
                  <a:gd name="T46" fmla="*/ 62 w 179"/>
                  <a:gd name="T47" fmla="*/ 95 h 99"/>
                  <a:gd name="T48" fmla="*/ 65 w 179"/>
                  <a:gd name="T49" fmla="*/ 88 h 99"/>
                  <a:gd name="T50" fmla="*/ 68 w 179"/>
                  <a:gd name="T51" fmla="*/ 84 h 99"/>
                  <a:gd name="T52" fmla="*/ 79 w 179"/>
                  <a:gd name="T53" fmla="*/ 84 h 99"/>
                  <a:gd name="T54" fmla="*/ 86 w 179"/>
                  <a:gd name="T55" fmla="*/ 88 h 99"/>
                  <a:gd name="T56" fmla="*/ 96 w 179"/>
                  <a:gd name="T57" fmla="*/ 88 h 99"/>
                  <a:gd name="T58" fmla="*/ 100 w 179"/>
                  <a:gd name="T59" fmla="*/ 93 h 99"/>
                  <a:gd name="T60" fmla="*/ 106 w 179"/>
                  <a:gd name="T61" fmla="*/ 98 h 99"/>
                  <a:gd name="T62" fmla="*/ 110 w 179"/>
                  <a:gd name="T63" fmla="*/ 99 h 99"/>
                  <a:gd name="T64" fmla="*/ 113 w 179"/>
                  <a:gd name="T65" fmla="*/ 99 h 99"/>
                  <a:gd name="T66" fmla="*/ 151 w 179"/>
                  <a:gd name="T67" fmla="*/ 71 h 99"/>
                  <a:gd name="T68" fmla="*/ 152 w 179"/>
                  <a:gd name="T69" fmla="*/ 66 h 99"/>
                  <a:gd name="T70" fmla="*/ 163 w 179"/>
                  <a:gd name="T71" fmla="*/ 66 h 99"/>
                  <a:gd name="T72" fmla="*/ 178 w 179"/>
                  <a:gd name="T73" fmla="*/ 60 h 99"/>
                  <a:gd name="T74" fmla="*/ 179 w 179"/>
                  <a:gd name="T75" fmla="*/ 52 h 99"/>
                  <a:gd name="T76" fmla="*/ 172 w 179"/>
                  <a:gd name="T77" fmla="*/ 44 h 99"/>
                  <a:gd name="T78" fmla="*/ 155 w 179"/>
                  <a:gd name="T79" fmla="*/ 39 h 99"/>
                  <a:gd name="T80" fmla="*/ 139 w 179"/>
                  <a:gd name="T81" fmla="*/ 28 h 99"/>
                  <a:gd name="T82" fmla="*/ 123 w 179"/>
                  <a:gd name="T83" fmla="*/ 3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9" h="99">
                    <a:moveTo>
                      <a:pt x="121" y="20"/>
                    </a:moveTo>
                    <a:cubicBezTo>
                      <a:pt x="133" y="19"/>
                      <a:pt x="133" y="19"/>
                      <a:pt x="133" y="19"/>
                    </a:cubicBezTo>
                    <a:cubicBezTo>
                      <a:pt x="121" y="17"/>
                      <a:pt x="121" y="17"/>
                      <a:pt x="121" y="17"/>
                    </a:cubicBezTo>
                    <a:cubicBezTo>
                      <a:pt x="114" y="13"/>
                      <a:pt x="114" y="13"/>
                      <a:pt x="114" y="13"/>
                    </a:cubicBezTo>
                    <a:cubicBezTo>
                      <a:pt x="106" y="10"/>
                      <a:pt x="106" y="10"/>
                      <a:pt x="106" y="10"/>
                    </a:cubicBezTo>
                    <a:cubicBezTo>
                      <a:pt x="95" y="5"/>
                      <a:pt x="95" y="5"/>
                      <a:pt x="95" y="5"/>
                    </a:cubicBezTo>
                    <a:cubicBezTo>
                      <a:pt x="89" y="0"/>
                      <a:pt x="89" y="0"/>
                      <a:pt x="89" y="0"/>
                    </a:cubicBezTo>
                    <a:cubicBezTo>
                      <a:pt x="79" y="2"/>
                      <a:pt x="79" y="2"/>
                      <a:pt x="79" y="2"/>
                    </a:cubicBezTo>
                    <a:cubicBezTo>
                      <a:pt x="72" y="2"/>
                      <a:pt x="72" y="2"/>
                      <a:pt x="72" y="2"/>
                    </a:cubicBezTo>
                    <a:cubicBezTo>
                      <a:pt x="72" y="6"/>
                      <a:pt x="72" y="6"/>
                      <a:pt x="72" y="6"/>
                    </a:cubicBezTo>
                    <a:cubicBezTo>
                      <a:pt x="68" y="9"/>
                      <a:pt x="68" y="9"/>
                      <a:pt x="68" y="9"/>
                    </a:cubicBezTo>
                    <a:cubicBezTo>
                      <a:pt x="65" y="9"/>
                      <a:pt x="65" y="9"/>
                      <a:pt x="65" y="9"/>
                    </a:cubicBezTo>
                    <a:cubicBezTo>
                      <a:pt x="65" y="6"/>
                      <a:pt x="65" y="6"/>
                      <a:pt x="65" y="6"/>
                    </a:cubicBezTo>
                    <a:cubicBezTo>
                      <a:pt x="62" y="2"/>
                      <a:pt x="62" y="2"/>
                      <a:pt x="62" y="2"/>
                    </a:cubicBezTo>
                    <a:cubicBezTo>
                      <a:pt x="55" y="6"/>
                      <a:pt x="55" y="6"/>
                      <a:pt x="55" y="6"/>
                    </a:cubicBezTo>
                    <a:cubicBezTo>
                      <a:pt x="51" y="9"/>
                      <a:pt x="51" y="9"/>
                      <a:pt x="51" y="9"/>
                    </a:cubicBezTo>
                    <a:cubicBezTo>
                      <a:pt x="48" y="13"/>
                      <a:pt x="48" y="13"/>
                      <a:pt x="48" y="13"/>
                    </a:cubicBezTo>
                    <a:cubicBezTo>
                      <a:pt x="37" y="19"/>
                      <a:pt x="37" y="19"/>
                      <a:pt x="37" y="19"/>
                    </a:cubicBezTo>
                    <a:cubicBezTo>
                      <a:pt x="34" y="19"/>
                      <a:pt x="34" y="19"/>
                      <a:pt x="34" y="19"/>
                    </a:cubicBezTo>
                    <a:cubicBezTo>
                      <a:pt x="30" y="23"/>
                      <a:pt x="30" y="23"/>
                      <a:pt x="30" y="23"/>
                    </a:cubicBezTo>
                    <a:cubicBezTo>
                      <a:pt x="27" y="23"/>
                      <a:pt x="27" y="23"/>
                      <a:pt x="27" y="23"/>
                    </a:cubicBezTo>
                    <a:cubicBezTo>
                      <a:pt x="20" y="26"/>
                      <a:pt x="20" y="26"/>
                      <a:pt x="20" y="26"/>
                    </a:cubicBezTo>
                    <a:cubicBezTo>
                      <a:pt x="13" y="26"/>
                      <a:pt x="13" y="26"/>
                      <a:pt x="13" y="26"/>
                    </a:cubicBezTo>
                    <a:cubicBezTo>
                      <a:pt x="10" y="23"/>
                      <a:pt x="10" y="23"/>
                      <a:pt x="10" y="23"/>
                    </a:cubicBezTo>
                    <a:cubicBezTo>
                      <a:pt x="3" y="26"/>
                      <a:pt x="3" y="26"/>
                      <a:pt x="3" y="26"/>
                    </a:cubicBezTo>
                    <a:cubicBezTo>
                      <a:pt x="3" y="23"/>
                      <a:pt x="3" y="23"/>
                      <a:pt x="3" y="23"/>
                    </a:cubicBezTo>
                    <a:cubicBezTo>
                      <a:pt x="0" y="19"/>
                      <a:pt x="0" y="19"/>
                      <a:pt x="0" y="19"/>
                    </a:cubicBezTo>
                    <a:cubicBezTo>
                      <a:pt x="0" y="26"/>
                      <a:pt x="0" y="26"/>
                      <a:pt x="0" y="26"/>
                    </a:cubicBezTo>
                    <a:cubicBezTo>
                      <a:pt x="3" y="33"/>
                      <a:pt x="3" y="33"/>
                      <a:pt x="3" y="33"/>
                    </a:cubicBezTo>
                    <a:cubicBezTo>
                      <a:pt x="7" y="33"/>
                      <a:pt x="7" y="33"/>
                      <a:pt x="7" y="33"/>
                    </a:cubicBezTo>
                    <a:cubicBezTo>
                      <a:pt x="7" y="40"/>
                      <a:pt x="7" y="40"/>
                      <a:pt x="7" y="40"/>
                    </a:cubicBezTo>
                    <a:cubicBezTo>
                      <a:pt x="10" y="43"/>
                      <a:pt x="10" y="43"/>
                      <a:pt x="10" y="43"/>
                    </a:cubicBezTo>
                    <a:cubicBezTo>
                      <a:pt x="13" y="47"/>
                      <a:pt x="13" y="47"/>
                      <a:pt x="13" y="47"/>
                    </a:cubicBezTo>
                    <a:cubicBezTo>
                      <a:pt x="13" y="54"/>
                      <a:pt x="13" y="54"/>
                      <a:pt x="13" y="54"/>
                    </a:cubicBezTo>
                    <a:cubicBezTo>
                      <a:pt x="13" y="57"/>
                      <a:pt x="13" y="57"/>
                      <a:pt x="13" y="57"/>
                    </a:cubicBezTo>
                    <a:cubicBezTo>
                      <a:pt x="17" y="60"/>
                      <a:pt x="17" y="60"/>
                      <a:pt x="17" y="60"/>
                    </a:cubicBezTo>
                    <a:cubicBezTo>
                      <a:pt x="20" y="67"/>
                      <a:pt x="20" y="67"/>
                      <a:pt x="20" y="67"/>
                    </a:cubicBezTo>
                    <a:cubicBezTo>
                      <a:pt x="24" y="74"/>
                      <a:pt x="24" y="74"/>
                      <a:pt x="24" y="74"/>
                    </a:cubicBezTo>
                    <a:cubicBezTo>
                      <a:pt x="27" y="78"/>
                      <a:pt x="27" y="78"/>
                      <a:pt x="27" y="78"/>
                    </a:cubicBezTo>
                    <a:cubicBezTo>
                      <a:pt x="30" y="78"/>
                      <a:pt x="30" y="78"/>
                      <a:pt x="30" y="78"/>
                    </a:cubicBezTo>
                    <a:cubicBezTo>
                      <a:pt x="33" y="81"/>
                      <a:pt x="33" y="81"/>
                      <a:pt x="33" y="81"/>
                    </a:cubicBezTo>
                    <a:cubicBezTo>
                      <a:pt x="36" y="84"/>
                      <a:pt x="36" y="84"/>
                      <a:pt x="36" y="84"/>
                    </a:cubicBezTo>
                    <a:cubicBezTo>
                      <a:pt x="39" y="88"/>
                      <a:pt x="39" y="88"/>
                      <a:pt x="39" y="88"/>
                    </a:cubicBezTo>
                    <a:cubicBezTo>
                      <a:pt x="41" y="91"/>
                      <a:pt x="41" y="91"/>
                      <a:pt x="41" y="91"/>
                    </a:cubicBezTo>
                    <a:cubicBezTo>
                      <a:pt x="44" y="91"/>
                      <a:pt x="44" y="91"/>
                      <a:pt x="44" y="91"/>
                    </a:cubicBezTo>
                    <a:cubicBezTo>
                      <a:pt x="48" y="95"/>
                      <a:pt x="48" y="95"/>
                      <a:pt x="48" y="95"/>
                    </a:cubicBezTo>
                    <a:cubicBezTo>
                      <a:pt x="55" y="95"/>
                      <a:pt x="55" y="95"/>
                      <a:pt x="55" y="95"/>
                    </a:cubicBezTo>
                    <a:cubicBezTo>
                      <a:pt x="62" y="95"/>
                      <a:pt x="62" y="95"/>
                      <a:pt x="62" y="95"/>
                    </a:cubicBezTo>
                    <a:cubicBezTo>
                      <a:pt x="65" y="91"/>
                      <a:pt x="65" y="91"/>
                      <a:pt x="65" y="91"/>
                    </a:cubicBezTo>
                    <a:cubicBezTo>
                      <a:pt x="65" y="88"/>
                      <a:pt x="65" y="88"/>
                      <a:pt x="65" y="88"/>
                    </a:cubicBezTo>
                    <a:cubicBezTo>
                      <a:pt x="66" y="86"/>
                      <a:pt x="66" y="86"/>
                      <a:pt x="66" y="86"/>
                    </a:cubicBezTo>
                    <a:cubicBezTo>
                      <a:pt x="68" y="84"/>
                      <a:pt x="68" y="84"/>
                      <a:pt x="68" y="84"/>
                    </a:cubicBezTo>
                    <a:cubicBezTo>
                      <a:pt x="75" y="84"/>
                      <a:pt x="75" y="84"/>
                      <a:pt x="75" y="84"/>
                    </a:cubicBezTo>
                    <a:cubicBezTo>
                      <a:pt x="79" y="84"/>
                      <a:pt x="79" y="84"/>
                      <a:pt x="79" y="84"/>
                    </a:cubicBezTo>
                    <a:cubicBezTo>
                      <a:pt x="82" y="84"/>
                      <a:pt x="82" y="84"/>
                      <a:pt x="82" y="84"/>
                    </a:cubicBezTo>
                    <a:cubicBezTo>
                      <a:pt x="86" y="88"/>
                      <a:pt x="86" y="88"/>
                      <a:pt x="86" y="88"/>
                    </a:cubicBezTo>
                    <a:cubicBezTo>
                      <a:pt x="89" y="88"/>
                      <a:pt x="89" y="88"/>
                      <a:pt x="89" y="88"/>
                    </a:cubicBezTo>
                    <a:cubicBezTo>
                      <a:pt x="96" y="88"/>
                      <a:pt x="96" y="88"/>
                      <a:pt x="96" y="88"/>
                    </a:cubicBezTo>
                    <a:cubicBezTo>
                      <a:pt x="97" y="91"/>
                      <a:pt x="97" y="91"/>
                      <a:pt x="97" y="91"/>
                    </a:cubicBezTo>
                    <a:cubicBezTo>
                      <a:pt x="100" y="93"/>
                      <a:pt x="100" y="93"/>
                      <a:pt x="100" y="93"/>
                    </a:cubicBezTo>
                    <a:cubicBezTo>
                      <a:pt x="101" y="95"/>
                      <a:pt x="101" y="95"/>
                      <a:pt x="101" y="95"/>
                    </a:cubicBezTo>
                    <a:cubicBezTo>
                      <a:pt x="106" y="98"/>
                      <a:pt x="106" y="98"/>
                      <a:pt x="106" y="98"/>
                    </a:cubicBezTo>
                    <a:cubicBezTo>
                      <a:pt x="109" y="99"/>
                      <a:pt x="109" y="99"/>
                      <a:pt x="109" y="99"/>
                    </a:cubicBezTo>
                    <a:cubicBezTo>
                      <a:pt x="110" y="99"/>
                      <a:pt x="110" y="99"/>
                      <a:pt x="110" y="99"/>
                    </a:cubicBezTo>
                    <a:cubicBezTo>
                      <a:pt x="110" y="98"/>
                      <a:pt x="110" y="98"/>
                      <a:pt x="110" y="98"/>
                    </a:cubicBezTo>
                    <a:cubicBezTo>
                      <a:pt x="110" y="98"/>
                      <a:pt x="111" y="99"/>
                      <a:pt x="113" y="99"/>
                    </a:cubicBezTo>
                    <a:cubicBezTo>
                      <a:pt x="121" y="95"/>
                      <a:pt x="140" y="93"/>
                      <a:pt x="145" y="77"/>
                    </a:cubicBezTo>
                    <a:cubicBezTo>
                      <a:pt x="147" y="75"/>
                      <a:pt x="148" y="73"/>
                      <a:pt x="151" y="71"/>
                    </a:cubicBezTo>
                    <a:cubicBezTo>
                      <a:pt x="152" y="67"/>
                      <a:pt x="150" y="69"/>
                      <a:pt x="152" y="66"/>
                    </a:cubicBezTo>
                    <a:cubicBezTo>
                      <a:pt x="152" y="64"/>
                      <a:pt x="152" y="66"/>
                      <a:pt x="152" y="66"/>
                    </a:cubicBezTo>
                    <a:cubicBezTo>
                      <a:pt x="154" y="66"/>
                      <a:pt x="154" y="66"/>
                      <a:pt x="156" y="66"/>
                    </a:cubicBezTo>
                    <a:cubicBezTo>
                      <a:pt x="158" y="66"/>
                      <a:pt x="162" y="66"/>
                      <a:pt x="163" y="66"/>
                    </a:cubicBezTo>
                    <a:cubicBezTo>
                      <a:pt x="163" y="62"/>
                      <a:pt x="165" y="60"/>
                      <a:pt x="167" y="60"/>
                    </a:cubicBezTo>
                    <a:cubicBezTo>
                      <a:pt x="169" y="60"/>
                      <a:pt x="177" y="60"/>
                      <a:pt x="178" y="60"/>
                    </a:cubicBezTo>
                    <a:cubicBezTo>
                      <a:pt x="176" y="56"/>
                      <a:pt x="176" y="56"/>
                      <a:pt x="176" y="56"/>
                    </a:cubicBezTo>
                    <a:cubicBezTo>
                      <a:pt x="179" y="52"/>
                      <a:pt x="179" y="52"/>
                      <a:pt x="179" y="52"/>
                    </a:cubicBezTo>
                    <a:cubicBezTo>
                      <a:pt x="170" y="50"/>
                      <a:pt x="170" y="50"/>
                      <a:pt x="170" y="50"/>
                    </a:cubicBezTo>
                    <a:cubicBezTo>
                      <a:pt x="172" y="44"/>
                      <a:pt x="172" y="44"/>
                      <a:pt x="172" y="44"/>
                    </a:cubicBezTo>
                    <a:cubicBezTo>
                      <a:pt x="165" y="40"/>
                      <a:pt x="165" y="40"/>
                      <a:pt x="165" y="40"/>
                    </a:cubicBezTo>
                    <a:cubicBezTo>
                      <a:pt x="155" y="39"/>
                      <a:pt x="155" y="39"/>
                      <a:pt x="155" y="39"/>
                    </a:cubicBezTo>
                    <a:cubicBezTo>
                      <a:pt x="146" y="29"/>
                      <a:pt x="146" y="29"/>
                      <a:pt x="146" y="29"/>
                    </a:cubicBezTo>
                    <a:cubicBezTo>
                      <a:pt x="139" y="28"/>
                      <a:pt x="139" y="28"/>
                      <a:pt x="139" y="28"/>
                    </a:cubicBezTo>
                    <a:cubicBezTo>
                      <a:pt x="135" y="26"/>
                      <a:pt x="135" y="26"/>
                      <a:pt x="135" y="26"/>
                    </a:cubicBezTo>
                    <a:cubicBezTo>
                      <a:pt x="123" y="33"/>
                      <a:pt x="123" y="33"/>
                      <a:pt x="123" y="33"/>
                    </a:cubicBezTo>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8" name="Freeform 74"/>
              <p:cNvSpPr>
                <a:spLocks/>
              </p:cNvSpPr>
              <p:nvPr/>
            </p:nvSpPr>
            <p:spPr bwMode="gray">
              <a:xfrm>
                <a:off x="5281230" y="2666690"/>
                <a:ext cx="247705" cy="114326"/>
              </a:xfrm>
              <a:custGeom>
                <a:avLst/>
                <a:gdLst>
                  <a:gd name="T0" fmla="*/ 152 w 156"/>
                  <a:gd name="T1" fmla="*/ 30 h 72"/>
                  <a:gd name="T2" fmla="*/ 150 w 156"/>
                  <a:gd name="T3" fmla="*/ 26 h 72"/>
                  <a:gd name="T4" fmla="*/ 146 w 156"/>
                  <a:gd name="T5" fmla="*/ 26 h 72"/>
                  <a:gd name="T6" fmla="*/ 144 w 156"/>
                  <a:gd name="T7" fmla="*/ 20 h 72"/>
                  <a:gd name="T8" fmla="*/ 142 w 156"/>
                  <a:gd name="T9" fmla="*/ 16 h 72"/>
                  <a:gd name="T10" fmla="*/ 122 w 156"/>
                  <a:gd name="T11" fmla="*/ 18 h 72"/>
                  <a:gd name="T12" fmla="*/ 120 w 156"/>
                  <a:gd name="T13" fmla="*/ 20 h 72"/>
                  <a:gd name="T14" fmla="*/ 116 w 156"/>
                  <a:gd name="T15" fmla="*/ 16 h 72"/>
                  <a:gd name="T16" fmla="*/ 114 w 156"/>
                  <a:gd name="T17" fmla="*/ 16 h 72"/>
                  <a:gd name="T18" fmla="*/ 110 w 156"/>
                  <a:gd name="T19" fmla="*/ 14 h 72"/>
                  <a:gd name="T20" fmla="*/ 102 w 156"/>
                  <a:gd name="T21" fmla="*/ 12 h 72"/>
                  <a:gd name="T22" fmla="*/ 92 w 156"/>
                  <a:gd name="T23" fmla="*/ 8 h 72"/>
                  <a:gd name="T24" fmla="*/ 84 w 156"/>
                  <a:gd name="T25" fmla="*/ 0 h 72"/>
                  <a:gd name="T26" fmla="*/ 80 w 156"/>
                  <a:gd name="T27" fmla="*/ 4 h 72"/>
                  <a:gd name="T28" fmla="*/ 78 w 156"/>
                  <a:gd name="T29" fmla="*/ 6 h 72"/>
                  <a:gd name="T30" fmla="*/ 78 w 156"/>
                  <a:gd name="T31" fmla="*/ 6 h 72"/>
                  <a:gd name="T32" fmla="*/ 76 w 156"/>
                  <a:gd name="T33" fmla="*/ 8 h 72"/>
                  <a:gd name="T34" fmla="*/ 76 w 156"/>
                  <a:gd name="T35" fmla="*/ 12 h 72"/>
                  <a:gd name="T36" fmla="*/ 78 w 156"/>
                  <a:gd name="T37" fmla="*/ 26 h 72"/>
                  <a:gd name="T38" fmla="*/ 72 w 156"/>
                  <a:gd name="T39" fmla="*/ 30 h 72"/>
                  <a:gd name="T40" fmla="*/ 70 w 156"/>
                  <a:gd name="T41" fmla="*/ 30 h 72"/>
                  <a:gd name="T42" fmla="*/ 66 w 156"/>
                  <a:gd name="T43" fmla="*/ 30 h 72"/>
                  <a:gd name="T44" fmla="*/ 48 w 156"/>
                  <a:gd name="T45" fmla="*/ 26 h 72"/>
                  <a:gd name="T46" fmla="*/ 44 w 156"/>
                  <a:gd name="T47" fmla="*/ 26 h 72"/>
                  <a:gd name="T48" fmla="*/ 46 w 156"/>
                  <a:gd name="T49" fmla="*/ 24 h 72"/>
                  <a:gd name="T50" fmla="*/ 58 w 156"/>
                  <a:gd name="T51" fmla="*/ 10 h 72"/>
                  <a:gd name="T52" fmla="*/ 62 w 156"/>
                  <a:gd name="T53" fmla="*/ 8 h 72"/>
                  <a:gd name="T54" fmla="*/ 62 w 156"/>
                  <a:gd name="T55" fmla="*/ 6 h 72"/>
                  <a:gd name="T56" fmla="*/ 64 w 156"/>
                  <a:gd name="T57" fmla="*/ 4 h 72"/>
                  <a:gd name="T58" fmla="*/ 66 w 156"/>
                  <a:gd name="T59" fmla="*/ 2 h 72"/>
                  <a:gd name="T60" fmla="*/ 64 w 156"/>
                  <a:gd name="T61" fmla="*/ 0 h 72"/>
                  <a:gd name="T62" fmla="*/ 42 w 156"/>
                  <a:gd name="T63" fmla="*/ 24 h 72"/>
                  <a:gd name="T64" fmla="*/ 26 w 156"/>
                  <a:gd name="T65" fmla="*/ 26 h 72"/>
                  <a:gd name="T66" fmla="*/ 20 w 156"/>
                  <a:gd name="T67" fmla="*/ 24 h 72"/>
                  <a:gd name="T68" fmla="*/ 16 w 156"/>
                  <a:gd name="T69" fmla="*/ 28 h 72"/>
                  <a:gd name="T70" fmla="*/ 18 w 156"/>
                  <a:gd name="T71" fmla="*/ 36 h 72"/>
                  <a:gd name="T72" fmla="*/ 16 w 156"/>
                  <a:gd name="T73" fmla="*/ 44 h 72"/>
                  <a:gd name="T74" fmla="*/ 14 w 156"/>
                  <a:gd name="T75" fmla="*/ 46 h 72"/>
                  <a:gd name="T76" fmla="*/ 14 w 156"/>
                  <a:gd name="T77" fmla="*/ 48 h 72"/>
                  <a:gd name="T78" fmla="*/ 6 w 156"/>
                  <a:gd name="T79" fmla="*/ 60 h 72"/>
                  <a:gd name="T80" fmla="*/ 0 w 156"/>
                  <a:gd name="T81" fmla="*/ 64 h 72"/>
                  <a:gd name="T82" fmla="*/ 18 w 156"/>
                  <a:gd name="T83" fmla="*/ 66 h 72"/>
                  <a:gd name="T84" fmla="*/ 102 w 156"/>
                  <a:gd name="T85" fmla="*/ 70 h 72"/>
                  <a:gd name="T86" fmla="*/ 152 w 156"/>
                  <a:gd name="T87" fmla="*/ 72 h 72"/>
                  <a:gd name="T88" fmla="*/ 148 w 156"/>
                  <a:gd name="T89" fmla="*/ 56 h 72"/>
                  <a:gd name="T90" fmla="*/ 150 w 156"/>
                  <a:gd name="T91" fmla="*/ 48 h 72"/>
                  <a:gd name="T92" fmla="*/ 150 w 156"/>
                  <a:gd name="T93" fmla="*/ 44 h 72"/>
                  <a:gd name="T94" fmla="*/ 150 w 156"/>
                  <a:gd name="T95" fmla="*/ 44 h 72"/>
                  <a:gd name="T96" fmla="*/ 152 w 156"/>
                  <a:gd name="T97" fmla="*/ 42 h 72"/>
                  <a:gd name="T98" fmla="*/ 156 w 156"/>
                  <a:gd name="T99" fmla="*/ 38 h 72"/>
                  <a:gd name="T100" fmla="*/ 156 w 156"/>
                  <a:gd name="T101" fmla="*/ 3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6" h="72">
                    <a:moveTo>
                      <a:pt x="156" y="32"/>
                    </a:moveTo>
                    <a:lnTo>
                      <a:pt x="156" y="32"/>
                    </a:lnTo>
                    <a:lnTo>
                      <a:pt x="154" y="30"/>
                    </a:lnTo>
                    <a:lnTo>
                      <a:pt x="152" y="30"/>
                    </a:lnTo>
                    <a:lnTo>
                      <a:pt x="152" y="28"/>
                    </a:lnTo>
                    <a:lnTo>
                      <a:pt x="152" y="28"/>
                    </a:lnTo>
                    <a:lnTo>
                      <a:pt x="152" y="28"/>
                    </a:lnTo>
                    <a:lnTo>
                      <a:pt x="150" y="26"/>
                    </a:lnTo>
                    <a:lnTo>
                      <a:pt x="150" y="26"/>
                    </a:lnTo>
                    <a:lnTo>
                      <a:pt x="150" y="26"/>
                    </a:lnTo>
                    <a:lnTo>
                      <a:pt x="150" y="26"/>
                    </a:lnTo>
                    <a:lnTo>
                      <a:pt x="146" y="26"/>
                    </a:lnTo>
                    <a:lnTo>
                      <a:pt x="146" y="26"/>
                    </a:lnTo>
                    <a:lnTo>
                      <a:pt x="146" y="24"/>
                    </a:lnTo>
                    <a:lnTo>
                      <a:pt x="144" y="22"/>
                    </a:lnTo>
                    <a:lnTo>
                      <a:pt x="144" y="20"/>
                    </a:lnTo>
                    <a:lnTo>
                      <a:pt x="144" y="18"/>
                    </a:lnTo>
                    <a:lnTo>
                      <a:pt x="144" y="18"/>
                    </a:lnTo>
                    <a:lnTo>
                      <a:pt x="142" y="16"/>
                    </a:lnTo>
                    <a:lnTo>
                      <a:pt x="142" y="16"/>
                    </a:lnTo>
                    <a:lnTo>
                      <a:pt x="136" y="18"/>
                    </a:lnTo>
                    <a:lnTo>
                      <a:pt x="128" y="16"/>
                    </a:lnTo>
                    <a:lnTo>
                      <a:pt x="128" y="16"/>
                    </a:lnTo>
                    <a:lnTo>
                      <a:pt x="122" y="18"/>
                    </a:lnTo>
                    <a:lnTo>
                      <a:pt x="122" y="18"/>
                    </a:lnTo>
                    <a:lnTo>
                      <a:pt x="122" y="20"/>
                    </a:lnTo>
                    <a:lnTo>
                      <a:pt x="120" y="20"/>
                    </a:lnTo>
                    <a:lnTo>
                      <a:pt x="120" y="20"/>
                    </a:lnTo>
                    <a:lnTo>
                      <a:pt x="118" y="20"/>
                    </a:lnTo>
                    <a:lnTo>
                      <a:pt x="116" y="18"/>
                    </a:lnTo>
                    <a:lnTo>
                      <a:pt x="116" y="18"/>
                    </a:lnTo>
                    <a:lnTo>
                      <a:pt x="116" y="16"/>
                    </a:lnTo>
                    <a:lnTo>
                      <a:pt x="116" y="16"/>
                    </a:lnTo>
                    <a:lnTo>
                      <a:pt x="116" y="14"/>
                    </a:lnTo>
                    <a:lnTo>
                      <a:pt x="114" y="14"/>
                    </a:lnTo>
                    <a:lnTo>
                      <a:pt x="114" y="16"/>
                    </a:lnTo>
                    <a:lnTo>
                      <a:pt x="112" y="16"/>
                    </a:lnTo>
                    <a:lnTo>
                      <a:pt x="112" y="16"/>
                    </a:lnTo>
                    <a:lnTo>
                      <a:pt x="112" y="16"/>
                    </a:lnTo>
                    <a:lnTo>
                      <a:pt x="110" y="14"/>
                    </a:lnTo>
                    <a:lnTo>
                      <a:pt x="108" y="14"/>
                    </a:lnTo>
                    <a:lnTo>
                      <a:pt x="106" y="12"/>
                    </a:lnTo>
                    <a:lnTo>
                      <a:pt x="104" y="12"/>
                    </a:lnTo>
                    <a:lnTo>
                      <a:pt x="102" y="12"/>
                    </a:lnTo>
                    <a:lnTo>
                      <a:pt x="102" y="10"/>
                    </a:lnTo>
                    <a:lnTo>
                      <a:pt x="98" y="8"/>
                    </a:lnTo>
                    <a:lnTo>
                      <a:pt x="96" y="8"/>
                    </a:lnTo>
                    <a:lnTo>
                      <a:pt x="92" y="8"/>
                    </a:lnTo>
                    <a:lnTo>
                      <a:pt x="90" y="6"/>
                    </a:lnTo>
                    <a:lnTo>
                      <a:pt x="86" y="0"/>
                    </a:lnTo>
                    <a:lnTo>
                      <a:pt x="86" y="0"/>
                    </a:lnTo>
                    <a:lnTo>
                      <a:pt x="84" y="0"/>
                    </a:lnTo>
                    <a:lnTo>
                      <a:pt x="80" y="2"/>
                    </a:lnTo>
                    <a:lnTo>
                      <a:pt x="80" y="4"/>
                    </a:lnTo>
                    <a:lnTo>
                      <a:pt x="80" y="4"/>
                    </a:lnTo>
                    <a:lnTo>
                      <a:pt x="80" y="4"/>
                    </a:lnTo>
                    <a:lnTo>
                      <a:pt x="80" y="6"/>
                    </a:lnTo>
                    <a:lnTo>
                      <a:pt x="80" y="6"/>
                    </a:lnTo>
                    <a:lnTo>
                      <a:pt x="80" y="6"/>
                    </a:lnTo>
                    <a:lnTo>
                      <a:pt x="78" y="6"/>
                    </a:lnTo>
                    <a:lnTo>
                      <a:pt x="78" y="6"/>
                    </a:lnTo>
                    <a:lnTo>
                      <a:pt x="78" y="6"/>
                    </a:lnTo>
                    <a:lnTo>
                      <a:pt x="78" y="6"/>
                    </a:lnTo>
                    <a:lnTo>
                      <a:pt x="78" y="6"/>
                    </a:lnTo>
                    <a:lnTo>
                      <a:pt x="76" y="6"/>
                    </a:lnTo>
                    <a:lnTo>
                      <a:pt x="76" y="6"/>
                    </a:lnTo>
                    <a:lnTo>
                      <a:pt x="76" y="8"/>
                    </a:lnTo>
                    <a:lnTo>
                      <a:pt x="76" y="8"/>
                    </a:lnTo>
                    <a:lnTo>
                      <a:pt x="76" y="8"/>
                    </a:lnTo>
                    <a:lnTo>
                      <a:pt x="76" y="10"/>
                    </a:lnTo>
                    <a:lnTo>
                      <a:pt x="76" y="10"/>
                    </a:lnTo>
                    <a:lnTo>
                      <a:pt x="76" y="12"/>
                    </a:lnTo>
                    <a:lnTo>
                      <a:pt x="78" y="22"/>
                    </a:lnTo>
                    <a:lnTo>
                      <a:pt x="78" y="24"/>
                    </a:lnTo>
                    <a:lnTo>
                      <a:pt x="80" y="26"/>
                    </a:lnTo>
                    <a:lnTo>
                      <a:pt x="78" y="26"/>
                    </a:lnTo>
                    <a:lnTo>
                      <a:pt x="76" y="28"/>
                    </a:lnTo>
                    <a:lnTo>
                      <a:pt x="72" y="28"/>
                    </a:lnTo>
                    <a:lnTo>
                      <a:pt x="72" y="30"/>
                    </a:lnTo>
                    <a:lnTo>
                      <a:pt x="72" y="30"/>
                    </a:lnTo>
                    <a:lnTo>
                      <a:pt x="72" y="30"/>
                    </a:lnTo>
                    <a:lnTo>
                      <a:pt x="72" y="30"/>
                    </a:lnTo>
                    <a:lnTo>
                      <a:pt x="72" y="30"/>
                    </a:lnTo>
                    <a:lnTo>
                      <a:pt x="70" y="30"/>
                    </a:lnTo>
                    <a:lnTo>
                      <a:pt x="70" y="28"/>
                    </a:lnTo>
                    <a:lnTo>
                      <a:pt x="70" y="30"/>
                    </a:lnTo>
                    <a:lnTo>
                      <a:pt x="70" y="30"/>
                    </a:lnTo>
                    <a:lnTo>
                      <a:pt x="66" y="30"/>
                    </a:lnTo>
                    <a:lnTo>
                      <a:pt x="60" y="30"/>
                    </a:lnTo>
                    <a:lnTo>
                      <a:pt x="58" y="26"/>
                    </a:lnTo>
                    <a:lnTo>
                      <a:pt x="56" y="26"/>
                    </a:lnTo>
                    <a:lnTo>
                      <a:pt x="48" y="26"/>
                    </a:lnTo>
                    <a:lnTo>
                      <a:pt x="46" y="26"/>
                    </a:lnTo>
                    <a:lnTo>
                      <a:pt x="46" y="26"/>
                    </a:lnTo>
                    <a:lnTo>
                      <a:pt x="46" y="26"/>
                    </a:lnTo>
                    <a:lnTo>
                      <a:pt x="44" y="26"/>
                    </a:lnTo>
                    <a:lnTo>
                      <a:pt x="44" y="24"/>
                    </a:lnTo>
                    <a:lnTo>
                      <a:pt x="44" y="24"/>
                    </a:lnTo>
                    <a:lnTo>
                      <a:pt x="46" y="24"/>
                    </a:lnTo>
                    <a:lnTo>
                      <a:pt x="46" y="24"/>
                    </a:lnTo>
                    <a:lnTo>
                      <a:pt x="46" y="24"/>
                    </a:lnTo>
                    <a:lnTo>
                      <a:pt x="52" y="18"/>
                    </a:lnTo>
                    <a:lnTo>
                      <a:pt x="56" y="14"/>
                    </a:lnTo>
                    <a:lnTo>
                      <a:pt x="58" y="10"/>
                    </a:lnTo>
                    <a:lnTo>
                      <a:pt x="60" y="10"/>
                    </a:lnTo>
                    <a:lnTo>
                      <a:pt x="60" y="8"/>
                    </a:lnTo>
                    <a:lnTo>
                      <a:pt x="60" y="8"/>
                    </a:lnTo>
                    <a:lnTo>
                      <a:pt x="62" y="8"/>
                    </a:lnTo>
                    <a:lnTo>
                      <a:pt x="62" y="6"/>
                    </a:lnTo>
                    <a:lnTo>
                      <a:pt x="62" y="6"/>
                    </a:lnTo>
                    <a:lnTo>
                      <a:pt x="62" y="6"/>
                    </a:lnTo>
                    <a:lnTo>
                      <a:pt x="62" y="6"/>
                    </a:lnTo>
                    <a:lnTo>
                      <a:pt x="62" y="6"/>
                    </a:lnTo>
                    <a:lnTo>
                      <a:pt x="62" y="4"/>
                    </a:lnTo>
                    <a:lnTo>
                      <a:pt x="64" y="4"/>
                    </a:lnTo>
                    <a:lnTo>
                      <a:pt x="64" y="4"/>
                    </a:lnTo>
                    <a:lnTo>
                      <a:pt x="64" y="4"/>
                    </a:lnTo>
                    <a:lnTo>
                      <a:pt x="64" y="4"/>
                    </a:lnTo>
                    <a:lnTo>
                      <a:pt x="64" y="2"/>
                    </a:lnTo>
                    <a:lnTo>
                      <a:pt x="66" y="2"/>
                    </a:lnTo>
                    <a:lnTo>
                      <a:pt x="66" y="0"/>
                    </a:lnTo>
                    <a:lnTo>
                      <a:pt x="66" y="0"/>
                    </a:lnTo>
                    <a:lnTo>
                      <a:pt x="66" y="0"/>
                    </a:lnTo>
                    <a:lnTo>
                      <a:pt x="64" y="0"/>
                    </a:lnTo>
                    <a:lnTo>
                      <a:pt x="58" y="8"/>
                    </a:lnTo>
                    <a:lnTo>
                      <a:pt x="58" y="8"/>
                    </a:lnTo>
                    <a:lnTo>
                      <a:pt x="50" y="18"/>
                    </a:lnTo>
                    <a:lnTo>
                      <a:pt x="42" y="24"/>
                    </a:lnTo>
                    <a:lnTo>
                      <a:pt x="38" y="26"/>
                    </a:lnTo>
                    <a:lnTo>
                      <a:pt x="36" y="26"/>
                    </a:lnTo>
                    <a:lnTo>
                      <a:pt x="30" y="26"/>
                    </a:lnTo>
                    <a:lnTo>
                      <a:pt x="26" y="26"/>
                    </a:lnTo>
                    <a:lnTo>
                      <a:pt x="22" y="26"/>
                    </a:lnTo>
                    <a:lnTo>
                      <a:pt x="22" y="26"/>
                    </a:lnTo>
                    <a:lnTo>
                      <a:pt x="20" y="26"/>
                    </a:lnTo>
                    <a:lnTo>
                      <a:pt x="20" y="24"/>
                    </a:lnTo>
                    <a:lnTo>
                      <a:pt x="18" y="24"/>
                    </a:lnTo>
                    <a:lnTo>
                      <a:pt x="18" y="26"/>
                    </a:lnTo>
                    <a:lnTo>
                      <a:pt x="16" y="28"/>
                    </a:lnTo>
                    <a:lnTo>
                      <a:pt x="16" y="28"/>
                    </a:lnTo>
                    <a:lnTo>
                      <a:pt x="16" y="30"/>
                    </a:lnTo>
                    <a:lnTo>
                      <a:pt x="16" y="32"/>
                    </a:lnTo>
                    <a:lnTo>
                      <a:pt x="16" y="32"/>
                    </a:lnTo>
                    <a:lnTo>
                      <a:pt x="18" y="36"/>
                    </a:lnTo>
                    <a:lnTo>
                      <a:pt x="18" y="38"/>
                    </a:lnTo>
                    <a:lnTo>
                      <a:pt x="18" y="40"/>
                    </a:lnTo>
                    <a:lnTo>
                      <a:pt x="18" y="40"/>
                    </a:lnTo>
                    <a:lnTo>
                      <a:pt x="16" y="44"/>
                    </a:lnTo>
                    <a:lnTo>
                      <a:pt x="16" y="46"/>
                    </a:lnTo>
                    <a:lnTo>
                      <a:pt x="14" y="46"/>
                    </a:lnTo>
                    <a:lnTo>
                      <a:pt x="14" y="46"/>
                    </a:lnTo>
                    <a:lnTo>
                      <a:pt x="14" y="46"/>
                    </a:lnTo>
                    <a:lnTo>
                      <a:pt x="14" y="48"/>
                    </a:lnTo>
                    <a:lnTo>
                      <a:pt x="14" y="48"/>
                    </a:lnTo>
                    <a:lnTo>
                      <a:pt x="14" y="48"/>
                    </a:lnTo>
                    <a:lnTo>
                      <a:pt x="14" y="48"/>
                    </a:lnTo>
                    <a:lnTo>
                      <a:pt x="14" y="48"/>
                    </a:lnTo>
                    <a:lnTo>
                      <a:pt x="14" y="48"/>
                    </a:lnTo>
                    <a:lnTo>
                      <a:pt x="12" y="54"/>
                    </a:lnTo>
                    <a:lnTo>
                      <a:pt x="6" y="60"/>
                    </a:lnTo>
                    <a:lnTo>
                      <a:pt x="2" y="64"/>
                    </a:lnTo>
                    <a:lnTo>
                      <a:pt x="2" y="64"/>
                    </a:lnTo>
                    <a:lnTo>
                      <a:pt x="0" y="64"/>
                    </a:lnTo>
                    <a:lnTo>
                      <a:pt x="0" y="64"/>
                    </a:lnTo>
                    <a:lnTo>
                      <a:pt x="2" y="64"/>
                    </a:lnTo>
                    <a:lnTo>
                      <a:pt x="4" y="66"/>
                    </a:lnTo>
                    <a:lnTo>
                      <a:pt x="8" y="66"/>
                    </a:lnTo>
                    <a:lnTo>
                      <a:pt x="18" y="66"/>
                    </a:lnTo>
                    <a:lnTo>
                      <a:pt x="36" y="68"/>
                    </a:lnTo>
                    <a:lnTo>
                      <a:pt x="64" y="68"/>
                    </a:lnTo>
                    <a:lnTo>
                      <a:pt x="82" y="70"/>
                    </a:lnTo>
                    <a:lnTo>
                      <a:pt x="102" y="70"/>
                    </a:lnTo>
                    <a:lnTo>
                      <a:pt x="128" y="72"/>
                    </a:lnTo>
                    <a:lnTo>
                      <a:pt x="140" y="72"/>
                    </a:lnTo>
                    <a:lnTo>
                      <a:pt x="150" y="72"/>
                    </a:lnTo>
                    <a:lnTo>
                      <a:pt x="152" y="72"/>
                    </a:lnTo>
                    <a:lnTo>
                      <a:pt x="150" y="68"/>
                    </a:lnTo>
                    <a:lnTo>
                      <a:pt x="148" y="64"/>
                    </a:lnTo>
                    <a:lnTo>
                      <a:pt x="148" y="62"/>
                    </a:lnTo>
                    <a:lnTo>
                      <a:pt x="148" y="56"/>
                    </a:lnTo>
                    <a:lnTo>
                      <a:pt x="150" y="52"/>
                    </a:lnTo>
                    <a:lnTo>
                      <a:pt x="150" y="50"/>
                    </a:lnTo>
                    <a:lnTo>
                      <a:pt x="150" y="50"/>
                    </a:lnTo>
                    <a:lnTo>
                      <a:pt x="150" y="48"/>
                    </a:lnTo>
                    <a:lnTo>
                      <a:pt x="150" y="48"/>
                    </a:lnTo>
                    <a:lnTo>
                      <a:pt x="150" y="46"/>
                    </a:lnTo>
                    <a:lnTo>
                      <a:pt x="150" y="44"/>
                    </a:lnTo>
                    <a:lnTo>
                      <a:pt x="150" y="44"/>
                    </a:lnTo>
                    <a:lnTo>
                      <a:pt x="150" y="44"/>
                    </a:lnTo>
                    <a:lnTo>
                      <a:pt x="150" y="44"/>
                    </a:lnTo>
                    <a:lnTo>
                      <a:pt x="150" y="44"/>
                    </a:lnTo>
                    <a:lnTo>
                      <a:pt x="150" y="44"/>
                    </a:lnTo>
                    <a:lnTo>
                      <a:pt x="152" y="44"/>
                    </a:lnTo>
                    <a:lnTo>
                      <a:pt x="152" y="42"/>
                    </a:lnTo>
                    <a:lnTo>
                      <a:pt x="152" y="42"/>
                    </a:lnTo>
                    <a:lnTo>
                      <a:pt x="152" y="42"/>
                    </a:lnTo>
                    <a:lnTo>
                      <a:pt x="154" y="42"/>
                    </a:lnTo>
                    <a:lnTo>
                      <a:pt x="156" y="40"/>
                    </a:lnTo>
                    <a:lnTo>
                      <a:pt x="156" y="40"/>
                    </a:lnTo>
                    <a:lnTo>
                      <a:pt x="156" y="38"/>
                    </a:lnTo>
                    <a:lnTo>
                      <a:pt x="156" y="36"/>
                    </a:lnTo>
                    <a:lnTo>
                      <a:pt x="156" y="36"/>
                    </a:lnTo>
                    <a:lnTo>
                      <a:pt x="156" y="32"/>
                    </a:lnTo>
                    <a:lnTo>
                      <a:pt x="156" y="32"/>
                    </a:lnTo>
                    <a:lnTo>
                      <a:pt x="156" y="32"/>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9" name="Freeform 75"/>
              <p:cNvSpPr>
                <a:spLocks/>
              </p:cNvSpPr>
              <p:nvPr>
                <p:custDataLst>
                  <p:tags r:id="rId153"/>
                </p:custDataLst>
              </p:nvPr>
            </p:nvSpPr>
            <p:spPr bwMode="gray">
              <a:xfrm>
                <a:off x="4860450" y="2720678"/>
                <a:ext cx="766933" cy="676425"/>
              </a:xfrm>
              <a:custGeom>
                <a:avLst/>
                <a:gdLst>
                  <a:gd name="T0" fmla="*/ 473 w 483"/>
                  <a:gd name="T1" fmla="*/ 284 h 426"/>
                  <a:gd name="T2" fmla="*/ 461 w 483"/>
                  <a:gd name="T3" fmla="*/ 258 h 426"/>
                  <a:gd name="T4" fmla="*/ 455 w 483"/>
                  <a:gd name="T5" fmla="*/ 240 h 426"/>
                  <a:gd name="T6" fmla="*/ 459 w 483"/>
                  <a:gd name="T7" fmla="*/ 228 h 426"/>
                  <a:gd name="T8" fmla="*/ 459 w 483"/>
                  <a:gd name="T9" fmla="*/ 208 h 426"/>
                  <a:gd name="T10" fmla="*/ 447 w 483"/>
                  <a:gd name="T11" fmla="*/ 200 h 426"/>
                  <a:gd name="T12" fmla="*/ 473 w 483"/>
                  <a:gd name="T13" fmla="*/ 162 h 426"/>
                  <a:gd name="T14" fmla="*/ 471 w 483"/>
                  <a:gd name="T15" fmla="*/ 132 h 426"/>
                  <a:gd name="T16" fmla="*/ 453 w 483"/>
                  <a:gd name="T17" fmla="*/ 74 h 426"/>
                  <a:gd name="T18" fmla="*/ 449 w 483"/>
                  <a:gd name="T19" fmla="*/ 52 h 426"/>
                  <a:gd name="T20" fmla="*/ 429 w 483"/>
                  <a:gd name="T21" fmla="*/ 38 h 426"/>
                  <a:gd name="T22" fmla="*/ 273 w 483"/>
                  <a:gd name="T23" fmla="*/ 32 h 426"/>
                  <a:gd name="T24" fmla="*/ 219 w 483"/>
                  <a:gd name="T25" fmla="*/ 34 h 426"/>
                  <a:gd name="T26" fmla="*/ 209 w 483"/>
                  <a:gd name="T27" fmla="*/ 10 h 426"/>
                  <a:gd name="T28" fmla="*/ 225 w 483"/>
                  <a:gd name="T29" fmla="*/ 18 h 426"/>
                  <a:gd name="T30" fmla="*/ 135 w 483"/>
                  <a:gd name="T31" fmla="*/ 20 h 426"/>
                  <a:gd name="T32" fmla="*/ 109 w 483"/>
                  <a:gd name="T33" fmla="*/ 38 h 426"/>
                  <a:gd name="T34" fmla="*/ 101 w 483"/>
                  <a:gd name="T35" fmla="*/ 46 h 426"/>
                  <a:gd name="T36" fmla="*/ 4 w 483"/>
                  <a:gd name="T37" fmla="*/ 72 h 426"/>
                  <a:gd name="T38" fmla="*/ 14 w 483"/>
                  <a:gd name="T39" fmla="*/ 76 h 426"/>
                  <a:gd name="T40" fmla="*/ 23 w 483"/>
                  <a:gd name="T41" fmla="*/ 78 h 426"/>
                  <a:gd name="T42" fmla="*/ 25 w 483"/>
                  <a:gd name="T43" fmla="*/ 92 h 426"/>
                  <a:gd name="T44" fmla="*/ 10 w 483"/>
                  <a:gd name="T45" fmla="*/ 84 h 426"/>
                  <a:gd name="T46" fmla="*/ 10 w 483"/>
                  <a:gd name="T47" fmla="*/ 104 h 426"/>
                  <a:gd name="T48" fmla="*/ 14 w 483"/>
                  <a:gd name="T49" fmla="*/ 130 h 426"/>
                  <a:gd name="T50" fmla="*/ 8 w 483"/>
                  <a:gd name="T51" fmla="*/ 156 h 426"/>
                  <a:gd name="T52" fmla="*/ 23 w 483"/>
                  <a:gd name="T53" fmla="*/ 192 h 426"/>
                  <a:gd name="T54" fmla="*/ 29 w 483"/>
                  <a:gd name="T55" fmla="*/ 214 h 426"/>
                  <a:gd name="T56" fmla="*/ 29 w 483"/>
                  <a:gd name="T57" fmla="*/ 248 h 426"/>
                  <a:gd name="T58" fmla="*/ 45 w 483"/>
                  <a:gd name="T59" fmla="*/ 268 h 426"/>
                  <a:gd name="T60" fmla="*/ 43 w 483"/>
                  <a:gd name="T61" fmla="*/ 292 h 426"/>
                  <a:gd name="T62" fmla="*/ 49 w 483"/>
                  <a:gd name="T63" fmla="*/ 288 h 426"/>
                  <a:gd name="T64" fmla="*/ 61 w 483"/>
                  <a:gd name="T65" fmla="*/ 300 h 426"/>
                  <a:gd name="T66" fmla="*/ 87 w 483"/>
                  <a:gd name="T67" fmla="*/ 310 h 426"/>
                  <a:gd name="T68" fmla="*/ 103 w 483"/>
                  <a:gd name="T69" fmla="*/ 310 h 426"/>
                  <a:gd name="T70" fmla="*/ 105 w 483"/>
                  <a:gd name="T71" fmla="*/ 324 h 426"/>
                  <a:gd name="T72" fmla="*/ 109 w 483"/>
                  <a:gd name="T73" fmla="*/ 332 h 426"/>
                  <a:gd name="T74" fmla="*/ 129 w 483"/>
                  <a:gd name="T75" fmla="*/ 346 h 426"/>
                  <a:gd name="T76" fmla="*/ 141 w 483"/>
                  <a:gd name="T77" fmla="*/ 340 h 426"/>
                  <a:gd name="T78" fmla="*/ 147 w 483"/>
                  <a:gd name="T79" fmla="*/ 330 h 426"/>
                  <a:gd name="T80" fmla="*/ 157 w 483"/>
                  <a:gd name="T81" fmla="*/ 338 h 426"/>
                  <a:gd name="T82" fmla="*/ 175 w 483"/>
                  <a:gd name="T83" fmla="*/ 336 h 426"/>
                  <a:gd name="T84" fmla="*/ 173 w 483"/>
                  <a:gd name="T85" fmla="*/ 348 h 426"/>
                  <a:gd name="T86" fmla="*/ 189 w 483"/>
                  <a:gd name="T87" fmla="*/ 354 h 426"/>
                  <a:gd name="T88" fmla="*/ 203 w 483"/>
                  <a:gd name="T89" fmla="*/ 362 h 426"/>
                  <a:gd name="T90" fmla="*/ 221 w 483"/>
                  <a:gd name="T91" fmla="*/ 378 h 426"/>
                  <a:gd name="T92" fmla="*/ 235 w 483"/>
                  <a:gd name="T93" fmla="*/ 396 h 426"/>
                  <a:gd name="T94" fmla="*/ 245 w 483"/>
                  <a:gd name="T95" fmla="*/ 394 h 426"/>
                  <a:gd name="T96" fmla="*/ 263 w 483"/>
                  <a:gd name="T97" fmla="*/ 394 h 426"/>
                  <a:gd name="T98" fmla="*/ 275 w 483"/>
                  <a:gd name="T99" fmla="*/ 406 h 426"/>
                  <a:gd name="T100" fmla="*/ 289 w 483"/>
                  <a:gd name="T101" fmla="*/ 410 h 426"/>
                  <a:gd name="T102" fmla="*/ 305 w 483"/>
                  <a:gd name="T103" fmla="*/ 398 h 426"/>
                  <a:gd name="T104" fmla="*/ 329 w 483"/>
                  <a:gd name="T105" fmla="*/ 404 h 426"/>
                  <a:gd name="T106" fmla="*/ 345 w 483"/>
                  <a:gd name="T107" fmla="*/ 394 h 426"/>
                  <a:gd name="T108" fmla="*/ 371 w 483"/>
                  <a:gd name="T109" fmla="*/ 400 h 426"/>
                  <a:gd name="T110" fmla="*/ 391 w 483"/>
                  <a:gd name="T111" fmla="*/ 416 h 426"/>
                  <a:gd name="T112" fmla="*/ 421 w 483"/>
                  <a:gd name="T113" fmla="*/ 426 h 426"/>
                  <a:gd name="T114" fmla="*/ 415 w 483"/>
                  <a:gd name="T115" fmla="*/ 408 h 426"/>
                  <a:gd name="T116" fmla="*/ 423 w 483"/>
                  <a:gd name="T117" fmla="*/ 372 h 426"/>
                  <a:gd name="T118" fmla="*/ 463 w 483"/>
                  <a:gd name="T119" fmla="*/ 330 h 426"/>
                  <a:gd name="T120" fmla="*/ 479 w 483"/>
                  <a:gd name="T121" fmla="*/ 30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3" h="426">
                    <a:moveTo>
                      <a:pt x="475" y="298"/>
                    </a:moveTo>
                    <a:lnTo>
                      <a:pt x="477" y="298"/>
                    </a:lnTo>
                    <a:lnTo>
                      <a:pt x="477" y="298"/>
                    </a:lnTo>
                    <a:lnTo>
                      <a:pt x="479" y="298"/>
                    </a:lnTo>
                    <a:lnTo>
                      <a:pt x="481" y="298"/>
                    </a:lnTo>
                    <a:lnTo>
                      <a:pt x="481" y="298"/>
                    </a:lnTo>
                    <a:lnTo>
                      <a:pt x="483" y="298"/>
                    </a:lnTo>
                    <a:lnTo>
                      <a:pt x="483" y="296"/>
                    </a:lnTo>
                    <a:lnTo>
                      <a:pt x="483" y="296"/>
                    </a:lnTo>
                    <a:lnTo>
                      <a:pt x="479" y="292"/>
                    </a:lnTo>
                    <a:lnTo>
                      <a:pt x="475" y="290"/>
                    </a:lnTo>
                    <a:lnTo>
                      <a:pt x="475" y="290"/>
                    </a:lnTo>
                    <a:lnTo>
                      <a:pt x="475" y="288"/>
                    </a:lnTo>
                    <a:lnTo>
                      <a:pt x="475" y="288"/>
                    </a:lnTo>
                    <a:lnTo>
                      <a:pt x="475" y="286"/>
                    </a:lnTo>
                    <a:lnTo>
                      <a:pt x="475" y="286"/>
                    </a:lnTo>
                    <a:lnTo>
                      <a:pt x="473" y="286"/>
                    </a:lnTo>
                    <a:lnTo>
                      <a:pt x="473" y="286"/>
                    </a:lnTo>
                    <a:lnTo>
                      <a:pt x="473" y="286"/>
                    </a:lnTo>
                    <a:lnTo>
                      <a:pt x="473" y="284"/>
                    </a:lnTo>
                    <a:lnTo>
                      <a:pt x="473" y="284"/>
                    </a:lnTo>
                    <a:lnTo>
                      <a:pt x="473" y="282"/>
                    </a:lnTo>
                    <a:lnTo>
                      <a:pt x="471" y="280"/>
                    </a:lnTo>
                    <a:lnTo>
                      <a:pt x="471" y="278"/>
                    </a:lnTo>
                    <a:lnTo>
                      <a:pt x="469" y="278"/>
                    </a:lnTo>
                    <a:lnTo>
                      <a:pt x="471" y="276"/>
                    </a:lnTo>
                    <a:lnTo>
                      <a:pt x="471" y="276"/>
                    </a:lnTo>
                    <a:lnTo>
                      <a:pt x="471" y="276"/>
                    </a:lnTo>
                    <a:lnTo>
                      <a:pt x="467" y="274"/>
                    </a:lnTo>
                    <a:lnTo>
                      <a:pt x="465" y="272"/>
                    </a:lnTo>
                    <a:lnTo>
                      <a:pt x="465" y="270"/>
                    </a:lnTo>
                    <a:lnTo>
                      <a:pt x="461" y="264"/>
                    </a:lnTo>
                    <a:lnTo>
                      <a:pt x="461" y="264"/>
                    </a:lnTo>
                    <a:lnTo>
                      <a:pt x="461" y="264"/>
                    </a:lnTo>
                    <a:lnTo>
                      <a:pt x="459" y="264"/>
                    </a:lnTo>
                    <a:lnTo>
                      <a:pt x="459" y="262"/>
                    </a:lnTo>
                    <a:lnTo>
                      <a:pt x="459" y="262"/>
                    </a:lnTo>
                    <a:lnTo>
                      <a:pt x="459" y="260"/>
                    </a:lnTo>
                    <a:lnTo>
                      <a:pt x="461" y="260"/>
                    </a:lnTo>
                    <a:lnTo>
                      <a:pt x="461" y="260"/>
                    </a:lnTo>
                    <a:lnTo>
                      <a:pt x="461" y="258"/>
                    </a:lnTo>
                    <a:lnTo>
                      <a:pt x="461" y="258"/>
                    </a:lnTo>
                    <a:lnTo>
                      <a:pt x="461" y="258"/>
                    </a:lnTo>
                    <a:lnTo>
                      <a:pt x="463" y="258"/>
                    </a:lnTo>
                    <a:lnTo>
                      <a:pt x="461" y="256"/>
                    </a:lnTo>
                    <a:lnTo>
                      <a:pt x="461" y="254"/>
                    </a:lnTo>
                    <a:lnTo>
                      <a:pt x="459" y="254"/>
                    </a:lnTo>
                    <a:lnTo>
                      <a:pt x="461" y="252"/>
                    </a:lnTo>
                    <a:lnTo>
                      <a:pt x="461" y="252"/>
                    </a:lnTo>
                    <a:lnTo>
                      <a:pt x="459" y="250"/>
                    </a:lnTo>
                    <a:lnTo>
                      <a:pt x="459" y="250"/>
                    </a:lnTo>
                    <a:lnTo>
                      <a:pt x="457" y="250"/>
                    </a:lnTo>
                    <a:lnTo>
                      <a:pt x="457" y="248"/>
                    </a:lnTo>
                    <a:lnTo>
                      <a:pt x="457" y="248"/>
                    </a:lnTo>
                    <a:lnTo>
                      <a:pt x="457" y="248"/>
                    </a:lnTo>
                    <a:lnTo>
                      <a:pt x="457" y="248"/>
                    </a:lnTo>
                    <a:lnTo>
                      <a:pt x="455" y="246"/>
                    </a:lnTo>
                    <a:lnTo>
                      <a:pt x="455" y="246"/>
                    </a:lnTo>
                    <a:lnTo>
                      <a:pt x="457" y="246"/>
                    </a:lnTo>
                    <a:lnTo>
                      <a:pt x="455" y="244"/>
                    </a:lnTo>
                    <a:lnTo>
                      <a:pt x="455" y="244"/>
                    </a:lnTo>
                    <a:lnTo>
                      <a:pt x="455" y="242"/>
                    </a:lnTo>
                    <a:lnTo>
                      <a:pt x="455" y="240"/>
                    </a:lnTo>
                    <a:lnTo>
                      <a:pt x="455" y="240"/>
                    </a:lnTo>
                    <a:lnTo>
                      <a:pt x="455" y="240"/>
                    </a:lnTo>
                    <a:lnTo>
                      <a:pt x="455" y="238"/>
                    </a:lnTo>
                    <a:lnTo>
                      <a:pt x="455" y="238"/>
                    </a:lnTo>
                    <a:lnTo>
                      <a:pt x="455" y="238"/>
                    </a:lnTo>
                    <a:lnTo>
                      <a:pt x="455" y="238"/>
                    </a:lnTo>
                    <a:lnTo>
                      <a:pt x="455" y="238"/>
                    </a:lnTo>
                    <a:lnTo>
                      <a:pt x="455" y="236"/>
                    </a:lnTo>
                    <a:lnTo>
                      <a:pt x="455" y="236"/>
                    </a:lnTo>
                    <a:lnTo>
                      <a:pt x="455" y="236"/>
                    </a:lnTo>
                    <a:lnTo>
                      <a:pt x="455" y="236"/>
                    </a:lnTo>
                    <a:lnTo>
                      <a:pt x="455" y="236"/>
                    </a:lnTo>
                    <a:lnTo>
                      <a:pt x="455" y="234"/>
                    </a:lnTo>
                    <a:lnTo>
                      <a:pt x="455" y="234"/>
                    </a:lnTo>
                    <a:lnTo>
                      <a:pt x="455" y="234"/>
                    </a:lnTo>
                    <a:lnTo>
                      <a:pt x="455" y="232"/>
                    </a:lnTo>
                    <a:lnTo>
                      <a:pt x="455" y="232"/>
                    </a:lnTo>
                    <a:lnTo>
                      <a:pt x="457" y="230"/>
                    </a:lnTo>
                    <a:lnTo>
                      <a:pt x="457" y="230"/>
                    </a:lnTo>
                    <a:lnTo>
                      <a:pt x="459" y="230"/>
                    </a:lnTo>
                    <a:lnTo>
                      <a:pt x="459" y="228"/>
                    </a:lnTo>
                    <a:lnTo>
                      <a:pt x="457" y="226"/>
                    </a:lnTo>
                    <a:lnTo>
                      <a:pt x="457" y="226"/>
                    </a:lnTo>
                    <a:lnTo>
                      <a:pt x="457" y="224"/>
                    </a:lnTo>
                    <a:lnTo>
                      <a:pt x="457" y="224"/>
                    </a:lnTo>
                    <a:lnTo>
                      <a:pt x="459" y="222"/>
                    </a:lnTo>
                    <a:lnTo>
                      <a:pt x="459" y="222"/>
                    </a:lnTo>
                    <a:lnTo>
                      <a:pt x="459" y="222"/>
                    </a:lnTo>
                    <a:lnTo>
                      <a:pt x="459" y="222"/>
                    </a:lnTo>
                    <a:lnTo>
                      <a:pt x="459" y="222"/>
                    </a:lnTo>
                    <a:lnTo>
                      <a:pt x="459" y="220"/>
                    </a:lnTo>
                    <a:lnTo>
                      <a:pt x="459" y="218"/>
                    </a:lnTo>
                    <a:lnTo>
                      <a:pt x="459" y="216"/>
                    </a:lnTo>
                    <a:lnTo>
                      <a:pt x="461" y="214"/>
                    </a:lnTo>
                    <a:lnTo>
                      <a:pt x="461" y="214"/>
                    </a:lnTo>
                    <a:lnTo>
                      <a:pt x="461" y="214"/>
                    </a:lnTo>
                    <a:lnTo>
                      <a:pt x="461" y="210"/>
                    </a:lnTo>
                    <a:lnTo>
                      <a:pt x="459" y="210"/>
                    </a:lnTo>
                    <a:lnTo>
                      <a:pt x="459" y="208"/>
                    </a:lnTo>
                    <a:lnTo>
                      <a:pt x="459" y="208"/>
                    </a:lnTo>
                    <a:lnTo>
                      <a:pt x="459" y="208"/>
                    </a:lnTo>
                    <a:lnTo>
                      <a:pt x="459" y="208"/>
                    </a:lnTo>
                    <a:lnTo>
                      <a:pt x="457" y="206"/>
                    </a:lnTo>
                    <a:lnTo>
                      <a:pt x="457" y="206"/>
                    </a:lnTo>
                    <a:lnTo>
                      <a:pt x="457" y="206"/>
                    </a:lnTo>
                    <a:lnTo>
                      <a:pt x="457" y="206"/>
                    </a:lnTo>
                    <a:lnTo>
                      <a:pt x="455" y="206"/>
                    </a:lnTo>
                    <a:lnTo>
                      <a:pt x="453" y="206"/>
                    </a:lnTo>
                    <a:lnTo>
                      <a:pt x="451" y="202"/>
                    </a:lnTo>
                    <a:lnTo>
                      <a:pt x="453" y="202"/>
                    </a:lnTo>
                    <a:lnTo>
                      <a:pt x="453" y="202"/>
                    </a:lnTo>
                    <a:lnTo>
                      <a:pt x="453" y="200"/>
                    </a:lnTo>
                    <a:lnTo>
                      <a:pt x="451" y="202"/>
                    </a:lnTo>
                    <a:lnTo>
                      <a:pt x="451" y="202"/>
                    </a:lnTo>
                    <a:lnTo>
                      <a:pt x="451" y="200"/>
                    </a:lnTo>
                    <a:lnTo>
                      <a:pt x="451" y="200"/>
                    </a:lnTo>
                    <a:lnTo>
                      <a:pt x="449" y="202"/>
                    </a:lnTo>
                    <a:lnTo>
                      <a:pt x="449" y="202"/>
                    </a:lnTo>
                    <a:lnTo>
                      <a:pt x="449" y="200"/>
                    </a:lnTo>
                    <a:lnTo>
                      <a:pt x="449" y="200"/>
                    </a:lnTo>
                    <a:lnTo>
                      <a:pt x="447" y="200"/>
                    </a:lnTo>
                    <a:lnTo>
                      <a:pt x="447" y="200"/>
                    </a:lnTo>
                    <a:lnTo>
                      <a:pt x="447" y="200"/>
                    </a:lnTo>
                    <a:lnTo>
                      <a:pt x="447" y="200"/>
                    </a:lnTo>
                    <a:lnTo>
                      <a:pt x="447" y="200"/>
                    </a:lnTo>
                    <a:lnTo>
                      <a:pt x="443" y="198"/>
                    </a:lnTo>
                    <a:lnTo>
                      <a:pt x="443" y="198"/>
                    </a:lnTo>
                    <a:lnTo>
                      <a:pt x="443" y="198"/>
                    </a:lnTo>
                    <a:lnTo>
                      <a:pt x="439" y="198"/>
                    </a:lnTo>
                    <a:lnTo>
                      <a:pt x="437" y="196"/>
                    </a:lnTo>
                    <a:lnTo>
                      <a:pt x="439" y="196"/>
                    </a:lnTo>
                    <a:lnTo>
                      <a:pt x="437" y="194"/>
                    </a:lnTo>
                    <a:lnTo>
                      <a:pt x="437" y="194"/>
                    </a:lnTo>
                    <a:lnTo>
                      <a:pt x="437" y="194"/>
                    </a:lnTo>
                    <a:lnTo>
                      <a:pt x="437" y="192"/>
                    </a:lnTo>
                    <a:lnTo>
                      <a:pt x="439" y="188"/>
                    </a:lnTo>
                    <a:lnTo>
                      <a:pt x="439" y="188"/>
                    </a:lnTo>
                    <a:lnTo>
                      <a:pt x="441" y="184"/>
                    </a:lnTo>
                    <a:lnTo>
                      <a:pt x="447" y="176"/>
                    </a:lnTo>
                    <a:lnTo>
                      <a:pt x="451" y="174"/>
                    </a:lnTo>
                    <a:lnTo>
                      <a:pt x="457" y="172"/>
                    </a:lnTo>
                    <a:lnTo>
                      <a:pt x="465" y="168"/>
                    </a:lnTo>
                    <a:lnTo>
                      <a:pt x="471" y="164"/>
                    </a:lnTo>
                    <a:lnTo>
                      <a:pt x="473" y="162"/>
                    </a:lnTo>
                    <a:lnTo>
                      <a:pt x="473" y="160"/>
                    </a:lnTo>
                    <a:lnTo>
                      <a:pt x="473" y="158"/>
                    </a:lnTo>
                    <a:lnTo>
                      <a:pt x="473" y="148"/>
                    </a:lnTo>
                    <a:lnTo>
                      <a:pt x="473" y="148"/>
                    </a:lnTo>
                    <a:lnTo>
                      <a:pt x="473" y="148"/>
                    </a:lnTo>
                    <a:lnTo>
                      <a:pt x="473" y="146"/>
                    </a:lnTo>
                    <a:lnTo>
                      <a:pt x="471" y="146"/>
                    </a:lnTo>
                    <a:lnTo>
                      <a:pt x="473" y="146"/>
                    </a:lnTo>
                    <a:lnTo>
                      <a:pt x="473" y="144"/>
                    </a:lnTo>
                    <a:lnTo>
                      <a:pt x="473" y="144"/>
                    </a:lnTo>
                    <a:lnTo>
                      <a:pt x="473" y="144"/>
                    </a:lnTo>
                    <a:lnTo>
                      <a:pt x="473" y="142"/>
                    </a:lnTo>
                    <a:lnTo>
                      <a:pt x="473" y="140"/>
                    </a:lnTo>
                    <a:lnTo>
                      <a:pt x="473" y="140"/>
                    </a:lnTo>
                    <a:lnTo>
                      <a:pt x="473" y="140"/>
                    </a:lnTo>
                    <a:lnTo>
                      <a:pt x="471" y="138"/>
                    </a:lnTo>
                    <a:lnTo>
                      <a:pt x="471" y="136"/>
                    </a:lnTo>
                    <a:lnTo>
                      <a:pt x="471" y="136"/>
                    </a:lnTo>
                    <a:lnTo>
                      <a:pt x="471" y="134"/>
                    </a:lnTo>
                    <a:lnTo>
                      <a:pt x="471" y="132"/>
                    </a:lnTo>
                    <a:lnTo>
                      <a:pt x="471" y="132"/>
                    </a:lnTo>
                    <a:lnTo>
                      <a:pt x="471" y="130"/>
                    </a:lnTo>
                    <a:lnTo>
                      <a:pt x="471" y="130"/>
                    </a:lnTo>
                    <a:lnTo>
                      <a:pt x="471" y="128"/>
                    </a:lnTo>
                    <a:lnTo>
                      <a:pt x="471" y="128"/>
                    </a:lnTo>
                    <a:lnTo>
                      <a:pt x="469" y="126"/>
                    </a:lnTo>
                    <a:lnTo>
                      <a:pt x="469" y="126"/>
                    </a:lnTo>
                    <a:lnTo>
                      <a:pt x="469" y="124"/>
                    </a:lnTo>
                    <a:lnTo>
                      <a:pt x="467" y="124"/>
                    </a:lnTo>
                    <a:lnTo>
                      <a:pt x="467" y="122"/>
                    </a:lnTo>
                    <a:lnTo>
                      <a:pt x="467" y="120"/>
                    </a:lnTo>
                    <a:lnTo>
                      <a:pt x="465" y="114"/>
                    </a:lnTo>
                    <a:lnTo>
                      <a:pt x="463" y="110"/>
                    </a:lnTo>
                    <a:lnTo>
                      <a:pt x="461" y="106"/>
                    </a:lnTo>
                    <a:lnTo>
                      <a:pt x="457" y="94"/>
                    </a:lnTo>
                    <a:lnTo>
                      <a:pt x="455" y="90"/>
                    </a:lnTo>
                    <a:lnTo>
                      <a:pt x="455" y="84"/>
                    </a:lnTo>
                    <a:lnTo>
                      <a:pt x="455" y="84"/>
                    </a:lnTo>
                    <a:lnTo>
                      <a:pt x="455" y="82"/>
                    </a:lnTo>
                    <a:lnTo>
                      <a:pt x="453" y="78"/>
                    </a:lnTo>
                    <a:lnTo>
                      <a:pt x="453" y="76"/>
                    </a:lnTo>
                    <a:lnTo>
                      <a:pt x="453" y="74"/>
                    </a:lnTo>
                    <a:lnTo>
                      <a:pt x="453" y="72"/>
                    </a:lnTo>
                    <a:lnTo>
                      <a:pt x="453" y="70"/>
                    </a:lnTo>
                    <a:lnTo>
                      <a:pt x="453" y="70"/>
                    </a:lnTo>
                    <a:lnTo>
                      <a:pt x="453" y="68"/>
                    </a:lnTo>
                    <a:lnTo>
                      <a:pt x="453" y="68"/>
                    </a:lnTo>
                    <a:lnTo>
                      <a:pt x="451" y="68"/>
                    </a:lnTo>
                    <a:lnTo>
                      <a:pt x="451" y="68"/>
                    </a:lnTo>
                    <a:lnTo>
                      <a:pt x="451" y="68"/>
                    </a:lnTo>
                    <a:lnTo>
                      <a:pt x="451" y="66"/>
                    </a:lnTo>
                    <a:lnTo>
                      <a:pt x="451" y="66"/>
                    </a:lnTo>
                    <a:lnTo>
                      <a:pt x="451" y="66"/>
                    </a:lnTo>
                    <a:lnTo>
                      <a:pt x="451" y="66"/>
                    </a:lnTo>
                    <a:lnTo>
                      <a:pt x="451" y="64"/>
                    </a:lnTo>
                    <a:lnTo>
                      <a:pt x="453" y="64"/>
                    </a:lnTo>
                    <a:lnTo>
                      <a:pt x="453" y="62"/>
                    </a:lnTo>
                    <a:lnTo>
                      <a:pt x="451" y="58"/>
                    </a:lnTo>
                    <a:lnTo>
                      <a:pt x="451" y="56"/>
                    </a:lnTo>
                    <a:lnTo>
                      <a:pt x="451" y="54"/>
                    </a:lnTo>
                    <a:lnTo>
                      <a:pt x="451" y="54"/>
                    </a:lnTo>
                    <a:lnTo>
                      <a:pt x="449" y="52"/>
                    </a:lnTo>
                    <a:lnTo>
                      <a:pt x="449" y="52"/>
                    </a:lnTo>
                    <a:lnTo>
                      <a:pt x="447" y="52"/>
                    </a:lnTo>
                    <a:lnTo>
                      <a:pt x="447" y="52"/>
                    </a:lnTo>
                    <a:lnTo>
                      <a:pt x="447" y="50"/>
                    </a:lnTo>
                    <a:lnTo>
                      <a:pt x="447" y="50"/>
                    </a:lnTo>
                    <a:lnTo>
                      <a:pt x="445" y="48"/>
                    </a:lnTo>
                    <a:lnTo>
                      <a:pt x="445" y="48"/>
                    </a:lnTo>
                    <a:lnTo>
                      <a:pt x="445" y="48"/>
                    </a:lnTo>
                    <a:lnTo>
                      <a:pt x="441" y="46"/>
                    </a:lnTo>
                    <a:lnTo>
                      <a:pt x="439" y="44"/>
                    </a:lnTo>
                    <a:lnTo>
                      <a:pt x="435" y="42"/>
                    </a:lnTo>
                    <a:lnTo>
                      <a:pt x="435" y="42"/>
                    </a:lnTo>
                    <a:lnTo>
                      <a:pt x="433" y="42"/>
                    </a:lnTo>
                    <a:lnTo>
                      <a:pt x="433" y="42"/>
                    </a:lnTo>
                    <a:lnTo>
                      <a:pt x="431" y="42"/>
                    </a:lnTo>
                    <a:lnTo>
                      <a:pt x="431" y="42"/>
                    </a:lnTo>
                    <a:lnTo>
                      <a:pt x="431" y="40"/>
                    </a:lnTo>
                    <a:lnTo>
                      <a:pt x="431" y="40"/>
                    </a:lnTo>
                    <a:lnTo>
                      <a:pt x="431" y="40"/>
                    </a:lnTo>
                    <a:lnTo>
                      <a:pt x="431" y="38"/>
                    </a:lnTo>
                    <a:lnTo>
                      <a:pt x="429" y="38"/>
                    </a:lnTo>
                    <a:lnTo>
                      <a:pt x="429" y="38"/>
                    </a:lnTo>
                    <a:lnTo>
                      <a:pt x="427" y="38"/>
                    </a:lnTo>
                    <a:lnTo>
                      <a:pt x="427" y="38"/>
                    </a:lnTo>
                    <a:lnTo>
                      <a:pt x="427" y="36"/>
                    </a:lnTo>
                    <a:lnTo>
                      <a:pt x="427" y="36"/>
                    </a:lnTo>
                    <a:lnTo>
                      <a:pt x="427" y="36"/>
                    </a:lnTo>
                    <a:lnTo>
                      <a:pt x="425" y="36"/>
                    </a:lnTo>
                    <a:lnTo>
                      <a:pt x="425" y="36"/>
                    </a:lnTo>
                    <a:lnTo>
                      <a:pt x="421" y="34"/>
                    </a:lnTo>
                    <a:lnTo>
                      <a:pt x="421" y="34"/>
                    </a:lnTo>
                    <a:lnTo>
                      <a:pt x="419" y="36"/>
                    </a:lnTo>
                    <a:lnTo>
                      <a:pt x="419" y="38"/>
                    </a:lnTo>
                    <a:lnTo>
                      <a:pt x="417" y="38"/>
                    </a:lnTo>
                    <a:lnTo>
                      <a:pt x="415" y="38"/>
                    </a:lnTo>
                    <a:lnTo>
                      <a:pt x="405" y="38"/>
                    </a:lnTo>
                    <a:lnTo>
                      <a:pt x="393" y="38"/>
                    </a:lnTo>
                    <a:lnTo>
                      <a:pt x="367" y="36"/>
                    </a:lnTo>
                    <a:lnTo>
                      <a:pt x="347" y="36"/>
                    </a:lnTo>
                    <a:lnTo>
                      <a:pt x="329" y="34"/>
                    </a:lnTo>
                    <a:lnTo>
                      <a:pt x="301" y="34"/>
                    </a:lnTo>
                    <a:lnTo>
                      <a:pt x="283" y="32"/>
                    </a:lnTo>
                    <a:lnTo>
                      <a:pt x="273" y="32"/>
                    </a:lnTo>
                    <a:lnTo>
                      <a:pt x="269" y="32"/>
                    </a:lnTo>
                    <a:lnTo>
                      <a:pt x="267" y="30"/>
                    </a:lnTo>
                    <a:lnTo>
                      <a:pt x="265" y="30"/>
                    </a:lnTo>
                    <a:lnTo>
                      <a:pt x="265" y="30"/>
                    </a:lnTo>
                    <a:lnTo>
                      <a:pt x="261" y="34"/>
                    </a:lnTo>
                    <a:lnTo>
                      <a:pt x="261" y="34"/>
                    </a:lnTo>
                    <a:lnTo>
                      <a:pt x="259" y="34"/>
                    </a:lnTo>
                    <a:lnTo>
                      <a:pt x="255" y="36"/>
                    </a:lnTo>
                    <a:lnTo>
                      <a:pt x="237" y="38"/>
                    </a:lnTo>
                    <a:lnTo>
                      <a:pt x="235" y="38"/>
                    </a:lnTo>
                    <a:lnTo>
                      <a:pt x="235" y="38"/>
                    </a:lnTo>
                    <a:lnTo>
                      <a:pt x="233" y="38"/>
                    </a:lnTo>
                    <a:lnTo>
                      <a:pt x="233" y="38"/>
                    </a:lnTo>
                    <a:lnTo>
                      <a:pt x="231" y="38"/>
                    </a:lnTo>
                    <a:lnTo>
                      <a:pt x="223" y="36"/>
                    </a:lnTo>
                    <a:lnTo>
                      <a:pt x="221" y="34"/>
                    </a:lnTo>
                    <a:lnTo>
                      <a:pt x="221" y="34"/>
                    </a:lnTo>
                    <a:lnTo>
                      <a:pt x="221" y="34"/>
                    </a:lnTo>
                    <a:lnTo>
                      <a:pt x="219" y="34"/>
                    </a:lnTo>
                    <a:lnTo>
                      <a:pt x="219" y="34"/>
                    </a:lnTo>
                    <a:lnTo>
                      <a:pt x="219" y="34"/>
                    </a:lnTo>
                    <a:lnTo>
                      <a:pt x="217" y="32"/>
                    </a:lnTo>
                    <a:lnTo>
                      <a:pt x="217" y="32"/>
                    </a:lnTo>
                    <a:lnTo>
                      <a:pt x="215" y="30"/>
                    </a:lnTo>
                    <a:lnTo>
                      <a:pt x="215" y="28"/>
                    </a:lnTo>
                    <a:lnTo>
                      <a:pt x="215" y="24"/>
                    </a:lnTo>
                    <a:lnTo>
                      <a:pt x="215" y="24"/>
                    </a:lnTo>
                    <a:lnTo>
                      <a:pt x="215" y="22"/>
                    </a:lnTo>
                    <a:lnTo>
                      <a:pt x="213" y="18"/>
                    </a:lnTo>
                    <a:lnTo>
                      <a:pt x="213" y="18"/>
                    </a:lnTo>
                    <a:lnTo>
                      <a:pt x="213" y="16"/>
                    </a:lnTo>
                    <a:lnTo>
                      <a:pt x="213" y="16"/>
                    </a:lnTo>
                    <a:lnTo>
                      <a:pt x="213" y="16"/>
                    </a:lnTo>
                    <a:lnTo>
                      <a:pt x="211" y="16"/>
                    </a:lnTo>
                    <a:lnTo>
                      <a:pt x="211" y="16"/>
                    </a:lnTo>
                    <a:lnTo>
                      <a:pt x="211" y="14"/>
                    </a:lnTo>
                    <a:lnTo>
                      <a:pt x="211" y="14"/>
                    </a:lnTo>
                    <a:lnTo>
                      <a:pt x="211" y="14"/>
                    </a:lnTo>
                    <a:lnTo>
                      <a:pt x="211" y="14"/>
                    </a:lnTo>
                    <a:lnTo>
                      <a:pt x="211" y="12"/>
                    </a:lnTo>
                    <a:lnTo>
                      <a:pt x="211" y="10"/>
                    </a:lnTo>
                    <a:lnTo>
                      <a:pt x="209" y="10"/>
                    </a:lnTo>
                    <a:lnTo>
                      <a:pt x="209" y="10"/>
                    </a:lnTo>
                    <a:lnTo>
                      <a:pt x="209" y="10"/>
                    </a:lnTo>
                    <a:lnTo>
                      <a:pt x="209" y="8"/>
                    </a:lnTo>
                    <a:lnTo>
                      <a:pt x="209" y="8"/>
                    </a:lnTo>
                    <a:lnTo>
                      <a:pt x="209" y="8"/>
                    </a:lnTo>
                    <a:lnTo>
                      <a:pt x="209" y="6"/>
                    </a:lnTo>
                    <a:lnTo>
                      <a:pt x="209" y="4"/>
                    </a:lnTo>
                    <a:lnTo>
                      <a:pt x="209" y="4"/>
                    </a:lnTo>
                    <a:lnTo>
                      <a:pt x="209" y="4"/>
                    </a:lnTo>
                    <a:lnTo>
                      <a:pt x="211" y="6"/>
                    </a:lnTo>
                    <a:lnTo>
                      <a:pt x="213" y="6"/>
                    </a:lnTo>
                    <a:lnTo>
                      <a:pt x="215" y="8"/>
                    </a:lnTo>
                    <a:lnTo>
                      <a:pt x="217" y="10"/>
                    </a:lnTo>
                    <a:lnTo>
                      <a:pt x="219" y="10"/>
                    </a:lnTo>
                    <a:lnTo>
                      <a:pt x="219" y="10"/>
                    </a:lnTo>
                    <a:lnTo>
                      <a:pt x="219" y="10"/>
                    </a:lnTo>
                    <a:lnTo>
                      <a:pt x="221" y="12"/>
                    </a:lnTo>
                    <a:lnTo>
                      <a:pt x="223" y="12"/>
                    </a:lnTo>
                    <a:lnTo>
                      <a:pt x="225" y="14"/>
                    </a:lnTo>
                    <a:lnTo>
                      <a:pt x="225" y="16"/>
                    </a:lnTo>
                    <a:lnTo>
                      <a:pt x="225" y="18"/>
                    </a:lnTo>
                    <a:lnTo>
                      <a:pt x="227" y="18"/>
                    </a:lnTo>
                    <a:lnTo>
                      <a:pt x="227" y="18"/>
                    </a:lnTo>
                    <a:lnTo>
                      <a:pt x="227" y="20"/>
                    </a:lnTo>
                    <a:lnTo>
                      <a:pt x="227" y="20"/>
                    </a:lnTo>
                    <a:lnTo>
                      <a:pt x="229" y="20"/>
                    </a:lnTo>
                    <a:lnTo>
                      <a:pt x="229" y="18"/>
                    </a:lnTo>
                    <a:lnTo>
                      <a:pt x="227" y="16"/>
                    </a:lnTo>
                    <a:lnTo>
                      <a:pt x="227" y="16"/>
                    </a:lnTo>
                    <a:lnTo>
                      <a:pt x="225" y="12"/>
                    </a:lnTo>
                    <a:lnTo>
                      <a:pt x="207" y="2"/>
                    </a:lnTo>
                    <a:lnTo>
                      <a:pt x="207" y="2"/>
                    </a:lnTo>
                    <a:lnTo>
                      <a:pt x="207" y="2"/>
                    </a:lnTo>
                    <a:lnTo>
                      <a:pt x="205" y="0"/>
                    </a:lnTo>
                    <a:lnTo>
                      <a:pt x="203" y="0"/>
                    </a:lnTo>
                    <a:lnTo>
                      <a:pt x="195" y="0"/>
                    </a:lnTo>
                    <a:lnTo>
                      <a:pt x="183" y="2"/>
                    </a:lnTo>
                    <a:lnTo>
                      <a:pt x="175" y="4"/>
                    </a:lnTo>
                    <a:lnTo>
                      <a:pt x="157" y="8"/>
                    </a:lnTo>
                    <a:lnTo>
                      <a:pt x="141" y="14"/>
                    </a:lnTo>
                    <a:lnTo>
                      <a:pt x="137" y="18"/>
                    </a:lnTo>
                    <a:lnTo>
                      <a:pt x="135" y="20"/>
                    </a:lnTo>
                    <a:lnTo>
                      <a:pt x="133" y="20"/>
                    </a:lnTo>
                    <a:lnTo>
                      <a:pt x="129" y="22"/>
                    </a:lnTo>
                    <a:lnTo>
                      <a:pt x="119" y="22"/>
                    </a:lnTo>
                    <a:lnTo>
                      <a:pt x="115" y="24"/>
                    </a:lnTo>
                    <a:lnTo>
                      <a:pt x="115" y="26"/>
                    </a:lnTo>
                    <a:lnTo>
                      <a:pt x="113" y="28"/>
                    </a:lnTo>
                    <a:lnTo>
                      <a:pt x="115" y="28"/>
                    </a:lnTo>
                    <a:lnTo>
                      <a:pt x="115" y="26"/>
                    </a:lnTo>
                    <a:lnTo>
                      <a:pt x="115" y="28"/>
                    </a:lnTo>
                    <a:lnTo>
                      <a:pt x="115" y="28"/>
                    </a:lnTo>
                    <a:lnTo>
                      <a:pt x="113" y="28"/>
                    </a:lnTo>
                    <a:lnTo>
                      <a:pt x="113" y="30"/>
                    </a:lnTo>
                    <a:lnTo>
                      <a:pt x="113" y="28"/>
                    </a:lnTo>
                    <a:lnTo>
                      <a:pt x="113" y="28"/>
                    </a:lnTo>
                    <a:lnTo>
                      <a:pt x="113" y="28"/>
                    </a:lnTo>
                    <a:lnTo>
                      <a:pt x="107" y="34"/>
                    </a:lnTo>
                    <a:lnTo>
                      <a:pt x="105" y="38"/>
                    </a:lnTo>
                    <a:lnTo>
                      <a:pt x="105" y="38"/>
                    </a:lnTo>
                    <a:lnTo>
                      <a:pt x="107" y="36"/>
                    </a:lnTo>
                    <a:lnTo>
                      <a:pt x="107" y="36"/>
                    </a:lnTo>
                    <a:lnTo>
                      <a:pt x="109" y="38"/>
                    </a:lnTo>
                    <a:lnTo>
                      <a:pt x="107" y="38"/>
                    </a:lnTo>
                    <a:lnTo>
                      <a:pt x="105" y="40"/>
                    </a:lnTo>
                    <a:lnTo>
                      <a:pt x="105" y="40"/>
                    </a:lnTo>
                    <a:lnTo>
                      <a:pt x="105" y="40"/>
                    </a:lnTo>
                    <a:lnTo>
                      <a:pt x="103" y="40"/>
                    </a:lnTo>
                    <a:lnTo>
                      <a:pt x="103" y="40"/>
                    </a:lnTo>
                    <a:lnTo>
                      <a:pt x="103" y="40"/>
                    </a:lnTo>
                    <a:lnTo>
                      <a:pt x="105" y="38"/>
                    </a:lnTo>
                    <a:lnTo>
                      <a:pt x="105" y="38"/>
                    </a:lnTo>
                    <a:lnTo>
                      <a:pt x="101" y="42"/>
                    </a:lnTo>
                    <a:lnTo>
                      <a:pt x="101" y="42"/>
                    </a:lnTo>
                    <a:lnTo>
                      <a:pt x="99" y="44"/>
                    </a:lnTo>
                    <a:lnTo>
                      <a:pt x="101" y="42"/>
                    </a:lnTo>
                    <a:lnTo>
                      <a:pt x="103" y="42"/>
                    </a:lnTo>
                    <a:lnTo>
                      <a:pt x="101" y="44"/>
                    </a:lnTo>
                    <a:lnTo>
                      <a:pt x="103" y="44"/>
                    </a:lnTo>
                    <a:lnTo>
                      <a:pt x="103" y="44"/>
                    </a:lnTo>
                    <a:lnTo>
                      <a:pt x="101" y="44"/>
                    </a:lnTo>
                    <a:lnTo>
                      <a:pt x="101" y="44"/>
                    </a:lnTo>
                    <a:lnTo>
                      <a:pt x="101" y="44"/>
                    </a:lnTo>
                    <a:lnTo>
                      <a:pt x="101" y="46"/>
                    </a:lnTo>
                    <a:lnTo>
                      <a:pt x="97" y="46"/>
                    </a:lnTo>
                    <a:lnTo>
                      <a:pt x="95" y="46"/>
                    </a:lnTo>
                    <a:lnTo>
                      <a:pt x="97" y="44"/>
                    </a:lnTo>
                    <a:lnTo>
                      <a:pt x="99" y="44"/>
                    </a:lnTo>
                    <a:lnTo>
                      <a:pt x="93" y="46"/>
                    </a:lnTo>
                    <a:lnTo>
                      <a:pt x="85" y="46"/>
                    </a:lnTo>
                    <a:lnTo>
                      <a:pt x="75" y="50"/>
                    </a:lnTo>
                    <a:lnTo>
                      <a:pt x="67" y="52"/>
                    </a:lnTo>
                    <a:lnTo>
                      <a:pt x="57" y="54"/>
                    </a:lnTo>
                    <a:lnTo>
                      <a:pt x="45" y="60"/>
                    </a:lnTo>
                    <a:lnTo>
                      <a:pt x="33" y="62"/>
                    </a:lnTo>
                    <a:lnTo>
                      <a:pt x="20" y="68"/>
                    </a:lnTo>
                    <a:lnTo>
                      <a:pt x="16" y="70"/>
                    </a:lnTo>
                    <a:lnTo>
                      <a:pt x="14" y="72"/>
                    </a:lnTo>
                    <a:lnTo>
                      <a:pt x="12" y="72"/>
                    </a:lnTo>
                    <a:lnTo>
                      <a:pt x="8" y="72"/>
                    </a:lnTo>
                    <a:lnTo>
                      <a:pt x="6" y="70"/>
                    </a:lnTo>
                    <a:lnTo>
                      <a:pt x="6" y="70"/>
                    </a:lnTo>
                    <a:lnTo>
                      <a:pt x="4" y="70"/>
                    </a:lnTo>
                    <a:lnTo>
                      <a:pt x="4" y="72"/>
                    </a:lnTo>
                    <a:lnTo>
                      <a:pt x="4" y="72"/>
                    </a:lnTo>
                    <a:lnTo>
                      <a:pt x="2" y="72"/>
                    </a:lnTo>
                    <a:lnTo>
                      <a:pt x="4" y="74"/>
                    </a:lnTo>
                    <a:lnTo>
                      <a:pt x="4" y="74"/>
                    </a:lnTo>
                    <a:lnTo>
                      <a:pt x="6" y="76"/>
                    </a:lnTo>
                    <a:lnTo>
                      <a:pt x="8" y="78"/>
                    </a:lnTo>
                    <a:lnTo>
                      <a:pt x="8" y="78"/>
                    </a:lnTo>
                    <a:lnTo>
                      <a:pt x="10" y="78"/>
                    </a:lnTo>
                    <a:lnTo>
                      <a:pt x="10" y="78"/>
                    </a:lnTo>
                    <a:lnTo>
                      <a:pt x="10" y="78"/>
                    </a:lnTo>
                    <a:lnTo>
                      <a:pt x="10" y="78"/>
                    </a:lnTo>
                    <a:lnTo>
                      <a:pt x="10" y="78"/>
                    </a:lnTo>
                    <a:lnTo>
                      <a:pt x="10" y="78"/>
                    </a:lnTo>
                    <a:lnTo>
                      <a:pt x="10" y="78"/>
                    </a:lnTo>
                    <a:lnTo>
                      <a:pt x="10" y="78"/>
                    </a:lnTo>
                    <a:lnTo>
                      <a:pt x="12" y="78"/>
                    </a:lnTo>
                    <a:lnTo>
                      <a:pt x="14" y="78"/>
                    </a:lnTo>
                    <a:lnTo>
                      <a:pt x="14" y="78"/>
                    </a:lnTo>
                    <a:lnTo>
                      <a:pt x="14" y="78"/>
                    </a:lnTo>
                    <a:lnTo>
                      <a:pt x="14" y="76"/>
                    </a:lnTo>
                    <a:lnTo>
                      <a:pt x="14" y="76"/>
                    </a:lnTo>
                    <a:lnTo>
                      <a:pt x="14" y="76"/>
                    </a:lnTo>
                    <a:lnTo>
                      <a:pt x="14" y="74"/>
                    </a:lnTo>
                    <a:lnTo>
                      <a:pt x="12" y="74"/>
                    </a:lnTo>
                    <a:lnTo>
                      <a:pt x="12" y="74"/>
                    </a:lnTo>
                    <a:lnTo>
                      <a:pt x="12" y="74"/>
                    </a:lnTo>
                    <a:lnTo>
                      <a:pt x="14" y="74"/>
                    </a:lnTo>
                    <a:lnTo>
                      <a:pt x="14" y="72"/>
                    </a:lnTo>
                    <a:lnTo>
                      <a:pt x="14" y="74"/>
                    </a:lnTo>
                    <a:lnTo>
                      <a:pt x="14" y="74"/>
                    </a:lnTo>
                    <a:lnTo>
                      <a:pt x="14" y="74"/>
                    </a:lnTo>
                    <a:lnTo>
                      <a:pt x="16" y="72"/>
                    </a:lnTo>
                    <a:lnTo>
                      <a:pt x="16" y="72"/>
                    </a:lnTo>
                    <a:lnTo>
                      <a:pt x="16" y="72"/>
                    </a:lnTo>
                    <a:lnTo>
                      <a:pt x="14" y="74"/>
                    </a:lnTo>
                    <a:lnTo>
                      <a:pt x="16" y="76"/>
                    </a:lnTo>
                    <a:lnTo>
                      <a:pt x="23" y="76"/>
                    </a:lnTo>
                    <a:lnTo>
                      <a:pt x="23" y="76"/>
                    </a:lnTo>
                    <a:lnTo>
                      <a:pt x="25" y="78"/>
                    </a:lnTo>
                    <a:lnTo>
                      <a:pt x="23" y="78"/>
                    </a:lnTo>
                    <a:lnTo>
                      <a:pt x="23" y="78"/>
                    </a:lnTo>
                    <a:lnTo>
                      <a:pt x="23" y="78"/>
                    </a:lnTo>
                    <a:lnTo>
                      <a:pt x="23" y="78"/>
                    </a:lnTo>
                    <a:lnTo>
                      <a:pt x="23" y="80"/>
                    </a:lnTo>
                    <a:lnTo>
                      <a:pt x="23" y="80"/>
                    </a:lnTo>
                    <a:lnTo>
                      <a:pt x="25" y="80"/>
                    </a:lnTo>
                    <a:lnTo>
                      <a:pt x="25" y="78"/>
                    </a:lnTo>
                    <a:lnTo>
                      <a:pt x="25" y="78"/>
                    </a:lnTo>
                    <a:lnTo>
                      <a:pt x="25" y="78"/>
                    </a:lnTo>
                    <a:lnTo>
                      <a:pt x="25" y="76"/>
                    </a:lnTo>
                    <a:lnTo>
                      <a:pt x="25" y="76"/>
                    </a:lnTo>
                    <a:lnTo>
                      <a:pt x="25" y="78"/>
                    </a:lnTo>
                    <a:lnTo>
                      <a:pt x="25" y="80"/>
                    </a:lnTo>
                    <a:lnTo>
                      <a:pt x="25" y="80"/>
                    </a:lnTo>
                    <a:lnTo>
                      <a:pt x="25" y="82"/>
                    </a:lnTo>
                    <a:lnTo>
                      <a:pt x="25" y="82"/>
                    </a:lnTo>
                    <a:lnTo>
                      <a:pt x="25" y="82"/>
                    </a:lnTo>
                    <a:lnTo>
                      <a:pt x="23" y="84"/>
                    </a:lnTo>
                    <a:lnTo>
                      <a:pt x="23" y="82"/>
                    </a:lnTo>
                    <a:lnTo>
                      <a:pt x="20" y="86"/>
                    </a:lnTo>
                    <a:lnTo>
                      <a:pt x="20" y="88"/>
                    </a:lnTo>
                    <a:lnTo>
                      <a:pt x="23" y="90"/>
                    </a:lnTo>
                    <a:lnTo>
                      <a:pt x="23" y="92"/>
                    </a:lnTo>
                    <a:lnTo>
                      <a:pt x="25" y="92"/>
                    </a:lnTo>
                    <a:lnTo>
                      <a:pt x="25" y="92"/>
                    </a:lnTo>
                    <a:lnTo>
                      <a:pt x="25" y="92"/>
                    </a:lnTo>
                    <a:lnTo>
                      <a:pt x="25" y="92"/>
                    </a:lnTo>
                    <a:lnTo>
                      <a:pt x="25" y="92"/>
                    </a:lnTo>
                    <a:lnTo>
                      <a:pt x="25" y="94"/>
                    </a:lnTo>
                    <a:lnTo>
                      <a:pt x="25" y="94"/>
                    </a:lnTo>
                    <a:lnTo>
                      <a:pt x="25" y="94"/>
                    </a:lnTo>
                    <a:lnTo>
                      <a:pt x="25" y="96"/>
                    </a:lnTo>
                    <a:lnTo>
                      <a:pt x="25" y="96"/>
                    </a:lnTo>
                    <a:lnTo>
                      <a:pt x="23" y="96"/>
                    </a:lnTo>
                    <a:lnTo>
                      <a:pt x="20" y="92"/>
                    </a:lnTo>
                    <a:lnTo>
                      <a:pt x="20" y="92"/>
                    </a:lnTo>
                    <a:lnTo>
                      <a:pt x="20" y="90"/>
                    </a:lnTo>
                    <a:lnTo>
                      <a:pt x="16" y="90"/>
                    </a:lnTo>
                    <a:lnTo>
                      <a:pt x="14" y="90"/>
                    </a:lnTo>
                    <a:lnTo>
                      <a:pt x="14" y="88"/>
                    </a:lnTo>
                    <a:lnTo>
                      <a:pt x="14" y="88"/>
                    </a:lnTo>
                    <a:lnTo>
                      <a:pt x="12" y="88"/>
                    </a:lnTo>
                    <a:lnTo>
                      <a:pt x="10" y="86"/>
                    </a:lnTo>
                    <a:lnTo>
                      <a:pt x="10" y="86"/>
                    </a:lnTo>
                    <a:lnTo>
                      <a:pt x="10" y="84"/>
                    </a:lnTo>
                    <a:lnTo>
                      <a:pt x="10" y="84"/>
                    </a:lnTo>
                    <a:lnTo>
                      <a:pt x="8" y="84"/>
                    </a:lnTo>
                    <a:lnTo>
                      <a:pt x="8" y="84"/>
                    </a:lnTo>
                    <a:lnTo>
                      <a:pt x="8" y="86"/>
                    </a:lnTo>
                    <a:lnTo>
                      <a:pt x="10" y="86"/>
                    </a:lnTo>
                    <a:lnTo>
                      <a:pt x="8" y="86"/>
                    </a:lnTo>
                    <a:lnTo>
                      <a:pt x="8" y="86"/>
                    </a:lnTo>
                    <a:lnTo>
                      <a:pt x="10" y="86"/>
                    </a:lnTo>
                    <a:lnTo>
                      <a:pt x="10" y="86"/>
                    </a:lnTo>
                    <a:lnTo>
                      <a:pt x="8" y="88"/>
                    </a:lnTo>
                    <a:lnTo>
                      <a:pt x="8" y="88"/>
                    </a:lnTo>
                    <a:lnTo>
                      <a:pt x="8" y="88"/>
                    </a:lnTo>
                    <a:lnTo>
                      <a:pt x="8" y="90"/>
                    </a:lnTo>
                    <a:lnTo>
                      <a:pt x="6" y="92"/>
                    </a:lnTo>
                    <a:lnTo>
                      <a:pt x="8" y="92"/>
                    </a:lnTo>
                    <a:lnTo>
                      <a:pt x="8" y="96"/>
                    </a:lnTo>
                    <a:lnTo>
                      <a:pt x="8" y="96"/>
                    </a:lnTo>
                    <a:lnTo>
                      <a:pt x="8" y="100"/>
                    </a:lnTo>
                    <a:lnTo>
                      <a:pt x="8" y="100"/>
                    </a:lnTo>
                    <a:lnTo>
                      <a:pt x="10" y="102"/>
                    </a:lnTo>
                    <a:lnTo>
                      <a:pt x="10" y="104"/>
                    </a:lnTo>
                    <a:lnTo>
                      <a:pt x="10" y="106"/>
                    </a:lnTo>
                    <a:lnTo>
                      <a:pt x="12" y="108"/>
                    </a:lnTo>
                    <a:lnTo>
                      <a:pt x="12" y="112"/>
                    </a:lnTo>
                    <a:lnTo>
                      <a:pt x="14" y="116"/>
                    </a:lnTo>
                    <a:lnTo>
                      <a:pt x="14" y="116"/>
                    </a:lnTo>
                    <a:lnTo>
                      <a:pt x="14" y="118"/>
                    </a:lnTo>
                    <a:lnTo>
                      <a:pt x="14" y="118"/>
                    </a:lnTo>
                    <a:lnTo>
                      <a:pt x="14" y="120"/>
                    </a:lnTo>
                    <a:lnTo>
                      <a:pt x="14" y="120"/>
                    </a:lnTo>
                    <a:lnTo>
                      <a:pt x="14" y="120"/>
                    </a:lnTo>
                    <a:lnTo>
                      <a:pt x="16" y="122"/>
                    </a:lnTo>
                    <a:lnTo>
                      <a:pt x="16" y="122"/>
                    </a:lnTo>
                    <a:lnTo>
                      <a:pt x="14" y="124"/>
                    </a:lnTo>
                    <a:lnTo>
                      <a:pt x="14" y="124"/>
                    </a:lnTo>
                    <a:lnTo>
                      <a:pt x="14" y="124"/>
                    </a:lnTo>
                    <a:lnTo>
                      <a:pt x="14" y="126"/>
                    </a:lnTo>
                    <a:lnTo>
                      <a:pt x="12" y="126"/>
                    </a:lnTo>
                    <a:lnTo>
                      <a:pt x="12" y="128"/>
                    </a:lnTo>
                    <a:lnTo>
                      <a:pt x="14" y="128"/>
                    </a:lnTo>
                    <a:lnTo>
                      <a:pt x="14" y="130"/>
                    </a:lnTo>
                    <a:lnTo>
                      <a:pt x="14" y="130"/>
                    </a:lnTo>
                    <a:lnTo>
                      <a:pt x="12" y="134"/>
                    </a:lnTo>
                    <a:lnTo>
                      <a:pt x="12" y="136"/>
                    </a:lnTo>
                    <a:lnTo>
                      <a:pt x="10" y="136"/>
                    </a:lnTo>
                    <a:lnTo>
                      <a:pt x="10" y="138"/>
                    </a:lnTo>
                    <a:lnTo>
                      <a:pt x="6" y="140"/>
                    </a:lnTo>
                    <a:lnTo>
                      <a:pt x="4" y="142"/>
                    </a:lnTo>
                    <a:lnTo>
                      <a:pt x="2" y="144"/>
                    </a:lnTo>
                    <a:lnTo>
                      <a:pt x="2" y="144"/>
                    </a:lnTo>
                    <a:lnTo>
                      <a:pt x="2" y="144"/>
                    </a:lnTo>
                    <a:lnTo>
                      <a:pt x="2" y="148"/>
                    </a:lnTo>
                    <a:lnTo>
                      <a:pt x="2" y="148"/>
                    </a:lnTo>
                    <a:lnTo>
                      <a:pt x="2" y="150"/>
                    </a:lnTo>
                    <a:lnTo>
                      <a:pt x="2" y="150"/>
                    </a:lnTo>
                    <a:lnTo>
                      <a:pt x="0" y="152"/>
                    </a:lnTo>
                    <a:lnTo>
                      <a:pt x="2" y="152"/>
                    </a:lnTo>
                    <a:lnTo>
                      <a:pt x="2" y="154"/>
                    </a:lnTo>
                    <a:lnTo>
                      <a:pt x="2" y="154"/>
                    </a:lnTo>
                    <a:lnTo>
                      <a:pt x="4" y="154"/>
                    </a:lnTo>
                    <a:lnTo>
                      <a:pt x="4" y="154"/>
                    </a:lnTo>
                    <a:lnTo>
                      <a:pt x="6" y="156"/>
                    </a:lnTo>
                    <a:lnTo>
                      <a:pt x="8" y="156"/>
                    </a:lnTo>
                    <a:lnTo>
                      <a:pt x="14" y="160"/>
                    </a:lnTo>
                    <a:lnTo>
                      <a:pt x="14" y="160"/>
                    </a:lnTo>
                    <a:lnTo>
                      <a:pt x="16" y="164"/>
                    </a:lnTo>
                    <a:lnTo>
                      <a:pt x="16" y="164"/>
                    </a:lnTo>
                    <a:lnTo>
                      <a:pt x="16" y="164"/>
                    </a:lnTo>
                    <a:lnTo>
                      <a:pt x="18" y="166"/>
                    </a:lnTo>
                    <a:lnTo>
                      <a:pt x="20" y="168"/>
                    </a:lnTo>
                    <a:lnTo>
                      <a:pt x="25" y="170"/>
                    </a:lnTo>
                    <a:lnTo>
                      <a:pt x="25" y="170"/>
                    </a:lnTo>
                    <a:lnTo>
                      <a:pt x="27" y="172"/>
                    </a:lnTo>
                    <a:lnTo>
                      <a:pt x="25" y="174"/>
                    </a:lnTo>
                    <a:lnTo>
                      <a:pt x="25" y="176"/>
                    </a:lnTo>
                    <a:lnTo>
                      <a:pt x="25" y="176"/>
                    </a:lnTo>
                    <a:lnTo>
                      <a:pt x="25" y="178"/>
                    </a:lnTo>
                    <a:lnTo>
                      <a:pt x="25" y="180"/>
                    </a:lnTo>
                    <a:lnTo>
                      <a:pt x="25" y="182"/>
                    </a:lnTo>
                    <a:lnTo>
                      <a:pt x="20" y="184"/>
                    </a:lnTo>
                    <a:lnTo>
                      <a:pt x="20" y="186"/>
                    </a:lnTo>
                    <a:lnTo>
                      <a:pt x="23" y="190"/>
                    </a:lnTo>
                    <a:lnTo>
                      <a:pt x="25" y="192"/>
                    </a:lnTo>
                    <a:lnTo>
                      <a:pt x="23" y="192"/>
                    </a:lnTo>
                    <a:lnTo>
                      <a:pt x="25" y="194"/>
                    </a:lnTo>
                    <a:lnTo>
                      <a:pt x="27" y="194"/>
                    </a:lnTo>
                    <a:lnTo>
                      <a:pt x="27" y="194"/>
                    </a:lnTo>
                    <a:lnTo>
                      <a:pt x="29" y="196"/>
                    </a:lnTo>
                    <a:lnTo>
                      <a:pt x="29" y="196"/>
                    </a:lnTo>
                    <a:lnTo>
                      <a:pt x="29" y="198"/>
                    </a:lnTo>
                    <a:lnTo>
                      <a:pt x="29" y="200"/>
                    </a:lnTo>
                    <a:lnTo>
                      <a:pt x="29" y="200"/>
                    </a:lnTo>
                    <a:lnTo>
                      <a:pt x="29" y="200"/>
                    </a:lnTo>
                    <a:lnTo>
                      <a:pt x="29" y="202"/>
                    </a:lnTo>
                    <a:lnTo>
                      <a:pt x="29" y="204"/>
                    </a:lnTo>
                    <a:lnTo>
                      <a:pt x="29" y="206"/>
                    </a:lnTo>
                    <a:lnTo>
                      <a:pt x="29" y="206"/>
                    </a:lnTo>
                    <a:lnTo>
                      <a:pt x="33" y="208"/>
                    </a:lnTo>
                    <a:lnTo>
                      <a:pt x="31" y="210"/>
                    </a:lnTo>
                    <a:lnTo>
                      <a:pt x="31" y="210"/>
                    </a:lnTo>
                    <a:lnTo>
                      <a:pt x="31" y="210"/>
                    </a:lnTo>
                    <a:lnTo>
                      <a:pt x="31" y="212"/>
                    </a:lnTo>
                    <a:lnTo>
                      <a:pt x="31" y="212"/>
                    </a:lnTo>
                    <a:lnTo>
                      <a:pt x="29" y="214"/>
                    </a:lnTo>
                    <a:lnTo>
                      <a:pt x="29" y="214"/>
                    </a:lnTo>
                    <a:lnTo>
                      <a:pt x="29" y="218"/>
                    </a:lnTo>
                    <a:lnTo>
                      <a:pt x="29" y="220"/>
                    </a:lnTo>
                    <a:lnTo>
                      <a:pt x="27" y="222"/>
                    </a:lnTo>
                    <a:lnTo>
                      <a:pt x="27" y="222"/>
                    </a:lnTo>
                    <a:lnTo>
                      <a:pt x="25" y="226"/>
                    </a:lnTo>
                    <a:lnTo>
                      <a:pt x="23" y="226"/>
                    </a:lnTo>
                    <a:lnTo>
                      <a:pt x="23" y="228"/>
                    </a:lnTo>
                    <a:lnTo>
                      <a:pt x="25" y="230"/>
                    </a:lnTo>
                    <a:lnTo>
                      <a:pt x="25" y="230"/>
                    </a:lnTo>
                    <a:lnTo>
                      <a:pt x="25" y="230"/>
                    </a:lnTo>
                    <a:lnTo>
                      <a:pt x="27" y="232"/>
                    </a:lnTo>
                    <a:lnTo>
                      <a:pt x="27" y="234"/>
                    </a:lnTo>
                    <a:lnTo>
                      <a:pt x="27" y="236"/>
                    </a:lnTo>
                    <a:lnTo>
                      <a:pt x="31" y="238"/>
                    </a:lnTo>
                    <a:lnTo>
                      <a:pt x="31" y="238"/>
                    </a:lnTo>
                    <a:lnTo>
                      <a:pt x="31" y="240"/>
                    </a:lnTo>
                    <a:lnTo>
                      <a:pt x="31" y="242"/>
                    </a:lnTo>
                    <a:lnTo>
                      <a:pt x="31" y="244"/>
                    </a:lnTo>
                    <a:lnTo>
                      <a:pt x="29" y="246"/>
                    </a:lnTo>
                    <a:lnTo>
                      <a:pt x="29" y="246"/>
                    </a:lnTo>
                    <a:lnTo>
                      <a:pt x="29" y="248"/>
                    </a:lnTo>
                    <a:lnTo>
                      <a:pt x="29" y="248"/>
                    </a:lnTo>
                    <a:lnTo>
                      <a:pt x="31" y="248"/>
                    </a:lnTo>
                    <a:lnTo>
                      <a:pt x="33" y="250"/>
                    </a:lnTo>
                    <a:lnTo>
                      <a:pt x="35" y="250"/>
                    </a:lnTo>
                    <a:lnTo>
                      <a:pt x="37" y="252"/>
                    </a:lnTo>
                    <a:lnTo>
                      <a:pt x="39" y="252"/>
                    </a:lnTo>
                    <a:lnTo>
                      <a:pt x="39" y="252"/>
                    </a:lnTo>
                    <a:lnTo>
                      <a:pt x="41" y="252"/>
                    </a:lnTo>
                    <a:lnTo>
                      <a:pt x="41" y="254"/>
                    </a:lnTo>
                    <a:lnTo>
                      <a:pt x="41" y="254"/>
                    </a:lnTo>
                    <a:lnTo>
                      <a:pt x="41" y="256"/>
                    </a:lnTo>
                    <a:lnTo>
                      <a:pt x="41" y="258"/>
                    </a:lnTo>
                    <a:lnTo>
                      <a:pt x="41" y="260"/>
                    </a:lnTo>
                    <a:lnTo>
                      <a:pt x="41" y="262"/>
                    </a:lnTo>
                    <a:lnTo>
                      <a:pt x="41" y="262"/>
                    </a:lnTo>
                    <a:lnTo>
                      <a:pt x="43" y="264"/>
                    </a:lnTo>
                    <a:lnTo>
                      <a:pt x="43" y="264"/>
                    </a:lnTo>
                    <a:lnTo>
                      <a:pt x="45" y="266"/>
                    </a:lnTo>
                    <a:lnTo>
                      <a:pt x="45" y="268"/>
                    </a:lnTo>
                    <a:lnTo>
                      <a:pt x="45" y="268"/>
                    </a:lnTo>
                    <a:lnTo>
                      <a:pt x="45" y="268"/>
                    </a:lnTo>
                    <a:lnTo>
                      <a:pt x="43" y="270"/>
                    </a:lnTo>
                    <a:lnTo>
                      <a:pt x="43" y="272"/>
                    </a:lnTo>
                    <a:lnTo>
                      <a:pt x="43" y="274"/>
                    </a:lnTo>
                    <a:lnTo>
                      <a:pt x="43" y="276"/>
                    </a:lnTo>
                    <a:lnTo>
                      <a:pt x="43" y="278"/>
                    </a:lnTo>
                    <a:lnTo>
                      <a:pt x="43" y="278"/>
                    </a:lnTo>
                    <a:lnTo>
                      <a:pt x="41" y="278"/>
                    </a:lnTo>
                    <a:lnTo>
                      <a:pt x="41" y="278"/>
                    </a:lnTo>
                    <a:lnTo>
                      <a:pt x="41" y="280"/>
                    </a:lnTo>
                    <a:lnTo>
                      <a:pt x="41" y="280"/>
                    </a:lnTo>
                    <a:lnTo>
                      <a:pt x="41" y="282"/>
                    </a:lnTo>
                    <a:lnTo>
                      <a:pt x="39" y="286"/>
                    </a:lnTo>
                    <a:lnTo>
                      <a:pt x="37" y="292"/>
                    </a:lnTo>
                    <a:lnTo>
                      <a:pt x="35" y="294"/>
                    </a:lnTo>
                    <a:lnTo>
                      <a:pt x="35" y="294"/>
                    </a:lnTo>
                    <a:lnTo>
                      <a:pt x="35" y="296"/>
                    </a:lnTo>
                    <a:lnTo>
                      <a:pt x="35" y="296"/>
                    </a:lnTo>
                    <a:lnTo>
                      <a:pt x="37" y="296"/>
                    </a:lnTo>
                    <a:lnTo>
                      <a:pt x="43" y="296"/>
                    </a:lnTo>
                    <a:lnTo>
                      <a:pt x="43" y="296"/>
                    </a:lnTo>
                    <a:lnTo>
                      <a:pt x="43" y="292"/>
                    </a:lnTo>
                    <a:lnTo>
                      <a:pt x="43" y="292"/>
                    </a:lnTo>
                    <a:lnTo>
                      <a:pt x="43" y="292"/>
                    </a:lnTo>
                    <a:lnTo>
                      <a:pt x="43" y="292"/>
                    </a:lnTo>
                    <a:lnTo>
                      <a:pt x="43" y="292"/>
                    </a:lnTo>
                    <a:lnTo>
                      <a:pt x="43" y="290"/>
                    </a:lnTo>
                    <a:lnTo>
                      <a:pt x="43" y="288"/>
                    </a:lnTo>
                    <a:lnTo>
                      <a:pt x="43" y="288"/>
                    </a:lnTo>
                    <a:lnTo>
                      <a:pt x="41" y="286"/>
                    </a:lnTo>
                    <a:lnTo>
                      <a:pt x="41" y="286"/>
                    </a:lnTo>
                    <a:lnTo>
                      <a:pt x="41" y="286"/>
                    </a:lnTo>
                    <a:lnTo>
                      <a:pt x="43" y="286"/>
                    </a:lnTo>
                    <a:lnTo>
                      <a:pt x="43" y="286"/>
                    </a:lnTo>
                    <a:lnTo>
                      <a:pt x="43" y="286"/>
                    </a:lnTo>
                    <a:lnTo>
                      <a:pt x="43" y="286"/>
                    </a:lnTo>
                    <a:lnTo>
                      <a:pt x="43" y="284"/>
                    </a:lnTo>
                    <a:lnTo>
                      <a:pt x="43" y="284"/>
                    </a:lnTo>
                    <a:lnTo>
                      <a:pt x="45" y="286"/>
                    </a:lnTo>
                    <a:lnTo>
                      <a:pt x="47" y="286"/>
                    </a:lnTo>
                    <a:lnTo>
                      <a:pt x="47" y="286"/>
                    </a:lnTo>
                    <a:lnTo>
                      <a:pt x="47" y="286"/>
                    </a:lnTo>
                    <a:lnTo>
                      <a:pt x="49" y="288"/>
                    </a:lnTo>
                    <a:lnTo>
                      <a:pt x="49" y="286"/>
                    </a:lnTo>
                    <a:lnTo>
                      <a:pt x="49" y="286"/>
                    </a:lnTo>
                    <a:lnTo>
                      <a:pt x="49" y="286"/>
                    </a:lnTo>
                    <a:lnTo>
                      <a:pt x="51" y="284"/>
                    </a:lnTo>
                    <a:lnTo>
                      <a:pt x="51" y="286"/>
                    </a:lnTo>
                    <a:lnTo>
                      <a:pt x="51" y="286"/>
                    </a:lnTo>
                    <a:lnTo>
                      <a:pt x="51" y="288"/>
                    </a:lnTo>
                    <a:lnTo>
                      <a:pt x="55" y="288"/>
                    </a:lnTo>
                    <a:lnTo>
                      <a:pt x="55" y="288"/>
                    </a:lnTo>
                    <a:lnTo>
                      <a:pt x="57" y="290"/>
                    </a:lnTo>
                    <a:lnTo>
                      <a:pt x="57" y="290"/>
                    </a:lnTo>
                    <a:lnTo>
                      <a:pt x="57" y="290"/>
                    </a:lnTo>
                    <a:lnTo>
                      <a:pt x="55" y="292"/>
                    </a:lnTo>
                    <a:lnTo>
                      <a:pt x="55" y="292"/>
                    </a:lnTo>
                    <a:lnTo>
                      <a:pt x="57" y="294"/>
                    </a:lnTo>
                    <a:lnTo>
                      <a:pt x="57" y="296"/>
                    </a:lnTo>
                    <a:lnTo>
                      <a:pt x="57" y="296"/>
                    </a:lnTo>
                    <a:lnTo>
                      <a:pt x="59" y="296"/>
                    </a:lnTo>
                    <a:lnTo>
                      <a:pt x="59" y="298"/>
                    </a:lnTo>
                    <a:lnTo>
                      <a:pt x="61" y="298"/>
                    </a:lnTo>
                    <a:lnTo>
                      <a:pt x="61" y="300"/>
                    </a:lnTo>
                    <a:lnTo>
                      <a:pt x="61" y="300"/>
                    </a:lnTo>
                    <a:lnTo>
                      <a:pt x="61" y="300"/>
                    </a:lnTo>
                    <a:lnTo>
                      <a:pt x="61" y="302"/>
                    </a:lnTo>
                    <a:lnTo>
                      <a:pt x="61" y="302"/>
                    </a:lnTo>
                    <a:lnTo>
                      <a:pt x="61" y="302"/>
                    </a:lnTo>
                    <a:lnTo>
                      <a:pt x="61" y="302"/>
                    </a:lnTo>
                    <a:lnTo>
                      <a:pt x="63" y="300"/>
                    </a:lnTo>
                    <a:lnTo>
                      <a:pt x="63" y="300"/>
                    </a:lnTo>
                    <a:lnTo>
                      <a:pt x="65" y="300"/>
                    </a:lnTo>
                    <a:lnTo>
                      <a:pt x="75" y="304"/>
                    </a:lnTo>
                    <a:lnTo>
                      <a:pt x="75" y="304"/>
                    </a:lnTo>
                    <a:lnTo>
                      <a:pt x="75" y="304"/>
                    </a:lnTo>
                    <a:lnTo>
                      <a:pt x="77" y="304"/>
                    </a:lnTo>
                    <a:lnTo>
                      <a:pt x="77" y="304"/>
                    </a:lnTo>
                    <a:lnTo>
                      <a:pt x="81" y="304"/>
                    </a:lnTo>
                    <a:lnTo>
                      <a:pt x="81" y="304"/>
                    </a:lnTo>
                    <a:lnTo>
                      <a:pt x="81" y="304"/>
                    </a:lnTo>
                    <a:lnTo>
                      <a:pt x="81" y="306"/>
                    </a:lnTo>
                    <a:lnTo>
                      <a:pt x="85" y="308"/>
                    </a:lnTo>
                    <a:lnTo>
                      <a:pt x="85" y="310"/>
                    </a:lnTo>
                    <a:lnTo>
                      <a:pt x="87" y="310"/>
                    </a:lnTo>
                    <a:lnTo>
                      <a:pt x="89" y="308"/>
                    </a:lnTo>
                    <a:lnTo>
                      <a:pt x="89" y="308"/>
                    </a:lnTo>
                    <a:lnTo>
                      <a:pt x="91" y="308"/>
                    </a:lnTo>
                    <a:lnTo>
                      <a:pt x="91" y="310"/>
                    </a:lnTo>
                    <a:lnTo>
                      <a:pt x="91" y="310"/>
                    </a:lnTo>
                    <a:lnTo>
                      <a:pt x="91" y="312"/>
                    </a:lnTo>
                    <a:lnTo>
                      <a:pt x="91" y="312"/>
                    </a:lnTo>
                    <a:lnTo>
                      <a:pt x="91" y="312"/>
                    </a:lnTo>
                    <a:lnTo>
                      <a:pt x="91" y="314"/>
                    </a:lnTo>
                    <a:lnTo>
                      <a:pt x="91" y="314"/>
                    </a:lnTo>
                    <a:lnTo>
                      <a:pt x="91" y="314"/>
                    </a:lnTo>
                    <a:lnTo>
                      <a:pt x="93" y="314"/>
                    </a:lnTo>
                    <a:lnTo>
                      <a:pt x="95" y="310"/>
                    </a:lnTo>
                    <a:lnTo>
                      <a:pt x="99" y="312"/>
                    </a:lnTo>
                    <a:lnTo>
                      <a:pt x="99" y="312"/>
                    </a:lnTo>
                    <a:lnTo>
                      <a:pt x="101" y="312"/>
                    </a:lnTo>
                    <a:lnTo>
                      <a:pt x="101" y="312"/>
                    </a:lnTo>
                    <a:lnTo>
                      <a:pt x="101" y="312"/>
                    </a:lnTo>
                    <a:lnTo>
                      <a:pt x="101" y="310"/>
                    </a:lnTo>
                    <a:lnTo>
                      <a:pt x="103" y="310"/>
                    </a:lnTo>
                    <a:lnTo>
                      <a:pt x="103" y="310"/>
                    </a:lnTo>
                    <a:lnTo>
                      <a:pt x="105" y="310"/>
                    </a:lnTo>
                    <a:lnTo>
                      <a:pt x="107" y="310"/>
                    </a:lnTo>
                    <a:lnTo>
                      <a:pt x="107" y="312"/>
                    </a:lnTo>
                    <a:lnTo>
                      <a:pt x="111" y="314"/>
                    </a:lnTo>
                    <a:lnTo>
                      <a:pt x="113" y="316"/>
                    </a:lnTo>
                    <a:lnTo>
                      <a:pt x="111" y="316"/>
                    </a:lnTo>
                    <a:lnTo>
                      <a:pt x="111" y="318"/>
                    </a:lnTo>
                    <a:lnTo>
                      <a:pt x="111" y="318"/>
                    </a:lnTo>
                    <a:lnTo>
                      <a:pt x="111" y="318"/>
                    </a:lnTo>
                    <a:lnTo>
                      <a:pt x="111" y="318"/>
                    </a:lnTo>
                    <a:lnTo>
                      <a:pt x="111" y="318"/>
                    </a:lnTo>
                    <a:lnTo>
                      <a:pt x="111" y="320"/>
                    </a:lnTo>
                    <a:lnTo>
                      <a:pt x="111" y="320"/>
                    </a:lnTo>
                    <a:lnTo>
                      <a:pt x="111" y="320"/>
                    </a:lnTo>
                    <a:lnTo>
                      <a:pt x="109" y="322"/>
                    </a:lnTo>
                    <a:lnTo>
                      <a:pt x="109" y="322"/>
                    </a:lnTo>
                    <a:lnTo>
                      <a:pt x="109" y="322"/>
                    </a:lnTo>
                    <a:lnTo>
                      <a:pt x="107" y="322"/>
                    </a:lnTo>
                    <a:lnTo>
                      <a:pt x="105" y="322"/>
                    </a:lnTo>
                    <a:lnTo>
                      <a:pt x="105" y="322"/>
                    </a:lnTo>
                    <a:lnTo>
                      <a:pt x="105" y="324"/>
                    </a:lnTo>
                    <a:lnTo>
                      <a:pt x="103" y="324"/>
                    </a:lnTo>
                    <a:lnTo>
                      <a:pt x="103" y="324"/>
                    </a:lnTo>
                    <a:lnTo>
                      <a:pt x="103" y="324"/>
                    </a:lnTo>
                    <a:lnTo>
                      <a:pt x="103" y="324"/>
                    </a:lnTo>
                    <a:lnTo>
                      <a:pt x="101" y="324"/>
                    </a:lnTo>
                    <a:lnTo>
                      <a:pt x="103" y="326"/>
                    </a:lnTo>
                    <a:lnTo>
                      <a:pt x="103" y="326"/>
                    </a:lnTo>
                    <a:lnTo>
                      <a:pt x="101" y="326"/>
                    </a:lnTo>
                    <a:lnTo>
                      <a:pt x="101" y="326"/>
                    </a:lnTo>
                    <a:lnTo>
                      <a:pt x="101" y="328"/>
                    </a:lnTo>
                    <a:lnTo>
                      <a:pt x="103" y="328"/>
                    </a:lnTo>
                    <a:lnTo>
                      <a:pt x="103" y="330"/>
                    </a:lnTo>
                    <a:lnTo>
                      <a:pt x="103" y="330"/>
                    </a:lnTo>
                    <a:lnTo>
                      <a:pt x="105" y="330"/>
                    </a:lnTo>
                    <a:lnTo>
                      <a:pt x="105" y="330"/>
                    </a:lnTo>
                    <a:lnTo>
                      <a:pt x="105" y="330"/>
                    </a:lnTo>
                    <a:lnTo>
                      <a:pt x="105" y="330"/>
                    </a:lnTo>
                    <a:lnTo>
                      <a:pt x="107" y="330"/>
                    </a:lnTo>
                    <a:lnTo>
                      <a:pt x="109" y="330"/>
                    </a:lnTo>
                    <a:lnTo>
                      <a:pt x="109" y="332"/>
                    </a:lnTo>
                    <a:lnTo>
                      <a:pt x="109" y="332"/>
                    </a:lnTo>
                    <a:lnTo>
                      <a:pt x="109" y="332"/>
                    </a:lnTo>
                    <a:lnTo>
                      <a:pt x="109" y="332"/>
                    </a:lnTo>
                    <a:lnTo>
                      <a:pt x="109" y="334"/>
                    </a:lnTo>
                    <a:lnTo>
                      <a:pt x="111" y="334"/>
                    </a:lnTo>
                    <a:lnTo>
                      <a:pt x="113" y="336"/>
                    </a:lnTo>
                    <a:lnTo>
                      <a:pt x="113" y="336"/>
                    </a:lnTo>
                    <a:lnTo>
                      <a:pt x="115" y="338"/>
                    </a:lnTo>
                    <a:lnTo>
                      <a:pt x="115" y="340"/>
                    </a:lnTo>
                    <a:lnTo>
                      <a:pt x="117" y="340"/>
                    </a:lnTo>
                    <a:lnTo>
                      <a:pt x="117" y="342"/>
                    </a:lnTo>
                    <a:lnTo>
                      <a:pt x="119" y="342"/>
                    </a:lnTo>
                    <a:lnTo>
                      <a:pt x="119" y="346"/>
                    </a:lnTo>
                    <a:lnTo>
                      <a:pt x="119" y="346"/>
                    </a:lnTo>
                    <a:lnTo>
                      <a:pt x="119" y="348"/>
                    </a:lnTo>
                    <a:lnTo>
                      <a:pt x="121" y="348"/>
                    </a:lnTo>
                    <a:lnTo>
                      <a:pt x="123" y="350"/>
                    </a:lnTo>
                    <a:lnTo>
                      <a:pt x="125" y="350"/>
                    </a:lnTo>
                    <a:lnTo>
                      <a:pt x="127" y="348"/>
                    </a:lnTo>
                    <a:lnTo>
                      <a:pt x="129" y="346"/>
                    </a:lnTo>
                    <a:lnTo>
                      <a:pt x="129" y="346"/>
                    </a:lnTo>
                    <a:lnTo>
                      <a:pt x="129" y="346"/>
                    </a:lnTo>
                    <a:lnTo>
                      <a:pt x="131" y="344"/>
                    </a:lnTo>
                    <a:lnTo>
                      <a:pt x="131" y="344"/>
                    </a:lnTo>
                    <a:lnTo>
                      <a:pt x="131" y="342"/>
                    </a:lnTo>
                    <a:lnTo>
                      <a:pt x="133" y="342"/>
                    </a:lnTo>
                    <a:lnTo>
                      <a:pt x="133" y="342"/>
                    </a:lnTo>
                    <a:lnTo>
                      <a:pt x="135" y="342"/>
                    </a:lnTo>
                    <a:lnTo>
                      <a:pt x="135" y="342"/>
                    </a:lnTo>
                    <a:lnTo>
                      <a:pt x="135" y="342"/>
                    </a:lnTo>
                    <a:lnTo>
                      <a:pt x="135" y="340"/>
                    </a:lnTo>
                    <a:lnTo>
                      <a:pt x="137" y="340"/>
                    </a:lnTo>
                    <a:lnTo>
                      <a:pt x="137" y="342"/>
                    </a:lnTo>
                    <a:lnTo>
                      <a:pt x="137" y="342"/>
                    </a:lnTo>
                    <a:lnTo>
                      <a:pt x="137" y="340"/>
                    </a:lnTo>
                    <a:lnTo>
                      <a:pt x="137" y="340"/>
                    </a:lnTo>
                    <a:lnTo>
                      <a:pt x="139" y="340"/>
                    </a:lnTo>
                    <a:lnTo>
                      <a:pt x="139" y="340"/>
                    </a:lnTo>
                    <a:lnTo>
                      <a:pt x="139" y="340"/>
                    </a:lnTo>
                    <a:lnTo>
                      <a:pt x="139" y="340"/>
                    </a:lnTo>
                    <a:lnTo>
                      <a:pt x="139" y="342"/>
                    </a:lnTo>
                    <a:lnTo>
                      <a:pt x="141" y="342"/>
                    </a:lnTo>
                    <a:lnTo>
                      <a:pt x="141" y="340"/>
                    </a:lnTo>
                    <a:lnTo>
                      <a:pt x="141" y="340"/>
                    </a:lnTo>
                    <a:lnTo>
                      <a:pt x="139" y="340"/>
                    </a:lnTo>
                    <a:lnTo>
                      <a:pt x="139" y="338"/>
                    </a:lnTo>
                    <a:lnTo>
                      <a:pt x="139" y="336"/>
                    </a:lnTo>
                    <a:lnTo>
                      <a:pt x="139" y="336"/>
                    </a:lnTo>
                    <a:lnTo>
                      <a:pt x="137" y="334"/>
                    </a:lnTo>
                    <a:lnTo>
                      <a:pt x="137" y="334"/>
                    </a:lnTo>
                    <a:lnTo>
                      <a:pt x="135" y="332"/>
                    </a:lnTo>
                    <a:lnTo>
                      <a:pt x="135" y="332"/>
                    </a:lnTo>
                    <a:lnTo>
                      <a:pt x="135" y="330"/>
                    </a:lnTo>
                    <a:lnTo>
                      <a:pt x="133" y="328"/>
                    </a:lnTo>
                    <a:lnTo>
                      <a:pt x="133" y="326"/>
                    </a:lnTo>
                    <a:lnTo>
                      <a:pt x="135" y="326"/>
                    </a:lnTo>
                    <a:lnTo>
                      <a:pt x="135" y="326"/>
                    </a:lnTo>
                    <a:lnTo>
                      <a:pt x="137" y="326"/>
                    </a:lnTo>
                    <a:lnTo>
                      <a:pt x="139" y="328"/>
                    </a:lnTo>
                    <a:lnTo>
                      <a:pt x="139" y="328"/>
                    </a:lnTo>
                    <a:lnTo>
                      <a:pt x="145" y="328"/>
                    </a:lnTo>
                    <a:lnTo>
                      <a:pt x="145" y="328"/>
                    </a:lnTo>
                    <a:lnTo>
                      <a:pt x="145" y="330"/>
                    </a:lnTo>
                    <a:lnTo>
                      <a:pt x="147" y="330"/>
                    </a:lnTo>
                    <a:lnTo>
                      <a:pt x="147" y="330"/>
                    </a:lnTo>
                    <a:lnTo>
                      <a:pt x="149" y="330"/>
                    </a:lnTo>
                    <a:lnTo>
                      <a:pt x="149" y="330"/>
                    </a:lnTo>
                    <a:lnTo>
                      <a:pt x="149" y="330"/>
                    </a:lnTo>
                    <a:lnTo>
                      <a:pt x="149" y="330"/>
                    </a:lnTo>
                    <a:lnTo>
                      <a:pt x="149" y="332"/>
                    </a:lnTo>
                    <a:lnTo>
                      <a:pt x="149" y="332"/>
                    </a:lnTo>
                    <a:lnTo>
                      <a:pt x="151" y="332"/>
                    </a:lnTo>
                    <a:lnTo>
                      <a:pt x="151" y="334"/>
                    </a:lnTo>
                    <a:lnTo>
                      <a:pt x="153" y="334"/>
                    </a:lnTo>
                    <a:lnTo>
                      <a:pt x="155" y="334"/>
                    </a:lnTo>
                    <a:lnTo>
                      <a:pt x="157" y="334"/>
                    </a:lnTo>
                    <a:lnTo>
                      <a:pt x="155" y="334"/>
                    </a:lnTo>
                    <a:lnTo>
                      <a:pt x="155" y="336"/>
                    </a:lnTo>
                    <a:lnTo>
                      <a:pt x="155" y="336"/>
                    </a:lnTo>
                    <a:lnTo>
                      <a:pt x="155" y="336"/>
                    </a:lnTo>
                    <a:lnTo>
                      <a:pt x="155" y="336"/>
                    </a:lnTo>
                    <a:lnTo>
                      <a:pt x="155" y="338"/>
                    </a:lnTo>
                    <a:lnTo>
                      <a:pt x="157" y="338"/>
                    </a:lnTo>
                    <a:lnTo>
                      <a:pt x="157" y="338"/>
                    </a:lnTo>
                    <a:lnTo>
                      <a:pt x="157" y="338"/>
                    </a:lnTo>
                    <a:lnTo>
                      <a:pt x="159" y="338"/>
                    </a:lnTo>
                    <a:lnTo>
                      <a:pt x="159" y="338"/>
                    </a:lnTo>
                    <a:lnTo>
                      <a:pt x="161" y="340"/>
                    </a:lnTo>
                    <a:lnTo>
                      <a:pt x="161" y="340"/>
                    </a:lnTo>
                    <a:lnTo>
                      <a:pt x="161" y="340"/>
                    </a:lnTo>
                    <a:lnTo>
                      <a:pt x="161" y="340"/>
                    </a:lnTo>
                    <a:lnTo>
                      <a:pt x="161" y="340"/>
                    </a:lnTo>
                    <a:lnTo>
                      <a:pt x="163" y="338"/>
                    </a:lnTo>
                    <a:lnTo>
                      <a:pt x="165" y="338"/>
                    </a:lnTo>
                    <a:lnTo>
                      <a:pt x="169" y="338"/>
                    </a:lnTo>
                    <a:lnTo>
                      <a:pt x="171" y="338"/>
                    </a:lnTo>
                    <a:lnTo>
                      <a:pt x="171" y="338"/>
                    </a:lnTo>
                    <a:lnTo>
                      <a:pt x="173" y="336"/>
                    </a:lnTo>
                    <a:lnTo>
                      <a:pt x="173" y="334"/>
                    </a:lnTo>
                    <a:lnTo>
                      <a:pt x="173" y="334"/>
                    </a:lnTo>
                    <a:lnTo>
                      <a:pt x="173" y="334"/>
                    </a:lnTo>
                    <a:lnTo>
                      <a:pt x="175" y="334"/>
                    </a:lnTo>
                    <a:lnTo>
                      <a:pt x="175" y="334"/>
                    </a:lnTo>
                    <a:lnTo>
                      <a:pt x="175" y="336"/>
                    </a:lnTo>
                    <a:lnTo>
                      <a:pt x="175" y="336"/>
                    </a:lnTo>
                    <a:lnTo>
                      <a:pt x="175" y="336"/>
                    </a:lnTo>
                    <a:lnTo>
                      <a:pt x="175" y="336"/>
                    </a:lnTo>
                    <a:lnTo>
                      <a:pt x="175" y="336"/>
                    </a:lnTo>
                    <a:lnTo>
                      <a:pt x="175" y="338"/>
                    </a:lnTo>
                    <a:lnTo>
                      <a:pt x="175" y="338"/>
                    </a:lnTo>
                    <a:lnTo>
                      <a:pt x="175" y="340"/>
                    </a:lnTo>
                    <a:lnTo>
                      <a:pt x="175" y="340"/>
                    </a:lnTo>
                    <a:lnTo>
                      <a:pt x="175" y="340"/>
                    </a:lnTo>
                    <a:lnTo>
                      <a:pt x="175" y="342"/>
                    </a:lnTo>
                    <a:lnTo>
                      <a:pt x="175" y="342"/>
                    </a:lnTo>
                    <a:lnTo>
                      <a:pt x="173" y="344"/>
                    </a:lnTo>
                    <a:lnTo>
                      <a:pt x="171" y="344"/>
                    </a:lnTo>
                    <a:lnTo>
                      <a:pt x="169" y="344"/>
                    </a:lnTo>
                    <a:lnTo>
                      <a:pt x="169" y="344"/>
                    </a:lnTo>
                    <a:lnTo>
                      <a:pt x="169" y="346"/>
                    </a:lnTo>
                    <a:lnTo>
                      <a:pt x="169" y="346"/>
                    </a:lnTo>
                    <a:lnTo>
                      <a:pt x="171" y="348"/>
                    </a:lnTo>
                    <a:lnTo>
                      <a:pt x="171" y="350"/>
                    </a:lnTo>
                    <a:lnTo>
                      <a:pt x="171" y="350"/>
                    </a:lnTo>
                    <a:lnTo>
                      <a:pt x="173" y="348"/>
                    </a:lnTo>
                    <a:lnTo>
                      <a:pt x="173" y="348"/>
                    </a:lnTo>
                    <a:lnTo>
                      <a:pt x="173" y="348"/>
                    </a:lnTo>
                    <a:lnTo>
                      <a:pt x="175" y="350"/>
                    </a:lnTo>
                    <a:lnTo>
                      <a:pt x="175" y="350"/>
                    </a:lnTo>
                    <a:lnTo>
                      <a:pt x="175" y="350"/>
                    </a:lnTo>
                    <a:lnTo>
                      <a:pt x="175" y="350"/>
                    </a:lnTo>
                    <a:lnTo>
                      <a:pt x="175" y="350"/>
                    </a:lnTo>
                    <a:lnTo>
                      <a:pt x="175" y="350"/>
                    </a:lnTo>
                    <a:lnTo>
                      <a:pt x="175" y="352"/>
                    </a:lnTo>
                    <a:lnTo>
                      <a:pt x="175" y="352"/>
                    </a:lnTo>
                    <a:lnTo>
                      <a:pt x="175" y="352"/>
                    </a:lnTo>
                    <a:lnTo>
                      <a:pt x="177" y="354"/>
                    </a:lnTo>
                    <a:lnTo>
                      <a:pt x="177" y="354"/>
                    </a:lnTo>
                    <a:lnTo>
                      <a:pt x="177" y="356"/>
                    </a:lnTo>
                    <a:lnTo>
                      <a:pt x="181" y="358"/>
                    </a:lnTo>
                    <a:lnTo>
                      <a:pt x="183" y="358"/>
                    </a:lnTo>
                    <a:lnTo>
                      <a:pt x="183" y="358"/>
                    </a:lnTo>
                    <a:lnTo>
                      <a:pt x="185" y="356"/>
                    </a:lnTo>
                    <a:lnTo>
                      <a:pt x="185" y="356"/>
                    </a:lnTo>
                    <a:lnTo>
                      <a:pt x="189" y="356"/>
                    </a:lnTo>
                    <a:lnTo>
                      <a:pt x="189" y="356"/>
                    </a:lnTo>
                    <a:lnTo>
                      <a:pt x="189" y="356"/>
                    </a:lnTo>
                    <a:lnTo>
                      <a:pt x="189" y="354"/>
                    </a:lnTo>
                    <a:lnTo>
                      <a:pt x="189" y="354"/>
                    </a:lnTo>
                    <a:lnTo>
                      <a:pt x="189" y="354"/>
                    </a:lnTo>
                    <a:lnTo>
                      <a:pt x="189" y="354"/>
                    </a:lnTo>
                    <a:lnTo>
                      <a:pt x="189" y="354"/>
                    </a:lnTo>
                    <a:lnTo>
                      <a:pt x="189" y="352"/>
                    </a:lnTo>
                    <a:lnTo>
                      <a:pt x="189" y="354"/>
                    </a:lnTo>
                    <a:lnTo>
                      <a:pt x="189" y="354"/>
                    </a:lnTo>
                    <a:lnTo>
                      <a:pt x="193" y="354"/>
                    </a:lnTo>
                    <a:lnTo>
                      <a:pt x="193" y="356"/>
                    </a:lnTo>
                    <a:lnTo>
                      <a:pt x="193" y="358"/>
                    </a:lnTo>
                    <a:lnTo>
                      <a:pt x="195" y="358"/>
                    </a:lnTo>
                    <a:lnTo>
                      <a:pt x="197" y="358"/>
                    </a:lnTo>
                    <a:lnTo>
                      <a:pt x="199" y="360"/>
                    </a:lnTo>
                    <a:lnTo>
                      <a:pt x="199" y="360"/>
                    </a:lnTo>
                    <a:lnTo>
                      <a:pt x="199" y="360"/>
                    </a:lnTo>
                    <a:lnTo>
                      <a:pt x="201" y="360"/>
                    </a:lnTo>
                    <a:lnTo>
                      <a:pt x="201" y="360"/>
                    </a:lnTo>
                    <a:lnTo>
                      <a:pt x="201" y="362"/>
                    </a:lnTo>
                    <a:lnTo>
                      <a:pt x="201" y="362"/>
                    </a:lnTo>
                    <a:lnTo>
                      <a:pt x="203" y="362"/>
                    </a:lnTo>
                    <a:lnTo>
                      <a:pt x="203" y="362"/>
                    </a:lnTo>
                    <a:lnTo>
                      <a:pt x="205" y="362"/>
                    </a:lnTo>
                    <a:lnTo>
                      <a:pt x="203" y="362"/>
                    </a:lnTo>
                    <a:lnTo>
                      <a:pt x="205" y="362"/>
                    </a:lnTo>
                    <a:lnTo>
                      <a:pt x="207" y="362"/>
                    </a:lnTo>
                    <a:lnTo>
                      <a:pt x="211" y="364"/>
                    </a:lnTo>
                    <a:lnTo>
                      <a:pt x="213" y="364"/>
                    </a:lnTo>
                    <a:lnTo>
                      <a:pt x="215" y="362"/>
                    </a:lnTo>
                    <a:lnTo>
                      <a:pt x="215" y="362"/>
                    </a:lnTo>
                    <a:lnTo>
                      <a:pt x="215" y="364"/>
                    </a:lnTo>
                    <a:lnTo>
                      <a:pt x="215" y="364"/>
                    </a:lnTo>
                    <a:lnTo>
                      <a:pt x="215" y="366"/>
                    </a:lnTo>
                    <a:lnTo>
                      <a:pt x="217" y="366"/>
                    </a:lnTo>
                    <a:lnTo>
                      <a:pt x="215" y="368"/>
                    </a:lnTo>
                    <a:lnTo>
                      <a:pt x="215" y="370"/>
                    </a:lnTo>
                    <a:lnTo>
                      <a:pt x="217" y="372"/>
                    </a:lnTo>
                    <a:lnTo>
                      <a:pt x="217" y="374"/>
                    </a:lnTo>
                    <a:lnTo>
                      <a:pt x="217" y="376"/>
                    </a:lnTo>
                    <a:lnTo>
                      <a:pt x="219" y="376"/>
                    </a:lnTo>
                    <a:lnTo>
                      <a:pt x="219" y="376"/>
                    </a:lnTo>
                    <a:lnTo>
                      <a:pt x="221" y="378"/>
                    </a:lnTo>
                    <a:lnTo>
                      <a:pt x="221" y="378"/>
                    </a:lnTo>
                    <a:lnTo>
                      <a:pt x="221" y="378"/>
                    </a:lnTo>
                    <a:lnTo>
                      <a:pt x="223" y="378"/>
                    </a:lnTo>
                    <a:lnTo>
                      <a:pt x="223" y="380"/>
                    </a:lnTo>
                    <a:lnTo>
                      <a:pt x="223" y="380"/>
                    </a:lnTo>
                    <a:lnTo>
                      <a:pt x="225" y="378"/>
                    </a:lnTo>
                    <a:lnTo>
                      <a:pt x="225" y="378"/>
                    </a:lnTo>
                    <a:lnTo>
                      <a:pt x="225" y="380"/>
                    </a:lnTo>
                    <a:lnTo>
                      <a:pt x="227" y="380"/>
                    </a:lnTo>
                    <a:lnTo>
                      <a:pt x="227" y="382"/>
                    </a:lnTo>
                    <a:lnTo>
                      <a:pt x="227" y="382"/>
                    </a:lnTo>
                    <a:lnTo>
                      <a:pt x="227" y="384"/>
                    </a:lnTo>
                    <a:lnTo>
                      <a:pt x="227" y="384"/>
                    </a:lnTo>
                    <a:lnTo>
                      <a:pt x="229" y="388"/>
                    </a:lnTo>
                    <a:lnTo>
                      <a:pt x="229" y="390"/>
                    </a:lnTo>
                    <a:lnTo>
                      <a:pt x="229" y="390"/>
                    </a:lnTo>
                    <a:lnTo>
                      <a:pt x="233" y="390"/>
                    </a:lnTo>
                    <a:lnTo>
                      <a:pt x="235" y="392"/>
                    </a:lnTo>
                    <a:lnTo>
                      <a:pt x="233" y="392"/>
                    </a:lnTo>
                    <a:lnTo>
                      <a:pt x="233" y="394"/>
                    </a:lnTo>
                    <a:lnTo>
                      <a:pt x="235" y="394"/>
                    </a:lnTo>
                    <a:lnTo>
                      <a:pt x="235" y="396"/>
                    </a:lnTo>
                    <a:lnTo>
                      <a:pt x="235" y="398"/>
                    </a:lnTo>
                    <a:lnTo>
                      <a:pt x="235" y="398"/>
                    </a:lnTo>
                    <a:lnTo>
                      <a:pt x="235" y="398"/>
                    </a:lnTo>
                    <a:lnTo>
                      <a:pt x="237" y="398"/>
                    </a:lnTo>
                    <a:lnTo>
                      <a:pt x="239" y="398"/>
                    </a:lnTo>
                    <a:lnTo>
                      <a:pt x="239" y="398"/>
                    </a:lnTo>
                    <a:lnTo>
                      <a:pt x="239" y="398"/>
                    </a:lnTo>
                    <a:lnTo>
                      <a:pt x="241" y="398"/>
                    </a:lnTo>
                    <a:lnTo>
                      <a:pt x="241" y="398"/>
                    </a:lnTo>
                    <a:lnTo>
                      <a:pt x="241" y="398"/>
                    </a:lnTo>
                    <a:lnTo>
                      <a:pt x="243" y="398"/>
                    </a:lnTo>
                    <a:lnTo>
                      <a:pt x="245" y="398"/>
                    </a:lnTo>
                    <a:lnTo>
                      <a:pt x="245" y="396"/>
                    </a:lnTo>
                    <a:lnTo>
                      <a:pt x="245" y="396"/>
                    </a:lnTo>
                    <a:lnTo>
                      <a:pt x="245" y="394"/>
                    </a:lnTo>
                    <a:lnTo>
                      <a:pt x="245" y="394"/>
                    </a:lnTo>
                    <a:lnTo>
                      <a:pt x="245" y="394"/>
                    </a:lnTo>
                    <a:lnTo>
                      <a:pt x="247" y="394"/>
                    </a:lnTo>
                    <a:lnTo>
                      <a:pt x="247" y="394"/>
                    </a:lnTo>
                    <a:lnTo>
                      <a:pt x="247" y="394"/>
                    </a:lnTo>
                    <a:lnTo>
                      <a:pt x="245" y="394"/>
                    </a:lnTo>
                    <a:lnTo>
                      <a:pt x="247" y="392"/>
                    </a:lnTo>
                    <a:lnTo>
                      <a:pt x="247" y="390"/>
                    </a:lnTo>
                    <a:lnTo>
                      <a:pt x="249" y="390"/>
                    </a:lnTo>
                    <a:lnTo>
                      <a:pt x="249" y="390"/>
                    </a:lnTo>
                    <a:lnTo>
                      <a:pt x="249" y="390"/>
                    </a:lnTo>
                    <a:lnTo>
                      <a:pt x="251" y="390"/>
                    </a:lnTo>
                    <a:lnTo>
                      <a:pt x="251" y="390"/>
                    </a:lnTo>
                    <a:lnTo>
                      <a:pt x="253" y="388"/>
                    </a:lnTo>
                    <a:lnTo>
                      <a:pt x="253" y="388"/>
                    </a:lnTo>
                    <a:lnTo>
                      <a:pt x="257" y="384"/>
                    </a:lnTo>
                    <a:lnTo>
                      <a:pt x="257" y="384"/>
                    </a:lnTo>
                    <a:lnTo>
                      <a:pt x="257" y="384"/>
                    </a:lnTo>
                    <a:lnTo>
                      <a:pt x="257" y="384"/>
                    </a:lnTo>
                    <a:lnTo>
                      <a:pt x="259" y="384"/>
                    </a:lnTo>
                    <a:lnTo>
                      <a:pt x="259" y="386"/>
                    </a:lnTo>
                    <a:lnTo>
                      <a:pt x="259" y="386"/>
                    </a:lnTo>
                    <a:lnTo>
                      <a:pt x="261" y="386"/>
                    </a:lnTo>
                    <a:lnTo>
                      <a:pt x="261" y="388"/>
                    </a:lnTo>
                    <a:lnTo>
                      <a:pt x="261" y="392"/>
                    </a:lnTo>
                    <a:lnTo>
                      <a:pt x="263" y="394"/>
                    </a:lnTo>
                    <a:lnTo>
                      <a:pt x="263" y="394"/>
                    </a:lnTo>
                    <a:lnTo>
                      <a:pt x="263" y="394"/>
                    </a:lnTo>
                    <a:lnTo>
                      <a:pt x="265" y="394"/>
                    </a:lnTo>
                    <a:lnTo>
                      <a:pt x="267" y="394"/>
                    </a:lnTo>
                    <a:lnTo>
                      <a:pt x="267" y="396"/>
                    </a:lnTo>
                    <a:lnTo>
                      <a:pt x="267" y="396"/>
                    </a:lnTo>
                    <a:lnTo>
                      <a:pt x="267" y="396"/>
                    </a:lnTo>
                    <a:lnTo>
                      <a:pt x="267" y="398"/>
                    </a:lnTo>
                    <a:lnTo>
                      <a:pt x="269" y="398"/>
                    </a:lnTo>
                    <a:lnTo>
                      <a:pt x="271" y="398"/>
                    </a:lnTo>
                    <a:lnTo>
                      <a:pt x="271" y="398"/>
                    </a:lnTo>
                    <a:lnTo>
                      <a:pt x="273" y="398"/>
                    </a:lnTo>
                    <a:lnTo>
                      <a:pt x="273" y="398"/>
                    </a:lnTo>
                    <a:lnTo>
                      <a:pt x="273" y="400"/>
                    </a:lnTo>
                    <a:lnTo>
                      <a:pt x="273" y="400"/>
                    </a:lnTo>
                    <a:lnTo>
                      <a:pt x="275" y="404"/>
                    </a:lnTo>
                    <a:lnTo>
                      <a:pt x="275" y="404"/>
                    </a:lnTo>
                    <a:lnTo>
                      <a:pt x="273" y="404"/>
                    </a:lnTo>
                    <a:lnTo>
                      <a:pt x="273" y="404"/>
                    </a:lnTo>
                    <a:lnTo>
                      <a:pt x="273" y="406"/>
                    </a:lnTo>
                    <a:lnTo>
                      <a:pt x="273" y="406"/>
                    </a:lnTo>
                    <a:lnTo>
                      <a:pt x="275" y="406"/>
                    </a:lnTo>
                    <a:lnTo>
                      <a:pt x="275" y="406"/>
                    </a:lnTo>
                    <a:lnTo>
                      <a:pt x="275" y="406"/>
                    </a:lnTo>
                    <a:lnTo>
                      <a:pt x="275" y="406"/>
                    </a:lnTo>
                    <a:lnTo>
                      <a:pt x="275" y="408"/>
                    </a:lnTo>
                    <a:lnTo>
                      <a:pt x="275" y="408"/>
                    </a:lnTo>
                    <a:lnTo>
                      <a:pt x="275" y="408"/>
                    </a:lnTo>
                    <a:lnTo>
                      <a:pt x="273" y="410"/>
                    </a:lnTo>
                    <a:lnTo>
                      <a:pt x="273" y="412"/>
                    </a:lnTo>
                    <a:lnTo>
                      <a:pt x="273" y="412"/>
                    </a:lnTo>
                    <a:lnTo>
                      <a:pt x="273" y="412"/>
                    </a:lnTo>
                    <a:lnTo>
                      <a:pt x="277" y="412"/>
                    </a:lnTo>
                    <a:lnTo>
                      <a:pt x="277" y="412"/>
                    </a:lnTo>
                    <a:lnTo>
                      <a:pt x="277" y="412"/>
                    </a:lnTo>
                    <a:lnTo>
                      <a:pt x="279" y="410"/>
                    </a:lnTo>
                    <a:lnTo>
                      <a:pt x="279" y="410"/>
                    </a:lnTo>
                    <a:lnTo>
                      <a:pt x="281" y="410"/>
                    </a:lnTo>
                    <a:lnTo>
                      <a:pt x="283" y="410"/>
                    </a:lnTo>
                    <a:lnTo>
                      <a:pt x="285" y="412"/>
                    </a:lnTo>
                    <a:lnTo>
                      <a:pt x="287" y="414"/>
                    </a:lnTo>
                    <a:lnTo>
                      <a:pt x="287" y="412"/>
                    </a:lnTo>
                    <a:lnTo>
                      <a:pt x="289" y="410"/>
                    </a:lnTo>
                    <a:lnTo>
                      <a:pt x="289" y="408"/>
                    </a:lnTo>
                    <a:lnTo>
                      <a:pt x="289" y="408"/>
                    </a:lnTo>
                    <a:lnTo>
                      <a:pt x="289" y="408"/>
                    </a:lnTo>
                    <a:lnTo>
                      <a:pt x="289" y="406"/>
                    </a:lnTo>
                    <a:lnTo>
                      <a:pt x="291" y="404"/>
                    </a:lnTo>
                    <a:lnTo>
                      <a:pt x="291" y="404"/>
                    </a:lnTo>
                    <a:lnTo>
                      <a:pt x="293" y="404"/>
                    </a:lnTo>
                    <a:lnTo>
                      <a:pt x="293" y="404"/>
                    </a:lnTo>
                    <a:lnTo>
                      <a:pt x="293" y="402"/>
                    </a:lnTo>
                    <a:lnTo>
                      <a:pt x="295" y="402"/>
                    </a:lnTo>
                    <a:lnTo>
                      <a:pt x="297" y="402"/>
                    </a:lnTo>
                    <a:lnTo>
                      <a:pt x="299" y="402"/>
                    </a:lnTo>
                    <a:lnTo>
                      <a:pt x="299" y="400"/>
                    </a:lnTo>
                    <a:lnTo>
                      <a:pt x="299" y="400"/>
                    </a:lnTo>
                    <a:lnTo>
                      <a:pt x="299" y="398"/>
                    </a:lnTo>
                    <a:lnTo>
                      <a:pt x="299" y="398"/>
                    </a:lnTo>
                    <a:lnTo>
                      <a:pt x="299" y="398"/>
                    </a:lnTo>
                    <a:lnTo>
                      <a:pt x="299" y="398"/>
                    </a:lnTo>
                    <a:lnTo>
                      <a:pt x="303" y="398"/>
                    </a:lnTo>
                    <a:lnTo>
                      <a:pt x="305" y="398"/>
                    </a:lnTo>
                    <a:lnTo>
                      <a:pt x="305" y="398"/>
                    </a:lnTo>
                    <a:lnTo>
                      <a:pt x="305" y="398"/>
                    </a:lnTo>
                    <a:lnTo>
                      <a:pt x="309" y="400"/>
                    </a:lnTo>
                    <a:lnTo>
                      <a:pt x="311" y="400"/>
                    </a:lnTo>
                    <a:lnTo>
                      <a:pt x="311" y="400"/>
                    </a:lnTo>
                    <a:lnTo>
                      <a:pt x="313" y="398"/>
                    </a:lnTo>
                    <a:lnTo>
                      <a:pt x="313" y="398"/>
                    </a:lnTo>
                    <a:lnTo>
                      <a:pt x="313" y="398"/>
                    </a:lnTo>
                    <a:lnTo>
                      <a:pt x="313" y="398"/>
                    </a:lnTo>
                    <a:lnTo>
                      <a:pt x="315" y="398"/>
                    </a:lnTo>
                    <a:lnTo>
                      <a:pt x="317" y="398"/>
                    </a:lnTo>
                    <a:lnTo>
                      <a:pt x="317" y="398"/>
                    </a:lnTo>
                    <a:lnTo>
                      <a:pt x="321" y="402"/>
                    </a:lnTo>
                    <a:lnTo>
                      <a:pt x="323" y="402"/>
                    </a:lnTo>
                    <a:lnTo>
                      <a:pt x="323" y="404"/>
                    </a:lnTo>
                    <a:lnTo>
                      <a:pt x="325" y="404"/>
                    </a:lnTo>
                    <a:lnTo>
                      <a:pt x="325" y="404"/>
                    </a:lnTo>
                    <a:lnTo>
                      <a:pt x="327" y="404"/>
                    </a:lnTo>
                    <a:lnTo>
                      <a:pt x="327" y="404"/>
                    </a:lnTo>
                    <a:lnTo>
                      <a:pt x="327" y="406"/>
                    </a:lnTo>
                    <a:lnTo>
                      <a:pt x="329" y="406"/>
                    </a:lnTo>
                    <a:lnTo>
                      <a:pt x="329" y="404"/>
                    </a:lnTo>
                    <a:lnTo>
                      <a:pt x="331" y="404"/>
                    </a:lnTo>
                    <a:lnTo>
                      <a:pt x="333" y="402"/>
                    </a:lnTo>
                    <a:lnTo>
                      <a:pt x="333" y="400"/>
                    </a:lnTo>
                    <a:lnTo>
                      <a:pt x="333" y="400"/>
                    </a:lnTo>
                    <a:lnTo>
                      <a:pt x="335" y="400"/>
                    </a:lnTo>
                    <a:lnTo>
                      <a:pt x="335" y="400"/>
                    </a:lnTo>
                    <a:lnTo>
                      <a:pt x="337" y="400"/>
                    </a:lnTo>
                    <a:lnTo>
                      <a:pt x="335" y="398"/>
                    </a:lnTo>
                    <a:lnTo>
                      <a:pt x="335" y="398"/>
                    </a:lnTo>
                    <a:lnTo>
                      <a:pt x="333" y="398"/>
                    </a:lnTo>
                    <a:lnTo>
                      <a:pt x="335" y="396"/>
                    </a:lnTo>
                    <a:lnTo>
                      <a:pt x="335" y="396"/>
                    </a:lnTo>
                    <a:lnTo>
                      <a:pt x="337" y="396"/>
                    </a:lnTo>
                    <a:lnTo>
                      <a:pt x="339" y="396"/>
                    </a:lnTo>
                    <a:lnTo>
                      <a:pt x="339" y="396"/>
                    </a:lnTo>
                    <a:lnTo>
                      <a:pt x="341" y="398"/>
                    </a:lnTo>
                    <a:lnTo>
                      <a:pt x="341" y="398"/>
                    </a:lnTo>
                    <a:lnTo>
                      <a:pt x="341" y="398"/>
                    </a:lnTo>
                    <a:lnTo>
                      <a:pt x="343" y="396"/>
                    </a:lnTo>
                    <a:lnTo>
                      <a:pt x="345" y="394"/>
                    </a:lnTo>
                    <a:lnTo>
                      <a:pt x="345" y="394"/>
                    </a:lnTo>
                    <a:lnTo>
                      <a:pt x="345" y="394"/>
                    </a:lnTo>
                    <a:lnTo>
                      <a:pt x="349" y="396"/>
                    </a:lnTo>
                    <a:lnTo>
                      <a:pt x="353" y="396"/>
                    </a:lnTo>
                    <a:lnTo>
                      <a:pt x="353" y="396"/>
                    </a:lnTo>
                    <a:lnTo>
                      <a:pt x="355" y="396"/>
                    </a:lnTo>
                    <a:lnTo>
                      <a:pt x="357" y="396"/>
                    </a:lnTo>
                    <a:lnTo>
                      <a:pt x="357" y="396"/>
                    </a:lnTo>
                    <a:lnTo>
                      <a:pt x="357" y="396"/>
                    </a:lnTo>
                    <a:lnTo>
                      <a:pt x="361" y="396"/>
                    </a:lnTo>
                    <a:lnTo>
                      <a:pt x="363" y="396"/>
                    </a:lnTo>
                    <a:lnTo>
                      <a:pt x="363" y="396"/>
                    </a:lnTo>
                    <a:lnTo>
                      <a:pt x="363" y="398"/>
                    </a:lnTo>
                    <a:lnTo>
                      <a:pt x="365" y="398"/>
                    </a:lnTo>
                    <a:lnTo>
                      <a:pt x="365" y="398"/>
                    </a:lnTo>
                    <a:lnTo>
                      <a:pt x="365" y="398"/>
                    </a:lnTo>
                    <a:lnTo>
                      <a:pt x="365" y="398"/>
                    </a:lnTo>
                    <a:lnTo>
                      <a:pt x="367" y="398"/>
                    </a:lnTo>
                    <a:lnTo>
                      <a:pt x="369" y="400"/>
                    </a:lnTo>
                    <a:lnTo>
                      <a:pt x="369" y="402"/>
                    </a:lnTo>
                    <a:lnTo>
                      <a:pt x="369" y="400"/>
                    </a:lnTo>
                    <a:lnTo>
                      <a:pt x="371" y="400"/>
                    </a:lnTo>
                    <a:lnTo>
                      <a:pt x="371" y="400"/>
                    </a:lnTo>
                    <a:lnTo>
                      <a:pt x="371" y="400"/>
                    </a:lnTo>
                    <a:lnTo>
                      <a:pt x="373" y="400"/>
                    </a:lnTo>
                    <a:lnTo>
                      <a:pt x="375" y="402"/>
                    </a:lnTo>
                    <a:lnTo>
                      <a:pt x="377" y="402"/>
                    </a:lnTo>
                    <a:lnTo>
                      <a:pt x="379" y="404"/>
                    </a:lnTo>
                    <a:lnTo>
                      <a:pt x="381" y="406"/>
                    </a:lnTo>
                    <a:lnTo>
                      <a:pt x="381" y="408"/>
                    </a:lnTo>
                    <a:lnTo>
                      <a:pt x="381" y="410"/>
                    </a:lnTo>
                    <a:lnTo>
                      <a:pt x="383" y="412"/>
                    </a:lnTo>
                    <a:lnTo>
                      <a:pt x="385" y="412"/>
                    </a:lnTo>
                    <a:lnTo>
                      <a:pt x="387" y="414"/>
                    </a:lnTo>
                    <a:lnTo>
                      <a:pt x="387" y="414"/>
                    </a:lnTo>
                    <a:lnTo>
                      <a:pt x="389" y="414"/>
                    </a:lnTo>
                    <a:lnTo>
                      <a:pt x="389" y="414"/>
                    </a:lnTo>
                    <a:lnTo>
                      <a:pt x="391" y="414"/>
                    </a:lnTo>
                    <a:lnTo>
                      <a:pt x="391" y="414"/>
                    </a:lnTo>
                    <a:lnTo>
                      <a:pt x="391" y="414"/>
                    </a:lnTo>
                    <a:lnTo>
                      <a:pt x="391" y="414"/>
                    </a:lnTo>
                    <a:lnTo>
                      <a:pt x="391" y="416"/>
                    </a:lnTo>
                    <a:lnTo>
                      <a:pt x="391" y="416"/>
                    </a:lnTo>
                    <a:lnTo>
                      <a:pt x="393" y="416"/>
                    </a:lnTo>
                    <a:lnTo>
                      <a:pt x="395" y="416"/>
                    </a:lnTo>
                    <a:lnTo>
                      <a:pt x="397" y="416"/>
                    </a:lnTo>
                    <a:lnTo>
                      <a:pt x="399" y="418"/>
                    </a:lnTo>
                    <a:lnTo>
                      <a:pt x="401" y="420"/>
                    </a:lnTo>
                    <a:lnTo>
                      <a:pt x="405" y="420"/>
                    </a:lnTo>
                    <a:lnTo>
                      <a:pt x="407" y="420"/>
                    </a:lnTo>
                    <a:lnTo>
                      <a:pt x="407" y="420"/>
                    </a:lnTo>
                    <a:lnTo>
                      <a:pt x="409" y="420"/>
                    </a:lnTo>
                    <a:lnTo>
                      <a:pt x="411" y="422"/>
                    </a:lnTo>
                    <a:lnTo>
                      <a:pt x="411" y="422"/>
                    </a:lnTo>
                    <a:lnTo>
                      <a:pt x="413" y="422"/>
                    </a:lnTo>
                    <a:lnTo>
                      <a:pt x="413" y="422"/>
                    </a:lnTo>
                    <a:lnTo>
                      <a:pt x="415" y="422"/>
                    </a:lnTo>
                    <a:lnTo>
                      <a:pt x="417" y="422"/>
                    </a:lnTo>
                    <a:lnTo>
                      <a:pt x="417" y="422"/>
                    </a:lnTo>
                    <a:lnTo>
                      <a:pt x="417" y="422"/>
                    </a:lnTo>
                    <a:lnTo>
                      <a:pt x="419" y="424"/>
                    </a:lnTo>
                    <a:lnTo>
                      <a:pt x="419" y="424"/>
                    </a:lnTo>
                    <a:lnTo>
                      <a:pt x="419" y="424"/>
                    </a:lnTo>
                    <a:lnTo>
                      <a:pt x="421" y="426"/>
                    </a:lnTo>
                    <a:lnTo>
                      <a:pt x="421" y="426"/>
                    </a:lnTo>
                    <a:lnTo>
                      <a:pt x="423" y="424"/>
                    </a:lnTo>
                    <a:lnTo>
                      <a:pt x="423" y="424"/>
                    </a:lnTo>
                    <a:lnTo>
                      <a:pt x="421" y="422"/>
                    </a:lnTo>
                    <a:lnTo>
                      <a:pt x="421" y="422"/>
                    </a:lnTo>
                    <a:lnTo>
                      <a:pt x="421" y="422"/>
                    </a:lnTo>
                    <a:lnTo>
                      <a:pt x="421" y="420"/>
                    </a:lnTo>
                    <a:lnTo>
                      <a:pt x="421" y="420"/>
                    </a:lnTo>
                    <a:lnTo>
                      <a:pt x="421" y="418"/>
                    </a:lnTo>
                    <a:lnTo>
                      <a:pt x="419" y="418"/>
                    </a:lnTo>
                    <a:lnTo>
                      <a:pt x="417" y="416"/>
                    </a:lnTo>
                    <a:lnTo>
                      <a:pt x="417" y="416"/>
                    </a:lnTo>
                    <a:lnTo>
                      <a:pt x="415" y="414"/>
                    </a:lnTo>
                    <a:lnTo>
                      <a:pt x="415" y="414"/>
                    </a:lnTo>
                    <a:lnTo>
                      <a:pt x="415" y="414"/>
                    </a:lnTo>
                    <a:lnTo>
                      <a:pt x="413" y="414"/>
                    </a:lnTo>
                    <a:lnTo>
                      <a:pt x="413" y="414"/>
                    </a:lnTo>
                    <a:lnTo>
                      <a:pt x="413" y="414"/>
                    </a:lnTo>
                    <a:lnTo>
                      <a:pt x="415" y="412"/>
                    </a:lnTo>
                    <a:lnTo>
                      <a:pt x="415" y="410"/>
                    </a:lnTo>
                    <a:lnTo>
                      <a:pt x="415" y="408"/>
                    </a:lnTo>
                    <a:lnTo>
                      <a:pt x="417" y="406"/>
                    </a:lnTo>
                    <a:lnTo>
                      <a:pt x="415" y="400"/>
                    </a:lnTo>
                    <a:lnTo>
                      <a:pt x="415" y="398"/>
                    </a:lnTo>
                    <a:lnTo>
                      <a:pt x="415" y="398"/>
                    </a:lnTo>
                    <a:lnTo>
                      <a:pt x="415" y="398"/>
                    </a:lnTo>
                    <a:lnTo>
                      <a:pt x="413" y="396"/>
                    </a:lnTo>
                    <a:lnTo>
                      <a:pt x="413" y="396"/>
                    </a:lnTo>
                    <a:lnTo>
                      <a:pt x="413" y="396"/>
                    </a:lnTo>
                    <a:lnTo>
                      <a:pt x="413" y="392"/>
                    </a:lnTo>
                    <a:lnTo>
                      <a:pt x="413" y="392"/>
                    </a:lnTo>
                    <a:lnTo>
                      <a:pt x="411" y="388"/>
                    </a:lnTo>
                    <a:lnTo>
                      <a:pt x="413" y="386"/>
                    </a:lnTo>
                    <a:lnTo>
                      <a:pt x="417" y="382"/>
                    </a:lnTo>
                    <a:lnTo>
                      <a:pt x="417" y="380"/>
                    </a:lnTo>
                    <a:lnTo>
                      <a:pt x="417" y="378"/>
                    </a:lnTo>
                    <a:lnTo>
                      <a:pt x="417" y="378"/>
                    </a:lnTo>
                    <a:lnTo>
                      <a:pt x="419" y="378"/>
                    </a:lnTo>
                    <a:lnTo>
                      <a:pt x="419" y="378"/>
                    </a:lnTo>
                    <a:lnTo>
                      <a:pt x="421" y="378"/>
                    </a:lnTo>
                    <a:lnTo>
                      <a:pt x="423" y="372"/>
                    </a:lnTo>
                    <a:lnTo>
                      <a:pt x="423" y="372"/>
                    </a:lnTo>
                    <a:lnTo>
                      <a:pt x="425" y="372"/>
                    </a:lnTo>
                    <a:lnTo>
                      <a:pt x="425" y="372"/>
                    </a:lnTo>
                    <a:lnTo>
                      <a:pt x="425" y="370"/>
                    </a:lnTo>
                    <a:lnTo>
                      <a:pt x="425" y="370"/>
                    </a:lnTo>
                    <a:lnTo>
                      <a:pt x="427" y="368"/>
                    </a:lnTo>
                    <a:lnTo>
                      <a:pt x="427" y="368"/>
                    </a:lnTo>
                    <a:lnTo>
                      <a:pt x="429" y="366"/>
                    </a:lnTo>
                    <a:lnTo>
                      <a:pt x="433" y="360"/>
                    </a:lnTo>
                    <a:lnTo>
                      <a:pt x="435" y="358"/>
                    </a:lnTo>
                    <a:lnTo>
                      <a:pt x="437" y="356"/>
                    </a:lnTo>
                    <a:lnTo>
                      <a:pt x="439" y="354"/>
                    </a:lnTo>
                    <a:lnTo>
                      <a:pt x="449" y="342"/>
                    </a:lnTo>
                    <a:lnTo>
                      <a:pt x="451" y="340"/>
                    </a:lnTo>
                    <a:lnTo>
                      <a:pt x="455" y="340"/>
                    </a:lnTo>
                    <a:lnTo>
                      <a:pt x="455" y="340"/>
                    </a:lnTo>
                    <a:lnTo>
                      <a:pt x="455" y="338"/>
                    </a:lnTo>
                    <a:lnTo>
                      <a:pt x="459" y="334"/>
                    </a:lnTo>
                    <a:lnTo>
                      <a:pt x="461" y="334"/>
                    </a:lnTo>
                    <a:lnTo>
                      <a:pt x="461" y="332"/>
                    </a:lnTo>
                    <a:lnTo>
                      <a:pt x="461" y="330"/>
                    </a:lnTo>
                    <a:lnTo>
                      <a:pt x="463" y="330"/>
                    </a:lnTo>
                    <a:lnTo>
                      <a:pt x="463" y="330"/>
                    </a:lnTo>
                    <a:lnTo>
                      <a:pt x="465" y="328"/>
                    </a:lnTo>
                    <a:lnTo>
                      <a:pt x="473" y="328"/>
                    </a:lnTo>
                    <a:lnTo>
                      <a:pt x="475" y="328"/>
                    </a:lnTo>
                    <a:lnTo>
                      <a:pt x="477" y="326"/>
                    </a:lnTo>
                    <a:lnTo>
                      <a:pt x="477" y="324"/>
                    </a:lnTo>
                    <a:lnTo>
                      <a:pt x="477" y="324"/>
                    </a:lnTo>
                    <a:lnTo>
                      <a:pt x="477" y="322"/>
                    </a:lnTo>
                    <a:lnTo>
                      <a:pt x="477" y="322"/>
                    </a:lnTo>
                    <a:lnTo>
                      <a:pt x="481" y="320"/>
                    </a:lnTo>
                    <a:lnTo>
                      <a:pt x="481" y="320"/>
                    </a:lnTo>
                    <a:lnTo>
                      <a:pt x="481" y="318"/>
                    </a:lnTo>
                    <a:lnTo>
                      <a:pt x="481" y="318"/>
                    </a:lnTo>
                    <a:lnTo>
                      <a:pt x="481" y="318"/>
                    </a:lnTo>
                    <a:lnTo>
                      <a:pt x="481" y="314"/>
                    </a:lnTo>
                    <a:lnTo>
                      <a:pt x="483" y="312"/>
                    </a:lnTo>
                    <a:lnTo>
                      <a:pt x="481" y="312"/>
                    </a:lnTo>
                    <a:lnTo>
                      <a:pt x="481" y="310"/>
                    </a:lnTo>
                    <a:lnTo>
                      <a:pt x="481" y="308"/>
                    </a:lnTo>
                    <a:lnTo>
                      <a:pt x="481" y="306"/>
                    </a:lnTo>
                    <a:lnTo>
                      <a:pt x="479" y="306"/>
                    </a:lnTo>
                    <a:lnTo>
                      <a:pt x="477" y="306"/>
                    </a:lnTo>
                    <a:lnTo>
                      <a:pt x="477" y="304"/>
                    </a:lnTo>
                    <a:lnTo>
                      <a:pt x="477" y="302"/>
                    </a:lnTo>
                    <a:lnTo>
                      <a:pt x="477" y="302"/>
                    </a:lnTo>
                    <a:lnTo>
                      <a:pt x="477" y="302"/>
                    </a:lnTo>
                    <a:lnTo>
                      <a:pt x="475" y="302"/>
                    </a:lnTo>
                    <a:lnTo>
                      <a:pt x="475" y="300"/>
                    </a:lnTo>
                    <a:lnTo>
                      <a:pt x="475" y="300"/>
                    </a:lnTo>
                    <a:lnTo>
                      <a:pt x="475" y="298"/>
                    </a:lnTo>
                    <a:close/>
                  </a:path>
                </a:pathLst>
              </a:custGeom>
              <a:solidFill>
                <a:srgbClr val="73C37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30" name="Freeform 76"/>
              <p:cNvSpPr>
                <a:spLocks/>
              </p:cNvSpPr>
              <p:nvPr>
                <p:custDataLst>
                  <p:tags r:id="rId154"/>
                </p:custDataLst>
              </p:nvPr>
            </p:nvSpPr>
            <p:spPr bwMode="gray">
              <a:xfrm>
                <a:off x="5030349" y="3330413"/>
                <a:ext cx="476356" cy="241353"/>
              </a:xfrm>
              <a:custGeom>
                <a:avLst/>
                <a:gdLst>
                  <a:gd name="T0" fmla="*/ 149 w 150"/>
                  <a:gd name="T1" fmla="*/ 20 h 76"/>
                  <a:gd name="T2" fmla="*/ 144 w 150"/>
                  <a:gd name="T3" fmla="*/ 16 h 76"/>
                  <a:gd name="T4" fmla="*/ 138 w 150"/>
                  <a:gd name="T5" fmla="*/ 14 h 76"/>
                  <a:gd name="T6" fmla="*/ 130 w 150"/>
                  <a:gd name="T7" fmla="*/ 7 h 76"/>
                  <a:gd name="T8" fmla="*/ 119 w 150"/>
                  <a:gd name="T9" fmla="*/ 6 h 76"/>
                  <a:gd name="T10" fmla="*/ 113 w 150"/>
                  <a:gd name="T11" fmla="*/ 10 h 76"/>
                  <a:gd name="T12" fmla="*/ 105 w 150"/>
                  <a:gd name="T13" fmla="*/ 6 h 76"/>
                  <a:gd name="T14" fmla="*/ 99 w 150"/>
                  <a:gd name="T15" fmla="*/ 5 h 76"/>
                  <a:gd name="T16" fmla="*/ 92 w 150"/>
                  <a:gd name="T17" fmla="*/ 3 h 76"/>
                  <a:gd name="T18" fmla="*/ 85 w 150"/>
                  <a:gd name="T19" fmla="*/ 10 h 76"/>
                  <a:gd name="T20" fmla="*/ 82 w 150"/>
                  <a:gd name="T21" fmla="*/ 6 h 76"/>
                  <a:gd name="T22" fmla="*/ 76 w 150"/>
                  <a:gd name="T23" fmla="*/ 0 h 76"/>
                  <a:gd name="T24" fmla="*/ 67 w 150"/>
                  <a:gd name="T25" fmla="*/ 7 h 76"/>
                  <a:gd name="T26" fmla="*/ 58 w 150"/>
                  <a:gd name="T27" fmla="*/ 6 h 76"/>
                  <a:gd name="T28" fmla="*/ 54 w 150"/>
                  <a:gd name="T29" fmla="*/ 6 h 76"/>
                  <a:gd name="T30" fmla="*/ 50 w 150"/>
                  <a:gd name="T31" fmla="*/ 12 h 76"/>
                  <a:gd name="T32" fmla="*/ 41 w 150"/>
                  <a:gd name="T33" fmla="*/ 12 h 76"/>
                  <a:gd name="T34" fmla="*/ 35 w 150"/>
                  <a:gd name="T35" fmla="*/ 19 h 76"/>
                  <a:gd name="T36" fmla="*/ 0 w 150"/>
                  <a:gd name="T37" fmla="*/ 45 h 76"/>
                  <a:gd name="T38" fmla="*/ 1 w 150"/>
                  <a:gd name="T39" fmla="*/ 51 h 76"/>
                  <a:gd name="T40" fmla="*/ 0 w 150"/>
                  <a:gd name="T41" fmla="*/ 58 h 76"/>
                  <a:gd name="T42" fmla="*/ 10 w 150"/>
                  <a:gd name="T43" fmla="*/ 65 h 76"/>
                  <a:gd name="T44" fmla="*/ 17 w 150"/>
                  <a:gd name="T45" fmla="*/ 71 h 76"/>
                  <a:gd name="T46" fmla="*/ 23 w 150"/>
                  <a:gd name="T47" fmla="*/ 75 h 76"/>
                  <a:gd name="T48" fmla="*/ 34 w 150"/>
                  <a:gd name="T49" fmla="*/ 75 h 76"/>
                  <a:gd name="T50" fmla="*/ 38 w 150"/>
                  <a:gd name="T51" fmla="*/ 75 h 76"/>
                  <a:gd name="T52" fmla="*/ 47 w 150"/>
                  <a:gd name="T53" fmla="*/ 72 h 76"/>
                  <a:gd name="T54" fmla="*/ 51 w 150"/>
                  <a:gd name="T55" fmla="*/ 68 h 76"/>
                  <a:gd name="T56" fmla="*/ 54 w 150"/>
                  <a:gd name="T57" fmla="*/ 65 h 76"/>
                  <a:gd name="T58" fmla="*/ 65 w 150"/>
                  <a:gd name="T59" fmla="*/ 65 h 76"/>
                  <a:gd name="T60" fmla="*/ 75 w 150"/>
                  <a:gd name="T61" fmla="*/ 61 h 76"/>
                  <a:gd name="T62" fmla="*/ 85 w 150"/>
                  <a:gd name="T63" fmla="*/ 54 h 76"/>
                  <a:gd name="T64" fmla="*/ 92 w 150"/>
                  <a:gd name="T65" fmla="*/ 47 h 76"/>
                  <a:gd name="T66" fmla="*/ 96 w 150"/>
                  <a:gd name="T67" fmla="*/ 41 h 76"/>
                  <a:gd name="T68" fmla="*/ 102 w 150"/>
                  <a:gd name="T69" fmla="*/ 41 h 76"/>
                  <a:gd name="T70" fmla="*/ 113 w 150"/>
                  <a:gd name="T71" fmla="*/ 41 h 76"/>
                  <a:gd name="T72" fmla="*/ 119 w 150"/>
                  <a:gd name="T73" fmla="*/ 41 h 76"/>
                  <a:gd name="T74" fmla="*/ 124 w 150"/>
                  <a:gd name="T75" fmla="*/ 45 h 76"/>
                  <a:gd name="T76" fmla="*/ 134 w 150"/>
                  <a:gd name="T77" fmla="*/ 45 h 76"/>
                  <a:gd name="T78" fmla="*/ 140 w 150"/>
                  <a:gd name="T79" fmla="*/ 44 h 76"/>
                  <a:gd name="T80" fmla="*/ 140 w 150"/>
                  <a:gd name="T81" fmla="*/ 37 h 76"/>
                  <a:gd name="T82" fmla="*/ 145 w 150"/>
                  <a:gd name="T83" fmla="*/ 34 h 76"/>
                  <a:gd name="T84" fmla="*/ 146 w 150"/>
                  <a:gd name="T85" fmla="*/ 2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76">
                    <a:moveTo>
                      <a:pt x="150" y="25"/>
                    </a:moveTo>
                    <a:cubicBezTo>
                      <a:pt x="149" y="20"/>
                      <a:pt x="149" y="20"/>
                      <a:pt x="149" y="20"/>
                    </a:cubicBezTo>
                    <a:cubicBezTo>
                      <a:pt x="146" y="17"/>
                      <a:pt x="146" y="17"/>
                      <a:pt x="146" y="17"/>
                    </a:cubicBezTo>
                    <a:cubicBezTo>
                      <a:pt x="144" y="16"/>
                      <a:pt x="144" y="16"/>
                      <a:pt x="144" y="16"/>
                    </a:cubicBezTo>
                    <a:cubicBezTo>
                      <a:pt x="142" y="16"/>
                      <a:pt x="142" y="16"/>
                      <a:pt x="142" y="16"/>
                    </a:cubicBezTo>
                    <a:cubicBezTo>
                      <a:pt x="138" y="14"/>
                      <a:pt x="138" y="14"/>
                      <a:pt x="138" y="14"/>
                    </a:cubicBezTo>
                    <a:cubicBezTo>
                      <a:pt x="135" y="9"/>
                      <a:pt x="135" y="9"/>
                      <a:pt x="135" y="9"/>
                    </a:cubicBezTo>
                    <a:cubicBezTo>
                      <a:pt x="130" y="7"/>
                      <a:pt x="130" y="7"/>
                      <a:pt x="130" y="7"/>
                    </a:cubicBezTo>
                    <a:cubicBezTo>
                      <a:pt x="124" y="6"/>
                      <a:pt x="124" y="6"/>
                      <a:pt x="124" y="6"/>
                    </a:cubicBezTo>
                    <a:cubicBezTo>
                      <a:pt x="119" y="6"/>
                      <a:pt x="119" y="6"/>
                      <a:pt x="119" y="6"/>
                    </a:cubicBezTo>
                    <a:cubicBezTo>
                      <a:pt x="115" y="7"/>
                      <a:pt x="115" y="7"/>
                      <a:pt x="115" y="7"/>
                    </a:cubicBezTo>
                    <a:cubicBezTo>
                      <a:pt x="113" y="10"/>
                      <a:pt x="113" y="10"/>
                      <a:pt x="113" y="10"/>
                    </a:cubicBezTo>
                    <a:cubicBezTo>
                      <a:pt x="107" y="8"/>
                      <a:pt x="107" y="8"/>
                      <a:pt x="107" y="8"/>
                    </a:cubicBezTo>
                    <a:cubicBezTo>
                      <a:pt x="105" y="6"/>
                      <a:pt x="105" y="6"/>
                      <a:pt x="105" y="6"/>
                    </a:cubicBezTo>
                    <a:cubicBezTo>
                      <a:pt x="102" y="2"/>
                      <a:pt x="102" y="2"/>
                      <a:pt x="102" y="2"/>
                    </a:cubicBezTo>
                    <a:cubicBezTo>
                      <a:pt x="99" y="5"/>
                      <a:pt x="99" y="5"/>
                      <a:pt x="99" y="5"/>
                    </a:cubicBezTo>
                    <a:cubicBezTo>
                      <a:pt x="96" y="6"/>
                      <a:pt x="96" y="6"/>
                      <a:pt x="96" y="6"/>
                    </a:cubicBezTo>
                    <a:cubicBezTo>
                      <a:pt x="92" y="3"/>
                      <a:pt x="92" y="3"/>
                      <a:pt x="92" y="3"/>
                    </a:cubicBezTo>
                    <a:cubicBezTo>
                      <a:pt x="85" y="6"/>
                      <a:pt x="85" y="6"/>
                      <a:pt x="85" y="6"/>
                    </a:cubicBezTo>
                    <a:cubicBezTo>
                      <a:pt x="85" y="10"/>
                      <a:pt x="85" y="10"/>
                      <a:pt x="85" y="10"/>
                    </a:cubicBezTo>
                    <a:cubicBezTo>
                      <a:pt x="83" y="7"/>
                      <a:pt x="83" y="7"/>
                      <a:pt x="83" y="7"/>
                    </a:cubicBezTo>
                    <a:cubicBezTo>
                      <a:pt x="82" y="6"/>
                      <a:pt x="82" y="6"/>
                      <a:pt x="82" y="6"/>
                    </a:cubicBezTo>
                    <a:cubicBezTo>
                      <a:pt x="78" y="3"/>
                      <a:pt x="78" y="3"/>
                      <a:pt x="78" y="3"/>
                    </a:cubicBezTo>
                    <a:cubicBezTo>
                      <a:pt x="76" y="0"/>
                      <a:pt x="76" y="0"/>
                      <a:pt x="76" y="0"/>
                    </a:cubicBezTo>
                    <a:cubicBezTo>
                      <a:pt x="70" y="4"/>
                      <a:pt x="70" y="4"/>
                      <a:pt x="70" y="4"/>
                    </a:cubicBezTo>
                    <a:cubicBezTo>
                      <a:pt x="67" y="7"/>
                      <a:pt x="67" y="7"/>
                      <a:pt x="67" y="7"/>
                    </a:cubicBezTo>
                    <a:cubicBezTo>
                      <a:pt x="65" y="6"/>
                      <a:pt x="65" y="6"/>
                      <a:pt x="65" y="6"/>
                    </a:cubicBezTo>
                    <a:cubicBezTo>
                      <a:pt x="58" y="6"/>
                      <a:pt x="58" y="6"/>
                      <a:pt x="58" y="6"/>
                    </a:cubicBezTo>
                    <a:cubicBezTo>
                      <a:pt x="57" y="6"/>
                      <a:pt x="57" y="6"/>
                      <a:pt x="57" y="6"/>
                    </a:cubicBezTo>
                    <a:cubicBezTo>
                      <a:pt x="56" y="6"/>
                      <a:pt x="54" y="6"/>
                      <a:pt x="54" y="6"/>
                    </a:cubicBezTo>
                    <a:cubicBezTo>
                      <a:pt x="52" y="6"/>
                      <a:pt x="50" y="8"/>
                      <a:pt x="50" y="10"/>
                    </a:cubicBezTo>
                    <a:cubicBezTo>
                      <a:pt x="50" y="12"/>
                      <a:pt x="50" y="12"/>
                      <a:pt x="50" y="12"/>
                    </a:cubicBezTo>
                    <a:cubicBezTo>
                      <a:pt x="50" y="12"/>
                      <a:pt x="50" y="12"/>
                      <a:pt x="49" y="12"/>
                    </a:cubicBezTo>
                    <a:cubicBezTo>
                      <a:pt x="47" y="12"/>
                      <a:pt x="45" y="12"/>
                      <a:pt x="41" y="12"/>
                    </a:cubicBezTo>
                    <a:cubicBezTo>
                      <a:pt x="39" y="12"/>
                      <a:pt x="39" y="12"/>
                      <a:pt x="39" y="12"/>
                    </a:cubicBezTo>
                    <a:cubicBezTo>
                      <a:pt x="37" y="17"/>
                      <a:pt x="35" y="19"/>
                      <a:pt x="35" y="19"/>
                    </a:cubicBezTo>
                    <a:cubicBezTo>
                      <a:pt x="34" y="21"/>
                      <a:pt x="34" y="21"/>
                      <a:pt x="32" y="23"/>
                    </a:cubicBezTo>
                    <a:cubicBezTo>
                      <a:pt x="30" y="37"/>
                      <a:pt x="9" y="42"/>
                      <a:pt x="0" y="45"/>
                    </a:cubicBezTo>
                    <a:cubicBezTo>
                      <a:pt x="2" y="48"/>
                      <a:pt x="2" y="48"/>
                      <a:pt x="2" y="48"/>
                    </a:cubicBezTo>
                    <a:cubicBezTo>
                      <a:pt x="1" y="51"/>
                      <a:pt x="1" y="51"/>
                      <a:pt x="1" y="51"/>
                    </a:cubicBezTo>
                    <a:cubicBezTo>
                      <a:pt x="5" y="56"/>
                      <a:pt x="5" y="56"/>
                      <a:pt x="5" y="56"/>
                    </a:cubicBezTo>
                    <a:cubicBezTo>
                      <a:pt x="0" y="58"/>
                      <a:pt x="0" y="58"/>
                      <a:pt x="0" y="58"/>
                    </a:cubicBezTo>
                    <a:cubicBezTo>
                      <a:pt x="4" y="65"/>
                      <a:pt x="4" y="65"/>
                      <a:pt x="4" y="65"/>
                    </a:cubicBezTo>
                    <a:cubicBezTo>
                      <a:pt x="10" y="65"/>
                      <a:pt x="10" y="65"/>
                      <a:pt x="10" y="65"/>
                    </a:cubicBezTo>
                    <a:cubicBezTo>
                      <a:pt x="13" y="68"/>
                      <a:pt x="13" y="68"/>
                      <a:pt x="13" y="68"/>
                    </a:cubicBezTo>
                    <a:cubicBezTo>
                      <a:pt x="17" y="71"/>
                      <a:pt x="17" y="71"/>
                      <a:pt x="17" y="71"/>
                    </a:cubicBezTo>
                    <a:cubicBezTo>
                      <a:pt x="20" y="73"/>
                      <a:pt x="20" y="73"/>
                      <a:pt x="20" y="73"/>
                    </a:cubicBezTo>
                    <a:cubicBezTo>
                      <a:pt x="23" y="75"/>
                      <a:pt x="23" y="75"/>
                      <a:pt x="23" y="75"/>
                    </a:cubicBezTo>
                    <a:cubicBezTo>
                      <a:pt x="30" y="76"/>
                      <a:pt x="30" y="76"/>
                      <a:pt x="30" y="76"/>
                    </a:cubicBezTo>
                    <a:cubicBezTo>
                      <a:pt x="34" y="75"/>
                      <a:pt x="34" y="75"/>
                      <a:pt x="34" y="75"/>
                    </a:cubicBezTo>
                    <a:cubicBezTo>
                      <a:pt x="37" y="75"/>
                      <a:pt x="37" y="75"/>
                      <a:pt x="37" y="75"/>
                    </a:cubicBezTo>
                    <a:cubicBezTo>
                      <a:pt x="38" y="75"/>
                      <a:pt x="38" y="75"/>
                      <a:pt x="38" y="75"/>
                    </a:cubicBezTo>
                    <a:cubicBezTo>
                      <a:pt x="44" y="72"/>
                      <a:pt x="44" y="72"/>
                      <a:pt x="44" y="72"/>
                    </a:cubicBezTo>
                    <a:cubicBezTo>
                      <a:pt x="47" y="72"/>
                      <a:pt x="47" y="72"/>
                      <a:pt x="47" y="72"/>
                    </a:cubicBezTo>
                    <a:cubicBezTo>
                      <a:pt x="50" y="71"/>
                      <a:pt x="50" y="71"/>
                      <a:pt x="50" y="71"/>
                    </a:cubicBezTo>
                    <a:cubicBezTo>
                      <a:pt x="51" y="68"/>
                      <a:pt x="51" y="68"/>
                      <a:pt x="51" y="68"/>
                    </a:cubicBezTo>
                    <a:cubicBezTo>
                      <a:pt x="53" y="65"/>
                      <a:pt x="53" y="65"/>
                      <a:pt x="53" y="65"/>
                    </a:cubicBezTo>
                    <a:cubicBezTo>
                      <a:pt x="54" y="65"/>
                      <a:pt x="54" y="65"/>
                      <a:pt x="54" y="65"/>
                    </a:cubicBezTo>
                    <a:cubicBezTo>
                      <a:pt x="61" y="65"/>
                      <a:pt x="61" y="65"/>
                      <a:pt x="61" y="65"/>
                    </a:cubicBezTo>
                    <a:cubicBezTo>
                      <a:pt x="65" y="65"/>
                      <a:pt x="65" y="65"/>
                      <a:pt x="65" y="65"/>
                    </a:cubicBezTo>
                    <a:cubicBezTo>
                      <a:pt x="68" y="65"/>
                      <a:pt x="68" y="65"/>
                      <a:pt x="68" y="65"/>
                    </a:cubicBezTo>
                    <a:cubicBezTo>
                      <a:pt x="75" y="61"/>
                      <a:pt x="75" y="61"/>
                      <a:pt x="75" y="61"/>
                    </a:cubicBezTo>
                    <a:cubicBezTo>
                      <a:pt x="78" y="58"/>
                      <a:pt x="78" y="58"/>
                      <a:pt x="78" y="58"/>
                    </a:cubicBezTo>
                    <a:cubicBezTo>
                      <a:pt x="85" y="54"/>
                      <a:pt x="85" y="54"/>
                      <a:pt x="85" y="54"/>
                    </a:cubicBezTo>
                    <a:cubicBezTo>
                      <a:pt x="89" y="51"/>
                      <a:pt x="89" y="51"/>
                      <a:pt x="89" y="51"/>
                    </a:cubicBezTo>
                    <a:cubicBezTo>
                      <a:pt x="92" y="47"/>
                      <a:pt x="92" y="47"/>
                      <a:pt x="92" y="47"/>
                    </a:cubicBezTo>
                    <a:cubicBezTo>
                      <a:pt x="92" y="44"/>
                      <a:pt x="92" y="44"/>
                      <a:pt x="92" y="44"/>
                    </a:cubicBezTo>
                    <a:cubicBezTo>
                      <a:pt x="96" y="41"/>
                      <a:pt x="96" y="41"/>
                      <a:pt x="96" y="41"/>
                    </a:cubicBezTo>
                    <a:cubicBezTo>
                      <a:pt x="99" y="41"/>
                      <a:pt x="99" y="41"/>
                      <a:pt x="99" y="41"/>
                    </a:cubicBezTo>
                    <a:cubicBezTo>
                      <a:pt x="102" y="41"/>
                      <a:pt x="102" y="41"/>
                      <a:pt x="102" y="41"/>
                    </a:cubicBezTo>
                    <a:cubicBezTo>
                      <a:pt x="109" y="41"/>
                      <a:pt x="109" y="41"/>
                      <a:pt x="109" y="41"/>
                    </a:cubicBezTo>
                    <a:cubicBezTo>
                      <a:pt x="113" y="41"/>
                      <a:pt x="113" y="41"/>
                      <a:pt x="113" y="41"/>
                    </a:cubicBezTo>
                    <a:cubicBezTo>
                      <a:pt x="114" y="41"/>
                      <a:pt x="114" y="41"/>
                      <a:pt x="114" y="41"/>
                    </a:cubicBezTo>
                    <a:cubicBezTo>
                      <a:pt x="119" y="41"/>
                      <a:pt x="119" y="41"/>
                      <a:pt x="119" y="41"/>
                    </a:cubicBezTo>
                    <a:cubicBezTo>
                      <a:pt x="119" y="46"/>
                      <a:pt x="119" y="46"/>
                      <a:pt x="119" y="46"/>
                    </a:cubicBezTo>
                    <a:cubicBezTo>
                      <a:pt x="124" y="45"/>
                      <a:pt x="124" y="45"/>
                      <a:pt x="124" y="45"/>
                    </a:cubicBezTo>
                    <a:cubicBezTo>
                      <a:pt x="128" y="49"/>
                      <a:pt x="128" y="49"/>
                      <a:pt x="128" y="49"/>
                    </a:cubicBezTo>
                    <a:cubicBezTo>
                      <a:pt x="134" y="45"/>
                      <a:pt x="134" y="45"/>
                      <a:pt x="134" y="45"/>
                    </a:cubicBezTo>
                    <a:cubicBezTo>
                      <a:pt x="140" y="48"/>
                      <a:pt x="140" y="48"/>
                      <a:pt x="140" y="48"/>
                    </a:cubicBezTo>
                    <a:cubicBezTo>
                      <a:pt x="140" y="44"/>
                      <a:pt x="140" y="44"/>
                      <a:pt x="140" y="44"/>
                    </a:cubicBezTo>
                    <a:cubicBezTo>
                      <a:pt x="139" y="41"/>
                      <a:pt x="139" y="41"/>
                      <a:pt x="139" y="41"/>
                    </a:cubicBezTo>
                    <a:cubicBezTo>
                      <a:pt x="140" y="37"/>
                      <a:pt x="140" y="37"/>
                      <a:pt x="140" y="37"/>
                    </a:cubicBezTo>
                    <a:cubicBezTo>
                      <a:pt x="142" y="34"/>
                      <a:pt x="142" y="34"/>
                      <a:pt x="142" y="34"/>
                    </a:cubicBezTo>
                    <a:cubicBezTo>
                      <a:pt x="145" y="34"/>
                      <a:pt x="145" y="34"/>
                      <a:pt x="145" y="34"/>
                    </a:cubicBezTo>
                    <a:cubicBezTo>
                      <a:pt x="144" y="30"/>
                      <a:pt x="144" y="30"/>
                      <a:pt x="144" y="30"/>
                    </a:cubicBezTo>
                    <a:cubicBezTo>
                      <a:pt x="146" y="28"/>
                      <a:pt x="146" y="28"/>
                      <a:pt x="146" y="28"/>
                    </a:cubicBezTo>
                    <a:lnTo>
                      <a:pt x="150" y="25"/>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grpSp>
        <p:sp>
          <p:nvSpPr>
            <p:cNvPr id="910" name="Rechteck 909"/>
            <p:cNvSpPr/>
            <p:nvPr>
              <p:custDataLst>
                <p:tags r:id="rId84"/>
              </p:custDataLst>
            </p:nvPr>
          </p:nvSpPr>
          <p:spPr bwMode="gray">
            <a:xfrm>
              <a:off x="2915820" y="397590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bg1"/>
                  </a:solidFill>
                </a:rPr>
                <a:t>-22</a:t>
              </a:r>
            </a:p>
          </p:txBody>
        </p:sp>
        <p:sp>
          <p:nvSpPr>
            <p:cNvPr id="911" name="Rechteck 910"/>
            <p:cNvSpPr/>
            <p:nvPr>
              <p:custDataLst>
                <p:tags r:id="rId85"/>
              </p:custDataLst>
            </p:nvPr>
          </p:nvSpPr>
          <p:spPr bwMode="gray">
            <a:xfrm>
              <a:off x="2876836" y="4119938"/>
              <a:ext cx="182964"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bg1"/>
                  </a:solidFill>
                </a:rPr>
                <a:t>-3</a:t>
              </a:r>
            </a:p>
          </p:txBody>
        </p:sp>
        <p:sp>
          <p:nvSpPr>
            <p:cNvPr id="916" name="Rechteck 915"/>
            <p:cNvSpPr/>
            <p:nvPr>
              <p:custDataLst>
                <p:tags r:id="rId86"/>
              </p:custDataLst>
            </p:nvPr>
          </p:nvSpPr>
          <p:spPr bwMode="gray">
            <a:xfrm>
              <a:off x="2303752" y="368787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29</a:t>
              </a:r>
            </a:p>
          </p:txBody>
        </p:sp>
        <p:sp>
          <p:nvSpPr>
            <p:cNvPr id="917" name="Rechteck 916"/>
            <p:cNvSpPr/>
            <p:nvPr>
              <p:custDataLst>
                <p:tags r:id="rId87"/>
              </p:custDataLst>
            </p:nvPr>
          </p:nvSpPr>
          <p:spPr bwMode="gray">
            <a:xfrm>
              <a:off x="2159732" y="383190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9</a:t>
              </a:r>
            </a:p>
          </p:txBody>
        </p:sp>
        <p:sp>
          <p:nvSpPr>
            <p:cNvPr id="919" name="Ellipse 918"/>
            <p:cNvSpPr/>
            <p:nvPr>
              <p:custDataLst>
                <p:tags r:id="rId88"/>
              </p:custDataLst>
            </p:nvPr>
          </p:nvSpPr>
          <p:spPr bwMode="gray">
            <a:xfrm rot="10800000">
              <a:off x="2483752" y="3831906"/>
              <a:ext cx="108000" cy="108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endParaRPr lang="en-US" sz="1067" dirty="0">
                <a:solidFill>
                  <a:schemeClr val="bg1"/>
                </a:solidFill>
              </a:endParaRPr>
            </a:p>
          </p:txBody>
        </p:sp>
        <p:sp>
          <p:nvSpPr>
            <p:cNvPr id="921" name="Rechteck 920"/>
            <p:cNvSpPr/>
            <p:nvPr>
              <p:custDataLst>
                <p:tags r:id="rId89"/>
              </p:custDataLst>
            </p:nvPr>
          </p:nvSpPr>
          <p:spPr bwMode="gray">
            <a:xfrm>
              <a:off x="3671932" y="3399838"/>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1</a:t>
              </a:r>
            </a:p>
          </p:txBody>
        </p:sp>
        <p:sp>
          <p:nvSpPr>
            <p:cNvPr id="922" name="Rechteck 921"/>
            <p:cNvSpPr/>
            <p:nvPr>
              <p:custDataLst>
                <p:tags r:id="rId90"/>
              </p:custDataLst>
            </p:nvPr>
          </p:nvSpPr>
          <p:spPr bwMode="gray">
            <a:xfrm>
              <a:off x="3527912" y="3543870"/>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10</a:t>
              </a:r>
            </a:p>
          </p:txBody>
        </p:sp>
        <p:sp>
          <p:nvSpPr>
            <p:cNvPr id="929" name="Ellipse 928"/>
            <p:cNvSpPr/>
            <p:nvPr>
              <p:custDataLst>
                <p:tags r:id="rId91"/>
              </p:custDataLst>
            </p:nvPr>
          </p:nvSpPr>
          <p:spPr bwMode="gray">
            <a:xfrm>
              <a:off x="4031923" y="2355741"/>
              <a:ext cx="108000" cy="108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endParaRPr lang="en-US" sz="1067" dirty="0">
                <a:solidFill>
                  <a:schemeClr val="bg1"/>
                </a:solidFill>
              </a:endParaRPr>
            </a:p>
          </p:txBody>
        </p:sp>
        <p:sp>
          <p:nvSpPr>
            <p:cNvPr id="932" name="Rechteck 931"/>
            <p:cNvSpPr/>
            <p:nvPr>
              <p:custDataLst>
                <p:tags r:id="rId92"/>
              </p:custDataLst>
            </p:nvPr>
          </p:nvSpPr>
          <p:spPr bwMode="gray">
            <a:xfrm>
              <a:off x="2627816" y="2823790"/>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5</a:t>
              </a:r>
            </a:p>
          </p:txBody>
        </p:sp>
        <p:sp>
          <p:nvSpPr>
            <p:cNvPr id="933" name="Rechteck 932"/>
            <p:cNvSpPr/>
            <p:nvPr>
              <p:custDataLst>
                <p:tags r:id="rId93"/>
              </p:custDataLst>
            </p:nvPr>
          </p:nvSpPr>
          <p:spPr bwMode="gray">
            <a:xfrm>
              <a:off x="2483796" y="295293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7</a:t>
              </a:r>
            </a:p>
          </p:txBody>
        </p:sp>
        <p:sp>
          <p:nvSpPr>
            <p:cNvPr id="935" name="Ellipse 934"/>
            <p:cNvSpPr/>
            <p:nvPr>
              <p:custDataLst>
                <p:tags r:id="rId94"/>
              </p:custDataLst>
            </p:nvPr>
          </p:nvSpPr>
          <p:spPr bwMode="gray">
            <a:xfrm>
              <a:off x="2807816" y="2952928"/>
              <a:ext cx="108000" cy="108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endParaRPr lang="en-US" sz="1067" dirty="0">
                <a:solidFill>
                  <a:schemeClr val="bg1"/>
                </a:solidFill>
              </a:endParaRPr>
            </a:p>
          </p:txBody>
        </p:sp>
        <p:sp>
          <p:nvSpPr>
            <p:cNvPr id="937" name="Rechteck 936"/>
            <p:cNvSpPr/>
            <p:nvPr>
              <p:custDataLst>
                <p:tags r:id="rId95"/>
              </p:custDataLst>
            </p:nvPr>
          </p:nvSpPr>
          <p:spPr bwMode="gray">
            <a:xfrm>
              <a:off x="4031972" y="2643758"/>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6</a:t>
              </a:r>
            </a:p>
          </p:txBody>
        </p:sp>
        <p:sp>
          <p:nvSpPr>
            <p:cNvPr id="938" name="Rechteck 937"/>
            <p:cNvSpPr/>
            <p:nvPr>
              <p:custDataLst>
                <p:tags r:id="rId96"/>
              </p:custDataLst>
            </p:nvPr>
          </p:nvSpPr>
          <p:spPr bwMode="gray">
            <a:xfrm>
              <a:off x="3887952" y="2787790"/>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11</a:t>
              </a:r>
            </a:p>
          </p:txBody>
        </p:sp>
        <p:sp>
          <p:nvSpPr>
            <p:cNvPr id="942" name="Rechteck 941"/>
            <p:cNvSpPr/>
            <p:nvPr>
              <p:custDataLst>
                <p:tags r:id="rId97"/>
              </p:custDataLst>
            </p:nvPr>
          </p:nvSpPr>
          <p:spPr bwMode="gray">
            <a:xfrm>
              <a:off x="4283972" y="3039798"/>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2</a:t>
              </a:r>
            </a:p>
          </p:txBody>
        </p:sp>
        <p:sp>
          <p:nvSpPr>
            <p:cNvPr id="943" name="Rechteck 942"/>
            <p:cNvSpPr/>
            <p:nvPr>
              <p:custDataLst>
                <p:tags r:id="rId98"/>
              </p:custDataLst>
            </p:nvPr>
          </p:nvSpPr>
          <p:spPr bwMode="gray">
            <a:xfrm>
              <a:off x="4172698" y="3183830"/>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0</a:t>
              </a:r>
            </a:p>
          </p:txBody>
        </p:sp>
        <p:sp>
          <p:nvSpPr>
            <p:cNvPr id="947" name="Rechteck 946"/>
            <p:cNvSpPr/>
            <p:nvPr>
              <p:custDataLst>
                <p:tags r:id="rId99"/>
              </p:custDataLst>
            </p:nvPr>
          </p:nvSpPr>
          <p:spPr bwMode="gray">
            <a:xfrm>
              <a:off x="5112064" y="289578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a:t>
              </a:r>
            </a:p>
          </p:txBody>
        </p:sp>
        <p:sp>
          <p:nvSpPr>
            <p:cNvPr id="948" name="Rechteck 947"/>
            <p:cNvSpPr/>
            <p:nvPr>
              <p:custDataLst>
                <p:tags r:id="rId100"/>
              </p:custDataLst>
            </p:nvPr>
          </p:nvSpPr>
          <p:spPr bwMode="gray">
            <a:xfrm>
              <a:off x="4968044" y="303981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7</a:t>
              </a:r>
            </a:p>
          </p:txBody>
        </p:sp>
        <p:sp>
          <p:nvSpPr>
            <p:cNvPr id="957" name="Rechteck 956"/>
            <p:cNvSpPr/>
            <p:nvPr>
              <p:custDataLst>
                <p:tags r:id="rId101"/>
              </p:custDataLst>
            </p:nvPr>
          </p:nvSpPr>
          <p:spPr bwMode="gray">
            <a:xfrm>
              <a:off x="6146773" y="301357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33</a:t>
              </a:r>
            </a:p>
          </p:txBody>
        </p:sp>
        <p:sp>
          <p:nvSpPr>
            <p:cNvPr id="958" name="Rechteck 957"/>
            <p:cNvSpPr/>
            <p:nvPr>
              <p:custDataLst>
                <p:tags r:id="rId102"/>
              </p:custDataLst>
            </p:nvPr>
          </p:nvSpPr>
          <p:spPr bwMode="gray">
            <a:xfrm>
              <a:off x="6002755" y="3157609"/>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6</a:t>
              </a:r>
            </a:p>
          </p:txBody>
        </p:sp>
        <p:sp>
          <p:nvSpPr>
            <p:cNvPr id="963" name="Rechteck 962"/>
            <p:cNvSpPr/>
            <p:nvPr>
              <p:custDataLst>
                <p:tags r:id="rId103"/>
              </p:custDataLst>
            </p:nvPr>
          </p:nvSpPr>
          <p:spPr bwMode="gray">
            <a:xfrm>
              <a:off x="5542125" y="3705565"/>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err="1">
                  <a:solidFill>
                    <a:schemeClr val="tx1"/>
                  </a:solidFill>
                </a:rPr>
                <a:t>na</a:t>
              </a:r>
              <a:endParaRPr lang="en-US" sz="1200" b="1" dirty="0">
                <a:solidFill>
                  <a:schemeClr val="tx1"/>
                </a:solidFill>
              </a:endParaRPr>
            </a:p>
          </p:txBody>
        </p:sp>
        <p:sp>
          <p:nvSpPr>
            <p:cNvPr id="964" name="Rechteck 963"/>
            <p:cNvSpPr/>
            <p:nvPr>
              <p:custDataLst>
                <p:tags r:id="rId104"/>
              </p:custDataLst>
            </p:nvPr>
          </p:nvSpPr>
          <p:spPr bwMode="gray">
            <a:xfrm>
              <a:off x="5436124" y="375989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endParaRPr lang="en-US" sz="1200" dirty="0">
                <a:solidFill>
                  <a:schemeClr val="bg1"/>
                </a:solidFill>
              </a:endParaRPr>
            </a:p>
          </p:txBody>
        </p:sp>
        <p:sp>
          <p:nvSpPr>
            <p:cNvPr id="968" name="Rechteck 967"/>
            <p:cNvSpPr/>
            <p:nvPr>
              <p:custDataLst>
                <p:tags r:id="rId105"/>
              </p:custDataLst>
            </p:nvPr>
          </p:nvSpPr>
          <p:spPr bwMode="gray">
            <a:xfrm>
              <a:off x="5686146" y="4018557"/>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0</a:t>
              </a:r>
            </a:p>
          </p:txBody>
        </p:sp>
        <p:sp>
          <p:nvSpPr>
            <p:cNvPr id="969" name="Rechteck 968"/>
            <p:cNvSpPr/>
            <p:nvPr>
              <p:custDataLst>
                <p:tags r:id="rId106"/>
              </p:custDataLst>
            </p:nvPr>
          </p:nvSpPr>
          <p:spPr bwMode="gray">
            <a:xfrm>
              <a:off x="5542125" y="4134011"/>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GB" sz="1200" dirty="0">
                  <a:solidFill>
                    <a:schemeClr val="tx1"/>
                  </a:solidFill>
                </a:rPr>
                <a:t>-3</a:t>
              </a:r>
              <a:endParaRPr lang="en-US" sz="1200" dirty="0">
                <a:solidFill>
                  <a:schemeClr val="tx1"/>
                </a:solidFill>
              </a:endParaRPr>
            </a:p>
          </p:txBody>
        </p:sp>
        <p:sp>
          <p:nvSpPr>
            <p:cNvPr id="971" name="Ellipse 970"/>
            <p:cNvSpPr/>
            <p:nvPr>
              <p:custDataLst>
                <p:tags r:id="rId107"/>
              </p:custDataLst>
            </p:nvPr>
          </p:nvSpPr>
          <p:spPr bwMode="gray">
            <a:xfrm>
              <a:off x="6660244" y="3953550"/>
              <a:ext cx="108000" cy="108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endParaRPr lang="en-US" sz="1067" dirty="0">
                <a:solidFill>
                  <a:schemeClr val="bg1"/>
                </a:solidFill>
              </a:endParaRPr>
            </a:p>
          </p:txBody>
        </p:sp>
        <p:cxnSp>
          <p:nvCxnSpPr>
            <p:cNvPr id="974" name="Gerade Verbindung 973"/>
            <p:cNvCxnSpPr>
              <a:cxnSpLocks/>
            </p:cNvCxnSpPr>
            <p:nvPr>
              <p:custDataLst>
                <p:tags r:id="rId108"/>
              </p:custDataLst>
            </p:nvPr>
          </p:nvCxnSpPr>
          <p:spPr bwMode="gray">
            <a:xfrm>
              <a:off x="4924012" y="3299863"/>
              <a:ext cx="1527078" cy="0"/>
            </a:xfrm>
            <a:prstGeom prst="line">
              <a:avLst/>
            </a:prstGeom>
            <a:ln cap="rnd">
              <a:solidFill>
                <a:schemeClr val="tx1"/>
              </a:solidFill>
              <a:headEnd type="oval" w="sm" len="sm"/>
              <a:tailEnd type="none"/>
            </a:ln>
          </p:spPr>
          <p:style>
            <a:lnRef idx="1">
              <a:schemeClr val="accent1"/>
            </a:lnRef>
            <a:fillRef idx="0">
              <a:schemeClr val="accent1"/>
            </a:fillRef>
            <a:effectRef idx="0">
              <a:schemeClr val="accent1"/>
            </a:effectRef>
            <a:fontRef idx="minor">
              <a:schemeClr val="tx1"/>
            </a:fontRef>
          </p:style>
        </p:cxnSp>
        <p:grpSp>
          <p:nvGrpSpPr>
            <p:cNvPr id="979" name="Gruppieren 978"/>
            <p:cNvGrpSpPr/>
            <p:nvPr/>
          </p:nvGrpSpPr>
          <p:grpSpPr bwMode="gray">
            <a:xfrm>
              <a:off x="2627944" y="3075806"/>
              <a:ext cx="1440000" cy="0"/>
              <a:chOff x="2627944" y="3075806"/>
              <a:chExt cx="1440000" cy="0"/>
            </a:xfrm>
          </p:grpSpPr>
          <p:cxnSp>
            <p:nvCxnSpPr>
              <p:cNvPr id="931" name="Gerade Verbindung 930"/>
              <p:cNvCxnSpPr/>
              <p:nvPr>
                <p:custDataLst>
                  <p:tags r:id="rId122"/>
                </p:custDataLst>
              </p:nvPr>
            </p:nvCxnSpPr>
            <p:spPr bwMode="gray">
              <a:xfrm>
                <a:off x="2627944" y="3075806"/>
                <a:ext cx="1440000" cy="0"/>
              </a:xfrm>
              <a:prstGeom prst="line">
                <a:avLst/>
              </a:prstGeom>
              <a:ln w="38100" cap="rnd">
                <a:solidFill>
                  <a:schemeClr val="bg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978" name="Gerade Verbindung 977"/>
              <p:cNvCxnSpPr/>
              <p:nvPr>
                <p:custDataLst>
                  <p:tags r:id="rId123"/>
                </p:custDataLst>
              </p:nvPr>
            </p:nvCxnSpPr>
            <p:spPr bwMode="gray">
              <a:xfrm>
                <a:off x="2627944" y="3075806"/>
                <a:ext cx="1440000" cy="0"/>
              </a:xfrm>
              <a:prstGeom prst="line">
                <a:avLst/>
              </a:prstGeom>
              <a:ln cap="rnd">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grpSp>
        <p:sp>
          <p:nvSpPr>
            <p:cNvPr id="980" name="Rechteck 979"/>
            <p:cNvSpPr/>
            <p:nvPr>
              <p:custDataLst>
                <p:tags r:id="rId109"/>
              </p:custDataLst>
            </p:nvPr>
          </p:nvSpPr>
          <p:spPr bwMode="gray">
            <a:xfrm>
              <a:off x="5704198" y="441601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3</a:t>
              </a:r>
            </a:p>
          </p:txBody>
        </p:sp>
        <p:sp>
          <p:nvSpPr>
            <p:cNvPr id="981" name="Rechteck 980"/>
            <p:cNvSpPr/>
            <p:nvPr>
              <p:custDataLst>
                <p:tags r:id="rId110"/>
              </p:custDataLst>
            </p:nvPr>
          </p:nvSpPr>
          <p:spPr bwMode="gray">
            <a:xfrm>
              <a:off x="5560177" y="454746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2</a:t>
              </a:r>
            </a:p>
          </p:txBody>
        </p:sp>
        <p:sp>
          <p:nvSpPr>
            <p:cNvPr id="989" name="Freihandform 988"/>
            <p:cNvSpPr/>
            <p:nvPr>
              <p:custDataLst>
                <p:tags r:id="rId111"/>
              </p:custDataLst>
            </p:nvPr>
          </p:nvSpPr>
          <p:spPr bwMode="gray">
            <a:xfrm flipV="1">
              <a:off x="4853758" y="3777134"/>
              <a:ext cx="1908002" cy="1152000"/>
            </a:xfrm>
            <a:custGeom>
              <a:avLst/>
              <a:gdLst>
                <a:gd name="connsiteX0" fmla="*/ 0 w 1574800"/>
                <a:gd name="connsiteY0" fmla="*/ 654050 h 654050"/>
                <a:gd name="connsiteX1" fmla="*/ 0 w 1574800"/>
                <a:gd name="connsiteY1" fmla="*/ 0 h 654050"/>
                <a:gd name="connsiteX2" fmla="*/ 1574800 w 1574800"/>
                <a:gd name="connsiteY2" fmla="*/ 0 h 654050"/>
              </a:gdLst>
              <a:ahLst/>
              <a:cxnLst>
                <a:cxn ang="0">
                  <a:pos x="connsiteX0" y="connsiteY0"/>
                </a:cxn>
                <a:cxn ang="0">
                  <a:pos x="connsiteX1" y="connsiteY1"/>
                </a:cxn>
                <a:cxn ang="0">
                  <a:pos x="connsiteX2" y="connsiteY2"/>
                </a:cxn>
              </a:cxnLst>
              <a:rect l="l" t="t" r="r" b="b"/>
              <a:pathLst>
                <a:path w="1574800" h="654050">
                  <a:moveTo>
                    <a:pt x="0" y="654050"/>
                  </a:moveTo>
                  <a:lnTo>
                    <a:pt x="0" y="0"/>
                  </a:lnTo>
                  <a:lnTo>
                    <a:pt x="1574800" y="0"/>
                  </a:lnTo>
                </a:path>
              </a:pathLst>
            </a:custGeom>
            <a:noFill/>
            <a:ln w="9525" cap="rnd">
              <a:solidFill>
                <a:schemeClr val="tx1"/>
              </a:solidFill>
              <a:head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991" name="Rechteck 990"/>
            <p:cNvSpPr/>
            <p:nvPr>
              <p:custDataLst>
                <p:tags r:id="rId112"/>
              </p:custDataLst>
            </p:nvPr>
          </p:nvSpPr>
          <p:spPr bwMode="gray">
            <a:xfrm>
              <a:off x="6939532" y="313872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6</a:t>
              </a:r>
            </a:p>
          </p:txBody>
        </p:sp>
        <p:sp>
          <p:nvSpPr>
            <p:cNvPr id="992" name="Rechteck 991"/>
            <p:cNvSpPr/>
            <p:nvPr>
              <p:custDataLst>
                <p:tags r:id="rId113"/>
              </p:custDataLst>
            </p:nvPr>
          </p:nvSpPr>
          <p:spPr bwMode="gray">
            <a:xfrm>
              <a:off x="6795511" y="328275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3</a:t>
              </a:r>
            </a:p>
          </p:txBody>
        </p:sp>
        <p:sp>
          <p:nvSpPr>
            <p:cNvPr id="994" name="Ellipse 993"/>
            <p:cNvSpPr/>
            <p:nvPr>
              <p:custDataLst>
                <p:tags r:id="rId114"/>
              </p:custDataLst>
            </p:nvPr>
          </p:nvSpPr>
          <p:spPr bwMode="gray">
            <a:xfrm>
              <a:off x="7695737" y="2977892"/>
              <a:ext cx="108000" cy="108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endParaRPr lang="en-US" sz="1067" dirty="0">
                <a:solidFill>
                  <a:schemeClr val="bg1"/>
                </a:solidFill>
              </a:endParaRPr>
            </a:p>
          </p:txBody>
        </p:sp>
        <p:cxnSp>
          <p:nvCxnSpPr>
            <p:cNvPr id="998" name="Gerade Verbindung 997"/>
            <p:cNvCxnSpPr/>
            <p:nvPr>
              <p:custDataLst>
                <p:tags r:id="rId115"/>
              </p:custDataLst>
            </p:nvPr>
          </p:nvCxnSpPr>
          <p:spPr bwMode="gray">
            <a:xfrm>
              <a:off x="5266211" y="3399842"/>
              <a:ext cx="1980005" cy="0"/>
            </a:xfrm>
            <a:prstGeom prst="line">
              <a:avLst/>
            </a:prstGeom>
            <a:ln cap="rnd">
              <a:solidFill>
                <a:schemeClr val="tx1"/>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1016" name="Rechteck 1015"/>
            <p:cNvSpPr/>
            <p:nvPr>
              <p:custDataLst>
                <p:tags r:id="rId116"/>
              </p:custDataLst>
            </p:nvPr>
          </p:nvSpPr>
          <p:spPr bwMode="gray">
            <a:xfrm>
              <a:off x="6480244" y="467361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32</a:t>
              </a:r>
            </a:p>
          </p:txBody>
        </p:sp>
        <p:sp>
          <p:nvSpPr>
            <p:cNvPr id="1017" name="Rechteck 1016"/>
            <p:cNvSpPr/>
            <p:nvPr>
              <p:custDataLst>
                <p:tags r:id="rId117"/>
              </p:custDataLst>
            </p:nvPr>
          </p:nvSpPr>
          <p:spPr bwMode="gray">
            <a:xfrm>
              <a:off x="6336224" y="481764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1</a:t>
              </a:r>
            </a:p>
          </p:txBody>
        </p:sp>
        <p:sp>
          <p:nvSpPr>
            <p:cNvPr id="1025" name="Rechteck 1024"/>
            <p:cNvSpPr/>
            <p:nvPr>
              <p:custDataLst>
                <p:tags r:id="rId118"/>
              </p:custDataLst>
            </p:nvPr>
          </p:nvSpPr>
          <p:spPr bwMode="gray">
            <a:xfrm>
              <a:off x="4717543" y="3456873"/>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bg1"/>
                  </a:solidFill>
                </a:rPr>
                <a:t>-31</a:t>
              </a:r>
            </a:p>
          </p:txBody>
        </p:sp>
        <p:sp>
          <p:nvSpPr>
            <p:cNvPr id="1026" name="Rechteck 1025"/>
            <p:cNvSpPr/>
            <p:nvPr>
              <p:custDataLst>
                <p:tags r:id="rId119"/>
              </p:custDataLst>
            </p:nvPr>
          </p:nvSpPr>
          <p:spPr bwMode="gray">
            <a:xfrm>
              <a:off x="4572028" y="357987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bg1"/>
                  </a:solidFill>
                </a:rPr>
                <a:t>-2</a:t>
              </a:r>
            </a:p>
          </p:txBody>
        </p:sp>
        <p:sp>
          <p:nvSpPr>
            <p:cNvPr id="1034" name="Rechteck 1033"/>
            <p:cNvSpPr/>
            <p:nvPr>
              <p:custDataLst>
                <p:tags r:id="rId120"/>
              </p:custDataLst>
            </p:nvPr>
          </p:nvSpPr>
          <p:spPr bwMode="gray">
            <a:xfrm>
              <a:off x="4391984" y="433594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2</a:t>
              </a:r>
            </a:p>
          </p:txBody>
        </p:sp>
        <p:sp>
          <p:nvSpPr>
            <p:cNvPr id="1035" name="Rechteck 1034"/>
            <p:cNvSpPr/>
            <p:nvPr>
              <p:custDataLst>
                <p:tags r:id="rId121"/>
              </p:custDataLst>
            </p:nvPr>
          </p:nvSpPr>
          <p:spPr bwMode="gray">
            <a:xfrm>
              <a:off x="4279438" y="447368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de-DE" sz="1200" dirty="0">
                  <a:solidFill>
                    <a:schemeClr val="tx1"/>
                  </a:solidFill>
                </a:rPr>
                <a:t>+1</a:t>
              </a:r>
              <a:endParaRPr lang="en-US" sz="1200" dirty="0">
                <a:solidFill>
                  <a:schemeClr val="tx1"/>
                </a:solidFill>
              </a:endParaRPr>
            </a:p>
          </p:txBody>
        </p:sp>
      </p:grpSp>
      <p:sp>
        <p:nvSpPr>
          <p:cNvPr id="192" name="Rechteck 191">
            <a:extLst>
              <a:ext uri="{FF2B5EF4-FFF2-40B4-BE49-F238E27FC236}">
                <a16:creationId xmlns:a16="http://schemas.microsoft.com/office/drawing/2014/main" id="{8CDEF71B-AD69-46E5-A52F-6DA82D02DF0F}"/>
              </a:ext>
            </a:extLst>
          </p:cNvPr>
          <p:cNvSpPr/>
          <p:nvPr>
            <p:custDataLst>
              <p:tags r:id="rId4"/>
            </p:custDataLst>
          </p:nvPr>
        </p:nvSpPr>
        <p:spPr bwMode="gray">
          <a:xfrm>
            <a:off x="6420808" y="2674706"/>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2</a:t>
            </a:r>
          </a:p>
        </p:txBody>
      </p:sp>
      <p:sp>
        <p:nvSpPr>
          <p:cNvPr id="198" name="Rechteck 197">
            <a:extLst>
              <a:ext uri="{FF2B5EF4-FFF2-40B4-BE49-F238E27FC236}">
                <a16:creationId xmlns:a16="http://schemas.microsoft.com/office/drawing/2014/main" id="{364FA076-8CFE-44C3-BE26-B8E411532D31}"/>
              </a:ext>
            </a:extLst>
          </p:cNvPr>
          <p:cNvSpPr/>
          <p:nvPr>
            <p:custDataLst>
              <p:tags r:id="rId5"/>
            </p:custDataLst>
          </p:nvPr>
        </p:nvSpPr>
        <p:spPr bwMode="gray">
          <a:xfrm>
            <a:off x="6246979" y="2866749"/>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4</a:t>
            </a:r>
          </a:p>
        </p:txBody>
      </p:sp>
      <p:sp>
        <p:nvSpPr>
          <p:cNvPr id="206" name="Rechteck 205">
            <a:extLst>
              <a:ext uri="{FF2B5EF4-FFF2-40B4-BE49-F238E27FC236}">
                <a16:creationId xmlns:a16="http://schemas.microsoft.com/office/drawing/2014/main" id="{1C8E8956-A32F-4F91-A6EF-7B6C5D7CE4B5}"/>
              </a:ext>
            </a:extLst>
          </p:cNvPr>
          <p:cNvSpPr/>
          <p:nvPr>
            <p:custDataLst>
              <p:tags r:id="rId6"/>
            </p:custDataLst>
          </p:nvPr>
        </p:nvSpPr>
        <p:spPr bwMode="gray">
          <a:xfrm>
            <a:off x="7277884" y="2214709"/>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bg1"/>
                </a:solidFill>
              </a:rPr>
              <a:t>-33</a:t>
            </a:r>
          </a:p>
        </p:txBody>
      </p:sp>
      <p:sp>
        <p:nvSpPr>
          <p:cNvPr id="216" name="Rechteck 215">
            <a:extLst>
              <a:ext uri="{FF2B5EF4-FFF2-40B4-BE49-F238E27FC236}">
                <a16:creationId xmlns:a16="http://schemas.microsoft.com/office/drawing/2014/main" id="{367D58A3-BB20-46FD-93D5-54C5192760E8}"/>
              </a:ext>
            </a:extLst>
          </p:cNvPr>
          <p:cNvSpPr/>
          <p:nvPr>
            <p:custDataLst>
              <p:tags r:id="rId7"/>
            </p:custDataLst>
          </p:nvPr>
        </p:nvSpPr>
        <p:spPr bwMode="gray">
          <a:xfrm>
            <a:off x="7104055" y="2406752"/>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bg1"/>
                </a:solidFill>
              </a:rPr>
              <a:t>-1</a:t>
            </a:r>
          </a:p>
        </p:txBody>
      </p:sp>
      <p:sp>
        <p:nvSpPr>
          <p:cNvPr id="221" name="Rechteck 220">
            <a:extLst>
              <a:ext uri="{FF2B5EF4-FFF2-40B4-BE49-F238E27FC236}">
                <a16:creationId xmlns:a16="http://schemas.microsoft.com/office/drawing/2014/main" id="{E4EC112A-1032-4137-92D3-EB4D611A3250}"/>
              </a:ext>
            </a:extLst>
          </p:cNvPr>
          <p:cNvSpPr/>
          <p:nvPr>
            <p:custDataLst>
              <p:tags r:id="rId8"/>
            </p:custDataLst>
          </p:nvPr>
        </p:nvSpPr>
        <p:spPr bwMode="gray">
          <a:xfrm>
            <a:off x="3786662" y="3068989"/>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endParaRPr lang="en-US" sz="1200" b="1" dirty="0">
              <a:solidFill>
                <a:schemeClr val="tx1"/>
              </a:solidFill>
            </a:endParaRPr>
          </a:p>
        </p:txBody>
      </p:sp>
      <p:sp>
        <p:nvSpPr>
          <p:cNvPr id="225" name="Rechteck 224">
            <a:extLst>
              <a:ext uri="{FF2B5EF4-FFF2-40B4-BE49-F238E27FC236}">
                <a16:creationId xmlns:a16="http://schemas.microsoft.com/office/drawing/2014/main" id="{09F6619A-2C01-4531-8440-206D08DE91FD}"/>
              </a:ext>
            </a:extLst>
          </p:cNvPr>
          <p:cNvSpPr/>
          <p:nvPr>
            <p:custDataLst>
              <p:tags r:id="rId9"/>
            </p:custDataLst>
          </p:nvPr>
        </p:nvSpPr>
        <p:spPr bwMode="gray">
          <a:xfrm>
            <a:off x="7779826" y="2691484"/>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50</a:t>
            </a:r>
          </a:p>
        </p:txBody>
      </p:sp>
      <p:sp>
        <p:nvSpPr>
          <p:cNvPr id="226" name="Rechteck 225">
            <a:extLst>
              <a:ext uri="{FF2B5EF4-FFF2-40B4-BE49-F238E27FC236}">
                <a16:creationId xmlns:a16="http://schemas.microsoft.com/office/drawing/2014/main" id="{4175E6EE-B99F-418B-87E4-73DBB925D2FA}"/>
              </a:ext>
            </a:extLst>
          </p:cNvPr>
          <p:cNvSpPr/>
          <p:nvPr>
            <p:custDataLst>
              <p:tags r:id="rId10"/>
            </p:custDataLst>
          </p:nvPr>
        </p:nvSpPr>
        <p:spPr bwMode="gray">
          <a:xfrm>
            <a:off x="7605997" y="2849971"/>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1</a:t>
            </a:r>
          </a:p>
        </p:txBody>
      </p:sp>
      <p:sp>
        <p:nvSpPr>
          <p:cNvPr id="228" name="Rechteck 227">
            <a:extLst>
              <a:ext uri="{FF2B5EF4-FFF2-40B4-BE49-F238E27FC236}">
                <a16:creationId xmlns:a16="http://schemas.microsoft.com/office/drawing/2014/main" id="{DE748FB1-2376-429B-A6BD-F786DAB5C008}"/>
              </a:ext>
            </a:extLst>
          </p:cNvPr>
          <p:cNvSpPr/>
          <p:nvPr>
            <p:custDataLst>
              <p:tags r:id="rId11"/>
            </p:custDataLst>
          </p:nvPr>
        </p:nvSpPr>
        <p:spPr bwMode="gray">
          <a:xfrm>
            <a:off x="8922128" y="3313668"/>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0</a:t>
            </a:r>
          </a:p>
        </p:txBody>
      </p:sp>
      <p:sp>
        <p:nvSpPr>
          <p:cNvPr id="229" name="Rechteck 228">
            <a:extLst>
              <a:ext uri="{FF2B5EF4-FFF2-40B4-BE49-F238E27FC236}">
                <a16:creationId xmlns:a16="http://schemas.microsoft.com/office/drawing/2014/main" id="{CFB87258-F801-48BA-B193-4053837C75F3}"/>
              </a:ext>
            </a:extLst>
          </p:cNvPr>
          <p:cNvSpPr/>
          <p:nvPr>
            <p:custDataLst>
              <p:tags r:id="rId12"/>
            </p:custDataLst>
          </p:nvPr>
        </p:nvSpPr>
        <p:spPr bwMode="gray">
          <a:xfrm>
            <a:off x="8748299" y="348893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2</a:t>
            </a:r>
          </a:p>
        </p:txBody>
      </p:sp>
      <p:sp>
        <p:nvSpPr>
          <p:cNvPr id="231" name="Rechteck 230">
            <a:extLst>
              <a:ext uri="{FF2B5EF4-FFF2-40B4-BE49-F238E27FC236}">
                <a16:creationId xmlns:a16="http://schemas.microsoft.com/office/drawing/2014/main" id="{4A824B33-3B0E-4E11-AD9A-B602B283BBF1}"/>
              </a:ext>
            </a:extLst>
          </p:cNvPr>
          <p:cNvSpPr/>
          <p:nvPr>
            <p:custDataLst>
              <p:tags r:id="rId13"/>
            </p:custDataLst>
          </p:nvPr>
        </p:nvSpPr>
        <p:spPr bwMode="gray">
          <a:xfrm>
            <a:off x="8251008" y="3045220"/>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26</a:t>
            </a:r>
          </a:p>
        </p:txBody>
      </p:sp>
      <p:sp>
        <p:nvSpPr>
          <p:cNvPr id="232" name="Rechteck 231">
            <a:extLst>
              <a:ext uri="{FF2B5EF4-FFF2-40B4-BE49-F238E27FC236}">
                <a16:creationId xmlns:a16="http://schemas.microsoft.com/office/drawing/2014/main" id="{2C697118-C9F2-4B6C-A7E4-EBA18D078C0B}"/>
              </a:ext>
            </a:extLst>
          </p:cNvPr>
          <p:cNvSpPr/>
          <p:nvPr>
            <p:custDataLst>
              <p:tags r:id="rId14"/>
            </p:custDataLst>
          </p:nvPr>
        </p:nvSpPr>
        <p:spPr bwMode="gray">
          <a:xfrm>
            <a:off x="8077179" y="3203707"/>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10</a:t>
            </a:r>
          </a:p>
        </p:txBody>
      </p:sp>
      <p:cxnSp>
        <p:nvCxnSpPr>
          <p:cNvPr id="234" name="Gerade Verbindung 997">
            <a:extLst>
              <a:ext uri="{FF2B5EF4-FFF2-40B4-BE49-F238E27FC236}">
                <a16:creationId xmlns:a16="http://schemas.microsoft.com/office/drawing/2014/main" id="{8EE88C56-6909-49FC-BBED-DB298FDD9DAE}"/>
              </a:ext>
            </a:extLst>
          </p:cNvPr>
          <p:cNvCxnSpPr>
            <a:cxnSpLocks/>
          </p:cNvCxnSpPr>
          <p:nvPr>
            <p:custDataLst>
              <p:tags r:id="rId15"/>
            </p:custDataLst>
          </p:nvPr>
        </p:nvCxnSpPr>
        <p:spPr bwMode="gray">
          <a:xfrm flipV="1">
            <a:off x="7661884" y="3011687"/>
            <a:ext cx="501800" cy="6148"/>
          </a:xfrm>
          <a:prstGeom prst="line">
            <a:avLst/>
          </a:prstGeom>
          <a:ln cap="rnd">
            <a:solidFill>
              <a:schemeClr val="tx1"/>
            </a:solidFill>
            <a:headEnd type="oval" w="sm" len="sm"/>
            <a:tailEnd type="none"/>
          </a:ln>
        </p:spPr>
        <p:style>
          <a:lnRef idx="1">
            <a:schemeClr val="accent1"/>
          </a:lnRef>
          <a:fillRef idx="0">
            <a:schemeClr val="accent1"/>
          </a:fillRef>
          <a:effectRef idx="0">
            <a:schemeClr val="accent1"/>
          </a:effectRef>
          <a:fontRef idx="minor">
            <a:schemeClr val="tx1"/>
          </a:fontRef>
        </p:style>
      </p:cxnSp>
      <p:cxnSp>
        <p:nvCxnSpPr>
          <p:cNvPr id="236" name="Gerade Verbindung 997">
            <a:extLst>
              <a:ext uri="{FF2B5EF4-FFF2-40B4-BE49-F238E27FC236}">
                <a16:creationId xmlns:a16="http://schemas.microsoft.com/office/drawing/2014/main" id="{C6C32F3A-6671-4349-A6A1-CC38BECDC670}"/>
              </a:ext>
            </a:extLst>
          </p:cNvPr>
          <p:cNvCxnSpPr>
            <a:cxnSpLocks/>
          </p:cNvCxnSpPr>
          <p:nvPr>
            <p:custDataLst>
              <p:tags r:id="rId16"/>
            </p:custDataLst>
          </p:nvPr>
        </p:nvCxnSpPr>
        <p:spPr bwMode="gray">
          <a:xfrm>
            <a:off x="7570665" y="3624157"/>
            <a:ext cx="1734013" cy="21582"/>
          </a:xfrm>
          <a:prstGeom prst="line">
            <a:avLst/>
          </a:prstGeom>
          <a:ln cap="rnd">
            <a:solidFill>
              <a:schemeClr val="tx1"/>
            </a:solidFill>
            <a:headEnd type="oval" w="sm" len="sm"/>
            <a:tailEnd type="none"/>
          </a:ln>
        </p:spPr>
        <p:style>
          <a:lnRef idx="1">
            <a:schemeClr val="accent1"/>
          </a:lnRef>
          <a:fillRef idx="0">
            <a:schemeClr val="accent1"/>
          </a:fillRef>
          <a:effectRef idx="0">
            <a:schemeClr val="accent1"/>
          </a:effectRef>
          <a:fontRef idx="minor">
            <a:schemeClr val="tx1"/>
          </a:fontRef>
        </p:style>
      </p:cxnSp>
      <p:cxnSp>
        <p:nvCxnSpPr>
          <p:cNvPr id="237" name="Gerade Verbindung 997">
            <a:extLst>
              <a:ext uri="{FF2B5EF4-FFF2-40B4-BE49-F238E27FC236}">
                <a16:creationId xmlns:a16="http://schemas.microsoft.com/office/drawing/2014/main" id="{CD2B5108-3EF0-4A96-B43A-7F85682C3B3E}"/>
              </a:ext>
            </a:extLst>
          </p:cNvPr>
          <p:cNvCxnSpPr>
            <a:cxnSpLocks/>
          </p:cNvCxnSpPr>
          <p:nvPr>
            <p:custDataLst>
              <p:tags r:id="rId17"/>
            </p:custDataLst>
          </p:nvPr>
        </p:nvCxnSpPr>
        <p:spPr bwMode="gray">
          <a:xfrm>
            <a:off x="7688405" y="3355417"/>
            <a:ext cx="932277" cy="10593"/>
          </a:xfrm>
          <a:prstGeom prst="line">
            <a:avLst/>
          </a:prstGeom>
          <a:ln cap="rnd">
            <a:solidFill>
              <a:schemeClr val="tx1"/>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238" name="Rechteck 237">
            <a:extLst>
              <a:ext uri="{FF2B5EF4-FFF2-40B4-BE49-F238E27FC236}">
                <a16:creationId xmlns:a16="http://schemas.microsoft.com/office/drawing/2014/main" id="{A3D78A8D-084A-433B-BE49-0148CE372A67}"/>
              </a:ext>
            </a:extLst>
          </p:cNvPr>
          <p:cNvSpPr/>
          <p:nvPr>
            <p:custDataLst>
              <p:tags r:id="rId18"/>
            </p:custDataLst>
          </p:nvPr>
        </p:nvSpPr>
        <p:spPr bwMode="gray">
          <a:xfrm>
            <a:off x="5802818" y="2962728"/>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6</a:t>
            </a:r>
          </a:p>
        </p:txBody>
      </p:sp>
      <p:sp>
        <p:nvSpPr>
          <p:cNvPr id="239" name="Rechteck 238">
            <a:extLst>
              <a:ext uri="{FF2B5EF4-FFF2-40B4-BE49-F238E27FC236}">
                <a16:creationId xmlns:a16="http://schemas.microsoft.com/office/drawing/2014/main" id="{3A57E9E1-33CA-4D58-B82D-FC112D49872B}"/>
              </a:ext>
            </a:extLst>
          </p:cNvPr>
          <p:cNvSpPr/>
          <p:nvPr>
            <p:custDataLst>
              <p:tags r:id="rId19"/>
            </p:custDataLst>
          </p:nvPr>
        </p:nvSpPr>
        <p:spPr bwMode="gray">
          <a:xfrm>
            <a:off x="5628989" y="313799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2</a:t>
            </a:r>
          </a:p>
        </p:txBody>
      </p:sp>
      <p:sp>
        <p:nvSpPr>
          <p:cNvPr id="14" name="Textfeld 13">
            <a:extLst>
              <a:ext uri="{FF2B5EF4-FFF2-40B4-BE49-F238E27FC236}">
                <a16:creationId xmlns:a16="http://schemas.microsoft.com/office/drawing/2014/main" id="{DB88D01E-B885-4E9F-A02C-86E958554558}"/>
              </a:ext>
            </a:extLst>
          </p:cNvPr>
          <p:cNvSpPr txBox="1"/>
          <p:nvPr/>
        </p:nvSpPr>
        <p:spPr>
          <a:xfrm>
            <a:off x="10183395" y="5553128"/>
            <a:ext cx="712855" cy="328418"/>
          </a:xfrm>
          <a:prstGeom prst="rect">
            <a:avLst/>
          </a:prstGeom>
          <a:solidFill>
            <a:srgbClr val="9B0009"/>
          </a:solidFill>
        </p:spPr>
        <p:txBody>
          <a:bodyPr wrap="none" lIns="0" tIns="0" rIns="0" bIns="0" rtlCol="0">
            <a:noAutofit/>
          </a:bodyPr>
          <a:lstStyle/>
          <a:p>
            <a:pPr>
              <a:lnSpc>
                <a:spcPct val="125000"/>
              </a:lnSpc>
              <a:buClr>
                <a:schemeClr val="tx2"/>
              </a:buClr>
            </a:pPr>
            <a:r>
              <a:rPr lang="es-ES_tradnl" sz="1600">
                <a:solidFill>
                  <a:schemeClr val="bg1"/>
                </a:solidFill>
              </a:rPr>
              <a:t>Turquía</a:t>
            </a:r>
          </a:p>
        </p:txBody>
      </p:sp>
      <p:sp>
        <p:nvSpPr>
          <p:cNvPr id="241" name="Rechteck 240">
            <a:extLst>
              <a:ext uri="{FF2B5EF4-FFF2-40B4-BE49-F238E27FC236}">
                <a16:creationId xmlns:a16="http://schemas.microsoft.com/office/drawing/2014/main" id="{78886C40-9725-46FE-A31F-00AC3D709778}"/>
              </a:ext>
            </a:extLst>
          </p:cNvPr>
          <p:cNvSpPr/>
          <p:nvPr>
            <p:custDataLst>
              <p:tags r:id="rId20"/>
            </p:custDataLst>
          </p:nvPr>
        </p:nvSpPr>
        <p:spPr bwMode="gray">
          <a:xfrm>
            <a:off x="11006360" y="556032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35</a:t>
            </a:r>
          </a:p>
        </p:txBody>
      </p:sp>
      <p:sp>
        <p:nvSpPr>
          <p:cNvPr id="242" name="Rechteck 241">
            <a:extLst>
              <a:ext uri="{FF2B5EF4-FFF2-40B4-BE49-F238E27FC236}">
                <a16:creationId xmlns:a16="http://schemas.microsoft.com/office/drawing/2014/main" id="{EE1671ED-38D7-475B-B5F3-473E3CE3A83B}"/>
              </a:ext>
            </a:extLst>
          </p:cNvPr>
          <p:cNvSpPr/>
          <p:nvPr>
            <p:custDataLst>
              <p:tags r:id="rId21"/>
            </p:custDataLst>
          </p:nvPr>
        </p:nvSpPr>
        <p:spPr bwMode="gray">
          <a:xfrm>
            <a:off x="10814332" y="575236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GB" sz="1200" dirty="0">
                <a:solidFill>
                  <a:schemeClr val="tx1"/>
                </a:solidFill>
              </a:rPr>
              <a:t>+1</a:t>
            </a:r>
            <a:endParaRPr lang="en-US" sz="1200" dirty="0">
              <a:solidFill>
                <a:schemeClr val="tx1"/>
              </a:solidFill>
            </a:endParaRPr>
          </a:p>
        </p:txBody>
      </p:sp>
      <p:sp>
        <p:nvSpPr>
          <p:cNvPr id="244" name="Rechteck 243">
            <a:extLst>
              <a:ext uri="{FF2B5EF4-FFF2-40B4-BE49-F238E27FC236}">
                <a16:creationId xmlns:a16="http://schemas.microsoft.com/office/drawing/2014/main" id="{F9061F18-33CD-4043-9AC6-AD32872EF77B}"/>
              </a:ext>
            </a:extLst>
          </p:cNvPr>
          <p:cNvSpPr/>
          <p:nvPr>
            <p:custDataLst>
              <p:tags r:id="rId22"/>
            </p:custDataLst>
          </p:nvPr>
        </p:nvSpPr>
        <p:spPr bwMode="gray">
          <a:xfrm>
            <a:off x="6479423" y="5181015"/>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a:t>
            </a:r>
          </a:p>
        </p:txBody>
      </p:sp>
      <p:sp>
        <p:nvSpPr>
          <p:cNvPr id="245" name="Rechteck 244">
            <a:extLst>
              <a:ext uri="{FF2B5EF4-FFF2-40B4-BE49-F238E27FC236}">
                <a16:creationId xmlns:a16="http://schemas.microsoft.com/office/drawing/2014/main" id="{4BFA3DBF-115D-4292-8D6D-0967618A0F6E}"/>
              </a:ext>
            </a:extLst>
          </p:cNvPr>
          <p:cNvSpPr/>
          <p:nvPr>
            <p:custDataLst>
              <p:tags r:id="rId23"/>
            </p:custDataLst>
          </p:nvPr>
        </p:nvSpPr>
        <p:spPr bwMode="gray">
          <a:xfrm>
            <a:off x="6256828" y="5345016"/>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6</a:t>
            </a:r>
          </a:p>
        </p:txBody>
      </p:sp>
      <p:sp>
        <p:nvSpPr>
          <p:cNvPr id="199" name="Rechteck 198">
            <a:extLst>
              <a:ext uri="{FF2B5EF4-FFF2-40B4-BE49-F238E27FC236}">
                <a16:creationId xmlns:a16="http://schemas.microsoft.com/office/drawing/2014/main" id="{C1860EA9-9C4E-4811-8E45-B66D3C65BD55}"/>
              </a:ext>
            </a:extLst>
          </p:cNvPr>
          <p:cNvSpPr/>
          <p:nvPr>
            <p:custDataLst>
              <p:tags r:id="rId24"/>
            </p:custDataLst>
          </p:nvPr>
        </p:nvSpPr>
        <p:spPr bwMode="gray">
          <a:xfrm>
            <a:off x="6796133" y="4707398"/>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bg1"/>
                </a:solidFill>
              </a:rPr>
              <a:t>-27</a:t>
            </a:r>
          </a:p>
        </p:txBody>
      </p:sp>
      <p:sp>
        <p:nvSpPr>
          <p:cNvPr id="235" name="Rechteck 234">
            <a:extLst>
              <a:ext uri="{FF2B5EF4-FFF2-40B4-BE49-F238E27FC236}">
                <a16:creationId xmlns:a16="http://schemas.microsoft.com/office/drawing/2014/main" id="{FE69300E-78FD-497F-849F-8ADDDFDD662E}"/>
              </a:ext>
            </a:extLst>
          </p:cNvPr>
          <p:cNvSpPr/>
          <p:nvPr>
            <p:custDataLst>
              <p:tags r:id="rId25"/>
            </p:custDataLst>
          </p:nvPr>
        </p:nvSpPr>
        <p:spPr bwMode="gray">
          <a:xfrm>
            <a:off x="6604109" y="4865886"/>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GB" sz="1200" dirty="0">
                <a:solidFill>
                  <a:schemeClr val="bg1"/>
                </a:solidFill>
              </a:rPr>
              <a:t>+2</a:t>
            </a:r>
            <a:endParaRPr lang="en-US" sz="1200" dirty="0">
              <a:solidFill>
                <a:schemeClr val="bg1"/>
              </a:solidFill>
            </a:endParaRPr>
          </a:p>
        </p:txBody>
      </p:sp>
      <p:sp>
        <p:nvSpPr>
          <p:cNvPr id="4" name="Rechteck 3">
            <a:extLst>
              <a:ext uri="{FF2B5EF4-FFF2-40B4-BE49-F238E27FC236}">
                <a16:creationId xmlns:a16="http://schemas.microsoft.com/office/drawing/2014/main" id="{312A48A4-EBE5-44EF-BD24-23D7BE103E28}"/>
              </a:ext>
            </a:extLst>
          </p:cNvPr>
          <p:cNvSpPr/>
          <p:nvPr/>
        </p:nvSpPr>
        <p:spPr>
          <a:xfrm>
            <a:off x="1018266" y="6205339"/>
            <a:ext cx="5036791" cy="215444"/>
          </a:xfrm>
          <a:prstGeom prst="rect">
            <a:avLst/>
          </a:prstGeom>
        </p:spPr>
        <p:txBody>
          <a:bodyPr wrap="square">
            <a:spAutoFit/>
          </a:bodyPr>
          <a:lstStyle/>
          <a:p>
            <a:r>
              <a:rPr lang="en-US" sz="800" dirty="0">
                <a:latin typeface="Arial" panose="020B0604020202020204" pitchFamily="34" charset="0"/>
              </a:rPr>
              <a:t>.</a:t>
            </a:r>
          </a:p>
        </p:txBody>
      </p:sp>
      <p:sp>
        <p:nvSpPr>
          <p:cNvPr id="230" name="Ellipse 983">
            <a:extLst>
              <a:ext uri="{FF2B5EF4-FFF2-40B4-BE49-F238E27FC236}">
                <a16:creationId xmlns:a16="http://schemas.microsoft.com/office/drawing/2014/main" id="{035F90D7-43F3-4DD0-9B6B-58FE037EFADE}"/>
              </a:ext>
            </a:extLst>
          </p:cNvPr>
          <p:cNvSpPr/>
          <p:nvPr>
            <p:custDataLst>
              <p:tags r:id="rId26"/>
            </p:custDataLst>
          </p:nvPr>
        </p:nvSpPr>
        <p:spPr bwMode="gray">
          <a:xfrm rot="14142931">
            <a:off x="7867388" y="6050116"/>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    </a:t>
            </a:r>
            <a:endParaRPr lang="en-US" sz="1067" dirty="0">
              <a:solidFill>
                <a:schemeClr val="bg1"/>
              </a:solidFill>
            </a:endParaRPr>
          </a:p>
        </p:txBody>
      </p:sp>
      <p:sp>
        <p:nvSpPr>
          <p:cNvPr id="249" name="Ellipse 1037">
            <a:extLst>
              <a:ext uri="{FF2B5EF4-FFF2-40B4-BE49-F238E27FC236}">
                <a16:creationId xmlns:a16="http://schemas.microsoft.com/office/drawing/2014/main" id="{749FA862-9F6C-4B03-A623-4CE01FFA0A42}"/>
              </a:ext>
            </a:extLst>
          </p:cNvPr>
          <p:cNvSpPr/>
          <p:nvPr>
            <p:custDataLst>
              <p:tags r:id="rId27"/>
            </p:custDataLst>
          </p:nvPr>
        </p:nvSpPr>
        <p:spPr bwMode="gray">
          <a:xfrm rot="15990771">
            <a:off x="11244000" y="5748713"/>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3" name="Ellipse 929">
            <a:extLst>
              <a:ext uri="{FF2B5EF4-FFF2-40B4-BE49-F238E27FC236}">
                <a16:creationId xmlns:a16="http://schemas.microsoft.com/office/drawing/2014/main" id="{66C72F82-8BE0-4468-9354-8D6808EE12FC}"/>
              </a:ext>
            </a:extLst>
          </p:cNvPr>
          <p:cNvSpPr/>
          <p:nvPr>
            <p:custDataLst>
              <p:tags r:id="rId28"/>
            </p:custDataLst>
          </p:nvPr>
        </p:nvSpPr>
        <p:spPr bwMode="gray">
          <a:xfrm rot="19078719">
            <a:off x="7514597" y="2404895"/>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5" name="Ellipse 264">
            <a:extLst>
              <a:ext uri="{FF2B5EF4-FFF2-40B4-BE49-F238E27FC236}">
                <a16:creationId xmlns:a16="http://schemas.microsoft.com/office/drawing/2014/main" id="{A428BA23-1806-4397-B9E2-35D05BEC7E05}"/>
              </a:ext>
            </a:extLst>
          </p:cNvPr>
          <p:cNvSpPr/>
          <p:nvPr>
            <p:custDataLst>
              <p:tags r:id="rId29"/>
            </p:custDataLst>
          </p:nvPr>
        </p:nvSpPr>
        <p:spPr bwMode="gray">
          <a:xfrm>
            <a:off x="8863233" y="6401076"/>
            <a:ext cx="143999"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7" name="Ellipse 266">
            <a:extLst>
              <a:ext uri="{FF2B5EF4-FFF2-40B4-BE49-F238E27FC236}">
                <a16:creationId xmlns:a16="http://schemas.microsoft.com/office/drawing/2014/main" id="{2210F1B1-9CE7-45CC-BC87-35D5CDBBB2FA}"/>
              </a:ext>
            </a:extLst>
          </p:cNvPr>
          <p:cNvSpPr/>
          <p:nvPr>
            <p:custDataLst>
              <p:tags r:id="rId30"/>
            </p:custDataLst>
          </p:nvPr>
        </p:nvSpPr>
        <p:spPr bwMode="gray">
          <a:xfrm rot="19387937">
            <a:off x="6644778" y="2851417"/>
            <a:ext cx="143999"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9" name="Ellipse 268">
            <a:extLst>
              <a:ext uri="{FF2B5EF4-FFF2-40B4-BE49-F238E27FC236}">
                <a16:creationId xmlns:a16="http://schemas.microsoft.com/office/drawing/2014/main" id="{6D9940FB-AD81-4EFE-BDE3-1C07D239009A}"/>
              </a:ext>
            </a:extLst>
          </p:cNvPr>
          <p:cNvSpPr/>
          <p:nvPr>
            <p:custDataLst>
              <p:tags r:id="rId31"/>
            </p:custDataLst>
          </p:nvPr>
        </p:nvSpPr>
        <p:spPr bwMode="gray">
          <a:xfrm rot="16200000">
            <a:off x="7061652" y="4035790"/>
            <a:ext cx="143999"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197" name="Ellipse 983">
            <a:extLst>
              <a:ext uri="{FF2B5EF4-FFF2-40B4-BE49-F238E27FC236}">
                <a16:creationId xmlns:a16="http://schemas.microsoft.com/office/drawing/2014/main" id="{8E6C3A94-3464-420D-A47E-A03211F241F7}"/>
              </a:ext>
            </a:extLst>
          </p:cNvPr>
          <p:cNvSpPr/>
          <p:nvPr>
            <p:custDataLst>
              <p:tags r:id="rId32"/>
            </p:custDataLst>
          </p:nvPr>
        </p:nvSpPr>
        <p:spPr bwMode="gray">
          <a:xfrm rot="18596434">
            <a:off x="9156310" y="3479852"/>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    </a:t>
            </a:r>
            <a:endParaRPr lang="en-US" sz="1067" dirty="0">
              <a:solidFill>
                <a:schemeClr val="bg1"/>
              </a:solidFill>
            </a:endParaRPr>
          </a:p>
        </p:txBody>
      </p:sp>
      <p:sp>
        <p:nvSpPr>
          <p:cNvPr id="203" name="Ellipse 1037">
            <a:extLst>
              <a:ext uri="{FF2B5EF4-FFF2-40B4-BE49-F238E27FC236}">
                <a16:creationId xmlns:a16="http://schemas.microsoft.com/office/drawing/2014/main" id="{2FADBBBE-C48A-4F33-915E-52F22BCB2801}"/>
              </a:ext>
            </a:extLst>
          </p:cNvPr>
          <p:cNvSpPr/>
          <p:nvPr>
            <p:custDataLst>
              <p:tags r:id="rId33"/>
            </p:custDataLst>
          </p:nvPr>
        </p:nvSpPr>
        <p:spPr bwMode="gray">
          <a:xfrm rot="14301959">
            <a:off x="9497357" y="4342013"/>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04" name="Ellipse 1037">
            <a:extLst>
              <a:ext uri="{FF2B5EF4-FFF2-40B4-BE49-F238E27FC236}">
                <a16:creationId xmlns:a16="http://schemas.microsoft.com/office/drawing/2014/main" id="{6702F170-3D73-4FF8-B8A6-1B7B295C7621}"/>
              </a:ext>
            </a:extLst>
          </p:cNvPr>
          <p:cNvSpPr/>
          <p:nvPr>
            <p:custDataLst>
              <p:tags r:id="rId34"/>
            </p:custDataLst>
          </p:nvPr>
        </p:nvSpPr>
        <p:spPr bwMode="gray">
          <a:xfrm rot="14019023">
            <a:off x="7026907" y="4864471"/>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05" name="Ellipse 983">
            <a:extLst>
              <a:ext uri="{FF2B5EF4-FFF2-40B4-BE49-F238E27FC236}">
                <a16:creationId xmlns:a16="http://schemas.microsoft.com/office/drawing/2014/main" id="{6BCA870B-C5C2-40C5-BD27-7B761F6E0C3A}"/>
              </a:ext>
            </a:extLst>
          </p:cNvPr>
          <p:cNvSpPr/>
          <p:nvPr>
            <p:custDataLst>
              <p:tags r:id="rId35"/>
            </p:custDataLst>
          </p:nvPr>
        </p:nvSpPr>
        <p:spPr bwMode="gray">
          <a:xfrm rot="16200000">
            <a:off x="6120564" y="5929244"/>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18" name="Ellipse 983">
            <a:extLst>
              <a:ext uri="{FF2B5EF4-FFF2-40B4-BE49-F238E27FC236}">
                <a16:creationId xmlns:a16="http://schemas.microsoft.com/office/drawing/2014/main" id="{59592152-8B2A-490E-A2D0-A531C2AD93D1}"/>
              </a:ext>
            </a:extLst>
          </p:cNvPr>
          <p:cNvSpPr/>
          <p:nvPr>
            <p:custDataLst>
              <p:tags r:id="rId36"/>
            </p:custDataLst>
          </p:nvPr>
        </p:nvSpPr>
        <p:spPr bwMode="gray">
          <a:xfrm rot="15976294">
            <a:off x="6024008" y="4225272"/>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23" name="Ellipse 983">
            <a:extLst>
              <a:ext uri="{FF2B5EF4-FFF2-40B4-BE49-F238E27FC236}">
                <a16:creationId xmlns:a16="http://schemas.microsoft.com/office/drawing/2014/main" id="{16BBA7E7-D0A5-47D2-91D5-2842902F0E11}"/>
              </a:ext>
            </a:extLst>
          </p:cNvPr>
          <p:cNvSpPr/>
          <p:nvPr>
            <p:custDataLst>
              <p:tags r:id="rId37"/>
            </p:custDataLst>
          </p:nvPr>
        </p:nvSpPr>
        <p:spPr bwMode="gray">
          <a:xfrm rot="18469453">
            <a:off x="7829164" y="5493506"/>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47" name="Ellipse 983">
            <a:extLst>
              <a:ext uri="{FF2B5EF4-FFF2-40B4-BE49-F238E27FC236}">
                <a16:creationId xmlns:a16="http://schemas.microsoft.com/office/drawing/2014/main" id="{DD6EE4D3-199B-49D8-8A2B-A219BC68E60C}"/>
              </a:ext>
            </a:extLst>
          </p:cNvPr>
          <p:cNvSpPr/>
          <p:nvPr>
            <p:custDataLst>
              <p:tags r:id="rId38"/>
            </p:custDataLst>
          </p:nvPr>
        </p:nvSpPr>
        <p:spPr bwMode="gray">
          <a:xfrm rot="18190435">
            <a:off x="6503026" y="4769505"/>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48" name="Ellipse 983">
            <a:extLst>
              <a:ext uri="{FF2B5EF4-FFF2-40B4-BE49-F238E27FC236}">
                <a16:creationId xmlns:a16="http://schemas.microsoft.com/office/drawing/2014/main" id="{DF01D697-5E31-40F8-B036-B184C8EBBA1D}"/>
              </a:ext>
            </a:extLst>
          </p:cNvPr>
          <p:cNvSpPr/>
          <p:nvPr>
            <p:custDataLst>
              <p:tags r:id="rId39"/>
            </p:custDataLst>
          </p:nvPr>
        </p:nvSpPr>
        <p:spPr bwMode="gray">
          <a:xfrm rot="10800000">
            <a:off x="6693754" y="5334111"/>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55" name="Ellipse 983">
            <a:extLst>
              <a:ext uri="{FF2B5EF4-FFF2-40B4-BE49-F238E27FC236}">
                <a16:creationId xmlns:a16="http://schemas.microsoft.com/office/drawing/2014/main" id="{1081602D-FBAF-4A8C-BCF1-A0E7DCBCA88B}"/>
              </a:ext>
            </a:extLst>
          </p:cNvPr>
          <p:cNvSpPr/>
          <p:nvPr>
            <p:custDataLst>
              <p:tags r:id="rId40"/>
            </p:custDataLst>
          </p:nvPr>
        </p:nvSpPr>
        <p:spPr bwMode="gray">
          <a:xfrm rot="13995634">
            <a:off x="2394132" y="3313668"/>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2" name="Rechteck 261">
            <a:extLst>
              <a:ext uri="{FF2B5EF4-FFF2-40B4-BE49-F238E27FC236}">
                <a16:creationId xmlns:a16="http://schemas.microsoft.com/office/drawing/2014/main" id="{9AA5B464-8949-44DB-811D-0647DED64504}"/>
              </a:ext>
            </a:extLst>
          </p:cNvPr>
          <p:cNvSpPr/>
          <p:nvPr>
            <p:custDataLst>
              <p:tags r:id="rId41"/>
            </p:custDataLst>
          </p:nvPr>
        </p:nvSpPr>
        <p:spPr bwMode="gray">
          <a:xfrm>
            <a:off x="9034685" y="4922148"/>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3</a:t>
            </a:r>
          </a:p>
        </p:txBody>
      </p:sp>
      <p:sp>
        <p:nvSpPr>
          <p:cNvPr id="264" name="Rechteck 263">
            <a:extLst>
              <a:ext uri="{FF2B5EF4-FFF2-40B4-BE49-F238E27FC236}">
                <a16:creationId xmlns:a16="http://schemas.microsoft.com/office/drawing/2014/main" id="{C6E0C5AA-640C-40E2-83CC-29939E52B120}"/>
              </a:ext>
            </a:extLst>
          </p:cNvPr>
          <p:cNvSpPr/>
          <p:nvPr>
            <p:custDataLst>
              <p:tags r:id="rId42"/>
            </p:custDataLst>
          </p:nvPr>
        </p:nvSpPr>
        <p:spPr bwMode="gray">
          <a:xfrm>
            <a:off x="8842657" y="5114188"/>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GB" sz="1200" dirty="0">
                <a:solidFill>
                  <a:schemeClr val="tx1"/>
                </a:solidFill>
              </a:rPr>
              <a:t>+11</a:t>
            </a:r>
            <a:endParaRPr lang="en-US" sz="1200" dirty="0">
              <a:solidFill>
                <a:schemeClr val="tx1"/>
              </a:solidFill>
            </a:endParaRPr>
          </a:p>
        </p:txBody>
      </p:sp>
      <p:sp>
        <p:nvSpPr>
          <p:cNvPr id="270" name="Ellipse 983">
            <a:extLst>
              <a:ext uri="{FF2B5EF4-FFF2-40B4-BE49-F238E27FC236}">
                <a16:creationId xmlns:a16="http://schemas.microsoft.com/office/drawing/2014/main" id="{15E0C9E8-4F27-47D9-B121-71D1C0A48929}"/>
              </a:ext>
            </a:extLst>
          </p:cNvPr>
          <p:cNvSpPr/>
          <p:nvPr>
            <p:custDataLst>
              <p:tags r:id="rId43"/>
            </p:custDataLst>
          </p:nvPr>
        </p:nvSpPr>
        <p:spPr bwMode="gray">
          <a:xfrm rot="10800000">
            <a:off x="9274685" y="5125449"/>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cxnSp>
        <p:nvCxnSpPr>
          <p:cNvPr id="273" name="Gerade Verbindung 997">
            <a:extLst>
              <a:ext uri="{FF2B5EF4-FFF2-40B4-BE49-F238E27FC236}">
                <a16:creationId xmlns:a16="http://schemas.microsoft.com/office/drawing/2014/main" id="{2483EDE8-A754-4139-9D9A-4DAAC3B77193}"/>
              </a:ext>
            </a:extLst>
          </p:cNvPr>
          <p:cNvCxnSpPr>
            <a:cxnSpLocks/>
          </p:cNvCxnSpPr>
          <p:nvPr>
            <p:custDataLst>
              <p:tags r:id="rId44"/>
            </p:custDataLst>
          </p:nvPr>
        </p:nvCxnSpPr>
        <p:spPr bwMode="gray">
          <a:xfrm>
            <a:off x="7175892" y="5296354"/>
            <a:ext cx="2220005" cy="0"/>
          </a:xfrm>
          <a:prstGeom prst="line">
            <a:avLst/>
          </a:prstGeom>
          <a:ln cap="rnd">
            <a:solidFill>
              <a:schemeClr val="tx1"/>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227" name="Ellipse 983">
            <a:extLst>
              <a:ext uri="{FF2B5EF4-FFF2-40B4-BE49-F238E27FC236}">
                <a16:creationId xmlns:a16="http://schemas.microsoft.com/office/drawing/2014/main" id="{882626F3-DE36-490A-8769-E2E7DDAA9C85}"/>
              </a:ext>
            </a:extLst>
          </p:cNvPr>
          <p:cNvSpPr/>
          <p:nvPr>
            <p:custDataLst>
              <p:tags r:id="rId45"/>
            </p:custDataLst>
          </p:nvPr>
        </p:nvSpPr>
        <p:spPr bwMode="gray">
          <a:xfrm rot="10967296">
            <a:off x="5129856" y="4695629"/>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33" name="Ellipse 983">
            <a:extLst>
              <a:ext uri="{FF2B5EF4-FFF2-40B4-BE49-F238E27FC236}">
                <a16:creationId xmlns:a16="http://schemas.microsoft.com/office/drawing/2014/main" id="{D68A1A49-54E6-47F6-94EA-4C078FBD247B}"/>
              </a:ext>
            </a:extLst>
          </p:cNvPr>
          <p:cNvSpPr/>
          <p:nvPr>
            <p:custDataLst>
              <p:tags r:id="rId46"/>
            </p:custDataLst>
          </p:nvPr>
        </p:nvSpPr>
        <p:spPr bwMode="gray">
          <a:xfrm rot="18860315">
            <a:off x="4122246" y="5450128"/>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40" name="Ellipse 983">
            <a:extLst>
              <a:ext uri="{FF2B5EF4-FFF2-40B4-BE49-F238E27FC236}">
                <a16:creationId xmlns:a16="http://schemas.microsoft.com/office/drawing/2014/main" id="{C75CCA4B-2CDC-4B29-B6A9-387E4D467D47}"/>
              </a:ext>
            </a:extLst>
          </p:cNvPr>
          <p:cNvSpPr/>
          <p:nvPr>
            <p:custDataLst>
              <p:tags r:id="rId47"/>
            </p:custDataLst>
          </p:nvPr>
        </p:nvSpPr>
        <p:spPr bwMode="gray">
          <a:xfrm>
            <a:off x="3351389" y="5076877"/>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43" name="Ellipse 983">
            <a:extLst>
              <a:ext uri="{FF2B5EF4-FFF2-40B4-BE49-F238E27FC236}">
                <a16:creationId xmlns:a16="http://schemas.microsoft.com/office/drawing/2014/main" id="{5B51065F-4DDF-4187-955C-98F6B071B387}"/>
              </a:ext>
            </a:extLst>
          </p:cNvPr>
          <p:cNvSpPr/>
          <p:nvPr>
            <p:custDataLst>
              <p:tags r:id="rId48"/>
            </p:custDataLst>
          </p:nvPr>
        </p:nvSpPr>
        <p:spPr bwMode="gray">
          <a:xfrm rot="10619432">
            <a:off x="3758308" y="3893685"/>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59" name="Ellipse 983">
            <a:extLst>
              <a:ext uri="{FF2B5EF4-FFF2-40B4-BE49-F238E27FC236}">
                <a16:creationId xmlns:a16="http://schemas.microsoft.com/office/drawing/2014/main" id="{7A9D2A9D-8BB2-49DE-95E0-A8BB2FE3DFA9}"/>
              </a:ext>
            </a:extLst>
          </p:cNvPr>
          <p:cNvSpPr/>
          <p:nvPr>
            <p:custDataLst>
              <p:tags r:id="rId49"/>
            </p:custDataLst>
          </p:nvPr>
        </p:nvSpPr>
        <p:spPr bwMode="gray">
          <a:xfrm rot="18165735">
            <a:off x="6048153" y="3138625"/>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0" name="Ellipse 983">
            <a:extLst>
              <a:ext uri="{FF2B5EF4-FFF2-40B4-BE49-F238E27FC236}">
                <a16:creationId xmlns:a16="http://schemas.microsoft.com/office/drawing/2014/main" id="{0F11600C-6E40-4029-9A0B-34A8935611E8}"/>
              </a:ext>
            </a:extLst>
          </p:cNvPr>
          <p:cNvSpPr/>
          <p:nvPr>
            <p:custDataLst>
              <p:tags r:id="rId50"/>
            </p:custDataLst>
          </p:nvPr>
        </p:nvSpPr>
        <p:spPr bwMode="gray">
          <a:xfrm rot="10800000">
            <a:off x="5601477" y="3687225"/>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71" name="Ellipse 929">
            <a:extLst>
              <a:ext uri="{FF2B5EF4-FFF2-40B4-BE49-F238E27FC236}">
                <a16:creationId xmlns:a16="http://schemas.microsoft.com/office/drawing/2014/main" id="{ADD60C2E-A634-4733-9092-409A1558D3F6}"/>
              </a:ext>
            </a:extLst>
          </p:cNvPr>
          <p:cNvSpPr/>
          <p:nvPr>
            <p:custDataLst>
              <p:tags r:id="rId51"/>
            </p:custDataLst>
          </p:nvPr>
        </p:nvSpPr>
        <p:spPr bwMode="gray">
          <a:xfrm rot="2498997">
            <a:off x="8431903" y="4192298"/>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72" name="Ellipse 929">
            <a:extLst>
              <a:ext uri="{FF2B5EF4-FFF2-40B4-BE49-F238E27FC236}">
                <a16:creationId xmlns:a16="http://schemas.microsoft.com/office/drawing/2014/main" id="{2D9453D8-7774-482E-976D-811C880D5DEB}"/>
              </a:ext>
            </a:extLst>
          </p:cNvPr>
          <p:cNvSpPr/>
          <p:nvPr>
            <p:custDataLst>
              <p:tags r:id="rId52"/>
            </p:custDataLst>
          </p:nvPr>
        </p:nvSpPr>
        <p:spPr bwMode="gray">
          <a:xfrm rot="2596833">
            <a:off x="8494150" y="3207187"/>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74" name="Ellipse 929">
            <a:extLst>
              <a:ext uri="{FF2B5EF4-FFF2-40B4-BE49-F238E27FC236}">
                <a16:creationId xmlns:a16="http://schemas.microsoft.com/office/drawing/2014/main" id="{38B2B4A7-32A8-45C6-8949-E3273EA6CC53}"/>
              </a:ext>
            </a:extLst>
          </p:cNvPr>
          <p:cNvSpPr/>
          <p:nvPr>
            <p:custDataLst>
              <p:tags r:id="rId53"/>
            </p:custDataLst>
          </p:nvPr>
        </p:nvSpPr>
        <p:spPr bwMode="gray">
          <a:xfrm rot="18887667">
            <a:off x="8006024" y="2862435"/>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20" name="Rechteck 219">
            <a:extLst>
              <a:ext uri="{FF2B5EF4-FFF2-40B4-BE49-F238E27FC236}">
                <a16:creationId xmlns:a16="http://schemas.microsoft.com/office/drawing/2014/main" id="{6C2B2BD7-D674-4FBF-9591-8295E65AD4D4}"/>
              </a:ext>
            </a:extLst>
          </p:cNvPr>
          <p:cNvSpPr/>
          <p:nvPr>
            <p:custDataLst>
              <p:tags r:id="rId54"/>
            </p:custDataLst>
          </p:nvPr>
        </p:nvSpPr>
        <p:spPr bwMode="gray">
          <a:xfrm>
            <a:off x="4740253" y="3491362"/>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4</a:t>
            </a:r>
          </a:p>
        </p:txBody>
      </p:sp>
      <p:sp>
        <p:nvSpPr>
          <p:cNvPr id="246" name="Rechteck 245">
            <a:extLst>
              <a:ext uri="{FF2B5EF4-FFF2-40B4-BE49-F238E27FC236}">
                <a16:creationId xmlns:a16="http://schemas.microsoft.com/office/drawing/2014/main" id="{2791910E-E4FA-44A0-94FC-78927DC6EA39}"/>
              </a:ext>
            </a:extLst>
          </p:cNvPr>
          <p:cNvSpPr/>
          <p:nvPr>
            <p:custDataLst>
              <p:tags r:id="rId55"/>
            </p:custDataLst>
          </p:nvPr>
        </p:nvSpPr>
        <p:spPr bwMode="gray">
          <a:xfrm>
            <a:off x="4748274" y="3674696"/>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7</a:t>
            </a:r>
          </a:p>
        </p:txBody>
      </p:sp>
      <p:sp>
        <p:nvSpPr>
          <p:cNvPr id="250" name="Ellipse 983">
            <a:extLst>
              <a:ext uri="{FF2B5EF4-FFF2-40B4-BE49-F238E27FC236}">
                <a16:creationId xmlns:a16="http://schemas.microsoft.com/office/drawing/2014/main" id="{06B0C920-4356-4B12-8BED-46898D9F0B87}"/>
              </a:ext>
            </a:extLst>
          </p:cNvPr>
          <p:cNvSpPr/>
          <p:nvPr>
            <p:custDataLst>
              <p:tags r:id="rId56"/>
            </p:custDataLst>
          </p:nvPr>
        </p:nvSpPr>
        <p:spPr bwMode="gray">
          <a:xfrm rot="10964355">
            <a:off x="5155653" y="3679062"/>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51" name="Subtitle 19">
            <a:extLst>
              <a:ext uri="{FF2B5EF4-FFF2-40B4-BE49-F238E27FC236}">
                <a16:creationId xmlns:a16="http://schemas.microsoft.com/office/drawing/2014/main" id="{F1E348C7-969D-42FC-A5D2-213676270864}"/>
              </a:ext>
            </a:extLst>
          </p:cNvPr>
          <p:cNvSpPr txBox="1">
            <a:spLocks/>
          </p:cNvSpPr>
          <p:nvPr/>
        </p:nvSpPr>
        <p:spPr>
          <a:xfrm>
            <a:off x="280771" y="980728"/>
            <a:ext cx="8641357" cy="360040"/>
          </a:xfrm>
          <a:prstGeom prst="rect">
            <a:avLst/>
          </a:prstGeom>
        </p:spPr>
        <p:txBody>
          <a:bodyPr/>
          <a:lstStyle>
            <a:lvl1pPr marL="266700" indent="-266700" algn="l" defTabSz="914400" rtl="0" eaLnBrk="1" latinLnBrk="0" hangingPunct="1">
              <a:lnSpc>
                <a:spcPct val="100000"/>
              </a:lnSpc>
              <a:spcBef>
                <a:spcPts val="1000"/>
              </a:spcBef>
              <a:buClrTx/>
              <a:buSzPct val="80000"/>
              <a:buFont typeface="Wingdings" panose="05000000000000000000" pitchFamily="2" charset="2"/>
              <a:buChar char="n"/>
              <a:defRPr sz="1600" kern="1200">
                <a:solidFill>
                  <a:schemeClr val="tx1"/>
                </a:solidFill>
                <a:latin typeface="+mn-lt"/>
                <a:ea typeface="+mn-ea"/>
                <a:cs typeface="+mn-cs"/>
              </a:defRPr>
            </a:lvl1pPr>
            <a:lvl2pPr marL="542925" indent="-276225" algn="l" defTabSz="914400" rtl="0" eaLnBrk="1" latinLnBrk="0" hangingPunct="1">
              <a:lnSpc>
                <a:spcPct val="100000"/>
              </a:lnSpc>
              <a:spcBef>
                <a:spcPts val="1000"/>
              </a:spcBef>
              <a:buClrTx/>
              <a:buSzPct val="80000"/>
              <a:buFont typeface="Wingdings" panose="05000000000000000000" pitchFamily="2" charset="2"/>
              <a:buChar char=""/>
              <a:defRPr sz="1600" kern="1200">
                <a:solidFill>
                  <a:schemeClr val="tx1"/>
                </a:solidFill>
                <a:latin typeface="+mn-lt"/>
                <a:ea typeface="+mn-ea"/>
                <a:cs typeface="+mn-cs"/>
              </a:defRPr>
            </a:lvl2pPr>
            <a:lvl3pPr marL="809625" indent="-266700" algn="l" defTabSz="914400" rtl="0" eaLnBrk="1" latinLnBrk="0" hangingPunct="1">
              <a:lnSpc>
                <a:spcPct val="100000"/>
              </a:lnSpc>
              <a:spcBef>
                <a:spcPts val="1000"/>
              </a:spcBef>
              <a:buClrTx/>
              <a:buSzPct val="100000"/>
              <a:buFont typeface="Courier New" panose="02070309020205020404" pitchFamily="49" charset="0"/>
              <a:buChar char="o"/>
              <a:defRPr sz="1600" kern="1200">
                <a:solidFill>
                  <a:schemeClr val="tx1"/>
                </a:solidFill>
                <a:latin typeface="+mn-lt"/>
                <a:ea typeface="+mn-ea"/>
                <a:cs typeface="+mn-cs"/>
              </a:defRPr>
            </a:lvl3pPr>
            <a:lvl4pPr marL="0" indent="0" algn="l" defTabSz="914400" rtl="0" eaLnBrk="1" latinLnBrk="0" hangingPunct="1">
              <a:lnSpc>
                <a:spcPct val="100000"/>
              </a:lnSpc>
              <a:spcBef>
                <a:spcPts val="1000"/>
              </a:spcBef>
              <a:buClrTx/>
              <a:buSzPct val="80000"/>
              <a:buFont typeface="Wingdings" panose="05000000000000000000" pitchFamily="2" charset="2"/>
              <a:buNone/>
              <a:defRPr sz="1600" kern="1200">
                <a:solidFill>
                  <a:schemeClr val="tx1"/>
                </a:solidFill>
                <a:latin typeface="+mn-lt"/>
                <a:ea typeface="+mn-ea"/>
                <a:cs typeface="+mn-cs"/>
              </a:defRPr>
            </a:lvl4pPr>
            <a:lvl5pPr marL="0" indent="0" algn="l" defTabSz="914400" rtl="0" eaLnBrk="1" latinLnBrk="0" hangingPunct="1">
              <a:lnSpc>
                <a:spcPct val="100000"/>
              </a:lnSpc>
              <a:spcBef>
                <a:spcPts val="1000"/>
              </a:spcBef>
              <a:buClrTx/>
              <a:buFont typeface="Wingdings 2" panose="05020102010507070707" pitchFamily="18" charset="2"/>
              <a:buNone/>
              <a:defRPr sz="1200" b="0" kern="1200">
                <a:solidFill>
                  <a:schemeClr val="tx1"/>
                </a:solidFill>
                <a:latin typeface="+mn-lt"/>
                <a:ea typeface="+mn-ea"/>
                <a:cs typeface="+mn-cs"/>
              </a:defRPr>
            </a:lvl5pPr>
            <a:lvl6pPr marL="266700" indent="-266700" algn="l" defTabSz="914400" rtl="0" eaLnBrk="1" latinLnBrk="0" hangingPunct="1">
              <a:lnSpc>
                <a:spcPct val="100000"/>
              </a:lnSpc>
              <a:spcBef>
                <a:spcPts val="600"/>
              </a:spcBef>
              <a:buClrTx/>
              <a:buSzPct val="80000"/>
              <a:buFont typeface="Wingdings" panose="05000000000000000000" pitchFamily="2" charset="2"/>
              <a:buChar char="n"/>
              <a:defRPr sz="1200" b="0" kern="1200">
                <a:solidFill>
                  <a:schemeClr val="tx1"/>
                </a:solidFill>
                <a:latin typeface="+mn-lt"/>
                <a:ea typeface="+mn-ea"/>
                <a:cs typeface="+mn-cs"/>
              </a:defRPr>
            </a:lvl6pPr>
            <a:lvl7pPr marL="542925" indent="-276225" algn="l" defTabSz="914400" rtl="0" eaLnBrk="1" latinLnBrk="0" hangingPunct="1">
              <a:lnSpc>
                <a:spcPct val="100000"/>
              </a:lnSpc>
              <a:spcBef>
                <a:spcPts val="600"/>
              </a:spcBef>
              <a:buClrTx/>
              <a:buSzPct val="80000"/>
              <a:buFont typeface="Wingdings" panose="05000000000000000000" pitchFamily="2" charset="2"/>
              <a:buChar char="o"/>
              <a:defRPr sz="1200" b="0" kern="1200">
                <a:solidFill>
                  <a:schemeClr val="tx1"/>
                </a:solidFill>
                <a:latin typeface="+mn-lt"/>
                <a:ea typeface="+mn-ea"/>
                <a:cs typeface="+mn-cs"/>
              </a:defRPr>
            </a:lvl7pPr>
            <a:lvl8pPr marL="809625" indent="-266700" algn="l" defTabSz="914400" rtl="0" eaLnBrk="1" latinLnBrk="0" hangingPunct="1">
              <a:lnSpc>
                <a:spcPct val="100000"/>
              </a:lnSpc>
              <a:spcBef>
                <a:spcPts val="600"/>
              </a:spcBef>
              <a:buClrTx/>
              <a:buSzPct val="100000"/>
              <a:buFont typeface="Courier New" panose="02070309020205020404" pitchFamily="49" charset="0"/>
              <a:buChar char="o"/>
              <a:defRPr sz="1200" b="0" kern="1200">
                <a:solidFill>
                  <a:schemeClr val="tx1"/>
                </a:solidFill>
                <a:latin typeface="+mn-lt"/>
                <a:ea typeface="+mn-ea"/>
                <a:cs typeface="+mn-cs"/>
              </a:defRPr>
            </a:lvl8pPr>
            <a:lvl9pPr marL="803275" indent="-268288" algn="l" defTabSz="914400" rtl="0" eaLnBrk="1" latinLnBrk="0" hangingPunct="1">
              <a:lnSpc>
                <a:spcPct val="100000"/>
              </a:lnSpc>
              <a:spcBef>
                <a:spcPts val="600"/>
              </a:spcBef>
              <a:buClrTx/>
              <a:buSzPct val="100000"/>
              <a:buFont typeface="Courier New" panose="02070309020205020404" pitchFamily="49" charset="0"/>
              <a:buChar char="o"/>
              <a:defRPr sz="1200" b="0" kern="1200">
                <a:solidFill>
                  <a:schemeClr val="tx1"/>
                </a:solidFill>
                <a:latin typeface="+mn-lt"/>
                <a:ea typeface="+mn-ea"/>
                <a:cs typeface="+mn-cs"/>
              </a:defRPr>
            </a:lvl9pPr>
          </a:lstStyle>
          <a:p>
            <a:pPr marL="0" indent="0">
              <a:buNone/>
            </a:pPr>
            <a:r>
              <a:rPr lang="es-ES_tradnl" sz="2000">
                <a:latin typeface="Lato Light" panose="020F0502020204030203" pitchFamily="34" charset="0"/>
                <a:ea typeface="Lato Light" panose="020F0502020204030203" pitchFamily="34" charset="0"/>
                <a:cs typeface="Lato Light" panose="020F0502020204030203" pitchFamily="34" charset="0"/>
              </a:rPr>
              <a:t>Noviembre 2023</a:t>
            </a:r>
          </a:p>
        </p:txBody>
      </p:sp>
      <p:sp>
        <p:nvSpPr>
          <p:cNvPr id="219" name="Freihandform: Form 218">
            <a:extLst>
              <a:ext uri="{FF2B5EF4-FFF2-40B4-BE49-F238E27FC236}">
                <a16:creationId xmlns:a16="http://schemas.microsoft.com/office/drawing/2014/main" id="{160AAE31-A1A8-41D2-B9A7-AE3A97A23B09}"/>
              </a:ext>
            </a:extLst>
          </p:cNvPr>
          <p:cNvSpPr/>
          <p:nvPr/>
        </p:nvSpPr>
        <p:spPr>
          <a:xfrm>
            <a:off x="8018304" y="4848334"/>
            <a:ext cx="196724" cy="128042"/>
          </a:xfrm>
          <a:custGeom>
            <a:avLst/>
            <a:gdLst>
              <a:gd name="connsiteX0" fmla="*/ 0 w 196724"/>
              <a:gd name="connsiteY0" fmla="*/ 128042 h 128042"/>
              <a:gd name="connsiteX1" fmla="*/ 3643 w 196724"/>
              <a:gd name="connsiteY1" fmla="*/ 109827 h 128042"/>
              <a:gd name="connsiteX2" fmla="*/ 14572 w 196724"/>
              <a:gd name="connsiteY2" fmla="*/ 102541 h 128042"/>
              <a:gd name="connsiteX3" fmla="*/ 21859 w 196724"/>
              <a:gd name="connsiteY3" fmla="*/ 91612 h 128042"/>
              <a:gd name="connsiteX4" fmla="*/ 32788 w 196724"/>
              <a:gd name="connsiteY4" fmla="*/ 87969 h 128042"/>
              <a:gd name="connsiteX5" fmla="*/ 76504 w 196724"/>
              <a:gd name="connsiteY5" fmla="*/ 84326 h 128042"/>
              <a:gd name="connsiteX6" fmla="*/ 54646 w 196724"/>
              <a:gd name="connsiteY6" fmla="*/ 51539 h 128042"/>
              <a:gd name="connsiteX7" fmla="*/ 58289 w 196724"/>
              <a:gd name="connsiteY7" fmla="*/ 26037 h 128042"/>
              <a:gd name="connsiteX8" fmla="*/ 69218 w 196724"/>
              <a:gd name="connsiteY8" fmla="*/ 22394 h 128042"/>
              <a:gd name="connsiteX9" fmla="*/ 80147 w 196724"/>
              <a:gd name="connsiteY9" fmla="*/ 11465 h 128042"/>
              <a:gd name="connsiteX10" fmla="*/ 87433 w 196724"/>
              <a:gd name="connsiteY10" fmla="*/ 536 h 128042"/>
              <a:gd name="connsiteX11" fmla="*/ 131149 w 196724"/>
              <a:gd name="connsiteY11" fmla="*/ 4179 h 128042"/>
              <a:gd name="connsiteX12" fmla="*/ 196724 w 196724"/>
              <a:gd name="connsiteY12" fmla="*/ 11465 h 12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24" h="128042">
                <a:moveTo>
                  <a:pt x="0" y="128042"/>
                </a:moveTo>
                <a:cubicBezTo>
                  <a:pt x="1214" y="121970"/>
                  <a:pt x="571" y="115203"/>
                  <a:pt x="3643" y="109827"/>
                </a:cubicBezTo>
                <a:cubicBezTo>
                  <a:pt x="5815" y="106026"/>
                  <a:pt x="11476" y="105637"/>
                  <a:pt x="14572" y="102541"/>
                </a:cubicBezTo>
                <a:cubicBezTo>
                  <a:pt x="17668" y="99445"/>
                  <a:pt x="18440" y="94347"/>
                  <a:pt x="21859" y="91612"/>
                </a:cubicBezTo>
                <a:cubicBezTo>
                  <a:pt x="24858" y="89213"/>
                  <a:pt x="28982" y="88477"/>
                  <a:pt x="32788" y="87969"/>
                </a:cubicBezTo>
                <a:cubicBezTo>
                  <a:pt x="47282" y="86036"/>
                  <a:pt x="61932" y="85540"/>
                  <a:pt x="76504" y="84326"/>
                </a:cubicBezTo>
                <a:cubicBezTo>
                  <a:pt x="72765" y="79652"/>
                  <a:pt x="55474" y="60646"/>
                  <a:pt x="54646" y="51539"/>
                </a:cubicBezTo>
                <a:cubicBezTo>
                  <a:pt x="53869" y="42987"/>
                  <a:pt x="54449" y="33717"/>
                  <a:pt x="58289" y="26037"/>
                </a:cubicBezTo>
                <a:cubicBezTo>
                  <a:pt x="60006" y="22602"/>
                  <a:pt x="65575" y="23608"/>
                  <a:pt x="69218" y="22394"/>
                </a:cubicBezTo>
                <a:cubicBezTo>
                  <a:pt x="72861" y="18751"/>
                  <a:pt x="76849" y="15423"/>
                  <a:pt x="80147" y="11465"/>
                </a:cubicBezTo>
                <a:cubicBezTo>
                  <a:pt x="82950" y="8101"/>
                  <a:pt x="83099" y="1155"/>
                  <a:pt x="87433" y="536"/>
                </a:cubicBezTo>
                <a:cubicBezTo>
                  <a:pt x="101909" y="-1532"/>
                  <a:pt x="116577" y="2965"/>
                  <a:pt x="131149" y="4179"/>
                </a:cubicBezTo>
                <a:cubicBezTo>
                  <a:pt x="172075" y="14410"/>
                  <a:pt x="150280" y="11465"/>
                  <a:pt x="196724" y="11465"/>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itel 2">
            <a:extLst>
              <a:ext uri="{FF2B5EF4-FFF2-40B4-BE49-F238E27FC236}">
                <a16:creationId xmlns:a16="http://schemas.microsoft.com/office/drawing/2014/main" id="{5B7627CB-5FEA-074E-38DE-4986255A027C}"/>
              </a:ext>
            </a:extLst>
          </p:cNvPr>
          <p:cNvSpPr txBox="1">
            <a:spLocks/>
          </p:cNvSpPr>
          <p:nvPr/>
        </p:nvSpPr>
        <p:spPr bwMode="gray">
          <a:xfrm>
            <a:off x="431371" y="332656"/>
            <a:ext cx="9769085" cy="369332"/>
          </a:xfrm>
          <a:prstGeom prst="rect">
            <a:avLst/>
          </a:prstGeom>
        </p:spPr>
        <p:txBody>
          <a:bodyPr vert="horz" wrap="square" lIns="0" tIns="0" rIns="0" bIns="0" rtlCol="0" anchor="t">
            <a:spAutoFit/>
          </a:bodyPr>
          <a:lstStyle>
            <a:lvl1pPr algn="l" defTabSz="914400" rtl="0" eaLnBrk="1" latinLnBrk="0" hangingPunct="1">
              <a:lnSpc>
                <a:spcPct val="100000"/>
              </a:lnSpc>
              <a:spcBef>
                <a:spcPct val="0"/>
              </a:spcBef>
              <a:buNone/>
              <a:defRPr sz="2400" b="0" kern="1200">
                <a:solidFill>
                  <a:schemeClr val="tx1"/>
                </a:solidFill>
                <a:latin typeface="+mj-lt"/>
                <a:ea typeface="+mj-ea"/>
                <a:cs typeface="+mj-cs"/>
              </a:defRPr>
            </a:lvl1pPr>
          </a:lstStyle>
          <a:p>
            <a:r>
              <a:rPr lang="es-ES_tradnl" dirty="0"/>
              <a:t>Expectativas económicas | </a:t>
            </a:r>
            <a:r>
              <a:rPr lang="es-ES_tradnl" b="1" dirty="0"/>
              <a:t>Prosigue la mejoría</a:t>
            </a:r>
          </a:p>
        </p:txBody>
      </p:sp>
      <p:cxnSp>
        <p:nvCxnSpPr>
          <p:cNvPr id="9" name="Gerade Verbindung 907">
            <a:extLst>
              <a:ext uri="{FF2B5EF4-FFF2-40B4-BE49-F238E27FC236}">
                <a16:creationId xmlns:a16="http://schemas.microsoft.com/office/drawing/2014/main" id="{966AACBD-48A4-B1DC-38C6-56B9712149BE}"/>
              </a:ext>
            </a:extLst>
          </p:cNvPr>
          <p:cNvCxnSpPr>
            <a:cxnSpLocks/>
          </p:cNvCxnSpPr>
          <p:nvPr>
            <p:custDataLst>
              <p:tags r:id="rId57"/>
            </p:custDataLst>
          </p:nvPr>
        </p:nvCxnSpPr>
        <p:spPr bwMode="gray">
          <a:xfrm>
            <a:off x="1025138" y="3140968"/>
            <a:ext cx="1486335"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0" name="Rechteck 465">
            <a:extLst>
              <a:ext uri="{FF2B5EF4-FFF2-40B4-BE49-F238E27FC236}">
                <a16:creationId xmlns:a16="http://schemas.microsoft.com/office/drawing/2014/main" id="{5F4C8801-B22C-5DAF-BEC1-390836B8F511}"/>
              </a:ext>
            </a:extLst>
          </p:cNvPr>
          <p:cNvSpPr/>
          <p:nvPr>
            <p:custDataLst>
              <p:tags r:id="rId58"/>
            </p:custDataLst>
          </p:nvPr>
        </p:nvSpPr>
        <p:spPr bwMode="gray">
          <a:xfrm>
            <a:off x="1024935" y="2180872"/>
            <a:ext cx="74317" cy="96000"/>
          </a:xfrm>
          <a:prstGeom prst="rect">
            <a:avLst/>
          </a:prstGeom>
          <a:solidFill>
            <a:srgbClr val="24892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88000" tIns="60960" rIns="0" bIns="60960" numCol="1" spcCol="0" rtlCol="0" fromWordArt="0" anchor="ctr" anchorCtr="0" forceAA="0" compatLnSpc="1">
            <a:prstTxWarp prst="textNoShape">
              <a:avLst/>
            </a:prstTxWarp>
            <a:noAutofit/>
          </a:bodyPr>
          <a:lstStyle/>
          <a:p>
            <a:pPr>
              <a:spcBef>
                <a:spcPts val="400"/>
              </a:spcBef>
            </a:pPr>
            <a:r>
              <a:rPr lang="es-ES_tradnl" sz="1100" dirty="0">
                <a:solidFill>
                  <a:schemeClr val="tx1"/>
                </a:solidFill>
                <a:cs typeface="Arial" pitchFamily="34" charset="0"/>
              </a:rPr>
              <a:t>Indicador &gt; +20</a:t>
            </a:r>
          </a:p>
        </p:txBody>
      </p:sp>
      <p:sp>
        <p:nvSpPr>
          <p:cNvPr id="11" name="Rechteck 466">
            <a:extLst>
              <a:ext uri="{FF2B5EF4-FFF2-40B4-BE49-F238E27FC236}">
                <a16:creationId xmlns:a16="http://schemas.microsoft.com/office/drawing/2014/main" id="{E18AF7E0-6B4C-FDD5-355C-44CC9E1B108C}"/>
              </a:ext>
            </a:extLst>
          </p:cNvPr>
          <p:cNvSpPr/>
          <p:nvPr>
            <p:custDataLst>
              <p:tags r:id="rId59"/>
            </p:custDataLst>
          </p:nvPr>
        </p:nvSpPr>
        <p:spPr bwMode="gray">
          <a:xfrm>
            <a:off x="1024935" y="2420899"/>
            <a:ext cx="74317" cy="96000"/>
          </a:xfrm>
          <a:prstGeom prst="rect">
            <a:avLst/>
          </a:prstGeom>
          <a:solidFill>
            <a:srgbClr val="73C37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88000" tIns="60960" rIns="0" bIns="60960" numCol="1" spcCol="0" rtlCol="0" fromWordArt="0" anchor="ctr" anchorCtr="0" forceAA="0" compatLnSpc="1">
            <a:prstTxWarp prst="textNoShape">
              <a:avLst/>
            </a:prstTxWarp>
            <a:noAutofit/>
          </a:bodyPr>
          <a:lstStyle/>
          <a:p>
            <a:pPr>
              <a:spcBef>
                <a:spcPts val="400"/>
              </a:spcBef>
            </a:pPr>
            <a:r>
              <a:rPr lang="es-ES_tradnl" sz="1100" dirty="0">
                <a:solidFill>
                  <a:schemeClr val="tx1"/>
                </a:solidFill>
                <a:cs typeface="Arial" pitchFamily="34" charset="0"/>
              </a:rPr>
              <a:t>Indicador 0 a +20</a:t>
            </a:r>
          </a:p>
        </p:txBody>
      </p:sp>
      <p:sp>
        <p:nvSpPr>
          <p:cNvPr id="12" name="Rechteck 467">
            <a:extLst>
              <a:ext uri="{FF2B5EF4-FFF2-40B4-BE49-F238E27FC236}">
                <a16:creationId xmlns:a16="http://schemas.microsoft.com/office/drawing/2014/main" id="{88ADB15B-8BB8-F513-CC6F-4427F6313BE3}"/>
              </a:ext>
            </a:extLst>
          </p:cNvPr>
          <p:cNvSpPr/>
          <p:nvPr>
            <p:custDataLst>
              <p:tags r:id="rId60"/>
            </p:custDataLst>
          </p:nvPr>
        </p:nvSpPr>
        <p:spPr bwMode="gray">
          <a:xfrm>
            <a:off x="1024935" y="2660925"/>
            <a:ext cx="74317" cy="96000"/>
          </a:xfrm>
          <a:prstGeom prst="rect">
            <a:avLst/>
          </a:prstGeom>
          <a:solidFill>
            <a:srgbClr val="CBA6A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88000" tIns="60960" rIns="0" bIns="60960" numCol="1" spcCol="0" rtlCol="0" fromWordArt="0" anchor="ctr" anchorCtr="0" forceAA="0" compatLnSpc="1">
            <a:prstTxWarp prst="textNoShape">
              <a:avLst/>
            </a:prstTxWarp>
            <a:noAutofit/>
          </a:bodyPr>
          <a:lstStyle/>
          <a:p>
            <a:pPr>
              <a:spcBef>
                <a:spcPts val="400"/>
              </a:spcBef>
            </a:pPr>
            <a:r>
              <a:rPr lang="es-ES_tradnl" sz="1100">
                <a:solidFill>
                  <a:schemeClr val="tx1"/>
                </a:solidFill>
                <a:cs typeface="Arial" pitchFamily="34" charset="0"/>
              </a:rPr>
              <a:t>Indicador 0 a -20</a:t>
            </a:r>
          </a:p>
        </p:txBody>
      </p:sp>
      <p:sp>
        <p:nvSpPr>
          <p:cNvPr id="13" name="Rechteck 468">
            <a:extLst>
              <a:ext uri="{FF2B5EF4-FFF2-40B4-BE49-F238E27FC236}">
                <a16:creationId xmlns:a16="http://schemas.microsoft.com/office/drawing/2014/main" id="{77A8D782-4BA7-F00C-07D7-C869DC1C2A05}"/>
              </a:ext>
            </a:extLst>
          </p:cNvPr>
          <p:cNvSpPr/>
          <p:nvPr>
            <p:custDataLst>
              <p:tags r:id="rId61"/>
            </p:custDataLst>
          </p:nvPr>
        </p:nvSpPr>
        <p:spPr bwMode="gray">
          <a:xfrm>
            <a:off x="1025229" y="2900941"/>
            <a:ext cx="74317" cy="96000"/>
          </a:xfrm>
          <a:prstGeom prst="rect">
            <a:avLst/>
          </a:prstGeom>
          <a:solidFill>
            <a:srgbClr val="9B000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88000" tIns="60960" rIns="0" bIns="60960" numCol="1" spcCol="0" rtlCol="0" fromWordArt="0" anchor="ctr" anchorCtr="0" forceAA="0" compatLnSpc="1">
            <a:prstTxWarp prst="textNoShape">
              <a:avLst/>
            </a:prstTxWarp>
            <a:noAutofit/>
          </a:bodyPr>
          <a:lstStyle/>
          <a:p>
            <a:pPr>
              <a:spcBef>
                <a:spcPts val="400"/>
              </a:spcBef>
            </a:pPr>
            <a:r>
              <a:rPr lang="es-ES_tradnl" sz="1100">
                <a:solidFill>
                  <a:schemeClr val="tx1"/>
                </a:solidFill>
                <a:cs typeface="Arial" pitchFamily="34" charset="0"/>
              </a:rPr>
              <a:t>Indicador &lt; -20</a:t>
            </a:r>
          </a:p>
        </p:txBody>
      </p:sp>
      <p:sp>
        <p:nvSpPr>
          <p:cNvPr id="15" name="Textfeld 201">
            <a:extLst>
              <a:ext uri="{FF2B5EF4-FFF2-40B4-BE49-F238E27FC236}">
                <a16:creationId xmlns:a16="http://schemas.microsoft.com/office/drawing/2014/main" id="{20C58903-21B7-845A-AAF0-BA3ABC84F6F8}"/>
              </a:ext>
            </a:extLst>
          </p:cNvPr>
          <p:cNvSpPr txBox="1"/>
          <p:nvPr/>
        </p:nvSpPr>
        <p:spPr>
          <a:xfrm>
            <a:off x="1022457" y="1810352"/>
            <a:ext cx="914400" cy="284281"/>
          </a:xfrm>
          <a:prstGeom prst="rect">
            <a:avLst/>
          </a:prstGeom>
          <a:noFill/>
        </p:spPr>
        <p:txBody>
          <a:bodyPr wrap="none" lIns="0" tIns="0" rIns="0" bIns="0" rtlCol="0">
            <a:noAutofit/>
          </a:bodyPr>
          <a:lstStyle/>
          <a:p>
            <a:pPr>
              <a:lnSpc>
                <a:spcPct val="125000"/>
              </a:lnSpc>
              <a:buClr>
                <a:schemeClr val="tx2"/>
              </a:buClr>
            </a:pPr>
            <a:r>
              <a:rPr lang="es-ES_tradnl" sz="1100" dirty="0"/>
              <a:t>Nivel del indicador:</a:t>
            </a:r>
          </a:p>
        </p:txBody>
      </p:sp>
      <p:sp>
        <p:nvSpPr>
          <p:cNvPr id="16" name="Rechteck 388">
            <a:extLst>
              <a:ext uri="{FF2B5EF4-FFF2-40B4-BE49-F238E27FC236}">
                <a16:creationId xmlns:a16="http://schemas.microsoft.com/office/drawing/2014/main" id="{ED900F9C-4321-A5DB-C947-D67F43C96169}"/>
              </a:ext>
            </a:extLst>
          </p:cNvPr>
          <p:cNvSpPr/>
          <p:nvPr>
            <p:custDataLst>
              <p:tags r:id="rId62"/>
            </p:custDataLst>
          </p:nvPr>
        </p:nvSpPr>
        <p:spPr bwMode="gray">
          <a:xfrm>
            <a:off x="1313127" y="4677133"/>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en-US" sz="1100" dirty="0">
                <a:solidFill>
                  <a:schemeClr val="tx1">
                    <a:lumMod val="65000"/>
                    <a:lumOff val="35000"/>
                  </a:schemeClr>
                </a:solidFill>
                <a:cs typeface="Arial" pitchFamily="34" charset="0"/>
                <a:sym typeface="Wingdings"/>
              </a:rPr>
              <a:t>&gt; +5</a:t>
            </a:r>
            <a:endParaRPr lang="en-US" sz="1100" dirty="0">
              <a:solidFill>
                <a:schemeClr val="tx1">
                  <a:lumMod val="65000"/>
                  <a:lumOff val="35000"/>
                </a:schemeClr>
              </a:solidFill>
              <a:cs typeface="Arial" pitchFamily="34" charset="0"/>
            </a:endParaRPr>
          </a:p>
        </p:txBody>
      </p:sp>
      <p:sp>
        <p:nvSpPr>
          <p:cNvPr id="17" name="Rechteck 176">
            <a:extLst>
              <a:ext uri="{FF2B5EF4-FFF2-40B4-BE49-F238E27FC236}">
                <a16:creationId xmlns:a16="http://schemas.microsoft.com/office/drawing/2014/main" id="{AB75AAA7-7629-6AAD-5924-7FBE84FC7D35}"/>
              </a:ext>
            </a:extLst>
          </p:cNvPr>
          <p:cNvSpPr/>
          <p:nvPr>
            <p:custDataLst>
              <p:tags r:id="rId63"/>
            </p:custDataLst>
          </p:nvPr>
        </p:nvSpPr>
        <p:spPr bwMode="gray">
          <a:xfrm>
            <a:off x="1313127" y="4965165"/>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de-DE" sz="1100" dirty="0">
                <a:solidFill>
                  <a:schemeClr val="tx1">
                    <a:lumMod val="65000"/>
                    <a:lumOff val="35000"/>
                  </a:schemeClr>
                </a:solidFill>
                <a:cs typeface="Arial" pitchFamily="34" charset="0"/>
                <a:sym typeface="Wingdings"/>
              </a:rPr>
              <a:t>+1 a +5</a:t>
            </a:r>
            <a:endParaRPr lang="de-DE" sz="1100" dirty="0">
              <a:solidFill>
                <a:schemeClr val="tx1">
                  <a:lumMod val="65000"/>
                  <a:lumOff val="35000"/>
                </a:schemeClr>
              </a:solidFill>
              <a:cs typeface="Arial" pitchFamily="34" charset="0"/>
            </a:endParaRPr>
          </a:p>
        </p:txBody>
      </p:sp>
      <p:sp>
        <p:nvSpPr>
          <p:cNvPr id="18" name="Rechteck 177">
            <a:extLst>
              <a:ext uri="{FF2B5EF4-FFF2-40B4-BE49-F238E27FC236}">
                <a16:creationId xmlns:a16="http://schemas.microsoft.com/office/drawing/2014/main" id="{19E86F49-CBC2-B3F7-07B3-BBF3CADAE49C}"/>
              </a:ext>
            </a:extLst>
          </p:cNvPr>
          <p:cNvSpPr/>
          <p:nvPr>
            <p:custDataLst>
              <p:tags r:id="rId64"/>
            </p:custDataLst>
          </p:nvPr>
        </p:nvSpPr>
        <p:spPr bwMode="gray">
          <a:xfrm>
            <a:off x="1313127" y="5253229"/>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de-DE" sz="1100" dirty="0">
                <a:solidFill>
                  <a:schemeClr val="tx1">
                    <a:lumMod val="65000"/>
                    <a:lumOff val="35000"/>
                  </a:schemeClr>
                </a:solidFill>
                <a:cs typeface="Arial" pitchFamily="34" charset="0"/>
                <a:sym typeface="Wingdings"/>
              </a:rPr>
              <a:t>-1 a +1</a:t>
            </a:r>
            <a:endParaRPr lang="de-DE" sz="1100" dirty="0">
              <a:solidFill>
                <a:schemeClr val="tx1">
                  <a:lumMod val="65000"/>
                  <a:lumOff val="35000"/>
                </a:schemeClr>
              </a:solidFill>
              <a:cs typeface="Arial" pitchFamily="34" charset="0"/>
            </a:endParaRPr>
          </a:p>
        </p:txBody>
      </p:sp>
      <p:sp>
        <p:nvSpPr>
          <p:cNvPr id="19" name="Rechteck 178">
            <a:extLst>
              <a:ext uri="{FF2B5EF4-FFF2-40B4-BE49-F238E27FC236}">
                <a16:creationId xmlns:a16="http://schemas.microsoft.com/office/drawing/2014/main" id="{7E5A98F7-9FAE-E852-4379-1D4DDAF709F4}"/>
              </a:ext>
            </a:extLst>
          </p:cNvPr>
          <p:cNvSpPr/>
          <p:nvPr>
            <p:custDataLst>
              <p:tags r:id="rId65"/>
            </p:custDataLst>
          </p:nvPr>
        </p:nvSpPr>
        <p:spPr bwMode="gray">
          <a:xfrm>
            <a:off x="1313127" y="5541229"/>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de-DE" sz="1100" dirty="0">
                <a:solidFill>
                  <a:schemeClr val="tx1">
                    <a:lumMod val="65000"/>
                    <a:lumOff val="35000"/>
                  </a:schemeClr>
                </a:solidFill>
                <a:cs typeface="Arial" pitchFamily="34" charset="0"/>
                <a:sym typeface="Wingdings"/>
              </a:rPr>
              <a:t>-5 a -1</a:t>
            </a:r>
            <a:endParaRPr lang="de-DE" sz="1100" dirty="0">
              <a:solidFill>
                <a:schemeClr val="tx1">
                  <a:lumMod val="65000"/>
                  <a:lumOff val="35000"/>
                </a:schemeClr>
              </a:solidFill>
              <a:cs typeface="Arial" pitchFamily="34" charset="0"/>
            </a:endParaRPr>
          </a:p>
        </p:txBody>
      </p:sp>
      <p:sp>
        <p:nvSpPr>
          <p:cNvPr id="20" name="Rechteck 179">
            <a:extLst>
              <a:ext uri="{FF2B5EF4-FFF2-40B4-BE49-F238E27FC236}">
                <a16:creationId xmlns:a16="http://schemas.microsoft.com/office/drawing/2014/main" id="{A18FBD41-0AAE-60B2-D4B4-32DCD2F5036D}"/>
              </a:ext>
            </a:extLst>
          </p:cNvPr>
          <p:cNvSpPr/>
          <p:nvPr>
            <p:custDataLst>
              <p:tags r:id="rId66"/>
            </p:custDataLst>
          </p:nvPr>
        </p:nvSpPr>
        <p:spPr bwMode="gray">
          <a:xfrm>
            <a:off x="1313127" y="5829261"/>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en-US" sz="1100" dirty="0">
                <a:solidFill>
                  <a:schemeClr val="tx1">
                    <a:lumMod val="65000"/>
                    <a:lumOff val="35000"/>
                  </a:schemeClr>
                </a:solidFill>
                <a:cs typeface="Arial" pitchFamily="34" charset="0"/>
                <a:sym typeface="Wingdings"/>
              </a:rPr>
              <a:t>&lt; -5</a:t>
            </a:r>
            <a:endParaRPr lang="en-US" sz="1100" dirty="0">
              <a:solidFill>
                <a:schemeClr val="tx1">
                  <a:lumMod val="65000"/>
                  <a:lumOff val="35000"/>
                </a:schemeClr>
              </a:solidFill>
              <a:cs typeface="Arial" pitchFamily="34" charset="0"/>
            </a:endParaRPr>
          </a:p>
        </p:txBody>
      </p:sp>
      <p:grpSp>
        <p:nvGrpSpPr>
          <p:cNvPr id="21" name="Gruppieren 184">
            <a:extLst>
              <a:ext uri="{FF2B5EF4-FFF2-40B4-BE49-F238E27FC236}">
                <a16:creationId xmlns:a16="http://schemas.microsoft.com/office/drawing/2014/main" id="{8D68BDF3-F9EB-2BD4-4640-1873111E9592}"/>
              </a:ext>
            </a:extLst>
          </p:cNvPr>
          <p:cNvGrpSpPr/>
          <p:nvPr>
            <p:custDataLst>
              <p:tags r:id="rId67"/>
            </p:custDataLst>
          </p:nvPr>
        </p:nvGrpSpPr>
        <p:grpSpPr bwMode="gray">
          <a:xfrm>
            <a:off x="1037417" y="4694964"/>
            <a:ext cx="144000" cy="144000"/>
            <a:chOff x="323548" y="3507850"/>
            <a:chExt cx="144000" cy="144000"/>
          </a:xfrm>
          <a:solidFill>
            <a:schemeClr val="bg2">
              <a:lumMod val="90000"/>
            </a:schemeClr>
          </a:solidFill>
        </p:grpSpPr>
        <p:sp>
          <p:nvSpPr>
            <p:cNvPr id="22" name="Ellipse 188">
              <a:extLst>
                <a:ext uri="{FF2B5EF4-FFF2-40B4-BE49-F238E27FC236}">
                  <a16:creationId xmlns:a16="http://schemas.microsoft.com/office/drawing/2014/main" id="{EAC895E3-5F49-F9D1-6267-0F63F7567E0C}"/>
                </a:ext>
              </a:extLst>
            </p:cNvPr>
            <p:cNvSpPr/>
            <p:nvPr>
              <p:custDataLst>
                <p:tags r:id="rId81"/>
              </p:custDataLst>
            </p:nvPr>
          </p:nvSpPr>
          <p:spPr bwMode="gray">
            <a:xfrm>
              <a:off x="323548" y="3507850"/>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23" name="Ellipse 189">
              <a:extLst>
                <a:ext uri="{FF2B5EF4-FFF2-40B4-BE49-F238E27FC236}">
                  <a16:creationId xmlns:a16="http://schemas.microsoft.com/office/drawing/2014/main" id="{591CCC46-F850-D01D-AE4F-D95BFC2BD78B}"/>
                </a:ext>
              </a:extLst>
            </p:cNvPr>
            <p:cNvSpPr/>
            <p:nvPr>
              <p:custDataLst>
                <p:tags r:id="rId82"/>
              </p:custDataLst>
            </p:nvPr>
          </p:nvSpPr>
          <p:spPr bwMode="gray">
            <a:xfrm>
              <a:off x="323548" y="3507850"/>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grpSp>
        <p:nvGrpSpPr>
          <p:cNvPr id="24" name="Gruppieren 190">
            <a:extLst>
              <a:ext uri="{FF2B5EF4-FFF2-40B4-BE49-F238E27FC236}">
                <a16:creationId xmlns:a16="http://schemas.microsoft.com/office/drawing/2014/main" id="{FF6A4861-7F4F-E86D-A3B3-B64DD0CB241A}"/>
              </a:ext>
            </a:extLst>
          </p:cNvPr>
          <p:cNvGrpSpPr/>
          <p:nvPr>
            <p:custDataLst>
              <p:tags r:id="rId68"/>
            </p:custDataLst>
          </p:nvPr>
        </p:nvGrpSpPr>
        <p:grpSpPr bwMode="gray">
          <a:xfrm>
            <a:off x="1037417" y="5855837"/>
            <a:ext cx="144000" cy="144000"/>
            <a:chOff x="323548" y="4371946"/>
            <a:chExt cx="144000" cy="144000"/>
          </a:xfrm>
          <a:solidFill>
            <a:schemeClr val="bg2">
              <a:lumMod val="90000"/>
            </a:schemeClr>
          </a:solidFill>
        </p:grpSpPr>
        <p:sp>
          <p:nvSpPr>
            <p:cNvPr id="25" name="Ellipse 192">
              <a:extLst>
                <a:ext uri="{FF2B5EF4-FFF2-40B4-BE49-F238E27FC236}">
                  <a16:creationId xmlns:a16="http://schemas.microsoft.com/office/drawing/2014/main" id="{4E414C8F-F33C-3A68-B5A7-97E0B4280F7A}"/>
                </a:ext>
              </a:extLst>
            </p:cNvPr>
            <p:cNvSpPr/>
            <p:nvPr>
              <p:custDataLst>
                <p:tags r:id="rId79"/>
              </p:custDataLst>
            </p:nvPr>
          </p:nvSpPr>
          <p:spPr bwMode="gray">
            <a:xfrm>
              <a:off x="323548" y="4371946"/>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26" name="Ellipse 194">
              <a:extLst>
                <a:ext uri="{FF2B5EF4-FFF2-40B4-BE49-F238E27FC236}">
                  <a16:creationId xmlns:a16="http://schemas.microsoft.com/office/drawing/2014/main" id="{5A61B21E-7127-E004-0412-D32DE9FC99CC}"/>
                </a:ext>
              </a:extLst>
            </p:cNvPr>
            <p:cNvSpPr/>
            <p:nvPr>
              <p:custDataLst>
                <p:tags r:id="rId80"/>
              </p:custDataLst>
            </p:nvPr>
          </p:nvSpPr>
          <p:spPr bwMode="gray">
            <a:xfrm>
              <a:off x="323548" y="4371946"/>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grpSp>
        <p:nvGrpSpPr>
          <p:cNvPr id="27" name="Gruppieren 195">
            <a:extLst>
              <a:ext uri="{FF2B5EF4-FFF2-40B4-BE49-F238E27FC236}">
                <a16:creationId xmlns:a16="http://schemas.microsoft.com/office/drawing/2014/main" id="{CDDD2148-9592-22A4-E53F-884ADA168D2E}"/>
              </a:ext>
            </a:extLst>
          </p:cNvPr>
          <p:cNvGrpSpPr/>
          <p:nvPr>
            <p:custDataLst>
              <p:tags r:id="rId69"/>
            </p:custDataLst>
          </p:nvPr>
        </p:nvGrpSpPr>
        <p:grpSpPr bwMode="gray">
          <a:xfrm>
            <a:off x="1037417" y="5565618"/>
            <a:ext cx="144000" cy="144000"/>
            <a:chOff x="323548" y="4155922"/>
            <a:chExt cx="144000" cy="144000"/>
          </a:xfrm>
          <a:solidFill>
            <a:schemeClr val="bg2">
              <a:lumMod val="90000"/>
            </a:schemeClr>
          </a:solidFill>
        </p:grpSpPr>
        <p:sp>
          <p:nvSpPr>
            <p:cNvPr id="28" name="Ellipse 206">
              <a:extLst>
                <a:ext uri="{FF2B5EF4-FFF2-40B4-BE49-F238E27FC236}">
                  <a16:creationId xmlns:a16="http://schemas.microsoft.com/office/drawing/2014/main" id="{5C67EA70-6047-A4DF-47FC-1FD2D04813D8}"/>
                </a:ext>
              </a:extLst>
            </p:cNvPr>
            <p:cNvSpPr/>
            <p:nvPr>
              <p:custDataLst>
                <p:tags r:id="rId77"/>
              </p:custDataLst>
            </p:nvPr>
          </p:nvSpPr>
          <p:spPr bwMode="gray">
            <a:xfrm>
              <a:off x="323548" y="4155922"/>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29" name="Ellipse 207">
              <a:extLst>
                <a:ext uri="{FF2B5EF4-FFF2-40B4-BE49-F238E27FC236}">
                  <a16:creationId xmlns:a16="http://schemas.microsoft.com/office/drawing/2014/main" id="{26E9331F-32BB-951A-61B2-4020491FA97B}"/>
                </a:ext>
              </a:extLst>
            </p:cNvPr>
            <p:cNvSpPr/>
            <p:nvPr>
              <p:custDataLst>
                <p:tags r:id="rId78"/>
              </p:custDataLst>
            </p:nvPr>
          </p:nvSpPr>
          <p:spPr bwMode="gray">
            <a:xfrm>
              <a:off x="323548" y="4155922"/>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grpSp>
        <p:nvGrpSpPr>
          <p:cNvPr id="30" name="Gruppieren 208">
            <a:extLst>
              <a:ext uri="{FF2B5EF4-FFF2-40B4-BE49-F238E27FC236}">
                <a16:creationId xmlns:a16="http://schemas.microsoft.com/office/drawing/2014/main" id="{2CDE3180-3695-33BE-B0A5-EDB851EE129C}"/>
              </a:ext>
            </a:extLst>
          </p:cNvPr>
          <p:cNvGrpSpPr/>
          <p:nvPr>
            <p:custDataLst>
              <p:tags r:id="rId70"/>
            </p:custDataLst>
          </p:nvPr>
        </p:nvGrpSpPr>
        <p:grpSpPr bwMode="gray">
          <a:xfrm>
            <a:off x="1037417" y="5275400"/>
            <a:ext cx="144000" cy="144000"/>
            <a:chOff x="323548" y="3939922"/>
            <a:chExt cx="144000" cy="144000"/>
          </a:xfrm>
          <a:solidFill>
            <a:schemeClr val="bg2">
              <a:lumMod val="90000"/>
            </a:schemeClr>
          </a:solidFill>
        </p:grpSpPr>
        <p:sp>
          <p:nvSpPr>
            <p:cNvPr id="31" name="Ellipse 209">
              <a:extLst>
                <a:ext uri="{FF2B5EF4-FFF2-40B4-BE49-F238E27FC236}">
                  <a16:creationId xmlns:a16="http://schemas.microsoft.com/office/drawing/2014/main" id="{95D09D26-1002-A3AE-6CA9-0AF2DB53FF3C}"/>
                </a:ext>
              </a:extLst>
            </p:cNvPr>
            <p:cNvSpPr/>
            <p:nvPr>
              <p:custDataLst>
                <p:tags r:id="rId75"/>
              </p:custDataLst>
            </p:nvPr>
          </p:nvSpPr>
          <p:spPr bwMode="gray">
            <a:xfrm>
              <a:off x="323548" y="3939922"/>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32" name="Ellipse 210">
              <a:extLst>
                <a:ext uri="{FF2B5EF4-FFF2-40B4-BE49-F238E27FC236}">
                  <a16:creationId xmlns:a16="http://schemas.microsoft.com/office/drawing/2014/main" id="{5E771230-B373-18CB-B3C0-F91C8FA1F236}"/>
                </a:ext>
              </a:extLst>
            </p:cNvPr>
            <p:cNvSpPr/>
            <p:nvPr>
              <p:custDataLst>
                <p:tags r:id="rId76"/>
              </p:custDataLst>
            </p:nvPr>
          </p:nvSpPr>
          <p:spPr bwMode="gray">
            <a:xfrm>
              <a:off x="323548" y="3939922"/>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grpSp>
        <p:nvGrpSpPr>
          <p:cNvPr id="33" name="Gruppieren 211">
            <a:extLst>
              <a:ext uri="{FF2B5EF4-FFF2-40B4-BE49-F238E27FC236}">
                <a16:creationId xmlns:a16="http://schemas.microsoft.com/office/drawing/2014/main" id="{6A5A05AC-CC66-1045-C1DB-AE4E89C21933}"/>
              </a:ext>
            </a:extLst>
          </p:cNvPr>
          <p:cNvGrpSpPr/>
          <p:nvPr>
            <p:custDataLst>
              <p:tags r:id="rId71"/>
            </p:custDataLst>
          </p:nvPr>
        </p:nvGrpSpPr>
        <p:grpSpPr bwMode="gray">
          <a:xfrm>
            <a:off x="1037417" y="4985182"/>
            <a:ext cx="144000" cy="144000"/>
            <a:chOff x="323548" y="3723874"/>
            <a:chExt cx="144000" cy="144000"/>
          </a:xfrm>
          <a:solidFill>
            <a:schemeClr val="bg2">
              <a:lumMod val="90000"/>
            </a:schemeClr>
          </a:solidFill>
        </p:grpSpPr>
        <p:sp>
          <p:nvSpPr>
            <p:cNvPr id="34" name="Ellipse 212">
              <a:extLst>
                <a:ext uri="{FF2B5EF4-FFF2-40B4-BE49-F238E27FC236}">
                  <a16:creationId xmlns:a16="http://schemas.microsoft.com/office/drawing/2014/main" id="{4ED52E69-5C62-3F32-BBB4-4E7B3309D046}"/>
                </a:ext>
              </a:extLst>
            </p:cNvPr>
            <p:cNvSpPr/>
            <p:nvPr>
              <p:custDataLst>
                <p:tags r:id="rId73"/>
              </p:custDataLst>
            </p:nvPr>
          </p:nvSpPr>
          <p:spPr bwMode="gray">
            <a:xfrm>
              <a:off x="323548" y="3723874"/>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35" name="Ellipse 213">
              <a:extLst>
                <a:ext uri="{FF2B5EF4-FFF2-40B4-BE49-F238E27FC236}">
                  <a16:creationId xmlns:a16="http://schemas.microsoft.com/office/drawing/2014/main" id="{49343903-0730-1193-32A9-EC3517407447}"/>
                </a:ext>
              </a:extLst>
            </p:cNvPr>
            <p:cNvSpPr/>
            <p:nvPr>
              <p:custDataLst>
                <p:tags r:id="rId74"/>
              </p:custDataLst>
            </p:nvPr>
          </p:nvSpPr>
          <p:spPr bwMode="gray">
            <a:xfrm>
              <a:off x="323548" y="3723874"/>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sp>
        <p:nvSpPr>
          <p:cNvPr id="36" name="Rechteck 236">
            <a:extLst>
              <a:ext uri="{FF2B5EF4-FFF2-40B4-BE49-F238E27FC236}">
                <a16:creationId xmlns:a16="http://schemas.microsoft.com/office/drawing/2014/main" id="{C073795C-C45D-3D0D-9A7F-211FA0FA40F5}"/>
              </a:ext>
            </a:extLst>
          </p:cNvPr>
          <p:cNvSpPr/>
          <p:nvPr>
            <p:custDataLst>
              <p:tags r:id="rId72"/>
            </p:custDataLst>
          </p:nvPr>
        </p:nvSpPr>
        <p:spPr bwMode="gray">
          <a:xfrm>
            <a:off x="984612" y="4118266"/>
            <a:ext cx="1759701" cy="4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s-ES_tradnl" sz="1100" dirty="0">
                <a:solidFill>
                  <a:schemeClr val="tx1"/>
                </a:solidFill>
                <a:cs typeface="Arial" pitchFamily="34" charset="0"/>
                <a:sym typeface="Wingdings"/>
              </a:rPr>
              <a:t>Variación:</a:t>
            </a:r>
          </a:p>
          <a:p>
            <a:r>
              <a:rPr lang="es-ES_tradnl" sz="1100" dirty="0">
                <a:solidFill>
                  <a:schemeClr val="tx1"/>
                </a:solidFill>
                <a:cs typeface="Arial" pitchFamily="34" charset="0"/>
                <a:sym typeface="Wingdings"/>
              </a:rPr>
              <a:t>Noviembre 2023 vs. Octubre 2023  </a:t>
            </a:r>
            <a:endParaRPr lang="es-ES_tradnl" sz="1100" dirty="0">
              <a:solidFill>
                <a:schemeClr val="tx1"/>
              </a:solidFill>
              <a:cs typeface="Arial" pitchFamily="34" charset="0"/>
            </a:endParaRPr>
          </a:p>
        </p:txBody>
      </p:sp>
      <p:sp>
        <p:nvSpPr>
          <p:cNvPr id="37" name="Rechteck 13">
            <a:extLst>
              <a:ext uri="{FF2B5EF4-FFF2-40B4-BE49-F238E27FC236}">
                <a16:creationId xmlns:a16="http://schemas.microsoft.com/office/drawing/2014/main" id="{49ADB108-B865-6377-09DD-D4298B28271C}"/>
              </a:ext>
            </a:extLst>
          </p:cNvPr>
          <p:cNvSpPr/>
          <p:nvPr/>
        </p:nvSpPr>
        <p:spPr bwMode="gray">
          <a:xfrm>
            <a:off x="1023888" y="6597368"/>
            <a:ext cx="7056000" cy="144000"/>
          </a:xfrm>
          <a:prstGeom prst="rect">
            <a:avLst/>
          </a:prstGeom>
          <a:no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s-ES_tradnl" sz="800" dirty="0">
                <a:solidFill>
                  <a:srgbClr val="8E8581"/>
                </a:solidFill>
                <a:latin typeface="Arial" pitchFamily="34" charset="0"/>
                <a:cs typeface="Arial" pitchFamily="34" charset="0"/>
              </a:rPr>
              <a:t>Fuente</a:t>
            </a:r>
            <a:r>
              <a:rPr kumimoji="0" lang="es-ES_tradnl" sz="800" b="0" i="0" u="none" strike="noStrike" kern="1200" cap="none" spc="0" normalizeH="0" baseline="0" noProof="0" dirty="0">
                <a:ln>
                  <a:noFill/>
                </a:ln>
                <a:solidFill>
                  <a:srgbClr val="8E8581"/>
                </a:solidFill>
                <a:effectLst/>
                <a:uLnTx/>
                <a:uFillTx/>
                <a:latin typeface="Arial" pitchFamily="34" charset="0"/>
                <a:ea typeface="+mn-ea"/>
                <a:cs typeface="Arial" pitchFamily="34" charset="0"/>
              </a:rPr>
              <a:t>: GfK Euro Clima </a:t>
            </a:r>
            <a:r>
              <a:rPr kumimoji="0" lang="es-ES_tradnl" sz="800" b="0" i="1" u="none" strike="noStrike" kern="1200" cap="none" spc="0" normalizeH="0" baseline="0" noProof="0" dirty="0" err="1">
                <a:ln>
                  <a:noFill/>
                </a:ln>
                <a:solidFill>
                  <a:srgbClr val="8E8581"/>
                </a:solidFill>
                <a:effectLst/>
                <a:uLnTx/>
                <a:uFillTx/>
                <a:latin typeface="Arial" pitchFamily="34" charset="0"/>
                <a:ea typeface="+mn-ea"/>
                <a:cs typeface="Arial" pitchFamily="34" charset="0"/>
              </a:rPr>
              <a:t>powered</a:t>
            </a:r>
            <a:r>
              <a:rPr kumimoji="0" lang="es-ES_tradnl" sz="800" b="0" i="1" u="none" strike="noStrike" kern="1200" cap="none" spc="0" normalizeH="0" baseline="0" noProof="0" dirty="0">
                <a:ln>
                  <a:noFill/>
                </a:ln>
                <a:solidFill>
                  <a:srgbClr val="8E8581"/>
                </a:solidFill>
                <a:effectLst/>
                <a:uLnTx/>
                <a:uFillTx/>
                <a:latin typeface="Arial" pitchFamily="34" charset="0"/>
                <a:ea typeface="+mn-ea"/>
                <a:cs typeface="Arial" pitchFamily="34" charset="0"/>
              </a:rPr>
              <a:t> </a:t>
            </a:r>
            <a:r>
              <a:rPr kumimoji="0" lang="es-ES_tradnl" sz="800" b="0" i="1" u="none" strike="noStrike" kern="1200" cap="none" spc="0" normalizeH="0" baseline="0" noProof="0" dirty="0" err="1">
                <a:ln>
                  <a:noFill/>
                </a:ln>
                <a:solidFill>
                  <a:srgbClr val="8E8581"/>
                </a:solidFill>
                <a:effectLst/>
                <a:uLnTx/>
                <a:uFillTx/>
                <a:latin typeface="Arial" pitchFamily="34" charset="0"/>
                <a:ea typeface="+mn-ea"/>
                <a:cs typeface="Arial" pitchFamily="34" charset="0"/>
              </a:rPr>
              <a:t>by</a:t>
            </a:r>
            <a:r>
              <a:rPr kumimoji="0" lang="es-ES_tradnl" sz="800" b="0" i="0" u="none" strike="noStrike" kern="1200" cap="none" spc="0" normalizeH="0" baseline="0" noProof="0" dirty="0">
                <a:ln>
                  <a:noFill/>
                </a:ln>
                <a:solidFill>
                  <a:srgbClr val="8E8581"/>
                </a:solidFill>
                <a:effectLst/>
                <a:uLnTx/>
                <a:uFillTx/>
                <a:latin typeface="Arial" pitchFamily="34" charset="0"/>
                <a:ea typeface="+mn-ea"/>
                <a:cs typeface="Arial" pitchFamily="34" charset="0"/>
              </a:rPr>
              <a:t> NIM, estudio por encargo de la Comisión EU | Diciembre 2023 | valores redondeados</a:t>
            </a:r>
          </a:p>
        </p:txBody>
      </p:sp>
    </p:spTree>
    <p:custDataLst>
      <p:tags r:id="rId1"/>
    </p:custDataLst>
    <p:extLst>
      <p:ext uri="{BB962C8B-B14F-4D97-AF65-F5344CB8AC3E}">
        <p14:creationId xmlns:p14="http://schemas.microsoft.com/office/powerpoint/2010/main" val="764367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7" name="Objekt 216"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Folie" r:id="rId155" imgW="270" imgH="270" progId="TCLayout.ActiveDocument.1">
                  <p:embed/>
                </p:oleObj>
              </mc:Choice>
              <mc:Fallback>
                <p:oleObj name="think-cell Folie" r:id="rId155" imgW="270" imgH="270" progId="TCLayout.ActiveDocument.1">
                  <p:embed/>
                  <p:pic>
                    <p:nvPicPr>
                      <p:cNvPr id="217" name="Objekt 216" hidden="1"/>
                      <p:cNvPicPr/>
                      <p:nvPr/>
                    </p:nvPicPr>
                    <p:blipFill>
                      <a:blip r:embed="rId156"/>
                      <a:stretch>
                        <a:fillRect/>
                      </a:stretch>
                    </p:blipFill>
                    <p:spPr>
                      <a:xfrm>
                        <a:off x="2118" y="2118"/>
                        <a:ext cx="2116" cy="2116"/>
                      </a:xfrm>
                      <a:prstGeom prst="rect">
                        <a:avLst/>
                      </a:prstGeom>
                    </p:spPr>
                  </p:pic>
                </p:oleObj>
              </mc:Fallback>
            </mc:AlternateContent>
          </a:graphicData>
        </a:graphic>
      </p:graphicFrame>
      <p:sp>
        <p:nvSpPr>
          <p:cNvPr id="475" name="Rechteck 474"/>
          <p:cNvSpPr/>
          <p:nvPr>
            <p:custDataLst>
              <p:tags r:id="rId3"/>
            </p:custDataLst>
          </p:nvPr>
        </p:nvSpPr>
        <p:spPr bwMode="gray">
          <a:xfrm>
            <a:off x="1025322" y="3140968"/>
            <a:ext cx="2415070" cy="4800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0960" rIns="0" bIns="60960" numCol="1" spcCol="0" rtlCol="0" fromWordArt="0" anchor="ctr" anchorCtr="0" forceAA="0" compatLnSpc="1">
            <a:prstTxWarp prst="textNoShape">
              <a:avLst/>
            </a:prstTxWarp>
            <a:noAutofit/>
          </a:bodyPr>
          <a:lstStyle/>
          <a:p>
            <a:pPr>
              <a:spcBef>
                <a:spcPts val="400"/>
              </a:spcBef>
            </a:pPr>
            <a:r>
              <a:rPr lang="de-DE" sz="1400" b="1" dirty="0">
                <a:solidFill>
                  <a:schemeClr val="tx1"/>
                </a:solidFill>
                <a:cs typeface="Arial" pitchFamily="34" charset="0"/>
              </a:rPr>
              <a:t>Total UE: </a:t>
            </a:r>
            <a:r>
              <a:rPr lang="de-DE" sz="1400" b="1" dirty="0">
                <a:solidFill>
                  <a:srgbClr val="CBA6AB"/>
                </a:solidFill>
                <a:cs typeface="Arial" pitchFamily="34" charset="0"/>
              </a:rPr>
              <a:t>-13 </a:t>
            </a:r>
            <a:r>
              <a:rPr lang="de-DE" sz="1400" b="1" dirty="0">
                <a:solidFill>
                  <a:schemeClr val="tx1"/>
                </a:solidFill>
                <a:cs typeface="Arial" pitchFamily="34" charset="0"/>
              </a:rPr>
              <a:t>( +6     )</a:t>
            </a:r>
            <a:endParaRPr lang="de-DE" sz="1400" b="1" dirty="0">
              <a:solidFill>
                <a:srgbClr val="92A192"/>
              </a:solidFill>
              <a:cs typeface="Arial" pitchFamily="34" charset="0"/>
            </a:endParaRPr>
          </a:p>
        </p:txBody>
      </p:sp>
      <p:grpSp>
        <p:nvGrpSpPr>
          <p:cNvPr id="5" name="Group 4"/>
          <p:cNvGrpSpPr/>
          <p:nvPr/>
        </p:nvGrpSpPr>
        <p:grpSpPr>
          <a:xfrm>
            <a:off x="2879644" y="646642"/>
            <a:ext cx="8258657" cy="5925538"/>
            <a:chOff x="2159732" y="484981"/>
            <a:chExt cx="6193993" cy="4444153"/>
          </a:xfrm>
        </p:grpSpPr>
        <p:grpSp>
          <p:nvGrpSpPr>
            <p:cNvPr id="906" name="Gruppieren 905"/>
            <p:cNvGrpSpPr/>
            <p:nvPr>
              <p:custDataLst>
                <p:tags r:id="rId83"/>
              </p:custDataLst>
            </p:nvPr>
          </p:nvGrpSpPr>
          <p:grpSpPr bwMode="gray">
            <a:xfrm>
              <a:off x="2475495" y="484981"/>
              <a:ext cx="5878230" cy="4401337"/>
              <a:chOff x="2475495" y="484981"/>
              <a:chExt cx="5878230" cy="4401337"/>
            </a:xfrm>
          </p:grpSpPr>
          <p:sp>
            <p:nvSpPr>
              <p:cNvPr id="757" name="Freeform 65"/>
              <p:cNvSpPr>
                <a:spLocks/>
              </p:cNvSpPr>
              <p:nvPr>
                <p:custDataLst>
                  <p:tags r:id="rId122"/>
                </p:custDataLst>
              </p:nvPr>
            </p:nvSpPr>
            <p:spPr bwMode="gray">
              <a:xfrm>
                <a:off x="5352957" y="4203300"/>
                <a:ext cx="219644" cy="183710"/>
              </a:xfrm>
              <a:custGeom>
                <a:avLst/>
                <a:gdLst>
                  <a:gd name="T0" fmla="*/ 36 w 47"/>
                  <a:gd name="T1" fmla="*/ 2 h 40"/>
                  <a:gd name="T2" fmla="*/ 34 w 47"/>
                  <a:gd name="T3" fmla="*/ 0 h 40"/>
                  <a:gd name="T4" fmla="*/ 30 w 47"/>
                  <a:gd name="T5" fmla="*/ 1 h 40"/>
                  <a:gd name="T6" fmla="*/ 28 w 47"/>
                  <a:gd name="T7" fmla="*/ 1 h 40"/>
                  <a:gd name="T8" fmla="*/ 23 w 47"/>
                  <a:gd name="T9" fmla="*/ 2 h 40"/>
                  <a:gd name="T10" fmla="*/ 20 w 47"/>
                  <a:gd name="T11" fmla="*/ 3 h 40"/>
                  <a:gd name="T12" fmla="*/ 16 w 47"/>
                  <a:gd name="T13" fmla="*/ 5 h 40"/>
                  <a:gd name="T14" fmla="*/ 14 w 47"/>
                  <a:gd name="T15" fmla="*/ 6 h 40"/>
                  <a:gd name="T16" fmla="*/ 11 w 47"/>
                  <a:gd name="T17" fmla="*/ 5 h 40"/>
                  <a:gd name="T18" fmla="*/ 7 w 47"/>
                  <a:gd name="T19" fmla="*/ 8 h 40"/>
                  <a:gd name="T20" fmla="*/ 5 w 47"/>
                  <a:gd name="T21" fmla="*/ 13 h 40"/>
                  <a:gd name="T22" fmla="*/ 2 w 47"/>
                  <a:gd name="T23" fmla="*/ 17 h 40"/>
                  <a:gd name="T24" fmla="*/ 3 w 47"/>
                  <a:gd name="T25" fmla="*/ 21 h 40"/>
                  <a:gd name="T26" fmla="*/ 1 w 47"/>
                  <a:gd name="T27" fmla="*/ 24 h 40"/>
                  <a:gd name="T28" fmla="*/ 3 w 47"/>
                  <a:gd name="T29" fmla="*/ 28 h 40"/>
                  <a:gd name="T30" fmla="*/ 4 w 47"/>
                  <a:gd name="T31" fmla="*/ 32 h 40"/>
                  <a:gd name="T32" fmla="*/ 6 w 47"/>
                  <a:gd name="T33" fmla="*/ 36 h 40"/>
                  <a:gd name="T34" fmla="*/ 8 w 47"/>
                  <a:gd name="T35" fmla="*/ 39 h 40"/>
                  <a:gd name="T36" fmla="*/ 14 w 47"/>
                  <a:gd name="T37" fmla="*/ 40 h 40"/>
                  <a:gd name="T38" fmla="*/ 22 w 47"/>
                  <a:gd name="T39" fmla="*/ 39 h 40"/>
                  <a:gd name="T40" fmla="*/ 27 w 47"/>
                  <a:gd name="T41" fmla="*/ 36 h 40"/>
                  <a:gd name="T42" fmla="*/ 33 w 47"/>
                  <a:gd name="T43" fmla="*/ 33 h 40"/>
                  <a:gd name="T44" fmla="*/ 38 w 47"/>
                  <a:gd name="T45" fmla="*/ 32 h 40"/>
                  <a:gd name="T46" fmla="*/ 44 w 47"/>
                  <a:gd name="T47" fmla="*/ 30 h 40"/>
                  <a:gd name="T48" fmla="*/ 47 w 47"/>
                  <a:gd name="T49" fmla="*/ 26 h 40"/>
                  <a:gd name="T50" fmla="*/ 47 w 47"/>
                  <a:gd name="T51" fmla="*/ 17 h 40"/>
                  <a:gd name="T52" fmla="*/ 46 w 47"/>
                  <a:gd name="T53" fmla="*/ 10 h 40"/>
                  <a:gd name="T54" fmla="*/ 41 w 47"/>
                  <a:gd name="T55" fmla="*/ 8 h 40"/>
                  <a:gd name="T56" fmla="*/ 36 w 47"/>
                  <a:gd name="T57"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7" h="40">
                    <a:moveTo>
                      <a:pt x="36" y="2"/>
                    </a:moveTo>
                    <a:cubicBezTo>
                      <a:pt x="36" y="2"/>
                      <a:pt x="36" y="0"/>
                      <a:pt x="34" y="0"/>
                    </a:cubicBezTo>
                    <a:cubicBezTo>
                      <a:pt x="33" y="0"/>
                      <a:pt x="32" y="0"/>
                      <a:pt x="30" y="1"/>
                    </a:cubicBezTo>
                    <a:cubicBezTo>
                      <a:pt x="29" y="2"/>
                      <a:pt x="29" y="1"/>
                      <a:pt x="28" y="1"/>
                    </a:cubicBezTo>
                    <a:cubicBezTo>
                      <a:pt x="27" y="0"/>
                      <a:pt x="24" y="1"/>
                      <a:pt x="23" y="2"/>
                    </a:cubicBezTo>
                    <a:cubicBezTo>
                      <a:pt x="22" y="3"/>
                      <a:pt x="21" y="3"/>
                      <a:pt x="20" y="3"/>
                    </a:cubicBezTo>
                    <a:cubicBezTo>
                      <a:pt x="19" y="2"/>
                      <a:pt x="17" y="3"/>
                      <a:pt x="16" y="5"/>
                    </a:cubicBezTo>
                    <a:cubicBezTo>
                      <a:pt x="15" y="6"/>
                      <a:pt x="14" y="8"/>
                      <a:pt x="14" y="6"/>
                    </a:cubicBezTo>
                    <a:cubicBezTo>
                      <a:pt x="13" y="5"/>
                      <a:pt x="12" y="4"/>
                      <a:pt x="11" y="5"/>
                    </a:cubicBezTo>
                    <a:cubicBezTo>
                      <a:pt x="10" y="6"/>
                      <a:pt x="8" y="8"/>
                      <a:pt x="7" y="8"/>
                    </a:cubicBezTo>
                    <a:cubicBezTo>
                      <a:pt x="6" y="8"/>
                      <a:pt x="6" y="11"/>
                      <a:pt x="5" y="13"/>
                    </a:cubicBezTo>
                    <a:cubicBezTo>
                      <a:pt x="4" y="15"/>
                      <a:pt x="2" y="16"/>
                      <a:pt x="2" y="17"/>
                    </a:cubicBezTo>
                    <a:cubicBezTo>
                      <a:pt x="1" y="19"/>
                      <a:pt x="3" y="20"/>
                      <a:pt x="3" y="21"/>
                    </a:cubicBezTo>
                    <a:cubicBezTo>
                      <a:pt x="2" y="22"/>
                      <a:pt x="0" y="23"/>
                      <a:pt x="1" y="24"/>
                    </a:cubicBezTo>
                    <a:cubicBezTo>
                      <a:pt x="2" y="25"/>
                      <a:pt x="4" y="26"/>
                      <a:pt x="3" y="28"/>
                    </a:cubicBezTo>
                    <a:cubicBezTo>
                      <a:pt x="2" y="29"/>
                      <a:pt x="3" y="31"/>
                      <a:pt x="4" y="32"/>
                    </a:cubicBezTo>
                    <a:cubicBezTo>
                      <a:pt x="5" y="33"/>
                      <a:pt x="6" y="35"/>
                      <a:pt x="6" y="36"/>
                    </a:cubicBezTo>
                    <a:cubicBezTo>
                      <a:pt x="6" y="38"/>
                      <a:pt x="6" y="40"/>
                      <a:pt x="8" y="39"/>
                    </a:cubicBezTo>
                    <a:cubicBezTo>
                      <a:pt x="9" y="39"/>
                      <a:pt x="13" y="40"/>
                      <a:pt x="14" y="40"/>
                    </a:cubicBezTo>
                    <a:cubicBezTo>
                      <a:pt x="15" y="40"/>
                      <a:pt x="20" y="39"/>
                      <a:pt x="22" y="39"/>
                    </a:cubicBezTo>
                    <a:cubicBezTo>
                      <a:pt x="24" y="39"/>
                      <a:pt x="26" y="38"/>
                      <a:pt x="27" y="36"/>
                    </a:cubicBezTo>
                    <a:cubicBezTo>
                      <a:pt x="29" y="34"/>
                      <a:pt x="31" y="33"/>
                      <a:pt x="33" y="33"/>
                    </a:cubicBezTo>
                    <a:cubicBezTo>
                      <a:pt x="34" y="33"/>
                      <a:pt x="36" y="33"/>
                      <a:pt x="38" y="32"/>
                    </a:cubicBezTo>
                    <a:cubicBezTo>
                      <a:pt x="40" y="32"/>
                      <a:pt x="44" y="32"/>
                      <a:pt x="44" y="30"/>
                    </a:cubicBezTo>
                    <a:cubicBezTo>
                      <a:pt x="45" y="28"/>
                      <a:pt x="47" y="26"/>
                      <a:pt x="47" y="26"/>
                    </a:cubicBezTo>
                    <a:cubicBezTo>
                      <a:pt x="47" y="26"/>
                      <a:pt x="47" y="19"/>
                      <a:pt x="47" y="17"/>
                    </a:cubicBezTo>
                    <a:cubicBezTo>
                      <a:pt x="47" y="14"/>
                      <a:pt x="46" y="12"/>
                      <a:pt x="46" y="10"/>
                    </a:cubicBezTo>
                    <a:cubicBezTo>
                      <a:pt x="45" y="7"/>
                      <a:pt x="43" y="9"/>
                      <a:pt x="41" y="8"/>
                    </a:cubicBezTo>
                    <a:cubicBezTo>
                      <a:pt x="39" y="6"/>
                      <a:pt x="36" y="2"/>
                      <a:pt x="36" y="2"/>
                    </a:cubicBez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58" name="Freeform 66"/>
              <p:cNvSpPr>
                <a:spLocks/>
              </p:cNvSpPr>
              <p:nvPr>
                <p:custDataLst>
                  <p:tags r:id="rId123"/>
                </p:custDataLst>
              </p:nvPr>
            </p:nvSpPr>
            <p:spPr bwMode="gray">
              <a:xfrm>
                <a:off x="5258104" y="4162702"/>
                <a:ext cx="163122" cy="357609"/>
              </a:xfrm>
              <a:custGeom>
                <a:avLst/>
                <a:gdLst>
                  <a:gd name="T0" fmla="*/ 1 w 34"/>
                  <a:gd name="T1" fmla="*/ 23 h 86"/>
                  <a:gd name="T2" fmla="*/ 2 w 34"/>
                  <a:gd name="T3" fmla="*/ 24 h 86"/>
                  <a:gd name="T4" fmla="*/ 5 w 34"/>
                  <a:gd name="T5" fmla="*/ 27 h 86"/>
                  <a:gd name="T6" fmla="*/ 4 w 34"/>
                  <a:gd name="T7" fmla="*/ 33 h 86"/>
                  <a:gd name="T8" fmla="*/ 3 w 34"/>
                  <a:gd name="T9" fmla="*/ 37 h 86"/>
                  <a:gd name="T10" fmla="*/ 4 w 34"/>
                  <a:gd name="T11" fmla="*/ 39 h 86"/>
                  <a:gd name="T12" fmla="*/ 3 w 34"/>
                  <a:gd name="T13" fmla="*/ 44 h 86"/>
                  <a:gd name="T14" fmla="*/ 5 w 34"/>
                  <a:gd name="T15" fmla="*/ 47 h 86"/>
                  <a:gd name="T16" fmla="*/ 3 w 34"/>
                  <a:gd name="T17" fmla="*/ 49 h 86"/>
                  <a:gd name="T18" fmla="*/ 1 w 34"/>
                  <a:gd name="T19" fmla="*/ 54 h 86"/>
                  <a:gd name="T20" fmla="*/ 1 w 34"/>
                  <a:gd name="T21" fmla="*/ 57 h 86"/>
                  <a:gd name="T22" fmla="*/ 4 w 34"/>
                  <a:gd name="T23" fmla="*/ 61 h 86"/>
                  <a:gd name="T24" fmla="*/ 4 w 34"/>
                  <a:gd name="T25" fmla="*/ 63 h 86"/>
                  <a:gd name="T26" fmla="*/ 2 w 34"/>
                  <a:gd name="T27" fmla="*/ 63 h 86"/>
                  <a:gd name="T28" fmla="*/ 3 w 34"/>
                  <a:gd name="T29" fmla="*/ 67 h 86"/>
                  <a:gd name="T30" fmla="*/ 7 w 34"/>
                  <a:gd name="T31" fmla="*/ 70 h 86"/>
                  <a:gd name="T32" fmla="*/ 11 w 34"/>
                  <a:gd name="T33" fmla="*/ 72 h 86"/>
                  <a:gd name="T34" fmla="*/ 15 w 34"/>
                  <a:gd name="T35" fmla="*/ 79 h 86"/>
                  <a:gd name="T36" fmla="*/ 16 w 34"/>
                  <a:gd name="T37" fmla="*/ 84 h 86"/>
                  <a:gd name="T38" fmla="*/ 20 w 34"/>
                  <a:gd name="T39" fmla="*/ 83 h 86"/>
                  <a:gd name="T40" fmla="*/ 21 w 34"/>
                  <a:gd name="T41" fmla="*/ 77 h 86"/>
                  <a:gd name="T42" fmla="*/ 23 w 34"/>
                  <a:gd name="T43" fmla="*/ 72 h 86"/>
                  <a:gd name="T44" fmla="*/ 27 w 34"/>
                  <a:gd name="T45" fmla="*/ 71 h 86"/>
                  <a:gd name="T46" fmla="*/ 29 w 34"/>
                  <a:gd name="T47" fmla="*/ 64 h 86"/>
                  <a:gd name="T48" fmla="*/ 33 w 34"/>
                  <a:gd name="T49" fmla="*/ 59 h 86"/>
                  <a:gd name="T50" fmla="*/ 33 w 34"/>
                  <a:gd name="T51" fmla="*/ 52 h 86"/>
                  <a:gd name="T52" fmla="*/ 32 w 34"/>
                  <a:gd name="T53" fmla="*/ 50 h 86"/>
                  <a:gd name="T54" fmla="*/ 32 w 34"/>
                  <a:gd name="T55" fmla="*/ 50 h 86"/>
                  <a:gd name="T56" fmla="*/ 32 w 34"/>
                  <a:gd name="T57" fmla="*/ 50 h 86"/>
                  <a:gd name="T58" fmla="*/ 29 w 34"/>
                  <a:gd name="T59" fmla="*/ 49 h 86"/>
                  <a:gd name="T60" fmla="*/ 27 w 34"/>
                  <a:gd name="T61" fmla="*/ 46 h 86"/>
                  <a:gd name="T62" fmla="*/ 25 w 34"/>
                  <a:gd name="T63" fmla="*/ 42 h 86"/>
                  <a:gd name="T64" fmla="*/ 24 w 34"/>
                  <a:gd name="T65" fmla="*/ 38 h 86"/>
                  <a:gd name="T66" fmla="*/ 22 w 34"/>
                  <a:gd name="T67" fmla="*/ 34 h 86"/>
                  <a:gd name="T68" fmla="*/ 24 w 34"/>
                  <a:gd name="T69" fmla="*/ 31 h 86"/>
                  <a:gd name="T70" fmla="*/ 23 w 34"/>
                  <a:gd name="T71" fmla="*/ 27 h 86"/>
                  <a:gd name="T72" fmla="*/ 24 w 34"/>
                  <a:gd name="T73" fmla="*/ 25 h 86"/>
                  <a:gd name="T74" fmla="*/ 23 w 34"/>
                  <a:gd name="T75" fmla="*/ 16 h 86"/>
                  <a:gd name="T76" fmla="*/ 19 w 34"/>
                  <a:gd name="T77" fmla="*/ 12 h 86"/>
                  <a:gd name="T78" fmla="*/ 17 w 34"/>
                  <a:gd name="T79" fmla="*/ 9 h 86"/>
                  <a:gd name="T80" fmla="*/ 15 w 34"/>
                  <a:gd name="T81" fmla="*/ 5 h 86"/>
                  <a:gd name="T82" fmla="*/ 14 w 34"/>
                  <a:gd name="T83" fmla="*/ 2 h 86"/>
                  <a:gd name="T84" fmla="*/ 12 w 34"/>
                  <a:gd name="T85" fmla="*/ 6 h 86"/>
                  <a:gd name="T86" fmla="*/ 8 w 34"/>
                  <a:gd name="T87" fmla="*/ 4 h 86"/>
                  <a:gd name="T88" fmla="*/ 5 w 34"/>
                  <a:gd name="T89" fmla="*/ 3 h 86"/>
                  <a:gd name="T90" fmla="*/ 2 w 34"/>
                  <a:gd name="T91" fmla="*/ 10 h 86"/>
                  <a:gd name="T92" fmla="*/ 1 w 34"/>
                  <a:gd name="T93" fmla="*/ 19 h 86"/>
                  <a:gd name="T94" fmla="*/ 1 w 34"/>
                  <a:gd name="T95" fmla="*/ 23 h 86"/>
                  <a:gd name="connsiteX0" fmla="*/ 131 w 9673"/>
                  <a:gd name="connsiteY0" fmla="*/ 2506 h 9486"/>
                  <a:gd name="connsiteX1" fmla="*/ 425 w 9673"/>
                  <a:gd name="connsiteY1" fmla="*/ 2623 h 9486"/>
                  <a:gd name="connsiteX2" fmla="*/ 1308 w 9673"/>
                  <a:gd name="connsiteY2" fmla="*/ 2972 h 9486"/>
                  <a:gd name="connsiteX3" fmla="*/ 1013 w 9673"/>
                  <a:gd name="connsiteY3" fmla="*/ 3669 h 9486"/>
                  <a:gd name="connsiteX4" fmla="*/ 719 w 9673"/>
                  <a:gd name="connsiteY4" fmla="*/ 4134 h 9486"/>
                  <a:gd name="connsiteX5" fmla="*/ 1013 w 9673"/>
                  <a:gd name="connsiteY5" fmla="*/ 4367 h 9486"/>
                  <a:gd name="connsiteX6" fmla="*/ 719 w 9673"/>
                  <a:gd name="connsiteY6" fmla="*/ 4948 h 9486"/>
                  <a:gd name="connsiteX7" fmla="*/ 1308 w 9673"/>
                  <a:gd name="connsiteY7" fmla="*/ 5297 h 9486"/>
                  <a:gd name="connsiteX8" fmla="*/ 719 w 9673"/>
                  <a:gd name="connsiteY8" fmla="*/ 5530 h 9486"/>
                  <a:gd name="connsiteX9" fmla="*/ 131 w 9673"/>
                  <a:gd name="connsiteY9" fmla="*/ 6111 h 9486"/>
                  <a:gd name="connsiteX10" fmla="*/ 131 w 9673"/>
                  <a:gd name="connsiteY10" fmla="*/ 6460 h 9486"/>
                  <a:gd name="connsiteX11" fmla="*/ 1013 w 9673"/>
                  <a:gd name="connsiteY11" fmla="*/ 6925 h 9486"/>
                  <a:gd name="connsiteX12" fmla="*/ 1013 w 9673"/>
                  <a:gd name="connsiteY12" fmla="*/ 7158 h 9486"/>
                  <a:gd name="connsiteX13" fmla="*/ 425 w 9673"/>
                  <a:gd name="connsiteY13" fmla="*/ 7158 h 9486"/>
                  <a:gd name="connsiteX14" fmla="*/ 719 w 9673"/>
                  <a:gd name="connsiteY14" fmla="*/ 7623 h 9486"/>
                  <a:gd name="connsiteX15" fmla="*/ 1896 w 9673"/>
                  <a:gd name="connsiteY15" fmla="*/ 7972 h 9486"/>
                  <a:gd name="connsiteX16" fmla="*/ 3072 w 9673"/>
                  <a:gd name="connsiteY16" fmla="*/ 8204 h 9486"/>
                  <a:gd name="connsiteX17" fmla="*/ 4249 w 9673"/>
                  <a:gd name="connsiteY17" fmla="*/ 9018 h 9486"/>
                  <a:gd name="connsiteX18" fmla="*/ 5719 w 9673"/>
                  <a:gd name="connsiteY18" fmla="*/ 9483 h 9486"/>
                  <a:gd name="connsiteX19" fmla="*/ 6013 w 9673"/>
                  <a:gd name="connsiteY19" fmla="*/ 8785 h 9486"/>
                  <a:gd name="connsiteX20" fmla="*/ 6602 w 9673"/>
                  <a:gd name="connsiteY20" fmla="*/ 8204 h 9486"/>
                  <a:gd name="connsiteX21" fmla="*/ 7778 w 9673"/>
                  <a:gd name="connsiteY21" fmla="*/ 8088 h 9486"/>
                  <a:gd name="connsiteX22" fmla="*/ 8366 w 9673"/>
                  <a:gd name="connsiteY22" fmla="*/ 7274 h 9486"/>
                  <a:gd name="connsiteX23" fmla="*/ 9543 w 9673"/>
                  <a:gd name="connsiteY23" fmla="*/ 6692 h 9486"/>
                  <a:gd name="connsiteX24" fmla="*/ 9543 w 9673"/>
                  <a:gd name="connsiteY24" fmla="*/ 5879 h 9486"/>
                  <a:gd name="connsiteX25" fmla="*/ 9249 w 9673"/>
                  <a:gd name="connsiteY25" fmla="*/ 5646 h 9486"/>
                  <a:gd name="connsiteX26" fmla="*/ 9249 w 9673"/>
                  <a:gd name="connsiteY26" fmla="*/ 5646 h 9486"/>
                  <a:gd name="connsiteX27" fmla="*/ 9249 w 9673"/>
                  <a:gd name="connsiteY27" fmla="*/ 5646 h 9486"/>
                  <a:gd name="connsiteX28" fmla="*/ 8366 w 9673"/>
                  <a:gd name="connsiteY28" fmla="*/ 5530 h 9486"/>
                  <a:gd name="connsiteX29" fmla="*/ 7778 w 9673"/>
                  <a:gd name="connsiteY29" fmla="*/ 5181 h 9486"/>
                  <a:gd name="connsiteX30" fmla="*/ 7190 w 9673"/>
                  <a:gd name="connsiteY30" fmla="*/ 4716 h 9486"/>
                  <a:gd name="connsiteX31" fmla="*/ 6896 w 9673"/>
                  <a:gd name="connsiteY31" fmla="*/ 4251 h 9486"/>
                  <a:gd name="connsiteX32" fmla="*/ 6308 w 9673"/>
                  <a:gd name="connsiteY32" fmla="*/ 3785 h 9486"/>
                  <a:gd name="connsiteX33" fmla="*/ 6896 w 9673"/>
                  <a:gd name="connsiteY33" fmla="*/ 3437 h 9486"/>
                  <a:gd name="connsiteX34" fmla="*/ 6602 w 9673"/>
                  <a:gd name="connsiteY34" fmla="*/ 2972 h 9486"/>
                  <a:gd name="connsiteX35" fmla="*/ 6896 w 9673"/>
                  <a:gd name="connsiteY35" fmla="*/ 2739 h 9486"/>
                  <a:gd name="connsiteX36" fmla="*/ 6602 w 9673"/>
                  <a:gd name="connsiteY36" fmla="*/ 1692 h 9486"/>
                  <a:gd name="connsiteX37" fmla="*/ 5425 w 9673"/>
                  <a:gd name="connsiteY37" fmla="*/ 1227 h 9486"/>
                  <a:gd name="connsiteX38" fmla="*/ 4837 w 9673"/>
                  <a:gd name="connsiteY38" fmla="*/ 879 h 9486"/>
                  <a:gd name="connsiteX39" fmla="*/ 4249 w 9673"/>
                  <a:gd name="connsiteY39" fmla="*/ 413 h 9486"/>
                  <a:gd name="connsiteX40" fmla="*/ 3955 w 9673"/>
                  <a:gd name="connsiteY40" fmla="*/ 65 h 9486"/>
                  <a:gd name="connsiteX41" fmla="*/ 3366 w 9673"/>
                  <a:gd name="connsiteY41" fmla="*/ 530 h 9486"/>
                  <a:gd name="connsiteX42" fmla="*/ 2190 w 9673"/>
                  <a:gd name="connsiteY42" fmla="*/ 297 h 9486"/>
                  <a:gd name="connsiteX43" fmla="*/ 1308 w 9673"/>
                  <a:gd name="connsiteY43" fmla="*/ 181 h 9486"/>
                  <a:gd name="connsiteX44" fmla="*/ 425 w 9673"/>
                  <a:gd name="connsiteY44" fmla="*/ 995 h 9486"/>
                  <a:gd name="connsiteX45" fmla="*/ 131 w 9673"/>
                  <a:gd name="connsiteY45" fmla="*/ 2041 h 9486"/>
                  <a:gd name="connsiteX46" fmla="*/ 131 w 9673"/>
                  <a:gd name="connsiteY46" fmla="*/ 2506 h 9486"/>
                  <a:gd name="connsiteX0" fmla="*/ 135 w 10001"/>
                  <a:gd name="connsiteY0" fmla="*/ 2642 h 9534"/>
                  <a:gd name="connsiteX1" fmla="*/ 439 w 10001"/>
                  <a:gd name="connsiteY1" fmla="*/ 2765 h 9534"/>
                  <a:gd name="connsiteX2" fmla="*/ 1352 w 10001"/>
                  <a:gd name="connsiteY2" fmla="*/ 3133 h 9534"/>
                  <a:gd name="connsiteX3" fmla="*/ 1047 w 10001"/>
                  <a:gd name="connsiteY3" fmla="*/ 3868 h 9534"/>
                  <a:gd name="connsiteX4" fmla="*/ 743 w 10001"/>
                  <a:gd name="connsiteY4" fmla="*/ 4358 h 9534"/>
                  <a:gd name="connsiteX5" fmla="*/ 1047 w 10001"/>
                  <a:gd name="connsiteY5" fmla="*/ 4604 h 9534"/>
                  <a:gd name="connsiteX6" fmla="*/ 743 w 10001"/>
                  <a:gd name="connsiteY6" fmla="*/ 5216 h 9534"/>
                  <a:gd name="connsiteX7" fmla="*/ 1352 w 10001"/>
                  <a:gd name="connsiteY7" fmla="*/ 5584 h 9534"/>
                  <a:gd name="connsiteX8" fmla="*/ 743 w 10001"/>
                  <a:gd name="connsiteY8" fmla="*/ 5830 h 9534"/>
                  <a:gd name="connsiteX9" fmla="*/ 135 w 10001"/>
                  <a:gd name="connsiteY9" fmla="*/ 6442 h 9534"/>
                  <a:gd name="connsiteX10" fmla="*/ 135 w 10001"/>
                  <a:gd name="connsiteY10" fmla="*/ 6810 h 9534"/>
                  <a:gd name="connsiteX11" fmla="*/ 1047 w 10001"/>
                  <a:gd name="connsiteY11" fmla="*/ 7300 h 9534"/>
                  <a:gd name="connsiteX12" fmla="*/ 1047 w 10001"/>
                  <a:gd name="connsiteY12" fmla="*/ 7546 h 9534"/>
                  <a:gd name="connsiteX13" fmla="*/ 439 w 10001"/>
                  <a:gd name="connsiteY13" fmla="*/ 7546 h 9534"/>
                  <a:gd name="connsiteX14" fmla="*/ 743 w 10001"/>
                  <a:gd name="connsiteY14" fmla="*/ 8036 h 9534"/>
                  <a:gd name="connsiteX15" fmla="*/ 1960 w 10001"/>
                  <a:gd name="connsiteY15" fmla="*/ 8404 h 9534"/>
                  <a:gd name="connsiteX16" fmla="*/ 3176 w 10001"/>
                  <a:gd name="connsiteY16" fmla="*/ 8649 h 9534"/>
                  <a:gd name="connsiteX17" fmla="*/ 4393 w 10001"/>
                  <a:gd name="connsiteY17" fmla="*/ 9507 h 9534"/>
                  <a:gd name="connsiteX18" fmla="*/ 6216 w 10001"/>
                  <a:gd name="connsiteY18" fmla="*/ 9261 h 9534"/>
                  <a:gd name="connsiteX19" fmla="*/ 6825 w 10001"/>
                  <a:gd name="connsiteY19" fmla="*/ 8649 h 9534"/>
                  <a:gd name="connsiteX20" fmla="*/ 8041 w 10001"/>
                  <a:gd name="connsiteY20" fmla="*/ 8526 h 9534"/>
                  <a:gd name="connsiteX21" fmla="*/ 8649 w 10001"/>
                  <a:gd name="connsiteY21" fmla="*/ 7668 h 9534"/>
                  <a:gd name="connsiteX22" fmla="*/ 9866 w 10001"/>
                  <a:gd name="connsiteY22" fmla="*/ 7055 h 9534"/>
                  <a:gd name="connsiteX23" fmla="*/ 9866 w 10001"/>
                  <a:gd name="connsiteY23" fmla="*/ 6198 h 9534"/>
                  <a:gd name="connsiteX24" fmla="*/ 9562 w 10001"/>
                  <a:gd name="connsiteY24" fmla="*/ 5952 h 9534"/>
                  <a:gd name="connsiteX25" fmla="*/ 9562 w 10001"/>
                  <a:gd name="connsiteY25" fmla="*/ 5952 h 9534"/>
                  <a:gd name="connsiteX26" fmla="*/ 9562 w 10001"/>
                  <a:gd name="connsiteY26" fmla="*/ 5952 h 9534"/>
                  <a:gd name="connsiteX27" fmla="*/ 8649 w 10001"/>
                  <a:gd name="connsiteY27" fmla="*/ 5830 h 9534"/>
                  <a:gd name="connsiteX28" fmla="*/ 8041 w 10001"/>
                  <a:gd name="connsiteY28" fmla="*/ 5462 h 9534"/>
                  <a:gd name="connsiteX29" fmla="*/ 7433 w 10001"/>
                  <a:gd name="connsiteY29" fmla="*/ 4972 h 9534"/>
                  <a:gd name="connsiteX30" fmla="*/ 7129 w 10001"/>
                  <a:gd name="connsiteY30" fmla="*/ 4481 h 9534"/>
                  <a:gd name="connsiteX31" fmla="*/ 6521 w 10001"/>
                  <a:gd name="connsiteY31" fmla="*/ 3990 h 9534"/>
                  <a:gd name="connsiteX32" fmla="*/ 7129 w 10001"/>
                  <a:gd name="connsiteY32" fmla="*/ 3623 h 9534"/>
                  <a:gd name="connsiteX33" fmla="*/ 6825 w 10001"/>
                  <a:gd name="connsiteY33" fmla="*/ 3133 h 9534"/>
                  <a:gd name="connsiteX34" fmla="*/ 7129 w 10001"/>
                  <a:gd name="connsiteY34" fmla="*/ 2887 h 9534"/>
                  <a:gd name="connsiteX35" fmla="*/ 6825 w 10001"/>
                  <a:gd name="connsiteY35" fmla="*/ 1784 h 9534"/>
                  <a:gd name="connsiteX36" fmla="*/ 5608 w 10001"/>
                  <a:gd name="connsiteY36" fmla="*/ 1293 h 9534"/>
                  <a:gd name="connsiteX37" fmla="*/ 5001 w 10001"/>
                  <a:gd name="connsiteY37" fmla="*/ 927 h 9534"/>
                  <a:gd name="connsiteX38" fmla="*/ 4393 w 10001"/>
                  <a:gd name="connsiteY38" fmla="*/ 435 h 9534"/>
                  <a:gd name="connsiteX39" fmla="*/ 4089 w 10001"/>
                  <a:gd name="connsiteY39" fmla="*/ 69 h 9534"/>
                  <a:gd name="connsiteX40" fmla="*/ 3480 w 10001"/>
                  <a:gd name="connsiteY40" fmla="*/ 559 h 9534"/>
                  <a:gd name="connsiteX41" fmla="*/ 2264 w 10001"/>
                  <a:gd name="connsiteY41" fmla="*/ 313 h 9534"/>
                  <a:gd name="connsiteX42" fmla="*/ 1352 w 10001"/>
                  <a:gd name="connsiteY42" fmla="*/ 191 h 9534"/>
                  <a:gd name="connsiteX43" fmla="*/ 439 w 10001"/>
                  <a:gd name="connsiteY43" fmla="*/ 1049 h 9534"/>
                  <a:gd name="connsiteX44" fmla="*/ 135 w 10001"/>
                  <a:gd name="connsiteY44" fmla="*/ 2152 h 9534"/>
                  <a:gd name="connsiteX45" fmla="*/ 135 w 10001"/>
                  <a:gd name="connsiteY45" fmla="*/ 2642 h 9534"/>
                  <a:gd name="connsiteX0" fmla="*/ 135 w 10696"/>
                  <a:gd name="connsiteY0" fmla="*/ 2771 h 10000"/>
                  <a:gd name="connsiteX1" fmla="*/ 439 w 10696"/>
                  <a:gd name="connsiteY1" fmla="*/ 2900 h 10000"/>
                  <a:gd name="connsiteX2" fmla="*/ 1352 w 10696"/>
                  <a:gd name="connsiteY2" fmla="*/ 3286 h 10000"/>
                  <a:gd name="connsiteX3" fmla="*/ 1047 w 10696"/>
                  <a:gd name="connsiteY3" fmla="*/ 4057 h 10000"/>
                  <a:gd name="connsiteX4" fmla="*/ 743 w 10696"/>
                  <a:gd name="connsiteY4" fmla="*/ 4571 h 10000"/>
                  <a:gd name="connsiteX5" fmla="*/ 1047 w 10696"/>
                  <a:gd name="connsiteY5" fmla="*/ 4829 h 10000"/>
                  <a:gd name="connsiteX6" fmla="*/ 743 w 10696"/>
                  <a:gd name="connsiteY6" fmla="*/ 5471 h 10000"/>
                  <a:gd name="connsiteX7" fmla="*/ 1352 w 10696"/>
                  <a:gd name="connsiteY7" fmla="*/ 5857 h 10000"/>
                  <a:gd name="connsiteX8" fmla="*/ 743 w 10696"/>
                  <a:gd name="connsiteY8" fmla="*/ 6115 h 10000"/>
                  <a:gd name="connsiteX9" fmla="*/ 135 w 10696"/>
                  <a:gd name="connsiteY9" fmla="*/ 6757 h 10000"/>
                  <a:gd name="connsiteX10" fmla="*/ 135 w 10696"/>
                  <a:gd name="connsiteY10" fmla="*/ 7143 h 10000"/>
                  <a:gd name="connsiteX11" fmla="*/ 1047 w 10696"/>
                  <a:gd name="connsiteY11" fmla="*/ 7657 h 10000"/>
                  <a:gd name="connsiteX12" fmla="*/ 1047 w 10696"/>
                  <a:gd name="connsiteY12" fmla="*/ 7915 h 10000"/>
                  <a:gd name="connsiteX13" fmla="*/ 439 w 10696"/>
                  <a:gd name="connsiteY13" fmla="*/ 7915 h 10000"/>
                  <a:gd name="connsiteX14" fmla="*/ 743 w 10696"/>
                  <a:gd name="connsiteY14" fmla="*/ 8429 h 10000"/>
                  <a:gd name="connsiteX15" fmla="*/ 1960 w 10696"/>
                  <a:gd name="connsiteY15" fmla="*/ 8815 h 10000"/>
                  <a:gd name="connsiteX16" fmla="*/ 3176 w 10696"/>
                  <a:gd name="connsiteY16" fmla="*/ 9072 h 10000"/>
                  <a:gd name="connsiteX17" fmla="*/ 4393 w 10696"/>
                  <a:gd name="connsiteY17" fmla="*/ 9972 h 10000"/>
                  <a:gd name="connsiteX18" fmla="*/ 6215 w 10696"/>
                  <a:gd name="connsiteY18" fmla="*/ 9714 h 10000"/>
                  <a:gd name="connsiteX19" fmla="*/ 6824 w 10696"/>
                  <a:gd name="connsiteY19" fmla="*/ 9072 h 10000"/>
                  <a:gd name="connsiteX20" fmla="*/ 8040 w 10696"/>
                  <a:gd name="connsiteY20" fmla="*/ 8943 h 10000"/>
                  <a:gd name="connsiteX21" fmla="*/ 8648 w 10696"/>
                  <a:gd name="connsiteY21" fmla="*/ 8043 h 10000"/>
                  <a:gd name="connsiteX22" fmla="*/ 9865 w 10696"/>
                  <a:gd name="connsiteY22" fmla="*/ 7400 h 10000"/>
                  <a:gd name="connsiteX23" fmla="*/ 9865 w 10696"/>
                  <a:gd name="connsiteY23" fmla="*/ 6501 h 10000"/>
                  <a:gd name="connsiteX24" fmla="*/ 9561 w 10696"/>
                  <a:gd name="connsiteY24" fmla="*/ 6243 h 10000"/>
                  <a:gd name="connsiteX25" fmla="*/ 9561 w 10696"/>
                  <a:gd name="connsiteY25" fmla="*/ 6243 h 10000"/>
                  <a:gd name="connsiteX26" fmla="*/ 9561 w 10696"/>
                  <a:gd name="connsiteY26" fmla="*/ 6243 h 10000"/>
                  <a:gd name="connsiteX27" fmla="*/ 10647 w 10696"/>
                  <a:gd name="connsiteY27" fmla="*/ 5871 h 10000"/>
                  <a:gd name="connsiteX28" fmla="*/ 8040 w 10696"/>
                  <a:gd name="connsiteY28" fmla="*/ 5729 h 10000"/>
                  <a:gd name="connsiteX29" fmla="*/ 7432 w 10696"/>
                  <a:gd name="connsiteY29" fmla="*/ 5215 h 10000"/>
                  <a:gd name="connsiteX30" fmla="*/ 7128 w 10696"/>
                  <a:gd name="connsiteY30" fmla="*/ 4700 h 10000"/>
                  <a:gd name="connsiteX31" fmla="*/ 6520 w 10696"/>
                  <a:gd name="connsiteY31" fmla="*/ 4185 h 10000"/>
                  <a:gd name="connsiteX32" fmla="*/ 7128 w 10696"/>
                  <a:gd name="connsiteY32" fmla="*/ 3800 h 10000"/>
                  <a:gd name="connsiteX33" fmla="*/ 6824 w 10696"/>
                  <a:gd name="connsiteY33" fmla="*/ 3286 h 10000"/>
                  <a:gd name="connsiteX34" fmla="*/ 7128 w 10696"/>
                  <a:gd name="connsiteY34" fmla="*/ 3028 h 10000"/>
                  <a:gd name="connsiteX35" fmla="*/ 6824 w 10696"/>
                  <a:gd name="connsiteY35" fmla="*/ 1871 h 10000"/>
                  <a:gd name="connsiteX36" fmla="*/ 5607 w 10696"/>
                  <a:gd name="connsiteY36" fmla="*/ 1356 h 10000"/>
                  <a:gd name="connsiteX37" fmla="*/ 5000 w 10696"/>
                  <a:gd name="connsiteY37" fmla="*/ 972 h 10000"/>
                  <a:gd name="connsiteX38" fmla="*/ 4393 w 10696"/>
                  <a:gd name="connsiteY38" fmla="*/ 456 h 10000"/>
                  <a:gd name="connsiteX39" fmla="*/ 4089 w 10696"/>
                  <a:gd name="connsiteY39" fmla="*/ 72 h 10000"/>
                  <a:gd name="connsiteX40" fmla="*/ 3480 w 10696"/>
                  <a:gd name="connsiteY40" fmla="*/ 586 h 10000"/>
                  <a:gd name="connsiteX41" fmla="*/ 2264 w 10696"/>
                  <a:gd name="connsiteY41" fmla="*/ 328 h 10000"/>
                  <a:gd name="connsiteX42" fmla="*/ 1352 w 10696"/>
                  <a:gd name="connsiteY42" fmla="*/ 200 h 10000"/>
                  <a:gd name="connsiteX43" fmla="*/ 439 w 10696"/>
                  <a:gd name="connsiteY43" fmla="*/ 1100 h 10000"/>
                  <a:gd name="connsiteX44" fmla="*/ 135 w 10696"/>
                  <a:gd name="connsiteY44" fmla="*/ 2257 h 10000"/>
                  <a:gd name="connsiteX45" fmla="*/ 135 w 10696"/>
                  <a:gd name="connsiteY45" fmla="*/ 2771 h 10000"/>
                  <a:gd name="connsiteX0" fmla="*/ 135 w 10696"/>
                  <a:gd name="connsiteY0" fmla="*/ 2771 h 10000"/>
                  <a:gd name="connsiteX1" fmla="*/ 439 w 10696"/>
                  <a:gd name="connsiteY1" fmla="*/ 2900 h 10000"/>
                  <a:gd name="connsiteX2" fmla="*/ 1352 w 10696"/>
                  <a:gd name="connsiteY2" fmla="*/ 3286 h 10000"/>
                  <a:gd name="connsiteX3" fmla="*/ 1047 w 10696"/>
                  <a:gd name="connsiteY3" fmla="*/ 4057 h 10000"/>
                  <a:gd name="connsiteX4" fmla="*/ 743 w 10696"/>
                  <a:gd name="connsiteY4" fmla="*/ 4571 h 10000"/>
                  <a:gd name="connsiteX5" fmla="*/ 1047 w 10696"/>
                  <a:gd name="connsiteY5" fmla="*/ 4829 h 10000"/>
                  <a:gd name="connsiteX6" fmla="*/ 743 w 10696"/>
                  <a:gd name="connsiteY6" fmla="*/ 5471 h 10000"/>
                  <a:gd name="connsiteX7" fmla="*/ 1352 w 10696"/>
                  <a:gd name="connsiteY7" fmla="*/ 5857 h 10000"/>
                  <a:gd name="connsiteX8" fmla="*/ 743 w 10696"/>
                  <a:gd name="connsiteY8" fmla="*/ 6115 h 10000"/>
                  <a:gd name="connsiteX9" fmla="*/ 135 w 10696"/>
                  <a:gd name="connsiteY9" fmla="*/ 6757 h 10000"/>
                  <a:gd name="connsiteX10" fmla="*/ 135 w 10696"/>
                  <a:gd name="connsiteY10" fmla="*/ 7143 h 10000"/>
                  <a:gd name="connsiteX11" fmla="*/ 1047 w 10696"/>
                  <a:gd name="connsiteY11" fmla="*/ 7657 h 10000"/>
                  <a:gd name="connsiteX12" fmla="*/ 1047 w 10696"/>
                  <a:gd name="connsiteY12" fmla="*/ 7915 h 10000"/>
                  <a:gd name="connsiteX13" fmla="*/ 439 w 10696"/>
                  <a:gd name="connsiteY13" fmla="*/ 7915 h 10000"/>
                  <a:gd name="connsiteX14" fmla="*/ 743 w 10696"/>
                  <a:gd name="connsiteY14" fmla="*/ 8429 h 10000"/>
                  <a:gd name="connsiteX15" fmla="*/ 1960 w 10696"/>
                  <a:gd name="connsiteY15" fmla="*/ 8815 h 10000"/>
                  <a:gd name="connsiteX16" fmla="*/ 3176 w 10696"/>
                  <a:gd name="connsiteY16" fmla="*/ 9072 h 10000"/>
                  <a:gd name="connsiteX17" fmla="*/ 4393 w 10696"/>
                  <a:gd name="connsiteY17" fmla="*/ 9972 h 10000"/>
                  <a:gd name="connsiteX18" fmla="*/ 6215 w 10696"/>
                  <a:gd name="connsiteY18" fmla="*/ 9714 h 10000"/>
                  <a:gd name="connsiteX19" fmla="*/ 6824 w 10696"/>
                  <a:gd name="connsiteY19" fmla="*/ 9072 h 10000"/>
                  <a:gd name="connsiteX20" fmla="*/ 8040 w 10696"/>
                  <a:gd name="connsiteY20" fmla="*/ 8943 h 10000"/>
                  <a:gd name="connsiteX21" fmla="*/ 8648 w 10696"/>
                  <a:gd name="connsiteY21" fmla="*/ 8043 h 10000"/>
                  <a:gd name="connsiteX22" fmla="*/ 9865 w 10696"/>
                  <a:gd name="connsiteY22" fmla="*/ 7400 h 10000"/>
                  <a:gd name="connsiteX23" fmla="*/ 9865 w 10696"/>
                  <a:gd name="connsiteY23" fmla="*/ 6501 h 10000"/>
                  <a:gd name="connsiteX24" fmla="*/ 9561 w 10696"/>
                  <a:gd name="connsiteY24" fmla="*/ 6243 h 10000"/>
                  <a:gd name="connsiteX25" fmla="*/ 9561 w 10696"/>
                  <a:gd name="connsiteY25" fmla="*/ 6243 h 10000"/>
                  <a:gd name="connsiteX26" fmla="*/ 9561 w 10696"/>
                  <a:gd name="connsiteY26" fmla="*/ 6243 h 10000"/>
                  <a:gd name="connsiteX27" fmla="*/ 10647 w 10696"/>
                  <a:gd name="connsiteY27" fmla="*/ 5871 h 10000"/>
                  <a:gd name="connsiteX28" fmla="*/ 9183 w 10696"/>
                  <a:gd name="connsiteY28" fmla="*/ 5485 h 10000"/>
                  <a:gd name="connsiteX29" fmla="*/ 7432 w 10696"/>
                  <a:gd name="connsiteY29" fmla="*/ 5215 h 10000"/>
                  <a:gd name="connsiteX30" fmla="*/ 7128 w 10696"/>
                  <a:gd name="connsiteY30" fmla="*/ 4700 h 10000"/>
                  <a:gd name="connsiteX31" fmla="*/ 6520 w 10696"/>
                  <a:gd name="connsiteY31" fmla="*/ 4185 h 10000"/>
                  <a:gd name="connsiteX32" fmla="*/ 7128 w 10696"/>
                  <a:gd name="connsiteY32" fmla="*/ 3800 h 10000"/>
                  <a:gd name="connsiteX33" fmla="*/ 6824 w 10696"/>
                  <a:gd name="connsiteY33" fmla="*/ 3286 h 10000"/>
                  <a:gd name="connsiteX34" fmla="*/ 7128 w 10696"/>
                  <a:gd name="connsiteY34" fmla="*/ 3028 h 10000"/>
                  <a:gd name="connsiteX35" fmla="*/ 6824 w 10696"/>
                  <a:gd name="connsiteY35" fmla="*/ 1871 h 10000"/>
                  <a:gd name="connsiteX36" fmla="*/ 5607 w 10696"/>
                  <a:gd name="connsiteY36" fmla="*/ 1356 h 10000"/>
                  <a:gd name="connsiteX37" fmla="*/ 5000 w 10696"/>
                  <a:gd name="connsiteY37" fmla="*/ 972 h 10000"/>
                  <a:gd name="connsiteX38" fmla="*/ 4393 w 10696"/>
                  <a:gd name="connsiteY38" fmla="*/ 456 h 10000"/>
                  <a:gd name="connsiteX39" fmla="*/ 4089 w 10696"/>
                  <a:gd name="connsiteY39" fmla="*/ 72 h 10000"/>
                  <a:gd name="connsiteX40" fmla="*/ 3480 w 10696"/>
                  <a:gd name="connsiteY40" fmla="*/ 586 h 10000"/>
                  <a:gd name="connsiteX41" fmla="*/ 2264 w 10696"/>
                  <a:gd name="connsiteY41" fmla="*/ 328 h 10000"/>
                  <a:gd name="connsiteX42" fmla="*/ 1352 w 10696"/>
                  <a:gd name="connsiteY42" fmla="*/ 200 h 10000"/>
                  <a:gd name="connsiteX43" fmla="*/ 439 w 10696"/>
                  <a:gd name="connsiteY43" fmla="*/ 1100 h 10000"/>
                  <a:gd name="connsiteX44" fmla="*/ 135 w 10696"/>
                  <a:gd name="connsiteY44" fmla="*/ 2257 h 10000"/>
                  <a:gd name="connsiteX45" fmla="*/ 135 w 10696"/>
                  <a:gd name="connsiteY45" fmla="*/ 2771 h 10000"/>
                  <a:gd name="connsiteX0" fmla="*/ 135 w 10696"/>
                  <a:gd name="connsiteY0" fmla="*/ 2771 h 10000"/>
                  <a:gd name="connsiteX1" fmla="*/ 439 w 10696"/>
                  <a:gd name="connsiteY1" fmla="*/ 2900 h 10000"/>
                  <a:gd name="connsiteX2" fmla="*/ 1352 w 10696"/>
                  <a:gd name="connsiteY2" fmla="*/ 3286 h 10000"/>
                  <a:gd name="connsiteX3" fmla="*/ 1047 w 10696"/>
                  <a:gd name="connsiteY3" fmla="*/ 4057 h 10000"/>
                  <a:gd name="connsiteX4" fmla="*/ 743 w 10696"/>
                  <a:gd name="connsiteY4" fmla="*/ 4571 h 10000"/>
                  <a:gd name="connsiteX5" fmla="*/ 1047 w 10696"/>
                  <a:gd name="connsiteY5" fmla="*/ 4829 h 10000"/>
                  <a:gd name="connsiteX6" fmla="*/ 743 w 10696"/>
                  <a:gd name="connsiteY6" fmla="*/ 5471 h 10000"/>
                  <a:gd name="connsiteX7" fmla="*/ 1352 w 10696"/>
                  <a:gd name="connsiteY7" fmla="*/ 5857 h 10000"/>
                  <a:gd name="connsiteX8" fmla="*/ 743 w 10696"/>
                  <a:gd name="connsiteY8" fmla="*/ 6115 h 10000"/>
                  <a:gd name="connsiteX9" fmla="*/ 135 w 10696"/>
                  <a:gd name="connsiteY9" fmla="*/ 6757 h 10000"/>
                  <a:gd name="connsiteX10" fmla="*/ 135 w 10696"/>
                  <a:gd name="connsiteY10" fmla="*/ 7143 h 10000"/>
                  <a:gd name="connsiteX11" fmla="*/ 1047 w 10696"/>
                  <a:gd name="connsiteY11" fmla="*/ 7657 h 10000"/>
                  <a:gd name="connsiteX12" fmla="*/ 1047 w 10696"/>
                  <a:gd name="connsiteY12" fmla="*/ 7915 h 10000"/>
                  <a:gd name="connsiteX13" fmla="*/ 439 w 10696"/>
                  <a:gd name="connsiteY13" fmla="*/ 7915 h 10000"/>
                  <a:gd name="connsiteX14" fmla="*/ 743 w 10696"/>
                  <a:gd name="connsiteY14" fmla="*/ 8429 h 10000"/>
                  <a:gd name="connsiteX15" fmla="*/ 1960 w 10696"/>
                  <a:gd name="connsiteY15" fmla="*/ 8815 h 10000"/>
                  <a:gd name="connsiteX16" fmla="*/ 3176 w 10696"/>
                  <a:gd name="connsiteY16" fmla="*/ 9072 h 10000"/>
                  <a:gd name="connsiteX17" fmla="*/ 4393 w 10696"/>
                  <a:gd name="connsiteY17" fmla="*/ 9972 h 10000"/>
                  <a:gd name="connsiteX18" fmla="*/ 6215 w 10696"/>
                  <a:gd name="connsiteY18" fmla="*/ 9714 h 10000"/>
                  <a:gd name="connsiteX19" fmla="*/ 6824 w 10696"/>
                  <a:gd name="connsiteY19" fmla="*/ 9072 h 10000"/>
                  <a:gd name="connsiteX20" fmla="*/ 8040 w 10696"/>
                  <a:gd name="connsiteY20" fmla="*/ 8943 h 10000"/>
                  <a:gd name="connsiteX21" fmla="*/ 8648 w 10696"/>
                  <a:gd name="connsiteY21" fmla="*/ 8043 h 10000"/>
                  <a:gd name="connsiteX22" fmla="*/ 9865 w 10696"/>
                  <a:gd name="connsiteY22" fmla="*/ 7400 h 10000"/>
                  <a:gd name="connsiteX23" fmla="*/ 9865 w 10696"/>
                  <a:gd name="connsiteY23" fmla="*/ 6501 h 10000"/>
                  <a:gd name="connsiteX24" fmla="*/ 9561 w 10696"/>
                  <a:gd name="connsiteY24" fmla="*/ 6243 h 10000"/>
                  <a:gd name="connsiteX25" fmla="*/ 9561 w 10696"/>
                  <a:gd name="connsiteY25" fmla="*/ 6243 h 10000"/>
                  <a:gd name="connsiteX26" fmla="*/ 9561 w 10696"/>
                  <a:gd name="connsiteY26" fmla="*/ 6243 h 10000"/>
                  <a:gd name="connsiteX27" fmla="*/ 10647 w 10696"/>
                  <a:gd name="connsiteY27" fmla="*/ 5871 h 10000"/>
                  <a:gd name="connsiteX28" fmla="*/ 9183 w 10696"/>
                  <a:gd name="connsiteY28" fmla="*/ 5485 h 10000"/>
                  <a:gd name="connsiteX29" fmla="*/ 8717 w 10696"/>
                  <a:gd name="connsiteY29" fmla="*/ 5154 h 10000"/>
                  <a:gd name="connsiteX30" fmla="*/ 7128 w 10696"/>
                  <a:gd name="connsiteY30" fmla="*/ 4700 h 10000"/>
                  <a:gd name="connsiteX31" fmla="*/ 6520 w 10696"/>
                  <a:gd name="connsiteY31" fmla="*/ 4185 h 10000"/>
                  <a:gd name="connsiteX32" fmla="*/ 7128 w 10696"/>
                  <a:gd name="connsiteY32" fmla="*/ 3800 h 10000"/>
                  <a:gd name="connsiteX33" fmla="*/ 6824 w 10696"/>
                  <a:gd name="connsiteY33" fmla="*/ 3286 h 10000"/>
                  <a:gd name="connsiteX34" fmla="*/ 7128 w 10696"/>
                  <a:gd name="connsiteY34" fmla="*/ 3028 h 10000"/>
                  <a:gd name="connsiteX35" fmla="*/ 6824 w 10696"/>
                  <a:gd name="connsiteY35" fmla="*/ 1871 h 10000"/>
                  <a:gd name="connsiteX36" fmla="*/ 5607 w 10696"/>
                  <a:gd name="connsiteY36" fmla="*/ 1356 h 10000"/>
                  <a:gd name="connsiteX37" fmla="*/ 5000 w 10696"/>
                  <a:gd name="connsiteY37" fmla="*/ 972 h 10000"/>
                  <a:gd name="connsiteX38" fmla="*/ 4393 w 10696"/>
                  <a:gd name="connsiteY38" fmla="*/ 456 h 10000"/>
                  <a:gd name="connsiteX39" fmla="*/ 4089 w 10696"/>
                  <a:gd name="connsiteY39" fmla="*/ 72 h 10000"/>
                  <a:gd name="connsiteX40" fmla="*/ 3480 w 10696"/>
                  <a:gd name="connsiteY40" fmla="*/ 586 h 10000"/>
                  <a:gd name="connsiteX41" fmla="*/ 2264 w 10696"/>
                  <a:gd name="connsiteY41" fmla="*/ 328 h 10000"/>
                  <a:gd name="connsiteX42" fmla="*/ 1352 w 10696"/>
                  <a:gd name="connsiteY42" fmla="*/ 200 h 10000"/>
                  <a:gd name="connsiteX43" fmla="*/ 439 w 10696"/>
                  <a:gd name="connsiteY43" fmla="*/ 1100 h 10000"/>
                  <a:gd name="connsiteX44" fmla="*/ 135 w 10696"/>
                  <a:gd name="connsiteY44" fmla="*/ 2257 h 10000"/>
                  <a:gd name="connsiteX45" fmla="*/ 135 w 10696"/>
                  <a:gd name="connsiteY45" fmla="*/ 277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696" h="10000">
                    <a:moveTo>
                      <a:pt x="135" y="2771"/>
                    </a:moveTo>
                    <a:cubicBezTo>
                      <a:pt x="135" y="2771"/>
                      <a:pt x="135" y="3028"/>
                      <a:pt x="439" y="2900"/>
                    </a:cubicBezTo>
                    <a:cubicBezTo>
                      <a:pt x="1047" y="2900"/>
                      <a:pt x="1352" y="3028"/>
                      <a:pt x="1352" y="3286"/>
                    </a:cubicBezTo>
                    <a:cubicBezTo>
                      <a:pt x="1352" y="3543"/>
                      <a:pt x="1352" y="3800"/>
                      <a:pt x="1047" y="4057"/>
                    </a:cubicBezTo>
                    <a:cubicBezTo>
                      <a:pt x="1047" y="4185"/>
                      <a:pt x="439" y="4314"/>
                      <a:pt x="743" y="4571"/>
                    </a:cubicBezTo>
                    <a:cubicBezTo>
                      <a:pt x="743" y="4700"/>
                      <a:pt x="1047" y="4571"/>
                      <a:pt x="1047" y="4829"/>
                    </a:cubicBezTo>
                    <a:cubicBezTo>
                      <a:pt x="1047" y="5085"/>
                      <a:pt x="743" y="5215"/>
                      <a:pt x="743" y="5471"/>
                    </a:cubicBezTo>
                    <a:cubicBezTo>
                      <a:pt x="743" y="5729"/>
                      <a:pt x="1352" y="5857"/>
                      <a:pt x="1352" y="5857"/>
                    </a:cubicBezTo>
                    <a:cubicBezTo>
                      <a:pt x="1352" y="5985"/>
                      <a:pt x="1047" y="6115"/>
                      <a:pt x="743" y="6115"/>
                    </a:cubicBezTo>
                    <a:cubicBezTo>
                      <a:pt x="743" y="6115"/>
                      <a:pt x="135" y="6501"/>
                      <a:pt x="135" y="6757"/>
                    </a:cubicBezTo>
                    <a:cubicBezTo>
                      <a:pt x="135" y="7015"/>
                      <a:pt x="-169" y="6885"/>
                      <a:pt x="135" y="7143"/>
                    </a:cubicBezTo>
                    <a:cubicBezTo>
                      <a:pt x="743" y="7400"/>
                      <a:pt x="1047" y="7400"/>
                      <a:pt x="1047" y="7657"/>
                    </a:cubicBezTo>
                    <a:cubicBezTo>
                      <a:pt x="1047" y="7915"/>
                      <a:pt x="1352" y="7786"/>
                      <a:pt x="1047" y="7915"/>
                    </a:cubicBezTo>
                    <a:cubicBezTo>
                      <a:pt x="743" y="8043"/>
                      <a:pt x="743" y="7786"/>
                      <a:pt x="439" y="7915"/>
                    </a:cubicBezTo>
                    <a:cubicBezTo>
                      <a:pt x="135" y="8043"/>
                      <a:pt x="135" y="8043"/>
                      <a:pt x="743" y="8429"/>
                    </a:cubicBezTo>
                    <a:cubicBezTo>
                      <a:pt x="1047" y="8815"/>
                      <a:pt x="1352" y="8429"/>
                      <a:pt x="1960" y="8815"/>
                    </a:cubicBezTo>
                    <a:cubicBezTo>
                      <a:pt x="2872" y="9072"/>
                      <a:pt x="2872" y="8815"/>
                      <a:pt x="3176" y="9072"/>
                    </a:cubicBezTo>
                    <a:cubicBezTo>
                      <a:pt x="3785" y="9329"/>
                      <a:pt x="4089" y="9714"/>
                      <a:pt x="4393" y="9972"/>
                    </a:cubicBezTo>
                    <a:cubicBezTo>
                      <a:pt x="4900" y="10079"/>
                      <a:pt x="5810" y="9864"/>
                      <a:pt x="6215" y="9714"/>
                    </a:cubicBezTo>
                    <a:cubicBezTo>
                      <a:pt x="6620" y="9564"/>
                      <a:pt x="6215" y="9200"/>
                      <a:pt x="6824" y="9072"/>
                    </a:cubicBezTo>
                    <a:cubicBezTo>
                      <a:pt x="7432" y="8943"/>
                      <a:pt x="7736" y="9200"/>
                      <a:pt x="8040" y="8943"/>
                    </a:cubicBezTo>
                    <a:cubicBezTo>
                      <a:pt x="8344" y="8815"/>
                      <a:pt x="8040" y="8429"/>
                      <a:pt x="8648" y="8043"/>
                    </a:cubicBezTo>
                    <a:cubicBezTo>
                      <a:pt x="8953" y="7786"/>
                      <a:pt x="9561" y="7657"/>
                      <a:pt x="9865" y="7400"/>
                    </a:cubicBezTo>
                    <a:cubicBezTo>
                      <a:pt x="10169" y="7015"/>
                      <a:pt x="9865" y="6757"/>
                      <a:pt x="9865" y="6501"/>
                    </a:cubicBezTo>
                    <a:cubicBezTo>
                      <a:pt x="9865" y="6243"/>
                      <a:pt x="9561" y="6243"/>
                      <a:pt x="9561" y="6243"/>
                    </a:cubicBezTo>
                    <a:lnTo>
                      <a:pt x="9561" y="6243"/>
                    </a:lnTo>
                    <a:lnTo>
                      <a:pt x="9561" y="6243"/>
                    </a:lnTo>
                    <a:cubicBezTo>
                      <a:pt x="9742" y="6181"/>
                      <a:pt x="10952" y="5871"/>
                      <a:pt x="10647" y="5871"/>
                    </a:cubicBezTo>
                    <a:cubicBezTo>
                      <a:pt x="10039" y="5999"/>
                      <a:pt x="9505" y="5604"/>
                      <a:pt x="9183" y="5485"/>
                    </a:cubicBezTo>
                    <a:cubicBezTo>
                      <a:pt x="8861" y="5366"/>
                      <a:pt x="9060" y="5285"/>
                      <a:pt x="8717" y="5154"/>
                    </a:cubicBezTo>
                    <a:cubicBezTo>
                      <a:pt x="8374" y="5023"/>
                      <a:pt x="6824" y="4829"/>
                      <a:pt x="7128" y="4700"/>
                    </a:cubicBezTo>
                    <a:cubicBezTo>
                      <a:pt x="7432" y="4443"/>
                      <a:pt x="6824" y="4314"/>
                      <a:pt x="6520" y="4185"/>
                    </a:cubicBezTo>
                    <a:cubicBezTo>
                      <a:pt x="6215" y="4057"/>
                      <a:pt x="6824" y="3929"/>
                      <a:pt x="7128" y="3800"/>
                    </a:cubicBezTo>
                    <a:cubicBezTo>
                      <a:pt x="7128" y="3671"/>
                      <a:pt x="6520" y="3543"/>
                      <a:pt x="6824" y="3286"/>
                    </a:cubicBezTo>
                    <a:cubicBezTo>
                      <a:pt x="6824" y="3286"/>
                      <a:pt x="7128" y="3157"/>
                      <a:pt x="7128" y="3028"/>
                    </a:cubicBezTo>
                    <a:cubicBezTo>
                      <a:pt x="7128" y="3028"/>
                      <a:pt x="7128" y="2128"/>
                      <a:pt x="6824" y="1871"/>
                    </a:cubicBezTo>
                    <a:cubicBezTo>
                      <a:pt x="6824" y="1614"/>
                      <a:pt x="6215" y="1486"/>
                      <a:pt x="5607" y="1356"/>
                    </a:cubicBezTo>
                    <a:cubicBezTo>
                      <a:pt x="5303" y="1228"/>
                      <a:pt x="5000" y="1228"/>
                      <a:pt x="5000" y="972"/>
                    </a:cubicBezTo>
                    <a:cubicBezTo>
                      <a:pt x="5000" y="714"/>
                      <a:pt x="4697" y="714"/>
                      <a:pt x="4393" y="456"/>
                    </a:cubicBezTo>
                    <a:cubicBezTo>
                      <a:pt x="4089" y="328"/>
                      <a:pt x="4393" y="-186"/>
                      <a:pt x="4089" y="72"/>
                    </a:cubicBezTo>
                    <a:cubicBezTo>
                      <a:pt x="3785" y="328"/>
                      <a:pt x="4089" y="456"/>
                      <a:pt x="3480" y="586"/>
                    </a:cubicBezTo>
                    <a:cubicBezTo>
                      <a:pt x="2568" y="586"/>
                      <a:pt x="2264" y="714"/>
                      <a:pt x="2264" y="328"/>
                    </a:cubicBezTo>
                    <a:cubicBezTo>
                      <a:pt x="1960" y="72"/>
                      <a:pt x="1960" y="-58"/>
                      <a:pt x="1352" y="200"/>
                    </a:cubicBezTo>
                    <a:cubicBezTo>
                      <a:pt x="1047" y="586"/>
                      <a:pt x="1047" y="714"/>
                      <a:pt x="439" y="1100"/>
                    </a:cubicBezTo>
                    <a:cubicBezTo>
                      <a:pt x="135" y="1356"/>
                      <a:pt x="135" y="2000"/>
                      <a:pt x="135" y="2257"/>
                    </a:cubicBezTo>
                    <a:lnTo>
                      <a:pt x="135" y="2771"/>
                    </a:ln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59" name="Freeform 67"/>
              <p:cNvSpPr>
                <a:spLocks/>
              </p:cNvSpPr>
              <p:nvPr/>
            </p:nvSpPr>
            <p:spPr bwMode="gray">
              <a:xfrm>
                <a:off x="4938467" y="3839379"/>
                <a:ext cx="336551" cy="353422"/>
              </a:xfrm>
              <a:custGeom>
                <a:avLst/>
                <a:gdLst>
                  <a:gd name="T0" fmla="*/ 52 w 72"/>
                  <a:gd name="T1" fmla="*/ 76 h 77"/>
                  <a:gd name="T2" fmla="*/ 50 w 72"/>
                  <a:gd name="T3" fmla="*/ 75 h 77"/>
                  <a:gd name="T4" fmla="*/ 46 w 72"/>
                  <a:gd name="T5" fmla="*/ 71 h 77"/>
                  <a:gd name="T6" fmla="*/ 39 w 72"/>
                  <a:gd name="T7" fmla="*/ 66 h 77"/>
                  <a:gd name="T8" fmla="*/ 36 w 72"/>
                  <a:gd name="T9" fmla="*/ 59 h 77"/>
                  <a:gd name="T10" fmla="*/ 30 w 72"/>
                  <a:gd name="T11" fmla="*/ 55 h 77"/>
                  <a:gd name="T12" fmla="*/ 23 w 72"/>
                  <a:gd name="T13" fmla="*/ 45 h 77"/>
                  <a:gd name="T14" fmla="*/ 17 w 72"/>
                  <a:gd name="T15" fmla="*/ 38 h 77"/>
                  <a:gd name="T16" fmla="*/ 10 w 72"/>
                  <a:gd name="T17" fmla="*/ 31 h 77"/>
                  <a:gd name="T18" fmla="*/ 5 w 72"/>
                  <a:gd name="T19" fmla="*/ 19 h 77"/>
                  <a:gd name="T20" fmla="*/ 1 w 72"/>
                  <a:gd name="T21" fmla="*/ 13 h 77"/>
                  <a:gd name="T22" fmla="*/ 0 w 72"/>
                  <a:gd name="T23" fmla="*/ 5 h 77"/>
                  <a:gd name="T24" fmla="*/ 4 w 72"/>
                  <a:gd name="T25" fmla="*/ 3 h 77"/>
                  <a:gd name="T26" fmla="*/ 10 w 72"/>
                  <a:gd name="T27" fmla="*/ 9 h 77"/>
                  <a:gd name="T28" fmla="*/ 15 w 72"/>
                  <a:gd name="T29" fmla="*/ 3 h 77"/>
                  <a:gd name="T30" fmla="*/ 20 w 72"/>
                  <a:gd name="T31" fmla="*/ 3 h 77"/>
                  <a:gd name="T32" fmla="*/ 22 w 72"/>
                  <a:gd name="T33" fmla="*/ 2 h 77"/>
                  <a:gd name="T34" fmla="*/ 28 w 72"/>
                  <a:gd name="T35" fmla="*/ 4 h 77"/>
                  <a:gd name="T36" fmla="*/ 35 w 72"/>
                  <a:gd name="T37" fmla="*/ 6 h 77"/>
                  <a:gd name="T38" fmla="*/ 39 w 72"/>
                  <a:gd name="T39" fmla="*/ 7 h 77"/>
                  <a:gd name="T40" fmla="*/ 43 w 72"/>
                  <a:gd name="T41" fmla="*/ 6 h 77"/>
                  <a:gd name="T42" fmla="*/ 47 w 72"/>
                  <a:gd name="T43" fmla="*/ 7 h 77"/>
                  <a:gd name="T44" fmla="*/ 51 w 72"/>
                  <a:gd name="T45" fmla="*/ 7 h 77"/>
                  <a:gd name="T46" fmla="*/ 55 w 72"/>
                  <a:gd name="T47" fmla="*/ 9 h 77"/>
                  <a:gd name="T48" fmla="*/ 59 w 72"/>
                  <a:gd name="T49" fmla="*/ 12 h 77"/>
                  <a:gd name="T50" fmla="*/ 61 w 72"/>
                  <a:gd name="T51" fmla="*/ 11 h 77"/>
                  <a:gd name="T52" fmla="*/ 61 w 72"/>
                  <a:gd name="T53" fmla="*/ 11 h 77"/>
                  <a:gd name="T54" fmla="*/ 61 w 72"/>
                  <a:gd name="T55" fmla="*/ 11 h 77"/>
                  <a:gd name="T56" fmla="*/ 63 w 72"/>
                  <a:gd name="T57" fmla="*/ 11 h 77"/>
                  <a:gd name="T58" fmla="*/ 65 w 72"/>
                  <a:gd name="T59" fmla="*/ 14 h 77"/>
                  <a:gd name="T60" fmla="*/ 62 w 72"/>
                  <a:gd name="T61" fmla="*/ 24 h 77"/>
                  <a:gd name="T62" fmla="*/ 65 w 72"/>
                  <a:gd name="T63" fmla="*/ 28 h 77"/>
                  <a:gd name="T64" fmla="*/ 68 w 72"/>
                  <a:gd name="T65" fmla="*/ 31 h 77"/>
                  <a:gd name="T66" fmla="*/ 71 w 72"/>
                  <a:gd name="T67" fmla="*/ 35 h 77"/>
                  <a:gd name="T68" fmla="*/ 67 w 72"/>
                  <a:gd name="T69" fmla="*/ 35 h 77"/>
                  <a:gd name="T70" fmla="*/ 66 w 72"/>
                  <a:gd name="T71" fmla="*/ 38 h 77"/>
                  <a:gd name="T72" fmla="*/ 69 w 72"/>
                  <a:gd name="T73" fmla="*/ 43 h 77"/>
                  <a:gd name="T74" fmla="*/ 67 w 72"/>
                  <a:gd name="T75" fmla="*/ 46 h 77"/>
                  <a:gd name="T76" fmla="*/ 63 w 72"/>
                  <a:gd name="T77" fmla="*/ 48 h 77"/>
                  <a:gd name="T78" fmla="*/ 60 w 72"/>
                  <a:gd name="T79" fmla="*/ 49 h 77"/>
                  <a:gd name="T80" fmla="*/ 61 w 72"/>
                  <a:gd name="T81" fmla="*/ 54 h 77"/>
                  <a:gd name="T82" fmla="*/ 58 w 72"/>
                  <a:gd name="T83" fmla="*/ 53 h 77"/>
                  <a:gd name="T84" fmla="*/ 55 w 72"/>
                  <a:gd name="T85" fmla="*/ 58 h 77"/>
                  <a:gd name="T86" fmla="*/ 52 w 72"/>
                  <a:gd name="T87" fmla="*/ 61 h 77"/>
                  <a:gd name="T88" fmla="*/ 51 w 72"/>
                  <a:gd name="T89" fmla="*/ 66 h 77"/>
                  <a:gd name="T90" fmla="*/ 53 w 72"/>
                  <a:gd name="T91" fmla="*/ 71 h 77"/>
                  <a:gd name="T92" fmla="*/ 52 w 72"/>
                  <a:gd name="T93" fmla="*/ 74 h 77"/>
                  <a:gd name="T94" fmla="*/ 52 w 72"/>
                  <a:gd name="T95" fmla="*/ 7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2" h="77">
                    <a:moveTo>
                      <a:pt x="52" y="76"/>
                    </a:moveTo>
                    <a:cubicBezTo>
                      <a:pt x="52" y="76"/>
                      <a:pt x="51" y="77"/>
                      <a:pt x="50" y="75"/>
                    </a:cubicBezTo>
                    <a:cubicBezTo>
                      <a:pt x="48" y="74"/>
                      <a:pt x="47" y="72"/>
                      <a:pt x="46" y="71"/>
                    </a:cubicBezTo>
                    <a:cubicBezTo>
                      <a:pt x="44" y="70"/>
                      <a:pt x="41" y="68"/>
                      <a:pt x="39" y="66"/>
                    </a:cubicBezTo>
                    <a:cubicBezTo>
                      <a:pt x="38" y="65"/>
                      <a:pt x="38" y="61"/>
                      <a:pt x="36" y="59"/>
                    </a:cubicBezTo>
                    <a:cubicBezTo>
                      <a:pt x="34" y="57"/>
                      <a:pt x="32" y="57"/>
                      <a:pt x="30" y="55"/>
                    </a:cubicBezTo>
                    <a:cubicBezTo>
                      <a:pt x="29" y="52"/>
                      <a:pt x="25" y="47"/>
                      <a:pt x="23" y="45"/>
                    </a:cubicBezTo>
                    <a:cubicBezTo>
                      <a:pt x="21" y="43"/>
                      <a:pt x="19" y="40"/>
                      <a:pt x="17" y="38"/>
                    </a:cubicBezTo>
                    <a:cubicBezTo>
                      <a:pt x="15" y="36"/>
                      <a:pt x="12" y="34"/>
                      <a:pt x="10" y="31"/>
                    </a:cubicBezTo>
                    <a:cubicBezTo>
                      <a:pt x="9" y="28"/>
                      <a:pt x="8" y="21"/>
                      <a:pt x="5" y="19"/>
                    </a:cubicBezTo>
                    <a:cubicBezTo>
                      <a:pt x="3" y="17"/>
                      <a:pt x="2" y="17"/>
                      <a:pt x="1" y="13"/>
                    </a:cubicBezTo>
                    <a:cubicBezTo>
                      <a:pt x="0" y="9"/>
                      <a:pt x="1" y="8"/>
                      <a:pt x="0" y="5"/>
                    </a:cubicBezTo>
                    <a:cubicBezTo>
                      <a:pt x="0" y="3"/>
                      <a:pt x="2" y="0"/>
                      <a:pt x="4" y="3"/>
                    </a:cubicBezTo>
                    <a:cubicBezTo>
                      <a:pt x="6" y="5"/>
                      <a:pt x="9" y="11"/>
                      <a:pt x="10" y="9"/>
                    </a:cubicBezTo>
                    <a:cubicBezTo>
                      <a:pt x="12" y="7"/>
                      <a:pt x="13" y="2"/>
                      <a:pt x="15" y="3"/>
                    </a:cubicBezTo>
                    <a:cubicBezTo>
                      <a:pt x="16" y="4"/>
                      <a:pt x="19" y="5"/>
                      <a:pt x="20" y="3"/>
                    </a:cubicBezTo>
                    <a:cubicBezTo>
                      <a:pt x="20" y="1"/>
                      <a:pt x="21" y="1"/>
                      <a:pt x="22" y="2"/>
                    </a:cubicBezTo>
                    <a:cubicBezTo>
                      <a:pt x="24" y="4"/>
                      <a:pt x="26" y="4"/>
                      <a:pt x="28" y="4"/>
                    </a:cubicBezTo>
                    <a:cubicBezTo>
                      <a:pt x="30" y="5"/>
                      <a:pt x="33" y="5"/>
                      <a:pt x="35" y="6"/>
                    </a:cubicBezTo>
                    <a:cubicBezTo>
                      <a:pt x="36" y="7"/>
                      <a:pt x="37" y="8"/>
                      <a:pt x="39" y="7"/>
                    </a:cubicBezTo>
                    <a:cubicBezTo>
                      <a:pt x="41" y="6"/>
                      <a:pt x="41" y="5"/>
                      <a:pt x="43" y="6"/>
                    </a:cubicBezTo>
                    <a:cubicBezTo>
                      <a:pt x="44" y="7"/>
                      <a:pt x="46" y="7"/>
                      <a:pt x="47" y="7"/>
                    </a:cubicBezTo>
                    <a:cubicBezTo>
                      <a:pt x="49" y="6"/>
                      <a:pt x="50" y="6"/>
                      <a:pt x="51" y="7"/>
                    </a:cubicBezTo>
                    <a:cubicBezTo>
                      <a:pt x="53" y="8"/>
                      <a:pt x="54" y="7"/>
                      <a:pt x="55" y="9"/>
                    </a:cubicBezTo>
                    <a:cubicBezTo>
                      <a:pt x="56" y="12"/>
                      <a:pt x="57" y="14"/>
                      <a:pt x="59" y="12"/>
                    </a:cubicBezTo>
                    <a:cubicBezTo>
                      <a:pt x="60" y="11"/>
                      <a:pt x="61" y="11"/>
                      <a:pt x="61" y="11"/>
                    </a:cubicBezTo>
                    <a:cubicBezTo>
                      <a:pt x="61" y="11"/>
                      <a:pt x="61" y="11"/>
                      <a:pt x="61" y="11"/>
                    </a:cubicBezTo>
                    <a:cubicBezTo>
                      <a:pt x="61" y="11"/>
                      <a:pt x="61" y="11"/>
                      <a:pt x="61" y="11"/>
                    </a:cubicBezTo>
                    <a:cubicBezTo>
                      <a:pt x="61" y="11"/>
                      <a:pt x="62" y="10"/>
                      <a:pt x="63" y="11"/>
                    </a:cubicBezTo>
                    <a:cubicBezTo>
                      <a:pt x="64" y="11"/>
                      <a:pt x="65" y="10"/>
                      <a:pt x="65" y="14"/>
                    </a:cubicBezTo>
                    <a:cubicBezTo>
                      <a:pt x="65" y="17"/>
                      <a:pt x="63" y="21"/>
                      <a:pt x="62" y="24"/>
                    </a:cubicBezTo>
                    <a:cubicBezTo>
                      <a:pt x="61" y="26"/>
                      <a:pt x="62" y="27"/>
                      <a:pt x="65" y="28"/>
                    </a:cubicBezTo>
                    <a:cubicBezTo>
                      <a:pt x="67" y="30"/>
                      <a:pt x="67" y="29"/>
                      <a:pt x="68" y="31"/>
                    </a:cubicBezTo>
                    <a:cubicBezTo>
                      <a:pt x="70" y="34"/>
                      <a:pt x="71" y="33"/>
                      <a:pt x="71" y="35"/>
                    </a:cubicBezTo>
                    <a:cubicBezTo>
                      <a:pt x="72" y="37"/>
                      <a:pt x="69" y="36"/>
                      <a:pt x="67" y="35"/>
                    </a:cubicBezTo>
                    <a:cubicBezTo>
                      <a:pt x="65" y="35"/>
                      <a:pt x="66" y="36"/>
                      <a:pt x="66" y="38"/>
                    </a:cubicBezTo>
                    <a:cubicBezTo>
                      <a:pt x="66" y="39"/>
                      <a:pt x="69" y="41"/>
                      <a:pt x="69" y="43"/>
                    </a:cubicBezTo>
                    <a:cubicBezTo>
                      <a:pt x="70" y="44"/>
                      <a:pt x="69" y="46"/>
                      <a:pt x="67" y="46"/>
                    </a:cubicBezTo>
                    <a:cubicBezTo>
                      <a:pt x="65" y="47"/>
                      <a:pt x="65" y="48"/>
                      <a:pt x="63" y="48"/>
                    </a:cubicBezTo>
                    <a:cubicBezTo>
                      <a:pt x="62" y="48"/>
                      <a:pt x="60" y="47"/>
                      <a:pt x="60" y="49"/>
                    </a:cubicBezTo>
                    <a:cubicBezTo>
                      <a:pt x="60" y="50"/>
                      <a:pt x="61" y="52"/>
                      <a:pt x="61" y="54"/>
                    </a:cubicBezTo>
                    <a:cubicBezTo>
                      <a:pt x="61" y="56"/>
                      <a:pt x="59" y="53"/>
                      <a:pt x="58" y="53"/>
                    </a:cubicBezTo>
                    <a:cubicBezTo>
                      <a:pt x="57" y="54"/>
                      <a:pt x="55" y="55"/>
                      <a:pt x="55" y="58"/>
                    </a:cubicBezTo>
                    <a:cubicBezTo>
                      <a:pt x="54" y="61"/>
                      <a:pt x="54" y="62"/>
                      <a:pt x="52" y="61"/>
                    </a:cubicBezTo>
                    <a:cubicBezTo>
                      <a:pt x="51" y="61"/>
                      <a:pt x="51" y="64"/>
                      <a:pt x="51" y="66"/>
                    </a:cubicBezTo>
                    <a:cubicBezTo>
                      <a:pt x="52" y="68"/>
                      <a:pt x="54" y="70"/>
                      <a:pt x="53" y="71"/>
                    </a:cubicBezTo>
                    <a:cubicBezTo>
                      <a:pt x="53" y="72"/>
                      <a:pt x="52" y="73"/>
                      <a:pt x="52" y="74"/>
                    </a:cubicBezTo>
                    <a:cubicBezTo>
                      <a:pt x="52" y="75"/>
                      <a:pt x="52" y="75"/>
                      <a:pt x="52" y="76"/>
                    </a:cubicBez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0" name="Freeform 68"/>
              <p:cNvSpPr>
                <a:spLocks/>
              </p:cNvSpPr>
              <p:nvPr>
                <p:custDataLst>
                  <p:tags r:id="rId124"/>
                </p:custDataLst>
              </p:nvPr>
            </p:nvSpPr>
            <p:spPr bwMode="gray">
              <a:xfrm>
                <a:off x="4743622" y="3695911"/>
                <a:ext cx="503056" cy="451400"/>
              </a:xfrm>
              <a:custGeom>
                <a:avLst/>
                <a:gdLst>
                  <a:gd name="T0" fmla="*/ 77 w 108"/>
                  <a:gd name="T1" fmla="*/ 97 h 98"/>
                  <a:gd name="T2" fmla="*/ 65 w 108"/>
                  <a:gd name="T3" fmla="*/ 96 h 98"/>
                  <a:gd name="T4" fmla="*/ 65 w 108"/>
                  <a:gd name="T5" fmla="*/ 94 h 98"/>
                  <a:gd name="T6" fmla="*/ 75 w 108"/>
                  <a:gd name="T7" fmla="*/ 94 h 98"/>
                  <a:gd name="T8" fmla="*/ 67 w 108"/>
                  <a:gd name="T9" fmla="*/ 85 h 98"/>
                  <a:gd name="T10" fmla="*/ 55 w 108"/>
                  <a:gd name="T11" fmla="*/ 78 h 98"/>
                  <a:gd name="T12" fmla="*/ 46 w 108"/>
                  <a:gd name="T13" fmla="*/ 78 h 98"/>
                  <a:gd name="T14" fmla="*/ 39 w 108"/>
                  <a:gd name="T15" fmla="*/ 69 h 98"/>
                  <a:gd name="T16" fmla="*/ 33 w 108"/>
                  <a:gd name="T17" fmla="*/ 64 h 98"/>
                  <a:gd name="T18" fmla="*/ 31 w 108"/>
                  <a:gd name="T19" fmla="*/ 60 h 98"/>
                  <a:gd name="T20" fmla="*/ 37 w 108"/>
                  <a:gd name="T21" fmla="*/ 58 h 98"/>
                  <a:gd name="T22" fmla="*/ 27 w 108"/>
                  <a:gd name="T23" fmla="*/ 46 h 98"/>
                  <a:gd name="T24" fmla="*/ 21 w 108"/>
                  <a:gd name="T25" fmla="*/ 33 h 98"/>
                  <a:gd name="T26" fmla="*/ 14 w 108"/>
                  <a:gd name="T27" fmla="*/ 37 h 98"/>
                  <a:gd name="T28" fmla="*/ 10 w 108"/>
                  <a:gd name="T29" fmla="*/ 44 h 98"/>
                  <a:gd name="T30" fmla="*/ 3 w 108"/>
                  <a:gd name="T31" fmla="*/ 37 h 98"/>
                  <a:gd name="T32" fmla="*/ 2 w 108"/>
                  <a:gd name="T33" fmla="*/ 28 h 98"/>
                  <a:gd name="T34" fmla="*/ 15 w 108"/>
                  <a:gd name="T35" fmla="*/ 27 h 98"/>
                  <a:gd name="T36" fmla="*/ 22 w 108"/>
                  <a:gd name="T37" fmla="*/ 25 h 98"/>
                  <a:gd name="T38" fmla="*/ 33 w 108"/>
                  <a:gd name="T39" fmla="*/ 29 h 98"/>
                  <a:gd name="T40" fmla="*/ 38 w 108"/>
                  <a:gd name="T41" fmla="*/ 19 h 98"/>
                  <a:gd name="T42" fmla="*/ 39 w 108"/>
                  <a:gd name="T43" fmla="*/ 8 h 98"/>
                  <a:gd name="T44" fmla="*/ 50 w 108"/>
                  <a:gd name="T45" fmla="*/ 4 h 98"/>
                  <a:gd name="T46" fmla="*/ 58 w 108"/>
                  <a:gd name="T47" fmla="*/ 2 h 98"/>
                  <a:gd name="T48" fmla="*/ 67 w 108"/>
                  <a:gd name="T49" fmla="*/ 11 h 98"/>
                  <a:gd name="T50" fmla="*/ 76 w 108"/>
                  <a:gd name="T51" fmla="*/ 17 h 98"/>
                  <a:gd name="T52" fmla="*/ 89 w 108"/>
                  <a:gd name="T53" fmla="*/ 20 h 98"/>
                  <a:gd name="T54" fmla="*/ 97 w 108"/>
                  <a:gd name="T55" fmla="*/ 16 h 98"/>
                  <a:gd name="T56" fmla="*/ 99 w 108"/>
                  <a:gd name="T57" fmla="*/ 25 h 98"/>
                  <a:gd name="T58" fmla="*/ 104 w 108"/>
                  <a:gd name="T59" fmla="*/ 33 h 98"/>
                  <a:gd name="T60" fmla="*/ 103 w 108"/>
                  <a:gd name="T61" fmla="*/ 37 h 98"/>
                  <a:gd name="T62" fmla="*/ 101 w 108"/>
                  <a:gd name="T63" fmla="*/ 43 h 98"/>
                  <a:gd name="T64" fmla="*/ 93 w 108"/>
                  <a:gd name="T65" fmla="*/ 38 h 98"/>
                  <a:gd name="T66" fmla="*/ 85 w 108"/>
                  <a:gd name="T67" fmla="*/ 37 h 98"/>
                  <a:gd name="T68" fmla="*/ 77 w 108"/>
                  <a:gd name="T69" fmla="*/ 37 h 98"/>
                  <a:gd name="T70" fmla="*/ 64 w 108"/>
                  <a:gd name="T71" fmla="*/ 33 h 98"/>
                  <a:gd name="T72" fmla="*/ 57 w 108"/>
                  <a:gd name="T73" fmla="*/ 34 h 98"/>
                  <a:gd name="T74" fmla="*/ 46 w 108"/>
                  <a:gd name="T75" fmla="*/ 34 h 98"/>
                  <a:gd name="T76" fmla="*/ 43 w 108"/>
                  <a:gd name="T77" fmla="*/ 44 h 98"/>
                  <a:gd name="T78" fmla="*/ 52 w 108"/>
                  <a:gd name="T79" fmla="*/ 62 h 98"/>
                  <a:gd name="T80" fmla="*/ 65 w 108"/>
                  <a:gd name="T81" fmla="*/ 76 h 98"/>
                  <a:gd name="T82" fmla="*/ 78 w 108"/>
                  <a:gd name="T83"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8" h="98">
                    <a:moveTo>
                      <a:pt x="81" y="97"/>
                    </a:moveTo>
                    <a:cubicBezTo>
                      <a:pt x="81" y="97"/>
                      <a:pt x="79" y="98"/>
                      <a:pt x="77" y="97"/>
                    </a:cubicBezTo>
                    <a:cubicBezTo>
                      <a:pt x="75" y="96"/>
                      <a:pt x="73" y="93"/>
                      <a:pt x="71" y="94"/>
                    </a:cubicBezTo>
                    <a:cubicBezTo>
                      <a:pt x="69" y="95"/>
                      <a:pt x="66" y="95"/>
                      <a:pt x="65" y="96"/>
                    </a:cubicBezTo>
                    <a:cubicBezTo>
                      <a:pt x="63" y="96"/>
                      <a:pt x="60" y="96"/>
                      <a:pt x="61" y="95"/>
                    </a:cubicBezTo>
                    <a:cubicBezTo>
                      <a:pt x="61" y="93"/>
                      <a:pt x="64" y="94"/>
                      <a:pt x="65" y="94"/>
                    </a:cubicBezTo>
                    <a:cubicBezTo>
                      <a:pt x="67" y="93"/>
                      <a:pt x="70" y="92"/>
                      <a:pt x="71" y="92"/>
                    </a:cubicBezTo>
                    <a:cubicBezTo>
                      <a:pt x="72" y="92"/>
                      <a:pt x="75" y="94"/>
                      <a:pt x="75" y="94"/>
                    </a:cubicBezTo>
                    <a:cubicBezTo>
                      <a:pt x="76" y="93"/>
                      <a:pt x="73" y="91"/>
                      <a:pt x="72" y="89"/>
                    </a:cubicBezTo>
                    <a:cubicBezTo>
                      <a:pt x="71" y="87"/>
                      <a:pt x="68" y="88"/>
                      <a:pt x="67" y="85"/>
                    </a:cubicBezTo>
                    <a:cubicBezTo>
                      <a:pt x="65" y="83"/>
                      <a:pt x="63" y="80"/>
                      <a:pt x="61" y="80"/>
                    </a:cubicBezTo>
                    <a:cubicBezTo>
                      <a:pt x="58" y="80"/>
                      <a:pt x="56" y="78"/>
                      <a:pt x="55" y="78"/>
                    </a:cubicBezTo>
                    <a:cubicBezTo>
                      <a:pt x="54" y="77"/>
                      <a:pt x="52" y="79"/>
                      <a:pt x="51" y="79"/>
                    </a:cubicBezTo>
                    <a:cubicBezTo>
                      <a:pt x="50" y="79"/>
                      <a:pt x="46" y="79"/>
                      <a:pt x="46" y="78"/>
                    </a:cubicBezTo>
                    <a:cubicBezTo>
                      <a:pt x="46" y="76"/>
                      <a:pt x="46" y="74"/>
                      <a:pt x="45" y="73"/>
                    </a:cubicBezTo>
                    <a:cubicBezTo>
                      <a:pt x="43" y="73"/>
                      <a:pt x="40" y="70"/>
                      <a:pt x="39" y="69"/>
                    </a:cubicBezTo>
                    <a:cubicBezTo>
                      <a:pt x="37" y="68"/>
                      <a:pt x="36" y="67"/>
                      <a:pt x="34" y="66"/>
                    </a:cubicBezTo>
                    <a:cubicBezTo>
                      <a:pt x="31" y="65"/>
                      <a:pt x="32" y="64"/>
                      <a:pt x="33" y="64"/>
                    </a:cubicBezTo>
                    <a:cubicBezTo>
                      <a:pt x="34" y="65"/>
                      <a:pt x="36" y="67"/>
                      <a:pt x="36" y="66"/>
                    </a:cubicBezTo>
                    <a:cubicBezTo>
                      <a:pt x="35" y="64"/>
                      <a:pt x="31" y="62"/>
                      <a:pt x="31" y="60"/>
                    </a:cubicBezTo>
                    <a:cubicBezTo>
                      <a:pt x="30" y="58"/>
                      <a:pt x="33" y="58"/>
                      <a:pt x="35" y="59"/>
                    </a:cubicBezTo>
                    <a:cubicBezTo>
                      <a:pt x="36" y="59"/>
                      <a:pt x="39" y="59"/>
                      <a:pt x="37" y="58"/>
                    </a:cubicBezTo>
                    <a:cubicBezTo>
                      <a:pt x="36" y="57"/>
                      <a:pt x="31" y="54"/>
                      <a:pt x="30" y="53"/>
                    </a:cubicBezTo>
                    <a:cubicBezTo>
                      <a:pt x="29" y="52"/>
                      <a:pt x="27" y="48"/>
                      <a:pt x="27" y="46"/>
                    </a:cubicBezTo>
                    <a:cubicBezTo>
                      <a:pt x="27" y="45"/>
                      <a:pt x="26" y="41"/>
                      <a:pt x="25" y="39"/>
                    </a:cubicBezTo>
                    <a:cubicBezTo>
                      <a:pt x="25" y="38"/>
                      <a:pt x="23" y="35"/>
                      <a:pt x="21" y="33"/>
                    </a:cubicBezTo>
                    <a:cubicBezTo>
                      <a:pt x="19" y="32"/>
                      <a:pt x="17" y="30"/>
                      <a:pt x="16" y="32"/>
                    </a:cubicBezTo>
                    <a:cubicBezTo>
                      <a:pt x="16" y="33"/>
                      <a:pt x="14" y="35"/>
                      <a:pt x="14" y="37"/>
                    </a:cubicBezTo>
                    <a:cubicBezTo>
                      <a:pt x="13" y="39"/>
                      <a:pt x="12" y="40"/>
                      <a:pt x="11" y="40"/>
                    </a:cubicBezTo>
                    <a:cubicBezTo>
                      <a:pt x="10" y="40"/>
                      <a:pt x="10" y="42"/>
                      <a:pt x="10" y="44"/>
                    </a:cubicBezTo>
                    <a:cubicBezTo>
                      <a:pt x="10" y="46"/>
                      <a:pt x="8" y="46"/>
                      <a:pt x="7" y="44"/>
                    </a:cubicBezTo>
                    <a:cubicBezTo>
                      <a:pt x="6" y="43"/>
                      <a:pt x="3" y="39"/>
                      <a:pt x="3" y="37"/>
                    </a:cubicBezTo>
                    <a:cubicBezTo>
                      <a:pt x="3" y="36"/>
                      <a:pt x="2" y="36"/>
                      <a:pt x="2" y="33"/>
                    </a:cubicBezTo>
                    <a:cubicBezTo>
                      <a:pt x="2" y="31"/>
                      <a:pt x="0" y="28"/>
                      <a:pt x="2" y="28"/>
                    </a:cubicBezTo>
                    <a:cubicBezTo>
                      <a:pt x="4" y="28"/>
                      <a:pt x="8" y="29"/>
                      <a:pt x="9" y="28"/>
                    </a:cubicBezTo>
                    <a:cubicBezTo>
                      <a:pt x="11" y="27"/>
                      <a:pt x="13" y="27"/>
                      <a:pt x="15" y="27"/>
                    </a:cubicBezTo>
                    <a:cubicBezTo>
                      <a:pt x="16" y="27"/>
                      <a:pt x="20" y="25"/>
                      <a:pt x="20" y="24"/>
                    </a:cubicBezTo>
                    <a:cubicBezTo>
                      <a:pt x="20" y="22"/>
                      <a:pt x="21" y="23"/>
                      <a:pt x="22" y="25"/>
                    </a:cubicBezTo>
                    <a:cubicBezTo>
                      <a:pt x="23" y="27"/>
                      <a:pt x="26" y="27"/>
                      <a:pt x="27" y="27"/>
                    </a:cubicBezTo>
                    <a:cubicBezTo>
                      <a:pt x="29" y="27"/>
                      <a:pt x="32" y="31"/>
                      <a:pt x="33" y="29"/>
                    </a:cubicBezTo>
                    <a:cubicBezTo>
                      <a:pt x="33" y="27"/>
                      <a:pt x="35" y="24"/>
                      <a:pt x="34" y="22"/>
                    </a:cubicBezTo>
                    <a:cubicBezTo>
                      <a:pt x="33" y="20"/>
                      <a:pt x="36" y="20"/>
                      <a:pt x="38" y="19"/>
                    </a:cubicBezTo>
                    <a:cubicBezTo>
                      <a:pt x="39" y="18"/>
                      <a:pt x="40" y="17"/>
                      <a:pt x="40" y="15"/>
                    </a:cubicBezTo>
                    <a:cubicBezTo>
                      <a:pt x="39" y="13"/>
                      <a:pt x="38" y="9"/>
                      <a:pt x="39" y="8"/>
                    </a:cubicBezTo>
                    <a:cubicBezTo>
                      <a:pt x="40" y="8"/>
                      <a:pt x="43" y="8"/>
                      <a:pt x="44" y="7"/>
                    </a:cubicBezTo>
                    <a:cubicBezTo>
                      <a:pt x="46" y="5"/>
                      <a:pt x="49" y="5"/>
                      <a:pt x="50" y="4"/>
                    </a:cubicBezTo>
                    <a:cubicBezTo>
                      <a:pt x="50" y="4"/>
                      <a:pt x="50" y="0"/>
                      <a:pt x="52" y="0"/>
                    </a:cubicBezTo>
                    <a:cubicBezTo>
                      <a:pt x="54" y="0"/>
                      <a:pt x="56" y="1"/>
                      <a:pt x="58" y="2"/>
                    </a:cubicBezTo>
                    <a:cubicBezTo>
                      <a:pt x="60" y="4"/>
                      <a:pt x="61" y="5"/>
                      <a:pt x="62" y="7"/>
                    </a:cubicBezTo>
                    <a:cubicBezTo>
                      <a:pt x="63" y="9"/>
                      <a:pt x="65" y="9"/>
                      <a:pt x="67" y="11"/>
                    </a:cubicBezTo>
                    <a:cubicBezTo>
                      <a:pt x="69" y="12"/>
                      <a:pt x="69" y="15"/>
                      <a:pt x="71" y="15"/>
                    </a:cubicBezTo>
                    <a:cubicBezTo>
                      <a:pt x="72" y="15"/>
                      <a:pt x="74" y="15"/>
                      <a:pt x="76" y="17"/>
                    </a:cubicBezTo>
                    <a:cubicBezTo>
                      <a:pt x="77" y="19"/>
                      <a:pt x="77" y="19"/>
                      <a:pt x="81" y="19"/>
                    </a:cubicBezTo>
                    <a:cubicBezTo>
                      <a:pt x="85" y="18"/>
                      <a:pt x="87" y="19"/>
                      <a:pt x="89" y="20"/>
                    </a:cubicBezTo>
                    <a:cubicBezTo>
                      <a:pt x="91" y="21"/>
                      <a:pt x="93" y="19"/>
                      <a:pt x="94" y="18"/>
                    </a:cubicBezTo>
                    <a:cubicBezTo>
                      <a:pt x="95" y="16"/>
                      <a:pt x="95" y="16"/>
                      <a:pt x="97" y="16"/>
                    </a:cubicBezTo>
                    <a:cubicBezTo>
                      <a:pt x="97" y="16"/>
                      <a:pt x="98" y="18"/>
                      <a:pt x="99" y="21"/>
                    </a:cubicBezTo>
                    <a:cubicBezTo>
                      <a:pt x="100" y="24"/>
                      <a:pt x="99" y="24"/>
                      <a:pt x="99" y="25"/>
                    </a:cubicBezTo>
                    <a:cubicBezTo>
                      <a:pt x="100" y="26"/>
                      <a:pt x="102" y="26"/>
                      <a:pt x="101" y="27"/>
                    </a:cubicBezTo>
                    <a:cubicBezTo>
                      <a:pt x="100" y="29"/>
                      <a:pt x="102" y="31"/>
                      <a:pt x="104" y="33"/>
                    </a:cubicBezTo>
                    <a:cubicBezTo>
                      <a:pt x="105" y="34"/>
                      <a:pt x="108" y="35"/>
                      <a:pt x="107" y="35"/>
                    </a:cubicBezTo>
                    <a:cubicBezTo>
                      <a:pt x="106" y="36"/>
                      <a:pt x="102" y="35"/>
                      <a:pt x="103" y="37"/>
                    </a:cubicBezTo>
                    <a:cubicBezTo>
                      <a:pt x="104" y="39"/>
                      <a:pt x="103" y="42"/>
                      <a:pt x="103" y="42"/>
                    </a:cubicBezTo>
                    <a:cubicBezTo>
                      <a:pt x="103" y="42"/>
                      <a:pt x="102" y="42"/>
                      <a:pt x="101" y="43"/>
                    </a:cubicBezTo>
                    <a:cubicBezTo>
                      <a:pt x="99" y="45"/>
                      <a:pt x="98" y="43"/>
                      <a:pt x="97" y="40"/>
                    </a:cubicBezTo>
                    <a:cubicBezTo>
                      <a:pt x="96" y="38"/>
                      <a:pt x="95" y="39"/>
                      <a:pt x="93" y="38"/>
                    </a:cubicBezTo>
                    <a:cubicBezTo>
                      <a:pt x="92" y="37"/>
                      <a:pt x="91" y="37"/>
                      <a:pt x="89" y="38"/>
                    </a:cubicBezTo>
                    <a:cubicBezTo>
                      <a:pt x="88" y="38"/>
                      <a:pt x="86" y="38"/>
                      <a:pt x="85" y="37"/>
                    </a:cubicBezTo>
                    <a:cubicBezTo>
                      <a:pt x="83" y="36"/>
                      <a:pt x="83" y="37"/>
                      <a:pt x="81" y="38"/>
                    </a:cubicBezTo>
                    <a:cubicBezTo>
                      <a:pt x="79" y="39"/>
                      <a:pt x="78" y="38"/>
                      <a:pt x="77" y="37"/>
                    </a:cubicBezTo>
                    <a:cubicBezTo>
                      <a:pt x="75" y="36"/>
                      <a:pt x="72" y="36"/>
                      <a:pt x="70" y="35"/>
                    </a:cubicBezTo>
                    <a:cubicBezTo>
                      <a:pt x="68" y="35"/>
                      <a:pt x="66" y="35"/>
                      <a:pt x="64" y="33"/>
                    </a:cubicBezTo>
                    <a:cubicBezTo>
                      <a:pt x="63" y="32"/>
                      <a:pt x="62" y="32"/>
                      <a:pt x="62" y="34"/>
                    </a:cubicBezTo>
                    <a:cubicBezTo>
                      <a:pt x="61" y="36"/>
                      <a:pt x="58" y="35"/>
                      <a:pt x="57" y="34"/>
                    </a:cubicBezTo>
                    <a:cubicBezTo>
                      <a:pt x="55" y="33"/>
                      <a:pt x="54" y="38"/>
                      <a:pt x="52" y="40"/>
                    </a:cubicBezTo>
                    <a:cubicBezTo>
                      <a:pt x="51" y="42"/>
                      <a:pt x="48" y="36"/>
                      <a:pt x="46" y="34"/>
                    </a:cubicBezTo>
                    <a:cubicBezTo>
                      <a:pt x="44" y="31"/>
                      <a:pt x="42" y="34"/>
                      <a:pt x="42" y="36"/>
                    </a:cubicBezTo>
                    <a:cubicBezTo>
                      <a:pt x="43" y="39"/>
                      <a:pt x="42" y="40"/>
                      <a:pt x="43" y="44"/>
                    </a:cubicBezTo>
                    <a:cubicBezTo>
                      <a:pt x="44" y="48"/>
                      <a:pt x="45" y="48"/>
                      <a:pt x="47" y="50"/>
                    </a:cubicBezTo>
                    <a:cubicBezTo>
                      <a:pt x="50" y="52"/>
                      <a:pt x="51" y="59"/>
                      <a:pt x="52" y="62"/>
                    </a:cubicBezTo>
                    <a:cubicBezTo>
                      <a:pt x="54" y="65"/>
                      <a:pt x="57" y="67"/>
                      <a:pt x="59" y="69"/>
                    </a:cubicBezTo>
                    <a:cubicBezTo>
                      <a:pt x="61" y="71"/>
                      <a:pt x="63" y="74"/>
                      <a:pt x="65" y="76"/>
                    </a:cubicBezTo>
                    <a:cubicBezTo>
                      <a:pt x="67" y="78"/>
                      <a:pt x="71" y="83"/>
                      <a:pt x="72" y="86"/>
                    </a:cubicBezTo>
                    <a:cubicBezTo>
                      <a:pt x="74" y="88"/>
                      <a:pt x="76" y="88"/>
                      <a:pt x="78" y="90"/>
                    </a:cubicBezTo>
                    <a:cubicBezTo>
                      <a:pt x="80" y="92"/>
                      <a:pt x="80" y="96"/>
                      <a:pt x="81" y="97"/>
                    </a:cubicBezTo>
                    <a:close/>
                  </a:path>
                </a:pathLst>
              </a:custGeom>
              <a:solidFill>
                <a:srgbClr val="24892C"/>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1" name="Freeform 208"/>
              <p:cNvSpPr>
                <a:spLocks/>
              </p:cNvSpPr>
              <p:nvPr>
                <p:custDataLst>
                  <p:tags r:id="rId125"/>
                </p:custDataLst>
              </p:nvPr>
            </p:nvSpPr>
            <p:spPr bwMode="gray">
              <a:xfrm>
                <a:off x="4721936" y="3655670"/>
                <a:ext cx="273214" cy="177077"/>
              </a:xfrm>
              <a:custGeom>
                <a:avLst/>
                <a:gdLst>
                  <a:gd name="T0" fmla="*/ 57 w 57"/>
                  <a:gd name="T1" fmla="*/ 10 h 40"/>
                  <a:gd name="T2" fmla="*/ 55 w 57"/>
                  <a:gd name="T3" fmla="*/ 4 h 40"/>
                  <a:gd name="T4" fmla="*/ 52 w 57"/>
                  <a:gd name="T5" fmla="*/ 0 h 40"/>
                  <a:gd name="T6" fmla="*/ 49 w 57"/>
                  <a:gd name="T7" fmla="*/ 1 h 40"/>
                  <a:gd name="T8" fmla="*/ 50 w 57"/>
                  <a:gd name="T9" fmla="*/ 7 h 40"/>
                  <a:gd name="T10" fmla="*/ 45 w 57"/>
                  <a:gd name="T11" fmla="*/ 4 h 40"/>
                  <a:gd name="T12" fmla="*/ 41 w 57"/>
                  <a:gd name="T13" fmla="*/ 6 h 40"/>
                  <a:gd name="T14" fmla="*/ 37 w 57"/>
                  <a:gd name="T15" fmla="*/ 7 h 40"/>
                  <a:gd name="T16" fmla="*/ 31 w 57"/>
                  <a:gd name="T17" fmla="*/ 7 h 40"/>
                  <a:gd name="T18" fmla="*/ 26 w 57"/>
                  <a:gd name="T19" fmla="*/ 10 h 40"/>
                  <a:gd name="T20" fmla="*/ 22 w 57"/>
                  <a:gd name="T21" fmla="*/ 13 h 40"/>
                  <a:gd name="T22" fmla="*/ 14 w 57"/>
                  <a:gd name="T23" fmla="*/ 11 h 40"/>
                  <a:gd name="T24" fmla="*/ 8 w 57"/>
                  <a:gd name="T25" fmla="*/ 10 h 40"/>
                  <a:gd name="T26" fmla="*/ 2 w 57"/>
                  <a:gd name="T27" fmla="*/ 14 h 40"/>
                  <a:gd name="T28" fmla="*/ 4 w 57"/>
                  <a:gd name="T29" fmla="*/ 17 h 40"/>
                  <a:gd name="T30" fmla="*/ 7 w 57"/>
                  <a:gd name="T31" fmla="*/ 19 h 40"/>
                  <a:gd name="T32" fmla="*/ 4 w 57"/>
                  <a:gd name="T33" fmla="*/ 22 h 40"/>
                  <a:gd name="T34" fmla="*/ 5 w 57"/>
                  <a:gd name="T35" fmla="*/ 27 h 40"/>
                  <a:gd name="T36" fmla="*/ 7 w 57"/>
                  <a:gd name="T37" fmla="*/ 30 h 40"/>
                  <a:gd name="T38" fmla="*/ 8 w 57"/>
                  <a:gd name="T39" fmla="*/ 34 h 40"/>
                  <a:gd name="T40" fmla="*/ 4 w 57"/>
                  <a:gd name="T41" fmla="*/ 37 h 40"/>
                  <a:gd name="T42" fmla="*/ 5 w 57"/>
                  <a:gd name="T43" fmla="*/ 37 h 40"/>
                  <a:gd name="T44" fmla="*/ 12 w 57"/>
                  <a:gd name="T45" fmla="*/ 37 h 40"/>
                  <a:gd name="T46" fmla="*/ 18 w 57"/>
                  <a:gd name="T47" fmla="*/ 36 h 40"/>
                  <a:gd name="T48" fmla="*/ 23 w 57"/>
                  <a:gd name="T49" fmla="*/ 33 h 40"/>
                  <a:gd name="T50" fmla="*/ 25 w 57"/>
                  <a:gd name="T51" fmla="*/ 34 h 40"/>
                  <a:gd name="T52" fmla="*/ 30 w 57"/>
                  <a:gd name="T53" fmla="*/ 36 h 40"/>
                  <a:gd name="T54" fmla="*/ 36 w 57"/>
                  <a:gd name="T55" fmla="*/ 38 h 40"/>
                  <a:gd name="T56" fmla="*/ 37 w 57"/>
                  <a:gd name="T57" fmla="*/ 31 h 40"/>
                  <a:gd name="T58" fmla="*/ 41 w 57"/>
                  <a:gd name="T59" fmla="*/ 28 h 40"/>
                  <a:gd name="T60" fmla="*/ 43 w 57"/>
                  <a:gd name="T61" fmla="*/ 24 h 40"/>
                  <a:gd name="T62" fmla="*/ 42 w 57"/>
                  <a:gd name="T63" fmla="*/ 17 h 40"/>
                  <a:gd name="T64" fmla="*/ 47 w 57"/>
                  <a:gd name="T65" fmla="*/ 16 h 40"/>
                  <a:gd name="T66" fmla="*/ 53 w 57"/>
                  <a:gd name="T67" fmla="*/ 13 h 40"/>
                  <a:gd name="T68" fmla="*/ 55 w 57"/>
                  <a:gd name="T69" fmla="*/ 9 h 40"/>
                  <a:gd name="T70" fmla="*/ 57 w 57"/>
                  <a:gd name="T71" fmla="*/ 10 h 40"/>
                  <a:gd name="T72" fmla="*/ 57 w 57"/>
                  <a:gd name="T73" fmla="*/ 10 h 40"/>
                  <a:gd name="connsiteX0" fmla="*/ 10036 w 10036"/>
                  <a:gd name="connsiteY0" fmla="*/ 2500 h 9640"/>
                  <a:gd name="connsiteX1" fmla="*/ 9685 w 10036"/>
                  <a:gd name="connsiteY1" fmla="*/ 1000 h 9640"/>
                  <a:gd name="connsiteX2" fmla="*/ 9159 w 10036"/>
                  <a:gd name="connsiteY2" fmla="*/ 0 h 9640"/>
                  <a:gd name="connsiteX3" fmla="*/ 8632 w 10036"/>
                  <a:gd name="connsiteY3" fmla="*/ 250 h 9640"/>
                  <a:gd name="connsiteX4" fmla="*/ 8808 w 10036"/>
                  <a:gd name="connsiteY4" fmla="*/ 1750 h 9640"/>
                  <a:gd name="connsiteX5" fmla="*/ 7931 w 10036"/>
                  <a:gd name="connsiteY5" fmla="*/ 1000 h 9640"/>
                  <a:gd name="connsiteX6" fmla="*/ 7229 w 10036"/>
                  <a:gd name="connsiteY6" fmla="*/ 1500 h 9640"/>
                  <a:gd name="connsiteX7" fmla="*/ 6527 w 10036"/>
                  <a:gd name="connsiteY7" fmla="*/ 1750 h 9640"/>
                  <a:gd name="connsiteX8" fmla="*/ 5475 w 10036"/>
                  <a:gd name="connsiteY8" fmla="*/ 1750 h 9640"/>
                  <a:gd name="connsiteX9" fmla="*/ 4597 w 10036"/>
                  <a:gd name="connsiteY9" fmla="*/ 2500 h 9640"/>
                  <a:gd name="connsiteX10" fmla="*/ 3896 w 10036"/>
                  <a:gd name="connsiteY10" fmla="*/ 3250 h 9640"/>
                  <a:gd name="connsiteX11" fmla="*/ 2492 w 10036"/>
                  <a:gd name="connsiteY11" fmla="*/ 2750 h 9640"/>
                  <a:gd name="connsiteX12" fmla="*/ 1440 w 10036"/>
                  <a:gd name="connsiteY12" fmla="*/ 2500 h 9640"/>
                  <a:gd name="connsiteX13" fmla="*/ 387 w 10036"/>
                  <a:gd name="connsiteY13" fmla="*/ 3500 h 9640"/>
                  <a:gd name="connsiteX14" fmla="*/ 738 w 10036"/>
                  <a:gd name="connsiteY14" fmla="*/ 4250 h 9640"/>
                  <a:gd name="connsiteX15" fmla="*/ 1264 w 10036"/>
                  <a:gd name="connsiteY15" fmla="*/ 4750 h 9640"/>
                  <a:gd name="connsiteX16" fmla="*/ 0 w 10036"/>
                  <a:gd name="connsiteY16" fmla="*/ 5500 h 9640"/>
                  <a:gd name="connsiteX17" fmla="*/ 913 w 10036"/>
                  <a:gd name="connsiteY17" fmla="*/ 6750 h 9640"/>
                  <a:gd name="connsiteX18" fmla="*/ 1264 w 10036"/>
                  <a:gd name="connsiteY18" fmla="*/ 7500 h 9640"/>
                  <a:gd name="connsiteX19" fmla="*/ 1440 w 10036"/>
                  <a:gd name="connsiteY19" fmla="*/ 8500 h 9640"/>
                  <a:gd name="connsiteX20" fmla="*/ 738 w 10036"/>
                  <a:gd name="connsiteY20" fmla="*/ 9250 h 9640"/>
                  <a:gd name="connsiteX21" fmla="*/ 913 w 10036"/>
                  <a:gd name="connsiteY21" fmla="*/ 9250 h 9640"/>
                  <a:gd name="connsiteX22" fmla="*/ 2141 w 10036"/>
                  <a:gd name="connsiteY22" fmla="*/ 9250 h 9640"/>
                  <a:gd name="connsiteX23" fmla="*/ 3194 w 10036"/>
                  <a:gd name="connsiteY23" fmla="*/ 9000 h 9640"/>
                  <a:gd name="connsiteX24" fmla="*/ 4071 w 10036"/>
                  <a:gd name="connsiteY24" fmla="*/ 8250 h 9640"/>
                  <a:gd name="connsiteX25" fmla="*/ 4422 w 10036"/>
                  <a:gd name="connsiteY25" fmla="*/ 8500 h 9640"/>
                  <a:gd name="connsiteX26" fmla="*/ 5299 w 10036"/>
                  <a:gd name="connsiteY26" fmla="*/ 9000 h 9640"/>
                  <a:gd name="connsiteX27" fmla="*/ 6352 w 10036"/>
                  <a:gd name="connsiteY27" fmla="*/ 9500 h 9640"/>
                  <a:gd name="connsiteX28" fmla="*/ 6527 w 10036"/>
                  <a:gd name="connsiteY28" fmla="*/ 7750 h 9640"/>
                  <a:gd name="connsiteX29" fmla="*/ 7229 w 10036"/>
                  <a:gd name="connsiteY29" fmla="*/ 7000 h 9640"/>
                  <a:gd name="connsiteX30" fmla="*/ 7580 w 10036"/>
                  <a:gd name="connsiteY30" fmla="*/ 6000 h 9640"/>
                  <a:gd name="connsiteX31" fmla="*/ 7404 w 10036"/>
                  <a:gd name="connsiteY31" fmla="*/ 4250 h 9640"/>
                  <a:gd name="connsiteX32" fmla="*/ 8282 w 10036"/>
                  <a:gd name="connsiteY32" fmla="*/ 4000 h 9640"/>
                  <a:gd name="connsiteX33" fmla="*/ 9334 w 10036"/>
                  <a:gd name="connsiteY33" fmla="*/ 3250 h 9640"/>
                  <a:gd name="connsiteX34" fmla="*/ 9685 w 10036"/>
                  <a:gd name="connsiteY34" fmla="*/ 2250 h 9640"/>
                  <a:gd name="connsiteX35" fmla="*/ 10036 w 10036"/>
                  <a:gd name="connsiteY35" fmla="*/ 2500 h 9640"/>
                  <a:gd name="connsiteX36" fmla="*/ 10036 w 10036"/>
                  <a:gd name="connsiteY36" fmla="*/ 2500 h 9640"/>
                  <a:gd name="connsiteX0" fmla="*/ 10246 w 10246"/>
                  <a:gd name="connsiteY0" fmla="*/ 2593 h 9999"/>
                  <a:gd name="connsiteX1" fmla="*/ 9896 w 10246"/>
                  <a:gd name="connsiteY1" fmla="*/ 1037 h 9999"/>
                  <a:gd name="connsiteX2" fmla="*/ 9372 w 10246"/>
                  <a:gd name="connsiteY2" fmla="*/ 0 h 9999"/>
                  <a:gd name="connsiteX3" fmla="*/ 8847 w 10246"/>
                  <a:gd name="connsiteY3" fmla="*/ 259 h 9999"/>
                  <a:gd name="connsiteX4" fmla="*/ 9022 w 10246"/>
                  <a:gd name="connsiteY4" fmla="*/ 1815 h 9999"/>
                  <a:gd name="connsiteX5" fmla="*/ 8149 w 10246"/>
                  <a:gd name="connsiteY5" fmla="*/ 1037 h 9999"/>
                  <a:gd name="connsiteX6" fmla="*/ 7449 w 10246"/>
                  <a:gd name="connsiteY6" fmla="*/ 1556 h 9999"/>
                  <a:gd name="connsiteX7" fmla="*/ 6750 w 10246"/>
                  <a:gd name="connsiteY7" fmla="*/ 1815 h 9999"/>
                  <a:gd name="connsiteX8" fmla="*/ 5701 w 10246"/>
                  <a:gd name="connsiteY8" fmla="*/ 1815 h 9999"/>
                  <a:gd name="connsiteX9" fmla="*/ 4827 w 10246"/>
                  <a:gd name="connsiteY9" fmla="*/ 2593 h 9999"/>
                  <a:gd name="connsiteX10" fmla="*/ 4128 w 10246"/>
                  <a:gd name="connsiteY10" fmla="*/ 3371 h 9999"/>
                  <a:gd name="connsiteX11" fmla="*/ 2729 w 10246"/>
                  <a:gd name="connsiteY11" fmla="*/ 2853 h 9999"/>
                  <a:gd name="connsiteX12" fmla="*/ 1681 w 10246"/>
                  <a:gd name="connsiteY12" fmla="*/ 2593 h 9999"/>
                  <a:gd name="connsiteX13" fmla="*/ 632 w 10246"/>
                  <a:gd name="connsiteY13" fmla="*/ 3631 h 9999"/>
                  <a:gd name="connsiteX14" fmla="*/ 981 w 10246"/>
                  <a:gd name="connsiteY14" fmla="*/ 4409 h 9999"/>
                  <a:gd name="connsiteX15" fmla="*/ 1505 w 10246"/>
                  <a:gd name="connsiteY15" fmla="*/ 4927 h 9999"/>
                  <a:gd name="connsiteX16" fmla="*/ 63 w 10246"/>
                  <a:gd name="connsiteY16" fmla="*/ 5063 h 9999"/>
                  <a:gd name="connsiteX17" fmla="*/ 246 w 10246"/>
                  <a:gd name="connsiteY17" fmla="*/ 5705 h 9999"/>
                  <a:gd name="connsiteX18" fmla="*/ 1156 w 10246"/>
                  <a:gd name="connsiteY18" fmla="*/ 7002 h 9999"/>
                  <a:gd name="connsiteX19" fmla="*/ 1505 w 10246"/>
                  <a:gd name="connsiteY19" fmla="*/ 7780 h 9999"/>
                  <a:gd name="connsiteX20" fmla="*/ 1681 w 10246"/>
                  <a:gd name="connsiteY20" fmla="*/ 8817 h 9999"/>
                  <a:gd name="connsiteX21" fmla="*/ 981 w 10246"/>
                  <a:gd name="connsiteY21" fmla="*/ 9595 h 9999"/>
                  <a:gd name="connsiteX22" fmla="*/ 1156 w 10246"/>
                  <a:gd name="connsiteY22" fmla="*/ 9595 h 9999"/>
                  <a:gd name="connsiteX23" fmla="*/ 2379 w 10246"/>
                  <a:gd name="connsiteY23" fmla="*/ 9595 h 9999"/>
                  <a:gd name="connsiteX24" fmla="*/ 3429 w 10246"/>
                  <a:gd name="connsiteY24" fmla="*/ 9336 h 9999"/>
                  <a:gd name="connsiteX25" fmla="*/ 4302 w 10246"/>
                  <a:gd name="connsiteY25" fmla="*/ 8558 h 9999"/>
                  <a:gd name="connsiteX26" fmla="*/ 4652 w 10246"/>
                  <a:gd name="connsiteY26" fmla="*/ 8817 h 9999"/>
                  <a:gd name="connsiteX27" fmla="*/ 5526 w 10246"/>
                  <a:gd name="connsiteY27" fmla="*/ 9336 h 9999"/>
                  <a:gd name="connsiteX28" fmla="*/ 6575 w 10246"/>
                  <a:gd name="connsiteY28" fmla="*/ 9855 h 9999"/>
                  <a:gd name="connsiteX29" fmla="*/ 6750 w 10246"/>
                  <a:gd name="connsiteY29" fmla="*/ 8039 h 9999"/>
                  <a:gd name="connsiteX30" fmla="*/ 7449 w 10246"/>
                  <a:gd name="connsiteY30" fmla="*/ 7261 h 9999"/>
                  <a:gd name="connsiteX31" fmla="*/ 7799 w 10246"/>
                  <a:gd name="connsiteY31" fmla="*/ 6224 h 9999"/>
                  <a:gd name="connsiteX32" fmla="*/ 7623 w 10246"/>
                  <a:gd name="connsiteY32" fmla="*/ 4409 h 9999"/>
                  <a:gd name="connsiteX33" fmla="*/ 8498 w 10246"/>
                  <a:gd name="connsiteY33" fmla="*/ 4149 h 9999"/>
                  <a:gd name="connsiteX34" fmla="*/ 9547 w 10246"/>
                  <a:gd name="connsiteY34" fmla="*/ 3371 h 9999"/>
                  <a:gd name="connsiteX35" fmla="*/ 9896 w 10246"/>
                  <a:gd name="connsiteY35" fmla="*/ 2334 h 9999"/>
                  <a:gd name="connsiteX36" fmla="*/ 10246 w 10246"/>
                  <a:gd name="connsiteY36" fmla="*/ 2593 h 9999"/>
                  <a:gd name="connsiteX37" fmla="*/ 10246 w 10246"/>
                  <a:gd name="connsiteY37" fmla="*/ 2593 h 9999"/>
                  <a:gd name="connsiteX0" fmla="*/ 10000 w 10000"/>
                  <a:gd name="connsiteY0" fmla="*/ 2593 h 10000"/>
                  <a:gd name="connsiteX1" fmla="*/ 9658 w 10000"/>
                  <a:gd name="connsiteY1" fmla="*/ 1037 h 10000"/>
                  <a:gd name="connsiteX2" fmla="*/ 9147 w 10000"/>
                  <a:gd name="connsiteY2" fmla="*/ 0 h 10000"/>
                  <a:gd name="connsiteX3" fmla="*/ 8635 w 10000"/>
                  <a:gd name="connsiteY3" fmla="*/ 259 h 10000"/>
                  <a:gd name="connsiteX4" fmla="*/ 8805 w 10000"/>
                  <a:gd name="connsiteY4" fmla="*/ 1815 h 10000"/>
                  <a:gd name="connsiteX5" fmla="*/ 7953 w 10000"/>
                  <a:gd name="connsiteY5" fmla="*/ 1037 h 10000"/>
                  <a:gd name="connsiteX6" fmla="*/ 7270 w 10000"/>
                  <a:gd name="connsiteY6" fmla="*/ 1556 h 10000"/>
                  <a:gd name="connsiteX7" fmla="*/ 6588 w 10000"/>
                  <a:gd name="connsiteY7" fmla="*/ 1815 h 10000"/>
                  <a:gd name="connsiteX8" fmla="*/ 5564 w 10000"/>
                  <a:gd name="connsiteY8" fmla="*/ 1815 h 10000"/>
                  <a:gd name="connsiteX9" fmla="*/ 4711 w 10000"/>
                  <a:gd name="connsiteY9" fmla="*/ 2593 h 10000"/>
                  <a:gd name="connsiteX10" fmla="*/ 4029 w 10000"/>
                  <a:gd name="connsiteY10" fmla="*/ 3371 h 10000"/>
                  <a:gd name="connsiteX11" fmla="*/ 2663 w 10000"/>
                  <a:gd name="connsiteY11" fmla="*/ 2853 h 10000"/>
                  <a:gd name="connsiteX12" fmla="*/ 1641 w 10000"/>
                  <a:gd name="connsiteY12" fmla="*/ 2593 h 10000"/>
                  <a:gd name="connsiteX13" fmla="*/ 617 w 10000"/>
                  <a:gd name="connsiteY13" fmla="*/ 3631 h 10000"/>
                  <a:gd name="connsiteX14" fmla="*/ 479 w 10000"/>
                  <a:gd name="connsiteY14" fmla="*/ 4409 h 10000"/>
                  <a:gd name="connsiteX15" fmla="*/ 1469 w 10000"/>
                  <a:gd name="connsiteY15" fmla="*/ 4927 h 10000"/>
                  <a:gd name="connsiteX16" fmla="*/ 61 w 10000"/>
                  <a:gd name="connsiteY16" fmla="*/ 5064 h 10000"/>
                  <a:gd name="connsiteX17" fmla="*/ 240 w 10000"/>
                  <a:gd name="connsiteY17" fmla="*/ 5706 h 10000"/>
                  <a:gd name="connsiteX18" fmla="*/ 1128 w 10000"/>
                  <a:gd name="connsiteY18" fmla="*/ 7003 h 10000"/>
                  <a:gd name="connsiteX19" fmla="*/ 1469 w 10000"/>
                  <a:gd name="connsiteY19" fmla="*/ 7781 h 10000"/>
                  <a:gd name="connsiteX20" fmla="*/ 1641 w 10000"/>
                  <a:gd name="connsiteY20" fmla="*/ 8818 h 10000"/>
                  <a:gd name="connsiteX21" fmla="*/ 957 w 10000"/>
                  <a:gd name="connsiteY21" fmla="*/ 9596 h 10000"/>
                  <a:gd name="connsiteX22" fmla="*/ 1128 w 10000"/>
                  <a:gd name="connsiteY22" fmla="*/ 9596 h 10000"/>
                  <a:gd name="connsiteX23" fmla="*/ 2322 w 10000"/>
                  <a:gd name="connsiteY23" fmla="*/ 9596 h 10000"/>
                  <a:gd name="connsiteX24" fmla="*/ 3347 w 10000"/>
                  <a:gd name="connsiteY24" fmla="*/ 9337 h 10000"/>
                  <a:gd name="connsiteX25" fmla="*/ 4199 w 10000"/>
                  <a:gd name="connsiteY25" fmla="*/ 8559 h 10000"/>
                  <a:gd name="connsiteX26" fmla="*/ 4540 w 10000"/>
                  <a:gd name="connsiteY26" fmla="*/ 8818 h 10000"/>
                  <a:gd name="connsiteX27" fmla="*/ 5393 w 10000"/>
                  <a:gd name="connsiteY27" fmla="*/ 9337 h 10000"/>
                  <a:gd name="connsiteX28" fmla="*/ 6417 w 10000"/>
                  <a:gd name="connsiteY28" fmla="*/ 9856 h 10000"/>
                  <a:gd name="connsiteX29" fmla="*/ 6588 w 10000"/>
                  <a:gd name="connsiteY29" fmla="*/ 8040 h 10000"/>
                  <a:gd name="connsiteX30" fmla="*/ 7270 w 10000"/>
                  <a:gd name="connsiteY30" fmla="*/ 7262 h 10000"/>
                  <a:gd name="connsiteX31" fmla="*/ 7612 w 10000"/>
                  <a:gd name="connsiteY31" fmla="*/ 6225 h 10000"/>
                  <a:gd name="connsiteX32" fmla="*/ 7440 w 10000"/>
                  <a:gd name="connsiteY32" fmla="*/ 4409 h 10000"/>
                  <a:gd name="connsiteX33" fmla="*/ 8294 w 10000"/>
                  <a:gd name="connsiteY33" fmla="*/ 4149 h 10000"/>
                  <a:gd name="connsiteX34" fmla="*/ 9318 w 10000"/>
                  <a:gd name="connsiteY34" fmla="*/ 3371 h 10000"/>
                  <a:gd name="connsiteX35" fmla="*/ 9658 w 10000"/>
                  <a:gd name="connsiteY35" fmla="*/ 2334 h 10000"/>
                  <a:gd name="connsiteX36" fmla="*/ 10000 w 10000"/>
                  <a:gd name="connsiteY36" fmla="*/ 2593 h 10000"/>
                  <a:gd name="connsiteX37" fmla="*/ 10000 w 10000"/>
                  <a:gd name="connsiteY37" fmla="*/ 2593 h 10000"/>
                  <a:gd name="connsiteX0" fmla="*/ 10000 w 10000"/>
                  <a:gd name="connsiteY0" fmla="*/ 2593 h 10000"/>
                  <a:gd name="connsiteX1" fmla="*/ 9658 w 10000"/>
                  <a:gd name="connsiteY1" fmla="*/ 1037 h 10000"/>
                  <a:gd name="connsiteX2" fmla="*/ 9147 w 10000"/>
                  <a:gd name="connsiteY2" fmla="*/ 0 h 10000"/>
                  <a:gd name="connsiteX3" fmla="*/ 8635 w 10000"/>
                  <a:gd name="connsiteY3" fmla="*/ 259 h 10000"/>
                  <a:gd name="connsiteX4" fmla="*/ 8805 w 10000"/>
                  <a:gd name="connsiteY4" fmla="*/ 1815 h 10000"/>
                  <a:gd name="connsiteX5" fmla="*/ 7953 w 10000"/>
                  <a:gd name="connsiteY5" fmla="*/ 1037 h 10000"/>
                  <a:gd name="connsiteX6" fmla="*/ 7270 w 10000"/>
                  <a:gd name="connsiteY6" fmla="*/ 1556 h 10000"/>
                  <a:gd name="connsiteX7" fmla="*/ 6588 w 10000"/>
                  <a:gd name="connsiteY7" fmla="*/ 1815 h 10000"/>
                  <a:gd name="connsiteX8" fmla="*/ 5564 w 10000"/>
                  <a:gd name="connsiteY8" fmla="*/ 1815 h 10000"/>
                  <a:gd name="connsiteX9" fmla="*/ 4711 w 10000"/>
                  <a:gd name="connsiteY9" fmla="*/ 2593 h 10000"/>
                  <a:gd name="connsiteX10" fmla="*/ 4029 w 10000"/>
                  <a:gd name="connsiteY10" fmla="*/ 3371 h 10000"/>
                  <a:gd name="connsiteX11" fmla="*/ 2663 w 10000"/>
                  <a:gd name="connsiteY11" fmla="*/ 2853 h 10000"/>
                  <a:gd name="connsiteX12" fmla="*/ 1641 w 10000"/>
                  <a:gd name="connsiteY12" fmla="*/ 2593 h 10000"/>
                  <a:gd name="connsiteX13" fmla="*/ 617 w 10000"/>
                  <a:gd name="connsiteY13" fmla="*/ 3631 h 10000"/>
                  <a:gd name="connsiteX14" fmla="*/ 479 w 10000"/>
                  <a:gd name="connsiteY14" fmla="*/ 4409 h 10000"/>
                  <a:gd name="connsiteX15" fmla="*/ 61 w 10000"/>
                  <a:gd name="connsiteY15" fmla="*/ 5064 h 10000"/>
                  <a:gd name="connsiteX16" fmla="*/ 240 w 10000"/>
                  <a:gd name="connsiteY16" fmla="*/ 5706 h 10000"/>
                  <a:gd name="connsiteX17" fmla="*/ 1128 w 10000"/>
                  <a:gd name="connsiteY17" fmla="*/ 7003 h 10000"/>
                  <a:gd name="connsiteX18" fmla="*/ 1469 w 10000"/>
                  <a:gd name="connsiteY18" fmla="*/ 7781 h 10000"/>
                  <a:gd name="connsiteX19" fmla="*/ 1641 w 10000"/>
                  <a:gd name="connsiteY19" fmla="*/ 8818 h 10000"/>
                  <a:gd name="connsiteX20" fmla="*/ 957 w 10000"/>
                  <a:gd name="connsiteY20" fmla="*/ 9596 h 10000"/>
                  <a:gd name="connsiteX21" fmla="*/ 1128 w 10000"/>
                  <a:gd name="connsiteY21" fmla="*/ 9596 h 10000"/>
                  <a:gd name="connsiteX22" fmla="*/ 2322 w 10000"/>
                  <a:gd name="connsiteY22" fmla="*/ 9596 h 10000"/>
                  <a:gd name="connsiteX23" fmla="*/ 3347 w 10000"/>
                  <a:gd name="connsiteY23" fmla="*/ 9337 h 10000"/>
                  <a:gd name="connsiteX24" fmla="*/ 4199 w 10000"/>
                  <a:gd name="connsiteY24" fmla="*/ 8559 h 10000"/>
                  <a:gd name="connsiteX25" fmla="*/ 4540 w 10000"/>
                  <a:gd name="connsiteY25" fmla="*/ 8818 h 10000"/>
                  <a:gd name="connsiteX26" fmla="*/ 5393 w 10000"/>
                  <a:gd name="connsiteY26" fmla="*/ 9337 h 10000"/>
                  <a:gd name="connsiteX27" fmla="*/ 6417 w 10000"/>
                  <a:gd name="connsiteY27" fmla="*/ 9856 h 10000"/>
                  <a:gd name="connsiteX28" fmla="*/ 6588 w 10000"/>
                  <a:gd name="connsiteY28" fmla="*/ 8040 h 10000"/>
                  <a:gd name="connsiteX29" fmla="*/ 7270 w 10000"/>
                  <a:gd name="connsiteY29" fmla="*/ 7262 h 10000"/>
                  <a:gd name="connsiteX30" fmla="*/ 7612 w 10000"/>
                  <a:gd name="connsiteY30" fmla="*/ 6225 h 10000"/>
                  <a:gd name="connsiteX31" fmla="*/ 7440 w 10000"/>
                  <a:gd name="connsiteY31" fmla="*/ 4409 h 10000"/>
                  <a:gd name="connsiteX32" fmla="*/ 8294 w 10000"/>
                  <a:gd name="connsiteY32" fmla="*/ 4149 h 10000"/>
                  <a:gd name="connsiteX33" fmla="*/ 9318 w 10000"/>
                  <a:gd name="connsiteY33" fmla="*/ 3371 h 10000"/>
                  <a:gd name="connsiteX34" fmla="*/ 9658 w 10000"/>
                  <a:gd name="connsiteY34" fmla="*/ 2334 h 10000"/>
                  <a:gd name="connsiteX35" fmla="*/ 10000 w 10000"/>
                  <a:gd name="connsiteY35" fmla="*/ 2593 h 10000"/>
                  <a:gd name="connsiteX36" fmla="*/ 10000 w 10000"/>
                  <a:gd name="connsiteY36" fmla="*/ 259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000" h="10000">
                    <a:moveTo>
                      <a:pt x="10000" y="2593"/>
                    </a:moveTo>
                    <a:cubicBezTo>
                      <a:pt x="9830" y="2334"/>
                      <a:pt x="9830" y="1556"/>
                      <a:pt x="9658" y="1037"/>
                    </a:cubicBezTo>
                    <a:cubicBezTo>
                      <a:pt x="9489" y="519"/>
                      <a:pt x="9318" y="259"/>
                      <a:pt x="9147" y="0"/>
                    </a:cubicBezTo>
                    <a:cubicBezTo>
                      <a:pt x="9147" y="0"/>
                      <a:pt x="8635" y="0"/>
                      <a:pt x="8635" y="259"/>
                    </a:cubicBezTo>
                    <a:cubicBezTo>
                      <a:pt x="8465" y="778"/>
                      <a:pt x="8976" y="1815"/>
                      <a:pt x="8805" y="1815"/>
                    </a:cubicBezTo>
                    <a:cubicBezTo>
                      <a:pt x="8465" y="1556"/>
                      <a:pt x="8123" y="1037"/>
                      <a:pt x="7953" y="1037"/>
                    </a:cubicBezTo>
                    <a:cubicBezTo>
                      <a:pt x="7612" y="1037"/>
                      <a:pt x="7440" y="1297"/>
                      <a:pt x="7270" y="1556"/>
                    </a:cubicBezTo>
                    <a:cubicBezTo>
                      <a:pt x="7100" y="1815"/>
                      <a:pt x="6759" y="1815"/>
                      <a:pt x="6588" y="1815"/>
                    </a:cubicBezTo>
                    <a:cubicBezTo>
                      <a:pt x="6417" y="1556"/>
                      <a:pt x="5735" y="1556"/>
                      <a:pt x="5564" y="1815"/>
                    </a:cubicBezTo>
                    <a:cubicBezTo>
                      <a:pt x="5224" y="2075"/>
                      <a:pt x="4882" y="2334"/>
                      <a:pt x="4711" y="2593"/>
                    </a:cubicBezTo>
                    <a:cubicBezTo>
                      <a:pt x="4540" y="2853"/>
                      <a:pt x="4370" y="3371"/>
                      <a:pt x="4029" y="3371"/>
                    </a:cubicBezTo>
                    <a:cubicBezTo>
                      <a:pt x="3687" y="3371"/>
                      <a:pt x="3005" y="3112"/>
                      <a:pt x="2663" y="2853"/>
                    </a:cubicBezTo>
                    <a:cubicBezTo>
                      <a:pt x="2322" y="2593"/>
                      <a:pt x="1981" y="2593"/>
                      <a:pt x="1641" y="2593"/>
                    </a:cubicBezTo>
                    <a:cubicBezTo>
                      <a:pt x="1299" y="2853"/>
                      <a:pt x="811" y="3328"/>
                      <a:pt x="617" y="3631"/>
                    </a:cubicBezTo>
                    <a:cubicBezTo>
                      <a:pt x="423" y="3934"/>
                      <a:pt x="139" y="4409"/>
                      <a:pt x="479" y="4409"/>
                    </a:cubicBezTo>
                    <a:cubicBezTo>
                      <a:pt x="386" y="4648"/>
                      <a:pt x="101" y="4848"/>
                      <a:pt x="61" y="5064"/>
                    </a:cubicBezTo>
                    <a:cubicBezTo>
                      <a:pt x="-143" y="5194"/>
                      <a:pt x="222" y="5403"/>
                      <a:pt x="240" y="5706"/>
                    </a:cubicBezTo>
                    <a:cubicBezTo>
                      <a:pt x="410" y="6225"/>
                      <a:pt x="1128" y="6744"/>
                      <a:pt x="1128" y="7003"/>
                    </a:cubicBezTo>
                    <a:cubicBezTo>
                      <a:pt x="1299" y="7262"/>
                      <a:pt x="1299" y="7781"/>
                      <a:pt x="1469" y="7781"/>
                    </a:cubicBezTo>
                    <a:cubicBezTo>
                      <a:pt x="1810" y="8040"/>
                      <a:pt x="1810" y="8559"/>
                      <a:pt x="1641" y="8818"/>
                    </a:cubicBezTo>
                    <a:cubicBezTo>
                      <a:pt x="1299" y="8818"/>
                      <a:pt x="957" y="9596"/>
                      <a:pt x="957" y="9596"/>
                    </a:cubicBezTo>
                    <a:lnTo>
                      <a:pt x="1128" y="9596"/>
                    </a:lnTo>
                    <a:cubicBezTo>
                      <a:pt x="1299" y="9596"/>
                      <a:pt x="2152" y="9856"/>
                      <a:pt x="2322" y="9596"/>
                    </a:cubicBezTo>
                    <a:cubicBezTo>
                      <a:pt x="2663" y="9337"/>
                      <a:pt x="3005" y="9337"/>
                      <a:pt x="3347" y="9337"/>
                    </a:cubicBezTo>
                    <a:cubicBezTo>
                      <a:pt x="3516" y="9337"/>
                      <a:pt x="4199" y="8818"/>
                      <a:pt x="4199" y="8559"/>
                    </a:cubicBezTo>
                    <a:cubicBezTo>
                      <a:pt x="4199" y="8040"/>
                      <a:pt x="4370" y="8300"/>
                      <a:pt x="4540" y="8818"/>
                    </a:cubicBezTo>
                    <a:cubicBezTo>
                      <a:pt x="4711" y="9337"/>
                      <a:pt x="5224" y="9337"/>
                      <a:pt x="5393" y="9337"/>
                    </a:cubicBezTo>
                    <a:cubicBezTo>
                      <a:pt x="5735" y="9337"/>
                      <a:pt x="6246" y="10374"/>
                      <a:pt x="6417" y="9856"/>
                    </a:cubicBezTo>
                    <a:cubicBezTo>
                      <a:pt x="6417" y="9337"/>
                      <a:pt x="6759" y="8559"/>
                      <a:pt x="6588" y="8040"/>
                    </a:cubicBezTo>
                    <a:cubicBezTo>
                      <a:pt x="6417" y="7522"/>
                      <a:pt x="6929" y="7522"/>
                      <a:pt x="7270" y="7262"/>
                    </a:cubicBezTo>
                    <a:cubicBezTo>
                      <a:pt x="7440" y="7003"/>
                      <a:pt x="7612" y="6744"/>
                      <a:pt x="7612" y="6225"/>
                    </a:cubicBezTo>
                    <a:cubicBezTo>
                      <a:pt x="7440" y="5706"/>
                      <a:pt x="7270" y="4668"/>
                      <a:pt x="7440" y="4409"/>
                    </a:cubicBezTo>
                    <a:cubicBezTo>
                      <a:pt x="7612" y="4409"/>
                      <a:pt x="8123" y="4409"/>
                      <a:pt x="8294" y="4149"/>
                    </a:cubicBezTo>
                    <a:cubicBezTo>
                      <a:pt x="8635" y="3631"/>
                      <a:pt x="9147" y="3631"/>
                      <a:pt x="9318" y="3371"/>
                    </a:cubicBezTo>
                    <a:cubicBezTo>
                      <a:pt x="9318" y="3371"/>
                      <a:pt x="9318" y="2334"/>
                      <a:pt x="9658" y="2334"/>
                    </a:cubicBezTo>
                    <a:cubicBezTo>
                      <a:pt x="9830" y="2334"/>
                      <a:pt x="10000" y="2593"/>
                      <a:pt x="10000" y="2593"/>
                    </a:cubicBezTo>
                    <a:lnTo>
                      <a:pt x="10000" y="2593"/>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2" name="Freeform 211"/>
              <p:cNvSpPr>
                <a:spLocks/>
              </p:cNvSpPr>
              <p:nvPr>
                <p:custDataLst>
                  <p:tags r:id="rId126"/>
                </p:custDataLst>
              </p:nvPr>
            </p:nvSpPr>
            <p:spPr bwMode="gray">
              <a:xfrm>
                <a:off x="5175825" y="4054582"/>
                <a:ext cx="145249" cy="208203"/>
              </a:xfrm>
              <a:custGeom>
                <a:avLst/>
                <a:gdLst>
                  <a:gd name="T0" fmla="*/ 28 w 31"/>
                  <a:gd name="T1" fmla="*/ 19 h 45"/>
                  <a:gd name="T2" fmla="*/ 31 w 31"/>
                  <a:gd name="T3" fmla="*/ 16 h 45"/>
                  <a:gd name="T4" fmla="*/ 31 w 31"/>
                  <a:gd name="T5" fmla="*/ 13 h 45"/>
                  <a:gd name="T6" fmla="*/ 18 w 31"/>
                  <a:gd name="T7" fmla="*/ 5 h 45"/>
                  <a:gd name="T8" fmla="*/ 12 w 31"/>
                  <a:gd name="T9" fmla="*/ 1 h 45"/>
                  <a:gd name="T10" fmla="*/ 9 w 31"/>
                  <a:gd name="T11" fmla="*/ 2 h 45"/>
                  <a:gd name="T12" fmla="*/ 10 w 31"/>
                  <a:gd name="T13" fmla="*/ 7 h 45"/>
                  <a:gd name="T14" fmla="*/ 7 w 31"/>
                  <a:gd name="T15" fmla="*/ 6 h 45"/>
                  <a:gd name="T16" fmla="*/ 4 w 31"/>
                  <a:gd name="T17" fmla="*/ 11 h 45"/>
                  <a:gd name="T18" fmla="*/ 1 w 31"/>
                  <a:gd name="T19" fmla="*/ 14 h 45"/>
                  <a:gd name="T20" fmla="*/ 0 w 31"/>
                  <a:gd name="T21" fmla="*/ 19 h 45"/>
                  <a:gd name="T22" fmla="*/ 2 w 31"/>
                  <a:gd name="T23" fmla="*/ 24 h 45"/>
                  <a:gd name="T24" fmla="*/ 1 w 31"/>
                  <a:gd name="T25" fmla="*/ 27 h 45"/>
                  <a:gd name="T26" fmla="*/ 2 w 31"/>
                  <a:gd name="T27" fmla="*/ 30 h 45"/>
                  <a:gd name="T28" fmla="*/ 6 w 31"/>
                  <a:gd name="T29" fmla="*/ 30 h 45"/>
                  <a:gd name="T30" fmla="*/ 5 w 31"/>
                  <a:gd name="T31" fmla="*/ 31 h 45"/>
                  <a:gd name="T32" fmla="*/ 6 w 31"/>
                  <a:gd name="T33" fmla="*/ 33 h 45"/>
                  <a:gd name="T34" fmla="*/ 9 w 31"/>
                  <a:gd name="T35" fmla="*/ 35 h 45"/>
                  <a:gd name="T36" fmla="*/ 13 w 31"/>
                  <a:gd name="T37" fmla="*/ 39 h 45"/>
                  <a:gd name="T38" fmla="*/ 15 w 31"/>
                  <a:gd name="T39" fmla="*/ 43 h 45"/>
                  <a:gd name="T40" fmla="*/ 18 w 31"/>
                  <a:gd name="T41" fmla="*/ 45 h 45"/>
                  <a:gd name="T42" fmla="*/ 18 w 31"/>
                  <a:gd name="T43" fmla="*/ 41 h 45"/>
                  <a:gd name="T44" fmla="*/ 19 w 31"/>
                  <a:gd name="T45" fmla="*/ 32 h 45"/>
                  <a:gd name="T46" fmla="*/ 22 w 31"/>
                  <a:gd name="T47" fmla="*/ 25 h 45"/>
                  <a:gd name="T48" fmla="*/ 25 w 31"/>
                  <a:gd name="T49" fmla="*/ 26 h 45"/>
                  <a:gd name="T50" fmla="*/ 29 w 31"/>
                  <a:gd name="T51" fmla="*/ 28 h 45"/>
                  <a:gd name="T52" fmla="*/ 31 w 31"/>
                  <a:gd name="T53" fmla="*/ 24 h 45"/>
                  <a:gd name="T54" fmla="*/ 31 w 31"/>
                  <a:gd name="T55" fmla="*/ 21 h 45"/>
                  <a:gd name="T56" fmla="*/ 28 w 31"/>
                  <a:gd name="T57" fmla="*/ 1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 h="45">
                    <a:moveTo>
                      <a:pt x="28" y="19"/>
                    </a:moveTo>
                    <a:cubicBezTo>
                      <a:pt x="31" y="16"/>
                      <a:pt x="31" y="16"/>
                      <a:pt x="31" y="16"/>
                    </a:cubicBezTo>
                    <a:cubicBezTo>
                      <a:pt x="31" y="13"/>
                      <a:pt x="31" y="13"/>
                      <a:pt x="31" y="13"/>
                    </a:cubicBezTo>
                    <a:cubicBezTo>
                      <a:pt x="18" y="5"/>
                      <a:pt x="18" y="5"/>
                      <a:pt x="18" y="5"/>
                    </a:cubicBezTo>
                    <a:cubicBezTo>
                      <a:pt x="12" y="1"/>
                      <a:pt x="12" y="1"/>
                      <a:pt x="12" y="1"/>
                    </a:cubicBezTo>
                    <a:cubicBezTo>
                      <a:pt x="11" y="1"/>
                      <a:pt x="9" y="0"/>
                      <a:pt x="9" y="2"/>
                    </a:cubicBezTo>
                    <a:cubicBezTo>
                      <a:pt x="9" y="3"/>
                      <a:pt x="10" y="5"/>
                      <a:pt x="10" y="7"/>
                    </a:cubicBezTo>
                    <a:cubicBezTo>
                      <a:pt x="10" y="9"/>
                      <a:pt x="8" y="6"/>
                      <a:pt x="7" y="6"/>
                    </a:cubicBezTo>
                    <a:cubicBezTo>
                      <a:pt x="6" y="7"/>
                      <a:pt x="4" y="8"/>
                      <a:pt x="4" y="11"/>
                    </a:cubicBezTo>
                    <a:cubicBezTo>
                      <a:pt x="3" y="14"/>
                      <a:pt x="3" y="15"/>
                      <a:pt x="1" y="14"/>
                    </a:cubicBezTo>
                    <a:cubicBezTo>
                      <a:pt x="0" y="14"/>
                      <a:pt x="0" y="17"/>
                      <a:pt x="0" y="19"/>
                    </a:cubicBezTo>
                    <a:cubicBezTo>
                      <a:pt x="1" y="21"/>
                      <a:pt x="3" y="23"/>
                      <a:pt x="2" y="24"/>
                    </a:cubicBezTo>
                    <a:cubicBezTo>
                      <a:pt x="2" y="25"/>
                      <a:pt x="1" y="26"/>
                      <a:pt x="1" y="27"/>
                    </a:cubicBezTo>
                    <a:cubicBezTo>
                      <a:pt x="1" y="28"/>
                      <a:pt x="1" y="29"/>
                      <a:pt x="2" y="30"/>
                    </a:cubicBezTo>
                    <a:cubicBezTo>
                      <a:pt x="3" y="30"/>
                      <a:pt x="5" y="29"/>
                      <a:pt x="6" y="30"/>
                    </a:cubicBezTo>
                    <a:cubicBezTo>
                      <a:pt x="8" y="30"/>
                      <a:pt x="6" y="30"/>
                      <a:pt x="5" y="31"/>
                    </a:cubicBezTo>
                    <a:cubicBezTo>
                      <a:pt x="3" y="32"/>
                      <a:pt x="6" y="33"/>
                      <a:pt x="6" y="33"/>
                    </a:cubicBezTo>
                    <a:cubicBezTo>
                      <a:pt x="7" y="34"/>
                      <a:pt x="8" y="34"/>
                      <a:pt x="9" y="35"/>
                    </a:cubicBezTo>
                    <a:cubicBezTo>
                      <a:pt x="11" y="36"/>
                      <a:pt x="12" y="37"/>
                      <a:pt x="13" y="39"/>
                    </a:cubicBezTo>
                    <a:cubicBezTo>
                      <a:pt x="14" y="40"/>
                      <a:pt x="14" y="42"/>
                      <a:pt x="15" y="43"/>
                    </a:cubicBezTo>
                    <a:cubicBezTo>
                      <a:pt x="16" y="44"/>
                      <a:pt x="18" y="45"/>
                      <a:pt x="18" y="45"/>
                    </a:cubicBezTo>
                    <a:cubicBezTo>
                      <a:pt x="18" y="45"/>
                      <a:pt x="18" y="44"/>
                      <a:pt x="18" y="41"/>
                    </a:cubicBezTo>
                    <a:cubicBezTo>
                      <a:pt x="18" y="39"/>
                      <a:pt x="18" y="34"/>
                      <a:pt x="19" y="32"/>
                    </a:cubicBezTo>
                    <a:cubicBezTo>
                      <a:pt x="21" y="29"/>
                      <a:pt x="21" y="28"/>
                      <a:pt x="22" y="25"/>
                    </a:cubicBezTo>
                    <a:cubicBezTo>
                      <a:pt x="24" y="23"/>
                      <a:pt x="24" y="24"/>
                      <a:pt x="25" y="26"/>
                    </a:cubicBezTo>
                    <a:cubicBezTo>
                      <a:pt x="25" y="29"/>
                      <a:pt x="26" y="28"/>
                      <a:pt x="29" y="28"/>
                    </a:cubicBezTo>
                    <a:cubicBezTo>
                      <a:pt x="31" y="27"/>
                      <a:pt x="30" y="26"/>
                      <a:pt x="31" y="24"/>
                    </a:cubicBezTo>
                    <a:cubicBezTo>
                      <a:pt x="31" y="21"/>
                      <a:pt x="31" y="21"/>
                      <a:pt x="31" y="21"/>
                    </a:cubicBezTo>
                    <a:lnTo>
                      <a:pt x="28" y="19"/>
                    </a:ln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3" name="Freeform 212"/>
              <p:cNvSpPr>
                <a:spLocks/>
              </p:cNvSpPr>
              <p:nvPr>
                <p:custDataLst>
                  <p:tags r:id="rId127"/>
                </p:custDataLst>
              </p:nvPr>
            </p:nvSpPr>
            <p:spPr bwMode="gray">
              <a:xfrm>
                <a:off x="5195308" y="3721704"/>
                <a:ext cx="371935" cy="493842"/>
              </a:xfrm>
              <a:custGeom>
                <a:avLst/>
                <a:gdLst>
                  <a:gd name="T0" fmla="*/ 74 w 81"/>
                  <a:gd name="T1" fmla="*/ 72 h 103"/>
                  <a:gd name="T2" fmla="*/ 68 w 81"/>
                  <a:gd name="T3" fmla="*/ 61 h 103"/>
                  <a:gd name="T4" fmla="*/ 72 w 81"/>
                  <a:gd name="T5" fmla="*/ 50 h 103"/>
                  <a:gd name="T6" fmla="*/ 73 w 81"/>
                  <a:gd name="T7" fmla="*/ 41 h 103"/>
                  <a:gd name="T8" fmla="*/ 63 w 81"/>
                  <a:gd name="T9" fmla="*/ 43 h 103"/>
                  <a:gd name="T10" fmla="*/ 55 w 81"/>
                  <a:gd name="T11" fmla="*/ 40 h 103"/>
                  <a:gd name="T12" fmla="*/ 49 w 81"/>
                  <a:gd name="T13" fmla="*/ 34 h 103"/>
                  <a:gd name="T14" fmla="*/ 48 w 81"/>
                  <a:gd name="T15" fmla="*/ 27 h 103"/>
                  <a:gd name="T16" fmla="*/ 38 w 81"/>
                  <a:gd name="T17" fmla="*/ 18 h 103"/>
                  <a:gd name="T18" fmla="*/ 35 w 81"/>
                  <a:gd name="T19" fmla="*/ 9 h 103"/>
                  <a:gd name="T20" fmla="*/ 27 w 81"/>
                  <a:gd name="T21" fmla="*/ 2 h 103"/>
                  <a:gd name="T22" fmla="*/ 15 w 81"/>
                  <a:gd name="T23" fmla="*/ 0 h 103"/>
                  <a:gd name="T24" fmla="*/ 5 w 81"/>
                  <a:gd name="T25" fmla="*/ 4 h 103"/>
                  <a:gd name="T26" fmla="*/ 2 w 81"/>
                  <a:gd name="T27" fmla="*/ 11 h 103"/>
                  <a:gd name="T28" fmla="*/ 4 w 81"/>
                  <a:gd name="T29" fmla="*/ 17 h 103"/>
                  <a:gd name="T30" fmla="*/ 10 w 81"/>
                  <a:gd name="T31" fmla="*/ 25 h 103"/>
                  <a:gd name="T32" fmla="*/ 6 w 81"/>
                  <a:gd name="T33" fmla="*/ 32 h 103"/>
                  <a:gd name="T34" fmla="*/ 10 w 81"/>
                  <a:gd name="T35" fmla="*/ 35 h 103"/>
                  <a:gd name="T36" fmla="*/ 10 w 81"/>
                  <a:gd name="T37" fmla="*/ 49 h 103"/>
                  <a:gd name="T38" fmla="*/ 16 w 81"/>
                  <a:gd name="T39" fmla="*/ 56 h 103"/>
                  <a:gd name="T40" fmla="*/ 11 w 81"/>
                  <a:gd name="T41" fmla="*/ 59 h 103"/>
                  <a:gd name="T42" fmla="*/ 12 w 81"/>
                  <a:gd name="T43" fmla="*/ 67 h 103"/>
                  <a:gd name="T44" fmla="*/ 14 w 81"/>
                  <a:gd name="T45" fmla="*/ 73 h 103"/>
                  <a:gd name="T46" fmla="*/ 27 w 81"/>
                  <a:gd name="T47" fmla="*/ 84 h 103"/>
                  <a:gd name="T48" fmla="*/ 30 w 81"/>
                  <a:gd name="T49" fmla="*/ 81 h 103"/>
                  <a:gd name="T50" fmla="*/ 31 w 81"/>
                  <a:gd name="T51" fmla="*/ 75 h 103"/>
                  <a:gd name="T52" fmla="*/ 34 w 81"/>
                  <a:gd name="T53" fmla="*/ 74 h 103"/>
                  <a:gd name="T54" fmla="*/ 34 w 81"/>
                  <a:gd name="T55" fmla="*/ 76 h 103"/>
                  <a:gd name="T56" fmla="*/ 38 w 81"/>
                  <a:gd name="T57" fmla="*/ 75 h 103"/>
                  <a:gd name="T58" fmla="*/ 43 w 81"/>
                  <a:gd name="T59" fmla="*/ 79 h 103"/>
                  <a:gd name="T60" fmla="*/ 45 w 81"/>
                  <a:gd name="T61" fmla="*/ 82 h 103"/>
                  <a:gd name="T62" fmla="*/ 48 w 81"/>
                  <a:gd name="T63" fmla="*/ 84 h 103"/>
                  <a:gd name="T64" fmla="*/ 51 w 81"/>
                  <a:gd name="T65" fmla="*/ 91 h 103"/>
                  <a:gd name="T66" fmla="*/ 54 w 81"/>
                  <a:gd name="T67" fmla="*/ 94 h 103"/>
                  <a:gd name="T68" fmla="*/ 52 w 81"/>
                  <a:gd name="T69" fmla="*/ 97 h 103"/>
                  <a:gd name="T70" fmla="*/ 53 w 81"/>
                  <a:gd name="T71" fmla="*/ 100 h 103"/>
                  <a:gd name="T72" fmla="*/ 57 w 81"/>
                  <a:gd name="T73" fmla="*/ 102 h 103"/>
                  <a:gd name="T74" fmla="*/ 64 w 81"/>
                  <a:gd name="T75" fmla="*/ 101 h 103"/>
                  <a:gd name="T76" fmla="*/ 70 w 81"/>
                  <a:gd name="T77" fmla="*/ 102 h 103"/>
                  <a:gd name="T78" fmla="*/ 71 w 81"/>
                  <a:gd name="T79" fmla="*/ 95 h 103"/>
                  <a:gd name="T80" fmla="*/ 75 w 81"/>
                  <a:gd name="T81" fmla="*/ 86 h 103"/>
                  <a:gd name="T82" fmla="*/ 78 w 81"/>
                  <a:gd name="T83" fmla="*/ 76 h 103"/>
                  <a:gd name="connsiteX0" fmla="*/ 9630 w 9858"/>
                  <a:gd name="connsiteY0" fmla="*/ 7379 h 10000"/>
                  <a:gd name="connsiteX1" fmla="*/ 9136 w 9858"/>
                  <a:gd name="connsiteY1" fmla="*/ 6990 h 10000"/>
                  <a:gd name="connsiteX2" fmla="*/ 8642 w 9858"/>
                  <a:gd name="connsiteY2" fmla="*/ 6699 h 10000"/>
                  <a:gd name="connsiteX3" fmla="*/ 8395 w 9858"/>
                  <a:gd name="connsiteY3" fmla="*/ 5922 h 10000"/>
                  <a:gd name="connsiteX4" fmla="*/ 8765 w 9858"/>
                  <a:gd name="connsiteY4" fmla="*/ 5340 h 10000"/>
                  <a:gd name="connsiteX5" fmla="*/ 8889 w 9858"/>
                  <a:gd name="connsiteY5" fmla="*/ 4854 h 10000"/>
                  <a:gd name="connsiteX6" fmla="*/ 8519 w 9858"/>
                  <a:gd name="connsiteY6" fmla="*/ 4272 h 10000"/>
                  <a:gd name="connsiteX7" fmla="*/ 9012 w 9858"/>
                  <a:gd name="connsiteY7" fmla="*/ 3981 h 10000"/>
                  <a:gd name="connsiteX8" fmla="*/ 8519 w 9858"/>
                  <a:gd name="connsiteY8" fmla="*/ 3689 h 10000"/>
                  <a:gd name="connsiteX9" fmla="*/ 7778 w 9858"/>
                  <a:gd name="connsiteY9" fmla="*/ 4175 h 10000"/>
                  <a:gd name="connsiteX10" fmla="*/ 7531 w 9858"/>
                  <a:gd name="connsiteY10" fmla="*/ 3883 h 10000"/>
                  <a:gd name="connsiteX11" fmla="*/ 6790 w 9858"/>
                  <a:gd name="connsiteY11" fmla="*/ 3883 h 10000"/>
                  <a:gd name="connsiteX12" fmla="*/ 6173 w 9858"/>
                  <a:gd name="connsiteY12" fmla="*/ 3495 h 10000"/>
                  <a:gd name="connsiteX13" fmla="*/ 6049 w 9858"/>
                  <a:gd name="connsiteY13" fmla="*/ 3301 h 10000"/>
                  <a:gd name="connsiteX14" fmla="*/ 6049 w 9858"/>
                  <a:gd name="connsiteY14" fmla="*/ 3010 h 10000"/>
                  <a:gd name="connsiteX15" fmla="*/ 5926 w 9858"/>
                  <a:gd name="connsiteY15" fmla="*/ 2621 h 10000"/>
                  <a:gd name="connsiteX16" fmla="*/ 5432 w 9858"/>
                  <a:gd name="connsiteY16" fmla="*/ 2427 h 10000"/>
                  <a:gd name="connsiteX17" fmla="*/ 4691 w 9858"/>
                  <a:gd name="connsiteY17" fmla="*/ 1748 h 10000"/>
                  <a:gd name="connsiteX18" fmla="*/ 4444 w 9858"/>
                  <a:gd name="connsiteY18" fmla="*/ 1165 h 10000"/>
                  <a:gd name="connsiteX19" fmla="*/ 4321 w 9858"/>
                  <a:gd name="connsiteY19" fmla="*/ 874 h 10000"/>
                  <a:gd name="connsiteX20" fmla="*/ 4397 w 9858"/>
                  <a:gd name="connsiteY20" fmla="*/ 260 h 10000"/>
                  <a:gd name="connsiteX21" fmla="*/ 3333 w 9858"/>
                  <a:gd name="connsiteY21" fmla="*/ 194 h 10000"/>
                  <a:gd name="connsiteX22" fmla="*/ 2593 w 9858"/>
                  <a:gd name="connsiteY22" fmla="*/ 0 h 10000"/>
                  <a:gd name="connsiteX23" fmla="*/ 1852 w 9858"/>
                  <a:gd name="connsiteY23" fmla="*/ 0 h 10000"/>
                  <a:gd name="connsiteX24" fmla="*/ 1235 w 9858"/>
                  <a:gd name="connsiteY24" fmla="*/ 291 h 10000"/>
                  <a:gd name="connsiteX25" fmla="*/ 617 w 9858"/>
                  <a:gd name="connsiteY25" fmla="*/ 388 h 10000"/>
                  <a:gd name="connsiteX26" fmla="*/ 0 w 9858"/>
                  <a:gd name="connsiteY26" fmla="*/ 583 h 10000"/>
                  <a:gd name="connsiteX27" fmla="*/ 247 w 9858"/>
                  <a:gd name="connsiteY27" fmla="*/ 1068 h 10000"/>
                  <a:gd name="connsiteX28" fmla="*/ 247 w 9858"/>
                  <a:gd name="connsiteY28" fmla="*/ 1456 h 10000"/>
                  <a:gd name="connsiteX29" fmla="*/ 494 w 9858"/>
                  <a:gd name="connsiteY29" fmla="*/ 1650 h 10000"/>
                  <a:gd name="connsiteX30" fmla="*/ 864 w 9858"/>
                  <a:gd name="connsiteY30" fmla="*/ 2233 h 10000"/>
                  <a:gd name="connsiteX31" fmla="*/ 1235 w 9858"/>
                  <a:gd name="connsiteY31" fmla="*/ 2427 h 10000"/>
                  <a:gd name="connsiteX32" fmla="*/ 741 w 9858"/>
                  <a:gd name="connsiteY32" fmla="*/ 2621 h 10000"/>
                  <a:gd name="connsiteX33" fmla="*/ 741 w 9858"/>
                  <a:gd name="connsiteY33" fmla="*/ 3107 h 10000"/>
                  <a:gd name="connsiteX34" fmla="*/ 988 w 9858"/>
                  <a:gd name="connsiteY34" fmla="*/ 3107 h 10000"/>
                  <a:gd name="connsiteX35" fmla="*/ 1235 w 9858"/>
                  <a:gd name="connsiteY35" fmla="*/ 3398 h 10000"/>
                  <a:gd name="connsiteX36" fmla="*/ 864 w 9858"/>
                  <a:gd name="connsiteY36" fmla="*/ 4369 h 10000"/>
                  <a:gd name="connsiteX37" fmla="*/ 1235 w 9858"/>
                  <a:gd name="connsiteY37" fmla="*/ 4757 h 10000"/>
                  <a:gd name="connsiteX38" fmla="*/ 1605 w 9858"/>
                  <a:gd name="connsiteY38" fmla="*/ 5049 h 10000"/>
                  <a:gd name="connsiteX39" fmla="*/ 1975 w 9858"/>
                  <a:gd name="connsiteY39" fmla="*/ 5437 h 10000"/>
                  <a:gd name="connsiteX40" fmla="*/ 1481 w 9858"/>
                  <a:gd name="connsiteY40" fmla="*/ 5437 h 10000"/>
                  <a:gd name="connsiteX41" fmla="*/ 1358 w 9858"/>
                  <a:gd name="connsiteY41" fmla="*/ 5728 h 10000"/>
                  <a:gd name="connsiteX42" fmla="*/ 1728 w 9858"/>
                  <a:gd name="connsiteY42" fmla="*/ 6214 h 10000"/>
                  <a:gd name="connsiteX43" fmla="*/ 1481 w 9858"/>
                  <a:gd name="connsiteY43" fmla="*/ 6505 h 10000"/>
                  <a:gd name="connsiteX44" fmla="*/ 988 w 9858"/>
                  <a:gd name="connsiteY44" fmla="*/ 6699 h 10000"/>
                  <a:gd name="connsiteX45" fmla="*/ 1728 w 9858"/>
                  <a:gd name="connsiteY45" fmla="*/ 7087 h 10000"/>
                  <a:gd name="connsiteX46" fmla="*/ 3333 w 9858"/>
                  <a:gd name="connsiteY46" fmla="*/ 7864 h 10000"/>
                  <a:gd name="connsiteX47" fmla="*/ 3333 w 9858"/>
                  <a:gd name="connsiteY47" fmla="*/ 8155 h 10000"/>
                  <a:gd name="connsiteX48" fmla="*/ 3827 w 9858"/>
                  <a:gd name="connsiteY48" fmla="*/ 8058 h 10000"/>
                  <a:gd name="connsiteX49" fmla="*/ 3704 w 9858"/>
                  <a:gd name="connsiteY49" fmla="*/ 7864 h 10000"/>
                  <a:gd name="connsiteX50" fmla="*/ 4074 w 9858"/>
                  <a:gd name="connsiteY50" fmla="*/ 7670 h 10000"/>
                  <a:gd name="connsiteX51" fmla="*/ 3827 w 9858"/>
                  <a:gd name="connsiteY51" fmla="*/ 7282 h 10000"/>
                  <a:gd name="connsiteX52" fmla="*/ 4074 w 9858"/>
                  <a:gd name="connsiteY52" fmla="*/ 7087 h 10000"/>
                  <a:gd name="connsiteX53" fmla="*/ 4198 w 9858"/>
                  <a:gd name="connsiteY53" fmla="*/ 7184 h 10000"/>
                  <a:gd name="connsiteX54" fmla="*/ 4321 w 9858"/>
                  <a:gd name="connsiteY54" fmla="*/ 7184 h 10000"/>
                  <a:gd name="connsiteX55" fmla="*/ 4198 w 9858"/>
                  <a:gd name="connsiteY55" fmla="*/ 7379 h 10000"/>
                  <a:gd name="connsiteX56" fmla="*/ 4444 w 9858"/>
                  <a:gd name="connsiteY56" fmla="*/ 7476 h 10000"/>
                  <a:gd name="connsiteX57" fmla="*/ 4691 w 9858"/>
                  <a:gd name="connsiteY57" fmla="*/ 7282 h 10000"/>
                  <a:gd name="connsiteX58" fmla="*/ 5062 w 9858"/>
                  <a:gd name="connsiteY58" fmla="*/ 7379 h 10000"/>
                  <a:gd name="connsiteX59" fmla="*/ 5309 w 9858"/>
                  <a:gd name="connsiteY59" fmla="*/ 7670 h 10000"/>
                  <a:gd name="connsiteX60" fmla="*/ 5556 w 9858"/>
                  <a:gd name="connsiteY60" fmla="*/ 7670 h 10000"/>
                  <a:gd name="connsiteX61" fmla="*/ 5556 w 9858"/>
                  <a:gd name="connsiteY61" fmla="*/ 7961 h 10000"/>
                  <a:gd name="connsiteX62" fmla="*/ 5802 w 9858"/>
                  <a:gd name="connsiteY62" fmla="*/ 8155 h 10000"/>
                  <a:gd name="connsiteX63" fmla="*/ 5926 w 9858"/>
                  <a:gd name="connsiteY63" fmla="*/ 8155 h 10000"/>
                  <a:gd name="connsiteX64" fmla="*/ 5926 w 9858"/>
                  <a:gd name="connsiteY64" fmla="*/ 8544 h 10000"/>
                  <a:gd name="connsiteX65" fmla="*/ 6296 w 9858"/>
                  <a:gd name="connsiteY65" fmla="*/ 8835 h 10000"/>
                  <a:gd name="connsiteX66" fmla="*/ 6667 w 9858"/>
                  <a:gd name="connsiteY66" fmla="*/ 8932 h 10000"/>
                  <a:gd name="connsiteX67" fmla="*/ 6667 w 9858"/>
                  <a:gd name="connsiteY67" fmla="*/ 9126 h 10000"/>
                  <a:gd name="connsiteX68" fmla="*/ 6543 w 9858"/>
                  <a:gd name="connsiteY68" fmla="*/ 9223 h 10000"/>
                  <a:gd name="connsiteX69" fmla="*/ 6420 w 9858"/>
                  <a:gd name="connsiteY69" fmla="*/ 9417 h 10000"/>
                  <a:gd name="connsiteX70" fmla="*/ 6420 w 9858"/>
                  <a:gd name="connsiteY70" fmla="*/ 9612 h 10000"/>
                  <a:gd name="connsiteX71" fmla="*/ 6543 w 9858"/>
                  <a:gd name="connsiteY71" fmla="*/ 9709 h 10000"/>
                  <a:gd name="connsiteX72" fmla="*/ 6667 w 9858"/>
                  <a:gd name="connsiteY72" fmla="*/ 10000 h 10000"/>
                  <a:gd name="connsiteX73" fmla="*/ 7037 w 9858"/>
                  <a:gd name="connsiteY73" fmla="*/ 9903 h 10000"/>
                  <a:gd name="connsiteX74" fmla="*/ 7654 w 9858"/>
                  <a:gd name="connsiteY74" fmla="*/ 9806 h 10000"/>
                  <a:gd name="connsiteX75" fmla="*/ 7901 w 9858"/>
                  <a:gd name="connsiteY75" fmla="*/ 9806 h 10000"/>
                  <a:gd name="connsiteX76" fmla="*/ 8395 w 9858"/>
                  <a:gd name="connsiteY76" fmla="*/ 9709 h 10000"/>
                  <a:gd name="connsiteX77" fmla="*/ 8642 w 9858"/>
                  <a:gd name="connsiteY77" fmla="*/ 9903 h 10000"/>
                  <a:gd name="connsiteX78" fmla="*/ 8889 w 9858"/>
                  <a:gd name="connsiteY78" fmla="*/ 9515 h 10000"/>
                  <a:gd name="connsiteX79" fmla="*/ 8765 w 9858"/>
                  <a:gd name="connsiteY79" fmla="*/ 9223 h 10000"/>
                  <a:gd name="connsiteX80" fmla="*/ 8642 w 9858"/>
                  <a:gd name="connsiteY80" fmla="*/ 8447 h 10000"/>
                  <a:gd name="connsiteX81" fmla="*/ 9259 w 9858"/>
                  <a:gd name="connsiteY81" fmla="*/ 8350 h 10000"/>
                  <a:gd name="connsiteX82" fmla="*/ 9753 w 9858"/>
                  <a:gd name="connsiteY82" fmla="*/ 7864 h 10000"/>
                  <a:gd name="connsiteX83" fmla="*/ 9630 w 9858"/>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017 w 10000"/>
                  <a:gd name="connsiteY5" fmla="*/ 4854 h 10000"/>
                  <a:gd name="connsiteX6" fmla="*/ 8642 w 10000"/>
                  <a:gd name="connsiteY6" fmla="*/ 4272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6888 w 10000"/>
                  <a:gd name="connsiteY11" fmla="*/ 3883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4759 w 10000"/>
                  <a:gd name="connsiteY17" fmla="*/ 1748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017 w 10000"/>
                  <a:gd name="connsiteY5" fmla="*/ 4854 h 10000"/>
                  <a:gd name="connsiteX6" fmla="*/ 8642 w 10000"/>
                  <a:gd name="connsiteY6" fmla="*/ 4272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6888 w 10000"/>
                  <a:gd name="connsiteY11" fmla="*/ 3883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017 w 10000"/>
                  <a:gd name="connsiteY5" fmla="*/ 4854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6888 w 10000"/>
                  <a:gd name="connsiteY11" fmla="*/ 3883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544 w 10000"/>
                  <a:gd name="connsiteY5" fmla="*/ 4900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6888 w 10000"/>
                  <a:gd name="connsiteY11" fmla="*/ 3883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544 w 10000"/>
                  <a:gd name="connsiteY5" fmla="*/ 4900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7005 w 10000"/>
                  <a:gd name="connsiteY11" fmla="*/ 3560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544 w 10000"/>
                  <a:gd name="connsiteY5" fmla="*/ 4900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7005 w 10000"/>
                  <a:gd name="connsiteY11" fmla="*/ 3560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976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544 w 10000"/>
                  <a:gd name="connsiteY5" fmla="*/ 4900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7005 w 10000"/>
                  <a:gd name="connsiteY11" fmla="*/ 3560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976 w 10000"/>
                  <a:gd name="connsiteY18" fmla="*/ 1165 h 10000"/>
                  <a:gd name="connsiteX19" fmla="*/ 5086 w 10000"/>
                  <a:gd name="connsiteY19" fmla="*/ 551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428 h 10049"/>
                  <a:gd name="connsiteX1" fmla="*/ 9268 w 10000"/>
                  <a:gd name="connsiteY1" fmla="*/ 7039 h 10049"/>
                  <a:gd name="connsiteX2" fmla="*/ 8766 w 10000"/>
                  <a:gd name="connsiteY2" fmla="*/ 6748 h 10049"/>
                  <a:gd name="connsiteX3" fmla="*/ 8516 w 10000"/>
                  <a:gd name="connsiteY3" fmla="*/ 5971 h 10049"/>
                  <a:gd name="connsiteX4" fmla="*/ 8891 w 10000"/>
                  <a:gd name="connsiteY4" fmla="*/ 5389 h 10049"/>
                  <a:gd name="connsiteX5" fmla="*/ 9544 w 10000"/>
                  <a:gd name="connsiteY5" fmla="*/ 4949 h 10049"/>
                  <a:gd name="connsiteX6" fmla="*/ 9228 w 10000"/>
                  <a:gd name="connsiteY6" fmla="*/ 4505 h 10049"/>
                  <a:gd name="connsiteX7" fmla="*/ 9142 w 10000"/>
                  <a:gd name="connsiteY7" fmla="*/ 4030 h 10049"/>
                  <a:gd name="connsiteX8" fmla="*/ 8642 w 10000"/>
                  <a:gd name="connsiteY8" fmla="*/ 3738 h 10049"/>
                  <a:gd name="connsiteX9" fmla="*/ 7890 w 10000"/>
                  <a:gd name="connsiteY9" fmla="*/ 4224 h 10049"/>
                  <a:gd name="connsiteX10" fmla="*/ 7639 w 10000"/>
                  <a:gd name="connsiteY10" fmla="*/ 3932 h 10049"/>
                  <a:gd name="connsiteX11" fmla="*/ 7005 w 10000"/>
                  <a:gd name="connsiteY11" fmla="*/ 3609 h 10049"/>
                  <a:gd name="connsiteX12" fmla="*/ 6262 w 10000"/>
                  <a:gd name="connsiteY12" fmla="*/ 3544 h 10049"/>
                  <a:gd name="connsiteX13" fmla="*/ 6136 w 10000"/>
                  <a:gd name="connsiteY13" fmla="*/ 3350 h 10049"/>
                  <a:gd name="connsiteX14" fmla="*/ 6136 w 10000"/>
                  <a:gd name="connsiteY14" fmla="*/ 3059 h 10049"/>
                  <a:gd name="connsiteX15" fmla="*/ 6011 w 10000"/>
                  <a:gd name="connsiteY15" fmla="*/ 2670 h 10049"/>
                  <a:gd name="connsiteX16" fmla="*/ 5686 w 10000"/>
                  <a:gd name="connsiteY16" fmla="*/ 2245 h 10049"/>
                  <a:gd name="connsiteX17" fmla="*/ 5227 w 10000"/>
                  <a:gd name="connsiteY17" fmla="*/ 1751 h 10049"/>
                  <a:gd name="connsiteX18" fmla="*/ 4976 w 10000"/>
                  <a:gd name="connsiteY18" fmla="*/ 1214 h 10049"/>
                  <a:gd name="connsiteX19" fmla="*/ 5086 w 10000"/>
                  <a:gd name="connsiteY19" fmla="*/ 600 h 10049"/>
                  <a:gd name="connsiteX20" fmla="*/ 4460 w 10000"/>
                  <a:gd name="connsiteY20" fmla="*/ 309 h 10049"/>
                  <a:gd name="connsiteX21" fmla="*/ 3498 w 10000"/>
                  <a:gd name="connsiteY21" fmla="*/ 12 h 10049"/>
                  <a:gd name="connsiteX22" fmla="*/ 2630 w 10000"/>
                  <a:gd name="connsiteY22" fmla="*/ 49 h 10049"/>
                  <a:gd name="connsiteX23" fmla="*/ 1879 w 10000"/>
                  <a:gd name="connsiteY23" fmla="*/ 49 h 10049"/>
                  <a:gd name="connsiteX24" fmla="*/ 1253 w 10000"/>
                  <a:gd name="connsiteY24" fmla="*/ 340 h 10049"/>
                  <a:gd name="connsiteX25" fmla="*/ 626 w 10000"/>
                  <a:gd name="connsiteY25" fmla="*/ 437 h 10049"/>
                  <a:gd name="connsiteX26" fmla="*/ 0 w 10000"/>
                  <a:gd name="connsiteY26" fmla="*/ 632 h 10049"/>
                  <a:gd name="connsiteX27" fmla="*/ 251 w 10000"/>
                  <a:gd name="connsiteY27" fmla="*/ 1117 h 10049"/>
                  <a:gd name="connsiteX28" fmla="*/ 251 w 10000"/>
                  <a:gd name="connsiteY28" fmla="*/ 1505 h 10049"/>
                  <a:gd name="connsiteX29" fmla="*/ 501 w 10000"/>
                  <a:gd name="connsiteY29" fmla="*/ 1699 h 10049"/>
                  <a:gd name="connsiteX30" fmla="*/ 876 w 10000"/>
                  <a:gd name="connsiteY30" fmla="*/ 2282 h 10049"/>
                  <a:gd name="connsiteX31" fmla="*/ 1253 w 10000"/>
                  <a:gd name="connsiteY31" fmla="*/ 2476 h 10049"/>
                  <a:gd name="connsiteX32" fmla="*/ 752 w 10000"/>
                  <a:gd name="connsiteY32" fmla="*/ 2670 h 10049"/>
                  <a:gd name="connsiteX33" fmla="*/ 752 w 10000"/>
                  <a:gd name="connsiteY33" fmla="*/ 3156 h 10049"/>
                  <a:gd name="connsiteX34" fmla="*/ 1002 w 10000"/>
                  <a:gd name="connsiteY34" fmla="*/ 3156 h 10049"/>
                  <a:gd name="connsiteX35" fmla="*/ 1253 w 10000"/>
                  <a:gd name="connsiteY35" fmla="*/ 3447 h 10049"/>
                  <a:gd name="connsiteX36" fmla="*/ 876 w 10000"/>
                  <a:gd name="connsiteY36" fmla="*/ 4418 h 10049"/>
                  <a:gd name="connsiteX37" fmla="*/ 1253 w 10000"/>
                  <a:gd name="connsiteY37" fmla="*/ 4806 h 10049"/>
                  <a:gd name="connsiteX38" fmla="*/ 1628 w 10000"/>
                  <a:gd name="connsiteY38" fmla="*/ 5098 h 10049"/>
                  <a:gd name="connsiteX39" fmla="*/ 2003 w 10000"/>
                  <a:gd name="connsiteY39" fmla="*/ 5486 h 10049"/>
                  <a:gd name="connsiteX40" fmla="*/ 1502 w 10000"/>
                  <a:gd name="connsiteY40" fmla="*/ 5486 h 10049"/>
                  <a:gd name="connsiteX41" fmla="*/ 1378 w 10000"/>
                  <a:gd name="connsiteY41" fmla="*/ 5777 h 10049"/>
                  <a:gd name="connsiteX42" fmla="*/ 1753 w 10000"/>
                  <a:gd name="connsiteY42" fmla="*/ 6263 h 10049"/>
                  <a:gd name="connsiteX43" fmla="*/ 1502 w 10000"/>
                  <a:gd name="connsiteY43" fmla="*/ 6554 h 10049"/>
                  <a:gd name="connsiteX44" fmla="*/ 1002 w 10000"/>
                  <a:gd name="connsiteY44" fmla="*/ 6748 h 10049"/>
                  <a:gd name="connsiteX45" fmla="*/ 1753 w 10000"/>
                  <a:gd name="connsiteY45" fmla="*/ 7136 h 10049"/>
                  <a:gd name="connsiteX46" fmla="*/ 3381 w 10000"/>
                  <a:gd name="connsiteY46" fmla="*/ 7913 h 10049"/>
                  <a:gd name="connsiteX47" fmla="*/ 3381 w 10000"/>
                  <a:gd name="connsiteY47" fmla="*/ 8204 h 10049"/>
                  <a:gd name="connsiteX48" fmla="*/ 3882 w 10000"/>
                  <a:gd name="connsiteY48" fmla="*/ 8107 h 10049"/>
                  <a:gd name="connsiteX49" fmla="*/ 3757 w 10000"/>
                  <a:gd name="connsiteY49" fmla="*/ 7913 h 10049"/>
                  <a:gd name="connsiteX50" fmla="*/ 4133 w 10000"/>
                  <a:gd name="connsiteY50" fmla="*/ 7719 h 10049"/>
                  <a:gd name="connsiteX51" fmla="*/ 3882 w 10000"/>
                  <a:gd name="connsiteY51" fmla="*/ 7331 h 10049"/>
                  <a:gd name="connsiteX52" fmla="*/ 4133 w 10000"/>
                  <a:gd name="connsiteY52" fmla="*/ 7136 h 10049"/>
                  <a:gd name="connsiteX53" fmla="*/ 4258 w 10000"/>
                  <a:gd name="connsiteY53" fmla="*/ 7233 h 10049"/>
                  <a:gd name="connsiteX54" fmla="*/ 4383 w 10000"/>
                  <a:gd name="connsiteY54" fmla="*/ 7233 h 10049"/>
                  <a:gd name="connsiteX55" fmla="*/ 4258 w 10000"/>
                  <a:gd name="connsiteY55" fmla="*/ 7428 h 10049"/>
                  <a:gd name="connsiteX56" fmla="*/ 4508 w 10000"/>
                  <a:gd name="connsiteY56" fmla="*/ 7525 h 10049"/>
                  <a:gd name="connsiteX57" fmla="*/ 4759 w 10000"/>
                  <a:gd name="connsiteY57" fmla="*/ 7331 h 10049"/>
                  <a:gd name="connsiteX58" fmla="*/ 5135 w 10000"/>
                  <a:gd name="connsiteY58" fmla="*/ 7428 h 10049"/>
                  <a:gd name="connsiteX59" fmla="*/ 5385 w 10000"/>
                  <a:gd name="connsiteY59" fmla="*/ 7719 h 10049"/>
                  <a:gd name="connsiteX60" fmla="*/ 5636 w 10000"/>
                  <a:gd name="connsiteY60" fmla="*/ 7719 h 10049"/>
                  <a:gd name="connsiteX61" fmla="*/ 5636 w 10000"/>
                  <a:gd name="connsiteY61" fmla="*/ 8010 h 10049"/>
                  <a:gd name="connsiteX62" fmla="*/ 5886 w 10000"/>
                  <a:gd name="connsiteY62" fmla="*/ 8204 h 10049"/>
                  <a:gd name="connsiteX63" fmla="*/ 6011 w 10000"/>
                  <a:gd name="connsiteY63" fmla="*/ 8204 h 10049"/>
                  <a:gd name="connsiteX64" fmla="*/ 6011 w 10000"/>
                  <a:gd name="connsiteY64" fmla="*/ 8593 h 10049"/>
                  <a:gd name="connsiteX65" fmla="*/ 6387 w 10000"/>
                  <a:gd name="connsiteY65" fmla="*/ 8884 h 10049"/>
                  <a:gd name="connsiteX66" fmla="*/ 6763 w 10000"/>
                  <a:gd name="connsiteY66" fmla="*/ 8981 h 10049"/>
                  <a:gd name="connsiteX67" fmla="*/ 6763 w 10000"/>
                  <a:gd name="connsiteY67" fmla="*/ 9175 h 10049"/>
                  <a:gd name="connsiteX68" fmla="*/ 6637 w 10000"/>
                  <a:gd name="connsiteY68" fmla="*/ 9272 h 10049"/>
                  <a:gd name="connsiteX69" fmla="*/ 6512 w 10000"/>
                  <a:gd name="connsiteY69" fmla="*/ 9466 h 10049"/>
                  <a:gd name="connsiteX70" fmla="*/ 6512 w 10000"/>
                  <a:gd name="connsiteY70" fmla="*/ 9661 h 10049"/>
                  <a:gd name="connsiteX71" fmla="*/ 6637 w 10000"/>
                  <a:gd name="connsiteY71" fmla="*/ 9758 h 10049"/>
                  <a:gd name="connsiteX72" fmla="*/ 6763 w 10000"/>
                  <a:gd name="connsiteY72" fmla="*/ 10049 h 10049"/>
                  <a:gd name="connsiteX73" fmla="*/ 7138 w 10000"/>
                  <a:gd name="connsiteY73" fmla="*/ 9952 h 10049"/>
                  <a:gd name="connsiteX74" fmla="*/ 7764 w 10000"/>
                  <a:gd name="connsiteY74" fmla="*/ 9855 h 10049"/>
                  <a:gd name="connsiteX75" fmla="*/ 8015 w 10000"/>
                  <a:gd name="connsiteY75" fmla="*/ 9855 h 10049"/>
                  <a:gd name="connsiteX76" fmla="*/ 8516 w 10000"/>
                  <a:gd name="connsiteY76" fmla="*/ 9758 h 10049"/>
                  <a:gd name="connsiteX77" fmla="*/ 8766 w 10000"/>
                  <a:gd name="connsiteY77" fmla="*/ 9952 h 10049"/>
                  <a:gd name="connsiteX78" fmla="*/ 9017 w 10000"/>
                  <a:gd name="connsiteY78" fmla="*/ 9564 h 10049"/>
                  <a:gd name="connsiteX79" fmla="*/ 8891 w 10000"/>
                  <a:gd name="connsiteY79" fmla="*/ 9272 h 10049"/>
                  <a:gd name="connsiteX80" fmla="*/ 8766 w 10000"/>
                  <a:gd name="connsiteY80" fmla="*/ 8496 h 10049"/>
                  <a:gd name="connsiteX81" fmla="*/ 9392 w 10000"/>
                  <a:gd name="connsiteY81" fmla="*/ 8399 h 10049"/>
                  <a:gd name="connsiteX82" fmla="*/ 9893 w 10000"/>
                  <a:gd name="connsiteY82" fmla="*/ 7913 h 10049"/>
                  <a:gd name="connsiteX83" fmla="*/ 9769 w 10000"/>
                  <a:gd name="connsiteY83" fmla="*/ 7428 h 10049"/>
                  <a:gd name="connsiteX0" fmla="*/ 9769 w 10000"/>
                  <a:gd name="connsiteY0" fmla="*/ 7767 h 10388"/>
                  <a:gd name="connsiteX1" fmla="*/ 9268 w 10000"/>
                  <a:gd name="connsiteY1" fmla="*/ 7378 h 10388"/>
                  <a:gd name="connsiteX2" fmla="*/ 8766 w 10000"/>
                  <a:gd name="connsiteY2" fmla="*/ 7087 h 10388"/>
                  <a:gd name="connsiteX3" fmla="*/ 8516 w 10000"/>
                  <a:gd name="connsiteY3" fmla="*/ 6310 h 10388"/>
                  <a:gd name="connsiteX4" fmla="*/ 8891 w 10000"/>
                  <a:gd name="connsiteY4" fmla="*/ 5728 h 10388"/>
                  <a:gd name="connsiteX5" fmla="*/ 9544 w 10000"/>
                  <a:gd name="connsiteY5" fmla="*/ 5288 h 10388"/>
                  <a:gd name="connsiteX6" fmla="*/ 9228 w 10000"/>
                  <a:gd name="connsiteY6" fmla="*/ 4844 h 10388"/>
                  <a:gd name="connsiteX7" fmla="*/ 9142 w 10000"/>
                  <a:gd name="connsiteY7" fmla="*/ 4369 h 10388"/>
                  <a:gd name="connsiteX8" fmla="*/ 8642 w 10000"/>
                  <a:gd name="connsiteY8" fmla="*/ 4077 h 10388"/>
                  <a:gd name="connsiteX9" fmla="*/ 7890 w 10000"/>
                  <a:gd name="connsiteY9" fmla="*/ 4563 h 10388"/>
                  <a:gd name="connsiteX10" fmla="*/ 7639 w 10000"/>
                  <a:gd name="connsiteY10" fmla="*/ 4271 h 10388"/>
                  <a:gd name="connsiteX11" fmla="*/ 7005 w 10000"/>
                  <a:gd name="connsiteY11" fmla="*/ 3948 h 10388"/>
                  <a:gd name="connsiteX12" fmla="*/ 6262 w 10000"/>
                  <a:gd name="connsiteY12" fmla="*/ 3883 h 10388"/>
                  <a:gd name="connsiteX13" fmla="*/ 6136 w 10000"/>
                  <a:gd name="connsiteY13" fmla="*/ 3689 h 10388"/>
                  <a:gd name="connsiteX14" fmla="*/ 6136 w 10000"/>
                  <a:gd name="connsiteY14" fmla="*/ 3398 h 10388"/>
                  <a:gd name="connsiteX15" fmla="*/ 6011 w 10000"/>
                  <a:gd name="connsiteY15" fmla="*/ 3009 h 10388"/>
                  <a:gd name="connsiteX16" fmla="*/ 5686 w 10000"/>
                  <a:gd name="connsiteY16" fmla="*/ 2584 h 10388"/>
                  <a:gd name="connsiteX17" fmla="*/ 5227 w 10000"/>
                  <a:gd name="connsiteY17" fmla="*/ 2090 h 10388"/>
                  <a:gd name="connsiteX18" fmla="*/ 4976 w 10000"/>
                  <a:gd name="connsiteY18" fmla="*/ 1553 h 10388"/>
                  <a:gd name="connsiteX19" fmla="*/ 5086 w 10000"/>
                  <a:gd name="connsiteY19" fmla="*/ 939 h 10388"/>
                  <a:gd name="connsiteX20" fmla="*/ 4401 w 10000"/>
                  <a:gd name="connsiteY20" fmla="*/ 49 h 10388"/>
                  <a:gd name="connsiteX21" fmla="*/ 3498 w 10000"/>
                  <a:gd name="connsiteY21" fmla="*/ 351 h 10388"/>
                  <a:gd name="connsiteX22" fmla="*/ 2630 w 10000"/>
                  <a:gd name="connsiteY22" fmla="*/ 388 h 10388"/>
                  <a:gd name="connsiteX23" fmla="*/ 1879 w 10000"/>
                  <a:gd name="connsiteY23" fmla="*/ 388 h 10388"/>
                  <a:gd name="connsiteX24" fmla="*/ 1253 w 10000"/>
                  <a:gd name="connsiteY24" fmla="*/ 679 h 10388"/>
                  <a:gd name="connsiteX25" fmla="*/ 626 w 10000"/>
                  <a:gd name="connsiteY25" fmla="*/ 776 h 10388"/>
                  <a:gd name="connsiteX26" fmla="*/ 0 w 10000"/>
                  <a:gd name="connsiteY26" fmla="*/ 971 h 10388"/>
                  <a:gd name="connsiteX27" fmla="*/ 251 w 10000"/>
                  <a:gd name="connsiteY27" fmla="*/ 1456 h 10388"/>
                  <a:gd name="connsiteX28" fmla="*/ 251 w 10000"/>
                  <a:gd name="connsiteY28" fmla="*/ 1844 h 10388"/>
                  <a:gd name="connsiteX29" fmla="*/ 501 w 10000"/>
                  <a:gd name="connsiteY29" fmla="*/ 2038 h 10388"/>
                  <a:gd name="connsiteX30" fmla="*/ 876 w 10000"/>
                  <a:gd name="connsiteY30" fmla="*/ 2621 h 10388"/>
                  <a:gd name="connsiteX31" fmla="*/ 1253 w 10000"/>
                  <a:gd name="connsiteY31" fmla="*/ 2815 h 10388"/>
                  <a:gd name="connsiteX32" fmla="*/ 752 w 10000"/>
                  <a:gd name="connsiteY32" fmla="*/ 3009 h 10388"/>
                  <a:gd name="connsiteX33" fmla="*/ 752 w 10000"/>
                  <a:gd name="connsiteY33" fmla="*/ 3495 h 10388"/>
                  <a:gd name="connsiteX34" fmla="*/ 1002 w 10000"/>
                  <a:gd name="connsiteY34" fmla="*/ 3495 h 10388"/>
                  <a:gd name="connsiteX35" fmla="*/ 1253 w 10000"/>
                  <a:gd name="connsiteY35" fmla="*/ 3786 h 10388"/>
                  <a:gd name="connsiteX36" fmla="*/ 876 w 10000"/>
                  <a:gd name="connsiteY36" fmla="*/ 4757 h 10388"/>
                  <a:gd name="connsiteX37" fmla="*/ 1253 w 10000"/>
                  <a:gd name="connsiteY37" fmla="*/ 5145 h 10388"/>
                  <a:gd name="connsiteX38" fmla="*/ 1628 w 10000"/>
                  <a:gd name="connsiteY38" fmla="*/ 5437 h 10388"/>
                  <a:gd name="connsiteX39" fmla="*/ 2003 w 10000"/>
                  <a:gd name="connsiteY39" fmla="*/ 5825 h 10388"/>
                  <a:gd name="connsiteX40" fmla="*/ 1502 w 10000"/>
                  <a:gd name="connsiteY40" fmla="*/ 5825 h 10388"/>
                  <a:gd name="connsiteX41" fmla="*/ 1378 w 10000"/>
                  <a:gd name="connsiteY41" fmla="*/ 6116 h 10388"/>
                  <a:gd name="connsiteX42" fmla="*/ 1753 w 10000"/>
                  <a:gd name="connsiteY42" fmla="*/ 6602 h 10388"/>
                  <a:gd name="connsiteX43" fmla="*/ 1502 w 10000"/>
                  <a:gd name="connsiteY43" fmla="*/ 6893 h 10388"/>
                  <a:gd name="connsiteX44" fmla="*/ 1002 w 10000"/>
                  <a:gd name="connsiteY44" fmla="*/ 7087 h 10388"/>
                  <a:gd name="connsiteX45" fmla="*/ 1753 w 10000"/>
                  <a:gd name="connsiteY45" fmla="*/ 7475 h 10388"/>
                  <a:gd name="connsiteX46" fmla="*/ 3381 w 10000"/>
                  <a:gd name="connsiteY46" fmla="*/ 8252 h 10388"/>
                  <a:gd name="connsiteX47" fmla="*/ 3381 w 10000"/>
                  <a:gd name="connsiteY47" fmla="*/ 8543 h 10388"/>
                  <a:gd name="connsiteX48" fmla="*/ 3882 w 10000"/>
                  <a:gd name="connsiteY48" fmla="*/ 8446 h 10388"/>
                  <a:gd name="connsiteX49" fmla="*/ 3757 w 10000"/>
                  <a:gd name="connsiteY49" fmla="*/ 8252 h 10388"/>
                  <a:gd name="connsiteX50" fmla="*/ 4133 w 10000"/>
                  <a:gd name="connsiteY50" fmla="*/ 8058 h 10388"/>
                  <a:gd name="connsiteX51" fmla="*/ 3882 w 10000"/>
                  <a:gd name="connsiteY51" fmla="*/ 7670 h 10388"/>
                  <a:gd name="connsiteX52" fmla="*/ 4133 w 10000"/>
                  <a:gd name="connsiteY52" fmla="*/ 7475 h 10388"/>
                  <a:gd name="connsiteX53" fmla="*/ 4258 w 10000"/>
                  <a:gd name="connsiteY53" fmla="*/ 7572 h 10388"/>
                  <a:gd name="connsiteX54" fmla="*/ 4383 w 10000"/>
                  <a:gd name="connsiteY54" fmla="*/ 7572 h 10388"/>
                  <a:gd name="connsiteX55" fmla="*/ 4258 w 10000"/>
                  <a:gd name="connsiteY55" fmla="*/ 7767 h 10388"/>
                  <a:gd name="connsiteX56" fmla="*/ 4508 w 10000"/>
                  <a:gd name="connsiteY56" fmla="*/ 7864 h 10388"/>
                  <a:gd name="connsiteX57" fmla="*/ 4759 w 10000"/>
                  <a:gd name="connsiteY57" fmla="*/ 7670 h 10388"/>
                  <a:gd name="connsiteX58" fmla="*/ 5135 w 10000"/>
                  <a:gd name="connsiteY58" fmla="*/ 7767 h 10388"/>
                  <a:gd name="connsiteX59" fmla="*/ 5385 w 10000"/>
                  <a:gd name="connsiteY59" fmla="*/ 8058 h 10388"/>
                  <a:gd name="connsiteX60" fmla="*/ 5636 w 10000"/>
                  <a:gd name="connsiteY60" fmla="*/ 8058 h 10388"/>
                  <a:gd name="connsiteX61" fmla="*/ 5636 w 10000"/>
                  <a:gd name="connsiteY61" fmla="*/ 8349 h 10388"/>
                  <a:gd name="connsiteX62" fmla="*/ 5886 w 10000"/>
                  <a:gd name="connsiteY62" fmla="*/ 8543 h 10388"/>
                  <a:gd name="connsiteX63" fmla="*/ 6011 w 10000"/>
                  <a:gd name="connsiteY63" fmla="*/ 8543 h 10388"/>
                  <a:gd name="connsiteX64" fmla="*/ 6011 w 10000"/>
                  <a:gd name="connsiteY64" fmla="*/ 8932 h 10388"/>
                  <a:gd name="connsiteX65" fmla="*/ 6387 w 10000"/>
                  <a:gd name="connsiteY65" fmla="*/ 9223 h 10388"/>
                  <a:gd name="connsiteX66" fmla="*/ 6763 w 10000"/>
                  <a:gd name="connsiteY66" fmla="*/ 9320 h 10388"/>
                  <a:gd name="connsiteX67" fmla="*/ 6763 w 10000"/>
                  <a:gd name="connsiteY67" fmla="*/ 9514 h 10388"/>
                  <a:gd name="connsiteX68" fmla="*/ 6637 w 10000"/>
                  <a:gd name="connsiteY68" fmla="*/ 9611 h 10388"/>
                  <a:gd name="connsiteX69" fmla="*/ 6512 w 10000"/>
                  <a:gd name="connsiteY69" fmla="*/ 9805 h 10388"/>
                  <a:gd name="connsiteX70" fmla="*/ 6512 w 10000"/>
                  <a:gd name="connsiteY70" fmla="*/ 10000 h 10388"/>
                  <a:gd name="connsiteX71" fmla="*/ 6637 w 10000"/>
                  <a:gd name="connsiteY71" fmla="*/ 10097 h 10388"/>
                  <a:gd name="connsiteX72" fmla="*/ 6763 w 10000"/>
                  <a:gd name="connsiteY72" fmla="*/ 10388 h 10388"/>
                  <a:gd name="connsiteX73" fmla="*/ 7138 w 10000"/>
                  <a:gd name="connsiteY73" fmla="*/ 10291 h 10388"/>
                  <a:gd name="connsiteX74" fmla="*/ 7764 w 10000"/>
                  <a:gd name="connsiteY74" fmla="*/ 10194 h 10388"/>
                  <a:gd name="connsiteX75" fmla="*/ 8015 w 10000"/>
                  <a:gd name="connsiteY75" fmla="*/ 10194 h 10388"/>
                  <a:gd name="connsiteX76" fmla="*/ 8516 w 10000"/>
                  <a:gd name="connsiteY76" fmla="*/ 10097 h 10388"/>
                  <a:gd name="connsiteX77" fmla="*/ 8766 w 10000"/>
                  <a:gd name="connsiteY77" fmla="*/ 10291 h 10388"/>
                  <a:gd name="connsiteX78" fmla="*/ 9017 w 10000"/>
                  <a:gd name="connsiteY78" fmla="*/ 9903 h 10388"/>
                  <a:gd name="connsiteX79" fmla="*/ 8891 w 10000"/>
                  <a:gd name="connsiteY79" fmla="*/ 9611 h 10388"/>
                  <a:gd name="connsiteX80" fmla="*/ 8766 w 10000"/>
                  <a:gd name="connsiteY80" fmla="*/ 8835 h 10388"/>
                  <a:gd name="connsiteX81" fmla="*/ 9392 w 10000"/>
                  <a:gd name="connsiteY81" fmla="*/ 8738 h 10388"/>
                  <a:gd name="connsiteX82" fmla="*/ 9893 w 10000"/>
                  <a:gd name="connsiteY82" fmla="*/ 8252 h 10388"/>
                  <a:gd name="connsiteX83" fmla="*/ 9769 w 10000"/>
                  <a:gd name="connsiteY83" fmla="*/ 7767 h 10388"/>
                  <a:gd name="connsiteX0" fmla="*/ 9769 w 10000"/>
                  <a:gd name="connsiteY0" fmla="*/ 7846 h 10467"/>
                  <a:gd name="connsiteX1" fmla="*/ 9268 w 10000"/>
                  <a:gd name="connsiteY1" fmla="*/ 7457 h 10467"/>
                  <a:gd name="connsiteX2" fmla="*/ 8766 w 10000"/>
                  <a:gd name="connsiteY2" fmla="*/ 7166 h 10467"/>
                  <a:gd name="connsiteX3" fmla="*/ 8516 w 10000"/>
                  <a:gd name="connsiteY3" fmla="*/ 6389 h 10467"/>
                  <a:gd name="connsiteX4" fmla="*/ 8891 w 10000"/>
                  <a:gd name="connsiteY4" fmla="*/ 5807 h 10467"/>
                  <a:gd name="connsiteX5" fmla="*/ 9544 w 10000"/>
                  <a:gd name="connsiteY5" fmla="*/ 5367 h 10467"/>
                  <a:gd name="connsiteX6" fmla="*/ 9228 w 10000"/>
                  <a:gd name="connsiteY6" fmla="*/ 4923 h 10467"/>
                  <a:gd name="connsiteX7" fmla="*/ 9142 w 10000"/>
                  <a:gd name="connsiteY7" fmla="*/ 4448 h 10467"/>
                  <a:gd name="connsiteX8" fmla="*/ 8642 w 10000"/>
                  <a:gd name="connsiteY8" fmla="*/ 4156 h 10467"/>
                  <a:gd name="connsiteX9" fmla="*/ 7890 w 10000"/>
                  <a:gd name="connsiteY9" fmla="*/ 4642 h 10467"/>
                  <a:gd name="connsiteX10" fmla="*/ 7639 w 10000"/>
                  <a:gd name="connsiteY10" fmla="*/ 4350 h 10467"/>
                  <a:gd name="connsiteX11" fmla="*/ 7005 w 10000"/>
                  <a:gd name="connsiteY11" fmla="*/ 4027 h 10467"/>
                  <a:gd name="connsiteX12" fmla="*/ 6262 w 10000"/>
                  <a:gd name="connsiteY12" fmla="*/ 3962 h 10467"/>
                  <a:gd name="connsiteX13" fmla="*/ 6136 w 10000"/>
                  <a:gd name="connsiteY13" fmla="*/ 3768 h 10467"/>
                  <a:gd name="connsiteX14" fmla="*/ 6136 w 10000"/>
                  <a:gd name="connsiteY14" fmla="*/ 3477 h 10467"/>
                  <a:gd name="connsiteX15" fmla="*/ 6011 w 10000"/>
                  <a:gd name="connsiteY15" fmla="*/ 3088 h 10467"/>
                  <a:gd name="connsiteX16" fmla="*/ 5686 w 10000"/>
                  <a:gd name="connsiteY16" fmla="*/ 2663 h 10467"/>
                  <a:gd name="connsiteX17" fmla="*/ 5227 w 10000"/>
                  <a:gd name="connsiteY17" fmla="*/ 2169 h 10467"/>
                  <a:gd name="connsiteX18" fmla="*/ 4976 w 10000"/>
                  <a:gd name="connsiteY18" fmla="*/ 1632 h 10467"/>
                  <a:gd name="connsiteX19" fmla="*/ 5086 w 10000"/>
                  <a:gd name="connsiteY19" fmla="*/ 1018 h 10467"/>
                  <a:gd name="connsiteX20" fmla="*/ 4401 w 10000"/>
                  <a:gd name="connsiteY20" fmla="*/ 128 h 10467"/>
                  <a:gd name="connsiteX21" fmla="*/ 3498 w 10000"/>
                  <a:gd name="connsiteY21" fmla="*/ 61 h 10467"/>
                  <a:gd name="connsiteX22" fmla="*/ 2630 w 10000"/>
                  <a:gd name="connsiteY22" fmla="*/ 467 h 10467"/>
                  <a:gd name="connsiteX23" fmla="*/ 1879 w 10000"/>
                  <a:gd name="connsiteY23" fmla="*/ 467 h 10467"/>
                  <a:gd name="connsiteX24" fmla="*/ 1253 w 10000"/>
                  <a:gd name="connsiteY24" fmla="*/ 758 h 10467"/>
                  <a:gd name="connsiteX25" fmla="*/ 626 w 10000"/>
                  <a:gd name="connsiteY25" fmla="*/ 855 h 10467"/>
                  <a:gd name="connsiteX26" fmla="*/ 0 w 10000"/>
                  <a:gd name="connsiteY26" fmla="*/ 1050 h 10467"/>
                  <a:gd name="connsiteX27" fmla="*/ 251 w 10000"/>
                  <a:gd name="connsiteY27" fmla="*/ 1535 h 10467"/>
                  <a:gd name="connsiteX28" fmla="*/ 251 w 10000"/>
                  <a:gd name="connsiteY28" fmla="*/ 1923 h 10467"/>
                  <a:gd name="connsiteX29" fmla="*/ 501 w 10000"/>
                  <a:gd name="connsiteY29" fmla="*/ 2117 h 10467"/>
                  <a:gd name="connsiteX30" fmla="*/ 876 w 10000"/>
                  <a:gd name="connsiteY30" fmla="*/ 2700 h 10467"/>
                  <a:gd name="connsiteX31" fmla="*/ 1253 w 10000"/>
                  <a:gd name="connsiteY31" fmla="*/ 2894 h 10467"/>
                  <a:gd name="connsiteX32" fmla="*/ 752 w 10000"/>
                  <a:gd name="connsiteY32" fmla="*/ 3088 h 10467"/>
                  <a:gd name="connsiteX33" fmla="*/ 752 w 10000"/>
                  <a:gd name="connsiteY33" fmla="*/ 3574 h 10467"/>
                  <a:gd name="connsiteX34" fmla="*/ 1002 w 10000"/>
                  <a:gd name="connsiteY34" fmla="*/ 3574 h 10467"/>
                  <a:gd name="connsiteX35" fmla="*/ 1253 w 10000"/>
                  <a:gd name="connsiteY35" fmla="*/ 3865 h 10467"/>
                  <a:gd name="connsiteX36" fmla="*/ 876 w 10000"/>
                  <a:gd name="connsiteY36" fmla="*/ 4836 h 10467"/>
                  <a:gd name="connsiteX37" fmla="*/ 1253 w 10000"/>
                  <a:gd name="connsiteY37" fmla="*/ 5224 h 10467"/>
                  <a:gd name="connsiteX38" fmla="*/ 1628 w 10000"/>
                  <a:gd name="connsiteY38" fmla="*/ 5516 h 10467"/>
                  <a:gd name="connsiteX39" fmla="*/ 2003 w 10000"/>
                  <a:gd name="connsiteY39" fmla="*/ 5904 h 10467"/>
                  <a:gd name="connsiteX40" fmla="*/ 1502 w 10000"/>
                  <a:gd name="connsiteY40" fmla="*/ 5904 h 10467"/>
                  <a:gd name="connsiteX41" fmla="*/ 1378 w 10000"/>
                  <a:gd name="connsiteY41" fmla="*/ 6195 h 10467"/>
                  <a:gd name="connsiteX42" fmla="*/ 1753 w 10000"/>
                  <a:gd name="connsiteY42" fmla="*/ 6681 h 10467"/>
                  <a:gd name="connsiteX43" fmla="*/ 1502 w 10000"/>
                  <a:gd name="connsiteY43" fmla="*/ 6972 h 10467"/>
                  <a:gd name="connsiteX44" fmla="*/ 1002 w 10000"/>
                  <a:gd name="connsiteY44" fmla="*/ 7166 h 10467"/>
                  <a:gd name="connsiteX45" fmla="*/ 1753 w 10000"/>
                  <a:gd name="connsiteY45" fmla="*/ 7554 h 10467"/>
                  <a:gd name="connsiteX46" fmla="*/ 3381 w 10000"/>
                  <a:gd name="connsiteY46" fmla="*/ 8331 h 10467"/>
                  <a:gd name="connsiteX47" fmla="*/ 3381 w 10000"/>
                  <a:gd name="connsiteY47" fmla="*/ 8622 h 10467"/>
                  <a:gd name="connsiteX48" fmla="*/ 3882 w 10000"/>
                  <a:gd name="connsiteY48" fmla="*/ 8525 h 10467"/>
                  <a:gd name="connsiteX49" fmla="*/ 3757 w 10000"/>
                  <a:gd name="connsiteY49" fmla="*/ 8331 h 10467"/>
                  <a:gd name="connsiteX50" fmla="*/ 4133 w 10000"/>
                  <a:gd name="connsiteY50" fmla="*/ 8137 h 10467"/>
                  <a:gd name="connsiteX51" fmla="*/ 3882 w 10000"/>
                  <a:gd name="connsiteY51" fmla="*/ 7749 h 10467"/>
                  <a:gd name="connsiteX52" fmla="*/ 4133 w 10000"/>
                  <a:gd name="connsiteY52" fmla="*/ 7554 h 10467"/>
                  <a:gd name="connsiteX53" fmla="*/ 4258 w 10000"/>
                  <a:gd name="connsiteY53" fmla="*/ 7651 h 10467"/>
                  <a:gd name="connsiteX54" fmla="*/ 4383 w 10000"/>
                  <a:gd name="connsiteY54" fmla="*/ 7651 h 10467"/>
                  <a:gd name="connsiteX55" fmla="*/ 4258 w 10000"/>
                  <a:gd name="connsiteY55" fmla="*/ 7846 h 10467"/>
                  <a:gd name="connsiteX56" fmla="*/ 4508 w 10000"/>
                  <a:gd name="connsiteY56" fmla="*/ 7943 h 10467"/>
                  <a:gd name="connsiteX57" fmla="*/ 4759 w 10000"/>
                  <a:gd name="connsiteY57" fmla="*/ 7749 h 10467"/>
                  <a:gd name="connsiteX58" fmla="*/ 5135 w 10000"/>
                  <a:gd name="connsiteY58" fmla="*/ 7846 h 10467"/>
                  <a:gd name="connsiteX59" fmla="*/ 5385 w 10000"/>
                  <a:gd name="connsiteY59" fmla="*/ 8137 h 10467"/>
                  <a:gd name="connsiteX60" fmla="*/ 5636 w 10000"/>
                  <a:gd name="connsiteY60" fmla="*/ 8137 h 10467"/>
                  <a:gd name="connsiteX61" fmla="*/ 5636 w 10000"/>
                  <a:gd name="connsiteY61" fmla="*/ 8428 h 10467"/>
                  <a:gd name="connsiteX62" fmla="*/ 5886 w 10000"/>
                  <a:gd name="connsiteY62" fmla="*/ 8622 h 10467"/>
                  <a:gd name="connsiteX63" fmla="*/ 6011 w 10000"/>
                  <a:gd name="connsiteY63" fmla="*/ 8622 h 10467"/>
                  <a:gd name="connsiteX64" fmla="*/ 6011 w 10000"/>
                  <a:gd name="connsiteY64" fmla="*/ 9011 h 10467"/>
                  <a:gd name="connsiteX65" fmla="*/ 6387 w 10000"/>
                  <a:gd name="connsiteY65" fmla="*/ 9302 h 10467"/>
                  <a:gd name="connsiteX66" fmla="*/ 6763 w 10000"/>
                  <a:gd name="connsiteY66" fmla="*/ 9399 h 10467"/>
                  <a:gd name="connsiteX67" fmla="*/ 6763 w 10000"/>
                  <a:gd name="connsiteY67" fmla="*/ 9593 h 10467"/>
                  <a:gd name="connsiteX68" fmla="*/ 6637 w 10000"/>
                  <a:gd name="connsiteY68" fmla="*/ 9690 h 10467"/>
                  <a:gd name="connsiteX69" fmla="*/ 6512 w 10000"/>
                  <a:gd name="connsiteY69" fmla="*/ 9884 h 10467"/>
                  <a:gd name="connsiteX70" fmla="*/ 6512 w 10000"/>
                  <a:gd name="connsiteY70" fmla="*/ 10079 h 10467"/>
                  <a:gd name="connsiteX71" fmla="*/ 6637 w 10000"/>
                  <a:gd name="connsiteY71" fmla="*/ 10176 h 10467"/>
                  <a:gd name="connsiteX72" fmla="*/ 6763 w 10000"/>
                  <a:gd name="connsiteY72" fmla="*/ 10467 h 10467"/>
                  <a:gd name="connsiteX73" fmla="*/ 7138 w 10000"/>
                  <a:gd name="connsiteY73" fmla="*/ 10370 h 10467"/>
                  <a:gd name="connsiteX74" fmla="*/ 7764 w 10000"/>
                  <a:gd name="connsiteY74" fmla="*/ 10273 h 10467"/>
                  <a:gd name="connsiteX75" fmla="*/ 8015 w 10000"/>
                  <a:gd name="connsiteY75" fmla="*/ 10273 h 10467"/>
                  <a:gd name="connsiteX76" fmla="*/ 8516 w 10000"/>
                  <a:gd name="connsiteY76" fmla="*/ 10176 h 10467"/>
                  <a:gd name="connsiteX77" fmla="*/ 8766 w 10000"/>
                  <a:gd name="connsiteY77" fmla="*/ 10370 h 10467"/>
                  <a:gd name="connsiteX78" fmla="*/ 9017 w 10000"/>
                  <a:gd name="connsiteY78" fmla="*/ 9982 h 10467"/>
                  <a:gd name="connsiteX79" fmla="*/ 8891 w 10000"/>
                  <a:gd name="connsiteY79" fmla="*/ 9690 h 10467"/>
                  <a:gd name="connsiteX80" fmla="*/ 8766 w 10000"/>
                  <a:gd name="connsiteY80" fmla="*/ 8914 h 10467"/>
                  <a:gd name="connsiteX81" fmla="*/ 9392 w 10000"/>
                  <a:gd name="connsiteY81" fmla="*/ 8817 h 10467"/>
                  <a:gd name="connsiteX82" fmla="*/ 9893 w 10000"/>
                  <a:gd name="connsiteY82" fmla="*/ 8331 h 10467"/>
                  <a:gd name="connsiteX83" fmla="*/ 9769 w 10000"/>
                  <a:gd name="connsiteY83" fmla="*/ 7846 h 10467"/>
                  <a:gd name="connsiteX0" fmla="*/ 9769 w 10000"/>
                  <a:gd name="connsiteY0" fmla="*/ 7833 h 10454"/>
                  <a:gd name="connsiteX1" fmla="*/ 9268 w 10000"/>
                  <a:gd name="connsiteY1" fmla="*/ 7444 h 10454"/>
                  <a:gd name="connsiteX2" fmla="*/ 8766 w 10000"/>
                  <a:gd name="connsiteY2" fmla="*/ 7153 h 10454"/>
                  <a:gd name="connsiteX3" fmla="*/ 8516 w 10000"/>
                  <a:gd name="connsiteY3" fmla="*/ 6376 h 10454"/>
                  <a:gd name="connsiteX4" fmla="*/ 8891 w 10000"/>
                  <a:gd name="connsiteY4" fmla="*/ 5794 h 10454"/>
                  <a:gd name="connsiteX5" fmla="*/ 9544 w 10000"/>
                  <a:gd name="connsiteY5" fmla="*/ 5354 h 10454"/>
                  <a:gd name="connsiteX6" fmla="*/ 9228 w 10000"/>
                  <a:gd name="connsiteY6" fmla="*/ 4910 h 10454"/>
                  <a:gd name="connsiteX7" fmla="*/ 9142 w 10000"/>
                  <a:gd name="connsiteY7" fmla="*/ 4435 h 10454"/>
                  <a:gd name="connsiteX8" fmla="*/ 8642 w 10000"/>
                  <a:gd name="connsiteY8" fmla="*/ 4143 h 10454"/>
                  <a:gd name="connsiteX9" fmla="*/ 7890 w 10000"/>
                  <a:gd name="connsiteY9" fmla="*/ 4629 h 10454"/>
                  <a:gd name="connsiteX10" fmla="*/ 7639 w 10000"/>
                  <a:gd name="connsiteY10" fmla="*/ 4337 h 10454"/>
                  <a:gd name="connsiteX11" fmla="*/ 7005 w 10000"/>
                  <a:gd name="connsiteY11" fmla="*/ 4014 h 10454"/>
                  <a:gd name="connsiteX12" fmla="*/ 6262 w 10000"/>
                  <a:gd name="connsiteY12" fmla="*/ 3949 h 10454"/>
                  <a:gd name="connsiteX13" fmla="*/ 6136 w 10000"/>
                  <a:gd name="connsiteY13" fmla="*/ 3755 h 10454"/>
                  <a:gd name="connsiteX14" fmla="*/ 6136 w 10000"/>
                  <a:gd name="connsiteY14" fmla="*/ 3464 h 10454"/>
                  <a:gd name="connsiteX15" fmla="*/ 6011 w 10000"/>
                  <a:gd name="connsiteY15" fmla="*/ 3075 h 10454"/>
                  <a:gd name="connsiteX16" fmla="*/ 5686 w 10000"/>
                  <a:gd name="connsiteY16" fmla="*/ 2650 h 10454"/>
                  <a:gd name="connsiteX17" fmla="*/ 5227 w 10000"/>
                  <a:gd name="connsiteY17" fmla="*/ 2156 h 10454"/>
                  <a:gd name="connsiteX18" fmla="*/ 4976 w 10000"/>
                  <a:gd name="connsiteY18" fmla="*/ 1619 h 10454"/>
                  <a:gd name="connsiteX19" fmla="*/ 5086 w 10000"/>
                  <a:gd name="connsiteY19" fmla="*/ 1005 h 10454"/>
                  <a:gd name="connsiteX20" fmla="*/ 4401 w 10000"/>
                  <a:gd name="connsiteY20" fmla="*/ 115 h 10454"/>
                  <a:gd name="connsiteX21" fmla="*/ 3498 w 10000"/>
                  <a:gd name="connsiteY21" fmla="*/ 48 h 10454"/>
                  <a:gd name="connsiteX22" fmla="*/ 2630 w 10000"/>
                  <a:gd name="connsiteY22" fmla="*/ 223 h 10454"/>
                  <a:gd name="connsiteX23" fmla="*/ 1879 w 10000"/>
                  <a:gd name="connsiteY23" fmla="*/ 454 h 10454"/>
                  <a:gd name="connsiteX24" fmla="*/ 1253 w 10000"/>
                  <a:gd name="connsiteY24" fmla="*/ 745 h 10454"/>
                  <a:gd name="connsiteX25" fmla="*/ 626 w 10000"/>
                  <a:gd name="connsiteY25" fmla="*/ 842 h 10454"/>
                  <a:gd name="connsiteX26" fmla="*/ 0 w 10000"/>
                  <a:gd name="connsiteY26" fmla="*/ 1037 h 10454"/>
                  <a:gd name="connsiteX27" fmla="*/ 251 w 10000"/>
                  <a:gd name="connsiteY27" fmla="*/ 1522 h 10454"/>
                  <a:gd name="connsiteX28" fmla="*/ 251 w 10000"/>
                  <a:gd name="connsiteY28" fmla="*/ 1910 h 10454"/>
                  <a:gd name="connsiteX29" fmla="*/ 501 w 10000"/>
                  <a:gd name="connsiteY29" fmla="*/ 2104 h 10454"/>
                  <a:gd name="connsiteX30" fmla="*/ 876 w 10000"/>
                  <a:gd name="connsiteY30" fmla="*/ 2687 h 10454"/>
                  <a:gd name="connsiteX31" fmla="*/ 1253 w 10000"/>
                  <a:gd name="connsiteY31" fmla="*/ 2881 h 10454"/>
                  <a:gd name="connsiteX32" fmla="*/ 752 w 10000"/>
                  <a:gd name="connsiteY32" fmla="*/ 3075 h 10454"/>
                  <a:gd name="connsiteX33" fmla="*/ 752 w 10000"/>
                  <a:gd name="connsiteY33" fmla="*/ 3561 h 10454"/>
                  <a:gd name="connsiteX34" fmla="*/ 1002 w 10000"/>
                  <a:gd name="connsiteY34" fmla="*/ 3561 h 10454"/>
                  <a:gd name="connsiteX35" fmla="*/ 1253 w 10000"/>
                  <a:gd name="connsiteY35" fmla="*/ 3852 h 10454"/>
                  <a:gd name="connsiteX36" fmla="*/ 876 w 10000"/>
                  <a:gd name="connsiteY36" fmla="*/ 4823 h 10454"/>
                  <a:gd name="connsiteX37" fmla="*/ 1253 w 10000"/>
                  <a:gd name="connsiteY37" fmla="*/ 5211 h 10454"/>
                  <a:gd name="connsiteX38" fmla="*/ 1628 w 10000"/>
                  <a:gd name="connsiteY38" fmla="*/ 5503 h 10454"/>
                  <a:gd name="connsiteX39" fmla="*/ 2003 w 10000"/>
                  <a:gd name="connsiteY39" fmla="*/ 5891 h 10454"/>
                  <a:gd name="connsiteX40" fmla="*/ 1502 w 10000"/>
                  <a:gd name="connsiteY40" fmla="*/ 5891 h 10454"/>
                  <a:gd name="connsiteX41" fmla="*/ 1378 w 10000"/>
                  <a:gd name="connsiteY41" fmla="*/ 6182 h 10454"/>
                  <a:gd name="connsiteX42" fmla="*/ 1753 w 10000"/>
                  <a:gd name="connsiteY42" fmla="*/ 6668 h 10454"/>
                  <a:gd name="connsiteX43" fmla="*/ 1502 w 10000"/>
                  <a:gd name="connsiteY43" fmla="*/ 6959 h 10454"/>
                  <a:gd name="connsiteX44" fmla="*/ 1002 w 10000"/>
                  <a:gd name="connsiteY44" fmla="*/ 7153 h 10454"/>
                  <a:gd name="connsiteX45" fmla="*/ 1753 w 10000"/>
                  <a:gd name="connsiteY45" fmla="*/ 7541 h 10454"/>
                  <a:gd name="connsiteX46" fmla="*/ 3381 w 10000"/>
                  <a:gd name="connsiteY46" fmla="*/ 8318 h 10454"/>
                  <a:gd name="connsiteX47" fmla="*/ 3381 w 10000"/>
                  <a:gd name="connsiteY47" fmla="*/ 8609 h 10454"/>
                  <a:gd name="connsiteX48" fmla="*/ 3882 w 10000"/>
                  <a:gd name="connsiteY48" fmla="*/ 8512 h 10454"/>
                  <a:gd name="connsiteX49" fmla="*/ 3757 w 10000"/>
                  <a:gd name="connsiteY49" fmla="*/ 8318 h 10454"/>
                  <a:gd name="connsiteX50" fmla="*/ 4133 w 10000"/>
                  <a:gd name="connsiteY50" fmla="*/ 8124 h 10454"/>
                  <a:gd name="connsiteX51" fmla="*/ 3882 w 10000"/>
                  <a:gd name="connsiteY51" fmla="*/ 7736 h 10454"/>
                  <a:gd name="connsiteX52" fmla="*/ 4133 w 10000"/>
                  <a:gd name="connsiteY52" fmla="*/ 7541 h 10454"/>
                  <a:gd name="connsiteX53" fmla="*/ 4258 w 10000"/>
                  <a:gd name="connsiteY53" fmla="*/ 7638 h 10454"/>
                  <a:gd name="connsiteX54" fmla="*/ 4383 w 10000"/>
                  <a:gd name="connsiteY54" fmla="*/ 7638 h 10454"/>
                  <a:gd name="connsiteX55" fmla="*/ 4258 w 10000"/>
                  <a:gd name="connsiteY55" fmla="*/ 7833 h 10454"/>
                  <a:gd name="connsiteX56" fmla="*/ 4508 w 10000"/>
                  <a:gd name="connsiteY56" fmla="*/ 7930 h 10454"/>
                  <a:gd name="connsiteX57" fmla="*/ 4759 w 10000"/>
                  <a:gd name="connsiteY57" fmla="*/ 7736 h 10454"/>
                  <a:gd name="connsiteX58" fmla="*/ 5135 w 10000"/>
                  <a:gd name="connsiteY58" fmla="*/ 7833 h 10454"/>
                  <a:gd name="connsiteX59" fmla="*/ 5385 w 10000"/>
                  <a:gd name="connsiteY59" fmla="*/ 8124 h 10454"/>
                  <a:gd name="connsiteX60" fmla="*/ 5636 w 10000"/>
                  <a:gd name="connsiteY60" fmla="*/ 8124 h 10454"/>
                  <a:gd name="connsiteX61" fmla="*/ 5636 w 10000"/>
                  <a:gd name="connsiteY61" fmla="*/ 8415 h 10454"/>
                  <a:gd name="connsiteX62" fmla="*/ 5886 w 10000"/>
                  <a:gd name="connsiteY62" fmla="*/ 8609 h 10454"/>
                  <a:gd name="connsiteX63" fmla="*/ 6011 w 10000"/>
                  <a:gd name="connsiteY63" fmla="*/ 8609 h 10454"/>
                  <a:gd name="connsiteX64" fmla="*/ 6011 w 10000"/>
                  <a:gd name="connsiteY64" fmla="*/ 8998 h 10454"/>
                  <a:gd name="connsiteX65" fmla="*/ 6387 w 10000"/>
                  <a:gd name="connsiteY65" fmla="*/ 9289 h 10454"/>
                  <a:gd name="connsiteX66" fmla="*/ 6763 w 10000"/>
                  <a:gd name="connsiteY66" fmla="*/ 9386 h 10454"/>
                  <a:gd name="connsiteX67" fmla="*/ 6763 w 10000"/>
                  <a:gd name="connsiteY67" fmla="*/ 9580 h 10454"/>
                  <a:gd name="connsiteX68" fmla="*/ 6637 w 10000"/>
                  <a:gd name="connsiteY68" fmla="*/ 9677 h 10454"/>
                  <a:gd name="connsiteX69" fmla="*/ 6512 w 10000"/>
                  <a:gd name="connsiteY69" fmla="*/ 9871 h 10454"/>
                  <a:gd name="connsiteX70" fmla="*/ 6512 w 10000"/>
                  <a:gd name="connsiteY70" fmla="*/ 10066 h 10454"/>
                  <a:gd name="connsiteX71" fmla="*/ 6637 w 10000"/>
                  <a:gd name="connsiteY71" fmla="*/ 10163 h 10454"/>
                  <a:gd name="connsiteX72" fmla="*/ 6763 w 10000"/>
                  <a:gd name="connsiteY72" fmla="*/ 10454 h 10454"/>
                  <a:gd name="connsiteX73" fmla="*/ 7138 w 10000"/>
                  <a:gd name="connsiteY73" fmla="*/ 10357 h 10454"/>
                  <a:gd name="connsiteX74" fmla="*/ 7764 w 10000"/>
                  <a:gd name="connsiteY74" fmla="*/ 10260 h 10454"/>
                  <a:gd name="connsiteX75" fmla="*/ 8015 w 10000"/>
                  <a:gd name="connsiteY75" fmla="*/ 10260 h 10454"/>
                  <a:gd name="connsiteX76" fmla="*/ 8516 w 10000"/>
                  <a:gd name="connsiteY76" fmla="*/ 10163 h 10454"/>
                  <a:gd name="connsiteX77" fmla="*/ 8766 w 10000"/>
                  <a:gd name="connsiteY77" fmla="*/ 10357 h 10454"/>
                  <a:gd name="connsiteX78" fmla="*/ 9017 w 10000"/>
                  <a:gd name="connsiteY78" fmla="*/ 9969 h 10454"/>
                  <a:gd name="connsiteX79" fmla="*/ 8891 w 10000"/>
                  <a:gd name="connsiteY79" fmla="*/ 9677 h 10454"/>
                  <a:gd name="connsiteX80" fmla="*/ 8766 w 10000"/>
                  <a:gd name="connsiteY80" fmla="*/ 8901 h 10454"/>
                  <a:gd name="connsiteX81" fmla="*/ 9392 w 10000"/>
                  <a:gd name="connsiteY81" fmla="*/ 8804 h 10454"/>
                  <a:gd name="connsiteX82" fmla="*/ 9893 w 10000"/>
                  <a:gd name="connsiteY82" fmla="*/ 8318 h 10454"/>
                  <a:gd name="connsiteX83" fmla="*/ 9769 w 10000"/>
                  <a:gd name="connsiteY83" fmla="*/ 7833 h 10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0000" h="10454">
                    <a:moveTo>
                      <a:pt x="9769" y="7833"/>
                    </a:moveTo>
                    <a:cubicBezTo>
                      <a:pt x="9643" y="7638"/>
                      <a:pt x="9518" y="7444"/>
                      <a:pt x="9268" y="7444"/>
                    </a:cubicBezTo>
                    <a:cubicBezTo>
                      <a:pt x="9017" y="7347"/>
                      <a:pt x="9017" y="7347"/>
                      <a:pt x="8766" y="7153"/>
                    </a:cubicBezTo>
                    <a:cubicBezTo>
                      <a:pt x="8642" y="6862"/>
                      <a:pt x="8516" y="6862"/>
                      <a:pt x="8516" y="6376"/>
                    </a:cubicBezTo>
                    <a:cubicBezTo>
                      <a:pt x="8516" y="5988"/>
                      <a:pt x="8642" y="5988"/>
                      <a:pt x="8891" y="5794"/>
                    </a:cubicBezTo>
                    <a:cubicBezTo>
                      <a:pt x="9142" y="5503"/>
                      <a:pt x="9488" y="5501"/>
                      <a:pt x="9544" y="5354"/>
                    </a:cubicBezTo>
                    <a:cubicBezTo>
                      <a:pt x="9600" y="5207"/>
                      <a:pt x="9295" y="5063"/>
                      <a:pt x="9228" y="4910"/>
                    </a:cubicBezTo>
                    <a:cubicBezTo>
                      <a:pt x="9161" y="4757"/>
                      <a:pt x="9240" y="4563"/>
                      <a:pt x="9142" y="4435"/>
                    </a:cubicBezTo>
                    <a:cubicBezTo>
                      <a:pt x="9044" y="4307"/>
                      <a:pt x="8891" y="4240"/>
                      <a:pt x="8642" y="4143"/>
                    </a:cubicBezTo>
                    <a:cubicBezTo>
                      <a:pt x="8391" y="4143"/>
                      <a:pt x="8015" y="4435"/>
                      <a:pt x="7890" y="4629"/>
                    </a:cubicBezTo>
                    <a:cubicBezTo>
                      <a:pt x="7764" y="4823"/>
                      <a:pt x="7764" y="4629"/>
                      <a:pt x="7639" y="4337"/>
                    </a:cubicBezTo>
                    <a:cubicBezTo>
                      <a:pt x="7389" y="4046"/>
                      <a:pt x="7380" y="3917"/>
                      <a:pt x="7005" y="4014"/>
                    </a:cubicBezTo>
                    <a:cubicBezTo>
                      <a:pt x="6754" y="4112"/>
                      <a:pt x="6637" y="4046"/>
                      <a:pt x="6262" y="3949"/>
                    </a:cubicBezTo>
                    <a:cubicBezTo>
                      <a:pt x="6011" y="3755"/>
                      <a:pt x="6011" y="3852"/>
                      <a:pt x="6136" y="3755"/>
                    </a:cubicBezTo>
                    <a:cubicBezTo>
                      <a:pt x="6262" y="3658"/>
                      <a:pt x="6262" y="3561"/>
                      <a:pt x="6136" y="3464"/>
                    </a:cubicBezTo>
                    <a:cubicBezTo>
                      <a:pt x="5886" y="3270"/>
                      <a:pt x="6136" y="3367"/>
                      <a:pt x="6011" y="3075"/>
                    </a:cubicBezTo>
                    <a:cubicBezTo>
                      <a:pt x="6011" y="2784"/>
                      <a:pt x="6062" y="2747"/>
                      <a:pt x="5686" y="2650"/>
                    </a:cubicBezTo>
                    <a:cubicBezTo>
                      <a:pt x="5436" y="2456"/>
                      <a:pt x="5345" y="2328"/>
                      <a:pt x="5227" y="2156"/>
                    </a:cubicBezTo>
                    <a:cubicBezTo>
                      <a:pt x="5109" y="1984"/>
                      <a:pt x="5102" y="1716"/>
                      <a:pt x="4976" y="1619"/>
                    </a:cubicBezTo>
                    <a:cubicBezTo>
                      <a:pt x="4976" y="1425"/>
                      <a:pt x="5211" y="1102"/>
                      <a:pt x="5086" y="1005"/>
                    </a:cubicBezTo>
                    <a:cubicBezTo>
                      <a:pt x="4961" y="1005"/>
                      <a:pt x="4652" y="212"/>
                      <a:pt x="4401" y="115"/>
                    </a:cubicBezTo>
                    <a:cubicBezTo>
                      <a:pt x="4151" y="-80"/>
                      <a:pt x="3793" y="30"/>
                      <a:pt x="3498" y="48"/>
                    </a:cubicBezTo>
                    <a:cubicBezTo>
                      <a:pt x="3203" y="66"/>
                      <a:pt x="2755" y="223"/>
                      <a:pt x="2630" y="223"/>
                    </a:cubicBezTo>
                    <a:cubicBezTo>
                      <a:pt x="2380" y="320"/>
                      <a:pt x="2109" y="367"/>
                      <a:pt x="1879" y="454"/>
                    </a:cubicBezTo>
                    <a:cubicBezTo>
                      <a:pt x="1650" y="541"/>
                      <a:pt x="1502" y="551"/>
                      <a:pt x="1253" y="745"/>
                    </a:cubicBezTo>
                    <a:cubicBezTo>
                      <a:pt x="1002" y="939"/>
                      <a:pt x="752" y="842"/>
                      <a:pt x="626" y="842"/>
                    </a:cubicBezTo>
                    <a:cubicBezTo>
                      <a:pt x="375" y="939"/>
                      <a:pt x="0" y="1037"/>
                      <a:pt x="0" y="1037"/>
                    </a:cubicBezTo>
                    <a:cubicBezTo>
                      <a:pt x="0" y="1037"/>
                      <a:pt x="125" y="1231"/>
                      <a:pt x="251" y="1522"/>
                    </a:cubicBezTo>
                    <a:cubicBezTo>
                      <a:pt x="375" y="1813"/>
                      <a:pt x="251" y="1813"/>
                      <a:pt x="251" y="1910"/>
                    </a:cubicBezTo>
                    <a:cubicBezTo>
                      <a:pt x="375" y="2007"/>
                      <a:pt x="626" y="2007"/>
                      <a:pt x="501" y="2104"/>
                    </a:cubicBezTo>
                    <a:cubicBezTo>
                      <a:pt x="375" y="2299"/>
                      <a:pt x="626" y="2493"/>
                      <a:pt x="876" y="2687"/>
                    </a:cubicBezTo>
                    <a:cubicBezTo>
                      <a:pt x="1002" y="2784"/>
                      <a:pt x="1378" y="2881"/>
                      <a:pt x="1253" y="2881"/>
                    </a:cubicBezTo>
                    <a:cubicBezTo>
                      <a:pt x="1127" y="2978"/>
                      <a:pt x="626" y="2881"/>
                      <a:pt x="752" y="3075"/>
                    </a:cubicBezTo>
                    <a:cubicBezTo>
                      <a:pt x="876" y="3270"/>
                      <a:pt x="752" y="3561"/>
                      <a:pt x="752" y="3561"/>
                    </a:cubicBezTo>
                    <a:cubicBezTo>
                      <a:pt x="752" y="3561"/>
                      <a:pt x="752" y="3464"/>
                      <a:pt x="1002" y="3561"/>
                    </a:cubicBezTo>
                    <a:cubicBezTo>
                      <a:pt x="1127" y="3561"/>
                      <a:pt x="1253" y="3464"/>
                      <a:pt x="1253" y="3852"/>
                    </a:cubicBezTo>
                    <a:cubicBezTo>
                      <a:pt x="1253" y="4143"/>
                      <a:pt x="1002" y="4532"/>
                      <a:pt x="876" y="4823"/>
                    </a:cubicBezTo>
                    <a:cubicBezTo>
                      <a:pt x="752" y="5017"/>
                      <a:pt x="876" y="5114"/>
                      <a:pt x="1253" y="5211"/>
                    </a:cubicBezTo>
                    <a:cubicBezTo>
                      <a:pt x="1502" y="5405"/>
                      <a:pt x="1502" y="5308"/>
                      <a:pt x="1628" y="5503"/>
                    </a:cubicBezTo>
                    <a:cubicBezTo>
                      <a:pt x="1879" y="5794"/>
                      <a:pt x="2003" y="5697"/>
                      <a:pt x="2003" y="5891"/>
                    </a:cubicBezTo>
                    <a:cubicBezTo>
                      <a:pt x="2129" y="6085"/>
                      <a:pt x="1753" y="5988"/>
                      <a:pt x="1502" y="5891"/>
                    </a:cubicBezTo>
                    <a:cubicBezTo>
                      <a:pt x="1253" y="5891"/>
                      <a:pt x="1378" y="5988"/>
                      <a:pt x="1378" y="6182"/>
                    </a:cubicBezTo>
                    <a:cubicBezTo>
                      <a:pt x="1378" y="6279"/>
                      <a:pt x="1753" y="6473"/>
                      <a:pt x="1753" y="6668"/>
                    </a:cubicBezTo>
                    <a:cubicBezTo>
                      <a:pt x="1879" y="6765"/>
                      <a:pt x="1753" y="6959"/>
                      <a:pt x="1502" y="6959"/>
                    </a:cubicBezTo>
                    <a:cubicBezTo>
                      <a:pt x="1253" y="7056"/>
                      <a:pt x="1253" y="7153"/>
                      <a:pt x="1002" y="7153"/>
                    </a:cubicBezTo>
                    <a:lnTo>
                      <a:pt x="1753" y="7541"/>
                    </a:lnTo>
                    <a:lnTo>
                      <a:pt x="3381" y="8318"/>
                    </a:lnTo>
                    <a:lnTo>
                      <a:pt x="3381" y="8609"/>
                    </a:lnTo>
                    <a:lnTo>
                      <a:pt x="3882" y="8512"/>
                    </a:lnTo>
                    <a:lnTo>
                      <a:pt x="3757" y="8318"/>
                    </a:lnTo>
                    <a:lnTo>
                      <a:pt x="4133" y="8124"/>
                    </a:lnTo>
                    <a:cubicBezTo>
                      <a:pt x="4049" y="7995"/>
                      <a:pt x="3966" y="7865"/>
                      <a:pt x="3882" y="7736"/>
                    </a:cubicBezTo>
                    <a:lnTo>
                      <a:pt x="4133" y="7541"/>
                    </a:lnTo>
                    <a:cubicBezTo>
                      <a:pt x="4175" y="7573"/>
                      <a:pt x="4216" y="7606"/>
                      <a:pt x="4258" y="7638"/>
                    </a:cubicBezTo>
                    <a:lnTo>
                      <a:pt x="4383" y="7638"/>
                    </a:lnTo>
                    <a:cubicBezTo>
                      <a:pt x="4341" y="7703"/>
                      <a:pt x="4300" y="7768"/>
                      <a:pt x="4258" y="7833"/>
                    </a:cubicBezTo>
                    <a:lnTo>
                      <a:pt x="4508" y="7930"/>
                    </a:lnTo>
                    <a:lnTo>
                      <a:pt x="4759" y="7736"/>
                    </a:lnTo>
                    <a:lnTo>
                      <a:pt x="5135" y="7833"/>
                    </a:lnTo>
                    <a:lnTo>
                      <a:pt x="5385" y="8124"/>
                    </a:lnTo>
                    <a:lnTo>
                      <a:pt x="5636" y="8124"/>
                    </a:lnTo>
                    <a:lnTo>
                      <a:pt x="5636" y="8415"/>
                    </a:lnTo>
                    <a:lnTo>
                      <a:pt x="5886" y="8609"/>
                    </a:lnTo>
                    <a:lnTo>
                      <a:pt x="6011" y="8609"/>
                    </a:lnTo>
                    <a:lnTo>
                      <a:pt x="6011" y="8998"/>
                    </a:lnTo>
                    <a:lnTo>
                      <a:pt x="6387" y="9289"/>
                    </a:lnTo>
                    <a:lnTo>
                      <a:pt x="6763" y="9386"/>
                    </a:lnTo>
                    <a:lnTo>
                      <a:pt x="6763" y="9580"/>
                    </a:lnTo>
                    <a:lnTo>
                      <a:pt x="6637" y="9677"/>
                    </a:lnTo>
                    <a:lnTo>
                      <a:pt x="6512" y="9871"/>
                    </a:lnTo>
                    <a:lnTo>
                      <a:pt x="6512" y="10066"/>
                    </a:lnTo>
                    <a:cubicBezTo>
                      <a:pt x="6554" y="10098"/>
                      <a:pt x="6595" y="10131"/>
                      <a:pt x="6637" y="10163"/>
                    </a:cubicBezTo>
                    <a:lnTo>
                      <a:pt x="6763" y="10454"/>
                    </a:lnTo>
                    <a:cubicBezTo>
                      <a:pt x="6888" y="10454"/>
                      <a:pt x="7014" y="10454"/>
                      <a:pt x="7138" y="10357"/>
                    </a:cubicBezTo>
                    <a:cubicBezTo>
                      <a:pt x="7263" y="10260"/>
                      <a:pt x="7639" y="10163"/>
                      <a:pt x="7764" y="10260"/>
                    </a:cubicBezTo>
                    <a:cubicBezTo>
                      <a:pt x="7890" y="10260"/>
                      <a:pt x="7890" y="10357"/>
                      <a:pt x="8015" y="10260"/>
                    </a:cubicBezTo>
                    <a:cubicBezTo>
                      <a:pt x="8265" y="10163"/>
                      <a:pt x="8391" y="10163"/>
                      <a:pt x="8516" y="10163"/>
                    </a:cubicBezTo>
                    <a:cubicBezTo>
                      <a:pt x="8766" y="10163"/>
                      <a:pt x="8766" y="10357"/>
                      <a:pt x="8766" y="10357"/>
                    </a:cubicBezTo>
                    <a:cubicBezTo>
                      <a:pt x="8766" y="10357"/>
                      <a:pt x="9017" y="10163"/>
                      <a:pt x="9017" y="9969"/>
                    </a:cubicBezTo>
                    <a:cubicBezTo>
                      <a:pt x="9142" y="9871"/>
                      <a:pt x="9017" y="9871"/>
                      <a:pt x="8891" y="9677"/>
                    </a:cubicBezTo>
                    <a:cubicBezTo>
                      <a:pt x="8766" y="9580"/>
                      <a:pt x="8766" y="9289"/>
                      <a:pt x="8766" y="8901"/>
                    </a:cubicBezTo>
                    <a:cubicBezTo>
                      <a:pt x="8891" y="8512"/>
                      <a:pt x="9268" y="8901"/>
                      <a:pt x="9392" y="8804"/>
                    </a:cubicBezTo>
                    <a:cubicBezTo>
                      <a:pt x="9518" y="8706"/>
                      <a:pt x="9769" y="8512"/>
                      <a:pt x="9893" y="8318"/>
                    </a:cubicBezTo>
                    <a:cubicBezTo>
                      <a:pt x="10144" y="8124"/>
                      <a:pt x="9893" y="8027"/>
                      <a:pt x="9769" y="7833"/>
                    </a:cubicBezTo>
                    <a:close/>
                  </a:path>
                </a:pathLst>
              </a:custGeom>
              <a:solidFill>
                <a:srgbClr val="CBA6AB"/>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4" name="Freeform 213"/>
              <p:cNvSpPr>
                <a:spLocks/>
              </p:cNvSpPr>
              <p:nvPr/>
            </p:nvSpPr>
            <p:spPr bwMode="gray">
              <a:xfrm>
                <a:off x="5306903" y="4079077"/>
                <a:ext cx="139935" cy="192457"/>
              </a:xfrm>
              <a:custGeom>
                <a:avLst/>
                <a:gdLst>
                  <a:gd name="T0" fmla="*/ 28 w 30"/>
                  <a:gd name="T1" fmla="*/ 26 h 42"/>
                  <a:gd name="T2" fmla="*/ 28 w 30"/>
                  <a:gd name="T3" fmla="*/ 24 h 42"/>
                  <a:gd name="T4" fmla="*/ 29 w 30"/>
                  <a:gd name="T5" fmla="*/ 22 h 42"/>
                  <a:gd name="T6" fmla="*/ 30 w 30"/>
                  <a:gd name="T7" fmla="*/ 21 h 42"/>
                  <a:gd name="T8" fmla="*/ 30 w 30"/>
                  <a:gd name="T9" fmla="*/ 19 h 42"/>
                  <a:gd name="T10" fmla="*/ 27 w 30"/>
                  <a:gd name="T11" fmla="*/ 18 h 42"/>
                  <a:gd name="T12" fmla="*/ 24 w 30"/>
                  <a:gd name="T13" fmla="*/ 15 h 42"/>
                  <a:gd name="T14" fmla="*/ 24 w 30"/>
                  <a:gd name="T15" fmla="*/ 11 h 42"/>
                  <a:gd name="T16" fmla="*/ 23 w 30"/>
                  <a:gd name="T17" fmla="*/ 11 h 42"/>
                  <a:gd name="T18" fmla="*/ 21 w 30"/>
                  <a:gd name="T19" fmla="*/ 9 h 42"/>
                  <a:gd name="T20" fmla="*/ 21 w 30"/>
                  <a:gd name="T21" fmla="*/ 6 h 42"/>
                  <a:gd name="T22" fmla="*/ 19 w 30"/>
                  <a:gd name="T23" fmla="*/ 6 h 42"/>
                  <a:gd name="T24" fmla="*/ 17 w 30"/>
                  <a:gd name="T25" fmla="*/ 3 h 42"/>
                  <a:gd name="T26" fmla="*/ 14 w 30"/>
                  <a:gd name="T27" fmla="*/ 2 h 42"/>
                  <a:gd name="T28" fmla="*/ 12 w 30"/>
                  <a:gd name="T29" fmla="*/ 4 h 42"/>
                  <a:gd name="T30" fmla="*/ 10 w 30"/>
                  <a:gd name="T31" fmla="*/ 3 h 42"/>
                  <a:gd name="T32" fmla="*/ 11 w 30"/>
                  <a:gd name="T33" fmla="*/ 1 h 42"/>
                  <a:gd name="T34" fmla="*/ 10 w 30"/>
                  <a:gd name="T35" fmla="*/ 1 h 42"/>
                  <a:gd name="T36" fmla="*/ 9 w 30"/>
                  <a:gd name="T37" fmla="*/ 0 h 42"/>
                  <a:gd name="T38" fmla="*/ 7 w 30"/>
                  <a:gd name="T39" fmla="*/ 2 h 42"/>
                  <a:gd name="T40" fmla="*/ 9 w 30"/>
                  <a:gd name="T41" fmla="*/ 6 h 42"/>
                  <a:gd name="T42" fmla="*/ 6 w 30"/>
                  <a:gd name="T43" fmla="*/ 8 h 42"/>
                  <a:gd name="T44" fmla="*/ 7 w 30"/>
                  <a:gd name="T45" fmla="*/ 10 h 42"/>
                  <a:gd name="T46" fmla="*/ 3 w 30"/>
                  <a:gd name="T47" fmla="*/ 11 h 42"/>
                  <a:gd name="T48" fmla="*/ 0 w 30"/>
                  <a:gd name="T49" fmla="*/ 14 h 42"/>
                  <a:gd name="T50" fmla="*/ 3 w 30"/>
                  <a:gd name="T51" fmla="*/ 16 h 42"/>
                  <a:gd name="T52" fmla="*/ 3 w 30"/>
                  <a:gd name="T53" fmla="*/ 19 h 42"/>
                  <a:gd name="T54" fmla="*/ 4 w 30"/>
                  <a:gd name="T55" fmla="*/ 22 h 42"/>
                  <a:gd name="T56" fmla="*/ 6 w 30"/>
                  <a:gd name="T57" fmla="*/ 26 h 42"/>
                  <a:gd name="T58" fmla="*/ 8 w 30"/>
                  <a:gd name="T59" fmla="*/ 29 h 42"/>
                  <a:gd name="T60" fmla="*/ 12 w 30"/>
                  <a:gd name="T61" fmla="*/ 33 h 42"/>
                  <a:gd name="T62" fmla="*/ 13 w 30"/>
                  <a:gd name="T63" fmla="*/ 42 h 42"/>
                  <a:gd name="T64" fmla="*/ 15 w 30"/>
                  <a:gd name="T65" fmla="*/ 40 h 42"/>
                  <a:gd name="T66" fmla="*/ 17 w 30"/>
                  <a:gd name="T67" fmla="*/ 35 h 42"/>
                  <a:gd name="T68" fmla="*/ 21 w 30"/>
                  <a:gd name="T69" fmla="*/ 32 h 42"/>
                  <a:gd name="T70" fmla="*/ 24 w 30"/>
                  <a:gd name="T71" fmla="*/ 33 h 42"/>
                  <a:gd name="T72" fmla="*/ 26 w 30"/>
                  <a:gd name="T73" fmla="*/ 32 h 42"/>
                  <a:gd name="T74" fmla="*/ 30 w 30"/>
                  <a:gd name="T75" fmla="*/ 30 h 42"/>
                  <a:gd name="T76" fmla="*/ 29 w 30"/>
                  <a:gd name="T77" fmla="*/ 27 h 42"/>
                  <a:gd name="T78" fmla="*/ 28 w 30"/>
                  <a:gd name="T79"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 h="42">
                    <a:moveTo>
                      <a:pt x="28" y="26"/>
                    </a:moveTo>
                    <a:cubicBezTo>
                      <a:pt x="28" y="24"/>
                      <a:pt x="28" y="24"/>
                      <a:pt x="28" y="24"/>
                    </a:cubicBezTo>
                    <a:cubicBezTo>
                      <a:pt x="29" y="22"/>
                      <a:pt x="29" y="22"/>
                      <a:pt x="29" y="22"/>
                    </a:cubicBezTo>
                    <a:cubicBezTo>
                      <a:pt x="30" y="21"/>
                      <a:pt x="30" y="21"/>
                      <a:pt x="30" y="21"/>
                    </a:cubicBezTo>
                    <a:cubicBezTo>
                      <a:pt x="30" y="19"/>
                      <a:pt x="30" y="19"/>
                      <a:pt x="30" y="19"/>
                    </a:cubicBezTo>
                    <a:cubicBezTo>
                      <a:pt x="27" y="18"/>
                      <a:pt x="27" y="18"/>
                      <a:pt x="27" y="18"/>
                    </a:cubicBezTo>
                    <a:cubicBezTo>
                      <a:pt x="24" y="15"/>
                      <a:pt x="24" y="15"/>
                      <a:pt x="24" y="15"/>
                    </a:cubicBezTo>
                    <a:cubicBezTo>
                      <a:pt x="24" y="11"/>
                      <a:pt x="24" y="11"/>
                      <a:pt x="24" y="11"/>
                    </a:cubicBezTo>
                    <a:cubicBezTo>
                      <a:pt x="23" y="11"/>
                      <a:pt x="23" y="11"/>
                      <a:pt x="23" y="11"/>
                    </a:cubicBezTo>
                    <a:cubicBezTo>
                      <a:pt x="21" y="9"/>
                      <a:pt x="21" y="9"/>
                      <a:pt x="21" y="9"/>
                    </a:cubicBezTo>
                    <a:cubicBezTo>
                      <a:pt x="21" y="6"/>
                      <a:pt x="21" y="6"/>
                      <a:pt x="21" y="6"/>
                    </a:cubicBezTo>
                    <a:cubicBezTo>
                      <a:pt x="19" y="6"/>
                      <a:pt x="19" y="6"/>
                      <a:pt x="19" y="6"/>
                    </a:cubicBezTo>
                    <a:cubicBezTo>
                      <a:pt x="17" y="3"/>
                      <a:pt x="17" y="3"/>
                      <a:pt x="17" y="3"/>
                    </a:cubicBezTo>
                    <a:cubicBezTo>
                      <a:pt x="14" y="2"/>
                      <a:pt x="14" y="2"/>
                      <a:pt x="14" y="2"/>
                    </a:cubicBezTo>
                    <a:cubicBezTo>
                      <a:pt x="12" y="4"/>
                      <a:pt x="12" y="4"/>
                      <a:pt x="12" y="4"/>
                    </a:cubicBezTo>
                    <a:cubicBezTo>
                      <a:pt x="10" y="3"/>
                      <a:pt x="10" y="3"/>
                      <a:pt x="10" y="3"/>
                    </a:cubicBezTo>
                    <a:cubicBezTo>
                      <a:pt x="11" y="1"/>
                      <a:pt x="11" y="1"/>
                      <a:pt x="11" y="1"/>
                    </a:cubicBezTo>
                    <a:cubicBezTo>
                      <a:pt x="10" y="1"/>
                      <a:pt x="10" y="1"/>
                      <a:pt x="10" y="1"/>
                    </a:cubicBezTo>
                    <a:cubicBezTo>
                      <a:pt x="9" y="0"/>
                      <a:pt x="9" y="0"/>
                      <a:pt x="9" y="0"/>
                    </a:cubicBezTo>
                    <a:cubicBezTo>
                      <a:pt x="7" y="2"/>
                      <a:pt x="7" y="2"/>
                      <a:pt x="7" y="2"/>
                    </a:cubicBezTo>
                    <a:cubicBezTo>
                      <a:pt x="9" y="6"/>
                      <a:pt x="9" y="6"/>
                      <a:pt x="9" y="6"/>
                    </a:cubicBezTo>
                    <a:cubicBezTo>
                      <a:pt x="6" y="8"/>
                      <a:pt x="6" y="8"/>
                      <a:pt x="6" y="8"/>
                    </a:cubicBezTo>
                    <a:cubicBezTo>
                      <a:pt x="7" y="10"/>
                      <a:pt x="7" y="10"/>
                      <a:pt x="7" y="10"/>
                    </a:cubicBezTo>
                    <a:cubicBezTo>
                      <a:pt x="3" y="11"/>
                      <a:pt x="3" y="11"/>
                      <a:pt x="3" y="11"/>
                    </a:cubicBezTo>
                    <a:cubicBezTo>
                      <a:pt x="0" y="14"/>
                      <a:pt x="0" y="14"/>
                      <a:pt x="0" y="14"/>
                    </a:cubicBezTo>
                    <a:cubicBezTo>
                      <a:pt x="3" y="16"/>
                      <a:pt x="3" y="16"/>
                      <a:pt x="3" y="16"/>
                    </a:cubicBezTo>
                    <a:cubicBezTo>
                      <a:pt x="3" y="19"/>
                      <a:pt x="3" y="19"/>
                      <a:pt x="3" y="19"/>
                    </a:cubicBezTo>
                    <a:cubicBezTo>
                      <a:pt x="4" y="17"/>
                      <a:pt x="3" y="21"/>
                      <a:pt x="4" y="22"/>
                    </a:cubicBezTo>
                    <a:cubicBezTo>
                      <a:pt x="5" y="24"/>
                      <a:pt x="6" y="24"/>
                      <a:pt x="6" y="26"/>
                    </a:cubicBezTo>
                    <a:cubicBezTo>
                      <a:pt x="6" y="28"/>
                      <a:pt x="7" y="28"/>
                      <a:pt x="8" y="29"/>
                    </a:cubicBezTo>
                    <a:cubicBezTo>
                      <a:pt x="10" y="30"/>
                      <a:pt x="12" y="31"/>
                      <a:pt x="12" y="33"/>
                    </a:cubicBezTo>
                    <a:cubicBezTo>
                      <a:pt x="13" y="35"/>
                      <a:pt x="13" y="42"/>
                      <a:pt x="13" y="42"/>
                    </a:cubicBezTo>
                    <a:cubicBezTo>
                      <a:pt x="14" y="41"/>
                      <a:pt x="14" y="40"/>
                      <a:pt x="15" y="40"/>
                    </a:cubicBezTo>
                    <a:cubicBezTo>
                      <a:pt x="16" y="38"/>
                      <a:pt x="16" y="35"/>
                      <a:pt x="17" y="35"/>
                    </a:cubicBezTo>
                    <a:cubicBezTo>
                      <a:pt x="18" y="35"/>
                      <a:pt x="20" y="33"/>
                      <a:pt x="21" y="32"/>
                    </a:cubicBezTo>
                    <a:cubicBezTo>
                      <a:pt x="22" y="31"/>
                      <a:pt x="23" y="32"/>
                      <a:pt x="24" y="33"/>
                    </a:cubicBezTo>
                    <a:cubicBezTo>
                      <a:pt x="24" y="35"/>
                      <a:pt x="25" y="33"/>
                      <a:pt x="26" y="32"/>
                    </a:cubicBezTo>
                    <a:cubicBezTo>
                      <a:pt x="27" y="30"/>
                      <a:pt x="29" y="29"/>
                      <a:pt x="30" y="30"/>
                    </a:cubicBezTo>
                    <a:cubicBezTo>
                      <a:pt x="29" y="27"/>
                      <a:pt x="29" y="27"/>
                      <a:pt x="29" y="27"/>
                    </a:cubicBezTo>
                    <a:lnTo>
                      <a:pt x="28" y="26"/>
                    </a:ln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5" name="Freeform 9"/>
              <p:cNvSpPr>
                <a:spLocks/>
              </p:cNvSpPr>
              <p:nvPr/>
            </p:nvSpPr>
            <p:spPr bwMode="gray">
              <a:xfrm>
                <a:off x="6372085" y="3641632"/>
                <a:ext cx="349328" cy="203245"/>
              </a:xfrm>
              <a:custGeom>
                <a:avLst/>
                <a:gdLst>
                  <a:gd name="T0" fmla="*/ 0 w 220"/>
                  <a:gd name="T1" fmla="*/ 60 h 128"/>
                  <a:gd name="T2" fmla="*/ 14 w 220"/>
                  <a:gd name="T3" fmla="*/ 46 h 128"/>
                  <a:gd name="T4" fmla="*/ 34 w 220"/>
                  <a:gd name="T5" fmla="*/ 40 h 128"/>
                  <a:gd name="T6" fmla="*/ 48 w 220"/>
                  <a:gd name="T7" fmla="*/ 26 h 128"/>
                  <a:gd name="T8" fmla="*/ 56 w 220"/>
                  <a:gd name="T9" fmla="*/ 14 h 128"/>
                  <a:gd name="T10" fmla="*/ 62 w 220"/>
                  <a:gd name="T11" fmla="*/ 0 h 128"/>
                  <a:gd name="T12" fmla="*/ 70 w 220"/>
                  <a:gd name="T13" fmla="*/ 6 h 128"/>
                  <a:gd name="T14" fmla="*/ 76 w 220"/>
                  <a:gd name="T15" fmla="*/ 20 h 128"/>
                  <a:gd name="T16" fmla="*/ 88 w 220"/>
                  <a:gd name="T17" fmla="*/ 0 h 128"/>
                  <a:gd name="T18" fmla="*/ 104 w 220"/>
                  <a:gd name="T19" fmla="*/ 14 h 128"/>
                  <a:gd name="T20" fmla="*/ 104 w 220"/>
                  <a:gd name="T21" fmla="*/ 26 h 128"/>
                  <a:gd name="T22" fmla="*/ 116 w 220"/>
                  <a:gd name="T23" fmla="*/ 26 h 128"/>
                  <a:gd name="T24" fmla="*/ 122 w 220"/>
                  <a:gd name="T25" fmla="*/ 40 h 128"/>
                  <a:gd name="T26" fmla="*/ 144 w 220"/>
                  <a:gd name="T27" fmla="*/ 40 h 128"/>
                  <a:gd name="T28" fmla="*/ 172 w 220"/>
                  <a:gd name="T29" fmla="*/ 46 h 128"/>
                  <a:gd name="T30" fmla="*/ 184 w 220"/>
                  <a:gd name="T31" fmla="*/ 34 h 128"/>
                  <a:gd name="T32" fmla="*/ 212 w 220"/>
                  <a:gd name="T33" fmla="*/ 26 h 128"/>
                  <a:gd name="T34" fmla="*/ 220 w 220"/>
                  <a:gd name="T35" fmla="*/ 34 h 128"/>
                  <a:gd name="T36" fmla="*/ 212 w 220"/>
                  <a:gd name="T37" fmla="*/ 40 h 128"/>
                  <a:gd name="T38" fmla="*/ 220 w 220"/>
                  <a:gd name="T39" fmla="*/ 54 h 128"/>
                  <a:gd name="T40" fmla="*/ 192 w 220"/>
                  <a:gd name="T41" fmla="*/ 60 h 128"/>
                  <a:gd name="T42" fmla="*/ 178 w 220"/>
                  <a:gd name="T43" fmla="*/ 54 h 128"/>
                  <a:gd name="T44" fmla="*/ 150 w 220"/>
                  <a:gd name="T45" fmla="*/ 68 h 128"/>
                  <a:gd name="T46" fmla="*/ 144 w 220"/>
                  <a:gd name="T47" fmla="*/ 94 h 128"/>
                  <a:gd name="T48" fmla="*/ 136 w 220"/>
                  <a:gd name="T49" fmla="*/ 80 h 128"/>
                  <a:gd name="T50" fmla="*/ 116 w 220"/>
                  <a:gd name="T51" fmla="*/ 94 h 128"/>
                  <a:gd name="T52" fmla="*/ 104 w 220"/>
                  <a:gd name="T53" fmla="*/ 122 h 128"/>
                  <a:gd name="T54" fmla="*/ 76 w 220"/>
                  <a:gd name="T55" fmla="*/ 122 h 128"/>
                  <a:gd name="T56" fmla="*/ 56 w 220"/>
                  <a:gd name="T57" fmla="*/ 116 h 128"/>
                  <a:gd name="T58" fmla="*/ 56 w 220"/>
                  <a:gd name="T59" fmla="*/ 94 h 128"/>
                  <a:gd name="T60" fmla="*/ 56 w 220"/>
                  <a:gd name="T61" fmla="*/ 74 h 128"/>
                  <a:gd name="T62" fmla="*/ 48 w 220"/>
                  <a:gd name="T63" fmla="*/ 74 h 128"/>
                  <a:gd name="T64" fmla="*/ 28 w 220"/>
                  <a:gd name="T65" fmla="*/ 60 h 128"/>
                  <a:gd name="T66" fmla="*/ 14 w 220"/>
                  <a:gd name="T67" fmla="*/ 60 h 128"/>
                  <a:gd name="T68" fmla="*/ 0 w 220"/>
                  <a:gd name="T69" fmla="*/ 6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0" h="128">
                    <a:moveTo>
                      <a:pt x="0" y="68"/>
                    </a:moveTo>
                    <a:lnTo>
                      <a:pt x="0" y="60"/>
                    </a:lnTo>
                    <a:lnTo>
                      <a:pt x="14" y="54"/>
                    </a:lnTo>
                    <a:lnTo>
                      <a:pt x="14" y="46"/>
                    </a:lnTo>
                    <a:lnTo>
                      <a:pt x="20" y="40"/>
                    </a:lnTo>
                    <a:lnTo>
                      <a:pt x="34" y="40"/>
                    </a:lnTo>
                    <a:lnTo>
                      <a:pt x="34" y="34"/>
                    </a:lnTo>
                    <a:lnTo>
                      <a:pt x="48" y="26"/>
                    </a:lnTo>
                    <a:lnTo>
                      <a:pt x="56" y="20"/>
                    </a:lnTo>
                    <a:lnTo>
                      <a:pt x="56" y="14"/>
                    </a:lnTo>
                    <a:lnTo>
                      <a:pt x="56" y="0"/>
                    </a:lnTo>
                    <a:lnTo>
                      <a:pt x="62" y="0"/>
                    </a:lnTo>
                    <a:lnTo>
                      <a:pt x="62" y="6"/>
                    </a:lnTo>
                    <a:lnTo>
                      <a:pt x="70" y="6"/>
                    </a:lnTo>
                    <a:lnTo>
                      <a:pt x="76" y="14"/>
                    </a:lnTo>
                    <a:lnTo>
                      <a:pt x="76" y="20"/>
                    </a:lnTo>
                    <a:lnTo>
                      <a:pt x="82" y="14"/>
                    </a:lnTo>
                    <a:lnTo>
                      <a:pt x="88" y="0"/>
                    </a:lnTo>
                    <a:lnTo>
                      <a:pt x="96" y="6"/>
                    </a:lnTo>
                    <a:lnTo>
                      <a:pt x="104" y="14"/>
                    </a:lnTo>
                    <a:lnTo>
                      <a:pt x="104" y="20"/>
                    </a:lnTo>
                    <a:lnTo>
                      <a:pt x="104" y="26"/>
                    </a:lnTo>
                    <a:lnTo>
                      <a:pt x="110" y="26"/>
                    </a:lnTo>
                    <a:lnTo>
                      <a:pt x="116" y="26"/>
                    </a:lnTo>
                    <a:lnTo>
                      <a:pt x="116" y="34"/>
                    </a:lnTo>
                    <a:lnTo>
                      <a:pt x="122" y="40"/>
                    </a:lnTo>
                    <a:lnTo>
                      <a:pt x="136" y="34"/>
                    </a:lnTo>
                    <a:lnTo>
                      <a:pt x="144" y="40"/>
                    </a:lnTo>
                    <a:lnTo>
                      <a:pt x="144" y="46"/>
                    </a:lnTo>
                    <a:lnTo>
                      <a:pt x="172" y="46"/>
                    </a:lnTo>
                    <a:lnTo>
                      <a:pt x="178" y="40"/>
                    </a:lnTo>
                    <a:lnTo>
                      <a:pt x="184" y="34"/>
                    </a:lnTo>
                    <a:lnTo>
                      <a:pt x="198" y="26"/>
                    </a:lnTo>
                    <a:lnTo>
                      <a:pt x="212" y="26"/>
                    </a:lnTo>
                    <a:lnTo>
                      <a:pt x="220" y="26"/>
                    </a:lnTo>
                    <a:lnTo>
                      <a:pt x="220" y="34"/>
                    </a:lnTo>
                    <a:lnTo>
                      <a:pt x="212" y="34"/>
                    </a:lnTo>
                    <a:lnTo>
                      <a:pt x="212" y="40"/>
                    </a:lnTo>
                    <a:lnTo>
                      <a:pt x="220" y="46"/>
                    </a:lnTo>
                    <a:lnTo>
                      <a:pt x="220" y="54"/>
                    </a:lnTo>
                    <a:lnTo>
                      <a:pt x="206" y="60"/>
                    </a:lnTo>
                    <a:lnTo>
                      <a:pt x="192" y="60"/>
                    </a:lnTo>
                    <a:lnTo>
                      <a:pt x="178" y="60"/>
                    </a:lnTo>
                    <a:lnTo>
                      <a:pt x="178" y="54"/>
                    </a:lnTo>
                    <a:lnTo>
                      <a:pt x="164" y="54"/>
                    </a:lnTo>
                    <a:lnTo>
                      <a:pt x="150" y="68"/>
                    </a:lnTo>
                    <a:lnTo>
                      <a:pt x="150" y="74"/>
                    </a:lnTo>
                    <a:lnTo>
                      <a:pt x="144" y="94"/>
                    </a:lnTo>
                    <a:lnTo>
                      <a:pt x="136" y="88"/>
                    </a:lnTo>
                    <a:lnTo>
                      <a:pt x="136" y="80"/>
                    </a:lnTo>
                    <a:lnTo>
                      <a:pt x="122" y="88"/>
                    </a:lnTo>
                    <a:lnTo>
                      <a:pt x="116" y="94"/>
                    </a:lnTo>
                    <a:lnTo>
                      <a:pt x="110" y="102"/>
                    </a:lnTo>
                    <a:lnTo>
                      <a:pt x="104" y="122"/>
                    </a:lnTo>
                    <a:lnTo>
                      <a:pt x="82" y="128"/>
                    </a:lnTo>
                    <a:lnTo>
                      <a:pt x="76" y="122"/>
                    </a:lnTo>
                    <a:lnTo>
                      <a:pt x="56" y="122"/>
                    </a:lnTo>
                    <a:lnTo>
                      <a:pt x="56" y="116"/>
                    </a:lnTo>
                    <a:lnTo>
                      <a:pt x="62" y="108"/>
                    </a:lnTo>
                    <a:lnTo>
                      <a:pt x="56" y="94"/>
                    </a:lnTo>
                    <a:lnTo>
                      <a:pt x="62" y="88"/>
                    </a:lnTo>
                    <a:lnTo>
                      <a:pt x="56" y="74"/>
                    </a:lnTo>
                    <a:lnTo>
                      <a:pt x="56" y="68"/>
                    </a:lnTo>
                    <a:lnTo>
                      <a:pt x="48" y="74"/>
                    </a:lnTo>
                    <a:lnTo>
                      <a:pt x="34" y="68"/>
                    </a:lnTo>
                    <a:lnTo>
                      <a:pt x="28" y="60"/>
                    </a:lnTo>
                    <a:lnTo>
                      <a:pt x="20" y="60"/>
                    </a:lnTo>
                    <a:lnTo>
                      <a:pt x="14" y="60"/>
                    </a:lnTo>
                    <a:lnTo>
                      <a:pt x="0" y="68"/>
                    </a:lnTo>
                    <a:lnTo>
                      <a:pt x="0" y="68"/>
                    </a:lnTo>
                    <a:lnTo>
                      <a:pt x="0" y="68"/>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6" name="Freeform 10"/>
              <p:cNvSpPr>
                <a:spLocks/>
              </p:cNvSpPr>
              <p:nvPr/>
            </p:nvSpPr>
            <p:spPr bwMode="gray">
              <a:xfrm>
                <a:off x="5424137" y="2276078"/>
                <a:ext cx="101622" cy="63514"/>
              </a:xfrm>
              <a:custGeom>
                <a:avLst/>
                <a:gdLst>
                  <a:gd name="T0" fmla="*/ 22 w 64"/>
                  <a:gd name="T1" fmla="*/ 40 h 40"/>
                  <a:gd name="T2" fmla="*/ 28 w 64"/>
                  <a:gd name="T3" fmla="*/ 34 h 40"/>
                  <a:gd name="T4" fmla="*/ 28 w 64"/>
                  <a:gd name="T5" fmla="*/ 26 h 40"/>
                  <a:gd name="T6" fmla="*/ 42 w 64"/>
                  <a:gd name="T7" fmla="*/ 26 h 40"/>
                  <a:gd name="T8" fmla="*/ 50 w 64"/>
                  <a:gd name="T9" fmla="*/ 26 h 40"/>
                  <a:gd name="T10" fmla="*/ 50 w 64"/>
                  <a:gd name="T11" fmla="*/ 20 h 40"/>
                  <a:gd name="T12" fmla="*/ 56 w 64"/>
                  <a:gd name="T13" fmla="*/ 14 h 40"/>
                  <a:gd name="T14" fmla="*/ 64 w 64"/>
                  <a:gd name="T15" fmla="*/ 6 h 40"/>
                  <a:gd name="T16" fmla="*/ 50 w 64"/>
                  <a:gd name="T17" fmla="*/ 0 h 40"/>
                  <a:gd name="T18" fmla="*/ 28 w 64"/>
                  <a:gd name="T19" fmla="*/ 14 h 40"/>
                  <a:gd name="T20" fmla="*/ 22 w 64"/>
                  <a:gd name="T21" fmla="*/ 0 h 40"/>
                  <a:gd name="T22" fmla="*/ 14 w 64"/>
                  <a:gd name="T23" fmla="*/ 6 h 40"/>
                  <a:gd name="T24" fmla="*/ 14 w 64"/>
                  <a:gd name="T25" fmla="*/ 14 h 40"/>
                  <a:gd name="T26" fmla="*/ 14 w 64"/>
                  <a:gd name="T27" fmla="*/ 20 h 40"/>
                  <a:gd name="T28" fmla="*/ 0 w 64"/>
                  <a:gd name="T29" fmla="*/ 26 h 40"/>
                  <a:gd name="T30" fmla="*/ 6 w 64"/>
                  <a:gd name="T31" fmla="*/ 26 h 40"/>
                  <a:gd name="T32" fmla="*/ 14 w 64"/>
                  <a:gd name="T33" fmla="*/ 26 h 40"/>
                  <a:gd name="T34" fmla="*/ 22 w 64"/>
                  <a:gd name="T35" fmla="*/ 34 h 40"/>
                  <a:gd name="T36" fmla="*/ 22 w 64"/>
                  <a:gd name="T37" fmla="*/ 40 h 40"/>
                  <a:gd name="T38" fmla="*/ 22 w 64"/>
                  <a:gd name="T39" fmla="*/ 40 h 40"/>
                  <a:gd name="T40" fmla="*/ 22 w 64"/>
                  <a:gd name="T4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40">
                    <a:moveTo>
                      <a:pt x="22" y="40"/>
                    </a:moveTo>
                    <a:lnTo>
                      <a:pt x="28" y="34"/>
                    </a:lnTo>
                    <a:lnTo>
                      <a:pt x="28" y="26"/>
                    </a:lnTo>
                    <a:lnTo>
                      <a:pt x="42" y="26"/>
                    </a:lnTo>
                    <a:lnTo>
                      <a:pt x="50" y="26"/>
                    </a:lnTo>
                    <a:lnTo>
                      <a:pt x="50" y="20"/>
                    </a:lnTo>
                    <a:lnTo>
                      <a:pt x="56" y="14"/>
                    </a:lnTo>
                    <a:lnTo>
                      <a:pt x="64" y="6"/>
                    </a:lnTo>
                    <a:lnTo>
                      <a:pt x="50" y="0"/>
                    </a:lnTo>
                    <a:lnTo>
                      <a:pt x="28" y="14"/>
                    </a:lnTo>
                    <a:lnTo>
                      <a:pt x="22" y="0"/>
                    </a:lnTo>
                    <a:lnTo>
                      <a:pt x="14" y="6"/>
                    </a:lnTo>
                    <a:lnTo>
                      <a:pt x="14" y="14"/>
                    </a:lnTo>
                    <a:lnTo>
                      <a:pt x="14" y="20"/>
                    </a:lnTo>
                    <a:lnTo>
                      <a:pt x="0" y="26"/>
                    </a:lnTo>
                    <a:lnTo>
                      <a:pt x="6" y="26"/>
                    </a:lnTo>
                    <a:lnTo>
                      <a:pt x="14" y="26"/>
                    </a:lnTo>
                    <a:lnTo>
                      <a:pt x="22" y="34"/>
                    </a:lnTo>
                    <a:lnTo>
                      <a:pt x="22" y="40"/>
                    </a:lnTo>
                    <a:lnTo>
                      <a:pt x="22" y="40"/>
                    </a:lnTo>
                    <a:lnTo>
                      <a:pt x="22" y="40"/>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7" name="Freeform 11"/>
              <p:cNvSpPr>
                <a:spLocks/>
              </p:cNvSpPr>
              <p:nvPr/>
            </p:nvSpPr>
            <p:spPr bwMode="gray">
              <a:xfrm>
                <a:off x="5459069" y="2222092"/>
                <a:ext cx="44460" cy="41284"/>
              </a:xfrm>
              <a:custGeom>
                <a:avLst/>
                <a:gdLst>
                  <a:gd name="T0" fmla="*/ 14 w 28"/>
                  <a:gd name="T1" fmla="*/ 26 h 26"/>
                  <a:gd name="T2" fmla="*/ 14 w 28"/>
                  <a:gd name="T3" fmla="*/ 14 h 26"/>
                  <a:gd name="T4" fmla="*/ 8 w 28"/>
                  <a:gd name="T5" fmla="*/ 14 h 26"/>
                  <a:gd name="T6" fmla="*/ 0 w 28"/>
                  <a:gd name="T7" fmla="*/ 14 h 26"/>
                  <a:gd name="T8" fmla="*/ 0 w 28"/>
                  <a:gd name="T9" fmla="*/ 8 h 26"/>
                  <a:gd name="T10" fmla="*/ 8 w 28"/>
                  <a:gd name="T11" fmla="*/ 8 h 26"/>
                  <a:gd name="T12" fmla="*/ 14 w 28"/>
                  <a:gd name="T13" fmla="*/ 0 h 26"/>
                  <a:gd name="T14" fmla="*/ 28 w 28"/>
                  <a:gd name="T15" fmla="*/ 8 h 26"/>
                  <a:gd name="T16" fmla="*/ 28 w 28"/>
                  <a:gd name="T17" fmla="*/ 14 h 26"/>
                  <a:gd name="T18" fmla="*/ 20 w 28"/>
                  <a:gd name="T19" fmla="*/ 20 h 26"/>
                  <a:gd name="T20" fmla="*/ 14 w 28"/>
                  <a:gd name="T21" fmla="*/ 26 h 26"/>
                  <a:gd name="T22" fmla="*/ 14 w 28"/>
                  <a:gd name="T23" fmla="*/ 26 h 26"/>
                  <a:gd name="T24" fmla="*/ 14 w 28"/>
                  <a:gd name="T2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6">
                    <a:moveTo>
                      <a:pt x="14" y="26"/>
                    </a:moveTo>
                    <a:lnTo>
                      <a:pt x="14" y="14"/>
                    </a:lnTo>
                    <a:lnTo>
                      <a:pt x="8" y="14"/>
                    </a:lnTo>
                    <a:lnTo>
                      <a:pt x="0" y="14"/>
                    </a:lnTo>
                    <a:lnTo>
                      <a:pt x="0" y="8"/>
                    </a:lnTo>
                    <a:lnTo>
                      <a:pt x="8" y="8"/>
                    </a:lnTo>
                    <a:lnTo>
                      <a:pt x="14" y="0"/>
                    </a:lnTo>
                    <a:lnTo>
                      <a:pt x="28" y="8"/>
                    </a:lnTo>
                    <a:lnTo>
                      <a:pt x="28" y="14"/>
                    </a:lnTo>
                    <a:lnTo>
                      <a:pt x="20" y="20"/>
                    </a:lnTo>
                    <a:lnTo>
                      <a:pt x="14" y="26"/>
                    </a:lnTo>
                    <a:lnTo>
                      <a:pt x="14" y="26"/>
                    </a:lnTo>
                    <a:lnTo>
                      <a:pt x="14" y="26"/>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8" name="Freeform 12"/>
              <p:cNvSpPr>
                <a:spLocks/>
              </p:cNvSpPr>
              <p:nvPr/>
            </p:nvSpPr>
            <p:spPr bwMode="gray">
              <a:xfrm>
                <a:off x="6556276" y="780321"/>
                <a:ext cx="79393" cy="95271"/>
              </a:xfrm>
              <a:custGeom>
                <a:avLst/>
                <a:gdLst>
                  <a:gd name="T0" fmla="*/ 42 w 50"/>
                  <a:gd name="T1" fmla="*/ 60 h 60"/>
                  <a:gd name="T2" fmla="*/ 28 w 50"/>
                  <a:gd name="T3" fmla="*/ 54 h 60"/>
                  <a:gd name="T4" fmla="*/ 14 w 50"/>
                  <a:gd name="T5" fmla="*/ 46 h 60"/>
                  <a:gd name="T6" fmla="*/ 14 w 50"/>
                  <a:gd name="T7" fmla="*/ 40 h 60"/>
                  <a:gd name="T8" fmla="*/ 0 w 50"/>
                  <a:gd name="T9" fmla="*/ 32 h 60"/>
                  <a:gd name="T10" fmla="*/ 0 w 50"/>
                  <a:gd name="T11" fmla="*/ 18 h 60"/>
                  <a:gd name="T12" fmla="*/ 6 w 50"/>
                  <a:gd name="T13" fmla="*/ 6 h 60"/>
                  <a:gd name="T14" fmla="*/ 6 w 50"/>
                  <a:gd name="T15" fmla="*/ 0 h 60"/>
                  <a:gd name="T16" fmla="*/ 14 w 50"/>
                  <a:gd name="T17" fmla="*/ 0 h 60"/>
                  <a:gd name="T18" fmla="*/ 28 w 50"/>
                  <a:gd name="T19" fmla="*/ 6 h 60"/>
                  <a:gd name="T20" fmla="*/ 42 w 50"/>
                  <a:gd name="T21" fmla="*/ 6 h 60"/>
                  <a:gd name="T22" fmla="*/ 50 w 50"/>
                  <a:gd name="T23" fmla="*/ 18 h 60"/>
                  <a:gd name="T24" fmla="*/ 50 w 50"/>
                  <a:gd name="T25" fmla="*/ 26 h 60"/>
                  <a:gd name="T26" fmla="*/ 50 w 50"/>
                  <a:gd name="T27" fmla="*/ 32 h 60"/>
                  <a:gd name="T28" fmla="*/ 42 w 50"/>
                  <a:gd name="T29" fmla="*/ 46 h 60"/>
                  <a:gd name="T30" fmla="*/ 50 w 50"/>
                  <a:gd name="T31" fmla="*/ 54 h 60"/>
                  <a:gd name="T32" fmla="*/ 42 w 50"/>
                  <a:gd name="T33" fmla="*/ 60 h 60"/>
                  <a:gd name="T34" fmla="*/ 42 w 50"/>
                  <a:gd name="T35" fmla="*/ 60 h 60"/>
                  <a:gd name="T36" fmla="*/ 42 w 50"/>
                  <a:gd name="T3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 h="60">
                    <a:moveTo>
                      <a:pt x="42" y="60"/>
                    </a:moveTo>
                    <a:lnTo>
                      <a:pt x="28" y="54"/>
                    </a:lnTo>
                    <a:lnTo>
                      <a:pt x="14" y="46"/>
                    </a:lnTo>
                    <a:lnTo>
                      <a:pt x="14" y="40"/>
                    </a:lnTo>
                    <a:lnTo>
                      <a:pt x="0" y="32"/>
                    </a:lnTo>
                    <a:lnTo>
                      <a:pt x="0" y="18"/>
                    </a:lnTo>
                    <a:lnTo>
                      <a:pt x="6" y="6"/>
                    </a:lnTo>
                    <a:lnTo>
                      <a:pt x="6" y="0"/>
                    </a:lnTo>
                    <a:lnTo>
                      <a:pt x="14" y="0"/>
                    </a:lnTo>
                    <a:lnTo>
                      <a:pt x="28" y="6"/>
                    </a:lnTo>
                    <a:lnTo>
                      <a:pt x="42" y="6"/>
                    </a:lnTo>
                    <a:lnTo>
                      <a:pt x="50" y="18"/>
                    </a:lnTo>
                    <a:lnTo>
                      <a:pt x="50" y="26"/>
                    </a:lnTo>
                    <a:lnTo>
                      <a:pt x="50" y="32"/>
                    </a:lnTo>
                    <a:lnTo>
                      <a:pt x="42" y="46"/>
                    </a:lnTo>
                    <a:lnTo>
                      <a:pt x="50" y="54"/>
                    </a:lnTo>
                    <a:lnTo>
                      <a:pt x="42" y="60"/>
                    </a:lnTo>
                    <a:lnTo>
                      <a:pt x="42" y="60"/>
                    </a:lnTo>
                    <a:lnTo>
                      <a:pt x="42" y="6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9" name="Freeform 13"/>
              <p:cNvSpPr>
                <a:spLocks/>
              </p:cNvSpPr>
              <p:nvPr>
                <p:custDataLst>
                  <p:tags r:id="rId128"/>
                </p:custDataLst>
              </p:nvPr>
            </p:nvSpPr>
            <p:spPr bwMode="gray">
              <a:xfrm>
                <a:off x="5655963" y="484981"/>
                <a:ext cx="2697762" cy="3404356"/>
              </a:xfrm>
              <a:custGeom>
                <a:avLst/>
                <a:gdLst>
                  <a:gd name="T0" fmla="*/ 134 w 1699"/>
                  <a:gd name="T1" fmla="*/ 1276 h 2144"/>
                  <a:gd name="T2" fmla="*/ 253 w 1699"/>
                  <a:gd name="T3" fmla="*/ 1318 h 2144"/>
                  <a:gd name="T4" fmla="*/ 327 w 1699"/>
                  <a:gd name="T5" fmla="*/ 1434 h 2144"/>
                  <a:gd name="T6" fmla="*/ 321 w 1699"/>
                  <a:gd name="T7" fmla="*/ 1510 h 2144"/>
                  <a:gd name="T8" fmla="*/ 437 w 1699"/>
                  <a:gd name="T9" fmla="*/ 1544 h 2144"/>
                  <a:gd name="T10" fmla="*/ 533 w 1699"/>
                  <a:gd name="T11" fmla="*/ 1626 h 2144"/>
                  <a:gd name="T12" fmla="*/ 657 w 1699"/>
                  <a:gd name="T13" fmla="*/ 1666 h 2144"/>
                  <a:gd name="T14" fmla="*/ 768 w 1699"/>
                  <a:gd name="T15" fmla="*/ 1674 h 2144"/>
                  <a:gd name="T16" fmla="*/ 794 w 1699"/>
                  <a:gd name="T17" fmla="*/ 1762 h 2144"/>
                  <a:gd name="T18" fmla="*/ 768 w 1699"/>
                  <a:gd name="T19" fmla="*/ 1852 h 2144"/>
                  <a:gd name="T20" fmla="*/ 717 w 1699"/>
                  <a:gd name="T21" fmla="*/ 1926 h 2144"/>
                  <a:gd name="T22" fmla="*/ 717 w 1699"/>
                  <a:gd name="T23" fmla="*/ 1988 h 2144"/>
                  <a:gd name="T24" fmla="*/ 802 w 1699"/>
                  <a:gd name="T25" fmla="*/ 2062 h 2144"/>
                  <a:gd name="T26" fmla="*/ 952 w 1699"/>
                  <a:gd name="T27" fmla="*/ 2096 h 2144"/>
                  <a:gd name="T28" fmla="*/ 1122 w 1699"/>
                  <a:gd name="T29" fmla="*/ 2118 h 2144"/>
                  <a:gd name="T30" fmla="*/ 1226 w 1699"/>
                  <a:gd name="T31" fmla="*/ 2118 h 2144"/>
                  <a:gd name="T32" fmla="*/ 1383 w 1699"/>
                  <a:gd name="T33" fmla="*/ 2118 h 2144"/>
                  <a:gd name="T34" fmla="*/ 1274 w 1699"/>
                  <a:gd name="T35" fmla="*/ 1966 h 2144"/>
                  <a:gd name="T36" fmla="*/ 1232 w 1699"/>
                  <a:gd name="T37" fmla="*/ 1838 h 2144"/>
                  <a:gd name="T38" fmla="*/ 1266 w 1699"/>
                  <a:gd name="T39" fmla="*/ 1734 h 2144"/>
                  <a:gd name="T40" fmla="*/ 1130 w 1699"/>
                  <a:gd name="T41" fmla="*/ 1660 h 2144"/>
                  <a:gd name="T42" fmla="*/ 1122 w 1699"/>
                  <a:gd name="T43" fmla="*/ 1496 h 2144"/>
                  <a:gd name="T44" fmla="*/ 1190 w 1699"/>
                  <a:gd name="T45" fmla="*/ 1420 h 2144"/>
                  <a:gd name="T46" fmla="*/ 1308 w 1699"/>
                  <a:gd name="T47" fmla="*/ 1346 h 2144"/>
                  <a:gd name="T48" fmla="*/ 1411 w 1699"/>
                  <a:gd name="T49" fmla="*/ 1326 h 2144"/>
                  <a:gd name="T50" fmla="*/ 1535 w 1699"/>
                  <a:gd name="T51" fmla="*/ 1284 h 2144"/>
                  <a:gd name="T52" fmla="*/ 1649 w 1699"/>
                  <a:gd name="T53" fmla="*/ 1222 h 2144"/>
                  <a:gd name="T54" fmla="*/ 1581 w 1699"/>
                  <a:gd name="T55" fmla="*/ 1134 h 2144"/>
                  <a:gd name="T56" fmla="*/ 1487 w 1699"/>
                  <a:gd name="T57" fmla="*/ 1018 h 2144"/>
                  <a:gd name="T58" fmla="*/ 1391 w 1699"/>
                  <a:gd name="T59" fmla="*/ 992 h 2144"/>
                  <a:gd name="T60" fmla="*/ 1362 w 1699"/>
                  <a:gd name="T61" fmla="*/ 936 h 2144"/>
                  <a:gd name="T62" fmla="*/ 1300 w 1699"/>
                  <a:gd name="T63" fmla="*/ 794 h 2144"/>
                  <a:gd name="T64" fmla="*/ 1218 w 1699"/>
                  <a:gd name="T65" fmla="*/ 630 h 2144"/>
                  <a:gd name="T66" fmla="*/ 1102 w 1699"/>
                  <a:gd name="T67" fmla="*/ 458 h 2144"/>
                  <a:gd name="T68" fmla="*/ 1062 w 1699"/>
                  <a:gd name="T69" fmla="*/ 322 h 2144"/>
                  <a:gd name="T70" fmla="*/ 1068 w 1699"/>
                  <a:gd name="T71" fmla="*/ 62 h 2144"/>
                  <a:gd name="T72" fmla="*/ 966 w 1699"/>
                  <a:gd name="T73" fmla="*/ 36 h 2144"/>
                  <a:gd name="T74" fmla="*/ 864 w 1699"/>
                  <a:gd name="T75" fmla="*/ 68 h 2144"/>
                  <a:gd name="T76" fmla="*/ 822 w 1699"/>
                  <a:gd name="T77" fmla="*/ 124 h 2144"/>
                  <a:gd name="T78" fmla="*/ 733 w 1699"/>
                  <a:gd name="T79" fmla="*/ 240 h 2144"/>
                  <a:gd name="T80" fmla="*/ 697 w 1699"/>
                  <a:gd name="T81" fmla="*/ 212 h 2144"/>
                  <a:gd name="T82" fmla="*/ 635 w 1699"/>
                  <a:gd name="T83" fmla="*/ 322 h 2144"/>
                  <a:gd name="T84" fmla="*/ 533 w 1699"/>
                  <a:gd name="T85" fmla="*/ 348 h 2144"/>
                  <a:gd name="T86" fmla="*/ 471 w 1699"/>
                  <a:gd name="T87" fmla="*/ 302 h 2144"/>
                  <a:gd name="T88" fmla="*/ 539 w 1699"/>
                  <a:gd name="T89" fmla="*/ 410 h 2144"/>
                  <a:gd name="T90" fmla="*/ 505 w 1699"/>
                  <a:gd name="T91" fmla="*/ 458 h 2144"/>
                  <a:gd name="T92" fmla="*/ 465 w 1699"/>
                  <a:gd name="T93" fmla="*/ 582 h 2144"/>
                  <a:gd name="T94" fmla="*/ 443 w 1699"/>
                  <a:gd name="T95" fmla="*/ 622 h 2144"/>
                  <a:gd name="T96" fmla="*/ 389 w 1699"/>
                  <a:gd name="T97" fmla="*/ 636 h 2144"/>
                  <a:gd name="T98" fmla="*/ 287 w 1699"/>
                  <a:gd name="T99" fmla="*/ 642 h 2144"/>
                  <a:gd name="T100" fmla="*/ 225 w 1699"/>
                  <a:gd name="T101" fmla="*/ 540 h 2144"/>
                  <a:gd name="T102" fmla="*/ 185 w 1699"/>
                  <a:gd name="T103" fmla="*/ 480 h 2144"/>
                  <a:gd name="T104" fmla="*/ 327 w 1699"/>
                  <a:gd name="T105" fmla="*/ 506 h 2144"/>
                  <a:gd name="T106" fmla="*/ 437 w 1699"/>
                  <a:gd name="T107" fmla="*/ 466 h 2144"/>
                  <a:gd name="T108" fmla="*/ 349 w 1699"/>
                  <a:gd name="T109" fmla="*/ 362 h 2144"/>
                  <a:gd name="T110" fmla="*/ 151 w 1699"/>
                  <a:gd name="T111" fmla="*/ 322 h 2144"/>
                  <a:gd name="T112" fmla="*/ 14 w 1699"/>
                  <a:gd name="T113" fmla="*/ 366 h 2144"/>
                  <a:gd name="T114" fmla="*/ 88 w 1699"/>
                  <a:gd name="T115" fmla="*/ 614 h 2144"/>
                  <a:gd name="T116" fmla="*/ 185 w 1699"/>
                  <a:gd name="T117" fmla="*/ 792 h 2144"/>
                  <a:gd name="T118" fmla="*/ 134 w 1699"/>
                  <a:gd name="T119" fmla="*/ 984 h 2144"/>
                  <a:gd name="T120" fmla="*/ 134 w 1699"/>
                  <a:gd name="T121" fmla="*/ 1012 h 2144"/>
                  <a:gd name="T122" fmla="*/ 108 w 1699"/>
                  <a:gd name="T123" fmla="*/ 1106 h 2144"/>
                  <a:gd name="T124" fmla="*/ 100 w 1699"/>
                  <a:gd name="T125" fmla="*/ 1196 h 2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99" h="2144">
                    <a:moveTo>
                      <a:pt x="100" y="1196"/>
                    </a:moveTo>
                    <a:lnTo>
                      <a:pt x="100" y="1202"/>
                    </a:lnTo>
                    <a:lnTo>
                      <a:pt x="108" y="1202"/>
                    </a:lnTo>
                    <a:lnTo>
                      <a:pt x="108" y="1208"/>
                    </a:lnTo>
                    <a:lnTo>
                      <a:pt x="114" y="1202"/>
                    </a:lnTo>
                    <a:lnTo>
                      <a:pt x="122" y="1202"/>
                    </a:lnTo>
                    <a:lnTo>
                      <a:pt x="122" y="1216"/>
                    </a:lnTo>
                    <a:lnTo>
                      <a:pt x="122" y="1230"/>
                    </a:lnTo>
                    <a:lnTo>
                      <a:pt x="108" y="1230"/>
                    </a:lnTo>
                    <a:lnTo>
                      <a:pt x="114" y="1244"/>
                    </a:lnTo>
                    <a:lnTo>
                      <a:pt x="122" y="1244"/>
                    </a:lnTo>
                    <a:lnTo>
                      <a:pt x="128" y="1244"/>
                    </a:lnTo>
                    <a:lnTo>
                      <a:pt x="128" y="1250"/>
                    </a:lnTo>
                    <a:lnTo>
                      <a:pt x="134" y="1262"/>
                    </a:lnTo>
                    <a:lnTo>
                      <a:pt x="134" y="1276"/>
                    </a:lnTo>
                    <a:lnTo>
                      <a:pt x="143" y="1290"/>
                    </a:lnTo>
                    <a:lnTo>
                      <a:pt x="151" y="1290"/>
                    </a:lnTo>
                    <a:lnTo>
                      <a:pt x="157" y="1290"/>
                    </a:lnTo>
                    <a:lnTo>
                      <a:pt x="157" y="1298"/>
                    </a:lnTo>
                    <a:lnTo>
                      <a:pt x="171" y="1298"/>
                    </a:lnTo>
                    <a:lnTo>
                      <a:pt x="185" y="1298"/>
                    </a:lnTo>
                    <a:lnTo>
                      <a:pt x="197" y="1298"/>
                    </a:lnTo>
                    <a:lnTo>
                      <a:pt x="205" y="1304"/>
                    </a:lnTo>
                    <a:lnTo>
                      <a:pt x="205" y="1312"/>
                    </a:lnTo>
                    <a:lnTo>
                      <a:pt x="211" y="1312"/>
                    </a:lnTo>
                    <a:lnTo>
                      <a:pt x="225" y="1304"/>
                    </a:lnTo>
                    <a:lnTo>
                      <a:pt x="225" y="1298"/>
                    </a:lnTo>
                    <a:lnTo>
                      <a:pt x="233" y="1298"/>
                    </a:lnTo>
                    <a:lnTo>
                      <a:pt x="245" y="1304"/>
                    </a:lnTo>
                    <a:lnTo>
                      <a:pt x="253" y="1318"/>
                    </a:lnTo>
                    <a:lnTo>
                      <a:pt x="265" y="1318"/>
                    </a:lnTo>
                    <a:lnTo>
                      <a:pt x="265" y="1326"/>
                    </a:lnTo>
                    <a:lnTo>
                      <a:pt x="259" y="1332"/>
                    </a:lnTo>
                    <a:lnTo>
                      <a:pt x="259" y="1338"/>
                    </a:lnTo>
                    <a:lnTo>
                      <a:pt x="273" y="1360"/>
                    </a:lnTo>
                    <a:lnTo>
                      <a:pt x="281" y="1380"/>
                    </a:lnTo>
                    <a:lnTo>
                      <a:pt x="265" y="1386"/>
                    </a:lnTo>
                    <a:lnTo>
                      <a:pt x="287" y="1386"/>
                    </a:lnTo>
                    <a:lnTo>
                      <a:pt x="287" y="1394"/>
                    </a:lnTo>
                    <a:lnTo>
                      <a:pt x="287" y="1400"/>
                    </a:lnTo>
                    <a:lnTo>
                      <a:pt x="307" y="1406"/>
                    </a:lnTo>
                    <a:lnTo>
                      <a:pt x="315" y="1406"/>
                    </a:lnTo>
                    <a:lnTo>
                      <a:pt x="327" y="1414"/>
                    </a:lnTo>
                    <a:lnTo>
                      <a:pt x="327" y="1428"/>
                    </a:lnTo>
                    <a:lnTo>
                      <a:pt x="327" y="1434"/>
                    </a:lnTo>
                    <a:lnTo>
                      <a:pt x="341" y="1434"/>
                    </a:lnTo>
                    <a:lnTo>
                      <a:pt x="349" y="1434"/>
                    </a:lnTo>
                    <a:lnTo>
                      <a:pt x="361" y="1434"/>
                    </a:lnTo>
                    <a:lnTo>
                      <a:pt x="361" y="1448"/>
                    </a:lnTo>
                    <a:lnTo>
                      <a:pt x="375" y="1448"/>
                    </a:lnTo>
                    <a:lnTo>
                      <a:pt x="383" y="1462"/>
                    </a:lnTo>
                    <a:lnTo>
                      <a:pt x="375" y="1468"/>
                    </a:lnTo>
                    <a:lnTo>
                      <a:pt x="369" y="1476"/>
                    </a:lnTo>
                    <a:lnTo>
                      <a:pt x="361" y="1482"/>
                    </a:lnTo>
                    <a:lnTo>
                      <a:pt x="349" y="1490"/>
                    </a:lnTo>
                    <a:lnTo>
                      <a:pt x="341" y="1496"/>
                    </a:lnTo>
                    <a:lnTo>
                      <a:pt x="327" y="1490"/>
                    </a:lnTo>
                    <a:lnTo>
                      <a:pt x="321" y="1490"/>
                    </a:lnTo>
                    <a:lnTo>
                      <a:pt x="321" y="1496"/>
                    </a:lnTo>
                    <a:lnTo>
                      <a:pt x="321" y="1510"/>
                    </a:lnTo>
                    <a:lnTo>
                      <a:pt x="321" y="1516"/>
                    </a:lnTo>
                    <a:lnTo>
                      <a:pt x="327" y="1530"/>
                    </a:lnTo>
                    <a:lnTo>
                      <a:pt x="335" y="1544"/>
                    </a:lnTo>
                    <a:lnTo>
                      <a:pt x="335" y="1552"/>
                    </a:lnTo>
                    <a:lnTo>
                      <a:pt x="341" y="1558"/>
                    </a:lnTo>
                    <a:lnTo>
                      <a:pt x="355" y="1564"/>
                    </a:lnTo>
                    <a:lnTo>
                      <a:pt x="355" y="1558"/>
                    </a:lnTo>
                    <a:lnTo>
                      <a:pt x="369" y="1552"/>
                    </a:lnTo>
                    <a:lnTo>
                      <a:pt x="375" y="1558"/>
                    </a:lnTo>
                    <a:lnTo>
                      <a:pt x="389" y="1552"/>
                    </a:lnTo>
                    <a:lnTo>
                      <a:pt x="397" y="1552"/>
                    </a:lnTo>
                    <a:lnTo>
                      <a:pt x="403" y="1544"/>
                    </a:lnTo>
                    <a:lnTo>
                      <a:pt x="409" y="1544"/>
                    </a:lnTo>
                    <a:lnTo>
                      <a:pt x="423" y="1552"/>
                    </a:lnTo>
                    <a:lnTo>
                      <a:pt x="437" y="1544"/>
                    </a:lnTo>
                    <a:lnTo>
                      <a:pt x="443" y="1544"/>
                    </a:lnTo>
                    <a:lnTo>
                      <a:pt x="451" y="1552"/>
                    </a:lnTo>
                    <a:lnTo>
                      <a:pt x="459" y="1564"/>
                    </a:lnTo>
                    <a:lnTo>
                      <a:pt x="465" y="1570"/>
                    </a:lnTo>
                    <a:lnTo>
                      <a:pt x="465" y="1584"/>
                    </a:lnTo>
                    <a:lnTo>
                      <a:pt x="465" y="1598"/>
                    </a:lnTo>
                    <a:lnTo>
                      <a:pt x="465" y="1606"/>
                    </a:lnTo>
                    <a:lnTo>
                      <a:pt x="479" y="1606"/>
                    </a:lnTo>
                    <a:lnTo>
                      <a:pt x="499" y="1606"/>
                    </a:lnTo>
                    <a:lnTo>
                      <a:pt x="505" y="1598"/>
                    </a:lnTo>
                    <a:lnTo>
                      <a:pt x="511" y="1598"/>
                    </a:lnTo>
                    <a:lnTo>
                      <a:pt x="511" y="1606"/>
                    </a:lnTo>
                    <a:lnTo>
                      <a:pt x="521" y="1620"/>
                    </a:lnTo>
                    <a:lnTo>
                      <a:pt x="533" y="1620"/>
                    </a:lnTo>
                    <a:lnTo>
                      <a:pt x="533" y="1626"/>
                    </a:lnTo>
                    <a:lnTo>
                      <a:pt x="539" y="1646"/>
                    </a:lnTo>
                    <a:lnTo>
                      <a:pt x="539" y="1652"/>
                    </a:lnTo>
                    <a:lnTo>
                      <a:pt x="547" y="1652"/>
                    </a:lnTo>
                    <a:lnTo>
                      <a:pt x="561" y="1652"/>
                    </a:lnTo>
                    <a:lnTo>
                      <a:pt x="567" y="1652"/>
                    </a:lnTo>
                    <a:lnTo>
                      <a:pt x="573" y="1660"/>
                    </a:lnTo>
                    <a:lnTo>
                      <a:pt x="581" y="1652"/>
                    </a:lnTo>
                    <a:lnTo>
                      <a:pt x="587" y="1660"/>
                    </a:lnTo>
                    <a:lnTo>
                      <a:pt x="595" y="1660"/>
                    </a:lnTo>
                    <a:lnTo>
                      <a:pt x="601" y="1652"/>
                    </a:lnTo>
                    <a:lnTo>
                      <a:pt x="615" y="1640"/>
                    </a:lnTo>
                    <a:lnTo>
                      <a:pt x="629" y="1640"/>
                    </a:lnTo>
                    <a:lnTo>
                      <a:pt x="629" y="1646"/>
                    </a:lnTo>
                    <a:lnTo>
                      <a:pt x="635" y="1652"/>
                    </a:lnTo>
                    <a:lnTo>
                      <a:pt x="657" y="1666"/>
                    </a:lnTo>
                    <a:lnTo>
                      <a:pt x="671" y="1660"/>
                    </a:lnTo>
                    <a:lnTo>
                      <a:pt x="671" y="1652"/>
                    </a:lnTo>
                    <a:lnTo>
                      <a:pt x="677" y="1660"/>
                    </a:lnTo>
                    <a:lnTo>
                      <a:pt x="683" y="1666"/>
                    </a:lnTo>
                    <a:lnTo>
                      <a:pt x="697" y="1660"/>
                    </a:lnTo>
                    <a:lnTo>
                      <a:pt x="697" y="1666"/>
                    </a:lnTo>
                    <a:lnTo>
                      <a:pt x="711" y="1666"/>
                    </a:lnTo>
                    <a:lnTo>
                      <a:pt x="711" y="1660"/>
                    </a:lnTo>
                    <a:lnTo>
                      <a:pt x="725" y="1660"/>
                    </a:lnTo>
                    <a:lnTo>
                      <a:pt x="733" y="1660"/>
                    </a:lnTo>
                    <a:lnTo>
                      <a:pt x="733" y="1666"/>
                    </a:lnTo>
                    <a:lnTo>
                      <a:pt x="739" y="1674"/>
                    </a:lnTo>
                    <a:lnTo>
                      <a:pt x="739" y="1666"/>
                    </a:lnTo>
                    <a:lnTo>
                      <a:pt x="751" y="1666"/>
                    </a:lnTo>
                    <a:lnTo>
                      <a:pt x="768" y="1674"/>
                    </a:lnTo>
                    <a:lnTo>
                      <a:pt x="780" y="1674"/>
                    </a:lnTo>
                    <a:lnTo>
                      <a:pt x="788" y="1666"/>
                    </a:lnTo>
                    <a:lnTo>
                      <a:pt x="794" y="1666"/>
                    </a:lnTo>
                    <a:lnTo>
                      <a:pt x="794" y="1688"/>
                    </a:lnTo>
                    <a:lnTo>
                      <a:pt x="788" y="1694"/>
                    </a:lnTo>
                    <a:lnTo>
                      <a:pt x="774" y="1700"/>
                    </a:lnTo>
                    <a:lnTo>
                      <a:pt x="768" y="1708"/>
                    </a:lnTo>
                    <a:lnTo>
                      <a:pt x="774" y="1714"/>
                    </a:lnTo>
                    <a:lnTo>
                      <a:pt x="788" y="1714"/>
                    </a:lnTo>
                    <a:lnTo>
                      <a:pt x="788" y="1720"/>
                    </a:lnTo>
                    <a:lnTo>
                      <a:pt x="780" y="1728"/>
                    </a:lnTo>
                    <a:lnTo>
                      <a:pt x="774" y="1734"/>
                    </a:lnTo>
                    <a:lnTo>
                      <a:pt x="774" y="1740"/>
                    </a:lnTo>
                    <a:lnTo>
                      <a:pt x="780" y="1740"/>
                    </a:lnTo>
                    <a:lnTo>
                      <a:pt x="794" y="1762"/>
                    </a:lnTo>
                    <a:lnTo>
                      <a:pt x="794" y="1782"/>
                    </a:lnTo>
                    <a:lnTo>
                      <a:pt x="788" y="1804"/>
                    </a:lnTo>
                    <a:lnTo>
                      <a:pt x="774" y="1804"/>
                    </a:lnTo>
                    <a:lnTo>
                      <a:pt x="751" y="1804"/>
                    </a:lnTo>
                    <a:lnTo>
                      <a:pt x="745" y="1810"/>
                    </a:lnTo>
                    <a:lnTo>
                      <a:pt x="739" y="1830"/>
                    </a:lnTo>
                    <a:lnTo>
                      <a:pt x="717" y="1838"/>
                    </a:lnTo>
                    <a:lnTo>
                      <a:pt x="717" y="1870"/>
                    </a:lnTo>
                    <a:lnTo>
                      <a:pt x="725" y="1864"/>
                    </a:lnTo>
                    <a:lnTo>
                      <a:pt x="733" y="1864"/>
                    </a:lnTo>
                    <a:lnTo>
                      <a:pt x="739" y="1858"/>
                    </a:lnTo>
                    <a:lnTo>
                      <a:pt x="739" y="1870"/>
                    </a:lnTo>
                    <a:lnTo>
                      <a:pt x="745" y="1870"/>
                    </a:lnTo>
                    <a:lnTo>
                      <a:pt x="760" y="1858"/>
                    </a:lnTo>
                    <a:lnTo>
                      <a:pt x="768" y="1852"/>
                    </a:lnTo>
                    <a:lnTo>
                      <a:pt x="780" y="1852"/>
                    </a:lnTo>
                    <a:lnTo>
                      <a:pt x="780" y="1864"/>
                    </a:lnTo>
                    <a:lnTo>
                      <a:pt x="780" y="1870"/>
                    </a:lnTo>
                    <a:lnTo>
                      <a:pt x="768" y="1878"/>
                    </a:lnTo>
                    <a:lnTo>
                      <a:pt x="751" y="1884"/>
                    </a:lnTo>
                    <a:lnTo>
                      <a:pt x="745" y="1892"/>
                    </a:lnTo>
                    <a:lnTo>
                      <a:pt x="751" y="1898"/>
                    </a:lnTo>
                    <a:lnTo>
                      <a:pt x="760" y="1906"/>
                    </a:lnTo>
                    <a:lnTo>
                      <a:pt x="745" y="1912"/>
                    </a:lnTo>
                    <a:lnTo>
                      <a:pt x="733" y="1906"/>
                    </a:lnTo>
                    <a:lnTo>
                      <a:pt x="725" y="1906"/>
                    </a:lnTo>
                    <a:lnTo>
                      <a:pt x="717" y="1912"/>
                    </a:lnTo>
                    <a:lnTo>
                      <a:pt x="711" y="1912"/>
                    </a:lnTo>
                    <a:lnTo>
                      <a:pt x="711" y="1918"/>
                    </a:lnTo>
                    <a:lnTo>
                      <a:pt x="717" y="1926"/>
                    </a:lnTo>
                    <a:lnTo>
                      <a:pt x="739" y="1926"/>
                    </a:lnTo>
                    <a:lnTo>
                      <a:pt x="745" y="1932"/>
                    </a:lnTo>
                    <a:lnTo>
                      <a:pt x="745" y="1940"/>
                    </a:lnTo>
                    <a:lnTo>
                      <a:pt x="768" y="1946"/>
                    </a:lnTo>
                    <a:lnTo>
                      <a:pt x="760" y="1946"/>
                    </a:lnTo>
                    <a:lnTo>
                      <a:pt x="751" y="1954"/>
                    </a:lnTo>
                    <a:lnTo>
                      <a:pt x="745" y="1946"/>
                    </a:lnTo>
                    <a:lnTo>
                      <a:pt x="745" y="1960"/>
                    </a:lnTo>
                    <a:lnTo>
                      <a:pt x="751" y="1966"/>
                    </a:lnTo>
                    <a:lnTo>
                      <a:pt x="745" y="1974"/>
                    </a:lnTo>
                    <a:lnTo>
                      <a:pt x="739" y="1966"/>
                    </a:lnTo>
                    <a:lnTo>
                      <a:pt x="733" y="1960"/>
                    </a:lnTo>
                    <a:lnTo>
                      <a:pt x="725" y="1966"/>
                    </a:lnTo>
                    <a:lnTo>
                      <a:pt x="725" y="1980"/>
                    </a:lnTo>
                    <a:lnTo>
                      <a:pt x="717" y="1988"/>
                    </a:lnTo>
                    <a:lnTo>
                      <a:pt x="725" y="1994"/>
                    </a:lnTo>
                    <a:lnTo>
                      <a:pt x="725" y="2008"/>
                    </a:lnTo>
                    <a:lnTo>
                      <a:pt x="711" y="2008"/>
                    </a:lnTo>
                    <a:lnTo>
                      <a:pt x="705" y="2028"/>
                    </a:lnTo>
                    <a:lnTo>
                      <a:pt x="705" y="2034"/>
                    </a:lnTo>
                    <a:lnTo>
                      <a:pt x="717" y="2042"/>
                    </a:lnTo>
                    <a:lnTo>
                      <a:pt x="733" y="2048"/>
                    </a:lnTo>
                    <a:lnTo>
                      <a:pt x="739" y="2048"/>
                    </a:lnTo>
                    <a:lnTo>
                      <a:pt x="751" y="2048"/>
                    </a:lnTo>
                    <a:lnTo>
                      <a:pt x="760" y="2056"/>
                    </a:lnTo>
                    <a:lnTo>
                      <a:pt x="760" y="2062"/>
                    </a:lnTo>
                    <a:lnTo>
                      <a:pt x="774" y="2062"/>
                    </a:lnTo>
                    <a:lnTo>
                      <a:pt x="780" y="2056"/>
                    </a:lnTo>
                    <a:lnTo>
                      <a:pt x="788" y="2062"/>
                    </a:lnTo>
                    <a:lnTo>
                      <a:pt x="802" y="2062"/>
                    </a:lnTo>
                    <a:lnTo>
                      <a:pt x="802" y="2070"/>
                    </a:lnTo>
                    <a:lnTo>
                      <a:pt x="816" y="2076"/>
                    </a:lnTo>
                    <a:lnTo>
                      <a:pt x="828" y="2076"/>
                    </a:lnTo>
                    <a:lnTo>
                      <a:pt x="836" y="2082"/>
                    </a:lnTo>
                    <a:lnTo>
                      <a:pt x="842" y="2090"/>
                    </a:lnTo>
                    <a:lnTo>
                      <a:pt x="856" y="2090"/>
                    </a:lnTo>
                    <a:lnTo>
                      <a:pt x="876" y="2118"/>
                    </a:lnTo>
                    <a:lnTo>
                      <a:pt x="884" y="2104"/>
                    </a:lnTo>
                    <a:lnTo>
                      <a:pt x="890" y="2104"/>
                    </a:lnTo>
                    <a:lnTo>
                      <a:pt x="904" y="2104"/>
                    </a:lnTo>
                    <a:lnTo>
                      <a:pt x="910" y="2096"/>
                    </a:lnTo>
                    <a:lnTo>
                      <a:pt x="918" y="2082"/>
                    </a:lnTo>
                    <a:lnTo>
                      <a:pt x="932" y="2090"/>
                    </a:lnTo>
                    <a:lnTo>
                      <a:pt x="944" y="2096"/>
                    </a:lnTo>
                    <a:lnTo>
                      <a:pt x="952" y="2096"/>
                    </a:lnTo>
                    <a:lnTo>
                      <a:pt x="980" y="2096"/>
                    </a:lnTo>
                    <a:lnTo>
                      <a:pt x="986" y="2104"/>
                    </a:lnTo>
                    <a:lnTo>
                      <a:pt x="994" y="2104"/>
                    </a:lnTo>
                    <a:lnTo>
                      <a:pt x="1006" y="2104"/>
                    </a:lnTo>
                    <a:lnTo>
                      <a:pt x="1020" y="2104"/>
                    </a:lnTo>
                    <a:lnTo>
                      <a:pt x="1040" y="2096"/>
                    </a:lnTo>
                    <a:lnTo>
                      <a:pt x="1046" y="2096"/>
                    </a:lnTo>
                    <a:lnTo>
                      <a:pt x="1054" y="2104"/>
                    </a:lnTo>
                    <a:lnTo>
                      <a:pt x="1074" y="2104"/>
                    </a:lnTo>
                    <a:lnTo>
                      <a:pt x="1088" y="2104"/>
                    </a:lnTo>
                    <a:lnTo>
                      <a:pt x="1096" y="2104"/>
                    </a:lnTo>
                    <a:lnTo>
                      <a:pt x="1102" y="2110"/>
                    </a:lnTo>
                    <a:lnTo>
                      <a:pt x="1096" y="2118"/>
                    </a:lnTo>
                    <a:lnTo>
                      <a:pt x="1110" y="2118"/>
                    </a:lnTo>
                    <a:lnTo>
                      <a:pt x="1122" y="2118"/>
                    </a:lnTo>
                    <a:lnTo>
                      <a:pt x="1130" y="2110"/>
                    </a:lnTo>
                    <a:lnTo>
                      <a:pt x="1142" y="2104"/>
                    </a:lnTo>
                    <a:lnTo>
                      <a:pt x="1158" y="2110"/>
                    </a:lnTo>
                    <a:lnTo>
                      <a:pt x="1164" y="2110"/>
                    </a:lnTo>
                    <a:lnTo>
                      <a:pt x="1170" y="2104"/>
                    </a:lnTo>
                    <a:lnTo>
                      <a:pt x="1170" y="2096"/>
                    </a:lnTo>
                    <a:lnTo>
                      <a:pt x="1178" y="2096"/>
                    </a:lnTo>
                    <a:lnTo>
                      <a:pt x="1184" y="2096"/>
                    </a:lnTo>
                    <a:lnTo>
                      <a:pt x="1184" y="2110"/>
                    </a:lnTo>
                    <a:lnTo>
                      <a:pt x="1198" y="2104"/>
                    </a:lnTo>
                    <a:lnTo>
                      <a:pt x="1198" y="2096"/>
                    </a:lnTo>
                    <a:lnTo>
                      <a:pt x="1212" y="2096"/>
                    </a:lnTo>
                    <a:lnTo>
                      <a:pt x="1226" y="2104"/>
                    </a:lnTo>
                    <a:lnTo>
                      <a:pt x="1226" y="2110"/>
                    </a:lnTo>
                    <a:lnTo>
                      <a:pt x="1226" y="2118"/>
                    </a:lnTo>
                    <a:lnTo>
                      <a:pt x="1232" y="2124"/>
                    </a:lnTo>
                    <a:lnTo>
                      <a:pt x="1246" y="2118"/>
                    </a:lnTo>
                    <a:lnTo>
                      <a:pt x="1252" y="2118"/>
                    </a:lnTo>
                    <a:lnTo>
                      <a:pt x="1274" y="2124"/>
                    </a:lnTo>
                    <a:lnTo>
                      <a:pt x="1294" y="2124"/>
                    </a:lnTo>
                    <a:lnTo>
                      <a:pt x="1300" y="2124"/>
                    </a:lnTo>
                    <a:lnTo>
                      <a:pt x="1314" y="2138"/>
                    </a:lnTo>
                    <a:lnTo>
                      <a:pt x="1328" y="2144"/>
                    </a:lnTo>
                    <a:lnTo>
                      <a:pt x="1342" y="2144"/>
                    </a:lnTo>
                    <a:lnTo>
                      <a:pt x="1348" y="2144"/>
                    </a:lnTo>
                    <a:lnTo>
                      <a:pt x="1362" y="2138"/>
                    </a:lnTo>
                    <a:lnTo>
                      <a:pt x="1370" y="2124"/>
                    </a:lnTo>
                    <a:lnTo>
                      <a:pt x="1362" y="2118"/>
                    </a:lnTo>
                    <a:lnTo>
                      <a:pt x="1377" y="2118"/>
                    </a:lnTo>
                    <a:lnTo>
                      <a:pt x="1383" y="2118"/>
                    </a:lnTo>
                    <a:lnTo>
                      <a:pt x="1383" y="2104"/>
                    </a:lnTo>
                    <a:lnTo>
                      <a:pt x="1391" y="2090"/>
                    </a:lnTo>
                    <a:lnTo>
                      <a:pt x="1383" y="2090"/>
                    </a:lnTo>
                    <a:lnTo>
                      <a:pt x="1370" y="2082"/>
                    </a:lnTo>
                    <a:lnTo>
                      <a:pt x="1356" y="2076"/>
                    </a:lnTo>
                    <a:lnTo>
                      <a:pt x="1348" y="2070"/>
                    </a:lnTo>
                    <a:lnTo>
                      <a:pt x="1328" y="2056"/>
                    </a:lnTo>
                    <a:lnTo>
                      <a:pt x="1314" y="2048"/>
                    </a:lnTo>
                    <a:lnTo>
                      <a:pt x="1300" y="2034"/>
                    </a:lnTo>
                    <a:lnTo>
                      <a:pt x="1300" y="2008"/>
                    </a:lnTo>
                    <a:lnTo>
                      <a:pt x="1294" y="2002"/>
                    </a:lnTo>
                    <a:lnTo>
                      <a:pt x="1286" y="1994"/>
                    </a:lnTo>
                    <a:lnTo>
                      <a:pt x="1286" y="1980"/>
                    </a:lnTo>
                    <a:lnTo>
                      <a:pt x="1280" y="1966"/>
                    </a:lnTo>
                    <a:lnTo>
                      <a:pt x="1274" y="1966"/>
                    </a:lnTo>
                    <a:lnTo>
                      <a:pt x="1274" y="1960"/>
                    </a:lnTo>
                    <a:lnTo>
                      <a:pt x="1260" y="1954"/>
                    </a:lnTo>
                    <a:lnTo>
                      <a:pt x="1240" y="1940"/>
                    </a:lnTo>
                    <a:lnTo>
                      <a:pt x="1240" y="1946"/>
                    </a:lnTo>
                    <a:lnTo>
                      <a:pt x="1232" y="1954"/>
                    </a:lnTo>
                    <a:lnTo>
                      <a:pt x="1226" y="1946"/>
                    </a:lnTo>
                    <a:lnTo>
                      <a:pt x="1212" y="1940"/>
                    </a:lnTo>
                    <a:lnTo>
                      <a:pt x="1218" y="1912"/>
                    </a:lnTo>
                    <a:lnTo>
                      <a:pt x="1218" y="1906"/>
                    </a:lnTo>
                    <a:lnTo>
                      <a:pt x="1226" y="1898"/>
                    </a:lnTo>
                    <a:lnTo>
                      <a:pt x="1226" y="1884"/>
                    </a:lnTo>
                    <a:lnTo>
                      <a:pt x="1232" y="1878"/>
                    </a:lnTo>
                    <a:lnTo>
                      <a:pt x="1226" y="1870"/>
                    </a:lnTo>
                    <a:lnTo>
                      <a:pt x="1226" y="1852"/>
                    </a:lnTo>
                    <a:lnTo>
                      <a:pt x="1232" y="1838"/>
                    </a:lnTo>
                    <a:lnTo>
                      <a:pt x="1232" y="1824"/>
                    </a:lnTo>
                    <a:lnTo>
                      <a:pt x="1240" y="1824"/>
                    </a:lnTo>
                    <a:lnTo>
                      <a:pt x="1246" y="1830"/>
                    </a:lnTo>
                    <a:lnTo>
                      <a:pt x="1260" y="1816"/>
                    </a:lnTo>
                    <a:lnTo>
                      <a:pt x="1266" y="1810"/>
                    </a:lnTo>
                    <a:lnTo>
                      <a:pt x="1274" y="1804"/>
                    </a:lnTo>
                    <a:lnTo>
                      <a:pt x="1280" y="1790"/>
                    </a:lnTo>
                    <a:lnTo>
                      <a:pt x="1286" y="1796"/>
                    </a:lnTo>
                    <a:lnTo>
                      <a:pt x="1294" y="1782"/>
                    </a:lnTo>
                    <a:lnTo>
                      <a:pt x="1286" y="1762"/>
                    </a:lnTo>
                    <a:lnTo>
                      <a:pt x="1274" y="1762"/>
                    </a:lnTo>
                    <a:lnTo>
                      <a:pt x="1266" y="1762"/>
                    </a:lnTo>
                    <a:lnTo>
                      <a:pt x="1252" y="1756"/>
                    </a:lnTo>
                    <a:lnTo>
                      <a:pt x="1260" y="1740"/>
                    </a:lnTo>
                    <a:lnTo>
                      <a:pt x="1266" y="1734"/>
                    </a:lnTo>
                    <a:lnTo>
                      <a:pt x="1274" y="1734"/>
                    </a:lnTo>
                    <a:lnTo>
                      <a:pt x="1266" y="1728"/>
                    </a:lnTo>
                    <a:lnTo>
                      <a:pt x="1246" y="1714"/>
                    </a:lnTo>
                    <a:lnTo>
                      <a:pt x="1218" y="1694"/>
                    </a:lnTo>
                    <a:lnTo>
                      <a:pt x="1206" y="1680"/>
                    </a:lnTo>
                    <a:lnTo>
                      <a:pt x="1198" y="1688"/>
                    </a:lnTo>
                    <a:lnTo>
                      <a:pt x="1184" y="1688"/>
                    </a:lnTo>
                    <a:lnTo>
                      <a:pt x="1184" y="1694"/>
                    </a:lnTo>
                    <a:lnTo>
                      <a:pt x="1178" y="1700"/>
                    </a:lnTo>
                    <a:lnTo>
                      <a:pt x="1164" y="1694"/>
                    </a:lnTo>
                    <a:lnTo>
                      <a:pt x="1158" y="1688"/>
                    </a:lnTo>
                    <a:lnTo>
                      <a:pt x="1158" y="1674"/>
                    </a:lnTo>
                    <a:lnTo>
                      <a:pt x="1158" y="1666"/>
                    </a:lnTo>
                    <a:lnTo>
                      <a:pt x="1142" y="1660"/>
                    </a:lnTo>
                    <a:lnTo>
                      <a:pt x="1130" y="1660"/>
                    </a:lnTo>
                    <a:lnTo>
                      <a:pt x="1122" y="1666"/>
                    </a:lnTo>
                    <a:lnTo>
                      <a:pt x="1122" y="1646"/>
                    </a:lnTo>
                    <a:lnTo>
                      <a:pt x="1122" y="1632"/>
                    </a:lnTo>
                    <a:lnTo>
                      <a:pt x="1136" y="1612"/>
                    </a:lnTo>
                    <a:lnTo>
                      <a:pt x="1116" y="1606"/>
                    </a:lnTo>
                    <a:lnTo>
                      <a:pt x="1110" y="1598"/>
                    </a:lnTo>
                    <a:lnTo>
                      <a:pt x="1116" y="1590"/>
                    </a:lnTo>
                    <a:lnTo>
                      <a:pt x="1116" y="1570"/>
                    </a:lnTo>
                    <a:lnTo>
                      <a:pt x="1110" y="1564"/>
                    </a:lnTo>
                    <a:lnTo>
                      <a:pt x="1102" y="1552"/>
                    </a:lnTo>
                    <a:lnTo>
                      <a:pt x="1110" y="1538"/>
                    </a:lnTo>
                    <a:lnTo>
                      <a:pt x="1116" y="1538"/>
                    </a:lnTo>
                    <a:lnTo>
                      <a:pt x="1116" y="1516"/>
                    </a:lnTo>
                    <a:lnTo>
                      <a:pt x="1110" y="1516"/>
                    </a:lnTo>
                    <a:lnTo>
                      <a:pt x="1122" y="1496"/>
                    </a:lnTo>
                    <a:lnTo>
                      <a:pt x="1136" y="1504"/>
                    </a:lnTo>
                    <a:lnTo>
                      <a:pt x="1142" y="1516"/>
                    </a:lnTo>
                    <a:lnTo>
                      <a:pt x="1158" y="1524"/>
                    </a:lnTo>
                    <a:lnTo>
                      <a:pt x="1164" y="1530"/>
                    </a:lnTo>
                    <a:lnTo>
                      <a:pt x="1178" y="1516"/>
                    </a:lnTo>
                    <a:lnTo>
                      <a:pt x="1178" y="1510"/>
                    </a:lnTo>
                    <a:lnTo>
                      <a:pt x="1170" y="1496"/>
                    </a:lnTo>
                    <a:lnTo>
                      <a:pt x="1164" y="1476"/>
                    </a:lnTo>
                    <a:lnTo>
                      <a:pt x="1150" y="1468"/>
                    </a:lnTo>
                    <a:lnTo>
                      <a:pt x="1164" y="1462"/>
                    </a:lnTo>
                    <a:lnTo>
                      <a:pt x="1178" y="1462"/>
                    </a:lnTo>
                    <a:lnTo>
                      <a:pt x="1178" y="1454"/>
                    </a:lnTo>
                    <a:lnTo>
                      <a:pt x="1178" y="1448"/>
                    </a:lnTo>
                    <a:lnTo>
                      <a:pt x="1178" y="1420"/>
                    </a:lnTo>
                    <a:lnTo>
                      <a:pt x="1190" y="1420"/>
                    </a:lnTo>
                    <a:lnTo>
                      <a:pt x="1198" y="1414"/>
                    </a:lnTo>
                    <a:lnTo>
                      <a:pt x="1206" y="1400"/>
                    </a:lnTo>
                    <a:lnTo>
                      <a:pt x="1218" y="1386"/>
                    </a:lnTo>
                    <a:lnTo>
                      <a:pt x="1226" y="1374"/>
                    </a:lnTo>
                    <a:lnTo>
                      <a:pt x="1226" y="1366"/>
                    </a:lnTo>
                    <a:lnTo>
                      <a:pt x="1226" y="1360"/>
                    </a:lnTo>
                    <a:lnTo>
                      <a:pt x="1232" y="1360"/>
                    </a:lnTo>
                    <a:lnTo>
                      <a:pt x="1240" y="1366"/>
                    </a:lnTo>
                    <a:lnTo>
                      <a:pt x="1246" y="1374"/>
                    </a:lnTo>
                    <a:lnTo>
                      <a:pt x="1260" y="1366"/>
                    </a:lnTo>
                    <a:lnTo>
                      <a:pt x="1266" y="1352"/>
                    </a:lnTo>
                    <a:lnTo>
                      <a:pt x="1274" y="1338"/>
                    </a:lnTo>
                    <a:lnTo>
                      <a:pt x="1286" y="1332"/>
                    </a:lnTo>
                    <a:lnTo>
                      <a:pt x="1294" y="1332"/>
                    </a:lnTo>
                    <a:lnTo>
                      <a:pt x="1308" y="1346"/>
                    </a:lnTo>
                    <a:lnTo>
                      <a:pt x="1308" y="1338"/>
                    </a:lnTo>
                    <a:lnTo>
                      <a:pt x="1314" y="1326"/>
                    </a:lnTo>
                    <a:lnTo>
                      <a:pt x="1322" y="1326"/>
                    </a:lnTo>
                    <a:lnTo>
                      <a:pt x="1334" y="1326"/>
                    </a:lnTo>
                    <a:lnTo>
                      <a:pt x="1342" y="1332"/>
                    </a:lnTo>
                    <a:lnTo>
                      <a:pt x="1356" y="1338"/>
                    </a:lnTo>
                    <a:lnTo>
                      <a:pt x="1377" y="1338"/>
                    </a:lnTo>
                    <a:lnTo>
                      <a:pt x="1383" y="1346"/>
                    </a:lnTo>
                    <a:lnTo>
                      <a:pt x="1397" y="1346"/>
                    </a:lnTo>
                    <a:lnTo>
                      <a:pt x="1405" y="1346"/>
                    </a:lnTo>
                    <a:lnTo>
                      <a:pt x="1411" y="1352"/>
                    </a:lnTo>
                    <a:lnTo>
                      <a:pt x="1411" y="1338"/>
                    </a:lnTo>
                    <a:lnTo>
                      <a:pt x="1405" y="1332"/>
                    </a:lnTo>
                    <a:lnTo>
                      <a:pt x="1405" y="1326"/>
                    </a:lnTo>
                    <a:lnTo>
                      <a:pt x="1411" y="1326"/>
                    </a:lnTo>
                    <a:lnTo>
                      <a:pt x="1445" y="1332"/>
                    </a:lnTo>
                    <a:lnTo>
                      <a:pt x="1467" y="1338"/>
                    </a:lnTo>
                    <a:lnTo>
                      <a:pt x="1473" y="1326"/>
                    </a:lnTo>
                    <a:lnTo>
                      <a:pt x="1473" y="1318"/>
                    </a:lnTo>
                    <a:lnTo>
                      <a:pt x="1473" y="1312"/>
                    </a:lnTo>
                    <a:lnTo>
                      <a:pt x="1479" y="1312"/>
                    </a:lnTo>
                    <a:lnTo>
                      <a:pt x="1479" y="1304"/>
                    </a:lnTo>
                    <a:lnTo>
                      <a:pt x="1473" y="1298"/>
                    </a:lnTo>
                    <a:lnTo>
                      <a:pt x="1487" y="1298"/>
                    </a:lnTo>
                    <a:lnTo>
                      <a:pt x="1501" y="1298"/>
                    </a:lnTo>
                    <a:lnTo>
                      <a:pt x="1493" y="1284"/>
                    </a:lnTo>
                    <a:lnTo>
                      <a:pt x="1501" y="1284"/>
                    </a:lnTo>
                    <a:lnTo>
                      <a:pt x="1507" y="1276"/>
                    </a:lnTo>
                    <a:lnTo>
                      <a:pt x="1521" y="1284"/>
                    </a:lnTo>
                    <a:lnTo>
                      <a:pt x="1535" y="1284"/>
                    </a:lnTo>
                    <a:lnTo>
                      <a:pt x="1535" y="1270"/>
                    </a:lnTo>
                    <a:lnTo>
                      <a:pt x="1547" y="1270"/>
                    </a:lnTo>
                    <a:lnTo>
                      <a:pt x="1541" y="1256"/>
                    </a:lnTo>
                    <a:lnTo>
                      <a:pt x="1547" y="1250"/>
                    </a:lnTo>
                    <a:lnTo>
                      <a:pt x="1555" y="1244"/>
                    </a:lnTo>
                    <a:lnTo>
                      <a:pt x="1569" y="1236"/>
                    </a:lnTo>
                    <a:lnTo>
                      <a:pt x="1575" y="1244"/>
                    </a:lnTo>
                    <a:lnTo>
                      <a:pt x="1581" y="1256"/>
                    </a:lnTo>
                    <a:lnTo>
                      <a:pt x="1595" y="1256"/>
                    </a:lnTo>
                    <a:lnTo>
                      <a:pt x="1623" y="1250"/>
                    </a:lnTo>
                    <a:lnTo>
                      <a:pt x="1629" y="1250"/>
                    </a:lnTo>
                    <a:lnTo>
                      <a:pt x="1637" y="1250"/>
                    </a:lnTo>
                    <a:lnTo>
                      <a:pt x="1637" y="1244"/>
                    </a:lnTo>
                    <a:lnTo>
                      <a:pt x="1637" y="1230"/>
                    </a:lnTo>
                    <a:lnTo>
                      <a:pt x="1649" y="1222"/>
                    </a:lnTo>
                    <a:lnTo>
                      <a:pt x="1671" y="1216"/>
                    </a:lnTo>
                    <a:lnTo>
                      <a:pt x="1691" y="1196"/>
                    </a:lnTo>
                    <a:lnTo>
                      <a:pt x="1699" y="1190"/>
                    </a:lnTo>
                    <a:lnTo>
                      <a:pt x="1699" y="1174"/>
                    </a:lnTo>
                    <a:lnTo>
                      <a:pt x="1691" y="1162"/>
                    </a:lnTo>
                    <a:lnTo>
                      <a:pt x="1677" y="1148"/>
                    </a:lnTo>
                    <a:lnTo>
                      <a:pt x="1671" y="1148"/>
                    </a:lnTo>
                    <a:lnTo>
                      <a:pt x="1665" y="1154"/>
                    </a:lnTo>
                    <a:lnTo>
                      <a:pt x="1649" y="1162"/>
                    </a:lnTo>
                    <a:lnTo>
                      <a:pt x="1629" y="1162"/>
                    </a:lnTo>
                    <a:lnTo>
                      <a:pt x="1617" y="1162"/>
                    </a:lnTo>
                    <a:lnTo>
                      <a:pt x="1609" y="1162"/>
                    </a:lnTo>
                    <a:lnTo>
                      <a:pt x="1589" y="1154"/>
                    </a:lnTo>
                    <a:lnTo>
                      <a:pt x="1589" y="1148"/>
                    </a:lnTo>
                    <a:lnTo>
                      <a:pt x="1581" y="1134"/>
                    </a:lnTo>
                    <a:lnTo>
                      <a:pt x="1575" y="1134"/>
                    </a:lnTo>
                    <a:lnTo>
                      <a:pt x="1569" y="1134"/>
                    </a:lnTo>
                    <a:lnTo>
                      <a:pt x="1555" y="1148"/>
                    </a:lnTo>
                    <a:lnTo>
                      <a:pt x="1547" y="1154"/>
                    </a:lnTo>
                    <a:lnTo>
                      <a:pt x="1535" y="1154"/>
                    </a:lnTo>
                    <a:lnTo>
                      <a:pt x="1521" y="1142"/>
                    </a:lnTo>
                    <a:lnTo>
                      <a:pt x="1507" y="1120"/>
                    </a:lnTo>
                    <a:lnTo>
                      <a:pt x="1507" y="1106"/>
                    </a:lnTo>
                    <a:lnTo>
                      <a:pt x="1507" y="1100"/>
                    </a:lnTo>
                    <a:lnTo>
                      <a:pt x="1501" y="1094"/>
                    </a:lnTo>
                    <a:lnTo>
                      <a:pt x="1493" y="1086"/>
                    </a:lnTo>
                    <a:lnTo>
                      <a:pt x="1493" y="1080"/>
                    </a:lnTo>
                    <a:lnTo>
                      <a:pt x="1479" y="1066"/>
                    </a:lnTo>
                    <a:lnTo>
                      <a:pt x="1479" y="1038"/>
                    </a:lnTo>
                    <a:lnTo>
                      <a:pt x="1487" y="1018"/>
                    </a:lnTo>
                    <a:lnTo>
                      <a:pt x="1479" y="1012"/>
                    </a:lnTo>
                    <a:lnTo>
                      <a:pt x="1467" y="1004"/>
                    </a:lnTo>
                    <a:lnTo>
                      <a:pt x="1467" y="984"/>
                    </a:lnTo>
                    <a:lnTo>
                      <a:pt x="1467" y="970"/>
                    </a:lnTo>
                    <a:lnTo>
                      <a:pt x="1459" y="976"/>
                    </a:lnTo>
                    <a:lnTo>
                      <a:pt x="1459" y="984"/>
                    </a:lnTo>
                    <a:lnTo>
                      <a:pt x="1445" y="1012"/>
                    </a:lnTo>
                    <a:lnTo>
                      <a:pt x="1431" y="1032"/>
                    </a:lnTo>
                    <a:lnTo>
                      <a:pt x="1411" y="1038"/>
                    </a:lnTo>
                    <a:lnTo>
                      <a:pt x="1391" y="1046"/>
                    </a:lnTo>
                    <a:lnTo>
                      <a:pt x="1377" y="1052"/>
                    </a:lnTo>
                    <a:lnTo>
                      <a:pt x="1356" y="1024"/>
                    </a:lnTo>
                    <a:lnTo>
                      <a:pt x="1356" y="1004"/>
                    </a:lnTo>
                    <a:lnTo>
                      <a:pt x="1370" y="998"/>
                    </a:lnTo>
                    <a:lnTo>
                      <a:pt x="1391" y="992"/>
                    </a:lnTo>
                    <a:lnTo>
                      <a:pt x="1397" y="998"/>
                    </a:lnTo>
                    <a:lnTo>
                      <a:pt x="1405" y="1004"/>
                    </a:lnTo>
                    <a:lnTo>
                      <a:pt x="1411" y="998"/>
                    </a:lnTo>
                    <a:lnTo>
                      <a:pt x="1411" y="984"/>
                    </a:lnTo>
                    <a:lnTo>
                      <a:pt x="1411" y="976"/>
                    </a:lnTo>
                    <a:lnTo>
                      <a:pt x="1419" y="962"/>
                    </a:lnTo>
                    <a:lnTo>
                      <a:pt x="1425" y="950"/>
                    </a:lnTo>
                    <a:lnTo>
                      <a:pt x="1419" y="936"/>
                    </a:lnTo>
                    <a:lnTo>
                      <a:pt x="1405" y="930"/>
                    </a:lnTo>
                    <a:lnTo>
                      <a:pt x="1405" y="922"/>
                    </a:lnTo>
                    <a:lnTo>
                      <a:pt x="1397" y="922"/>
                    </a:lnTo>
                    <a:lnTo>
                      <a:pt x="1391" y="930"/>
                    </a:lnTo>
                    <a:lnTo>
                      <a:pt x="1377" y="930"/>
                    </a:lnTo>
                    <a:lnTo>
                      <a:pt x="1370" y="930"/>
                    </a:lnTo>
                    <a:lnTo>
                      <a:pt x="1362" y="936"/>
                    </a:lnTo>
                    <a:lnTo>
                      <a:pt x="1334" y="950"/>
                    </a:lnTo>
                    <a:lnTo>
                      <a:pt x="1322" y="950"/>
                    </a:lnTo>
                    <a:lnTo>
                      <a:pt x="1314" y="930"/>
                    </a:lnTo>
                    <a:lnTo>
                      <a:pt x="1300" y="908"/>
                    </a:lnTo>
                    <a:lnTo>
                      <a:pt x="1294" y="902"/>
                    </a:lnTo>
                    <a:lnTo>
                      <a:pt x="1300" y="896"/>
                    </a:lnTo>
                    <a:lnTo>
                      <a:pt x="1308" y="896"/>
                    </a:lnTo>
                    <a:lnTo>
                      <a:pt x="1308" y="874"/>
                    </a:lnTo>
                    <a:lnTo>
                      <a:pt x="1300" y="854"/>
                    </a:lnTo>
                    <a:lnTo>
                      <a:pt x="1286" y="834"/>
                    </a:lnTo>
                    <a:lnTo>
                      <a:pt x="1294" y="820"/>
                    </a:lnTo>
                    <a:lnTo>
                      <a:pt x="1300" y="812"/>
                    </a:lnTo>
                    <a:lnTo>
                      <a:pt x="1308" y="812"/>
                    </a:lnTo>
                    <a:lnTo>
                      <a:pt x="1308" y="806"/>
                    </a:lnTo>
                    <a:lnTo>
                      <a:pt x="1300" y="794"/>
                    </a:lnTo>
                    <a:lnTo>
                      <a:pt x="1300" y="786"/>
                    </a:lnTo>
                    <a:lnTo>
                      <a:pt x="1300" y="766"/>
                    </a:lnTo>
                    <a:lnTo>
                      <a:pt x="1300" y="758"/>
                    </a:lnTo>
                    <a:lnTo>
                      <a:pt x="1286" y="758"/>
                    </a:lnTo>
                    <a:lnTo>
                      <a:pt x="1286" y="746"/>
                    </a:lnTo>
                    <a:lnTo>
                      <a:pt x="1280" y="732"/>
                    </a:lnTo>
                    <a:lnTo>
                      <a:pt x="1274" y="724"/>
                    </a:lnTo>
                    <a:lnTo>
                      <a:pt x="1266" y="710"/>
                    </a:lnTo>
                    <a:lnTo>
                      <a:pt x="1260" y="710"/>
                    </a:lnTo>
                    <a:lnTo>
                      <a:pt x="1260" y="704"/>
                    </a:lnTo>
                    <a:lnTo>
                      <a:pt x="1252" y="698"/>
                    </a:lnTo>
                    <a:lnTo>
                      <a:pt x="1246" y="704"/>
                    </a:lnTo>
                    <a:lnTo>
                      <a:pt x="1240" y="684"/>
                    </a:lnTo>
                    <a:lnTo>
                      <a:pt x="1226" y="656"/>
                    </a:lnTo>
                    <a:lnTo>
                      <a:pt x="1218" y="630"/>
                    </a:lnTo>
                    <a:lnTo>
                      <a:pt x="1212" y="616"/>
                    </a:lnTo>
                    <a:lnTo>
                      <a:pt x="1190" y="602"/>
                    </a:lnTo>
                    <a:lnTo>
                      <a:pt x="1190" y="582"/>
                    </a:lnTo>
                    <a:lnTo>
                      <a:pt x="1184" y="574"/>
                    </a:lnTo>
                    <a:lnTo>
                      <a:pt x="1170" y="560"/>
                    </a:lnTo>
                    <a:lnTo>
                      <a:pt x="1170" y="548"/>
                    </a:lnTo>
                    <a:lnTo>
                      <a:pt x="1164" y="532"/>
                    </a:lnTo>
                    <a:lnTo>
                      <a:pt x="1158" y="526"/>
                    </a:lnTo>
                    <a:lnTo>
                      <a:pt x="1150" y="520"/>
                    </a:lnTo>
                    <a:lnTo>
                      <a:pt x="1142" y="492"/>
                    </a:lnTo>
                    <a:lnTo>
                      <a:pt x="1136" y="486"/>
                    </a:lnTo>
                    <a:lnTo>
                      <a:pt x="1122" y="480"/>
                    </a:lnTo>
                    <a:lnTo>
                      <a:pt x="1122" y="472"/>
                    </a:lnTo>
                    <a:lnTo>
                      <a:pt x="1110" y="466"/>
                    </a:lnTo>
                    <a:lnTo>
                      <a:pt x="1102" y="458"/>
                    </a:lnTo>
                    <a:lnTo>
                      <a:pt x="1096" y="424"/>
                    </a:lnTo>
                    <a:lnTo>
                      <a:pt x="1088" y="424"/>
                    </a:lnTo>
                    <a:lnTo>
                      <a:pt x="1088" y="410"/>
                    </a:lnTo>
                    <a:lnTo>
                      <a:pt x="1082" y="396"/>
                    </a:lnTo>
                    <a:lnTo>
                      <a:pt x="1082" y="404"/>
                    </a:lnTo>
                    <a:lnTo>
                      <a:pt x="1074" y="390"/>
                    </a:lnTo>
                    <a:lnTo>
                      <a:pt x="1074" y="376"/>
                    </a:lnTo>
                    <a:lnTo>
                      <a:pt x="1068" y="370"/>
                    </a:lnTo>
                    <a:lnTo>
                      <a:pt x="1062" y="356"/>
                    </a:lnTo>
                    <a:lnTo>
                      <a:pt x="1054" y="344"/>
                    </a:lnTo>
                    <a:lnTo>
                      <a:pt x="1040" y="344"/>
                    </a:lnTo>
                    <a:lnTo>
                      <a:pt x="1040" y="336"/>
                    </a:lnTo>
                    <a:lnTo>
                      <a:pt x="1040" y="330"/>
                    </a:lnTo>
                    <a:lnTo>
                      <a:pt x="1054" y="330"/>
                    </a:lnTo>
                    <a:lnTo>
                      <a:pt x="1062" y="322"/>
                    </a:lnTo>
                    <a:lnTo>
                      <a:pt x="1062" y="294"/>
                    </a:lnTo>
                    <a:lnTo>
                      <a:pt x="1062" y="274"/>
                    </a:lnTo>
                    <a:lnTo>
                      <a:pt x="1062" y="260"/>
                    </a:lnTo>
                    <a:lnTo>
                      <a:pt x="1068" y="260"/>
                    </a:lnTo>
                    <a:lnTo>
                      <a:pt x="1074" y="240"/>
                    </a:lnTo>
                    <a:lnTo>
                      <a:pt x="1074" y="212"/>
                    </a:lnTo>
                    <a:lnTo>
                      <a:pt x="1062" y="178"/>
                    </a:lnTo>
                    <a:lnTo>
                      <a:pt x="1068" y="164"/>
                    </a:lnTo>
                    <a:lnTo>
                      <a:pt x="1082" y="152"/>
                    </a:lnTo>
                    <a:lnTo>
                      <a:pt x="1088" y="138"/>
                    </a:lnTo>
                    <a:lnTo>
                      <a:pt x="1082" y="118"/>
                    </a:lnTo>
                    <a:lnTo>
                      <a:pt x="1082" y="96"/>
                    </a:lnTo>
                    <a:lnTo>
                      <a:pt x="1074" y="82"/>
                    </a:lnTo>
                    <a:lnTo>
                      <a:pt x="1062" y="76"/>
                    </a:lnTo>
                    <a:lnTo>
                      <a:pt x="1068" y="62"/>
                    </a:lnTo>
                    <a:lnTo>
                      <a:pt x="1062" y="62"/>
                    </a:lnTo>
                    <a:lnTo>
                      <a:pt x="1054" y="56"/>
                    </a:lnTo>
                    <a:lnTo>
                      <a:pt x="1046" y="56"/>
                    </a:lnTo>
                    <a:lnTo>
                      <a:pt x="1040" y="68"/>
                    </a:lnTo>
                    <a:lnTo>
                      <a:pt x="1034" y="68"/>
                    </a:lnTo>
                    <a:lnTo>
                      <a:pt x="1028" y="56"/>
                    </a:lnTo>
                    <a:lnTo>
                      <a:pt x="1020" y="48"/>
                    </a:lnTo>
                    <a:lnTo>
                      <a:pt x="1014" y="48"/>
                    </a:lnTo>
                    <a:lnTo>
                      <a:pt x="1006" y="42"/>
                    </a:lnTo>
                    <a:lnTo>
                      <a:pt x="1006" y="30"/>
                    </a:lnTo>
                    <a:lnTo>
                      <a:pt x="1000" y="30"/>
                    </a:lnTo>
                    <a:lnTo>
                      <a:pt x="986" y="30"/>
                    </a:lnTo>
                    <a:lnTo>
                      <a:pt x="980" y="36"/>
                    </a:lnTo>
                    <a:lnTo>
                      <a:pt x="972" y="36"/>
                    </a:lnTo>
                    <a:lnTo>
                      <a:pt x="966" y="36"/>
                    </a:lnTo>
                    <a:lnTo>
                      <a:pt x="960" y="22"/>
                    </a:lnTo>
                    <a:lnTo>
                      <a:pt x="952" y="16"/>
                    </a:lnTo>
                    <a:lnTo>
                      <a:pt x="960" y="8"/>
                    </a:lnTo>
                    <a:lnTo>
                      <a:pt x="960" y="0"/>
                    </a:lnTo>
                    <a:lnTo>
                      <a:pt x="952" y="0"/>
                    </a:lnTo>
                    <a:lnTo>
                      <a:pt x="924" y="0"/>
                    </a:lnTo>
                    <a:lnTo>
                      <a:pt x="898" y="16"/>
                    </a:lnTo>
                    <a:lnTo>
                      <a:pt x="884" y="22"/>
                    </a:lnTo>
                    <a:lnTo>
                      <a:pt x="864" y="22"/>
                    </a:lnTo>
                    <a:lnTo>
                      <a:pt x="848" y="22"/>
                    </a:lnTo>
                    <a:lnTo>
                      <a:pt x="856" y="30"/>
                    </a:lnTo>
                    <a:lnTo>
                      <a:pt x="856" y="48"/>
                    </a:lnTo>
                    <a:lnTo>
                      <a:pt x="848" y="56"/>
                    </a:lnTo>
                    <a:lnTo>
                      <a:pt x="856" y="62"/>
                    </a:lnTo>
                    <a:lnTo>
                      <a:pt x="864" y="68"/>
                    </a:lnTo>
                    <a:lnTo>
                      <a:pt x="870" y="82"/>
                    </a:lnTo>
                    <a:lnTo>
                      <a:pt x="884" y="82"/>
                    </a:lnTo>
                    <a:lnTo>
                      <a:pt x="890" y="90"/>
                    </a:lnTo>
                    <a:lnTo>
                      <a:pt x="876" y="102"/>
                    </a:lnTo>
                    <a:lnTo>
                      <a:pt x="870" y="124"/>
                    </a:lnTo>
                    <a:lnTo>
                      <a:pt x="876" y="124"/>
                    </a:lnTo>
                    <a:lnTo>
                      <a:pt x="884" y="132"/>
                    </a:lnTo>
                    <a:lnTo>
                      <a:pt x="870" y="144"/>
                    </a:lnTo>
                    <a:lnTo>
                      <a:pt x="856" y="144"/>
                    </a:lnTo>
                    <a:lnTo>
                      <a:pt x="842" y="132"/>
                    </a:lnTo>
                    <a:lnTo>
                      <a:pt x="848" y="124"/>
                    </a:lnTo>
                    <a:lnTo>
                      <a:pt x="842" y="110"/>
                    </a:lnTo>
                    <a:lnTo>
                      <a:pt x="836" y="102"/>
                    </a:lnTo>
                    <a:lnTo>
                      <a:pt x="828" y="110"/>
                    </a:lnTo>
                    <a:lnTo>
                      <a:pt x="822" y="124"/>
                    </a:lnTo>
                    <a:lnTo>
                      <a:pt x="822" y="132"/>
                    </a:lnTo>
                    <a:lnTo>
                      <a:pt x="822" y="144"/>
                    </a:lnTo>
                    <a:lnTo>
                      <a:pt x="822" y="152"/>
                    </a:lnTo>
                    <a:lnTo>
                      <a:pt x="816" y="164"/>
                    </a:lnTo>
                    <a:lnTo>
                      <a:pt x="794" y="164"/>
                    </a:lnTo>
                    <a:lnTo>
                      <a:pt x="780" y="164"/>
                    </a:lnTo>
                    <a:lnTo>
                      <a:pt x="780" y="172"/>
                    </a:lnTo>
                    <a:lnTo>
                      <a:pt x="774" y="198"/>
                    </a:lnTo>
                    <a:lnTo>
                      <a:pt x="774" y="204"/>
                    </a:lnTo>
                    <a:lnTo>
                      <a:pt x="760" y="220"/>
                    </a:lnTo>
                    <a:lnTo>
                      <a:pt x="760" y="226"/>
                    </a:lnTo>
                    <a:lnTo>
                      <a:pt x="760" y="232"/>
                    </a:lnTo>
                    <a:lnTo>
                      <a:pt x="751" y="226"/>
                    </a:lnTo>
                    <a:lnTo>
                      <a:pt x="745" y="220"/>
                    </a:lnTo>
                    <a:lnTo>
                      <a:pt x="733" y="240"/>
                    </a:lnTo>
                    <a:lnTo>
                      <a:pt x="733" y="226"/>
                    </a:lnTo>
                    <a:lnTo>
                      <a:pt x="733" y="212"/>
                    </a:lnTo>
                    <a:lnTo>
                      <a:pt x="739" y="204"/>
                    </a:lnTo>
                    <a:lnTo>
                      <a:pt x="733" y="198"/>
                    </a:lnTo>
                    <a:lnTo>
                      <a:pt x="733" y="186"/>
                    </a:lnTo>
                    <a:lnTo>
                      <a:pt x="725" y="186"/>
                    </a:lnTo>
                    <a:lnTo>
                      <a:pt x="717" y="186"/>
                    </a:lnTo>
                    <a:lnTo>
                      <a:pt x="711" y="178"/>
                    </a:lnTo>
                    <a:lnTo>
                      <a:pt x="705" y="198"/>
                    </a:lnTo>
                    <a:lnTo>
                      <a:pt x="711" y="198"/>
                    </a:lnTo>
                    <a:lnTo>
                      <a:pt x="711" y="212"/>
                    </a:lnTo>
                    <a:lnTo>
                      <a:pt x="705" y="212"/>
                    </a:lnTo>
                    <a:lnTo>
                      <a:pt x="705" y="204"/>
                    </a:lnTo>
                    <a:lnTo>
                      <a:pt x="697" y="204"/>
                    </a:lnTo>
                    <a:lnTo>
                      <a:pt x="697" y="212"/>
                    </a:lnTo>
                    <a:lnTo>
                      <a:pt x="697" y="220"/>
                    </a:lnTo>
                    <a:lnTo>
                      <a:pt x="711" y="240"/>
                    </a:lnTo>
                    <a:lnTo>
                      <a:pt x="697" y="240"/>
                    </a:lnTo>
                    <a:lnTo>
                      <a:pt x="691" y="232"/>
                    </a:lnTo>
                    <a:lnTo>
                      <a:pt x="691" y="226"/>
                    </a:lnTo>
                    <a:lnTo>
                      <a:pt x="683" y="232"/>
                    </a:lnTo>
                    <a:lnTo>
                      <a:pt x="677" y="246"/>
                    </a:lnTo>
                    <a:lnTo>
                      <a:pt x="671" y="246"/>
                    </a:lnTo>
                    <a:lnTo>
                      <a:pt x="657" y="274"/>
                    </a:lnTo>
                    <a:lnTo>
                      <a:pt x="649" y="280"/>
                    </a:lnTo>
                    <a:lnTo>
                      <a:pt x="643" y="288"/>
                    </a:lnTo>
                    <a:lnTo>
                      <a:pt x="649" y="294"/>
                    </a:lnTo>
                    <a:lnTo>
                      <a:pt x="657" y="302"/>
                    </a:lnTo>
                    <a:lnTo>
                      <a:pt x="643" y="316"/>
                    </a:lnTo>
                    <a:lnTo>
                      <a:pt x="635" y="322"/>
                    </a:lnTo>
                    <a:lnTo>
                      <a:pt x="629" y="322"/>
                    </a:lnTo>
                    <a:lnTo>
                      <a:pt x="643" y="336"/>
                    </a:lnTo>
                    <a:lnTo>
                      <a:pt x="643" y="348"/>
                    </a:lnTo>
                    <a:lnTo>
                      <a:pt x="643" y="362"/>
                    </a:lnTo>
                    <a:lnTo>
                      <a:pt x="643" y="370"/>
                    </a:lnTo>
                    <a:lnTo>
                      <a:pt x="635" y="376"/>
                    </a:lnTo>
                    <a:lnTo>
                      <a:pt x="623" y="382"/>
                    </a:lnTo>
                    <a:lnTo>
                      <a:pt x="601" y="390"/>
                    </a:lnTo>
                    <a:lnTo>
                      <a:pt x="595" y="396"/>
                    </a:lnTo>
                    <a:lnTo>
                      <a:pt x="573" y="382"/>
                    </a:lnTo>
                    <a:lnTo>
                      <a:pt x="561" y="376"/>
                    </a:lnTo>
                    <a:lnTo>
                      <a:pt x="547" y="376"/>
                    </a:lnTo>
                    <a:lnTo>
                      <a:pt x="533" y="370"/>
                    </a:lnTo>
                    <a:lnTo>
                      <a:pt x="533" y="362"/>
                    </a:lnTo>
                    <a:lnTo>
                      <a:pt x="533" y="348"/>
                    </a:lnTo>
                    <a:lnTo>
                      <a:pt x="533" y="344"/>
                    </a:lnTo>
                    <a:lnTo>
                      <a:pt x="553" y="336"/>
                    </a:lnTo>
                    <a:lnTo>
                      <a:pt x="553" y="330"/>
                    </a:lnTo>
                    <a:lnTo>
                      <a:pt x="567" y="330"/>
                    </a:lnTo>
                    <a:lnTo>
                      <a:pt x="573" y="322"/>
                    </a:lnTo>
                    <a:lnTo>
                      <a:pt x="561" y="316"/>
                    </a:lnTo>
                    <a:lnTo>
                      <a:pt x="553" y="308"/>
                    </a:lnTo>
                    <a:lnTo>
                      <a:pt x="547" y="302"/>
                    </a:lnTo>
                    <a:lnTo>
                      <a:pt x="533" y="302"/>
                    </a:lnTo>
                    <a:lnTo>
                      <a:pt x="527" y="288"/>
                    </a:lnTo>
                    <a:lnTo>
                      <a:pt x="521" y="288"/>
                    </a:lnTo>
                    <a:lnTo>
                      <a:pt x="499" y="294"/>
                    </a:lnTo>
                    <a:lnTo>
                      <a:pt x="485" y="294"/>
                    </a:lnTo>
                    <a:lnTo>
                      <a:pt x="485" y="302"/>
                    </a:lnTo>
                    <a:lnTo>
                      <a:pt x="471" y="302"/>
                    </a:lnTo>
                    <a:lnTo>
                      <a:pt x="485" y="308"/>
                    </a:lnTo>
                    <a:lnTo>
                      <a:pt x="491" y="316"/>
                    </a:lnTo>
                    <a:lnTo>
                      <a:pt x="499" y="322"/>
                    </a:lnTo>
                    <a:lnTo>
                      <a:pt x="499" y="330"/>
                    </a:lnTo>
                    <a:lnTo>
                      <a:pt x="499" y="344"/>
                    </a:lnTo>
                    <a:lnTo>
                      <a:pt x="505" y="348"/>
                    </a:lnTo>
                    <a:lnTo>
                      <a:pt x="505" y="356"/>
                    </a:lnTo>
                    <a:lnTo>
                      <a:pt x="511" y="356"/>
                    </a:lnTo>
                    <a:lnTo>
                      <a:pt x="505" y="370"/>
                    </a:lnTo>
                    <a:lnTo>
                      <a:pt x="505" y="376"/>
                    </a:lnTo>
                    <a:lnTo>
                      <a:pt x="505" y="396"/>
                    </a:lnTo>
                    <a:lnTo>
                      <a:pt x="521" y="396"/>
                    </a:lnTo>
                    <a:lnTo>
                      <a:pt x="533" y="396"/>
                    </a:lnTo>
                    <a:lnTo>
                      <a:pt x="539" y="404"/>
                    </a:lnTo>
                    <a:lnTo>
                      <a:pt x="539" y="410"/>
                    </a:lnTo>
                    <a:lnTo>
                      <a:pt x="547" y="418"/>
                    </a:lnTo>
                    <a:lnTo>
                      <a:pt x="547" y="424"/>
                    </a:lnTo>
                    <a:lnTo>
                      <a:pt x="553" y="432"/>
                    </a:lnTo>
                    <a:lnTo>
                      <a:pt x="547" y="438"/>
                    </a:lnTo>
                    <a:lnTo>
                      <a:pt x="539" y="452"/>
                    </a:lnTo>
                    <a:lnTo>
                      <a:pt x="553" y="466"/>
                    </a:lnTo>
                    <a:lnTo>
                      <a:pt x="561" y="472"/>
                    </a:lnTo>
                    <a:lnTo>
                      <a:pt x="547" y="480"/>
                    </a:lnTo>
                    <a:lnTo>
                      <a:pt x="539" y="472"/>
                    </a:lnTo>
                    <a:lnTo>
                      <a:pt x="527" y="480"/>
                    </a:lnTo>
                    <a:lnTo>
                      <a:pt x="511" y="480"/>
                    </a:lnTo>
                    <a:lnTo>
                      <a:pt x="521" y="466"/>
                    </a:lnTo>
                    <a:lnTo>
                      <a:pt x="527" y="466"/>
                    </a:lnTo>
                    <a:lnTo>
                      <a:pt x="511" y="452"/>
                    </a:lnTo>
                    <a:lnTo>
                      <a:pt x="505" y="458"/>
                    </a:lnTo>
                    <a:lnTo>
                      <a:pt x="491" y="458"/>
                    </a:lnTo>
                    <a:lnTo>
                      <a:pt x="479" y="452"/>
                    </a:lnTo>
                    <a:lnTo>
                      <a:pt x="479" y="458"/>
                    </a:lnTo>
                    <a:lnTo>
                      <a:pt x="471" y="472"/>
                    </a:lnTo>
                    <a:lnTo>
                      <a:pt x="465" y="492"/>
                    </a:lnTo>
                    <a:lnTo>
                      <a:pt x="451" y="498"/>
                    </a:lnTo>
                    <a:lnTo>
                      <a:pt x="443" y="506"/>
                    </a:lnTo>
                    <a:lnTo>
                      <a:pt x="443" y="520"/>
                    </a:lnTo>
                    <a:lnTo>
                      <a:pt x="437" y="532"/>
                    </a:lnTo>
                    <a:lnTo>
                      <a:pt x="429" y="540"/>
                    </a:lnTo>
                    <a:lnTo>
                      <a:pt x="423" y="548"/>
                    </a:lnTo>
                    <a:lnTo>
                      <a:pt x="429" y="554"/>
                    </a:lnTo>
                    <a:lnTo>
                      <a:pt x="451" y="568"/>
                    </a:lnTo>
                    <a:lnTo>
                      <a:pt x="465" y="574"/>
                    </a:lnTo>
                    <a:lnTo>
                      <a:pt x="465" y="582"/>
                    </a:lnTo>
                    <a:lnTo>
                      <a:pt x="479" y="596"/>
                    </a:lnTo>
                    <a:lnTo>
                      <a:pt x="485" y="616"/>
                    </a:lnTo>
                    <a:lnTo>
                      <a:pt x="485" y="622"/>
                    </a:lnTo>
                    <a:lnTo>
                      <a:pt x="521" y="616"/>
                    </a:lnTo>
                    <a:lnTo>
                      <a:pt x="527" y="622"/>
                    </a:lnTo>
                    <a:lnTo>
                      <a:pt x="533" y="636"/>
                    </a:lnTo>
                    <a:lnTo>
                      <a:pt x="521" y="630"/>
                    </a:lnTo>
                    <a:lnTo>
                      <a:pt x="511" y="630"/>
                    </a:lnTo>
                    <a:lnTo>
                      <a:pt x="499" y="630"/>
                    </a:lnTo>
                    <a:lnTo>
                      <a:pt x="485" y="622"/>
                    </a:lnTo>
                    <a:lnTo>
                      <a:pt x="479" y="616"/>
                    </a:lnTo>
                    <a:lnTo>
                      <a:pt x="471" y="616"/>
                    </a:lnTo>
                    <a:lnTo>
                      <a:pt x="465" y="622"/>
                    </a:lnTo>
                    <a:lnTo>
                      <a:pt x="459" y="616"/>
                    </a:lnTo>
                    <a:lnTo>
                      <a:pt x="443" y="622"/>
                    </a:lnTo>
                    <a:lnTo>
                      <a:pt x="423" y="616"/>
                    </a:lnTo>
                    <a:lnTo>
                      <a:pt x="409" y="608"/>
                    </a:lnTo>
                    <a:lnTo>
                      <a:pt x="397" y="608"/>
                    </a:lnTo>
                    <a:lnTo>
                      <a:pt x="397" y="602"/>
                    </a:lnTo>
                    <a:lnTo>
                      <a:pt x="389" y="602"/>
                    </a:lnTo>
                    <a:lnTo>
                      <a:pt x="369" y="602"/>
                    </a:lnTo>
                    <a:lnTo>
                      <a:pt x="349" y="596"/>
                    </a:lnTo>
                    <a:lnTo>
                      <a:pt x="349" y="608"/>
                    </a:lnTo>
                    <a:lnTo>
                      <a:pt x="341" y="616"/>
                    </a:lnTo>
                    <a:lnTo>
                      <a:pt x="341" y="622"/>
                    </a:lnTo>
                    <a:lnTo>
                      <a:pt x="355" y="630"/>
                    </a:lnTo>
                    <a:lnTo>
                      <a:pt x="361" y="636"/>
                    </a:lnTo>
                    <a:lnTo>
                      <a:pt x="383" y="642"/>
                    </a:lnTo>
                    <a:lnTo>
                      <a:pt x="383" y="636"/>
                    </a:lnTo>
                    <a:lnTo>
                      <a:pt x="389" y="636"/>
                    </a:lnTo>
                    <a:lnTo>
                      <a:pt x="403" y="648"/>
                    </a:lnTo>
                    <a:lnTo>
                      <a:pt x="409" y="676"/>
                    </a:lnTo>
                    <a:lnTo>
                      <a:pt x="397" y="684"/>
                    </a:lnTo>
                    <a:lnTo>
                      <a:pt x="389" y="690"/>
                    </a:lnTo>
                    <a:lnTo>
                      <a:pt x="375" y="684"/>
                    </a:lnTo>
                    <a:lnTo>
                      <a:pt x="361" y="684"/>
                    </a:lnTo>
                    <a:lnTo>
                      <a:pt x="355" y="684"/>
                    </a:lnTo>
                    <a:lnTo>
                      <a:pt x="341" y="670"/>
                    </a:lnTo>
                    <a:lnTo>
                      <a:pt x="335" y="662"/>
                    </a:lnTo>
                    <a:lnTo>
                      <a:pt x="327" y="656"/>
                    </a:lnTo>
                    <a:lnTo>
                      <a:pt x="321" y="670"/>
                    </a:lnTo>
                    <a:lnTo>
                      <a:pt x="315" y="662"/>
                    </a:lnTo>
                    <a:lnTo>
                      <a:pt x="295" y="656"/>
                    </a:lnTo>
                    <a:lnTo>
                      <a:pt x="295" y="642"/>
                    </a:lnTo>
                    <a:lnTo>
                      <a:pt x="287" y="642"/>
                    </a:lnTo>
                    <a:lnTo>
                      <a:pt x="287" y="636"/>
                    </a:lnTo>
                    <a:lnTo>
                      <a:pt x="287" y="630"/>
                    </a:lnTo>
                    <a:lnTo>
                      <a:pt x="281" y="622"/>
                    </a:lnTo>
                    <a:lnTo>
                      <a:pt x="281" y="616"/>
                    </a:lnTo>
                    <a:lnTo>
                      <a:pt x="273" y="602"/>
                    </a:lnTo>
                    <a:lnTo>
                      <a:pt x="265" y="596"/>
                    </a:lnTo>
                    <a:lnTo>
                      <a:pt x="265" y="588"/>
                    </a:lnTo>
                    <a:lnTo>
                      <a:pt x="273" y="582"/>
                    </a:lnTo>
                    <a:lnTo>
                      <a:pt x="273" y="568"/>
                    </a:lnTo>
                    <a:lnTo>
                      <a:pt x="265" y="560"/>
                    </a:lnTo>
                    <a:lnTo>
                      <a:pt x="265" y="554"/>
                    </a:lnTo>
                    <a:lnTo>
                      <a:pt x="259" y="548"/>
                    </a:lnTo>
                    <a:lnTo>
                      <a:pt x="253" y="540"/>
                    </a:lnTo>
                    <a:lnTo>
                      <a:pt x="233" y="540"/>
                    </a:lnTo>
                    <a:lnTo>
                      <a:pt x="225" y="540"/>
                    </a:lnTo>
                    <a:lnTo>
                      <a:pt x="219" y="540"/>
                    </a:lnTo>
                    <a:lnTo>
                      <a:pt x="211" y="532"/>
                    </a:lnTo>
                    <a:lnTo>
                      <a:pt x="219" y="532"/>
                    </a:lnTo>
                    <a:lnTo>
                      <a:pt x="219" y="526"/>
                    </a:lnTo>
                    <a:lnTo>
                      <a:pt x="211" y="526"/>
                    </a:lnTo>
                    <a:lnTo>
                      <a:pt x="205" y="526"/>
                    </a:lnTo>
                    <a:lnTo>
                      <a:pt x="205" y="520"/>
                    </a:lnTo>
                    <a:lnTo>
                      <a:pt x="191" y="520"/>
                    </a:lnTo>
                    <a:lnTo>
                      <a:pt x="185" y="512"/>
                    </a:lnTo>
                    <a:lnTo>
                      <a:pt x="177" y="498"/>
                    </a:lnTo>
                    <a:lnTo>
                      <a:pt x="185" y="486"/>
                    </a:lnTo>
                    <a:lnTo>
                      <a:pt x="177" y="486"/>
                    </a:lnTo>
                    <a:lnTo>
                      <a:pt x="171" y="480"/>
                    </a:lnTo>
                    <a:lnTo>
                      <a:pt x="177" y="480"/>
                    </a:lnTo>
                    <a:lnTo>
                      <a:pt x="185" y="480"/>
                    </a:lnTo>
                    <a:lnTo>
                      <a:pt x="191" y="480"/>
                    </a:lnTo>
                    <a:lnTo>
                      <a:pt x="205" y="492"/>
                    </a:lnTo>
                    <a:lnTo>
                      <a:pt x="211" y="498"/>
                    </a:lnTo>
                    <a:lnTo>
                      <a:pt x="219" y="498"/>
                    </a:lnTo>
                    <a:lnTo>
                      <a:pt x="219" y="492"/>
                    </a:lnTo>
                    <a:lnTo>
                      <a:pt x="233" y="498"/>
                    </a:lnTo>
                    <a:lnTo>
                      <a:pt x="245" y="506"/>
                    </a:lnTo>
                    <a:lnTo>
                      <a:pt x="253" y="506"/>
                    </a:lnTo>
                    <a:lnTo>
                      <a:pt x="259" y="506"/>
                    </a:lnTo>
                    <a:lnTo>
                      <a:pt x="265" y="512"/>
                    </a:lnTo>
                    <a:lnTo>
                      <a:pt x="281" y="512"/>
                    </a:lnTo>
                    <a:lnTo>
                      <a:pt x="295" y="512"/>
                    </a:lnTo>
                    <a:lnTo>
                      <a:pt x="315" y="520"/>
                    </a:lnTo>
                    <a:lnTo>
                      <a:pt x="321" y="512"/>
                    </a:lnTo>
                    <a:lnTo>
                      <a:pt x="327" y="506"/>
                    </a:lnTo>
                    <a:lnTo>
                      <a:pt x="335" y="512"/>
                    </a:lnTo>
                    <a:lnTo>
                      <a:pt x="335" y="520"/>
                    </a:lnTo>
                    <a:lnTo>
                      <a:pt x="349" y="520"/>
                    </a:lnTo>
                    <a:lnTo>
                      <a:pt x="361" y="520"/>
                    </a:lnTo>
                    <a:lnTo>
                      <a:pt x="375" y="520"/>
                    </a:lnTo>
                    <a:lnTo>
                      <a:pt x="389" y="506"/>
                    </a:lnTo>
                    <a:lnTo>
                      <a:pt x="397" y="506"/>
                    </a:lnTo>
                    <a:lnTo>
                      <a:pt x="409" y="498"/>
                    </a:lnTo>
                    <a:lnTo>
                      <a:pt x="417" y="492"/>
                    </a:lnTo>
                    <a:lnTo>
                      <a:pt x="417" y="486"/>
                    </a:lnTo>
                    <a:lnTo>
                      <a:pt x="423" y="480"/>
                    </a:lnTo>
                    <a:lnTo>
                      <a:pt x="429" y="480"/>
                    </a:lnTo>
                    <a:lnTo>
                      <a:pt x="429" y="472"/>
                    </a:lnTo>
                    <a:lnTo>
                      <a:pt x="429" y="466"/>
                    </a:lnTo>
                    <a:lnTo>
                      <a:pt x="437" y="466"/>
                    </a:lnTo>
                    <a:lnTo>
                      <a:pt x="443" y="438"/>
                    </a:lnTo>
                    <a:lnTo>
                      <a:pt x="437" y="424"/>
                    </a:lnTo>
                    <a:lnTo>
                      <a:pt x="437" y="410"/>
                    </a:lnTo>
                    <a:lnTo>
                      <a:pt x="429" y="410"/>
                    </a:lnTo>
                    <a:lnTo>
                      <a:pt x="429" y="396"/>
                    </a:lnTo>
                    <a:lnTo>
                      <a:pt x="423" y="404"/>
                    </a:lnTo>
                    <a:lnTo>
                      <a:pt x="417" y="396"/>
                    </a:lnTo>
                    <a:lnTo>
                      <a:pt x="417" y="382"/>
                    </a:lnTo>
                    <a:lnTo>
                      <a:pt x="403" y="382"/>
                    </a:lnTo>
                    <a:lnTo>
                      <a:pt x="397" y="382"/>
                    </a:lnTo>
                    <a:lnTo>
                      <a:pt x="397" y="376"/>
                    </a:lnTo>
                    <a:lnTo>
                      <a:pt x="375" y="370"/>
                    </a:lnTo>
                    <a:lnTo>
                      <a:pt x="361" y="376"/>
                    </a:lnTo>
                    <a:lnTo>
                      <a:pt x="355" y="370"/>
                    </a:lnTo>
                    <a:lnTo>
                      <a:pt x="349" y="362"/>
                    </a:lnTo>
                    <a:lnTo>
                      <a:pt x="335" y="356"/>
                    </a:lnTo>
                    <a:lnTo>
                      <a:pt x="335" y="362"/>
                    </a:lnTo>
                    <a:lnTo>
                      <a:pt x="327" y="356"/>
                    </a:lnTo>
                    <a:lnTo>
                      <a:pt x="315" y="344"/>
                    </a:lnTo>
                    <a:lnTo>
                      <a:pt x="295" y="344"/>
                    </a:lnTo>
                    <a:lnTo>
                      <a:pt x="273" y="330"/>
                    </a:lnTo>
                    <a:lnTo>
                      <a:pt x="253" y="322"/>
                    </a:lnTo>
                    <a:lnTo>
                      <a:pt x="239" y="330"/>
                    </a:lnTo>
                    <a:lnTo>
                      <a:pt x="191" y="330"/>
                    </a:lnTo>
                    <a:lnTo>
                      <a:pt x="185" y="330"/>
                    </a:lnTo>
                    <a:lnTo>
                      <a:pt x="177" y="322"/>
                    </a:lnTo>
                    <a:lnTo>
                      <a:pt x="163" y="330"/>
                    </a:lnTo>
                    <a:lnTo>
                      <a:pt x="163" y="322"/>
                    </a:lnTo>
                    <a:lnTo>
                      <a:pt x="157" y="316"/>
                    </a:lnTo>
                    <a:lnTo>
                      <a:pt x="151" y="322"/>
                    </a:lnTo>
                    <a:lnTo>
                      <a:pt x="143" y="308"/>
                    </a:lnTo>
                    <a:lnTo>
                      <a:pt x="134" y="308"/>
                    </a:lnTo>
                    <a:lnTo>
                      <a:pt x="128" y="294"/>
                    </a:lnTo>
                    <a:lnTo>
                      <a:pt x="122" y="294"/>
                    </a:lnTo>
                    <a:lnTo>
                      <a:pt x="114" y="308"/>
                    </a:lnTo>
                    <a:lnTo>
                      <a:pt x="108" y="308"/>
                    </a:lnTo>
                    <a:lnTo>
                      <a:pt x="100" y="294"/>
                    </a:lnTo>
                    <a:lnTo>
                      <a:pt x="94" y="294"/>
                    </a:lnTo>
                    <a:lnTo>
                      <a:pt x="94" y="316"/>
                    </a:lnTo>
                    <a:lnTo>
                      <a:pt x="80" y="316"/>
                    </a:lnTo>
                    <a:lnTo>
                      <a:pt x="74" y="308"/>
                    </a:lnTo>
                    <a:lnTo>
                      <a:pt x="60" y="308"/>
                    </a:lnTo>
                    <a:lnTo>
                      <a:pt x="28" y="320"/>
                    </a:lnTo>
                    <a:lnTo>
                      <a:pt x="18" y="344"/>
                    </a:lnTo>
                    <a:lnTo>
                      <a:pt x="14" y="366"/>
                    </a:lnTo>
                    <a:lnTo>
                      <a:pt x="8" y="366"/>
                    </a:lnTo>
                    <a:lnTo>
                      <a:pt x="8" y="376"/>
                    </a:lnTo>
                    <a:lnTo>
                      <a:pt x="0" y="382"/>
                    </a:lnTo>
                    <a:lnTo>
                      <a:pt x="0" y="396"/>
                    </a:lnTo>
                    <a:lnTo>
                      <a:pt x="20" y="412"/>
                    </a:lnTo>
                    <a:lnTo>
                      <a:pt x="30" y="426"/>
                    </a:lnTo>
                    <a:lnTo>
                      <a:pt x="48" y="448"/>
                    </a:lnTo>
                    <a:lnTo>
                      <a:pt x="40" y="466"/>
                    </a:lnTo>
                    <a:lnTo>
                      <a:pt x="42" y="496"/>
                    </a:lnTo>
                    <a:lnTo>
                      <a:pt x="50" y="526"/>
                    </a:lnTo>
                    <a:lnTo>
                      <a:pt x="74" y="546"/>
                    </a:lnTo>
                    <a:lnTo>
                      <a:pt x="94" y="580"/>
                    </a:lnTo>
                    <a:lnTo>
                      <a:pt x="84" y="592"/>
                    </a:lnTo>
                    <a:lnTo>
                      <a:pt x="90" y="602"/>
                    </a:lnTo>
                    <a:lnTo>
                      <a:pt x="88" y="614"/>
                    </a:lnTo>
                    <a:lnTo>
                      <a:pt x="90" y="626"/>
                    </a:lnTo>
                    <a:lnTo>
                      <a:pt x="92" y="650"/>
                    </a:lnTo>
                    <a:lnTo>
                      <a:pt x="100" y="668"/>
                    </a:lnTo>
                    <a:lnTo>
                      <a:pt x="104" y="668"/>
                    </a:lnTo>
                    <a:lnTo>
                      <a:pt x="114" y="698"/>
                    </a:lnTo>
                    <a:lnTo>
                      <a:pt x="124" y="698"/>
                    </a:lnTo>
                    <a:lnTo>
                      <a:pt x="132" y="700"/>
                    </a:lnTo>
                    <a:lnTo>
                      <a:pt x="132" y="716"/>
                    </a:lnTo>
                    <a:lnTo>
                      <a:pt x="122" y="718"/>
                    </a:lnTo>
                    <a:lnTo>
                      <a:pt x="114" y="722"/>
                    </a:lnTo>
                    <a:lnTo>
                      <a:pt x="124" y="752"/>
                    </a:lnTo>
                    <a:lnTo>
                      <a:pt x="134" y="758"/>
                    </a:lnTo>
                    <a:lnTo>
                      <a:pt x="151" y="768"/>
                    </a:lnTo>
                    <a:lnTo>
                      <a:pt x="177" y="774"/>
                    </a:lnTo>
                    <a:lnTo>
                      <a:pt x="185" y="792"/>
                    </a:lnTo>
                    <a:lnTo>
                      <a:pt x="173" y="800"/>
                    </a:lnTo>
                    <a:lnTo>
                      <a:pt x="167" y="822"/>
                    </a:lnTo>
                    <a:lnTo>
                      <a:pt x="157" y="838"/>
                    </a:lnTo>
                    <a:lnTo>
                      <a:pt x="147" y="858"/>
                    </a:lnTo>
                    <a:lnTo>
                      <a:pt x="151" y="868"/>
                    </a:lnTo>
                    <a:lnTo>
                      <a:pt x="136" y="876"/>
                    </a:lnTo>
                    <a:lnTo>
                      <a:pt x="94" y="944"/>
                    </a:lnTo>
                    <a:lnTo>
                      <a:pt x="94" y="962"/>
                    </a:lnTo>
                    <a:lnTo>
                      <a:pt x="108" y="962"/>
                    </a:lnTo>
                    <a:lnTo>
                      <a:pt x="122" y="956"/>
                    </a:lnTo>
                    <a:lnTo>
                      <a:pt x="128" y="956"/>
                    </a:lnTo>
                    <a:lnTo>
                      <a:pt x="128" y="962"/>
                    </a:lnTo>
                    <a:lnTo>
                      <a:pt x="122" y="976"/>
                    </a:lnTo>
                    <a:lnTo>
                      <a:pt x="122" y="984"/>
                    </a:lnTo>
                    <a:lnTo>
                      <a:pt x="134" y="984"/>
                    </a:lnTo>
                    <a:lnTo>
                      <a:pt x="143" y="992"/>
                    </a:lnTo>
                    <a:lnTo>
                      <a:pt x="157" y="998"/>
                    </a:lnTo>
                    <a:lnTo>
                      <a:pt x="163" y="992"/>
                    </a:lnTo>
                    <a:lnTo>
                      <a:pt x="177" y="992"/>
                    </a:lnTo>
                    <a:lnTo>
                      <a:pt x="185" y="992"/>
                    </a:lnTo>
                    <a:lnTo>
                      <a:pt x="191" y="998"/>
                    </a:lnTo>
                    <a:lnTo>
                      <a:pt x="197" y="998"/>
                    </a:lnTo>
                    <a:lnTo>
                      <a:pt x="197" y="1012"/>
                    </a:lnTo>
                    <a:lnTo>
                      <a:pt x="191" y="1012"/>
                    </a:lnTo>
                    <a:lnTo>
                      <a:pt x="177" y="1012"/>
                    </a:lnTo>
                    <a:lnTo>
                      <a:pt x="163" y="1012"/>
                    </a:lnTo>
                    <a:lnTo>
                      <a:pt x="143" y="1012"/>
                    </a:lnTo>
                    <a:lnTo>
                      <a:pt x="143" y="1018"/>
                    </a:lnTo>
                    <a:lnTo>
                      <a:pt x="134" y="1018"/>
                    </a:lnTo>
                    <a:lnTo>
                      <a:pt x="134" y="1012"/>
                    </a:lnTo>
                    <a:lnTo>
                      <a:pt x="128" y="1018"/>
                    </a:lnTo>
                    <a:lnTo>
                      <a:pt x="128" y="1024"/>
                    </a:lnTo>
                    <a:lnTo>
                      <a:pt x="128" y="1032"/>
                    </a:lnTo>
                    <a:lnTo>
                      <a:pt x="128" y="1038"/>
                    </a:lnTo>
                    <a:lnTo>
                      <a:pt x="122" y="1038"/>
                    </a:lnTo>
                    <a:lnTo>
                      <a:pt x="114" y="1024"/>
                    </a:lnTo>
                    <a:lnTo>
                      <a:pt x="108" y="1032"/>
                    </a:lnTo>
                    <a:lnTo>
                      <a:pt x="108" y="1038"/>
                    </a:lnTo>
                    <a:lnTo>
                      <a:pt x="108" y="1046"/>
                    </a:lnTo>
                    <a:lnTo>
                      <a:pt x="108" y="1060"/>
                    </a:lnTo>
                    <a:lnTo>
                      <a:pt x="114" y="1066"/>
                    </a:lnTo>
                    <a:lnTo>
                      <a:pt x="114" y="1080"/>
                    </a:lnTo>
                    <a:lnTo>
                      <a:pt x="100" y="1094"/>
                    </a:lnTo>
                    <a:lnTo>
                      <a:pt x="100" y="1100"/>
                    </a:lnTo>
                    <a:lnTo>
                      <a:pt x="108" y="1106"/>
                    </a:lnTo>
                    <a:lnTo>
                      <a:pt x="100" y="1120"/>
                    </a:lnTo>
                    <a:lnTo>
                      <a:pt x="108" y="1134"/>
                    </a:lnTo>
                    <a:lnTo>
                      <a:pt x="108" y="1148"/>
                    </a:lnTo>
                    <a:lnTo>
                      <a:pt x="122" y="1154"/>
                    </a:lnTo>
                    <a:lnTo>
                      <a:pt x="128" y="1162"/>
                    </a:lnTo>
                    <a:lnTo>
                      <a:pt x="128" y="1168"/>
                    </a:lnTo>
                    <a:lnTo>
                      <a:pt x="122" y="1174"/>
                    </a:lnTo>
                    <a:lnTo>
                      <a:pt x="114" y="1168"/>
                    </a:lnTo>
                    <a:lnTo>
                      <a:pt x="108" y="1162"/>
                    </a:lnTo>
                    <a:lnTo>
                      <a:pt x="100" y="1168"/>
                    </a:lnTo>
                    <a:lnTo>
                      <a:pt x="100" y="1174"/>
                    </a:lnTo>
                    <a:lnTo>
                      <a:pt x="108" y="1182"/>
                    </a:lnTo>
                    <a:lnTo>
                      <a:pt x="114" y="1182"/>
                    </a:lnTo>
                    <a:lnTo>
                      <a:pt x="108" y="1196"/>
                    </a:lnTo>
                    <a:lnTo>
                      <a:pt x="100" y="1196"/>
                    </a:lnTo>
                    <a:lnTo>
                      <a:pt x="100" y="1196"/>
                    </a:lnTo>
                    <a:lnTo>
                      <a:pt x="100" y="1196"/>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0" name="Freeform 14"/>
              <p:cNvSpPr>
                <a:spLocks/>
              </p:cNvSpPr>
              <p:nvPr/>
            </p:nvSpPr>
            <p:spPr bwMode="gray">
              <a:xfrm>
                <a:off x="5547989" y="2155402"/>
                <a:ext cx="311219" cy="238178"/>
              </a:xfrm>
              <a:custGeom>
                <a:avLst/>
                <a:gdLst>
                  <a:gd name="T0" fmla="*/ 60 w 196"/>
                  <a:gd name="T1" fmla="*/ 122 h 150"/>
                  <a:gd name="T2" fmla="*/ 74 w 196"/>
                  <a:gd name="T3" fmla="*/ 122 h 150"/>
                  <a:gd name="T4" fmla="*/ 82 w 196"/>
                  <a:gd name="T5" fmla="*/ 116 h 150"/>
                  <a:gd name="T6" fmla="*/ 102 w 196"/>
                  <a:gd name="T7" fmla="*/ 122 h 150"/>
                  <a:gd name="T8" fmla="*/ 108 w 196"/>
                  <a:gd name="T9" fmla="*/ 136 h 150"/>
                  <a:gd name="T10" fmla="*/ 128 w 196"/>
                  <a:gd name="T11" fmla="*/ 136 h 150"/>
                  <a:gd name="T12" fmla="*/ 150 w 196"/>
                  <a:gd name="T13" fmla="*/ 144 h 150"/>
                  <a:gd name="T14" fmla="*/ 164 w 196"/>
                  <a:gd name="T15" fmla="*/ 144 h 150"/>
                  <a:gd name="T16" fmla="*/ 184 w 196"/>
                  <a:gd name="T17" fmla="*/ 130 h 150"/>
                  <a:gd name="T18" fmla="*/ 170 w 196"/>
                  <a:gd name="T19" fmla="*/ 122 h 150"/>
                  <a:gd name="T20" fmla="*/ 178 w 196"/>
                  <a:gd name="T21" fmla="*/ 110 h 150"/>
                  <a:gd name="T22" fmla="*/ 192 w 196"/>
                  <a:gd name="T23" fmla="*/ 122 h 150"/>
                  <a:gd name="T24" fmla="*/ 196 w 196"/>
                  <a:gd name="T25" fmla="*/ 110 h 150"/>
                  <a:gd name="T26" fmla="*/ 178 w 196"/>
                  <a:gd name="T27" fmla="*/ 96 h 150"/>
                  <a:gd name="T28" fmla="*/ 170 w 196"/>
                  <a:gd name="T29" fmla="*/ 68 h 150"/>
                  <a:gd name="T30" fmla="*/ 170 w 196"/>
                  <a:gd name="T31" fmla="*/ 48 h 150"/>
                  <a:gd name="T32" fmla="*/ 184 w 196"/>
                  <a:gd name="T33" fmla="*/ 28 h 150"/>
                  <a:gd name="T34" fmla="*/ 178 w 196"/>
                  <a:gd name="T35" fmla="*/ 6 h 150"/>
                  <a:gd name="T36" fmla="*/ 142 w 196"/>
                  <a:gd name="T37" fmla="*/ 6 h 150"/>
                  <a:gd name="T38" fmla="*/ 128 w 196"/>
                  <a:gd name="T39" fmla="*/ 0 h 150"/>
                  <a:gd name="T40" fmla="*/ 108 w 196"/>
                  <a:gd name="T41" fmla="*/ 6 h 150"/>
                  <a:gd name="T42" fmla="*/ 94 w 196"/>
                  <a:gd name="T43" fmla="*/ 0 h 150"/>
                  <a:gd name="T44" fmla="*/ 82 w 196"/>
                  <a:gd name="T45" fmla="*/ 0 h 150"/>
                  <a:gd name="T46" fmla="*/ 68 w 196"/>
                  <a:gd name="T47" fmla="*/ 6 h 150"/>
                  <a:gd name="T48" fmla="*/ 48 w 196"/>
                  <a:gd name="T49" fmla="*/ 6 h 150"/>
                  <a:gd name="T50" fmla="*/ 34 w 196"/>
                  <a:gd name="T51" fmla="*/ 6 h 150"/>
                  <a:gd name="T52" fmla="*/ 26 w 196"/>
                  <a:gd name="T53" fmla="*/ 14 h 150"/>
                  <a:gd name="T54" fmla="*/ 20 w 196"/>
                  <a:gd name="T55" fmla="*/ 20 h 150"/>
                  <a:gd name="T56" fmla="*/ 6 w 196"/>
                  <a:gd name="T57" fmla="*/ 20 h 150"/>
                  <a:gd name="T58" fmla="*/ 0 w 196"/>
                  <a:gd name="T59" fmla="*/ 34 h 150"/>
                  <a:gd name="T60" fmla="*/ 0 w 196"/>
                  <a:gd name="T61" fmla="*/ 48 h 150"/>
                  <a:gd name="T62" fmla="*/ 14 w 196"/>
                  <a:gd name="T63" fmla="*/ 54 h 150"/>
                  <a:gd name="T64" fmla="*/ 6 w 196"/>
                  <a:gd name="T65" fmla="*/ 62 h 150"/>
                  <a:gd name="T66" fmla="*/ 6 w 196"/>
                  <a:gd name="T67" fmla="*/ 88 h 150"/>
                  <a:gd name="T68" fmla="*/ 26 w 196"/>
                  <a:gd name="T69" fmla="*/ 102 h 150"/>
                  <a:gd name="T70" fmla="*/ 34 w 196"/>
                  <a:gd name="T71" fmla="*/ 88 h 150"/>
                  <a:gd name="T72" fmla="*/ 48 w 196"/>
                  <a:gd name="T73" fmla="*/ 96 h 150"/>
                  <a:gd name="T74" fmla="*/ 40 w 196"/>
                  <a:gd name="T75" fmla="*/ 122 h 150"/>
                  <a:gd name="T76" fmla="*/ 34 w 196"/>
                  <a:gd name="T77" fmla="*/ 130 h 150"/>
                  <a:gd name="T78" fmla="*/ 34 w 196"/>
                  <a:gd name="T79" fmla="*/ 13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6" h="150">
                    <a:moveTo>
                      <a:pt x="34" y="130"/>
                    </a:moveTo>
                    <a:lnTo>
                      <a:pt x="60" y="122"/>
                    </a:lnTo>
                    <a:lnTo>
                      <a:pt x="68" y="116"/>
                    </a:lnTo>
                    <a:lnTo>
                      <a:pt x="74" y="122"/>
                    </a:lnTo>
                    <a:lnTo>
                      <a:pt x="82" y="122"/>
                    </a:lnTo>
                    <a:lnTo>
                      <a:pt x="82" y="116"/>
                    </a:lnTo>
                    <a:lnTo>
                      <a:pt x="94" y="122"/>
                    </a:lnTo>
                    <a:lnTo>
                      <a:pt x="102" y="122"/>
                    </a:lnTo>
                    <a:lnTo>
                      <a:pt x="102" y="130"/>
                    </a:lnTo>
                    <a:lnTo>
                      <a:pt x="108" y="136"/>
                    </a:lnTo>
                    <a:lnTo>
                      <a:pt x="116" y="136"/>
                    </a:lnTo>
                    <a:lnTo>
                      <a:pt x="128" y="136"/>
                    </a:lnTo>
                    <a:lnTo>
                      <a:pt x="136" y="150"/>
                    </a:lnTo>
                    <a:lnTo>
                      <a:pt x="150" y="144"/>
                    </a:lnTo>
                    <a:lnTo>
                      <a:pt x="164" y="136"/>
                    </a:lnTo>
                    <a:lnTo>
                      <a:pt x="164" y="144"/>
                    </a:lnTo>
                    <a:lnTo>
                      <a:pt x="178" y="144"/>
                    </a:lnTo>
                    <a:lnTo>
                      <a:pt x="184" y="130"/>
                    </a:lnTo>
                    <a:lnTo>
                      <a:pt x="178" y="130"/>
                    </a:lnTo>
                    <a:lnTo>
                      <a:pt x="170" y="122"/>
                    </a:lnTo>
                    <a:lnTo>
                      <a:pt x="170" y="116"/>
                    </a:lnTo>
                    <a:lnTo>
                      <a:pt x="178" y="110"/>
                    </a:lnTo>
                    <a:lnTo>
                      <a:pt x="184" y="116"/>
                    </a:lnTo>
                    <a:lnTo>
                      <a:pt x="192" y="122"/>
                    </a:lnTo>
                    <a:lnTo>
                      <a:pt x="196" y="116"/>
                    </a:lnTo>
                    <a:lnTo>
                      <a:pt x="196" y="110"/>
                    </a:lnTo>
                    <a:lnTo>
                      <a:pt x="192" y="102"/>
                    </a:lnTo>
                    <a:lnTo>
                      <a:pt x="178" y="96"/>
                    </a:lnTo>
                    <a:lnTo>
                      <a:pt x="178" y="82"/>
                    </a:lnTo>
                    <a:lnTo>
                      <a:pt x="170" y="68"/>
                    </a:lnTo>
                    <a:lnTo>
                      <a:pt x="178" y="54"/>
                    </a:lnTo>
                    <a:lnTo>
                      <a:pt x="170" y="48"/>
                    </a:lnTo>
                    <a:lnTo>
                      <a:pt x="170" y="42"/>
                    </a:lnTo>
                    <a:lnTo>
                      <a:pt x="184" y="28"/>
                    </a:lnTo>
                    <a:lnTo>
                      <a:pt x="184" y="14"/>
                    </a:lnTo>
                    <a:lnTo>
                      <a:pt x="178" y="6"/>
                    </a:lnTo>
                    <a:lnTo>
                      <a:pt x="170" y="6"/>
                    </a:lnTo>
                    <a:lnTo>
                      <a:pt x="142" y="6"/>
                    </a:lnTo>
                    <a:lnTo>
                      <a:pt x="136" y="6"/>
                    </a:lnTo>
                    <a:lnTo>
                      <a:pt x="128" y="0"/>
                    </a:lnTo>
                    <a:lnTo>
                      <a:pt x="122" y="0"/>
                    </a:lnTo>
                    <a:lnTo>
                      <a:pt x="108" y="6"/>
                    </a:lnTo>
                    <a:lnTo>
                      <a:pt x="108" y="0"/>
                    </a:lnTo>
                    <a:lnTo>
                      <a:pt x="94" y="0"/>
                    </a:lnTo>
                    <a:lnTo>
                      <a:pt x="88" y="0"/>
                    </a:lnTo>
                    <a:lnTo>
                      <a:pt x="82" y="0"/>
                    </a:lnTo>
                    <a:lnTo>
                      <a:pt x="74" y="0"/>
                    </a:lnTo>
                    <a:lnTo>
                      <a:pt x="68" y="6"/>
                    </a:lnTo>
                    <a:lnTo>
                      <a:pt x="60" y="6"/>
                    </a:lnTo>
                    <a:lnTo>
                      <a:pt x="48" y="6"/>
                    </a:lnTo>
                    <a:lnTo>
                      <a:pt x="40" y="6"/>
                    </a:lnTo>
                    <a:lnTo>
                      <a:pt x="34" y="6"/>
                    </a:lnTo>
                    <a:lnTo>
                      <a:pt x="26" y="6"/>
                    </a:lnTo>
                    <a:lnTo>
                      <a:pt x="26" y="14"/>
                    </a:lnTo>
                    <a:lnTo>
                      <a:pt x="26" y="20"/>
                    </a:lnTo>
                    <a:lnTo>
                      <a:pt x="20" y="20"/>
                    </a:lnTo>
                    <a:lnTo>
                      <a:pt x="14" y="20"/>
                    </a:lnTo>
                    <a:lnTo>
                      <a:pt x="6" y="20"/>
                    </a:lnTo>
                    <a:lnTo>
                      <a:pt x="0" y="28"/>
                    </a:lnTo>
                    <a:lnTo>
                      <a:pt x="0" y="34"/>
                    </a:lnTo>
                    <a:lnTo>
                      <a:pt x="0" y="42"/>
                    </a:lnTo>
                    <a:lnTo>
                      <a:pt x="0" y="48"/>
                    </a:lnTo>
                    <a:lnTo>
                      <a:pt x="14" y="48"/>
                    </a:lnTo>
                    <a:lnTo>
                      <a:pt x="14" y="54"/>
                    </a:lnTo>
                    <a:lnTo>
                      <a:pt x="14" y="62"/>
                    </a:lnTo>
                    <a:lnTo>
                      <a:pt x="6" y="62"/>
                    </a:lnTo>
                    <a:lnTo>
                      <a:pt x="6" y="68"/>
                    </a:lnTo>
                    <a:lnTo>
                      <a:pt x="6" y="88"/>
                    </a:lnTo>
                    <a:lnTo>
                      <a:pt x="20" y="102"/>
                    </a:lnTo>
                    <a:lnTo>
                      <a:pt x="26" y="102"/>
                    </a:lnTo>
                    <a:lnTo>
                      <a:pt x="26" y="96"/>
                    </a:lnTo>
                    <a:lnTo>
                      <a:pt x="34" y="88"/>
                    </a:lnTo>
                    <a:lnTo>
                      <a:pt x="40" y="88"/>
                    </a:lnTo>
                    <a:lnTo>
                      <a:pt x="48" y="96"/>
                    </a:lnTo>
                    <a:lnTo>
                      <a:pt x="40" y="110"/>
                    </a:lnTo>
                    <a:lnTo>
                      <a:pt x="40" y="122"/>
                    </a:lnTo>
                    <a:lnTo>
                      <a:pt x="40" y="130"/>
                    </a:lnTo>
                    <a:lnTo>
                      <a:pt x="34" y="130"/>
                    </a:lnTo>
                    <a:lnTo>
                      <a:pt x="34" y="130"/>
                    </a:lnTo>
                    <a:lnTo>
                      <a:pt x="34" y="130"/>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1" name="Freeform 15"/>
              <p:cNvSpPr>
                <a:spLocks/>
              </p:cNvSpPr>
              <p:nvPr/>
            </p:nvSpPr>
            <p:spPr bwMode="gray">
              <a:xfrm>
                <a:off x="5382852" y="2339593"/>
                <a:ext cx="503350" cy="260408"/>
              </a:xfrm>
              <a:custGeom>
                <a:avLst/>
                <a:gdLst>
                  <a:gd name="T0" fmla="*/ 138 w 317"/>
                  <a:gd name="T1" fmla="*/ 28 h 164"/>
                  <a:gd name="T2" fmla="*/ 138 w 317"/>
                  <a:gd name="T3" fmla="*/ 48 h 164"/>
                  <a:gd name="T4" fmla="*/ 138 w 317"/>
                  <a:gd name="T5" fmla="*/ 70 h 164"/>
                  <a:gd name="T6" fmla="*/ 124 w 317"/>
                  <a:gd name="T7" fmla="*/ 82 h 164"/>
                  <a:gd name="T8" fmla="*/ 102 w 317"/>
                  <a:gd name="T9" fmla="*/ 70 h 164"/>
                  <a:gd name="T10" fmla="*/ 96 w 317"/>
                  <a:gd name="T11" fmla="*/ 48 h 164"/>
                  <a:gd name="T12" fmla="*/ 76 w 317"/>
                  <a:gd name="T13" fmla="*/ 34 h 164"/>
                  <a:gd name="T14" fmla="*/ 70 w 317"/>
                  <a:gd name="T15" fmla="*/ 22 h 164"/>
                  <a:gd name="T16" fmla="*/ 42 w 317"/>
                  <a:gd name="T17" fmla="*/ 28 h 164"/>
                  <a:gd name="T18" fmla="*/ 28 w 317"/>
                  <a:gd name="T19" fmla="*/ 34 h 164"/>
                  <a:gd name="T20" fmla="*/ 22 w 317"/>
                  <a:gd name="T21" fmla="*/ 62 h 164"/>
                  <a:gd name="T22" fmla="*/ 8 w 317"/>
                  <a:gd name="T23" fmla="*/ 90 h 164"/>
                  <a:gd name="T24" fmla="*/ 22 w 317"/>
                  <a:gd name="T25" fmla="*/ 124 h 164"/>
                  <a:gd name="T26" fmla="*/ 42 w 317"/>
                  <a:gd name="T27" fmla="*/ 116 h 164"/>
                  <a:gd name="T28" fmla="*/ 56 w 317"/>
                  <a:gd name="T29" fmla="*/ 116 h 164"/>
                  <a:gd name="T30" fmla="*/ 82 w 317"/>
                  <a:gd name="T31" fmla="*/ 116 h 164"/>
                  <a:gd name="T32" fmla="*/ 116 w 317"/>
                  <a:gd name="T33" fmla="*/ 110 h 164"/>
                  <a:gd name="T34" fmla="*/ 152 w 317"/>
                  <a:gd name="T35" fmla="*/ 110 h 164"/>
                  <a:gd name="T36" fmla="*/ 172 w 317"/>
                  <a:gd name="T37" fmla="*/ 124 h 164"/>
                  <a:gd name="T38" fmla="*/ 198 w 317"/>
                  <a:gd name="T39" fmla="*/ 130 h 164"/>
                  <a:gd name="T40" fmla="*/ 226 w 317"/>
                  <a:gd name="T41" fmla="*/ 158 h 164"/>
                  <a:gd name="T42" fmla="*/ 254 w 317"/>
                  <a:gd name="T43" fmla="*/ 164 h 164"/>
                  <a:gd name="T44" fmla="*/ 268 w 317"/>
                  <a:gd name="T45" fmla="*/ 164 h 164"/>
                  <a:gd name="T46" fmla="*/ 282 w 317"/>
                  <a:gd name="T47" fmla="*/ 164 h 164"/>
                  <a:gd name="T48" fmla="*/ 300 w 317"/>
                  <a:gd name="T49" fmla="*/ 152 h 164"/>
                  <a:gd name="T50" fmla="*/ 288 w 317"/>
                  <a:gd name="T51" fmla="*/ 138 h 164"/>
                  <a:gd name="T52" fmla="*/ 315 w 317"/>
                  <a:gd name="T53" fmla="*/ 124 h 164"/>
                  <a:gd name="T54" fmla="*/ 311 w 317"/>
                  <a:gd name="T55" fmla="*/ 110 h 164"/>
                  <a:gd name="T56" fmla="*/ 302 w 317"/>
                  <a:gd name="T57" fmla="*/ 82 h 164"/>
                  <a:gd name="T58" fmla="*/ 296 w 317"/>
                  <a:gd name="T59" fmla="*/ 76 h 164"/>
                  <a:gd name="T60" fmla="*/ 282 w 317"/>
                  <a:gd name="T61" fmla="*/ 62 h 164"/>
                  <a:gd name="T62" fmla="*/ 296 w 317"/>
                  <a:gd name="T63" fmla="*/ 48 h 164"/>
                  <a:gd name="T64" fmla="*/ 290 w 317"/>
                  <a:gd name="T65" fmla="*/ 34 h 164"/>
                  <a:gd name="T66" fmla="*/ 282 w 317"/>
                  <a:gd name="T67" fmla="*/ 34 h 164"/>
                  <a:gd name="T68" fmla="*/ 274 w 317"/>
                  <a:gd name="T69" fmla="*/ 28 h 164"/>
                  <a:gd name="T70" fmla="*/ 268 w 317"/>
                  <a:gd name="T71" fmla="*/ 28 h 164"/>
                  <a:gd name="T72" fmla="*/ 254 w 317"/>
                  <a:gd name="T73" fmla="*/ 28 h 164"/>
                  <a:gd name="T74" fmla="*/ 232 w 317"/>
                  <a:gd name="T75" fmla="*/ 22 h 164"/>
                  <a:gd name="T76" fmla="*/ 212 w 317"/>
                  <a:gd name="T77" fmla="*/ 22 h 164"/>
                  <a:gd name="T78" fmla="*/ 206 w 317"/>
                  <a:gd name="T79" fmla="*/ 6 h 164"/>
                  <a:gd name="T80" fmla="*/ 186 w 317"/>
                  <a:gd name="T81" fmla="*/ 0 h 164"/>
                  <a:gd name="T82" fmla="*/ 178 w 317"/>
                  <a:gd name="T83" fmla="*/ 6 h 164"/>
                  <a:gd name="T84" fmla="*/ 164 w 317"/>
                  <a:gd name="T85" fmla="*/ 6 h 164"/>
                  <a:gd name="T86" fmla="*/ 138 w 317"/>
                  <a:gd name="T87" fmla="*/ 22 h 164"/>
                  <a:gd name="T88" fmla="*/ 138 w 317"/>
                  <a:gd name="T89" fmla="*/ 2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7" h="164">
                    <a:moveTo>
                      <a:pt x="138" y="22"/>
                    </a:moveTo>
                    <a:lnTo>
                      <a:pt x="138" y="28"/>
                    </a:lnTo>
                    <a:lnTo>
                      <a:pt x="138" y="34"/>
                    </a:lnTo>
                    <a:lnTo>
                      <a:pt x="138" y="48"/>
                    </a:lnTo>
                    <a:lnTo>
                      <a:pt x="138" y="56"/>
                    </a:lnTo>
                    <a:lnTo>
                      <a:pt x="138" y="70"/>
                    </a:lnTo>
                    <a:lnTo>
                      <a:pt x="130" y="76"/>
                    </a:lnTo>
                    <a:lnTo>
                      <a:pt x="124" y="82"/>
                    </a:lnTo>
                    <a:lnTo>
                      <a:pt x="116" y="82"/>
                    </a:lnTo>
                    <a:lnTo>
                      <a:pt x="102" y="70"/>
                    </a:lnTo>
                    <a:lnTo>
                      <a:pt x="96" y="62"/>
                    </a:lnTo>
                    <a:lnTo>
                      <a:pt x="96" y="48"/>
                    </a:lnTo>
                    <a:lnTo>
                      <a:pt x="82" y="34"/>
                    </a:lnTo>
                    <a:lnTo>
                      <a:pt x="76" y="34"/>
                    </a:lnTo>
                    <a:lnTo>
                      <a:pt x="70" y="28"/>
                    </a:lnTo>
                    <a:lnTo>
                      <a:pt x="70" y="22"/>
                    </a:lnTo>
                    <a:lnTo>
                      <a:pt x="56" y="22"/>
                    </a:lnTo>
                    <a:lnTo>
                      <a:pt x="42" y="28"/>
                    </a:lnTo>
                    <a:lnTo>
                      <a:pt x="34" y="34"/>
                    </a:lnTo>
                    <a:lnTo>
                      <a:pt x="28" y="34"/>
                    </a:lnTo>
                    <a:lnTo>
                      <a:pt x="22" y="48"/>
                    </a:lnTo>
                    <a:lnTo>
                      <a:pt x="22" y="62"/>
                    </a:lnTo>
                    <a:lnTo>
                      <a:pt x="14" y="76"/>
                    </a:lnTo>
                    <a:lnTo>
                      <a:pt x="8" y="90"/>
                    </a:lnTo>
                    <a:lnTo>
                      <a:pt x="0" y="130"/>
                    </a:lnTo>
                    <a:lnTo>
                      <a:pt x="22" y="124"/>
                    </a:lnTo>
                    <a:lnTo>
                      <a:pt x="34" y="124"/>
                    </a:lnTo>
                    <a:lnTo>
                      <a:pt x="42" y="116"/>
                    </a:lnTo>
                    <a:lnTo>
                      <a:pt x="48" y="116"/>
                    </a:lnTo>
                    <a:lnTo>
                      <a:pt x="56" y="116"/>
                    </a:lnTo>
                    <a:lnTo>
                      <a:pt x="76" y="116"/>
                    </a:lnTo>
                    <a:lnTo>
                      <a:pt x="82" y="116"/>
                    </a:lnTo>
                    <a:lnTo>
                      <a:pt x="96" y="110"/>
                    </a:lnTo>
                    <a:lnTo>
                      <a:pt x="116" y="110"/>
                    </a:lnTo>
                    <a:lnTo>
                      <a:pt x="138" y="116"/>
                    </a:lnTo>
                    <a:lnTo>
                      <a:pt x="152" y="110"/>
                    </a:lnTo>
                    <a:lnTo>
                      <a:pt x="158" y="116"/>
                    </a:lnTo>
                    <a:lnTo>
                      <a:pt x="172" y="124"/>
                    </a:lnTo>
                    <a:lnTo>
                      <a:pt x="192" y="130"/>
                    </a:lnTo>
                    <a:lnTo>
                      <a:pt x="198" y="130"/>
                    </a:lnTo>
                    <a:lnTo>
                      <a:pt x="206" y="144"/>
                    </a:lnTo>
                    <a:lnTo>
                      <a:pt x="226" y="158"/>
                    </a:lnTo>
                    <a:lnTo>
                      <a:pt x="232" y="164"/>
                    </a:lnTo>
                    <a:lnTo>
                      <a:pt x="254" y="164"/>
                    </a:lnTo>
                    <a:lnTo>
                      <a:pt x="260" y="164"/>
                    </a:lnTo>
                    <a:lnTo>
                      <a:pt x="268" y="164"/>
                    </a:lnTo>
                    <a:lnTo>
                      <a:pt x="274" y="158"/>
                    </a:lnTo>
                    <a:lnTo>
                      <a:pt x="282" y="164"/>
                    </a:lnTo>
                    <a:lnTo>
                      <a:pt x="294" y="158"/>
                    </a:lnTo>
                    <a:lnTo>
                      <a:pt x="300" y="152"/>
                    </a:lnTo>
                    <a:lnTo>
                      <a:pt x="294" y="144"/>
                    </a:lnTo>
                    <a:lnTo>
                      <a:pt x="288" y="138"/>
                    </a:lnTo>
                    <a:lnTo>
                      <a:pt x="300" y="130"/>
                    </a:lnTo>
                    <a:lnTo>
                      <a:pt x="315" y="124"/>
                    </a:lnTo>
                    <a:lnTo>
                      <a:pt x="317" y="124"/>
                    </a:lnTo>
                    <a:lnTo>
                      <a:pt x="311" y="110"/>
                    </a:lnTo>
                    <a:lnTo>
                      <a:pt x="311" y="96"/>
                    </a:lnTo>
                    <a:lnTo>
                      <a:pt x="302" y="82"/>
                    </a:lnTo>
                    <a:lnTo>
                      <a:pt x="302" y="76"/>
                    </a:lnTo>
                    <a:lnTo>
                      <a:pt x="296" y="76"/>
                    </a:lnTo>
                    <a:lnTo>
                      <a:pt x="290" y="76"/>
                    </a:lnTo>
                    <a:lnTo>
                      <a:pt x="282" y="62"/>
                    </a:lnTo>
                    <a:lnTo>
                      <a:pt x="296" y="62"/>
                    </a:lnTo>
                    <a:lnTo>
                      <a:pt x="296" y="48"/>
                    </a:lnTo>
                    <a:lnTo>
                      <a:pt x="296" y="34"/>
                    </a:lnTo>
                    <a:lnTo>
                      <a:pt x="290" y="34"/>
                    </a:lnTo>
                    <a:lnTo>
                      <a:pt x="282" y="40"/>
                    </a:lnTo>
                    <a:lnTo>
                      <a:pt x="282" y="34"/>
                    </a:lnTo>
                    <a:lnTo>
                      <a:pt x="274" y="34"/>
                    </a:lnTo>
                    <a:lnTo>
                      <a:pt x="274" y="28"/>
                    </a:lnTo>
                    <a:lnTo>
                      <a:pt x="282" y="28"/>
                    </a:lnTo>
                    <a:lnTo>
                      <a:pt x="268" y="28"/>
                    </a:lnTo>
                    <a:lnTo>
                      <a:pt x="268" y="22"/>
                    </a:lnTo>
                    <a:lnTo>
                      <a:pt x="254" y="28"/>
                    </a:lnTo>
                    <a:lnTo>
                      <a:pt x="240" y="34"/>
                    </a:lnTo>
                    <a:lnTo>
                      <a:pt x="232" y="22"/>
                    </a:lnTo>
                    <a:lnTo>
                      <a:pt x="220" y="22"/>
                    </a:lnTo>
                    <a:lnTo>
                      <a:pt x="212" y="22"/>
                    </a:lnTo>
                    <a:lnTo>
                      <a:pt x="206" y="14"/>
                    </a:lnTo>
                    <a:lnTo>
                      <a:pt x="206" y="6"/>
                    </a:lnTo>
                    <a:lnTo>
                      <a:pt x="198" y="6"/>
                    </a:lnTo>
                    <a:lnTo>
                      <a:pt x="186" y="0"/>
                    </a:lnTo>
                    <a:lnTo>
                      <a:pt x="186" y="6"/>
                    </a:lnTo>
                    <a:lnTo>
                      <a:pt x="178" y="6"/>
                    </a:lnTo>
                    <a:lnTo>
                      <a:pt x="172" y="0"/>
                    </a:lnTo>
                    <a:lnTo>
                      <a:pt x="164" y="6"/>
                    </a:lnTo>
                    <a:lnTo>
                      <a:pt x="138" y="14"/>
                    </a:lnTo>
                    <a:lnTo>
                      <a:pt x="138" y="22"/>
                    </a:lnTo>
                    <a:lnTo>
                      <a:pt x="138" y="22"/>
                    </a:lnTo>
                    <a:lnTo>
                      <a:pt x="138" y="22"/>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2" name="Freeform 16"/>
              <p:cNvSpPr>
                <a:spLocks/>
              </p:cNvSpPr>
              <p:nvPr/>
            </p:nvSpPr>
            <p:spPr bwMode="gray">
              <a:xfrm>
                <a:off x="5382852" y="2514257"/>
                <a:ext cx="422369" cy="301692"/>
              </a:xfrm>
              <a:custGeom>
                <a:avLst/>
                <a:gdLst>
                  <a:gd name="T0" fmla="*/ 238 w 266"/>
                  <a:gd name="T1" fmla="*/ 82 h 190"/>
                  <a:gd name="T2" fmla="*/ 252 w 266"/>
                  <a:gd name="T3" fmla="*/ 102 h 190"/>
                  <a:gd name="T4" fmla="*/ 232 w 266"/>
                  <a:gd name="T5" fmla="*/ 110 h 190"/>
                  <a:gd name="T6" fmla="*/ 204 w 266"/>
                  <a:gd name="T7" fmla="*/ 124 h 190"/>
                  <a:gd name="T8" fmla="*/ 204 w 266"/>
                  <a:gd name="T9" fmla="*/ 150 h 190"/>
                  <a:gd name="T10" fmla="*/ 192 w 266"/>
                  <a:gd name="T11" fmla="*/ 164 h 190"/>
                  <a:gd name="T12" fmla="*/ 184 w 266"/>
                  <a:gd name="T13" fmla="*/ 164 h 190"/>
                  <a:gd name="T14" fmla="*/ 164 w 266"/>
                  <a:gd name="T15" fmla="*/ 170 h 190"/>
                  <a:gd name="T16" fmla="*/ 158 w 266"/>
                  <a:gd name="T17" fmla="*/ 170 h 190"/>
                  <a:gd name="T18" fmla="*/ 144 w 266"/>
                  <a:gd name="T19" fmla="*/ 190 h 190"/>
                  <a:gd name="T20" fmla="*/ 130 w 266"/>
                  <a:gd name="T21" fmla="*/ 184 h 190"/>
                  <a:gd name="T22" fmla="*/ 102 w 266"/>
                  <a:gd name="T23" fmla="*/ 170 h 190"/>
                  <a:gd name="T24" fmla="*/ 82 w 266"/>
                  <a:gd name="T25" fmla="*/ 156 h 190"/>
                  <a:gd name="T26" fmla="*/ 76 w 266"/>
                  <a:gd name="T27" fmla="*/ 150 h 190"/>
                  <a:gd name="T28" fmla="*/ 82 w 266"/>
                  <a:gd name="T29" fmla="*/ 136 h 190"/>
                  <a:gd name="T30" fmla="*/ 76 w 266"/>
                  <a:gd name="T31" fmla="*/ 124 h 190"/>
                  <a:gd name="T32" fmla="*/ 68 w 266"/>
                  <a:gd name="T33" fmla="*/ 110 h 190"/>
                  <a:gd name="T34" fmla="*/ 62 w 266"/>
                  <a:gd name="T35" fmla="*/ 116 h 190"/>
                  <a:gd name="T36" fmla="*/ 42 w 266"/>
                  <a:gd name="T37" fmla="*/ 116 h 190"/>
                  <a:gd name="T38" fmla="*/ 28 w 266"/>
                  <a:gd name="T39" fmla="*/ 110 h 190"/>
                  <a:gd name="T40" fmla="*/ 22 w 266"/>
                  <a:gd name="T41" fmla="*/ 96 h 190"/>
                  <a:gd name="T42" fmla="*/ 8 w 266"/>
                  <a:gd name="T43" fmla="*/ 76 h 190"/>
                  <a:gd name="T44" fmla="*/ 0 w 266"/>
                  <a:gd name="T45" fmla="*/ 48 h 190"/>
                  <a:gd name="T46" fmla="*/ 0 w 266"/>
                  <a:gd name="T47" fmla="*/ 20 h 190"/>
                  <a:gd name="T48" fmla="*/ 22 w 266"/>
                  <a:gd name="T49" fmla="*/ 14 h 190"/>
                  <a:gd name="T50" fmla="*/ 42 w 266"/>
                  <a:gd name="T51" fmla="*/ 6 h 190"/>
                  <a:gd name="T52" fmla="*/ 56 w 266"/>
                  <a:gd name="T53" fmla="*/ 6 h 190"/>
                  <a:gd name="T54" fmla="*/ 82 w 266"/>
                  <a:gd name="T55" fmla="*/ 6 h 190"/>
                  <a:gd name="T56" fmla="*/ 118 w 266"/>
                  <a:gd name="T57" fmla="*/ 0 h 190"/>
                  <a:gd name="T58" fmla="*/ 152 w 266"/>
                  <a:gd name="T59" fmla="*/ 0 h 190"/>
                  <a:gd name="T60" fmla="*/ 172 w 266"/>
                  <a:gd name="T61" fmla="*/ 14 h 190"/>
                  <a:gd name="T62" fmla="*/ 198 w 266"/>
                  <a:gd name="T63" fmla="*/ 20 h 190"/>
                  <a:gd name="T64" fmla="*/ 226 w 266"/>
                  <a:gd name="T65" fmla="*/ 48 h 190"/>
                  <a:gd name="T66" fmla="*/ 254 w 266"/>
                  <a:gd name="T67" fmla="*/ 54 h 190"/>
                  <a:gd name="T68" fmla="*/ 252 w 266"/>
                  <a:gd name="T69" fmla="*/ 54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6" h="190">
                    <a:moveTo>
                      <a:pt x="252" y="54"/>
                    </a:moveTo>
                    <a:lnTo>
                      <a:pt x="238" y="82"/>
                    </a:lnTo>
                    <a:lnTo>
                      <a:pt x="266" y="88"/>
                    </a:lnTo>
                    <a:lnTo>
                      <a:pt x="252" y="102"/>
                    </a:lnTo>
                    <a:lnTo>
                      <a:pt x="232" y="102"/>
                    </a:lnTo>
                    <a:lnTo>
                      <a:pt x="232" y="110"/>
                    </a:lnTo>
                    <a:lnTo>
                      <a:pt x="204" y="116"/>
                    </a:lnTo>
                    <a:lnTo>
                      <a:pt x="204" y="124"/>
                    </a:lnTo>
                    <a:lnTo>
                      <a:pt x="204" y="142"/>
                    </a:lnTo>
                    <a:lnTo>
                      <a:pt x="204" y="150"/>
                    </a:lnTo>
                    <a:lnTo>
                      <a:pt x="198" y="164"/>
                    </a:lnTo>
                    <a:lnTo>
                      <a:pt x="192" y="164"/>
                    </a:lnTo>
                    <a:lnTo>
                      <a:pt x="192" y="170"/>
                    </a:lnTo>
                    <a:lnTo>
                      <a:pt x="184" y="164"/>
                    </a:lnTo>
                    <a:lnTo>
                      <a:pt x="170" y="170"/>
                    </a:lnTo>
                    <a:lnTo>
                      <a:pt x="164" y="170"/>
                    </a:lnTo>
                    <a:lnTo>
                      <a:pt x="150" y="170"/>
                    </a:lnTo>
                    <a:lnTo>
                      <a:pt x="158" y="170"/>
                    </a:lnTo>
                    <a:lnTo>
                      <a:pt x="150" y="184"/>
                    </a:lnTo>
                    <a:lnTo>
                      <a:pt x="144" y="190"/>
                    </a:lnTo>
                    <a:lnTo>
                      <a:pt x="130" y="190"/>
                    </a:lnTo>
                    <a:lnTo>
                      <a:pt x="130" y="184"/>
                    </a:lnTo>
                    <a:lnTo>
                      <a:pt x="116" y="184"/>
                    </a:lnTo>
                    <a:lnTo>
                      <a:pt x="102" y="170"/>
                    </a:lnTo>
                    <a:lnTo>
                      <a:pt x="82" y="164"/>
                    </a:lnTo>
                    <a:lnTo>
                      <a:pt x="82" y="156"/>
                    </a:lnTo>
                    <a:lnTo>
                      <a:pt x="76" y="156"/>
                    </a:lnTo>
                    <a:lnTo>
                      <a:pt x="76" y="150"/>
                    </a:lnTo>
                    <a:lnTo>
                      <a:pt x="82" y="142"/>
                    </a:lnTo>
                    <a:lnTo>
                      <a:pt x="82" y="136"/>
                    </a:lnTo>
                    <a:lnTo>
                      <a:pt x="82" y="128"/>
                    </a:lnTo>
                    <a:lnTo>
                      <a:pt x="76" y="124"/>
                    </a:lnTo>
                    <a:lnTo>
                      <a:pt x="76" y="116"/>
                    </a:lnTo>
                    <a:lnTo>
                      <a:pt x="68" y="110"/>
                    </a:lnTo>
                    <a:lnTo>
                      <a:pt x="62" y="110"/>
                    </a:lnTo>
                    <a:lnTo>
                      <a:pt x="62" y="116"/>
                    </a:lnTo>
                    <a:lnTo>
                      <a:pt x="56" y="116"/>
                    </a:lnTo>
                    <a:lnTo>
                      <a:pt x="42" y="116"/>
                    </a:lnTo>
                    <a:lnTo>
                      <a:pt x="34" y="110"/>
                    </a:lnTo>
                    <a:lnTo>
                      <a:pt x="28" y="110"/>
                    </a:lnTo>
                    <a:lnTo>
                      <a:pt x="22" y="102"/>
                    </a:lnTo>
                    <a:lnTo>
                      <a:pt x="22" y="96"/>
                    </a:lnTo>
                    <a:lnTo>
                      <a:pt x="8" y="96"/>
                    </a:lnTo>
                    <a:lnTo>
                      <a:pt x="8" y="76"/>
                    </a:lnTo>
                    <a:lnTo>
                      <a:pt x="0" y="54"/>
                    </a:lnTo>
                    <a:lnTo>
                      <a:pt x="0" y="48"/>
                    </a:lnTo>
                    <a:lnTo>
                      <a:pt x="0" y="42"/>
                    </a:lnTo>
                    <a:lnTo>
                      <a:pt x="0" y="20"/>
                    </a:lnTo>
                    <a:lnTo>
                      <a:pt x="2" y="20"/>
                    </a:lnTo>
                    <a:lnTo>
                      <a:pt x="22" y="14"/>
                    </a:lnTo>
                    <a:lnTo>
                      <a:pt x="34" y="14"/>
                    </a:lnTo>
                    <a:lnTo>
                      <a:pt x="42" y="6"/>
                    </a:lnTo>
                    <a:lnTo>
                      <a:pt x="48" y="6"/>
                    </a:lnTo>
                    <a:lnTo>
                      <a:pt x="56" y="6"/>
                    </a:lnTo>
                    <a:lnTo>
                      <a:pt x="76" y="6"/>
                    </a:lnTo>
                    <a:lnTo>
                      <a:pt x="82" y="6"/>
                    </a:lnTo>
                    <a:lnTo>
                      <a:pt x="96" y="0"/>
                    </a:lnTo>
                    <a:lnTo>
                      <a:pt x="118" y="0"/>
                    </a:lnTo>
                    <a:lnTo>
                      <a:pt x="138" y="6"/>
                    </a:lnTo>
                    <a:lnTo>
                      <a:pt x="152" y="0"/>
                    </a:lnTo>
                    <a:lnTo>
                      <a:pt x="158" y="6"/>
                    </a:lnTo>
                    <a:lnTo>
                      <a:pt x="172" y="14"/>
                    </a:lnTo>
                    <a:lnTo>
                      <a:pt x="192" y="20"/>
                    </a:lnTo>
                    <a:lnTo>
                      <a:pt x="198" y="20"/>
                    </a:lnTo>
                    <a:lnTo>
                      <a:pt x="206" y="34"/>
                    </a:lnTo>
                    <a:lnTo>
                      <a:pt x="226" y="48"/>
                    </a:lnTo>
                    <a:lnTo>
                      <a:pt x="232" y="54"/>
                    </a:lnTo>
                    <a:lnTo>
                      <a:pt x="254" y="54"/>
                    </a:lnTo>
                    <a:lnTo>
                      <a:pt x="252" y="54"/>
                    </a:lnTo>
                    <a:lnTo>
                      <a:pt x="252" y="54"/>
                    </a:lnTo>
                    <a:lnTo>
                      <a:pt x="252" y="54"/>
                    </a:lnTo>
                    <a:close/>
                  </a:path>
                </a:pathLst>
              </a:custGeom>
              <a:solidFill>
                <a:srgbClr val="73C37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3" name="Freeform 17"/>
              <p:cNvSpPr>
                <a:spLocks/>
              </p:cNvSpPr>
              <p:nvPr/>
            </p:nvSpPr>
            <p:spPr bwMode="gray">
              <a:xfrm>
                <a:off x="5541638" y="2533311"/>
                <a:ext cx="725649" cy="565275"/>
              </a:xfrm>
              <a:custGeom>
                <a:avLst/>
                <a:gdLst>
                  <a:gd name="T0" fmla="*/ 24 w 457"/>
                  <a:gd name="T1" fmla="*/ 330 h 356"/>
                  <a:gd name="T2" fmla="*/ 4 w 457"/>
                  <a:gd name="T3" fmla="*/ 316 h 356"/>
                  <a:gd name="T4" fmla="*/ 20 w 457"/>
                  <a:gd name="T5" fmla="*/ 280 h 356"/>
                  <a:gd name="T6" fmla="*/ 34 w 457"/>
                  <a:gd name="T7" fmla="*/ 268 h 356"/>
                  <a:gd name="T8" fmla="*/ 28 w 457"/>
                  <a:gd name="T9" fmla="*/ 240 h 356"/>
                  <a:gd name="T10" fmla="*/ 24 w 457"/>
                  <a:gd name="T11" fmla="*/ 220 h 356"/>
                  <a:gd name="T12" fmla="*/ 4 w 457"/>
                  <a:gd name="T13" fmla="*/ 170 h 356"/>
                  <a:gd name="T14" fmla="*/ 30 w 457"/>
                  <a:gd name="T15" fmla="*/ 178 h 356"/>
                  <a:gd name="T16" fmla="*/ 60 w 457"/>
                  <a:gd name="T17" fmla="*/ 158 h 356"/>
                  <a:gd name="T18" fmla="*/ 72 w 457"/>
                  <a:gd name="T19" fmla="*/ 158 h 356"/>
                  <a:gd name="T20" fmla="*/ 94 w 457"/>
                  <a:gd name="T21" fmla="*/ 152 h 356"/>
                  <a:gd name="T22" fmla="*/ 106 w 457"/>
                  <a:gd name="T23" fmla="*/ 130 h 356"/>
                  <a:gd name="T24" fmla="*/ 134 w 457"/>
                  <a:gd name="T25" fmla="*/ 96 h 356"/>
                  <a:gd name="T26" fmla="*/ 168 w 457"/>
                  <a:gd name="T27" fmla="*/ 76 h 356"/>
                  <a:gd name="T28" fmla="*/ 162 w 457"/>
                  <a:gd name="T29" fmla="*/ 42 h 356"/>
                  <a:gd name="T30" fmla="*/ 182 w 457"/>
                  <a:gd name="T31" fmla="*/ 42 h 356"/>
                  <a:gd name="T32" fmla="*/ 196 w 457"/>
                  <a:gd name="T33" fmla="*/ 22 h 356"/>
                  <a:gd name="T34" fmla="*/ 217 w 457"/>
                  <a:gd name="T35" fmla="*/ 0 h 356"/>
                  <a:gd name="T36" fmla="*/ 231 w 457"/>
                  <a:gd name="T37" fmla="*/ 8 h 356"/>
                  <a:gd name="T38" fmla="*/ 273 w 457"/>
                  <a:gd name="T39" fmla="*/ 8 h 356"/>
                  <a:gd name="T40" fmla="*/ 285 w 457"/>
                  <a:gd name="T41" fmla="*/ 22 h 356"/>
                  <a:gd name="T42" fmla="*/ 307 w 457"/>
                  <a:gd name="T43" fmla="*/ 8 h 356"/>
                  <a:gd name="T44" fmla="*/ 341 w 457"/>
                  <a:gd name="T45" fmla="*/ 28 h 356"/>
                  <a:gd name="T46" fmla="*/ 333 w 457"/>
                  <a:gd name="T47" fmla="*/ 48 h 356"/>
                  <a:gd name="T48" fmla="*/ 341 w 457"/>
                  <a:gd name="T49" fmla="*/ 96 h 356"/>
                  <a:gd name="T50" fmla="*/ 361 w 457"/>
                  <a:gd name="T51" fmla="*/ 110 h 356"/>
                  <a:gd name="T52" fmla="*/ 403 w 457"/>
                  <a:gd name="T53" fmla="*/ 124 h 356"/>
                  <a:gd name="T54" fmla="*/ 415 w 457"/>
                  <a:gd name="T55" fmla="*/ 144 h 356"/>
                  <a:gd name="T56" fmla="*/ 435 w 457"/>
                  <a:gd name="T57" fmla="*/ 158 h 356"/>
                  <a:gd name="T58" fmla="*/ 449 w 457"/>
                  <a:gd name="T59" fmla="*/ 178 h 356"/>
                  <a:gd name="T60" fmla="*/ 423 w 457"/>
                  <a:gd name="T61" fmla="*/ 200 h 356"/>
                  <a:gd name="T62" fmla="*/ 395 w 457"/>
                  <a:gd name="T63" fmla="*/ 200 h 356"/>
                  <a:gd name="T64" fmla="*/ 395 w 457"/>
                  <a:gd name="T65" fmla="*/ 226 h 356"/>
                  <a:gd name="T66" fmla="*/ 409 w 457"/>
                  <a:gd name="T67" fmla="*/ 262 h 356"/>
                  <a:gd name="T68" fmla="*/ 429 w 457"/>
                  <a:gd name="T69" fmla="*/ 268 h 356"/>
                  <a:gd name="T70" fmla="*/ 407 w 457"/>
                  <a:gd name="T71" fmla="*/ 280 h 356"/>
                  <a:gd name="T72" fmla="*/ 381 w 457"/>
                  <a:gd name="T73" fmla="*/ 280 h 356"/>
                  <a:gd name="T74" fmla="*/ 367 w 457"/>
                  <a:gd name="T75" fmla="*/ 302 h 356"/>
                  <a:gd name="T76" fmla="*/ 367 w 457"/>
                  <a:gd name="T77" fmla="*/ 336 h 356"/>
                  <a:gd name="T78" fmla="*/ 345 w 457"/>
                  <a:gd name="T79" fmla="*/ 336 h 356"/>
                  <a:gd name="T80" fmla="*/ 311 w 457"/>
                  <a:gd name="T81" fmla="*/ 336 h 356"/>
                  <a:gd name="T82" fmla="*/ 299 w 457"/>
                  <a:gd name="T83" fmla="*/ 350 h 356"/>
                  <a:gd name="T84" fmla="*/ 279 w 457"/>
                  <a:gd name="T85" fmla="*/ 336 h 356"/>
                  <a:gd name="T86" fmla="*/ 259 w 457"/>
                  <a:gd name="T87" fmla="*/ 336 h 356"/>
                  <a:gd name="T88" fmla="*/ 215 w 457"/>
                  <a:gd name="T89" fmla="*/ 342 h 356"/>
                  <a:gd name="T90" fmla="*/ 174 w 457"/>
                  <a:gd name="T91" fmla="*/ 330 h 356"/>
                  <a:gd name="T92" fmla="*/ 120 w 457"/>
                  <a:gd name="T93" fmla="*/ 316 h 356"/>
                  <a:gd name="T94" fmla="*/ 72 w 457"/>
                  <a:gd name="T95" fmla="*/ 322 h 356"/>
                  <a:gd name="T96" fmla="*/ 52 w 457"/>
                  <a:gd name="T97" fmla="*/ 342 h 356"/>
                  <a:gd name="T98" fmla="*/ 30 w 457"/>
                  <a:gd name="T99" fmla="*/ 342 h 356"/>
                  <a:gd name="T100" fmla="*/ 24 w 457"/>
                  <a:gd name="T101" fmla="*/ 35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7" h="356">
                    <a:moveTo>
                      <a:pt x="24" y="350"/>
                    </a:moveTo>
                    <a:lnTo>
                      <a:pt x="24" y="336"/>
                    </a:lnTo>
                    <a:lnTo>
                      <a:pt x="24" y="330"/>
                    </a:lnTo>
                    <a:lnTo>
                      <a:pt x="24" y="322"/>
                    </a:lnTo>
                    <a:lnTo>
                      <a:pt x="10" y="322"/>
                    </a:lnTo>
                    <a:lnTo>
                      <a:pt x="4" y="316"/>
                    </a:lnTo>
                    <a:lnTo>
                      <a:pt x="0" y="304"/>
                    </a:lnTo>
                    <a:lnTo>
                      <a:pt x="10" y="294"/>
                    </a:lnTo>
                    <a:lnTo>
                      <a:pt x="20" y="280"/>
                    </a:lnTo>
                    <a:lnTo>
                      <a:pt x="30" y="280"/>
                    </a:lnTo>
                    <a:lnTo>
                      <a:pt x="32" y="276"/>
                    </a:lnTo>
                    <a:lnTo>
                      <a:pt x="34" y="268"/>
                    </a:lnTo>
                    <a:lnTo>
                      <a:pt x="34" y="254"/>
                    </a:lnTo>
                    <a:lnTo>
                      <a:pt x="28" y="250"/>
                    </a:lnTo>
                    <a:lnTo>
                      <a:pt x="28" y="240"/>
                    </a:lnTo>
                    <a:lnTo>
                      <a:pt x="24" y="232"/>
                    </a:lnTo>
                    <a:lnTo>
                      <a:pt x="24" y="226"/>
                    </a:lnTo>
                    <a:lnTo>
                      <a:pt x="24" y="220"/>
                    </a:lnTo>
                    <a:lnTo>
                      <a:pt x="24" y="206"/>
                    </a:lnTo>
                    <a:lnTo>
                      <a:pt x="16" y="192"/>
                    </a:lnTo>
                    <a:lnTo>
                      <a:pt x="4" y="170"/>
                    </a:lnTo>
                    <a:lnTo>
                      <a:pt x="18" y="172"/>
                    </a:lnTo>
                    <a:lnTo>
                      <a:pt x="30" y="172"/>
                    </a:lnTo>
                    <a:lnTo>
                      <a:pt x="30" y="178"/>
                    </a:lnTo>
                    <a:lnTo>
                      <a:pt x="44" y="178"/>
                    </a:lnTo>
                    <a:lnTo>
                      <a:pt x="52" y="172"/>
                    </a:lnTo>
                    <a:lnTo>
                      <a:pt x="60" y="158"/>
                    </a:lnTo>
                    <a:lnTo>
                      <a:pt x="52" y="158"/>
                    </a:lnTo>
                    <a:lnTo>
                      <a:pt x="66" y="158"/>
                    </a:lnTo>
                    <a:lnTo>
                      <a:pt x="72" y="158"/>
                    </a:lnTo>
                    <a:lnTo>
                      <a:pt x="86" y="152"/>
                    </a:lnTo>
                    <a:lnTo>
                      <a:pt x="94" y="158"/>
                    </a:lnTo>
                    <a:lnTo>
                      <a:pt x="94" y="152"/>
                    </a:lnTo>
                    <a:lnTo>
                      <a:pt x="100" y="152"/>
                    </a:lnTo>
                    <a:lnTo>
                      <a:pt x="106" y="138"/>
                    </a:lnTo>
                    <a:lnTo>
                      <a:pt x="106" y="130"/>
                    </a:lnTo>
                    <a:lnTo>
                      <a:pt x="106" y="110"/>
                    </a:lnTo>
                    <a:lnTo>
                      <a:pt x="106" y="104"/>
                    </a:lnTo>
                    <a:lnTo>
                      <a:pt x="134" y="96"/>
                    </a:lnTo>
                    <a:lnTo>
                      <a:pt x="134" y="90"/>
                    </a:lnTo>
                    <a:lnTo>
                      <a:pt x="154" y="90"/>
                    </a:lnTo>
                    <a:lnTo>
                      <a:pt x="168" y="76"/>
                    </a:lnTo>
                    <a:lnTo>
                      <a:pt x="140" y="68"/>
                    </a:lnTo>
                    <a:lnTo>
                      <a:pt x="154" y="42"/>
                    </a:lnTo>
                    <a:lnTo>
                      <a:pt x="162" y="42"/>
                    </a:lnTo>
                    <a:lnTo>
                      <a:pt x="168" y="42"/>
                    </a:lnTo>
                    <a:lnTo>
                      <a:pt x="176" y="34"/>
                    </a:lnTo>
                    <a:lnTo>
                      <a:pt x="182" y="42"/>
                    </a:lnTo>
                    <a:lnTo>
                      <a:pt x="196" y="34"/>
                    </a:lnTo>
                    <a:lnTo>
                      <a:pt x="202" y="28"/>
                    </a:lnTo>
                    <a:lnTo>
                      <a:pt x="196" y="22"/>
                    </a:lnTo>
                    <a:lnTo>
                      <a:pt x="190" y="14"/>
                    </a:lnTo>
                    <a:lnTo>
                      <a:pt x="202" y="8"/>
                    </a:lnTo>
                    <a:lnTo>
                      <a:pt x="217" y="0"/>
                    </a:lnTo>
                    <a:lnTo>
                      <a:pt x="225" y="0"/>
                    </a:lnTo>
                    <a:lnTo>
                      <a:pt x="231" y="0"/>
                    </a:lnTo>
                    <a:lnTo>
                      <a:pt x="231" y="8"/>
                    </a:lnTo>
                    <a:lnTo>
                      <a:pt x="245" y="8"/>
                    </a:lnTo>
                    <a:lnTo>
                      <a:pt x="259" y="8"/>
                    </a:lnTo>
                    <a:lnTo>
                      <a:pt x="273" y="8"/>
                    </a:lnTo>
                    <a:lnTo>
                      <a:pt x="279" y="14"/>
                    </a:lnTo>
                    <a:lnTo>
                      <a:pt x="279" y="22"/>
                    </a:lnTo>
                    <a:lnTo>
                      <a:pt x="285" y="22"/>
                    </a:lnTo>
                    <a:lnTo>
                      <a:pt x="299" y="14"/>
                    </a:lnTo>
                    <a:lnTo>
                      <a:pt x="299" y="8"/>
                    </a:lnTo>
                    <a:lnTo>
                      <a:pt x="307" y="8"/>
                    </a:lnTo>
                    <a:lnTo>
                      <a:pt x="319" y="14"/>
                    </a:lnTo>
                    <a:lnTo>
                      <a:pt x="327" y="28"/>
                    </a:lnTo>
                    <a:lnTo>
                      <a:pt x="341" y="28"/>
                    </a:lnTo>
                    <a:lnTo>
                      <a:pt x="341" y="34"/>
                    </a:lnTo>
                    <a:lnTo>
                      <a:pt x="333" y="42"/>
                    </a:lnTo>
                    <a:lnTo>
                      <a:pt x="333" y="48"/>
                    </a:lnTo>
                    <a:lnTo>
                      <a:pt x="347" y="68"/>
                    </a:lnTo>
                    <a:lnTo>
                      <a:pt x="355" y="90"/>
                    </a:lnTo>
                    <a:lnTo>
                      <a:pt x="341" y="96"/>
                    </a:lnTo>
                    <a:lnTo>
                      <a:pt x="361" y="96"/>
                    </a:lnTo>
                    <a:lnTo>
                      <a:pt x="361" y="104"/>
                    </a:lnTo>
                    <a:lnTo>
                      <a:pt x="361" y="110"/>
                    </a:lnTo>
                    <a:lnTo>
                      <a:pt x="381" y="116"/>
                    </a:lnTo>
                    <a:lnTo>
                      <a:pt x="389" y="116"/>
                    </a:lnTo>
                    <a:lnTo>
                      <a:pt x="403" y="124"/>
                    </a:lnTo>
                    <a:lnTo>
                      <a:pt x="403" y="138"/>
                    </a:lnTo>
                    <a:lnTo>
                      <a:pt x="403" y="144"/>
                    </a:lnTo>
                    <a:lnTo>
                      <a:pt x="415" y="144"/>
                    </a:lnTo>
                    <a:lnTo>
                      <a:pt x="423" y="144"/>
                    </a:lnTo>
                    <a:lnTo>
                      <a:pt x="435" y="144"/>
                    </a:lnTo>
                    <a:lnTo>
                      <a:pt x="435" y="158"/>
                    </a:lnTo>
                    <a:lnTo>
                      <a:pt x="449" y="158"/>
                    </a:lnTo>
                    <a:lnTo>
                      <a:pt x="457" y="172"/>
                    </a:lnTo>
                    <a:lnTo>
                      <a:pt x="449" y="178"/>
                    </a:lnTo>
                    <a:lnTo>
                      <a:pt x="443" y="186"/>
                    </a:lnTo>
                    <a:lnTo>
                      <a:pt x="435" y="192"/>
                    </a:lnTo>
                    <a:lnTo>
                      <a:pt x="423" y="200"/>
                    </a:lnTo>
                    <a:lnTo>
                      <a:pt x="415" y="206"/>
                    </a:lnTo>
                    <a:lnTo>
                      <a:pt x="403" y="200"/>
                    </a:lnTo>
                    <a:lnTo>
                      <a:pt x="395" y="200"/>
                    </a:lnTo>
                    <a:lnTo>
                      <a:pt x="395" y="206"/>
                    </a:lnTo>
                    <a:lnTo>
                      <a:pt x="395" y="220"/>
                    </a:lnTo>
                    <a:lnTo>
                      <a:pt x="395" y="226"/>
                    </a:lnTo>
                    <a:lnTo>
                      <a:pt x="403" y="240"/>
                    </a:lnTo>
                    <a:lnTo>
                      <a:pt x="409" y="254"/>
                    </a:lnTo>
                    <a:lnTo>
                      <a:pt x="409" y="262"/>
                    </a:lnTo>
                    <a:lnTo>
                      <a:pt x="415" y="268"/>
                    </a:lnTo>
                    <a:lnTo>
                      <a:pt x="429" y="274"/>
                    </a:lnTo>
                    <a:lnTo>
                      <a:pt x="429" y="268"/>
                    </a:lnTo>
                    <a:lnTo>
                      <a:pt x="429" y="280"/>
                    </a:lnTo>
                    <a:lnTo>
                      <a:pt x="415" y="280"/>
                    </a:lnTo>
                    <a:lnTo>
                      <a:pt x="407" y="280"/>
                    </a:lnTo>
                    <a:lnTo>
                      <a:pt x="401" y="280"/>
                    </a:lnTo>
                    <a:lnTo>
                      <a:pt x="395" y="280"/>
                    </a:lnTo>
                    <a:lnTo>
                      <a:pt x="381" y="280"/>
                    </a:lnTo>
                    <a:lnTo>
                      <a:pt x="375" y="280"/>
                    </a:lnTo>
                    <a:lnTo>
                      <a:pt x="367" y="288"/>
                    </a:lnTo>
                    <a:lnTo>
                      <a:pt x="367" y="302"/>
                    </a:lnTo>
                    <a:lnTo>
                      <a:pt x="361" y="316"/>
                    </a:lnTo>
                    <a:lnTo>
                      <a:pt x="367" y="330"/>
                    </a:lnTo>
                    <a:lnTo>
                      <a:pt x="367" y="336"/>
                    </a:lnTo>
                    <a:lnTo>
                      <a:pt x="367" y="350"/>
                    </a:lnTo>
                    <a:lnTo>
                      <a:pt x="361" y="350"/>
                    </a:lnTo>
                    <a:lnTo>
                      <a:pt x="345" y="336"/>
                    </a:lnTo>
                    <a:lnTo>
                      <a:pt x="339" y="336"/>
                    </a:lnTo>
                    <a:lnTo>
                      <a:pt x="333" y="342"/>
                    </a:lnTo>
                    <a:lnTo>
                      <a:pt x="311" y="336"/>
                    </a:lnTo>
                    <a:lnTo>
                      <a:pt x="305" y="336"/>
                    </a:lnTo>
                    <a:lnTo>
                      <a:pt x="299" y="342"/>
                    </a:lnTo>
                    <a:lnTo>
                      <a:pt x="299" y="350"/>
                    </a:lnTo>
                    <a:lnTo>
                      <a:pt x="293" y="356"/>
                    </a:lnTo>
                    <a:lnTo>
                      <a:pt x="285" y="342"/>
                    </a:lnTo>
                    <a:lnTo>
                      <a:pt x="279" y="336"/>
                    </a:lnTo>
                    <a:lnTo>
                      <a:pt x="271" y="350"/>
                    </a:lnTo>
                    <a:lnTo>
                      <a:pt x="265" y="342"/>
                    </a:lnTo>
                    <a:lnTo>
                      <a:pt x="259" y="336"/>
                    </a:lnTo>
                    <a:lnTo>
                      <a:pt x="243" y="336"/>
                    </a:lnTo>
                    <a:lnTo>
                      <a:pt x="237" y="342"/>
                    </a:lnTo>
                    <a:lnTo>
                      <a:pt x="215" y="342"/>
                    </a:lnTo>
                    <a:lnTo>
                      <a:pt x="208" y="336"/>
                    </a:lnTo>
                    <a:lnTo>
                      <a:pt x="200" y="336"/>
                    </a:lnTo>
                    <a:lnTo>
                      <a:pt x="174" y="330"/>
                    </a:lnTo>
                    <a:lnTo>
                      <a:pt x="160" y="322"/>
                    </a:lnTo>
                    <a:lnTo>
                      <a:pt x="140" y="316"/>
                    </a:lnTo>
                    <a:lnTo>
                      <a:pt x="120" y="316"/>
                    </a:lnTo>
                    <a:lnTo>
                      <a:pt x="98" y="322"/>
                    </a:lnTo>
                    <a:lnTo>
                      <a:pt x="86" y="322"/>
                    </a:lnTo>
                    <a:lnTo>
                      <a:pt x="72" y="322"/>
                    </a:lnTo>
                    <a:lnTo>
                      <a:pt x="58" y="330"/>
                    </a:lnTo>
                    <a:lnTo>
                      <a:pt x="58" y="336"/>
                    </a:lnTo>
                    <a:lnTo>
                      <a:pt x="52" y="342"/>
                    </a:lnTo>
                    <a:lnTo>
                      <a:pt x="44" y="350"/>
                    </a:lnTo>
                    <a:lnTo>
                      <a:pt x="38" y="342"/>
                    </a:lnTo>
                    <a:lnTo>
                      <a:pt x="30" y="342"/>
                    </a:lnTo>
                    <a:lnTo>
                      <a:pt x="24" y="356"/>
                    </a:lnTo>
                    <a:lnTo>
                      <a:pt x="24" y="350"/>
                    </a:lnTo>
                    <a:lnTo>
                      <a:pt x="24" y="350"/>
                    </a:lnTo>
                    <a:lnTo>
                      <a:pt x="24" y="35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4" name="Freeform 18"/>
              <p:cNvSpPr>
                <a:spLocks/>
              </p:cNvSpPr>
              <p:nvPr/>
            </p:nvSpPr>
            <p:spPr bwMode="gray">
              <a:xfrm>
                <a:off x="5459069" y="2936625"/>
                <a:ext cx="1460824" cy="736763"/>
              </a:xfrm>
              <a:custGeom>
                <a:avLst/>
                <a:gdLst>
                  <a:gd name="T0" fmla="*/ 465 w 920"/>
                  <a:gd name="T1" fmla="*/ 464 h 464"/>
                  <a:gd name="T2" fmla="*/ 499 w 920"/>
                  <a:gd name="T3" fmla="*/ 430 h 464"/>
                  <a:gd name="T4" fmla="*/ 527 w 920"/>
                  <a:gd name="T5" fmla="*/ 410 h 464"/>
                  <a:gd name="T6" fmla="*/ 541 w 920"/>
                  <a:gd name="T7" fmla="*/ 416 h 464"/>
                  <a:gd name="T8" fmla="*/ 535 w 920"/>
                  <a:gd name="T9" fmla="*/ 450 h 464"/>
                  <a:gd name="T10" fmla="*/ 603 w 920"/>
                  <a:gd name="T11" fmla="*/ 444 h 464"/>
                  <a:gd name="T12" fmla="*/ 631 w 920"/>
                  <a:gd name="T13" fmla="*/ 430 h 464"/>
                  <a:gd name="T14" fmla="*/ 679 w 920"/>
                  <a:gd name="T15" fmla="*/ 430 h 464"/>
                  <a:gd name="T16" fmla="*/ 697 w 920"/>
                  <a:gd name="T17" fmla="*/ 410 h 464"/>
                  <a:gd name="T18" fmla="*/ 753 w 920"/>
                  <a:gd name="T19" fmla="*/ 388 h 464"/>
                  <a:gd name="T20" fmla="*/ 795 w 920"/>
                  <a:gd name="T21" fmla="*/ 374 h 464"/>
                  <a:gd name="T22" fmla="*/ 821 w 920"/>
                  <a:gd name="T23" fmla="*/ 340 h 464"/>
                  <a:gd name="T24" fmla="*/ 843 w 920"/>
                  <a:gd name="T25" fmla="*/ 326 h 464"/>
                  <a:gd name="T26" fmla="*/ 898 w 920"/>
                  <a:gd name="T27" fmla="*/ 260 h 464"/>
                  <a:gd name="T28" fmla="*/ 898 w 920"/>
                  <a:gd name="T29" fmla="*/ 196 h 464"/>
                  <a:gd name="T30" fmla="*/ 898 w 920"/>
                  <a:gd name="T31" fmla="*/ 170 h 464"/>
                  <a:gd name="T32" fmla="*/ 920 w 920"/>
                  <a:gd name="T33" fmla="*/ 122 h 464"/>
                  <a:gd name="T34" fmla="*/ 863 w 920"/>
                  <a:gd name="T35" fmla="*/ 122 h 464"/>
                  <a:gd name="T36" fmla="*/ 837 w 920"/>
                  <a:gd name="T37" fmla="*/ 116 h 464"/>
                  <a:gd name="T38" fmla="*/ 801 w 920"/>
                  <a:gd name="T39" fmla="*/ 116 h 464"/>
                  <a:gd name="T40" fmla="*/ 755 w 920"/>
                  <a:gd name="T41" fmla="*/ 102 h 464"/>
                  <a:gd name="T42" fmla="*/ 713 w 920"/>
                  <a:gd name="T43" fmla="*/ 116 h 464"/>
                  <a:gd name="T44" fmla="*/ 673 w 920"/>
                  <a:gd name="T45" fmla="*/ 108 h 464"/>
                  <a:gd name="T46" fmla="*/ 645 w 920"/>
                  <a:gd name="T47" fmla="*/ 76 h 464"/>
                  <a:gd name="T48" fmla="*/ 603 w 920"/>
                  <a:gd name="T49" fmla="*/ 62 h 464"/>
                  <a:gd name="T50" fmla="*/ 583 w 920"/>
                  <a:gd name="T51" fmla="*/ 20 h 464"/>
                  <a:gd name="T52" fmla="*/ 535 w 920"/>
                  <a:gd name="T53" fmla="*/ 0 h 464"/>
                  <a:gd name="T54" fmla="*/ 493 w 920"/>
                  <a:gd name="T55" fmla="*/ 8 h 464"/>
                  <a:gd name="T56" fmla="*/ 467 w 920"/>
                  <a:gd name="T57" fmla="*/ 26 h 464"/>
                  <a:gd name="T58" fmla="*/ 425 w 920"/>
                  <a:gd name="T59" fmla="*/ 22 h 464"/>
                  <a:gd name="T60" fmla="*/ 415 w 920"/>
                  <a:gd name="T61" fmla="*/ 82 h 464"/>
                  <a:gd name="T62" fmla="*/ 385 w 920"/>
                  <a:gd name="T63" fmla="*/ 88 h 464"/>
                  <a:gd name="T64" fmla="*/ 343 w 920"/>
                  <a:gd name="T65" fmla="*/ 102 h 464"/>
                  <a:gd name="T66" fmla="*/ 309 w 920"/>
                  <a:gd name="T67" fmla="*/ 82 h 464"/>
                  <a:gd name="T68" fmla="*/ 252 w 920"/>
                  <a:gd name="T69" fmla="*/ 82 h 464"/>
                  <a:gd name="T70" fmla="*/ 150 w 920"/>
                  <a:gd name="T71" fmla="*/ 68 h 464"/>
                  <a:gd name="T72" fmla="*/ 102 w 920"/>
                  <a:gd name="T73" fmla="*/ 88 h 464"/>
                  <a:gd name="T74" fmla="*/ 78 w 920"/>
                  <a:gd name="T75" fmla="*/ 104 h 464"/>
                  <a:gd name="T76" fmla="*/ 96 w 920"/>
                  <a:gd name="T77" fmla="*/ 144 h 464"/>
                  <a:gd name="T78" fmla="*/ 96 w 920"/>
                  <a:gd name="T79" fmla="*/ 184 h 464"/>
                  <a:gd name="T80" fmla="*/ 42 w 920"/>
                  <a:gd name="T81" fmla="*/ 224 h 464"/>
                  <a:gd name="T82" fmla="*/ 28 w 920"/>
                  <a:gd name="T83" fmla="*/ 280 h 464"/>
                  <a:gd name="T84" fmla="*/ 14 w 920"/>
                  <a:gd name="T85" fmla="*/ 348 h 464"/>
                  <a:gd name="T86" fmla="*/ 96 w 920"/>
                  <a:gd name="T87" fmla="*/ 368 h 464"/>
                  <a:gd name="T88" fmla="*/ 156 w 920"/>
                  <a:gd name="T89" fmla="*/ 362 h 464"/>
                  <a:gd name="T90" fmla="*/ 212 w 920"/>
                  <a:gd name="T91" fmla="*/ 334 h 464"/>
                  <a:gd name="T92" fmla="*/ 246 w 920"/>
                  <a:gd name="T93" fmla="*/ 334 h 464"/>
                  <a:gd name="T94" fmla="*/ 301 w 920"/>
                  <a:gd name="T95" fmla="*/ 320 h 464"/>
                  <a:gd name="T96" fmla="*/ 343 w 920"/>
                  <a:gd name="T97" fmla="*/ 326 h 464"/>
                  <a:gd name="T98" fmla="*/ 377 w 920"/>
                  <a:gd name="T99" fmla="*/ 348 h 464"/>
                  <a:gd name="T100" fmla="*/ 383 w 920"/>
                  <a:gd name="T101" fmla="*/ 388 h 464"/>
                  <a:gd name="T102" fmla="*/ 411 w 920"/>
                  <a:gd name="T103" fmla="*/ 416 h 464"/>
                  <a:gd name="T104" fmla="*/ 431 w 920"/>
                  <a:gd name="T105" fmla="*/ 44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0" h="464">
                    <a:moveTo>
                      <a:pt x="439" y="458"/>
                    </a:moveTo>
                    <a:lnTo>
                      <a:pt x="445" y="450"/>
                    </a:lnTo>
                    <a:lnTo>
                      <a:pt x="453" y="458"/>
                    </a:lnTo>
                    <a:lnTo>
                      <a:pt x="459" y="464"/>
                    </a:lnTo>
                    <a:lnTo>
                      <a:pt x="465" y="464"/>
                    </a:lnTo>
                    <a:lnTo>
                      <a:pt x="465" y="444"/>
                    </a:lnTo>
                    <a:lnTo>
                      <a:pt x="473" y="430"/>
                    </a:lnTo>
                    <a:lnTo>
                      <a:pt x="479" y="430"/>
                    </a:lnTo>
                    <a:lnTo>
                      <a:pt x="485" y="436"/>
                    </a:lnTo>
                    <a:lnTo>
                      <a:pt x="499" y="430"/>
                    </a:lnTo>
                    <a:lnTo>
                      <a:pt x="513" y="416"/>
                    </a:lnTo>
                    <a:lnTo>
                      <a:pt x="521" y="416"/>
                    </a:lnTo>
                    <a:lnTo>
                      <a:pt x="521" y="422"/>
                    </a:lnTo>
                    <a:lnTo>
                      <a:pt x="527" y="422"/>
                    </a:lnTo>
                    <a:lnTo>
                      <a:pt x="527" y="410"/>
                    </a:lnTo>
                    <a:lnTo>
                      <a:pt x="527" y="402"/>
                    </a:lnTo>
                    <a:lnTo>
                      <a:pt x="527" y="388"/>
                    </a:lnTo>
                    <a:lnTo>
                      <a:pt x="535" y="402"/>
                    </a:lnTo>
                    <a:lnTo>
                      <a:pt x="541" y="410"/>
                    </a:lnTo>
                    <a:lnTo>
                      <a:pt x="541" y="416"/>
                    </a:lnTo>
                    <a:lnTo>
                      <a:pt x="549" y="430"/>
                    </a:lnTo>
                    <a:lnTo>
                      <a:pt x="535" y="430"/>
                    </a:lnTo>
                    <a:lnTo>
                      <a:pt x="535" y="436"/>
                    </a:lnTo>
                    <a:lnTo>
                      <a:pt x="535" y="444"/>
                    </a:lnTo>
                    <a:lnTo>
                      <a:pt x="535" y="450"/>
                    </a:lnTo>
                    <a:lnTo>
                      <a:pt x="549" y="458"/>
                    </a:lnTo>
                    <a:lnTo>
                      <a:pt x="561" y="464"/>
                    </a:lnTo>
                    <a:lnTo>
                      <a:pt x="583" y="450"/>
                    </a:lnTo>
                    <a:lnTo>
                      <a:pt x="595" y="444"/>
                    </a:lnTo>
                    <a:lnTo>
                      <a:pt x="603" y="444"/>
                    </a:lnTo>
                    <a:lnTo>
                      <a:pt x="609" y="436"/>
                    </a:lnTo>
                    <a:lnTo>
                      <a:pt x="617" y="458"/>
                    </a:lnTo>
                    <a:lnTo>
                      <a:pt x="623" y="450"/>
                    </a:lnTo>
                    <a:lnTo>
                      <a:pt x="631" y="436"/>
                    </a:lnTo>
                    <a:lnTo>
                      <a:pt x="631" y="430"/>
                    </a:lnTo>
                    <a:lnTo>
                      <a:pt x="637" y="430"/>
                    </a:lnTo>
                    <a:lnTo>
                      <a:pt x="645" y="436"/>
                    </a:lnTo>
                    <a:lnTo>
                      <a:pt x="651" y="430"/>
                    </a:lnTo>
                    <a:lnTo>
                      <a:pt x="657" y="430"/>
                    </a:lnTo>
                    <a:lnTo>
                      <a:pt x="679" y="430"/>
                    </a:lnTo>
                    <a:lnTo>
                      <a:pt x="679" y="436"/>
                    </a:lnTo>
                    <a:lnTo>
                      <a:pt x="685" y="436"/>
                    </a:lnTo>
                    <a:lnTo>
                      <a:pt x="685" y="430"/>
                    </a:lnTo>
                    <a:lnTo>
                      <a:pt x="691" y="430"/>
                    </a:lnTo>
                    <a:lnTo>
                      <a:pt x="697" y="410"/>
                    </a:lnTo>
                    <a:lnTo>
                      <a:pt x="711" y="402"/>
                    </a:lnTo>
                    <a:lnTo>
                      <a:pt x="711" y="416"/>
                    </a:lnTo>
                    <a:lnTo>
                      <a:pt x="719" y="416"/>
                    </a:lnTo>
                    <a:lnTo>
                      <a:pt x="739" y="394"/>
                    </a:lnTo>
                    <a:lnTo>
                      <a:pt x="753" y="388"/>
                    </a:lnTo>
                    <a:lnTo>
                      <a:pt x="759" y="382"/>
                    </a:lnTo>
                    <a:lnTo>
                      <a:pt x="767" y="374"/>
                    </a:lnTo>
                    <a:lnTo>
                      <a:pt x="773" y="374"/>
                    </a:lnTo>
                    <a:lnTo>
                      <a:pt x="787" y="382"/>
                    </a:lnTo>
                    <a:lnTo>
                      <a:pt x="795" y="374"/>
                    </a:lnTo>
                    <a:lnTo>
                      <a:pt x="787" y="368"/>
                    </a:lnTo>
                    <a:lnTo>
                      <a:pt x="801" y="362"/>
                    </a:lnTo>
                    <a:lnTo>
                      <a:pt x="807" y="348"/>
                    </a:lnTo>
                    <a:lnTo>
                      <a:pt x="815" y="340"/>
                    </a:lnTo>
                    <a:lnTo>
                      <a:pt x="821" y="340"/>
                    </a:lnTo>
                    <a:lnTo>
                      <a:pt x="829" y="334"/>
                    </a:lnTo>
                    <a:lnTo>
                      <a:pt x="829" y="326"/>
                    </a:lnTo>
                    <a:lnTo>
                      <a:pt x="835" y="334"/>
                    </a:lnTo>
                    <a:lnTo>
                      <a:pt x="841" y="334"/>
                    </a:lnTo>
                    <a:lnTo>
                      <a:pt x="843" y="326"/>
                    </a:lnTo>
                    <a:lnTo>
                      <a:pt x="843" y="294"/>
                    </a:lnTo>
                    <a:lnTo>
                      <a:pt x="863" y="286"/>
                    </a:lnTo>
                    <a:lnTo>
                      <a:pt x="871" y="266"/>
                    </a:lnTo>
                    <a:lnTo>
                      <a:pt x="877" y="260"/>
                    </a:lnTo>
                    <a:lnTo>
                      <a:pt x="898" y="260"/>
                    </a:lnTo>
                    <a:lnTo>
                      <a:pt x="912" y="260"/>
                    </a:lnTo>
                    <a:lnTo>
                      <a:pt x="920" y="238"/>
                    </a:lnTo>
                    <a:lnTo>
                      <a:pt x="920" y="218"/>
                    </a:lnTo>
                    <a:lnTo>
                      <a:pt x="906" y="196"/>
                    </a:lnTo>
                    <a:lnTo>
                      <a:pt x="898" y="196"/>
                    </a:lnTo>
                    <a:lnTo>
                      <a:pt x="898" y="190"/>
                    </a:lnTo>
                    <a:lnTo>
                      <a:pt x="906" y="184"/>
                    </a:lnTo>
                    <a:lnTo>
                      <a:pt x="912" y="176"/>
                    </a:lnTo>
                    <a:lnTo>
                      <a:pt x="912" y="170"/>
                    </a:lnTo>
                    <a:lnTo>
                      <a:pt x="898" y="170"/>
                    </a:lnTo>
                    <a:lnTo>
                      <a:pt x="892" y="164"/>
                    </a:lnTo>
                    <a:lnTo>
                      <a:pt x="898" y="156"/>
                    </a:lnTo>
                    <a:lnTo>
                      <a:pt x="912" y="150"/>
                    </a:lnTo>
                    <a:lnTo>
                      <a:pt x="920" y="144"/>
                    </a:lnTo>
                    <a:lnTo>
                      <a:pt x="920" y="122"/>
                    </a:lnTo>
                    <a:lnTo>
                      <a:pt x="912" y="122"/>
                    </a:lnTo>
                    <a:lnTo>
                      <a:pt x="906" y="130"/>
                    </a:lnTo>
                    <a:lnTo>
                      <a:pt x="892" y="130"/>
                    </a:lnTo>
                    <a:lnTo>
                      <a:pt x="877" y="122"/>
                    </a:lnTo>
                    <a:lnTo>
                      <a:pt x="863" y="122"/>
                    </a:lnTo>
                    <a:lnTo>
                      <a:pt x="863" y="130"/>
                    </a:lnTo>
                    <a:lnTo>
                      <a:pt x="857" y="122"/>
                    </a:lnTo>
                    <a:lnTo>
                      <a:pt x="857" y="116"/>
                    </a:lnTo>
                    <a:lnTo>
                      <a:pt x="851" y="116"/>
                    </a:lnTo>
                    <a:lnTo>
                      <a:pt x="837" y="116"/>
                    </a:lnTo>
                    <a:lnTo>
                      <a:pt x="837" y="122"/>
                    </a:lnTo>
                    <a:lnTo>
                      <a:pt x="823" y="122"/>
                    </a:lnTo>
                    <a:lnTo>
                      <a:pt x="823" y="116"/>
                    </a:lnTo>
                    <a:lnTo>
                      <a:pt x="809" y="122"/>
                    </a:lnTo>
                    <a:lnTo>
                      <a:pt x="801" y="116"/>
                    </a:lnTo>
                    <a:lnTo>
                      <a:pt x="795" y="108"/>
                    </a:lnTo>
                    <a:lnTo>
                      <a:pt x="795" y="116"/>
                    </a:lnTo>
                    <a:lnTo>
                      <a:pt x="781" y="122"/>
                    </a:lnTo>
                    <a:lnTo>
                      <a:pt x="761" y="108"/>
                    </a:lnTo>
                    <a:lnTo>
                      <a:pt x="755" y="102"/>
                    </a:lnTo>
                    <a:lnTo>
                      <a:pt x="755" y="96"/>
                    </a:lnTo>
                    <a:lnTo>
                      <a:pt x="741" y="96"/>
                    </a:lnTo>
                    <a:lnTo>
                      <a:pt x="727" y="108"/>
                    </a:lnTo>
                    <a:lnTo>
                      <a:pt x="721" y="116"/>
                    </a:lnTo>
                    <a:lnTo>
                      <a:pt x="713" y="116"/>
                    </a:lnTo>
                    <a:lnTo>
                      <a:pt x="707" y="108"/>
                    </a:lnTo>
                    <a:lnTo>
                      <a:pt x="699" y="116"/>
                    </a:lnTo>
                    <a:lnTo>
                      <a:pt x="693" y="108"/>
                    </a:lnTo>
                    <a:lnTo>
                      <a:pt x="685" y="108"/>
                    </a:lnTo>
                    <a:lnTo>
                      <a:pt x="673" y="108"/>
                    </a:lnTo>
                    <a:lnTo>
                      <a:pt x="665" y="108"/>
                    </a:lnTo>
                    <a:lnTo>
                      <a:pt x="665" y="102"/>
                    </a:lnTo>
                    <a:lnTo>
                      <a:pt x="657" y="82"/>
                    </a:lnTo>
                    <a:lnTo>
                      <a:pt x="657" y="76"/>
                    </a:lnTo>
                    <a:lnTo>
                      <a:pt x="645" y="76"/>
                    </a:lnTo>
                    <a:lnTo>
                      <a:pt x="637" y="62"/>
                    </a:lnTo>
                    <a:lnTo>
                      <a:pt x="637" y="54"/>
                    </a:lnTo>
                    <a:lnTo>
                      <a:pt x="631" y="54"/>
                    </a:lnTo>
                    <a:lnTo>
                      <a:pt x="623" y="62"/>
                    </a:lnTo>
                    <a:lnTo>
                      <a:pt x="603" y="62"/>
                    </a:lnTo>
                    <a:lnTo>
                      <a:pt x="589" y="62"/>
                    </a:lnTo>
                    <a:lnTo>
                      <a:pt x="589" y="54"/>
                    </a:lnTo>
                    <a:lnTo>
                      <a:pt x="589" y="40"/>
                    </a:lnTo>
                    <a:lnTo>
                      <a:pt x="589" y="26"/>
                    </a:lnTo>
                    <a:lnTo>
                      <a:pt x="583" y="20"/>
                    </a:lnTo>
                    <a:lnTo>
                      <a:pt x="575" y="8"/>
                    </a:lnTo>
                    <a:lnTo>
                      <a:pt x="569" y="0"/>
                    </a:lnTo>
                    <a:lnTo>
                      <a:pt x="561" y="0"/>
                    </a:lnTo>
                    <a:lnTo>
                      <a:pt x="549" y="8"/>
                    </a:lnTo>
                    <a:lnTo>
                      <a:pt x="535" y="0"/>
                    </a:lnTo>
                    <a:lnTo>
                      <a:pt x="529" y="0"/>
                    </a:lnTo>
                    <a:lnTo>
                      <a:pt x="521" y="8"/>
                    </a:lnTo>
                    <a:lnTo>
                      <a:pt x="515" y="8"/>
                    </a:lnTo>
                    <a:lnTo>
                      <a:pt x="501" y="14"/>
                    </a:lnTo>
                    <a:lnTo>
                      <a:pt x="493" y="8"/>
                    </a:lnTo>
                    <a:lnTo>
                      <a:pt x="481" y="14"/>
                    </a:lnTo>
                    <a:lnTo>
                      <a:pt x="481" y="20"/>
                    </a:lnTo>
                    <a:lnTo>
                      <a:pt x="481" y="14"/>
                    </a:lnTo>
                    <a:lnTo>
                      <a:pt x="481" y="26"/>
                    </a:lnTo>
                    <a:lnTo>
                      <a:pt x="467" y="26"/>
                    </a:lnTo>
                    <a:lnTo>
                      <a:pt x="459" y="26"/>
                    </a:lnTo>
                    <a:lnTo>
                      <a:pt x="453" y="26"/>
                    </a:lnTo>
                    <a:lnTo>
                      <a:pt x="445" y="22"/>
                    </a:lnTo>
                    <a:lnTo>
                      <a:pt x="433" y="22"/>
                    </a:lnTo>
                    <a:lnTo>
                      <a:pt x="425" y="22"/>
                    </a:lnTo>
                    <a:lnTo>
                      <a:pt x="415" y="34"/>
                    </a:lnTo>
                    <a:lnTo>
                      <a:pt x="415" y="46"/>
                    </a:lnTo>
                    <a:lnTo>
                      <a:pt x="409" y="62"/>
                    </a:lnTo>
                    <a:lnTo>
                      <a:pt x="417" y="76"/>
                    </a:lnTo>
                    <a:lnTo>
                      <a:pt x="415" y="82"/>
                    </a:lnTo>
                    <a:lnTo>
                      <a:pt x="415" y="96"/>
                    </a:lnTo>
                    <a:lnTo>
                      <a:pt x="411" y="96"/>
                    </a:lnTo>
                    <a:lnTo>
                      <a:pt x="397" y="82"/>
                    </a:lnTo>
                    <a:lnTo>
                      <a:pt x="391" y="82"/>
                    </a:lnTo>
                    <a:lnTo>
                      <a:pt x="385" y="88"/>
                    </a:lnTo>
                    <a:lnTo>
                      <a:pt x="363" y="82"/>
                    </a:lnTo>
                    <a:lnTo>
                      <a:pt x="357" y="82"/>
                    </a:lnTo>
                    <a:lnTo>
                      <a:pt x="349" y="88"/>
                    </a:lnTo>
                    <a:lnTo>
                      <a:pt x="347" y="96"/>
                    </a:lnTo>
                    <a:lnTo>
                      <a:pt x="343" y="102"/>
                    </a:lnTo>
                    <a:lnTo>
                      <a:pt x="335" y="84"/>
                    </a:lnTo>
                    <a:lnTo>
                      <a:pt x="329" y="82"/>
                    </a:lnTo>
                    <a:lnTo>
                      <a:pt x="321" y="96"/>
                    </a:lnTo>
                    <a:lnTo>
                      <a:pt x="317" y="88"/>
                    </a:lnTo>
                    <a:lnTo>
                      <a:pt x="309" y="82"/>
                    </a:lnTo>
                    <a:lnTo>
                      <a:pt x="295" y="82"/>
                    </a:lnTo>
                    <a:lnTo>
                      <a:pt x="289" y="88"/>
                    </a:lnTo>
                    <a:lnTo>
                      <a:pt x="267" y="88"/>
                    </a:lnTo>
                    <a:lnTo>
                      <a:pt x="260" y="82"/>
                    </a:lnTo>
                    <a:lnTo>
                      <a:pt x="252" y="82"/>
                    </a:lnTo>
                    <a:lnTo>
                      <a:pt x="226" y="76"/>
                    </a:lnTo>
                    <a:lnTo>
                      <a:pt x="212" y="68"/>
                    </a:lnTo>
                    <a:lnTo>
                      <a:pt x="192" y="62"/>
                    </a:lnTo>
                    <a:lnTo>
                      <a:pt x="172" y="62"/>
                    </a:lnTo>
                    <a:lnTo>
                      <a:pt x="150" y="68"/>
                    </a:lnTo>
                    <a:lnTo>
                      <a:pt x="138" y="68"/>
                    </a:lnTo>
                    <a:lnTo>
                      <a:pt x="124" y="66"/>
                    </a:lnTo>
                    <a:lnTo>
                      <a:pt x="112" y="74"/>
                    </a:lnTo>
                    <a:lnTo>
                      <a:pt x="108" y="82"/>
                    </a:lnTo>
                    <a:lnTo>
                      <a:pt x="102" y="88"/>
                    </a:lnTo>
                    <a:lnTo>
                      <a:pt x="96" y="96"/>
                    </a:lnTo>
                    <a:lnTo>
                      <a:pt x="90" y="88"/>
                    </a:lnTo>
                    <a:lnTo>
                      <a:pt x="80" y="88"/>
                    </a:lnTo>
                    <a:lnTo>
                      <a:pt x="76" y="102"/>
                    </a:lnTo>
                    <a:lnTo>
                      <a:pt x="78" y="104"/>
                    </a:lnTo>
                    <a:lnTo>
                      <a:pt x="74" y="108"/>
                    </a:lnTo>
                    <a:lnTo>
                      <a:pt x="68" y="116"/>
                    </a:lnTo>
                    <a:lnTo>
                      <a:pt x="74" y="122"/>
                    </a:lnTo>
                    <a:lnTo>
                      <a:pt x="88" y="136"/>
                    </a:lnTo>
                    <a:lnTo>
                      <a:pt x="96" y="144"/>
                    </a:lnTo>
                    <a:lnTo>
                      <a:pt x="88" y="150"/>
                    </a:lnTo>
                    <a:lnTo>
                      <a:pt x="88" y="156"/>
                    </a:lnTo>
                    <a:lnTo>
                      <a:pt x="96" y="164"/>
                    </a:lnTo>
                    <a:lnTo>
                      <a:pt x="96" y="176"/>
                    </a:lnTo>
                    <a:lnTo>
                      <a:pt x="96" y="184"/>
                    </a:lnTo>
                    <a:lnTo>
                      <a:pt x="88" y="184"/>
                    </a:lnTo>
                    <a:lnTo>
                      <a:pt x="82" y="184"/>
                    </a:lnTo>
                    <a:lnTo>
                      <a:pt x="74" y="196"/>
                    </a:lnTo>
                    <a:lnTo>
                      <a:pt x="62" y="204"/>
                    </a:lnTo>
                    <a:lnTo>
                      <a:pt x="42" y="224"/>
                    </a:lnTo>
                    <a:lnTo>
                      <a:pt x="34" y="232"/>
                    </a:lnTo>
                    <a:lnTo>
                      <a:pt x="28" y="246"/>
                    </a:lnTo>
                    <a:lnTo>
                      <a:pt x="34" y="266"/>
                    </a:lnTo>
                    <a:lnTo>
                      <a:pt x="34" y="280"/>
                    </a:lnTo>
                    <a:lnTo>
                      <a:pt x="28" y="280"/>
                    </a:lnTo>
                    <a:lnTo>
                      <a:pt x="20" y="280"/>
                    </a:lnTo>
                    <a:lnTo>
                      <a:pt x="8" y="300"/>
                    </a:lnTo>
                    <a:lnTo>
                      <a:pt x="0" y="320"/>
                    </a:lnTo>
                    <a:lnTo>
                      <a:pt x="0" y="334"/>
                    </a:lnTo>
                    <a:lnTo>
                      <a:pt x="14" y="348"/>
                    </a:lnTo>
                    <a:lnTo>
                      <a:pt x="28" y="354"/>
                    </a:lnTo>
                    <a:lnTo>
                      <a:pt x="42" y="354"/>
                    </a:lnTo>
                    <a:lnTo>
                      <a:pt x="68" y="354"/>
                    </a:lnTo>
                    <a:lnTo>
                      <a:pt x="82" y="362"/>
                    </a:lnTo>
                    <a:lnTo>
                      <a:pt x="96" y="368"/>
                    </a:lnTo>
                    <a:lnTo>
                      <a:pt x="116" y="362"/>
                    </a:lnTo>
                    <a:lnTo>
                      <a:pt x="122" y="354"/>
                    </a:lnTo>
                    <a:lnTo>
                      <a:pt x="136" y="362"/>
                    </a:lnTo>
                    <a:lnTo>
                      <a:pt x="144" y="368"/>
                    </a:lnTo>
                    <a:lnTo>
                      <a:pt x="156" y="362"/>
                    </a:lnTo>
                    <a:lnTo>
                      <a:pt x="172" y="348"/>
                    </a:lnTo>
                    <a:lnTo>
                      <a:pt x="184" y="348"/>
                    </a:lnTo>
                    <a:lnTo>
                      <a:pt x="198" y="348"/>
                    </a:lnTo>
                    <a:lnTo>
                      <a:pt x="204" y="348"/>
                    </a:lnTo>
                    <a:lnTo>
                      <a:pt x="212" y="334"/>
                    </a:lnTo>
                    <a:lnTo>
                      <a:pt x="220" y="334"/>
                    </a:lnTo>
                    <a:lnTo>
                      <a:pt x="232" y="334"/>
                    </a:lnTo>
                    <a:lnTo>
                      <a:pt x="232" y="326"/>
                    </a:lnTo>
                    <a:lnTo>
                      <a:pt x="240" y="334"/>
                    </a:lnTo>
                    <a:lnTo>
                      <a:pt x="246" y="334"/>
                    </a:lnTo>
                    <a:lnTo>
                      <a:pt x="267" y="326"/>
                    </a:lnTo>
                    <a:lnTo>
                      <a:pt x="275" y="320"/>
                    </a:lnTo>
                    <a:lnTo>
                      <a:pt x="281" y="314"/>
                    </a:lnTo>
                    <a:lnTo>
                      <a:pt x="301" y="314"/>
                    </a:lnTo>
                    <a:lnTo>
                      <a:pt x="301" y="320"/>
                    </a:lnTo>
                    <a:lnTo>
                      <a:pt x="315" y="320"/>
                    </a:lnTo>
                    <a:lnTo>
                      <a:pt x="323" y="326"/>
                    </a:lnTo>
                    <a:lnTo>
                      <a:pt x="329" y="334"/>
                    </a:lnTo>
                    <a:lnTo>
                      <a:pt x="335" y="326"/>
                    </a:lnTo>
                    <a:lnTo>
                      <a:pt x="343" y="326"/>
                    </a:lnTo>
                    <a:lnTo>
                      <a:pt x="349" y="334"/>
                    </a:lnTo>
                    <a:lnTo>
                      <a:pt x="363" y="340"/>
                    </a:lnTo>
                    <a:lnTo>
                      <a:pt x="363" y="334"/>
                    </a:lnTo>
                    <a:lnTo>
                      <a:pt x="377" y="340"/>
                    </a:lnTo>
                    <a:lnTo>
                      <a:pt x="377" y="348"/>
                    </a:lnTo>
                    <a:lnTo>
                      <a:pt x="377" y="354"/>
                    </a:lnTo>
                    <a:lnTo>
                      <a:pt x="383" y="354"/>
                    </a:lnTo>
                    <a:lnTo>
                      <a:pt x="383" y="368"/>
                    </a:lnTo>
                    <a:lnTo>
                      <a:pt x="383" y="382"/>
                    </a:lnTo>
                    <a:lnTo>
                      <a:pt x="383" y="388"/>
                    </a:lnTo>
                    <a:lnTo>
                      <a:pt x="391" y="388"/>
                    </a:lnTo>
                    <a:lnTo>
                      <a:pt x="397" y="388"/>
                    </a:lnTo>
                    <a:lnTo>
                      <a:pt x="405" y="402"/>
                    </a:lnTo>
                    <a:lnTo>
                      <a:pt x="405" y="416"/>
                    </a:lnTo>
                    <a:lnTo>
                      <a:pt x="411" y="416"/>
                    </a:lnTo>
                    <a:lnTo>
                      <a:pt x="419" y="416"/>
                    </a:lnTo>
                    <a:lnTo>
                      <a:pt x="419" y="422"/>
                    </a:lnTo>
                    <a:lnTo>
                      <a:pt x="419" y="430"/>
                    </a:lnTo>
                    <a:lnTo>
                      <a:pt x="425" y="436"/>
                    </a:lnTo>
                    <a:lnTo>
                      <a:pt x="431" y="444"/>
                    </a:lnTo>
                    <a:lnTo>
                      <a:pt x="439" y="450"/>
                    </a:lnTo>
                    <a:lnTo>
                      <a:pt x="439" y="458"/>
                    </a:lnTo>
                    <a:lnTo>
                      <a:pt x="439" y="458"/>
                    </a:lnTo>
                    <a:lnTo>
                      <a:pt x="439" y="458"/>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5" name="Freeform 19"/>
              <p:cNvSpPr>
                <a:spLocks/>
              </p:cNvSpPr>
              <p:nvPr/>
            </p:nvSpPr>
            <p:spPr bwMode="gray">
              <a:xfrm>
                <a:off x="5840154" y="3435211"/>
                <a:ext cx="347740" cy="368382"/>
              </a:xfrm>
              <a:custGeom>
                <a:avLst/>
                <a:gdLst>
                  <a:gd name="T0" fmla="*/ 6 w 219"/>
                  <a:gd name="T1" fmla="*/ 34 h 232"/>
                  <a:gd name="T2" fmla="*/ 12 w 219"/>
                  <a:gd name="T3" fmla="*/ 54 h 232"/>
                  <a:gd name="T4" fmla="*/ 27 w 219"/>
                  <a:gd name="T5" fmla="*/ 68 h 232"/>
                  <a:gd name="T6" fmla="*/ 47 w 219"/>
                  <a:gd name="T7" fmla="*/ 76 h 232"/>
                  <a:gd name="T8" fmla="*/ 55 w 219"/>
                  <a:gd name="T9" fmla="*/ 90 h 232"/>
                  <a:gd name="T10" fmla="*/ 75 w 219"/>
                  <a:gd name="T11" fmla="*/ 96 h 232"/>
                  <a:gd name="T12" fmla="*/ 83 w 219"/>
                  <a:gd name="T13" fmla="*/ 116 h 232"/>
                  <a:gd name="T14" fmla="*/ 89 w 219"/>
                  <a:gd name="T15" fmla="*/ 144 h 232"/>
                  <a:gd name="T16" fmla="*/ 83 w 219"/>
                  <a:gd name="T17" fmla="*/ 164 h 232"/>
                  <a:gd name="T18" fmla="*/ 89 w 219"/>
                  <a:gd name="T19" fmla="*/ 178 h 232"/>
                  <a:gd name="T20" fmla="*/ 83 w 219"/>
                  <a:gd name="T21" fmla="*/ 192 h 232"/>
                  <a:gd name="T22" fmla="*/ 83 w 219"/>
                  <a:gd name="T23" fmla="*/ 218 h 232"/>
                  <a:gd name="T24" fmla="*/ 95 w 219"/>
                  <a:gd name="T25" fmla="*/ 226 h 232"/>
                  <a:gd name="T26" fmla="*/ 109 w 219"/>
                  <a:gd name="T27" fmla="*/ 232 h 232"/>
                  <a:gd name="T28" fmla="*/ 131 w 219"/>
                  <a:gd name="T29" fmla="*/ 232 h 232"/>
                  <a:gd name="T30" fmla="*/ 145 w 219"/>
                  <a:gd name="T31" fmla="*/ 218 h 232"/>
                  <a:gd name="T32" fmla="*/ 157 w 219"/>
                  <a:gd name="T33" fmla="*/ 218 h 232"/>
                  <a:gd name="T34" fmla="*/ 165 w 219"/>
                  <a:gd name="T35" fmla="*/ 226 h 232"/>
                  <a:gd name="T36" fmla="*/ 173 w 219"/>
                  <a:gd name="T37" fmla="*/ 212 h 232"/>
                  <a:gd name="T38" fmla="*/ 165 w 219"/>
                  <a:gd name="T39" fmla="*/ 198 h 232"/>
                  <a:gd name="T40" fmla="*/ 173 w 219"/>
                  <a:gd name="T41" fmla="*/ 184 h 232"/>
                  <a:gd name="T42" fmla="*/ 179 w 219"/>
                  <a:gd name="T43" fmla="*/ 192 h 232"/>
                  <a:gd name="T44" fmla="*/ 199 w 219"/>
                  <a:gd name="T45" fmla="*/ 184 h 232"/>
                  <a:gd name="T46" fmla="*/ 213 w 219"/>
                  <a:gd name="T47" fmla="*/ 178 h 232"/>
                  <a:gd name="T48" fmla="*/ 219 w 219"/>
                  <a:gd name="T49" fmla="*/ 164 h 232"/>
                  <a:gd name="T50" fmla="*/ 205 w 219"/>
                  <a:gd name="T51" fmla="*/ 156 h 232"/>
                  <a:gd name="T52" fmla="*/ 193 w 219"/>
                  <a:gd name="T53" fmla="*/ 144 h 232"/>
                  <a:gd name="T54" fmla="*/ 199 w 219"/>
                  <a:gd name="T55" fmla="*/ 138 h 232"/>
                  <a:gd name="T56" fmla="*/ 187 w 219"/>
                  <a:gd name="T57" fmla="*/ 124 h 232"/>
                  <a:gd name="T58" fmla="*/ 179 w 219"/>
                  <a:gd name="T59" fmla="*/ 110 h 232"/>
                  <a:gd name="T60" fmla="*/ 173 w 219"/>
                  <a:gd name="T61" fmla="*/ 104 h 232"/>
                  <a:gd name="T62" fmla="*/ 165 w 219"/>
                  <a:gd name="T63" fmla="*/ 90 h 232"/>
                  <a:gd name="T64" fmla="*/ 151 w 219"/>
                  <a:gd name="T65" fmla="*/ 76 h 232"/>
                  <a:gd name="T66" fmla="*/ 145 w 219"/>
                  <a:gd name="T67" fmla="*/ 68 h 232"/>
                  <a:gd name="T68" fmla="*/ 145 w 219"/>
                  <a:gd name="T69" fmla="*/ 42 h 232"/>
                  <a:gd name="T70" fmla="*/ 139 w 219"/>
                  <a:gd name="T71" fmla="*/ 34 h 232"/>
                  <a:gd name="T72" fmla="*/ 123 w 219"/>
                  <a:gd name="T73" fmla="*/ 20 h 232"/>
                  <a:gd name="T74" fmla="*/ 111 w 219"/>
                  <a:gd name="T75" fmla="*/ 20 h 232"/>
                  <a:gd name="T76" fmla="*/ 97 w 219"/>
                  <a:gd name="T77" fmla="*/ 14 h 232"/>
                  <a:gd name="T78" fmla="*/ 83 w 219"/>
                  <a:gd name="T79" fmla="*/ 14 h 232"/>
                  <a:gd name="T80" fmla="*/ 63 w 219"/>
                  <a:gd name="T81" fmla="*/ 6 h 232"/>
                  <a:gd name="T82" fmla="*/ 43 w 219"/>
                  <a:gd name="T83" fmla="*/ 0 h 232"/>
                  <a:gd name="T84" fmla="*/ 29 w 219"/>
                  <a:gd name="T85" fmla="*/ 14 h 232"/>
                  <a:gd name="T86" fmla="*/ 0 w 219"/>
                  <a:gd name="T87" fmla="*/ 20 h 232"/>
                  <a:gd name="T88" fmla="*/ 0 w 219"/>
                  <a:gd name="T89" fmla="*/ 2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9" h="232">
                    <a:moveTo>
                      <a:pt x="0" y="20"/>
                    </a:moveTo>
                    <a:lnTo>
                      <a:pt x="6" y="34"/>
                    </a:lnTo>
                    <a:lnTo>
                      <a:pt x="12" y="34"/>
                    </a:lnTo>
                    <a:lnTo>
                      <a:pt x="12" y="54"/>
                    </a:lnTo>
                    <a:lnTo>
                      <a:pt x="20" y="62"/>
                    </a:lnTo>
                    <a:lnTo>
                      <a:pt x="27" y="68"/>
                    </a:lnTo>
                    <a:lnTo>
                      <a:pt x="41" y="76"/>
                    </a:lnTo>
                    <a:lnTo>
                      <a:pt x="47" y="76"/>
                    </a:lnTo>
                    <a:lnTo>
                      <a:pt x="47" y="82"/>
                    </a:lnTo>
                    <a:lnTo>
                      <a:pt x="55" y="90"/>
                    </a:lnTo>
                    <a:lnTo>
                      <a:pt x="61" y="90"/>
                    </a:lnTo>
                    <a:lnTo>
                      <a:pt x="75" y="96"/>
                    </a:lnTo>
                    <a:lnTo>
                      <a:pt x="75" y="104"/>
                    </a:lnTo>
                    <a:lnTo>
                      <a:pt x="83" y="116"/>
                    </a:lnTo>
                    <a:lnTo>
                      <a:pt x="83" y="130"/>
                    </a:lnTo>
                    <a:lnTo>
                      <a:pt x="89" y="144"/>
                    </a:lnTo>
                    <a:lnTo>
                      <a:pt x="89" y="156"/>
                    </a:lnTo>
                    <a:lnTo>
                      <a:pt x="83" y="164"/>
                    </a:lnTo>
                    <a:lnTo>
                      <a:pt x="83" y="170"/>
                    </a:lnTo>
                    <a:lnTo>
                      <a:pt x="89" y="178"/>
                    </a:lnTo>
                    <a:lnTo>
                      <a:pt x="83" y="184"/>
                    </a:lnTo>
                    <a:lnTo>
                      <a:pt x="83" y="192"/>
                    </a:lnTo>
                    <a:lnTo>
                      <a:pt x="83" y="206"/>
                    </a:lnTo>
                    <a:lnTo>
                      <a:pt x="83" y="218"/>
                    </a:lnTo>
                    <a:lnTo>
                      <a:pt x="83" y="226"/>
                    </a:lnTo>
                    <a:lnTo>
                      <a:pt x="95" y="226"/>
                    </a:lnTo>
                    <a:lnTo>
                      <a:pt x="103" y="232"/>
                    </a:lnTo>
                    <a:lnTo>
                      <a:pt x="109" y="232"/>
                    </a:lnTo>
                    <a:lnTo>
                      <a:pt x="117" y="232"/>
                    </a:lnTo>
                    <a:lnTo>
                      <a:pt x="131" y="232"/>
                    </a:lnTo>
                    <a:lnTo>
                      <a:pt x="139" y="226"/>
                    </a:lnTo>
                    <a:lnTo>
                      <a:pt x="145" y="218"/>
                    </a:lnTo>
                    <a:lnTo>
                      <a:pt x="151" y="212"/>
                    </a:lnTo>
                    <a:lnTo>
                      <a:pt x="157" y="218"/>
                    </a:lnTo>
                    <a:lnTo>
                      <a:pt x="165" y="218"/>
                    </a:lnTo>
                    <a:lnTo>
                      <a:pt x="165" y="226"/>
                    </a:lnTo>
                    <a:lnTo>
                      <a:pt x="173" y="226"/>
                    </a:lnTo>
                    <a:lnTo>
                      <a:pt x="173" y="212"/>
                    </a:lnTo>
                    <a:lnTo>
                      <a:pt x="173" y="206"/>
                    </a:lnTo>
                    <a:lnTo>
                      <a:pt x="165" y="198"/>
                    </a:lnTo>
                    <a:lnTo>
                      <a:pt x="165" y="192"/>
                    </a:lnTo>
                    <a:lnTo>
                      <a:pt x="173" y="184"/>
                    </a:lnTo>
                    <a:lnTo>
                      <a:pt x="179" y="184"/>
                    </a:lnTo>
                    <a:lnTo>
                      <a:pt x="179" y="192"/>
                    </a:lnTo>
                    <a:lnTo>
                      <a:pt x="185" y="184"/>
                    </a:lnTo>
                    <a:lnTo>
                      <a:pt x="199" y="184"/>
                    </a:lnTo>
                    <a:lnTo>
                      <a:pt x="205" y="178"/>
                    </a:lnTo>
                    <a:lnTo>
                      <a:pt x="213" y="178"/>
                    </a:lnTo>
                    <a:lnTo>
                      <a:pt x="219" y="178"/>
                    </a:lnTo>
                    <a:lnTo>
                      <a:pt x="219" y="164"/>
                    </a:lnTo>
                    <a:lnTo>
                      <a:pt x="213" y="156"/>
                    </a:lnTo>
                    <a:lnTo>
                      <a:pt x="205" y="156"/>
                    </a:lnTo>
                    <a:lnTo>
                      <a:pt x="193" y="150"/>
                    </a:lnTo>
                    <a:lnTo>
                      <a:pt x="193" y="144"/>
                    </a:lnTo>
                    <a:lnTo>
                      <a:pt x="199" y="144"/>
                    </a:lnTo>
                    <a:lnTo>
                      <a:pt x="199" y="138"/>
                    </a:lnTo>
                    <a:lnTo>
                      <a:pt x="193" y="130"/>
                    </a:lnTo>
                    <a:lnTo>
                      <a:pt x="187" y="124"/>
                    </a:lnTo>
                    <a:lnTo>
                      <a:pt x="179" y="116"/>
                    </a:lnTo>
                    <a:lnTo>
                      <a:pt x="179" y="110"/>
                    </a:lnTo>
                    <a:lnTo>
                      <a:pt x="179" y="104"/>
                    </a:lnTo>
                    <a:lnTo>
                      <a:pt x="173" y="104"/>
                    </a:lnTo>
                    <a:lnTo>
                      <a:pt x="165" y="104"/>
                    </a:lnTo>
                    <a:lnTo>
                      <a:pt x="165" y="90"/>
                    </a:lnTo>
                    <a:lnTo>
                      <a:pt x="159" y="76"/>
                    </a:lnTo>
                    <a:lnTo>
                      <a:pt x="151" y="76"/>
                    </a:lnTo>
                    <a:lnTo>
                      <a:pt x="145" y="76"/>
                    </a:lnTo>
                    <a:lnTo>
                      <a:pt x="145" y="68"/>
                    </a:lnTo>
                    <a:lnTo>
                      <a:pt x="145" y="54"/>
                    </a:lnTo>
                    <a:lnTo>
                      <a:pt x="145" y="42"/>
                    </a:lnTo>
                    <a:lnTo>
                      <a:pt x="139" y="42"/>
                    </a:lnTo>
                    <a:lnTo>
                      <a:pt x="139" y="34"/>
                    </a:lnTo>
                    <a:lnTo>
                      <a:pt x="139" y="28"/>
                    </a:lnTo>
                    <a:lnTo>
                      <a:pt x="123" y="20"/>
                    </a:lnTo>
                    <a:lnTo>
                      <a:pt x="123" y="28"/>
                    </a:lnTo>
                    <a:lnTo>
                      <a:pt x="111" y="20"/>
                    </a:lnTo>
                    <a:lnTo>
                      <a:pt x="105" y="14"/>
                    </a:lnTo>
                    <a:lnTo>
                      <a:pt x="97" y="14"/>
                    </a:lnTo>
                    <a:lnTo>
                      <a:pt x="91" y="20"/>
                    </a:lnTo>
                    <a:lnTo>
                      <a:pt x="83" y="14"/>
                    </a:lnTo>
                    <a:lnTo>
                      <a:pt x="77" y="6"/>
                    </a:lnTo>
                    <a:lnTo>
                      <a:pt x="63" y="6"/>
                    </a:lnTo>
                    <a:lnTo>
                      <a:pt x="63" y="0"/>
                    </a:lnTo>
                    <a:lnTo>
                      <a:pt x="43" y="0"/>
                    </a:lnTo>
                    <a:lnTo>
                      <a:pt x="35" y="6"/>
                    </a:lnTo>
                    <a:lnTo>
                      <a:pt x="29" y="14"/>
                    </a:lnTo>
                    <a:lnTo>
                      <a:pt x="8" y="20"/>
                    </a:lnTo>
                    <a:lnTo>
                      <a:pt x="0" y="20"/>
                    </a:lnTo>
                    <a:lnTo>
                      <a:pt x="0" y="20"/>
                    </a:lnTo>
                    <a:lnTo>
                      <a:pt x="0" y="2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6" name="Freeform 20"/>
              <p:cNvSpPr>
                <a:spLocks/>
              </p:cNvSpPr>
              <p:nvPr/>
            </p:nvSpPr>
            <p:spPr bwMode="gray">
              <a:xfrm>
                <a:off x="7046922" y="3790890"/>
                <a:ext cx="666898" cy="238178"/>
              </a:xfrm>
              <a:custGeom>
                <a:avLst/>
                <a:gdLst>
                  <a:gd name="T0" fmla="*/ 226 w 420"/>
                  <a:gd name="T1" fmla="*/ 150 h 150"/>
                  <a:gd name="T2" fmla="*/ 220 w 420"/>
                  <a:gd name="T3" fmla="*/ 144 h 150"/>
                  <a:gd name="T4" fmla="*/ 212 w 420"/>
                  <a:gd name="T5" fmla="*/ 138 h 150"/>
                  <a:gd name="T6" fmla="*/ 192 w 420"/>
                  <a:gd name="T7" fmla="*/ 138 h 150"/>
                  <a:gd name="T8" fmla="*/ 178 w 420"/>
                  <a:gd name="T9" fmla="*/ 144 h 150"/>
                  <a:gd name="T10" fmla="*/ 144 w 420"/>
                  <a:gd name="T11" fmla="*/ 144 h 150"/>
                  <a:gd name="T12" fmla="*/ 138 w 420"/>
                  <a:gd name="T13" fmla="*/ 150 h 150"/>
                  <a:gd name="T14" fmla="*/ 130 w 420"/>
                  <a:gd name="T15" fmla="*/ 144 h 150"/>
                  <a:gd name="T16" fmla="*/ 138 w 420"/>
                  <a:gd name="T17" fmla="*/ 124 h 150"/>
                  <a:gd name="T18" fmla="*/ 144 w 420"/>
                  <a:gd name="T19" fmla="*/ 116 h 150"/>
                  <a:gd name="T20" fmla="*/ 124 w 420"/>
                  <a:gd name="T21" fmla="*/ 96 h 150"/>
                  <a:gd name="T22" fmla="*/ 110 w 420"/>
                  <a:gd name="T23" fmla="*/ 76 h 150"/>
                  <a:gd name="T24" fmla="*/ 104 w 420"/>
                  <a:gd name="T25" fmla="*/ 62 h 150"/>
                  <a:gd name="T26" fmla="*/ 84 w 420"/>
                  <a:gd name="T27" fmla="*/ 62 h 150"/>
                  <a:gd name="T28" fmla="*/ 68 w 420"/>
                  <a:gd name="T29" fmla="*/ 48 h 150"/>
                  <a:gd name="T30" fmla="*/ 54 w 420"/>
                  <a:gd name="T31" fmla="*/ 42 h 150"/>
                  <a:gd name="T32" fmla="*/ 42 w 420"/>
                  <a:gd name="T33" fmla="*/ 48 h 150"/>
                  <a:gd name="T34" fmla="*/ 28 w 420"/>
                  <a:gd name="T35" fmla="*/ 42 h 150"/>
                  <a:gd name="T36" fmla="*/ 0 w 420"/>
                  <a:gd name="T37" fmla="*/ 36 h 150"/>
                  <a:gd name="T38" fmla="*/ 8 w 420"/>
                  <a:gd name="T39" fmla="*/ 22 h 150"/>
                  <a:gd name="T40" fmla="*/ 28 w 420"/>
                  <a:gd name="T41" fmla="*/ 22 h 150"/>
                  <a:gd name="T42" fmla="*/ 42 w 420"/>
                  <a:gd name="T43" fmla="*/ 0 h 150"/>
                  <a:gd name="T44" fmla="*/ 70 w 420"/>
                  <a:gd name="T45" fmla="*/ 14 h 150"/>
                  <a:gd name="T46" fmla="*/ 104 w 420"/>
                  <a:gd name="T47" fmla="*/ 14 h 150"/>
                  <a:gd name="T48" fmla="*/ 118 w 420"/>
                  <a:gd name="T49" fmla="*/ 22 h 150"/>
                  <a:gd name="T50" fmla="*/ 144 w 420"/>
                  <a:gd name="T51" fmla="*/ 22 h 150"/>
                  <a:gd name="T52" fmla="*/ 172 w 420"/>
                  <a:gd name="T53" fmla="*/ 14 h 150"/>
                  <a:gd name="T54" fmla="*/ 200 w 420"/>
                  <a:gd name="T55" fmla="*/ 22 h 150"/>
                  <a:gd name="T56" fmla="*/ 220 w 420"/>
                  <a:gd name="T57" fmla="*/ 22 h 150"/>
                  <a:gd name="T58" fmla="*/ 220 w 420"/>
                  <a:gd name="T59" fmla="*/ 36 h 150"/>
                  <a:gd name="T60" fmla="*/ 248 w 420"/>
                  <a:gd name="T61" fmla="*/ 36 h 150"/>
                  <a:gd name="T62" fmla="*/ 268 w 420"/>
                  <a:gd name="T63" fmla="*/ 22 h 150"/>
                  <a:gd name="T64" fmla="*/ 288 w 420"/>
                  <a:gd name="T65" fmla="*/ 28 h 150"/>
                  <a:gd name="T66" fmla="*/ 296 w 420"/>
                  <a:gd name="T67" fmla="*/ 14 h 150"/>
                  <a:gd name="T68" fmla="*/ 308 w 420"/>
                  <a:gd name="T69" fmla="*/ 14 h 150"/>
                  <a:gd name="T70" fmla="*/ 324 w 420"/>
                  <a:gd name="T71" fmla="*/ 22 h 150"/>
                  <a:gd name="T72" fmla="*/ 336 w 420"/>
                  <a:gd name="T73" fmla="*/ 14 h 150"/>
                  <a:gd name="T74" fmla="*/ 350 w 420"/>
                  <a:gd name="T75" fmla="*/ 28 h 150"/>
                  <a:gd name="T76" fmla="*/ 358 w 420"/>
                  <a:gd name="T77" fmla="*/ 42 h 150"/>
                  <a:gd name="T78" fmla="*/ 378 w 420"/>
                  <a:gd name="T79" fmla="*/ 36 h 150"/>
                  <a:gd name="T80" fmla="*/ 392 w 420"/>
                  <a:gd name="T81" fmla="*/ 42 h 150"/>
                  <a:gd name="T82" fmla="*/ 392 w 420"/>
                  <a:gd name="T83" fmla="*/ 62 h 150"/>
                  <a:gd name="T84" fmla="*/ 420 w 420"/>
                  <a:gd name="T85" fmla="*/ 76 h 150"/>
                  <a:gd name="T86" fmla="*/ 420 w 420"/>
                  <a:gd name="T87" fmla="*/ 96 h 150"/>
                  <a:gd name="T88" fmla="*/ 392 w 420"/>
                  <a:gd name="T89" fmla="*/ 96 h 150"/>
                  <a:gd name="T90" fmla="*/ 378 w 420"/>
                  <a:gd name="T91" fmla="*/ 96 h 150"/>
                  <a:gd name="T92" fmla="*/ 350 w 420"/>
                  <a:gd name="T93" fmla="*/ 82 h 150"/>
                  <a:gd name="T94" fmla="*/ 336 w 420"/>
                  <a:gd name="T95" fmla="*/ 102 h 150"/>
                  <a:gd name="T96" fmla="*/ 330 w 420"/>
                  <a:gd name="T97" fmla="*/ 110 h 150"/>
                  <a:gd name="T98" fmla="*/ 324 w 420"/>
                  <a:gd name="T99" fmla="*/ 116 h 150"/>
                  <a:gd name="T100" fmla="*/ 308 w 420"/>
                  <a:gd name="T101" fmla="*/ 124 h 150"/>
                  <a:gd name="T102" fmla="*/ 288 w 420"/>
                  <a:gd name="T103" fmla="*/ 124 h 150"/>
                  <a:gd name="T104" fmla="*/ 262 w 420"/>
                  <a:gd name="T105" fmla="*/ 138 h 150"/>
                  <a:gd name="T106" fmla="*/ 240 w 420"/>
                  <a:gd name="T107" fmla="*/ 150 h 150"/>
                  <a:gd name="T108" fmla="*/ 240 w 420"/>
                  <a:gd name="T10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20" h="150">
                    <a:moveTo>
                      <a:pt x="240" y="150"/>
                    </a:moveTo>
                    <a:lnTo>
                      <a:pt x="226" y="150"/>
                    </a:lnTo>
                    <a:lnTo>
                      <a:pt x="220" y="150"/>
                    </a:lnTo>
                    <a:lnTo>
                      <a:pt x="220" y="144"/>
                    </a:lnTo>
                    <a:lnTo>
                      <a:pt x="220" y="138"/>
                    </a:lnTo>
                    <a:lnTo>
                      <a:pt x="212" y="138"/>
                    </a:lnTo>
                    <a:lnTo>
                      <a:pt x="198" y="130"/>
                    </a:lnTo>
                    <a:lnTo>
                      <a:pt x="192" y="138"/>
                    </a:lnTo>
                    <a:lnTo>
                      <a:pt x="186" y="138"/>
                    </a:lnTo>
                    <a:lnTo>
                      <a:pt x="178" y="144"/>
                    </a:lnTo>
                    <a:lnTo>
                      <a:pt x="152" y="144"/>
                    </a:lnTo>
                    <a:lnTo>
                      <a:pt x="144" y="144"/>
                    </a:lnTo>
                    <a:lnTo>
                      <a:pt x="138" y="144"/>
                    </a:lnTo>
                    <a:lnTo>
                      <a:pt x="138" y="150"/>
                    </a:lnTo>
                    <a:lnTo>
                      <a:pt x="130" y="150"/>
                    </a:lnTo>
                    <a:lnTo>
                      <a:pt x="130" y="144"/>
                    </a:lnTo>
                    <a:lnTo>
                      <a:pt x="130" y="138"/>
                    </a:lnTo>
                    <a:lnTo>
                      <a:pt x="138" y="124"/>
                    </a:lnTo>
                    <a:lnTo>
                      <a:pt x="144" y="124"/>
                    </a:lnTo>
                    <a:lnTo>
                      <a:pt x="144" y="116"/>
                    </a:lnTo>
                    <a:lnTo>
                      <a:pt x="138" y="110"/>
                    </a:lnTo>
                    <a:lnTo>
                      <a:pt x="124" y="96"/>
                    </a:lnTo>
                    <a:lnTo>
                      <a:pt x="118" y="88"/>
                    </a:lnTo>
                    <a:lnTo>
                      <a:pt x="110" y="76"/>
                    </a:lnTo>
                    <a:lnTo>
                      <a:pt x="110" y="70"/>
                    </a:lnTo>
                    <a:lnTo>
                      <a:pt x="104" y="62"/>
                    </a:lnTo>
                    <a:lnTo>
                      <a:pt x="90" y="62"/>
                    </a:lnTo>
                    <a:lnTo>
                      <a:pt x="84" y="62"/>
                    </a:lnTo>
                    <a:lnTo>
                      <a:pt x="84" y="48"/>
                    </a:lnTo>
                    <a:lnTo>
                      <a:pt x="68" y="48"/>
                    </a:lnTo>
                    <a:lnTo>
                      <a:pt x="62" y="42"/>
                    </a:lnTo>
                    <a:lnTo>
                      <a:pt x="54" y="42"/>
                    </a:lnTo>
                    <a:lnTo>
                      <a:pt x="48" y="48"/>
                    </a:lnTo>
                    <a:lnTo>
                      <a:pt x="42" y="48"/>
                    </a:lnTo>
                    <a:lnTo>
                      <a:pt x="34" y="42"/>
                    </a:lnTo>
                    <a:lnTo>
                      <a:pt x="28" y="42"/>
                    </a:lnTo>
                    <a:lnTo>
                      <a:pt x="20" y="42"/>
                    </a:lnTo>
                    <a:lnTo>
                      <a:pt x="0" y="36"/>
                    </a:lnTo>
                    <a:lnTo>
                      <a:pt x="0" y="36"/>
                    </a:lnTo>
                    <a:lnTo>
                      <a:pt x="8" y="22"/>
                    </a:lnTo>
                    <a:lnTo>
                      <a:pt x="14" y="22"/>
                    </a:lnTo>
                    <a:lnTo>
                      <a:pt x="28" y="22"/>
                    </a:lnTo>
                    <a:lnTo>
                      <a:pt x="36" y="14"/>
                    </a:lnTo>
                    <a:lnTo>
                      <a:pt x="42" y="0"/>
                    </a:lnTo>
                    <a:lnTo>
                      <a:pt x="56" y="8"/>
                    </a:lnTo>
                    <a:lnTo>
                      <a:pt x="70" y="14"/>
                    </a:lnTo>
                    <a:lnTo>
                      <a:pt x="76" y="14"/>
                    </a:lnTo>
                    <a:lnTo>
                      <a:pt x="104" y="14"/>
                    </a:lnTo>
                    <a:lnTo>
                      <a:pt x="110" y="22"/>
                    </a:lnTo>
                    <a:lnTo>
                      <a:pt x="118" y="22"/>
                    </a:lnTo>
                    <a:lnTo>
                      <a:pt x="132" y="22"/>
                    </a:lnTo>
                    <a:lnTo>
                      <a:pt x="144" y="22"/>
                    </a:lnTo>
                    <a:lnTo>
                      <a:pt x="166" y="14"/>
                    </a:lnTo>
                    <a:lnTo>
                      <a:pt x="172" y="14"/>
                    </a:lnTo>
                    <a:lnTo>
                      <a:pt x="180" y="22"/>
                    </a:lnTo>
                    <a:lnTo>
                      <a:pt x="200" y="22"/>
                    </a:lnTo>
                    <a:lnTo>
                      <a:pt x="214" y="22"/>
                    </a:lnTo>
                    <a:lnTo>
                      <a:pt x="220" y="22"/>
                    </a:lnTo>
                    <a:lnTo>
                      <a:pt x="228" y="28"/>
                    </a:lnTo>
                    <a:lnTo>
                      <a:pt x="220" y="36"/>
                    </a:lnTo>
                    <a:lnTo>
                      <a:pt x="234" y="36"/>
                    </a:lnTo>
                    <a:lnTo>
                      <a:pt x="248" y="36"/>
                    </a:lnTo>
                    <a:lnTo>
                      <a:pt x="254" y="28"/>
                    </a:lnTo>
                    <a:lnTo>
                      <a:pt x="268" y="22"/>
                    </a:lnTo>
                    <a:lnTo>
                      <a:pt x="282" y="28"/>
                    </a:lnTo>
                    <a:lnTo>
                      <a:pt x="288" y="28"/>
                    </a:lnTo>
                    <a:lnTo>
                      <a:pt x="296" y="22"/>
                    </a:lnTo>
                    <a:lnTo>
                      <a:pt x="296" y="14"/>
                    </a:lnTo>
                    <a:lnTo>
                      <a:pt x="302" y="14"/>
                    </a:lnTo>
                    <a:lnTo>
                      <a:pt x="308" y="14"/>
                    </a:lnTo>
                    <a:lnTo>
                      <a:pt x="308" y="28"/>
                    </a:lnTo>
                    <a:lnTo>
                      <a:pt x="324" y="22"/>
                    </a:lnTo>
                    <a:lnTo>
                      <a:pt x="324" y="14"/>
                    </a:lnTo>
                    <a:lnTo>
                      <a:pt x="336" y="14"/>
                    </a:lnTo>
                    <a:lnTo>
                      <a:pt x="350" y="22"/>
                    </a:lnTo>
                    <a:lnTo>
                      <a:pt x="350" y="28"/>
                    </a:lnTo>
                    <a:lnTo>
                      <a:pt x="350" y="36"/>
                    </a:lnTo>
                    <a:lnTo>
                      <a:pt x="358" y="42"/>
                    </a:lnTo>
                    <a:lnTo>
                      <a:pt x="370" y="36"/>
                    </a:lnTo>
                    <a:lnTo>
                      <a:pt x="378" y="36"/>
                    </a:lnTo>
                    <a:lnTo>
                      <a:pt x="398" y="42"/>
                    </a:lnTo>
                    <a:lnTo>
                      <a:pt x="392" y="42"/>
                    </a:lnTo>
                    <a:lnTo>
                      <a:pt x="392" y="56"/>
                    </a:lnTo>
                    <a:lnTo>
                      <a:pt x="392" y="62"/>
                    </a:lnTo>
                    <a:lnTo>
                      <a:pt x="412" y="70"/>
                    </a:lnTo>
                    <a:lnTo>
                      <a:pt x="420" y="76"/>
                    </a:lnTo>
                    <a:lnTo>
                      <a:pt x="420" y="82"/>
                    </a:lnTo>
                    <a:lnTo>
                      <a:pt x="420" y="96"/>
                    </a:lnTo>
                    <a:lnTo>
                      <a:pt x="412" y="96"/>
                    </a:lnTo>
                    <a:lnTo>
                      <a:pt x="392" y="96"/>
                    </a:lnTo>
                    <a:lnTo>
                      <a:pt x="392" y="102"/>
                    </a:lnTo>
                    <a:lnTo>
                      <a:pt x="378" y="96"/>
                    </a:lnTo>
                    <a:lnTo>
                      <a:pt x="364" y="96"/>
                    </a:lnTo>
                    <a:lnTo>
                      <a:pt x="350" y="82"/>
                    </a:lnTo>
                    <a:lnTo>
                      <a:pt x="344" y="88"/>
                    </a:lnTo>
                    <a:lnTo>
                      <a:pt x="336" y="102"/>
                    </a:lnTo>
                    <a:lnTo>
                      <a:pt x="330" y="102"/>
                    </a:lnTo>
                    <a:lnTo>
                      <a:pt x="330" y="110"/>
                    </a:lnTo>
                    <a:lnTo>
                      <a:pt x="330" y="116"/>
                    </a:lnTo>
                    <a:lnTo>
                      <a:pt x="324" y="116"/>
                    </a:lnTo>
                    <a:lnTo>
                      <a:pt x="308" y="116"/>
                    </a:lnTo>
                    <a:lnTo>
                      <a:pt x="308" y="124"/>
                    </a:lnTo>
                    <a:lnTo>
                      <a:pt x="302" y="124"/>
                    </a:lnTo>
                    <a:lnTo>
                      <a:pt x="288" y="124"/>
                    </a:lnTo>
                    <a:lnTo>
                      <a:pt x="274" y="130"/>
                    </a:lnTo>
                    <a:lnTo>
                      <a:pt x="262" y="138"/>
                    </a:lnTo>
                    <a:lnTo>
                      <a:pt x="240" y="150"/>
                    </a:lnTo>
                    <a:lnTo>
                      <a:pt x="240" y="150"/>
                    </a:lnTo>
                    <a:lnTo>
                      <a:pt x="240" y="150"/>
                    </a:lnTo>
                    <a:lnTo>
                      <a:pt x="240" y="15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7" name="Freeform 21"/>
              <p:cNvSpPr>
                <a:spLocks/>
              </p:cNvSpPr>
              <p:nvPr>
                <p:custDataLst>
                  <p:tags r:id="rId129"/>
                </p:custDataLst>
              </p:nvPr>
            </p:nvSpPr>
            <p:spPr bwMode="gray">
              <a:xfrm>
                <a:off x="2631104" y="3600348"/>
                <a:ext cx="1132139" cy="952711"/>
              </a:xfrm>
              <a:custGeom>
                <a:avLst/>
                <a:gdLst>
                  <a:gd name="T0" fmla="*/ 415 w 713"/>
                  <a:gd name="T1" fmla="*/ 124 h 600"/>
                  <a:gd name="T2" fmla="*/ 373 w 713"/>
                  <a:gd name="T3" fmla="*/ 110 h 600"/>
                  <a:gd name="T4" fmla="*/ 325 w 713"/>
                  <a:gd name="T5" fmla="*/ 90 h 600"/>
                  <a:gd name="T6" fmla="*/ 291 w 713"/>
                  <a:gd name="T7" fmla="*/ 76 h 600"/>
                  <a:gd name="T8" fmla="*/ 241 w 713"/>
                  <a:gd name="T9" fmla="*/ 54 h 600"/>
                  <a:gd name="T10" fmla="*/ 201 w 713"/>
                  <a:gd name="T11" fmla="*/ 40 h 600"/>
                  <a:gd name="T12" fmla="*/ 158 w 713"/>
                  <a:gd name="T13" fmla="*/ 14 h 600"/>
                  <a:gd name="T14" fmla="*/ 130 w 713"/>
                  <a:gd name="T15" fmla="*/ 0 h 600"/>
                  <a:gd name="T16" fmla="*/ 116 w 713"/>
                  <a:gd name="T17" fmla="*/ 14 h 600"/>
                  <a:gd name="T18" fmla="*/ 88 w 713"/>
                  <a:gd name="T19" fmla="*/ 14 h 600"/>
                  <a:gd name="T20" fmla="*/ 54 w 713"/>
                  <a:gd name="T21" fmla="*/ 20 h 600"/>
                  <a:gd name="T22" fmla="*/ 62 w 713"/>
                  <a:gd name="T23" fmla="*/ 40 h 600"/>
                  <a:gd name="T24" fmla="*/ 54 w 713"/>
                  <a:gd name="T25" fmla="*/ 48 h 600"/>
                  <a:gd name="T26" fmla="*/ 54 w 713"/>
                  <a:gd name="T27" fmla="*/ 76 h 600"/>
                  <a:gd name="T28" fmla="*/ 40 w 713"/>
                  <a:gd name="T29" fmla="*/ 90 h 600"/>
                  <a:gd name="T30" fmla="*/ 76 w 713"/>
                  <a:gd name="T31" fmla="*/ 102 h 600"/>
                  <a:gd name="T32" fmla="*/ 88 w 713"/>
                  <a:gd name="T33" fmla="*/ 124 h 600"/>
                  <a:gd name="T34" fmla="*/ 124 w 713"/>
                  <a:gd name="T35" fmla="*/ 138 h 600"/>
                  <a:gd name="T36" fmla="*/ 144 w 713"/>
                  <a:gd name="T37" fmla="*/ 144 h 600"/>
                  <a:gd name="T38" fmla="*/ 158 w 713"/>
                  <a:gd name="T39" fmla="*/ 164 h 600"/>
                  <a:gd name="T40" fmla="*/ 164 w 713"/>
                  <a:gd name="T41" fmla="*/ 186 h 600"/>
                  <a:gd name="T42" fmla="*/ 144 w 713"/>
                  <a:gd name="T43" fmla="*/ 198 h 600"/>
                  <a:gd name="T44" fmla="*/ 124 w 713"/>
                  <a:gd name="T45" fmla="*/ 220 h 600"/>
                  <a:gd name="T46" fmla="*/ 110 w 713"/>
                  <a:gd name="T47" fmla="*/ 254 h 600"/>
                  <a:gd name="T48" fmla="*/ 96 w 713"/>
                  <a:gd name="T49" fmla="*/ 274 h 600"/>
                  <a:gd name="T50" fmla="*/ 68 w 713"/>
                  <a:gd name="T51" fmla="*/ 310 h 600"/>
                  <a:gd name="T52" fmla="*/ 62 w 713"/>
                  <a:gd name="T53" fmla="*/ 336 h 600"/>
                  <a:gd name="T54" fmla="*/ 48 w 713"/>
                  <a:gd name="T55" fmla="*/ 372 h 600"/>
                  <a:gd name="T56" fmla="*/ 34 w 713"/>
                  <a:gd name="T57" fmla="*/ 400 h 600"/>
                  <a:gd name="T58" fmla="*/ 26 w 713"/>
                  <a:gd name="T59" fmla="*/ 420 h 600"/>
                  <a:gd name="T60" fmla="*/ 6 w 713"/>
                  <a:gd name="T61" fmla="*/ 434 h 600"/>
                  <a:gd name="T62" fmla="*/ 12 w 713"/>
                  <a:gd name="T63" fmla="*/ 468 h 600"/>
                  <a:gd name="T64" fmla="*/ 48 w 713"/>
                  <a:gd name="T65" fmla="*/ 502 h 600"/>
                  <a:gd name="T66" fmla="*/ 62 w 713"/>
                  <a:gd name="T67" fmla="*/ 522 h 600"/>
                  <a:gd name="T68" fmla="*/ 48 w 713"/>
                  <a:gd name="T69" fmla="*/ 564 h 600"/>
                  <a:gd name="T70" fmla="*/ 82 w 713"/>
                  <a:gd name="T71" fmla="*/ 584 h 600"/>
                  <a:gd name="T72" fmla="*/ 124 w 713"/>
                  <a:gd name="T73" fmla="*/ 564 h 600"/>
                  <a:gd name="T74" fmla="*/ 178 w 713"/>
                  <a:gd name="T75" fmla="*/ 564 h 600"/>
                  <a:gd name="T76" fmla="*/ 241 w 713"/>
                  <a:gd name="T77" fmla="*/ 584 h 600"/>
                  <a:gd name="T78" fmla="*/ 291 w 713"/>
                  <a:gd name="T79" fmla="*/ 592 h 600"/>
                  <a:gd name="T80" fmla="*/ 311 w 713"/>
                  <a:gd name="T81" fmla="*/ 584 h 600"/>
                  <a:gd name="T82" fmla="*/ 345 w 713"/>
                  <a:gd name="T83" fmla="*/ 558 h 600"/>
                  <a:gd name="T84" fmla="*/ 401 w 713"/>
                  <a:gd name="T85" fmla="*/ 550 h 600"/>
                  <a:gd name="T86" fmla="*/ 421 w 713"/>
                  <a:gd name="T87" fmla="*/ 516 h 600"/>
                  <a:gd name="T88" fmla="*/ 463 w 713"/>
                  <a:gd name="T89" fmla="*/ 488 h 600"/>
                  <a:gd name="T90" fmla="*/ 455 w 713"/>
                  <a:gd name="T91" fmla="*/ 448 h 600"/>
                  <a:gd name="T92" fmla="*/ 497 w 713"/>
                  <a:gd name="T93" fmla="*/ 400 h 600"/>
                  <a:gd name="T94" fmla="*/ 547 w 713"/>
                  <a:gd name="T95" fmla="*/ 364 h 600"/>
                  <a:gd name="T96" fmla="*/ 553 w 713"/>
                  <a:gd name="T97" fmla="*/ 352 h 600"/>
                  <a:gd name="T98" fmla="*/ 609 w 713"/>
                  <a:gd name="T99" fmla="*/ 344 h 600"/>
                  <a:gd name="T100" fmla="*/ 651 w 713"/>
                  <a:gd name="T101" fmla="*/ 336 h 600"/>
                  <a:gd name="T102" fmla="*/ 691 w 713"/>
                  <a:gd name="T103" fmla="*/ 324 h 600"/>
                  <a:gd name="T104" fmla="*/ 713 w 713"/>
                  <a:gd name="T105" fmla="*/ 288 h 600"/>
                  <a:gd name="T106" fmla="*/ 691 w 713"/>
                  <a:gd name="T107" fmla="*/ 268 h 600"/>
                  <a:gd name="T108" fmla="*/ 651 w 713"/>
                  <a:gd name="T109" fmla="*/ 262 h 600"/>
                  <a:gd name="T110" fmla="*/ 615 w 713"/>
                  <a:gd name="T111" fmla="*/ 248 h 600"/>
                  <a:gd name="T112" fmla="*/ 587 w 713"/>
                  <a:gd name="T113" fmla="*/ 228 h 600"/>
                  <a:gd name="T114" fmla="*/ 547 w 713"/>
                  <a:gd name="T115" fmla="*/ 214 h 600"/>
                  <a:gd name="T116" fmla="*/ 497 w 713"/>
                  <a:gd name="T117" fmla="*/ 178 h 600"/>
                  <a:gd name="T118" fmla="*/ 471 w 713"/>
                  <a:gd name="T119" fmla="*/ 158 h 600"/>
                  <a:gd name="T120" fmla="*/ 455 w 713"/>
                  <a:gd name="T121" fmla="*/ 13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3" h="600">
                    <a:moveTo>
                      <a:pt x="455" y="138"/>
                    </a:moveTo>
                    <a:lnTo>
                      <a:pt x="449" y="138"/>
                    </a:lnTo>
                    <a:lnTo>
                      <a:pt x="443" y="130"/>
                    </a:lnTo>
                    <a:lnTo>
                      <a:pt x="429" y="130"/>
                    </a:lnTo>
                    <a:lnTo>
                      <a:pt x="415" y="124"/>
                    </a:lnTo>
                    <a:lnTo>
                      <a:pt x="407" y="116"/>
                    </a:lnTo>
                    <a:lnTo>
                      <a:pt x="401" y="116"/>
                    </a:lnTo>
                    <a:lnTo>
                      <a:pt x="393" y="116"/>
                    </a:lnTo>
                    <a:lnTo>
                      <a:pt x="381" y="116"/>
                    </a:lnTo>
                    <a:lnTo>
                      <a:pt x="373" y="110"/>
                    </a:lnTo>
                    <a:lnTo>
                      <a:pt x="367" y="96"/>
                    </a:lnTo>
                    <a:lnTo>
                      <a:pt x="353" y="96"/>
                    </a:lnTo>
                    <a:lnTo>
                      <a:pt x="345" y="90"/>
                    </a:lnTo>
                    <a:lnTo>
                      <a:pt x="339" y="90"/>
                    </a:lnTo>
                    <a:lnTo>
                      <a:pt x="325" y="90"/>
                    </a:lnTo>
                    <a:lnTo>
                      <a:pt x="317" y="90"/>
                    </a:lnTo>
                    <a:lnTo>
                      <a:pt x="311" y="82"/>
                    </a:lnTo>
                    <a:lnTo>
                      <a:pt x="303" y="82"/>
                    </a:lnTo>
                    <a:lnTo>
                      <a:pt x="297" y="82"/>
                    </a:lnTo>
                    <a:lnTo>
                      <a:pt x="291" y="76"/>
                    </a:lnTo>
                    <a:lnTo>
                      <a:pt x="283" y="68"/>
                    </a:lnTo>
                    <a:lnTo>
                      <a:pt x="277" y="68"/>
                    </a:lnTo>
                    <a:lnTo>
                      <a:pt x="263" y="62"/>
                    </a:lnTo>
                    <a:lnTo>
                      <a:pt x="255" y="62"/>
                    </a:lnTo>
                    <a:lnTo>
                      <a:pt x="241" y="54"/>
                    </a:lnTo>
                    <a:lnTo>
                      <a:pt x="241" y="48"/>
                    </a:lnTo>
                    <a:lnTo>
                      <a:pt x="229" y="48"/>
                    </a:lnTo>
                    <a:lnTo>
                      <a:pt x="221" y="40"/>
                    </a:lnTo>
                    <a:lnTo>
                      <a:pt x="215" y="40"/>
                    </a:lnTo>
                    <a:lnTo>
                      <a:pt x="201" y="40"/>
                    </a:lnTo>
                    <a:lnTo>
                      <a:pt x="193" y="34"/>
                    </a:lnTo>
                    <a:lnTo>
                      <a:pt x="186" y="28"/>
                    </a:lnTo>
                    <a:lnTo>
                      <a:pt x="172" y="34"/>
                    </a:lnTo>
                    <a:lnTo>
                      <a:pt x="164" y="20"/>
                    </a:lnTo>
                    <a:lnTo>
                      <a:pt x="158" y="14"/>
                    </a:lnTo>
                    <a:lnTo>
                      <a:pt x="158" y="6"/>
                    </a:lnTo>
                    <a:lnTo>
                      <a:pt x="158" y="0"/>
                    </a:lnTo>
                    <a:lnTo>
                      <a:pt x="144" y="6"/>
                    </a:lnTo>
                    <a:lnTo>
                      <a:pt x="138" y="6"/>
                    </a:lnTo>
                    <a:lnTo>
                      <a:pt x="130" y="0"/>
                    </a:lnTo>
                    <a:lnTo>
                      <a:pt x="130" y="6"/>
                    </a:lnTo>
                    <a:lnTo>
                      <a:pt x="124" y="6"/>
                    </a:lnTo>
                    <a:lnTo>
                      <a:pt x="116" y="6"/>
                    </a:lnTo>
                    <a:lnTo>
                      <a:pt x="110" y="6"/>
                    </a:lnTo>
                    <a:lnTo>
                      <a:pt x="116" y="14"/>
                    </a:lnTo>
                    <a:lnTo>
                      <a:pt x="110" y="20"/>
                    </a:lnTo>
                    <a:lnTo>
                      <a:pt x="102" y="28"/>
                    </a:lnTo>
                    <a:lnTo>
                      <a:pt x="102" y="20"/>
                    </a:lnTo>
                    <a:lnTo>
                      <a:pt x="96" y="14"/>
                    </a:lnTo>
                    <a:lnTo>
                      <a:pt x="88" y="14"/>
                    </a:lnTo>
                    <a:lnTo>
                      <a:pt x="82" y="14"/>
                    </a:lnTo>
                    <a:lnTo>
                      <a:pt x="76" y="6"/>
                    </a:lnTo>
                    <a:lnTo>
                      <a:pt x="68" y="20"/>
                    </a:lnTo>
                    <a:lnTo>
                      <a:pt x="62" y="14"/>
                    </a:lnTo>
                    <a:lnTo>
                      <a:pt x="54" y="20"/>
                    </a:lnTo>
                    <a:lnTo>
                      <a:pt x="48" y="28"/>
                    </a:lnTo>
                    <a:lnTo>
                      <a:pt x="54" y="34"/>
                    </a:lnTo>
                    <a:lnTo>
                      <a:pt x="54" y="40"/>
                    </a:lnTo>
                    <a:lnTo>
                      <a:pt x="62" y="34"/>
                    </a:lnTo>
                    <a:lnTo>
                      <a:pt x="62" y="40"/>
                    </a:lnTo>
                    <a:lnTo>
                      <a:pt x="54" y="48"/>
                    </a:lnTo>
                    <a:lnTo>
                      <a:pt x="48" y="48"/>
                    </a:lnTo>
                    <a:lnTo>
                      <a:pt x="48" y="54"/>
                    </a:lnTo>
                    <a:lnTo>
                      <a:pt x="54" y="54"/>
                    </a:lnTo>
                    <a:lnTo>
                      <a:pt x="54" y="48"/>
                    </a:lnTo>
                    <a:lnTo>
                      <a:pt x="68" y="48"/>
                    </a:lnTo>
                    <a:lnTo>
                      <a:pt x="68" y="54"/>
                    </a:lnTo>
                    <a:lnTo>
                      <a:pt x="62" y="62"/>
                    </a:lnTo>
                    <a:lnTo>
                      <a:pt x="62" y="68"/>
                    </a:lnTo>
                    <a:lnTo>
                      <a:pt x="54" y="76"/>
                    </a:lnTo>
                    <a:lnTo>
                      <a:pt x="62" y="76"/>
                    </a:lnTo>
                    <a:lnTo>
                      <a:pt x="62" y="82"/>
                    </a:lnTo>
                    <a:lnTo>
                      <a:pt x="54" y="90"/>
                    </a:lnTo>
                    <a:lnTo>
                      <a:pt x="48" y="82"/>
                    </a:lnTo>
                    <a:lnTo>
                      <a:pt x="40" y="90"/>
                    </a:lnTo>
                    <a:lnTo>
                      <a:pt x="40" y="102"/>
                    </a:lnTo>
                    <a:lnTo>
                      <a:pt x="54" y="102"/>
                    </a:lnTo>
                    <a:lnTo>
                      <a:pt x="62" y="102"/>
                    </a:lnTo>
                    <a:lnTo>
                      <a:pt x="62" y="96"/>
                    </a:lnTo>
                    <a:lnTo>
                      <a:pt x="76" y="102"/>
                    </a:lnTo>
                    <a:lnTo>
                      <a:pt x="82" y="102"/>
                    </a:lnTo>
                    <a:lnTo>
                      <a:pt x="82" y="110"/>
                    </a:lnTo>
                    <a:lnTo>
                      <a:pt x="82" y="116"/>
                    </a:lnTo>
                    <a:lnTo>
                      <a:pt x="82" y="124"/>
                    </a:lnTo>
                    <a:lnTo>
                      <a:pt x="88" y="124"/>
                    </a:lnTo>
                    <a:lnTo>
                      <a:pt x="96" y="124"/>
                    </a:lnTo>
                    <a:lnTo>
                      <a:pt x="102" y="124"/>
                    </a:lnTo>
                    <a:lnTo>
                      <a:pt x="110" y="130"/>
                    </a:lnTo>
                    <a:lnTo>
                      <a:pt x="116" y="130"/>
                    </a:lnTo>
                    <a:lnTo>
                      <a:pt x="124" y="138"/>
                    </a:lnTo>
                    <a:lnTo>
                      <a:pt x="130" y="144"/>
                    </a:lnTo>
                    <a:lnTo>
                      <a:pt x="130" y="138"/>
                    </a:lnTo>
                    <a:lnTo>
                      <a:pt x="138" y="138"/>
                    </a:lnTo>
                    <a:lnTo>
                      <a:pt x="144" y="138"/>
                    </a:lnTo>
                    <a:lnTo>
                      <a:pt x="144" y="144"/>
                    </a:lnTo>
                    <a:lnTo>
                      <a:pt x="152" y="144"/>
                    </a:lnTo>
                    <a:lnTo>
                      <a:pt x="158" y="144"/>
                    </a:lnTo>
                    <a:lnTo>
                      <a:pt x="164" y="152"/>
                    </a:lnTo>
                    <a:lnTo>
                      <a:pt x="158" y="158"/>
                    </a:lnTo>
                    <a:lnTo>
                      <a:pt x="158" y="164"/>
                    </a:lnTo>
                    <a:lnTo>
                      <a:pt x="158" y="172"/>
                    </a:lnTo>
                    <a:lnTo>
                      <a:pt x="164" y="172"/>
                    </a:lnTo>
                    <a:lnTo>
                      <a:pt x="172" y="178"/>
                    </a:lnTo>
                    <a:lnTo>
                      <a:pt x="172" y="186"/>
                    </a:lnTo>
                    <a:lnTo>
                      <a:pt x="164" y="186"/>
                    </a:lnTo>
                    <a:lnTo>
                      <a:pt x="164" y="192"/>
                    </a:lnTo>
                    <a:lnTo>
                      <a:pt x="158" y="192"/>
                    </a:lnTo>
                    <a:lnTo>
                      <a:pt x="152" y="192"/>
                    </a:lnTo>
                    <a:lnTo>
                      <a:pt x="152" y="198"/>
                    </a:lnTo>
                    <a:lnTo>
                      <a:pt x="144" y="198"/>
                    </a:lnTo>
                    <a:lnTo>
                      <a:pt x="138" y="198"/>
                    </a:lnTo>
                    <a:lnTo>
                      <a:pt x="138" y="206"/>
                    </a:lnTo>
                    <a:lnTo>
                      <a:pt x="130" y="206"/>
                    </a:lnTo>
                    <a:lnTo>
                      <a:pt x="124" y="214"/>
                    </a:lnTo>
                    <a:lnTo>
                      <a:pt x="124" y="220"/>
                    </a:lnTo>
                    <a:lnTo>
                      <a:pt x="116" y="228"/>
                    </a:lnTo>
                    <a:lnTo>
                      <a:pt x="116" y="234"/>
                    </a:lnTo>
                    <a:lnTo>
                      <a:pt x="110" y="240"/>
                    </a:lnTo>
                    <a:lnTo>
                      <a:pt x="110" y="248"/>
                    </a:lnTo>
                    <a:lnTo>
                      <a:pt x="110" y="254"/>
                    </a:lnTo>
                    <a:lnTo>
                      <a:pt x="110" y="262"/>
                    </a:lnTo>
                    <a:lnTo>
                      <a:pt x="110" y="268"/>
                    </a:lnTo>
                    <a:lnTo>
                      <a:pt x="102" y="268"/>
                    </a:lnTo>
                    <a:lnTo>
                      <a:pt x="96" y="268"/>
                    </a:lnTo>
                    <a:lnTo>
                      <a:pt x="96" y="274"/>
                    </a:lnTo>
                    <a:lnTo>
                      <a:pt x="82" y="288"/>
                    </a:lnTo>
                    <a:lnTo>
                      <a:pt x="82" y="296"/>
                    </a:lnTo>
                    <a:lnTo>
                      <a:pt x="76" y="302"/>
                    </a:lnTo>
                    <a:lnTo>
                      <a:pt x="76" y="310"/>
                    </a:lnTo>
                    <a:lnTo>
                      <a:pt x="68" y="310"/>
                    </a:lnTo>
                    <a:lnTo>
                      <a:pt x="54" y="302"/>
                    </a:lnTo>
                    <a:lnTo>
                      <a:pt x="54" y="316"/>
                    </a:lnTo>
                    <a:lnTo>
                      <a:pt x="54" y="324"/>
                    </a:lnTo>
                    <a:lnTo>
                      <a:pt x="54" y="330"/>
                    </a:lnTo>
                    <a:lnTo>
                      <a:pt x="62" y="336"/>
                    </a:lnTo>
                    <a:lnTo>
                      <a:pt x="62" y="344"/>
                    </a:lnTo>
                    <a:lnTo>
                      <a:pt x="62" y="352"/>
                    </a:lnTo>
                    <a:lnTo>
                      <a:pt x="54" y="358"/>
                    </a:lnTo>
                    <a:lnTo>
                      <a:pt x="48" y="364"/>
                    </a:lnTo>
                    <a:lnTo>
                      <a:pt x="48" y="372"/>
                    </a:lnTo>
                    <a:lnTo>
                      <a:pt x="40" y="372"/>
                    </a:lnTo>
                    <a:lnTo>
                      <a:pt x="34" y="378"/>
                    </a:lnTo>
                    <a:lnTo>
                      <a:pt x="34" y="386"/>
                    </a:lnTo>
                    <a:lnTo>
                      <a:pt x="26" y="392"/>
                    </a:lnTo>
                    <a:lnTo>
                      <a:pt x="34" y="400"/>
                    </a:lnTo>
                    <a:lnTo>
                      <a:pt x="40" y="400"/>
                    </a:lnTo>
                    <a:lnTo>
                      <a:pt x="40" y="406"/>
                    </a:lnTo>
                    <a:lnTo>
                      <a:pt x="40" y="412"/>
                    </a:lnTo>
                    <a:lnTo>
                      <a:pt x="34" y="412"/>
                    </a:lnTo>
                    <a:lnTo>
                      <a:pt x="26" y="420"/>
                    </a:lnTo>
                    <a:lnTo>
                      <a:pt x="20" y="420"/>
                    </a:lnTo>
                    <a:lnTo>
                      <a:pt x="12" y="420"/>
                    </a:lnTo>
                    <a:lnTo>
                      <a:pt x="12" y="426"/>
                    </a:lnTo>
                    <a:lnTo>
                      <a:pt x="6" y="426"/>
                    </a:lnTo>
                    <a:lnTo>
                      <a:pt x="6" y="434"/>
                    </a:lnTo>
                    <a:lnTo>
                      <a:pt x="0" y="440"/>
                    </a:lnTo>
                    <a:lnTo>
                      <a:pt x="0" y="454"/>
                    </a:lnTo>
                    <a:lnTo>
                      <a:pt x="0" y="468"/>
                    </a:lnTo>
                    <a:lnTo>
                      <a:pt x="6" y="468"/>
                    </a:lnTo>
                    <a:lnTo>
                      <a:pt x="12" y="468"/>
                    </a:lnTo>
                    <a:lnTo>
                      <a:pt x="20" y="476"/>
                    </a:lnTo>
                    <a:lnTo>
                      <a:pt x="26" y="482"/>
                    </a:lnTo>
                    <a:lnTo>
                      <a:pt x="34" y="488"/>
                    </a:lnTo>
                    <a:lnTo>
                      <a:pt x="34" y="496"/>
                    </a:lnTo>
                    <a:lnTo>
                      <a:pt x="48" y="502"/>
                    </a:lnTo>
                    <a:lnTo>
                      <a:pt x="54" y="510"/>
                    </a:lnTo>
                    <a:lnTo>
                      <a:pt x="54" y="516"/>
                    </a:lnTo>
                    <a:lnTo>
                      <a:pt x="48" y="522"/>
                    </a:lnTo>
                    <a:lnTo>
                      <a:pt x="54" y="522"/>
                    </a:lnTo>
                    <a:lnTo>
                      <a:pt x="62" y="522"/>
                    </a:lnTo>
                    <a:lnTo>
                      <a:pt x="54" y="536"/>
                    </a:lnTo>
                    <a:lnTo>
                      <a:pt x="54" y="544"/>
                    </a:lnTo>
                    <a:lnTo>
                      <a:pt x="40" y="544"/>
                    </a:lnTo>
                    <a:lnTo>
                      <a:pt x="48" y="550"/>
                    </a:lnTo>
                    <a:lnTo>
                      <a:pt x="48" y="564"/>
                    </a:lnTo>
                    <a:lnTo>
                      <a:pt x="54" y="572"/>
                    </a:lnTo>
                    <a:lnTo>
                      <a:pt x="62" y="572"/>
                    </a:lnTo>
                    <a:lnTo>
                      <a:pt x="68" y="578"/>
                    </a:lnTo>
                    <a:lnTo>
                      <a:pt x="76" y="592"/>
                    </a:lnTo>
                    <a:lnTo>
                      <a:pt x="82" y="584"/>
                    </a:lnTo>
                    <a:lnTo>
                      <a:pt x="82" y="578"/>
                    </a:lnTo>
                    <a:lnTo>
                      <a:pt x="96" y="572"/>
                    </a:lnTo>
                    <a:lnTo>
                      <a:pt x="110" y="572"/>
                    </a:lnTo>
                    <a:lnTo>
                      <a:pt x="116" y="564"/>
                    </a:lnTo>
                    <a:lnTo>
                      <a:pt x="124" y="564"/>
                    </a:lnTo>
                    <a:lnTo>
                      <a:pt x="138" y="572"/>
                    </a:lnTo>
                    <a:lnTo>
                      <a:pt x="144" y="572"/>
                    </a:lnTo>
                    <a:lnTo>
                      <a:pt x="152" y="558"/>
                    </a:lnTo>
                    <a:lnTo>
                      <a:pt x="164" y="558"/>
                    </a:lnTo>
                    <a:lnTo>
                      <a:pt x="178" y="564"/>
                    </a:lnTo>
                    <a:lnTo>
                      <a:pt x="186" y="572"/>
                    </a:lnTo>
                    <a:lnTo>
                      <a:pt x="201" y="572"/>
                    </a:lnTo>
                    <a:lnTo>
                      <a:pt x="207" y="584"/>
                    </a:lnTo>
                    <a:lnTo>
                      <a:pt x="221" y="584"/>
                    </a:lnTo>
                    <a:lnTo>
                      <a:pt x="241" y="584"/>
                    </a:lnTo>
                    <a:lnTo>
                      <a:pt x="249" y="584"/>
                    </a:lnTo>
                    <a:lnTo>
                      <a:pt x="263" y="592"/>
                    </a:lnTo>
                    <a:lnTo>
                      <a:pt x="269" y="584"/>
                    </a:lnTo>
                    <a:lnTo>
                      <a:pt x="283" y="584"/>
                    </a:lnTo>
                    <a:lnTo>
                      <a:pt x="291" y="592"/>
                    </a:lnTo>
                    <a:lnTo>
                      <a:pt x="297" y="592"/>
                    </a:lnTo>
                    <a:lnTo>
                      <a:pt x="297" y="600"/>
                    </a:lnTo>
                    <a:lnTo>
                      <a:pt x="303" y="600"/>
                    </a:lnTo>
                    <a:lnTo>
                      <a:pt x="311" y="592"/>
                    </a:lnTo>
                    <a:lnTo>
                      <a:pt x="311" y="584"/>
                    </a:lnTo>
                    <a:lnTo>
                      <a:pt x="311" y="578"/>
                    </a:lnTo>
                    <a:lnTo>
                      <a:pt x="325" y="572"/>
                    </a:lnTo>
                    <a:lnTo>
                      <a:pt x="325" y="564"/>
                    </a:lnTo>
                    <a:lnTo>
                      <a:pt x="339" y="564"/>
                    </a:lnTo>
                    <a:lnTo>
                      <a:pt x="345" y="558"/>
                    </a:lnTo>
                    <a:lnTo>
                      <a:pt x="359" y="558"/>
                    </a:lnTo>
                    <a:lnTo>
                      <a:pt x="367" y="558"/>
                    </a:lnTo>
                    <a:lnTo>
                      <a:pt x="381" y="564"/>
                    </a:lnTo>
                    <a:lnTo>
                      <a:pt x="387" y="558"/>
                    </a:lnTo>
                    <a:lnTo>
                      <a:pt x="401" y="550"/>
                    </a:lnTo>
                    <a:lnTo>
                      <a:pt x="401" y="536"/>
                    </a:lnTo>
                    <a:lnTo>
                      <a:pt x="407" y="530"/>
                    </a:lnTo>
                    <a:lnTo>
                      <a:pt x="415" y="530"/>
                    </a:lnTo>
                    <a:lnTo>
                      <a:pt x="421" y="522"/>
                    </a:lnTo>
                    <a:lnTo>
                      <a:pt x="421" y="516"/>
                    </a:lnTo>
                    <a:lnTo>
                      <a:pt x="435" y="510"/>
                    </a:lnTo>
                    <a:lnTo>
                      <a:pt x="443" y="510"/>
                    </a:lnTo>
                    <a:lnTo>
                      <a:pt x="455" y="510"/>
                    </a:lnTo>
                    <a:lnTo>
                      <a:pt x="471" y="496"/>
                    </a:lnTo>
                    <a:lnTo>
                      <a:pt x="463" y="488"/>
                    </a:lnTo>
                    <a:lnTo>
                      <a:pt x="463" y="482"/>
                    </a:lnTo>
                    <a:lnTo>
                      <a:pt x="455" y="476"/>
                    </a:lnTo>
                    <a:lnTo>
                      <a:pt x="455" y="468"/>
                    </a:lnTo>
                    <a:lnTo>
                      <a:pt x="455" y="462"/>
                    </a:lnTo>
                    <a:lnTo>
                      <a:pt x="455" y="448"/>
                    </a:lnTo>
                    <a:lnTo>
                      <a:pt x="455" y="434"/>
                    </a:lnTo>
                    <a:lnTo>
                      <a:pt x="463" y="426"/>
                    </a:lnTo>
                    <a:lnTo>
                      <a:pt x="471" y="420"/>
                    </a:lnTo>
                    <a:lnTo>
                      <a:pt x="483" y="412"/>
                    </a:lnTo>
                    <a:lnTo>
                      <a:pt x="497" y="400"/>
                    </a:lnTo>
                    <a:lnTo>
                      <a:pt x="505" y="400"/>
                    </a:lnTo>
                    <a:lnTo>
                      <a:pt x="513" y="392"/>
                    </a:lnTo>
                    <a:lnTo>
                      <a:pt x="525" y="378"/>
                    </a:lnTo>
                    <a:lnTo>
                      <a:pt x="533" y="372"/>
                    </a:lnTo>
                    <a:lnTo>
                      <a:pt x="547" y="364"/>
                    </a:lnTo>
                    <a:lnTo>
                      <a:pt x="553" y="364"/>
                    </a:lnTo>
                    <a:lnTo>
                      <a:pt x="547" y="364"/>
                    </a:lnTo>
                    <a:lnTo>
                      <a:pt x="547" y="358"/>
                    </a:lnTo>
                    <a:lnTo>
                      <a:pt x="553" y="358"/>
                    </a:lnTo>
                    <a:lnTo>
                      <a:pt x="553" y="352"/>
                    </a:lnTo>
                    <a:lnTo>
                      <a:pt x="561" y="344"/>
                    </a:lnTo>
                    <a:lnTo>
                      <a:pt x="567" y="344"/>
                    </a:lnTo>
                    <a:lnTo>
                      <a:pt x="581" y="344"/>
                    </a:lnTo>
                    <a:lnTo>
                      <a:pt x="595" y="344"/>
                    </a:lnTo>
                    <a:lnTo>
                      <a:pt x="609" y="344"/>
                    </a:lnTo>
                    <a:lnTo>
                      <a:pt x="615" y="344"/>
                    </a:lnTo>
                    <a:lnTo>
                      <a:pt x="623" y="344"/>
                    </a:lnTo>
                    <a:lnTo>
                      <a:pt x="629" y="344"/>
                    </a:lnTo>
                    <a:lnTo>
                      <a:pt x="643" y="336"/>
                    </a:lnTo>
                    <a:lnTo>
                      <a:pt x="651" y="336"/>
                    </a:lnTo>
                    <a:lnTo>
                      <a:pt x="657" y="330"/>
                    </a:lnTo>
                    <a:lnTo>
                      <a:pt x="671" y="330"/>
                    </a:lnTo>
                    <a:lnTo>
                      <a:pt x="677" y="330"/>
                    </a:lnTo>
                    <a:lnTo>
                      <a:pt x="685" y="324"/>
                    </a:lnTo>
                    <a:lnTo>
                      <a:pt x="691" y="324"/>
                    </a:lnTo>
                    <a:lnTo>
                      <a:pt x="699" y="316"/>
                    </a:lnTo>
                    <a:lnTo>
                      <a:pt x="705" y="310"/>
                    </a:lnTo>
                    <a:lnTo>
                      <a:pt x="705" y="302"/>
                    </a:lnTo>
                    <a:lnTo>
                      <a:pt x="713" y="296"/>
                    </a:lnTo>
                    <a:lnTo>
                      <a:pt x="713" y="288"/>
                    </a:lnTo>
                    <a:lnTo>
                      <a:pt x="713" y="274"/>
                    </a:lnTo>
                    <a:lnTo>
                      <a:pt x="709" y="270"/>
                    </a:lnTo>
                    <a:lnTo>
                      <a:pt x="705" y="274"/>
                    </a:lnTo>
                    <a:lnTo>
                      <a:pt x="699" y="274"/>
                    </a:lnTo>
                    <a:lnTo>
                      <a:pt x="691" y="268"/>
                    </a:lnTo>
                    <a:lnTo>
                      <a:pt x="685" y="274"/>
                    </a:lnTo>
                    <a:lnTo>
                      <a:pt x="677" y="268"/>
                    </a:lnTo>
                    <a:lnTo>
                      <a:pt x="663" y="268"/>
                    </a:lnTo>
                    <a:lnTo>
                      <a:pt x="657" y="268"/>
                    </a:lnTo>
                    <a:lnTo>
                      <a:pt x="651" y="262"/>
                    </a:lnTo>
                    <a:lnTo>
                      <a:pt x="643" y="254"/>
                    </a:lnTo>
                    <a:lnTo>
                      <a:pt x="637" y="254"/>
                    </a:lnTo>
                    <a:lnTo>
                      <a:pt x="629" y="254"/>
                    </a:lnTo>
                    <a:lnTo>
                      <a:pt x="623" y="254"/>
                    </a:lnTo>
                    <a:lnTo>
                      <a:pt x="615" y="248"/>
                    </a:lnTo>
                    <a:lnTo>
                      <a:pt x="617" y="238"/>
                    </a:lnTo>
                    <a:lnTo>
                      <a:pt x="611" y="232"/>
                    </a:lnTo>
                    <a:lnTo>
                      <a:pt x="605" y="226"/>
                    </a:lnTo>
                    <a:lnTo>
                      <a:pt x="597" y="220"/>
                    </a:lnTo>
                    <a:lnTo>
                      <a:pt x="587" y="228"/>
                    </a:lnTo>
                    <a:lnTo>
                      <a:pt x="573" y="228"/>
                    </a:lnTo>
                    <a:lnTo>
                      <a:pt x="573" y="220"/>
                    </a:lnTo>
                    <a:lnTo>
                      <a:pt x="567" y="220"/>
                    </a:lnTo>
                    <a:lnTo>
                      <a:pt x="553" y="214"/>
                    </a:lnTo>
                    <a:lnTo>
                      <a:pt x="547" y="214"/>
                    </a:lnTo>
                    <a:lnTo>
                      <a:pt x="533" y="206"/>
                    </a:lnTo>
                    <a:lnTo>
                      <a:pt x="533" y="198"/>
                    </a:lnTo>
                    <a:lnTo>
                      <a:pt x="519" y="192"/>
                    </a:lnTo>
                    <a:lnTo>
                      <a:pt x="513" y="192"/>
                    </a:lnTo>
                    <a:lnTo>
                      <a:pt x="497" y="178"/>
                    </a:lnTo>
                    <a:lnTo>
                      <a:pt x="491" y="178"/>
                    </a:lnTo>
                    <a:lnTo>
                      <a:pt x="483" y="172"/>
                    </a:lnTo>
                    <a:lnTo>
                      <a:pt x="477" y="164"/>
                    </a:lnTo>
                    <a:lnTo>
                      <a:pt x="471" y="164"/>
                    </a:lnTo>
                    <a:lnTo>
                      <a:pt x="471" y="158"/>
                    </a:lnTo>
                    <a:lnTo>
                      <a:pt x="471" y="152"/>
                    </a:lnTo>
                    <a:lnTo>
                      <a:pt x="463" y="144"/>
                    </a:lnTo>
                    <a:lnTo>
                      <a:pt x="455" y="138"/>
                    </a:lnTo>
                    <a:lnTo>
                      <a:pt x="455" y="138"/>
                    </a:lnTo>
                    <a:lnTo>
                      <a:pt x="455" y="138"/>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8" name="Freeform 22"/>
              <p:cNvSpPr>
                <a:spLocks/>
              </p:cNvSpPr>
              <p:nvPr>
                <p:custDataLst>
                  <p:tags r:id="rId130"/>
                </p:custDataLst>
              </p:nvPr>
            </p:nvSpPr>
            <p:spPr bwMode="gray">
              <a:xfrm>
                <a:off x="2475495" y="3752781"/>
                <a:ext cx="431896" cy="600208"/>
              </a:xfrm>
              <a:custGeom>
                <a:avLst/>
                <a:gdLst>
                  <a:gd name="T0" fmla="*/ 78 w 272"/>
                  <a:gd name="T1" fmla="*/ 378 h 378"/>
                  <a:gd name="T2" fmla="*/ 64 w 272"/>
                  <a:gd name="T3" fmla="*/ 372 h 378"/>
                  <a:gd name="T4" fmla="*/ 36 w 272"/>
                  <a:gd name="T5" fmla="*/ 358 h 378"/>
                  <a:gd name="T6" fmla="*/ 22 w 272"/>
                  <a:gd name="T7" fmla="*/ 344 h 378"/>
                  <a:gd name="T8" fmla="*/ 0 w 272"/>
                  <a:gd name="T9" fmla="*/ 352 h 378"/>
                  <a:gd name="T10" fmla="*/ 14 w 272"/>
                  <a:gd name="T11" fmla="*/ 324 h 378"/>
                  <a:gd name="T12" fmla="*/ 30 w 272"/>
                  <a:gd name="T13" fmla="*/ 310 h 378"/>
                  <a:gd name="T14" fmla="*/ 30 w 272"/>
                  <a:gd name="T15" fmla="*/ 282 h 378"/>
                  <a:gd name="T16" fmla="*/ 42 w 272"/>
                  <a:gd name="T17" fmla="*/ 262 h 378"/>
                  <a:gd name="T18" fmla="*/ 50 w 272"/>
                  <a:gd name="T19" fmla="*/ 234 h 378"/>
                  <a:gd name="T20" fmla="*/ 22 w 272"/>
                  <a:gd name="T21" fmla="*/ 228 h 378"/>
                  <a:gd name="T22" fmla="*/ 30 w 272"/>
                  <a:gd name="T23" fmla="*/ 206 h 378"/>
                  <a:gd name="T24" fmla="*/ 36 w 272"/>
                  <a:gd name="T25" fmla="*/ 186 h 378"/>
                  <a:gd name="T26" fmla="*/ 56 w 272"/>
                  <a:gd name="T27" fmla="*/ 172 h 378"/>
                  <a:gd name="T28" fmla="*/ 78 w 272"/>
                  <a:gd name="T29" fmla="*/ 152 h 378"/>
                  <a:gd name="T30" fmla="*/ 92 w 272"/>
                  <a:gd name="T31" fmla="*/ 132 h 378"/>
                  <a:gd name="T32" fmla="*/ 106 w 272"/>
                  <a:gd name="T33" fmla="*/ 96 h 378"/>
                  <a:gd name="T34" fmla="*/ 120 w 272"/>
                  <a:gd name="T35" fmla="*/ 68 h 378"/>
                  <a:gd name="T36" fmla="*/ 134 w 272"/>
                  <a:gd name="T37" fmla="*/ 42 h 378"/>
                  <a:gd name="T38" fmla="*/ 140 w 272"/>
                  <a:gd name="T39" fmla="*/ 20 h 378"/>
                  <a:gd name="T40" fmla="*/ 154 w 272"/>
                  <a:gd name="T41" fmla="*/ 8 h 378"/>
                  <a:gd name="T42" fmla="*/ 174 w 272"/>
                  <a:gd name="T43" fmla="*/ 8 h 378"/>
                  <a:gd name="T44" fmla="*/ 182 w 272"/>
                  <a:gd name="T45" fmla="*/ 20 h 378"/>
                  <a:gd name="T46" fmla="*/ 196 w 272"/>
                  <a:gd name="T47" fmla="*/ 28 h 378"/>
                  <a:gd name="T48" fmla="*/ 216 w 272"/>
                  <a:gd name="T49" fmla="*/ 34 h 378"/>
                  <a:gd name="T50" fmla="*/ 230 w 272"/>
                  <a:gd name="T51" fmla="*/ 42 h 378"/>
                  <a:gd name="T52" fmla="*/ 244 w 272"/>
                  <a:gd name="T53" fmla="*/ 48 h 378"/>
                  <a:gd name="T54" fmla="*/ 264 w 272"/>
                  <a:gd name="T55" fmla="*/ 56 h 378"/>
                  <a:gd name="T56" fmla="*/ 258 w 272"/>
                  <a:gd name="T57" fmla="*/ 76 h 378"/>
                  <a:gd name="T58" fmla="*/ 272 w 272"/>
                  <a:gd name="T59" fmla="*/ 90 h 378"/>
                  <a:gd name="T60" fmla="*/ 258 w 272"/>
                  <a:gd name="T61" fmla="*/ 96 h 378"/>
                  <a:gd name="T62" fmla="*/ 244 w 272"/>
                  <a:gd name="T63" fmla="*/ 104 h 378"/>
                  <a:gd name="T64" fmla="*/ 230 w 272"/>
                  <a:gd name="T65" fmla="*/ 110 h 378"/>
                  <a:gd name="T66" fmla="*/ 216 w 272"/>
                  <a:gd name="T67" fmla="*/ 132 h 378"/>
                  <a:gd name="T68" fmla="*/ 210 w 272"/>
                  <a:gd name="T69" fmla="*/ 152 h 378"/>
                  <a:gd name="T70" fmla="*/ 210 w 272"/>
                  <a:gd name="T71" fmla="*/ 172 h 378"/>
                  <a:gd name="T72" fmla="*/ 196 w 272"/>
                  <a:gd name="T73" fmla="*/ 178 h 378"/>
                  <a:gd name="T74" fmla="*/ 174 w 272"/>
                  <a:gd name="T75" fmla="*/ 206 h 378"/>
                  <a:gd name="T76" fmla="*/ 154 w 272"/>
                  <a:gd name="T77" fmla="*/ 206 h 378"/>
                  <a:gd name="T78" fmla="*/ 154 w 272"/>
                  <a:gd name="T79" fmla="*/ 234 h 378"/>
                  <a:gd name="T80" fmla="*/ 160 w 272"/>
                  <a:gd name="T81" fmla="*/ 256 h 378"/>
                  <a:gd name="T82" fmla="*/ 148 w 272"/>
                  <a:gd name="T83" fmla="*/ 276 h 378"/>
                  <a:gd name="T84" fmla="*/ 134 w 272"/>
                  <a:gd name="T85" fmla="*/ 290 h 378"/>
                  <a:gd name="T86" fmla="*/ 140 w 272"/>
                  <a:gd name="T87" fmla="*/ 304 h 378"/>
                  <a:gd name="T88" fmla="*/ 134 w 272"/>
                  <a:gd name="T89" fmla="*/ 316 h 378"/>
                  <a:gd name="T90" fmla="*/ 112 w 272"/>
                  <a:gd name="T91" fmla="*/ 324 h 378"/>
                  <a:gd name="T92" fmla="*/ 106 w 272"/>
                  <a:gd name="T93" fmla="*/ 338 h 378"/>
                  <a:gd name="T94" fmla="*/ 98 w 272"/>
                  <a:gd name="T95" fmla="*/ 372 h 378"/>
                  <a:gd name="T96" fmla="*/ 106 w 272"/>
                  <a:gd name="T97" fmla="*/ 372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2" h="378">
                    <a:moveTo>
                      <a:pt x="106" y="372"/>
                    </a:moveTo>
                    <a:lnTo>
                      <a:pt x="84" y="378"/>
                    </a:lnTo>
                    <a:lnTo>
                      <a:pt x="78" y="378"/>
                    </a:lnTo>
                    <a:lnTo>
                      <a:pt x="78" y="372"/>
                    </a:lnTo>
                    <a:lnTo>
                      <a:pt x="70" y="378"/>
                    </a:lnTo>
                    <a:lnTo>
                      <a:pt x="64" y="372"/>
                    </a:lnTo>
                    <a:lnTo>
                      <a:pt x="50" y="366"/>
                    </a:lnTo>
                    <a:lnTo>
                      <a:pt x="42" y="358"/>
                    </a:lnTo>
                    <a:lnTo>
                      <a:pt x="36" y="358"/>
                    </a:lnTo>
                    <a:lnTo>
                      <a:pt x="30" y="358"/>
                    </a:lnTo>
                    <a:lnTo>
                      <a:pt x="30" y="352"/>
                    </a:lnTo>
                    <a:lnTo>
                      <a:pt x="22" y="344"/>
                    </a:lnTo>
                    <a:lnTo>
                      <a:pt x="14" y="352"/>
                    </a:lnTo>
                    <a:lnTo>
                      <a:pt x="8" y="352"/>
                    </a:lnTo>
                    <a:lnTo>
                      <a:pt x="0" y="352"/>
                    </a:lnTo>
                    <a:lnTo>
                      <a:pt x="0" y="344"/>
                    </a:lnTo>
                    <a:lnTo>
                      <a:pt x="8" y="338"/>
                    </a:lnTo>
                    <a:lnTo>
                      <a:pt x="14" y="324"/>
                    </a:lnTo>
                    <a:lnTo>
                      <a:pt x="14" y="316"/>
                    </a:lnTo>
                    <a:lnTo>
                      <a:pt x="22" y="310"/>
                    </a:lnTo>
                    <a:lnTo>
                      <a:pt x="30" y="310"/>
                    </a:lnTo>
                    <a:lnTo>
                      <a:pt x="30" y="304"/>
                    </a:lnTo>
                    <a:lnTo>
                      <a:pt x="36" y="290"/>
                    </a:lnTo>
                    <a:lnTo>
                      <a:pt x="30" y="282"/>
                    </a:lnTo>
                    <a:lnTo>
                      <a:pt x="36" y="276"/>
                    </a:lnTo>
                    <a:lnTo>
                      <a:pt x="36" y="268"/>
                    </a:lnTo>
                    <a:lnTo>
                      <a:pt x="42" y="262"/>
                    </a:lnTo>
                    <a:lnTo>
                      <a:pt x="50" y="256"/>
                    </a:lnTo>
                    <a:lnTo>
                      <a:pt x="50" y="248"/>
                    </a:lnTo>
                    <a:lnTo>
                      <a:pt x="50" y="234"/>
                    </a:lnTo>
                    <a:lnTo>
                      <a:pt x="42" y="234"/>
                    </a:lnTo>
                    <a:lnTo>
                      <a:pt x="36" y="228"/>
                    </a:lnTo>
                    <a:lnTo>
                      <a:pt x="22" y="228"/>
                    </a:lnTo>
                    <a:lnTo>
                      <a:pt x="22" y="220"/>
                    </a:lnTo>
                    <a:lnTo>
                      <a:pt x="22" y="214"/>
                    </a:lnTo>
                    <a:lnTo>
                      <a:pt x="30" y="206"/>
                    </a:lnTo>
                    <a:lnTo>
                      <a:pt x="36" y="200"/>
                    </a:lnTo>
                    <a:lnTo>
                      <a:pt x="36" y="192"/>
                    </a:lnTo>
                    <a:lnTo>
                      <a:pt x="36" y="186"/>
                    </a:lnTo>
                    <a:lnTo>
                      <a:pt x="36" y="178"/>
                    </a:lnTo>
                    <a:lnTo>
                      <a:pt x="42" y="172"/>
                    </a:lnTo>
                    <a:lnTo>
                      <a:pt x="56" y="172"/>
                    </a:lnTo>
                    <a:lnTo>
                      <a:pt x="64" y="172"/>
                    </a:lnTo>
                    <a:lnTo>
                      <a:pt x="70" y="158"/>
                    </a:lnTo>
                    <a:lnTo>
                      <a:pt x="78" y="152"/>
                    </a:lnTo>
                    <a:lnTo>
                      <a:pt x="78" y="144"/>
                    </a:lnTo>
                    <a:lnTo>
                      <a:pt x="84" y="138"/>
                    </a:lnTo>
                    <a:lnTo>
                      <a:pt x="92" y="132"/>
                    </a:lnTo>
                    <a:lnTo>
                      <a:pt x="98" y="118"/>
                    </a:lnTo>
                    <a:lnTo>
                      <a:pt x="106" y="110"/>
                    </a:lnTo>
                    <a:lnTo>
                      <a:pt x="106" y="96"/>
                    </a:lnTo>
                    <a:lnTo>
                      <a:pt x="112" y="90"/>
                    </a:lnTo>
                    <a:lnTo>
                      <a:pt x="120" y="82"/>
                    </a:lnTo>
                    <a:lnTo>
                      <a:pt x="120" y="68"/>
                    </a:lnTo>
                    <a:lnTo>
                      <a:pt x="126" y="62"/>
                    </a:lnTo>
                    <a:lnTo>
                      <a:pt x="134" y="56"/>
                    </a:lnTo>
                    <a:lnTo>
                      <a:pt x="134" y="42"/>
                    </a:lnTo>
                    <a:lnTo>
                      <a:pt x="134" y="34"/>
                    </a:lnTo>
                    <a:lnTo>
                      <a:pt x="140" y="28"/>
                    </a:lnTo>
                    <a:lnTo>
                      <a:pt x="140" y="20"/>
                    </a:lnTo>
                    <a:lnTo>
                      <a:pt x="140" y="14"/>
                    </a:lnTo>
                    <a:lnTo>
                      <a:pt x="140" y="8"/>
                    </a:lnTo>
                    <a:lnTo>
                      <a:pt x="154" y="8"/>
                    </a:lnTo>
                    <a:lnTo>
                      <a:pt x="160" y="8"/>
                    </a:lnTo>
                    <a:lnTo>
                      <a:pt x="160" y="0"/>
                    </a:lnTo>
                    <a:lnTo>
                      <a:pt x="174" y="8"/>
                    </a:lnTo>
                    <a:lnTo>
                      <a:pt x="182" y="8"/>
                    </a:lnTo>
                    <a:lnTo>
                      <a:pt x="182" y="14"/>
                    </a:lnTo>
                    <a:lnTo>
                      <a:pt x="182" y="20"/>
                    </a:lnTo>
                    <a:lnTo>
                      <a:pt x="182" y="28"/>
                    </a:lnTo>
                    <a:lnTo>
                      <a:pt x="188" y="28"/>
                    </a:lnTo>
                    <a:lnTo>
                      <a:pt x="196" y="28"/>
                    </a:lnTo>
                    <a:lnTo>
                      <a:pt x="202" y="28"/>
                    </a:lnTo>
                    <a:lnTo>
                      <a:pt x="210" y="34"/>
                    </a:lnTo>
                    <a:lnTo>
                      <a:pt x="216" y="34"/>
                    </a:lnTo>
                    <a:lnTo>
                      <a:pt x="224" y="42"/>
                    </a:lnTo>
                    <a:lnTo>
                      <a:pt x="230" y="48"/>
                    </a:lnTo>
                    <a:lnTo>
                      <a:pt x="230" y="42"/>
                    </a:lnTo>
                    <a:lnTo>
                      <a:pt x="238" y="42"/>
                    </a:lnTo>
                    <a:lnTo>
                      <a:pt x="244" y="42"/>
                    </a:lnTo>
                    <a:lnTo>
                      <a:pt x="244" y="48"/>
                    </a:lnTo>
                    <a:lnTo>
                      <a:pt x="250" y="48"/>
                    </a:lnTo>
                    <a:lnTo>
                      <a:pt x="258" y="48"/>
                    </a:lnTo>
                    <a:lnTo>
                      <a:pt x="264" y="56"/>
                    </a:lnTo>
                    <a:lnTo>
                      <a:pt x="258" y="62"/>
                    </a:lnTo>
                    <a:lnTo>
                      <a:pt x="258" y="68"/>
                    </a:lnTo>
                    <a:lnTo>
                      <a:pt x="258" y="76"/>
                    </a:lnTo>
                    <a:lnTo>
                      <a:pt x="264" y="76"/>
                    </a:lnTo>
                    <a:lnTo>
                      <a:pt x="272" y="82"/>
                    </a:lnTo>
                    <a:lnTo>
                      <a:pt x="272" y="90"/>
                    </a:lnTo>
                    <a:lnTo>
                      <a:pt x="264" y="90"/>
                    </a:lnTo>
                    <a:lnTo>
                      <a:pt x="264" y="96"/>
                    </a:lnTo>
                    <a:lnTo>
                      <a:pt x="258" y="96"/>
                    </a:lnTo>
                    <a:lnTo>
                      <a:pt x="250" y="96"/>
                    </a:lnTo>
                    <a:lnTo>
                      <a:pt x="250" y="104"/>
                    </a:lnTo>
                    <a:lnTo>
                      <a:pt x="244" y="104"/>
                    </a:lnTo>
                    <a:lnTo>
                      <a:pt x="238" y="104"/>
                    </a:lnTo>
                    <a:lnTo>
                      <a:pt x="238" y="110"/>
                    </a:lnTo>
                    <a:lnTo>
                      <a:pt x="230" y="110"/>
                    </a:lnTo>
                    <a:lnTo>
                      <a:pt x="224" y="118"/>
                    </a:lnTo>
                    <a:lnTo>
                      <a:pt x="224" y="124"/>
                    </a:lnTo>
                    <a:lnTo>
                      <a:pt x="216" y="132"/>
                    </a:lnTo>
                    <a:lnTo>
                      <a:pt x="216" y="138"/>
                    </a:lnTo>
                    <a:lnTo>
                      <a:pt x="210" y="144"/>
                    </a:lnTo>
                    <a:lnTo>
                      <a:pt x="210" y="152"/>
                    </a:lnTo>
                    <a:lnTo>
                      <a:pt x="210" y="158"/>
                    </a:lnTo>
                    <a:lnTo>
                      <a:pt x="210" y="166"/>
                    </a:lnTo>
                    <a:lnTo>
                      <a:pt x="210" y="172"/>
                    </a:lnTo>
                    <a:lnTo>
                      <a:pt x="202" y="172"/>
                    </a:lnTo>
                    <a:lnTo>
                      <a:pt x="196" y="172"/>
                    </a:lnTo>
                    <a:lnTo>
                      <a:pt x="196" y="178"/>
                    </a:lnTo>
                    <a:lnTo>
                      <a:pt x="182" y="192"/>
                    </a:lnTo>
                    <a:lnTo>
                      <a:pt x="182" y="200"/>
                    </a:lnTo>
                    <a:lnTo>
                      <a:pt x="174" y="206"/>
                    </a:lnTo>
                    <a:lnTo>
                      <a:pt x="174" y="214"/>
                    </a:lnTo>
                    <a:lnTo>
                      <a:pt x="168" y="214"/>
                    </a:lnTo>
                    <a:lnTo>
                      <a:pt x="154" y="206"/>
                    </a:lnTo>
                    <a:lnTo>
                      <a:pt x="154" y="220"/>
                    </a:lnTo>
                    <a:lnTo>
                      <a:pt x="154" y="228"/>
                    </a:lnTo>
                    <a:lnTo>
                      <a:pt x="154" y="234"/>
                    </a:lnTo>
                    <a:lnTo>
                      <a:pt x="160" y="242"/>
                    </a:lnTo>
                    <a:lnTo>
                      <a:pt x="160" y="248"/>
                    </a:lnTo>
                    <a:lnTo>
                      <a:pt x="160" y="256"/>
                    </a:lnTo>
                    <a:lnTo>
                      <a:pt x="154" y="262"/>
                    </a:lnTo>
                    <a:lnTo>
                      <a:pt x="148" y="268"/>
                    </a:lnTo>
                    <a:lnTo>
                      <a:pt x="148" y="276"/>
                    </a:lnTo>
                    <a:lnTo>
                      <a:pt x="140" y="276"/>
                    </a:lnTo>
                    <a:lnTo>
                      <a:pt x="134" y="282"/>
                    </a:lnTo>
                    <a:lnTo>
                      <a:pt x="134" y="290"/>
                    </a:lnTo>
                    <a:lnTo>
                      <a:pt x="126" y="296"/>
                    </a:lnTo>
                    <a:lnTo>
                      <a:pt x="134" y="304"/>
                    </a:lnTo>
                    <a:lnTo>
                      <a:pt x="140" y="304"/>
                    </a:lnTo>
                    <a:lnTo>
                      <a:pt x="140" y="310"/>
                    </a:lnTo>
                    <a:lnTo>
                      <a:pt x="140" y="316"/>
                    </a:lnTo>
                    <a:lnTo>
                      <a:pt x="134" y="316"/>
                    </a:lnTo>
                    <a:lnTo>
                      <a:pt x="126" y="324"/>
                    </a:lnTo>
                    <a:lnTo>
                      <a:pt x="120" y="324"/>
                    </a:lnTo>
                    <a:lnTo>
                      <a:pt x="112" y="324"/>
                    </a:lnTo>
                    <a:lnTo>
                      <a:pt x="112" y="330"/>
                    </a:lnTo>
                    <a:lnTo>
                      <a:pt x="106" y="330"/>
                    </a:lnTo>
                    <a:lnTo>
                      <a:pt x="106" y="338"/>
                    </a:lnTo>
                    <a:lnTo>
                      <a:pt x="98" y="344"/>
                    </a:lnTo>
                    <a:lnTo>
                      <a:pt x="98" y="358"/>
                    </a:lnTo>
                    <a:lnTo>
                      <a:pt x="98" y="372"/>
                    </a:lnTo>
                    <a:lnTo>
                      <a:pt x="106" y="372"/>
                    </a:lnTo>
                    <a:lnTo>
                      <a:pt x="106" y="372"/>
                    </a:lnTo>
                    <a:lnTo>
                      <a:pt x="106" y="372"/>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2" name="Freeform 26"/>
              <p:cNvSpPr>
                <a:spLocks/>
              </p:cNvSpPr>
              <p:nvPr>
                <p:custDataLst>
                  <p:tags r:id="rId131"/>
                </p:custDataLst>
              </p:nvPr>
            </p:nvSpPr>
            <p:spPr bwMode="gray">
              <a:xfrm>
                <a:off x="3283711" y="3031896"/>
                <a:ext cx="1043220" cy="1009874"/>
              </a:xfrm>
              <a:custGeom>
                <a:avLst/>
                <a:gdLst>
                  <a:gd name="T0" fmla="*/ 553 w 657"/>
                  <a:gd name="T1" fmla="*/ 558 h 636"/>
                  <a:gd name="T2" fmla="*/ 545 w 657"/>
                  <a:gd name="T3" fmla="*/ 510 h 636"/>
                  <a:gd name="T4" fmla="*/ 525 w 657"/>
                  <a:gd name="T5" fmla="*/ 476 h 636"/>
                  <a:gd name="T6" fmla="*/ 567 w 657"/>
                  <a:gd name="T7" fmla="*/ 454 h 636"/>
                  <a:gd name="T8" fmla="*/ 559 w 657"/>
                  <a:gd name="T9" fmla="*/ 420 h 636"/>
                  <a:gd name="T10" fmla="*/ 553 w 657"/>
                  <a:gd name="T11" fmla="*/ 386 h 636"/>
                  <a:gd name="T12" fmla="*/ 553 w 657"/>
                  <a:gd name="T13" fmla="*/ 372 h 636"/>
                  <a:gd name="T14" fmla="*/ 539 w 657"/>
                  <a:gd name="T15" fmla="*/ 352 h 636"/>
                  <a:gd name="T16" fmla="*/ 581 w 657"/>
                  <a:gd name="T17" fmla="*/ 310 h 636"/>
                  <a:gd name="T18" fmla="*/ 615 w 657"/>
                  <a:gd name="T19" fmla="*/ 290 h 636"/>
                  <a:gd name="T20" fmla="*/ 629 w 657"/>
                  <a:gd name="T21" fmla="*/ 242 h 636"/>
                  <a:gd name="T22" fmla="*/ 635 w 657"/>
                  <a:gd name="T23" fmla="*/ 200 h 636"/>
                  <a:gd name="T24" fmla="*/ 581 w 657"/>
                  <a:gd name="T25" fmla="*/ 152 h 636"/>
                  <a:gd name="T26" fmla="*/ 539 w 657"/>
                  <a:gd name="T27" fmla="*/ 146 h 636"/>
                  <a:gd name="T28" fmla="*/ 511 w 657"/>
                  <a:gd name="T29" fmla="*/ 110 h 636"/>
                  <a:gd name="T30" fmla="*/ 483 w 657"/>
                  <a:gd name="T31" fmla="*/ 104 h 636"/>
                  <a:gd name="T32" fmla="*/ 469 w 657"/>
                  <a:gd name="T33" fmla="*/ 68 h 636"/>
                  <a:gd name="T34" fmla="*/ 443 w 657"/>
                  <a:gd name="T35" fmla="*/ 42 h 636"/>
                  <a:gd name="T36" fmla="*/ 421 w 657"/>
                  <a:gd name="T37" fmla="*/ 14 h 636"/>
                  <a:gd name="T38" fmla="*/ 386 w 657"/>
                  <a:gd name="T39" fmla="*/ 0 h 636"/>
                  <a:gd name="T40" fmla="*/ 366 w 657"/>
                  <a:gd name="T41" fmla="*/ 34 h 636"/>
                  <a:gd name="T42" fmla="*/ 338 w 657"/>
                  <a:gd name="T43" fmla="*/ 62 h 636"/>
                  <a:gd name="T44" fmla="*/ 290 w 657"/>
                  <a:gd name="T45" fmla="*/ 84 h 636"/>
                  <a:gd name="T46" fmla="*/ 276 w 657"/>
                  <a:gd name="T47" fmla="*/ 96 h 636"/>
                  <a:gd name="T48" fmla="*/ 220 w 657"/>
                  <a:gd name="T49" fmla="*/ 84 h 636"/>
                  <a:gd name="T50" fmla="*/ 206 w 657"/>
                  <a:gd name="T51" fmla="*/ 48 h 636"/>
                  <a:gd name="T52" fmla="*/ 178 w 657"/>
                  <a:gd name="T53" fmla="*/ 68 h 636"/>
                  <a:gd name="T54" fmla="*/ 186 w 657"/>
                  <a:gd name="T55" fmla="*/ 118 h 636"/>
                  <a:gd name="T56" fmla="*/ 158 w 657"/>
                  <a:gd name="T57" fmla="*/ 110 h 636"/>
                  <a:gd name="T58" fmla="*/ 110 w 657"/>
                  <a:gd name="T59" fmla="*/ 104 h 636"/>
                  <a:gd name="T60" fmla="*/ 96 w 657"/>
                  <a:gd name="T61" fmla="*/ 84 h 636"/>
                  <a:gd name="T62" fmla="*/ 48 w 657"/>
                  <a:gd name="T63" fmla="*/ 84 h 636"/>
                  <a:gd name="T64" fmla="*/ 6 w 657"/>
                  <a:gd name="T65" fmla="*/ 84 h 636"/>
                  <a:gd name="T66" fmla="*/ 26 w 657"/>
                  <a:gd name="T67" fmla="*/ 104 h 636"/>
                  <a:gd name="T68" fmla="*/ 6 w 657"/>
                  <a:gd name="T69" fmla="*/ 118 h 636"/>
                  <a:gd name="T70" fmla="*/ 40 w 657"/>
                  <a:gd name="T71" fmla="*/ 130 h 636"/>
                  <a:gd name="T72" fmla="*/ 68 w 657"/>
                  <a:gd name="T73" fmla="*/ 166 h 636"/>
                  <a:gd name="T74" fmla="*/ 102 w 657"/>
                  <a:gd name="T75" fmla="*/ 186 h 636"/>
                  <a:gd name="T76" fmla="*/ 110 w 657"/>
                  <a:gd name="T77" fmla="*/ 214 h 636"/>
                  <a:gd name="T78" fmla="*/ 116 w 657"/>
                  <a:gd name="T79" fmla="*/ 254 h 636"/>
                  <a:gd name="T80" fmla="*/ 144 w 657"/>
                  <a:gd name="T81" fmla="*/ 290 h 636"/>
                  <a:gd name="T82" fmla="*/ 138 w 657"/>
                  <a:gd name="T83" fmla="*/ 332 h 636"/>
                  <a:gd name="T84" fmla="*/ 144 w 657"/>
                  <a:gd name="T85" fmla="*/ 366 h 636"/>
                  <a:gd name="T86" fmla="*/ 138 w 657"/>
                  <a:gd name="T87" fmla="*/ 372 h 636"/>
                  <a:gd name="T88" fmla="*/ 116 w 657"/>
                  <a:gd name="T89" fmla="*/ 372 h 636"/>
                  <a:gd name="T90" fmla="*/ 110 w 657"/>
                  <a:gd name="T91" fmla="*/ 414 h 636"/>
                  <a:gd name="T92" fmla="*/ 82 w 657"/>
                  <a:gd name="T93" fmla="*/ 442 h 636"/>
                  <a:gd name="T94" fmla="*/ 40 w 657"/>
                  <a:gd name="T95" fmla="*/ 496 h 636"/>
                  <a:gd name="T96" fmla="*/ 68 w 657"/>
                  <a:gd name="T97" fmla="*/ 524 h 636"/>
                  <a:gd name="T98" fmla="*/ 116 w 657"/>
                  <a:gd name="T99" fmla="*/ 558 h 636"/>
                  <a:gd name="T100" fmla="*/ 174 w 657"/>
                  <a:gd name="T101" fmla="*/ 588 h 636"/>
                  <a:gd name="T102" fmla="*/ 214 w 657"/>
                  <a:gd name="T103" fmla="*/ 614 h 636"/>
                  <a:gd name="T104" fmla="*/ 262 w 657"/>
                  <a:gd name="T105" fmla="*/ 628 h 636"/>
                  <a:gd name="T106" fmla="*/ 302 w 657"/>
                  <a:gd name="T107" fmla="*/ 630 h 636"/>
                  <a:gd name="T108" fmla="*/ 302 w 657"/>
                  <a:gd name="T109" fmla="*/ 592 h 636"/>
                  <a:gd name="T110" fmla="*/ 338 w 657"/>
                  <a:gd name="T111" fmla="*/ 572 h 636"/>
                  <a:gd name="T112" fmla="*/ 380 w 657"/>
                  <a:gd name="T113" fmla="*/ 572 h 636"/>
                  <a:gd name="T114" fmla="*/ 421 w 657"/>
                  <a:gd name="T115" fmla="*/ 572 h 636"/>
                  <a:gd name="T116" fmla="*/ 443 w 657"/>
                  <a:gd name="T117" fmla="*/ 592 h 636"/>
                  <a:gd name="T118" fmla="*/ 469 w 657"/>
                  <a:gd name="T119" fmla="*/ 620 h 636"/>
                  <a:gd name="T120" fmla="*/ 511 w 657"/>
                  <a:gd name="T121" fmla="*/ 614 h 636"/>
                  <a:gd name="T122" fmla="*/ 531 w 657"/>
                  <a:gd name="T123" fmla="*/ 592 h 636"/>
                  <a:gd name="T124" fmla="*/ 559 w 657"/>
                  <a:gd name="T125" fmla="*/ 586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7" h="636">
                    <a:moveTo>
                      <a:pt x="559" y="586"/>
                    </a:moveTo>
                    <a:lnTo>
                      <a:pt x="567" y="580"/>
                    </a:lnTo>
                    <a:lnTo>
                      <a:pt x="567" y="572"/>
                    </a:lnTo>
                    <a:lnTo>
                      <a:pt x="573" y="566"/>
                    </a:lnTo>
                    <a:lnTo>
                      <a:pt x="567" y="558"/>
                    </a:lnTo>
                    <a:lnTo>
                      <a:pt x="553" y="558"/>
                    </a:lnTo>
                    <a:lnTo>
                      <a:pt x="545" y="558"/>
                    </a:lnTo>
                    <a:lnTo>
                      <a:pt x="539" y="544"/>
                    </a:lnTo>
                    <a:lnTo>
                      <a:pt x="539" y="538"/>
                    </a:lnTo>
                    <a:lnTo>
                      <a:pt x="539" y="524"/>
                    </a:lnTo>
                    <a:lnTo>
                      <a:pt x="539" y="516"/>
                    </a:lnTo>
                    <a:lnTo>
                      <a:pt x="545" y="510"/>
                    </a:lnTo>
                    <a:lnTo>
                      <a:pt x="545" y="504"/>
                    </a:lnTo>
                    <a:lnTo>
                      <a:pt x="545" y="496"/>
                    </a:lnTo>
                    <a:lnTo>
                      <a:pt x="539" y="490"/>
                    </a:lnTo>
                    <a:lnTo>
                      <a:pt x="531" y="490"/>
                    </a:lnTo>
                    <a:lnTo>
                      <a:pt x="525" y="482"/>
                    </a:lnTo>
                    <a:lnTo>
                      <a:pt x="525" y="476"/>
                    </a:lnTo>
                    <a:lnTo>
                      <a:pt x="531" y="476"/>
                    </a:lnTo>
                    <a:lnTo>
                      <a:pt x="539" y="476"/>
                    </a:lnTo>
                    <a:lnTo>
                      <a:pt x="545" y="476"/>
                    </a:lnTo>
                    <a:lnTo>
                      <a:pt x="553" y="468"/>
                    </a:lnTo>
                    <a:lnTo>
                      <a:pt x="559" y="462"/>
                    </a:lnTo>
                    <a:lnTo>
                      <a:pt x="567" y="454"/>
                    </a:lnTo>
                    <a:lnTo>
                      <a:pt x="559" y="448"/>
                    </a:lnTo>
                    <a:lnTo>
                      <a:pt x="559" y="442"/>
                    </a:lnTo>
                    <a:lnTo>
                      <a:pt x="553" y="434"/>
                    </a:lnTo>
                    <a:lnTo>
                      <a:pt x="553" y="428"/>
                    </a:lnTo>
                    <a:lnTo>
                      <a:pt x="559" y="428"/>
                    </a:lnTo>
                    <a:lnTo>
                      <a:pt x="559" y="420"/>
                    </a:lnTo>
                    <a:lnTo>
                      <a:pt x="559" y="414"/>
                    </a:lnTo>
                    <a:lnTo>
                      <a:pt x="553" y="406"/>
                    </a:lnTo>
                    <a:lnTo>
                      <a:pt x="553" y="400"/>
                    </a:lnTo>
                    <a:lnTo>
                      <a:pt x="559" y="400"/>
                    </a:lnTo>
                    <a:lnTo>
                      <a:pt x="553" y="392"/>
                    </a:lnTo>
                    <a:lnTo>
                      <a:pt x="553" y="386"/>
                    </a:lnTo>
                    <a:lnTo>
                      <a:pt x="559" y="386"/>
                    </a:lnTo>
                    <a:lnTo>
                      <a:pt x="567" y="386"/>
                    </a:lnTo>
                    <a:lnTo>
                      <a:pt x="567" y="378"/>
                    </a:lnTo>
                    <a:lnTo>
                      <a:pt x="559" y="366"/>
                    </a:lnTo>
                    <a:lnTo>
                      <a:pt x="553" y="366"/>
                    </a:lnTo>
                    <a:lnTo>
                      <a:pt x="553" y="372"/>
                    </a:lnTo>
                    <a:lnTo>
                      <a:pt x="545" y="372"/>
                    </a:lnTo>
                    <a:lnTo>
                      <a:pt x="539" y="386"/>
                    </a:lnTo>
                    <a:lnTo>
                      <a:pt x="525" y="392"/>
                    </a:lnTo>
                    <a:lnTo>
                      <a:pt x="519" y="378"/>
                    </a:lnTo>
                    <a:lnTo>
                      <a:pt x="525" y="366"/>
                    </a:lnTo>
                    <a:lnTo>
                      <a:pt x="539" y="352"/>
                    </a:lnTo>
                    <a:lnTo>
                      <a:pt x="539" y="344"/>
                    </a:lnTo>
                    <a:lnTo>
                      <a:pt x="545" y="338"/>
                    </a:lnTo>
                    <a:lnTo>
                      <a:pt x="559" y="338"/>
                    </a:lnTo>
                    <a:lnTo>
                      <a:pt x="573" y="332"/>
                    </a:lnTo>
                    <a:lnTo>
                      <a:pt x="581" y="318"/>
                    </a:lnTo>
                    <a:lnTo>
                      <a:pt x="581" y="310"/>
                    </a:lnTo>
                    <a:lnTo>
                      <a:pt x="587" y="304"/>
                    </a:lnTo>
                    <a:lnTo>
                      <a:pt x="595" y="310"/>
                    </a:lnTo>
                    <a:lnTo>
                      <a:pt x="601" y="318"/>
                    </a:lnTo>
                    <a:lnTo>
                      <a:pt x="609" y="304"/>
                    </a:lnTo>
                    <a:lnTo>
                      <a:pt x="615" y="310"/>
                    </a:lnTo>
                    <a:lnTo>
                      <a:pt x="615" y="290"/>
                    </a:lnTo>
                    <a:lnTo>
                      <a:pt x="621" y="282"/>
                    </a:lnTo>
                    <a:lnTo>
                      <a:pt x="621" y="276"/>
                    </a:lnTo>
                    <a:lnTo>
                      <a:pt x="621" y="262"/>
                    </a:lnTo>
                    <a:lnTo>
                      <a:pt x="621" y="254"/>
                    </a:lnTo>
                    <a:lnTo>
                      <a:pt x="629" y="248"/>
                    </a:lnTo>
                    <a:lnTo>
                      <a:pt x="629" y="242"/>
                    </a:lnTo>
                    <a:lnTo>
                      <a:pt x="635" y="228"/>
                    </a:lnTo>
                    <a:lnTo>
                      <a:pt x="643" y="220"/>
                    </a:lnTo>
                    <a:lnTo>
                      <a:pt x="657" y="208"/>
                    </a:lnTo>
                    <a:lnTo>
                      <a:pt x="649" y="200"/>
                    </a:lnTo>
                    <a:lnTo>
                      <a:pt x="643" y="200"/>
                    </a:lnTo>
                    <a:lnTo>
                      <a:pt x="635" y="200"/>
                    </a:lnTo>
                    <a:lnTo>
                      <a:pt x="629" y="192"/>
                    </a:lnTo>
                    <a:lnTo>
                      <a:pt x="615" y="192"/>
                    </a:lnTo>
                    <a:lnTo>
                      <a:pt x="601" y="186"/>
                    </a:lnTo>
                    <a:lnTo>
                      <a:pt x="595" y="180"/>
                    </a:lnTo>
                    <a:lnTo>
                      <a:pt x="587" y="166"/>
                    </a:lnTo>
                    <a:lnTo>
                      <a:pt x="581" y="152"/>
                    </a:lnTo>
                    <a:lnTo>
                      <a:pt x="567" y="152"/>
                    </a:lnTo>
                    <a:lnTo>
                      <a:pt x="559" y="146"/>
                    </a:lnTo>
                    <a:lnTo>
                      <a:pt x="553" y="146"/>
                    </a:lnTo>
                    <a:lnTo>
                      <a:pt x="545" y="146"/>
                    </a:lnTo>
                    <a:lnTo>
                      <a:pt x="539" y="152"/>
                    </a:lnTo>
                    <a:lnTo>
                      <a:pt x="539" y="146"/>
                    </a:lnTo>
                    <a:lnTo>
                      <a:pt x="531" y="138"/>
                    </a:lnTo>
                    <a:lnTo>
                      <a:pt x="525" y="130"/>
                    </a:lnTo>
                    <a:lnTo>
                      <a:pt x="519" y="130"/>
                    </a:lnTo>
                    <a:lnTo>
                      <a:pt x="519" y="124"/>
                    </a:lnTo>
                    <a:lnTo>
                      <a:pt x="511" y="118"/>
                    </a:lnTo>
                    <a:lnTo>
                      <a:pt x="511" y="110"/>
                    </a:lnTo>
                    <a:lnTo>
                      <a:pt x="505" y="104"/>
                    </a:lnTo>
                    <a:lnTo>
                      <a:pt x="505" y="96"/>
                    </a:lnTo>
                    <a:lnTo>
                      <a:pt x="497" y="96"/>
                    </a:lnTo>
                    <a:lnTo>
                      <a:pt x="497" y="104"/>
                    </a:lnTo>
                    <a:lnTo>
                      <a:pt x="491" y="104"/>
                    </a:lnTo>
                    <a:lnTo>
                      <a:pt x="483" y="104"/>
                    </a:lnTo>
                    <a:lnTo>
                      <a:pt x="477" y="96"/>
                    </a:lnTo>
                    <a:lnTo>
                      <a:pt x="483" y="90"/>
                    </a:lnTo>
                    <a:lnTo>
                      <a:pt x="483" y="84"/>
                    </a:lnTo>
                    <a:lnTo>
                      <a:pt x="483" y="68"/>
                    </a:lnTo>
                    <a:lnTo>
                      <a:pt x="477" y="68"/>
                    </a:lnTo>
                    <a:lnTo>
                      <a:pt x="469" y="68"/>
                    </a:lnTo>
                    <a:lnTo>
                      <a:pt x="463" y="68"/>
                    </a:lnTo>
                    <a:lnTo>
                      <a:pt x="455" y="56"/>
                    </a:lnTo>
                    <a:lnTo>
                      <a:pt x="455" y="48"/>
                    </a:lnTo>
                    <a:lnTo>
                      <a:pt x="449" y="48"/>
                    </a:lnTo>
                    <a:lnTo>
                      <a:pt x="443" y="48"/>
                    </a:lnTo>
                    <a:lnTo>
                      <a:pt x="443" y="42"/>
                    </a:lnTo>
                    <a:lnTo>
                      <a:pt x="443" y="34"/>
                    </a:lnTo>
                    <a:lnTo>
                      <a:pt x="435" y="34"/>
                    </a:lnTo>
                    <a:lnTo>
                      <a:pt x="429" y="34"/>
                    </a:lnTo>
                    <a:lnTo>
                      <a:pt x="429" y="28"/>
                    </a:lnTo>
                    <a:lnTo>
                      <a:pt x="421" y="20"/>
                    </a:lnTo>
                    <a:lnTo>
                      <a:pt x="421" y="14"/>
                    </a:lnTo>
                    <a:lnTo>
                      <a:pt x="421" y="8"/>
                    </a:lnTo>
                    <a:lnTo>
                      <a:pt x="421" y="0"/>
                    </a:lnTo>
                    <a:lnTo>
                      <a:pt x="407" y="0"/>
                    </a:lnTo>
                    <a:lnTo>
                      <a:pt x="401" y="0"/>
                    </a:lnTo>
                    <a:lnTo>
                      <a:pt x="392" y="0"/>
                    </a:lnTo>
                    <a:lnTo>
                      <a:pt x="386" y="0"/>
                    </a:lnTo>
                    <a:lnTo>
                      <a:pt x="380" y="0"/>
                    </a:lnTo>
                    <a:lnTo>
                      <a:pt x="372" y="8"/>
                    </a:lnTo>
                    <a:lnTo>
                      <a:pt x="372" y="14"/>
                    </a:lnTo>
                    <a:lnTo>
                      <a:pt x="372" y="20"/>
                    </a:lnTo>
                    <a:lnTo>
                      <a:pt x="366" y="28"/>
                    </a:lnTo>
                    <a:lnTo>
                      <a:pt x="366" y="34"/>
                    </a:lnTo>
                    <a:lnTo>
                      <a:pt x="366" y="48"/>
                    </a:lnTo>
                    <a:lnTo>
                      <a:pt x="366" y="56"/>
                    </a:lnTo>
                    <a:lnTo>
                      <a:pt x="358" y="56"/>
                    </a:lnTo>
                    <a:lnTo>
                      <a:pt x="352" y="56"/>
                    </a:lnTo>
                    <a:lnTo>
                      <a:pt x="344" y="62"/>
                    </a:lnTo>
                    <a:lnTo>
                      <a:pt x="338" y="62"/>
                    </a:lnTo>
                    <a:lnTo>
                      <a:pt x="324" y="68"/>
                    </a:lnTo>
                    <a:lnTo>
                      <a:pt x="310" y="76"/>
                    </a:lnTo>
                    <a:lnTo>
                      <a:pt x="296" y="76"/>
                    </a:lnTo>
                    <a:lnTo>
                      <a:pt x="282" y="76"/>
                    </a:lnTo>
                    <a:lnTo>
                      <a:pt x="282" y="84"/>
                    </a:lnTo>
                    <a:lnTo>
                      <a:pt x="290" y="84"/>
                    </a:lnTo>
                    <a:lnTo>
                      <a:pt x="302" y="90"/>
                    </a:lnTo>
                    <a:lnTo>
                      <a:pt x="310" y="96"/>
                    </a:lnTo>
                    <a:lnTo>
                      <a:pt x="302" y="96"/>
                    </a:lnTo>
                    <a:lnTo>
                      <a:pt x="302" y="104"/>
                    </a:lnTo>
                    <a:lnTo>
                      <a:pt x="290" y="96"/>
                    </a:lnTo>
                    <a:lnTo>
                      <a:pt x="276" y="96"/>
                    </a:lnTo>
                    <a:lnTo>
                      <a:pt x="262" y="96"/>
                    </a:lnTo>
                    <a:lnTo>
                      <a:pt x="262" y="90"/>
                    </a:lnTo>
                    <a:lnTo>
                      <a:pt x="248" y="90"/>
                    </a:lnTo>
                    <a:lnTo>
                      <a:pt x="234" y="84"/>
                    </a:lnTo>
                    <a:lnTo>
                      <a:pt x="220" y="76"/>
                    </a:lnTo>
                    <a:lnTo>
                      <a:pt x="220" y="84"/>
                    </a:lnTo>
                    <a:lnTo>
                      <a:pt x="206" y="76"/>
                    </a:lnTo>
                    <a:lnTo>
                      <a:pt x="214" y="68"/>
                    </a:lnTo>
                    <a:lnTo>
                      <a:pt x="206" y="62"/>
                    </a:lnTo>
                    <a:lnTo>
                      <a:pt x="206" y="56"/>
                    </a:lnTo>
                    <a:lnTo>
                      <a:pt x="214" y="48"/>
                    </a:lnTo>
                    <a:lnTo>
                      <a:pt x="206" y="48"/>
                    </a:lnTo>
                    <a:lnTo>
                      <a:pt x="200" y="48"/>
                    </a:lnTo>
                    <a:lnTo>
                      <a:pt x="192" y="42"/>
                    </a:lnTo>
                    <a:lnTo>
                      <a:pt x="186" y="42"/>
                    </a:lnTo>
                    <a:lnTo>
                      <a:pt x="186" y="48"/>
                    </a:lnTo>
                    <a:lnTo>
                      <a:pt x="178" y="56"/>
                    </a:lnTo>
                    <a:lnTo>
                      <a:pt x="178" y="68"/>
                    </a:lnTo>
                    <a:lnTo>
                      <a:pt x="178" y="76"/>
                    </a:lnTo>
                    <a:lnTo>
                      <a:pt x="186" y="90"/>
                    </a:lnTo>
                    <a:lnTo>
                      <a:pt x="178" y="96"/>
                    </a:lnTo>
                    <a:lnTo>
                      <a:pt x="178" y="104"/>
                    </a:lnTo>
                    <a:lnTo>
                      <a:pt x="178" y="110"/>
                    </a:lnTo>
                    <a:lnTo>
                      <a:pt x="186" y="118"/>
                    </a:lnTo>
                    <a:lnTo>
                      <a:pt x="186" y="124"/>
                    </a:lnTo>
                    <a:lnTo>
                      <a:pt x="172" y="124"/>
                    </a:lnTo>
                    <a:lnTo>
                      <a:pt x="164" y="118"/>
                    </a:lnTo>
                    <a:lnTo>
                      <a:pt x="158" y="118"/>
                    </a:lnTo>
                    <a:lnTo>
                      <a:pt x="152" y="118"/>
                    </a:lnTo>
                    <a:lnTo>
                      <a:pt x="158" y="110"/>
                    </a:lnTo>
                    <a:lnTo>
                      <a:pt x="144" y="110"/>
                    </a:lnTo>
                    <a:lnTo>
                      <a:pt x="130" y="110"/>
                    </a:lnTo>
                    <a:lnTo>
                      <a:pt x="124" y="104"/>
                    </a:lnTo>
                    <a:lnTo>
                      <a:pt x="124" y="110"/>
                    </a:lnTo>
                    <a:lnTo>
                      <a:pt x="110" y="110"/>
                    </a:lnTo>
                    <a:lnTo>
                      <a:pt x="110" y="104"/>
                    </a:lnTo>
                    <a:lnTo>
                      <a:pt x="110" y="90"/>
                    </a:lnTo>
                    <a:lnTo>
                      <a:pt x="102" y="90"/>
                    </a:lnTo>
                    <a:lnTo>
                      <a:pt x="96" y="90"/>
                    </a:lnTo>
                    <a:lnTo>
                      <a:pt x="96" y="84"/>
                    </a:lnTo>
                    <a:lnTo>
                      <a:pt x="102" y="76"/>
                    </a:lnTo>
                    <a:lnTo>
                      <a:pt x="96" y="84"/>
                    </a:lnTo>
                    <a:lnTo>
                      <a:pt x="82" y="76"/>
                    </a:lnTo>
                    <a:lnTo>
                      <a:pt x="76" y="84"/>
                    </a:lnTo>
                    <a:lnTo>
                      <a:pt x="76" y="90"/>
                    </a:lnTo>
                    <a:lnTo>
                      <a:pt x="62" y="90"/>
                    </a:lnTo>
                    <a:lnTo>
                      <a:pt x="62" y="84"/>
                    </a:lnTo>
                    <a:lnTo>
                      <a:pt x="48" y="84"/>
                    </a:lnTo>
                    <a:lnTo>
                      <a:pt x="40" y="84"/>
                    </a:lnTo>
                    <a:lnTo>
                      <a:pt x="34" y="76"/>
                    </a:lnTo>
                    <a:lnTo>
                      <a:pt x="26" y="84"/>
                    </a:lnTo>
                    <a:lnTo>
                      <a:pt x="20" y="84"/>
                    </a:lnTo>
                    <a:lnTo>
                      <a:pt x="12" y="84"/>
                    </a:lnTo>
                    <a:lnTo>
                      <a:pt x="6" y="84"/>
                    </a:lnTo>
                    <a:lnTo>
                      <a:pt x="6" y="90"/>
                    </a:lnTo>
                    <a:lnTo>
                      <a:pt x="12" y="90"/>
                    </a:lnTo>
                    <a:lnTo>
                      <a:pt x="20" y="90"/>
                    </a:lnTo>
                    <a:lnTo>
                      <a:pt x="26" y="90"/>
                    </a:lnTo>
                    <a:lnTo>
                      <a:pt x="26" y="96"/>
                    </a:lnTo>
                    <a:lnTo>
                      <a:pt x="26" y="104"/>
                    </a:lnTo>
                    <a:lnTo>
                      <a:pt x="20" y="104"/>
                    </a:lnTo>
                    <a:lnTo>
                      <a:pt x="20" y="110"/>
                    </a:lnTo>
                    <a:lnTo>
                      <a:pt x="12" y="110"/>
                    </a:lnTo>
                    <a:lnTo>
                      <a:pt x="6" y="110"/>
                    </a:lnTo>
                    <a:lnTo>
                      <a:pt x="0" y="118"/>
                    </a:lnTo>
                    <a:lnTo>
                      <a:pt x="6" y="118"/>
                    </a:lnTo>
                    <a:lnTo>
                      <a:pt x="12" y="124"/>
                    </a:lnTo>
                    <a:lnTo>
                      <a:pt x="20" y="138"/>
                    </a:lnTo>
                    <a:lnTo>
                      <a:pt x="20" y="130"/>
                    </a:lnTo>
                    <a:lnTo>
                      <a:pt x="34" y="138"/>
                    </a:lnTo>
                    <a:lnTo>
                      <a:pt x="34" y="130"/>
                    </a:lnTo>
                    <a:lnTo>
                      <a:pt x="40" y="130"/>
                    </a:lnTo>
                    <a:lnTo>
                      <a:pt x="40" y="138"/>
                    </a:lnTo>
                    <a:lnTo>
                      <a:pt x="54" y="152"/>
                    </a:lnTo>
                    <a:lnTo>
                      <a:pt x="62" y="152"/>
                    </a:lnTo>
                    <a:lnTo>
                      <a:pt x="62" y="158"/>
                    </a:lnTo>
                    <a:lnTo>
                      <a:pt x="68" y="158"/>
                    </a:lnTo>
                    <a:lnTo>
                      <a:pt x="68" y="166"/>
                    </a:lnTo>
                    <a:lnTo>
                      <a:pt x="68" y="172"/>
                    </a:lnTo>
                    <a:lnTo>
                      <a:pt x="82" y="172"/>
                    </a:lnTo>
                    <a:lnTo>
                      <a:pt x="96" y="172"/>
                    </a:lnTo>
                    <a:lnTo>
                      <a:pt x="88" y="180"/>
                    </a:lnTo>
                    <a:lnTo>
                      <a:pt x="96" y="180"/>
                    </a:lnTo>
                    <a:lnTo>
                      <a:pt x="102" y="186"/>
                    </a:lnTo>
                    <a:lnTo>
                      <a:pt x="96" y="200"/>
                    </a:lnTo>
                    <a:lnTo>
                      <a:pt x="102" y="200"/>
                    </a:lnTo>
                    <a:lnTo>
                      <a:pt x="110" y="208"/>
                    </a:lnTo>
                    <a:lnTo>
                      <a:pt x="124" y="208"/>
                    </a:lnTo>
                    <a:lnTo>
                      <a:pt x="110" y="208"/>
                    </a:lnTo>
                    <a:lnTo>
                      <a:pt x="110" y="214"/>
                    </a:lnTo>
                    <a:lnTo>
                      <a:pt x="116" y="214"/>
                    </a:lnTo>
                    <a:lnTo>
                      <a:pt x="116" y="220"/>
                    </a:lnTo>
                    <a:lnTo>
                      <a:pt x="102" y="234"/>
                    </a:lnTo>
                    <a:lnTo>
                      <a:pt x="102" y="242"/>
                    </a:lnTo>
                    <a:lnTo>
                      <a:pt x="110" y="254"/>
                    </a:lnTo>
                    <a:lnTo>
                      <a:pt x="116" y="254"/>
                    </a:lnTo>
                    <a:lnTo>
                      <a:pt x="116" y="270"/>
                    </a:lnTo>
                    <a:lnTo>
                      <a:pt x="124" y="276"/>
                    </a:lnTo>
                    <a:lnTo>
                      <a:pt x="124" y="282"/>
                    </a:lnTo>
                    <a:lnTo>
                      <a:pt x="138" y="290"/>
                    </a:lnTo>
                    <a:lnTo>
                      <a:pt x="144" y="282"/>
                    </a:lnTo>
                    <a:lnTo>
                      <a:pt x="144" y="290"/>
                    </a:lnTo>
                    <a:lnTo>
                      <a:pt x="144" y="296"/>
                    </a:lnTo>
                    <a:lnTo>
                      <a:pt x="138" y="304"/>
                    </a:lnTo>
                    <a:lnTo>
                      <a:pt x="144" y="304"/>
                    </a:lnTo>
                    <a:lnTo>
                      <a:pt x="138" y="310"/>
                    </a:lnTo>
                    <a:lnTo>
                      <a:pt x="138" y="324"/>
                    </a:lnTo>
                    <a:lnTo>
                      <a:pt x="138" y="332"/>
                    </a:lnTo>
                    <a:lnTo>
                      <a:pt x="130" y="338"/>
                    </a:lnTo>
                    <a:lnTo>
                      <a:pt x="130" y="344"/>
                    </a:lnTo>
                    <a:lnTo>
                      <a:pt x="138" y="344"/>
                    </a:lnTo>
                    <a:lnTo>
                      <a:pt x="138" y="352"/>
                    </a:lnTo>
                    <a:lnTo>
                      <a:pt x="138" y="358"/>
                    </a:lnTo>
                    <a:lnTo>
                      <a:pt x="144" y="366"/>
                    </a:lnTo>
                    <a:lnTo>
                      <a:pt x="144" y="372"/>
                    </a:lnTo>
                    <a:lnTo>
                      <a:pt x="144" y="386"/>
                    </a:lnTo>
                    <a:lnTo>
                      <a:pt x="144" y="392"/>
                    </a:lnTo>
                    <a:lnTo>
                      <a:pt x="138" y="386"/>
                    </a:lnTo>
                    <a:lnTo>
                      <a:pt x="138" y="378"/>
                    </a:lnTo>
                    <a:lnTo>
                      <a:pt x="138" y="372"/>
                    </a:lnTo>
                    <a:lnTo>
                      <a:pt x="130" y="366"/>
                    </a:lnTo>
                    <a:lnTo>
                      <a:pt x="130" y="358"/>
                    </a:lnTo>
                    <a:lnTo>
                      <a:pt x="124" y="352"/>
                    </a:lnTo>
                    <a:lnTo>
                      <a:pt x="124" y="344"/>
                    </a:lnTo>
                    <a:lnTo>
                      <a:pt x="116" y="352"/>
                    </a:lnTo>
                    <a:lnTo>
                      <a:pt x="116" y="372"/>
                    </a:lnTo>
                    <a:lnTo>
                      <a:pt x="116" y="378"/>
                    </a:lnTo>
                    <a:lnTo>
                      <a:pt x="110" y="386"/>
                    </a:lnTo>
                    <a:lnTo>
                      <a:pt x="110" y="400"/>
                    </a:lnTo>
                    <a:lnTo>
                      <a:pt x="102" y="400"/>
                    </a:lnTo>
                    <a:lnTo>
                      <a:pt x="116" y="406"/>
                    </a:lnTo>
                    <a:lnTo>
                      <a:pt x="110" y="414"/>
                    </a:lnTo>
                    <a:lnTo>
                      <a:pt x="96" y="414"/>
                    </a:lnTo>
                    <a:lnTo>
                      <a:pt x="96" y="420"/>
                    </a:lnTo>
                    <a:lnTo>
                      <a:pt x="96" y="428"/>
                    </a:lnTo>
                    <a:lnTo>
                      <a:pt x="88" y="434"/>
                    </a:lnTo>
                    <a:lnTo>
                      <a:pt x="88" y="442"/>
                    </a:lnTo>
                    <a:lnTo>
                      <a:pt x="82" y="442"/>
                    </a:lnTo>
                    <a:lnTo>
                      <a:pt x="82" y="454"/>
                    </a:lnTo>
                    <a:lnTo>
                      <a:pt x="76" y="454"/>
                    </a:lnTo>
                    <a:lnTo>
                      <a:pt x="68" y="462"/>
                    </a:lnTo>
                    <a:lnTo>
                      <a:pt x="68" y="468"/>
                    </a:lnTo>
                    <a:lnTo>
                      <a:pt x="54" y="482"/>
                    </a:lnTo>
                    <a:lnTo>
                      <a:pt x="40" y="496"/>
                    </a:lnTo>
                    <a:lnTo>
                      <a:pt x="48" y="504"/>
                    </a:lnTo>
                    <a:lnTo>
                      <a:pt x="54" y="510"/>
                    </a:lnTo>
                    <a:lnTo>
                      <a:pt x="54" y="516"/>
                    </a:lnTo>
                    <a:lnTo>
                      <a:pt x="54" y="524"/>
                    </a:lnTo>
                    <a:lnTo>
                      <a:pt x="62" y="524"/>
                    </a:lnTo>
                    <a:lnTo>
                      <a:pt x="68" y="524"/>
                    </a:lnTo>
                    <a:lnTo>
                      <a:pt x="82" y="538"/>
                    </a:lnTo>
                    <a:lnTo>
                      <a:pt x="88" y="538"/>
                    </a:lnTo>
                    <a:lnTo>
                      <a:pt x="96" y="552"/>
                    </a:lnTo>
                    <a:lnTo>
                      <a:pt x="102" y="552"/>
                    </a:lnTo>
                    <a:lnTo>
                      <a:pt x="110" y="552"/>
                    </a:lnTo>
                    <a:lnTo>
                      <a:pt x="116" y="558"/>
                    </a:lnTo>
                    <a:lnTo>
                      <a:pt x="130" y="572"/>
                    </a:lnTo>
                    <a:lnTo>
                      <a:pt x="138" y="572"/>
                    </a:lnTo>
                    <a:lnTo>
                      <a:pt x="152" y="580"/>
                    </a:lnTo>
                    <a:lnTo>
                      <a:pt x="158" y="580"/>
                    </a:lnTo>
                    <a:lnTo>
                      <a:pt x="158" y="586"/>
                    </a:lnTo>
                    <a:lnTo>
                      <a:pt x="174" y="588"/>
                    </a:lnTo>
                    <a:lnTo>
                      <a:pt x="190" y="582"/>
                    </a:lnTo>
                    <a:lnTo>
                      <a:pt x="198" y="588"/>
                    </a:lnTo>
                    <a:lnTo>
                      <a:pt x="202" y="596"/>
                    </a:lnTo>
                    <a:lnTo>
                      <a:pt x="200" y="606"/>
                    </a:lnTo>
                    <a:lnTo>
                      <a:pt x="206" y="614"/>
                    </a:lnTo>
                    <a:lnTo>
                      <a:pt x="214" y="614"/>
                    </a:lnTo>
                    <a:lnTo>
                      <a:pt x="220" y="614"/>
                    </a:lnTo>
                    <a:lnTo>
                      <a:pt x="226" y="614"/>
                    </a:lnTo>
                    <a:lnTo>
                      <a:pt x="234" y="620"/>
                    </a:lnTo>
                    <a:lnTo>
                      <a:pt x="240" y="628"/>
                    </a:lnTo>
                    <a:lnTo>
                      <a:pt x="248" y="628"/>
                    </a:lnTo>
                    <a:lnTo>
                      <a:pt x="262" y="628"/>
                    </a:lnTo>
                    <a:lnTo>
                      <a:pt x="268" y="634"/>
                    </a:lnTo>
                    <a:lnTo>
                      <a:pt x="276" y="636"/>
                    </a:lnTo>
                    <a:lnTo>
                      <a:pt x="282" y="634"/>
                    </a:lnTo>
                    <a:lnTo>
                      <a:pt x="290" y="634"/>
                    </a:lnTo>
                    <a:lnTo>
                      <a:pt x="294" y="636"/>
                    </a:lnTo>
                    <a:lnTo>
                      <a:pt x="302" y="630"/>
                    </a:lnTo>
                    <a:lnTo>
                      <a:pt x="300" y="628"/>
                    </a:lnTo>
                    <a:lnTo>
                      <a:pt x="298" y="624"/>
                    </a:lnTo>
                    <a:lnTo>
                      <a:pt x="296" y="620"/>
                    </a:lnTo>
                    <a:lnTo>
                      <a:pt x="302" y="614"/>
                    </a:lnTo>
                    <a:lnTo>
                      <a:pt x="296" y="606"/>
                    </a:lnTo>
                    <a:lnTo>
                      <a:pt x="302" y="592"/>
                    </a:lnTo>
                    <a:lnTo>
                      <a:pt x="302" y="586"/>
                    </a:lnTo>
                    <a:lnTo>
                      <a:pt x="310" y="580"/>
                    </a:lnTo>
                    <a:lnTo>
                      <a:pt x="316" y="580"/>
                    </a:lnTo>
                    <a:lnTo>
                      <a:pt x="324" y="572"/>
                    </a:lnTo>
                    <a:lnTo>
                      <a:pt x="330" y="572"/>
                    </a:lnTo>
                    <a:lnTo>
                      <a:pt x="338" y="572"/>
                    </a:lnTo>
                    <a:lnTo>
                      <a:pt x="344" y="572"/>
                    </a:lnTo>
                    <a:lnTo>
                      <a:pt x="352" y="566"/>
                    </a:lnTo>
                    <a:lnTo>
                      <a:pt x="358" y="558"/>
                    </a:lnTo>
                    <a:lnTo>
                      <a:pt x="366" y="558"/>
                    </a:lnTo>
                    <a:lnTo>
                      <a:pt x="372" y="566"/>
                    </a:lnTo>
                    <a:lnTo>
                      <a:pt x="380" y="572"/>
                    </a:lnTo>
                    <a:lnTo>
                      <a:pt x="386" y="572"/>
                    </a:lnTo>
                    <a:lnTo>
                      <a:pt x="401" y="572"/>
                    </a:lnTo>
                    <a:lnTo>
                      <a:pt x="401" y="586"/>
                    </a:lnTo>
                    <a:lnTo>
                      <a:pt x="407" y="580"/>
                    </a:lnTo>
                    <a:lnTo>
                      <a:pt x="415" y="580"/>
                    </a:lnTo>
                    <a:lnTo>
                      <a:pt x="421" y="572"/>
                    </a:lnTo>
                    <a:lnTo>
                      <a:pt x="429" y="572"/>
                    </a:lnTo>
                    <a:lnTo>
                      <a:pt x="429" y="580"/>
                    </a:lnTo>
                    <a:lnTo>
                      <a:pt x="429" y="586"/>
                    </a:lnTo>
                    <a:lnTo>
                      <a:pt x="435" y="586"/>
                    </a:lnTo>
                    <a:lnTo>
                      <a:pt x="443" y="586"/>
                    </a:lnTo>
                    <a:lnTo>
                      <a:pt x="443" y="592"/>
                    </a:lnTo>
                    <a:lnTo>
                      <a:pt x="443" y="600"/>
                    </a:lnTo>
                    <a:lnTo>
                      <a:pt x="449" y="592"/>
                    </a:lnTo>
                    <a:lnTo>
                      <a:pt x="455" y="600"/>
                    </a:lnTo>
                    <a:lnTo>
                      <a:pt x="463" y="606"/>
                    </a:lnTo>
                    <a:lnTo>
                      <a:pt x="463" y="614"/>
                    </a:lnTo>
                    <a:lnTo>
                      <a:pt x="469" y="620"/>
                    </a:lnTo>
                    <a:lnTo>
                      <a:pt x="477" y="620"/>
                    </a:lnTo>
                    <a:lnTo>
                      <a:pt x="483" y="620"/>
                    </a:lnTo>
                    <a:lnTo>
                      <a:pt x="491" y="620"/>
                    </a:lnTo>
                    <a:lnTo>
                      <a:pt x="497" y="620"/>
                    </a:lnTo>
                    <a:lnTo>
                      <a:pt x="505" y="620"/>
                    </a:lnTo>
                    <a:lnTo>
                      <a:pt x="511" y="614"/>
                    </a:lnTo>
                    <a:lnTo>
                      <a:pt x="511" y="606"/>
                    </a:lnTo>
                    <a:lnTo>
                      <a:pt x="511" y="600"/>
                    </a:lnTo>
                    <a:lnTo>
                      <a:pt x="519" y="600"/>
                    </a:lnTo>
                    <a:lnTo>
                      <a:pt x="525" y="600"/>
                    </a:lnTo>
                    <a:lnTo>
                      <a:pt x="531" y="600"/>
                    </a:lnTo>
                    <a:lnTo>
                      <a:pt x="531" y="592"/>
                    </a:lnTo>
                    <a:lnTo>
                      <a:pt x="539" y="592"/>
                    </a:lnTo>
                    <a:lnTo>
                      <a:pt x="545" y="592"/>
                    </a:lnTo>
                    <a:lnTo>
                      <a:pt x="545" y="600"/>
                    </a:lnTo>
                    <a:lnTo>
                      <a:pt x="559" y="586"/>
                    </a:lnTo>
                    <a:lnTo>
                      <a:pt x="553" y="592"/>
                    </a:lnTo>
                    <a:lnTo>
                      <a:pt x="559" y="586"/>
                    </a:lnTo>
                    <a:lnTo>
                      <a:pt x="559" y="586"/>
                    </a:lnTo>
                    <a:lnTo>
                      <a:pt x="559" y="586"/>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3" name="Freeform 27"/>
              <p:cNvSpPr>
                <a:spLocks/>
              </p:cNvSpPr>
              <p:nvPr/>
            </p:nvSpPr>
            <p:spPr bwMode="gray">
              <a:xfrm>
                <a:off x="3148573" y="787853"/>
                <a:ext cx="504937" cy="425544"/>
              </a:xfrm>
              <a:custGeom>
                <a:avLst/>
                <a:gdLst>
                  <a:gd name="T0" fmla="*/ 22 w 318"/>
                  <a:gd name="T1" fmla="*/ 178 h 268"/>
                  <a:gd name="T2" fmla="*/ 50 w 318"/>
                  <a:gd name="T3" fmla="*/ 192 h 268"/>
                  <a:gd name="T4" fmla="*/ 50 w 318"/>
                  <a:gd name="T5" fmla="*/ 218 h 268"/>
                  <a:gd name="T6" fmla="*/ 84 w 318"/>
                  <a:gd name="T7" fmla="*/ 240 h 268"/>
                  <a:gd name="T8" fmla="*/ 104 w 318"/>
                  <a:gd name="T9" fmla="*/ 268 h 268"/>
                  <a:gd name="T10" fmla="*/ 118 w 318"/>
                  <a:gd name="T11" fmla="*/ 260 h 268"/>
                  <a:gd name="T12" fmla="*/ 160 w 318"/>
                  <a:gd name="T13" fmla="*/ 254 h 268"/>
                  <a:gd name="T14" fmla="*/ 194 w 318"/>
                  <a:gd name="T15" fmla="*/ 260 h 268"/>
                  <a:gd name="T16" fmla="*/ 228 w 318"/>
                  <a:gd name="T17" fmla="*/ 254 h 268"/>
                  <a:gd name="T18" fmla="*/ 250 w 318"/>
                  <a:gd name="T19" fmla="*/ 260 h 268"/>
                  <a:gd name="T20" fmla="*/ 284 w 318"/>
                  <a:gd name="T21" fmla="*/ 248 h 268"/>
                  <a:gd name="T22" fmla="*/ 312 w 318"/>
                  <a:gd name="T23" fmla="*/ 226 h 268"/>
                  <a:gd name="T24" fmla="*/ 318 w 318"/>
                  <a:gd name="T25" fmla="*/ 198 h 268"/>
                  <a:gd name="T26" fmla="*/ 298 w 318"/>
                  <a:gd name="T27" fmla="*/ 178 h 268"/>
                  <a:gd name="T28" fmla="*/ 312 w 318"/>
                  <a:gd name="T29" fmla="*/ 164 h 268"/>
                  <a:gd name="T30" fmla="*/ 318 w 318"/>
                  <a:gd name="T31" fmla="*/ 136 h 268"/>
                  <a:gd name="T32" fmla="*/ 298 w 318"/>
                  <a:gd name="T33" fmla="*/ 130 h 268"/>
                  <a:gd name="T34" fmla="*/ 306 w 318"/>
                  <a:gd name="T35" fmla="*/ 102 h 268"/>
                  <a:gd name="T36" fmla="*/ 284 w 318"/>
                  <a:gd name="T37" fmla="*/ 116 h 268"/>
                  <a:gd name="T38" fmla="*/ 264 w 318"/>
                  <a:gd name="T39" fmla="*/ 110 h 268"/>
                  <a:gd name="T40" fmla="*/ 236 w 318"/>
                  <a:gd name="T41" fmla="*/ 102 h 268"/>
                  <a:gd name="T42" fmla="*/ 222 w 318"/>
                  <a:gd name="T43" fmla="*/ 122 h 268"/>
                  <a:gd name="T44" fmla="*/ 216 w 318"/>
                  <a:gd name="T45" fmla="*/ 102 h 268"/>
                  <a:gd name="T46" fmla="*/ 194 w 318"/>
                  <a:gd name="T47" fmla="*/ 82 h 268"/>
                  <a:gd name="T48" fmla="*/ 174 w 318"/>
                  <a:gd name="T49" fmla="*/ 102 h 268"/>
                  <a:gd name="T50" fmla="*/ 166 w 318"/>
                  <a:gd name="T51" fmla="*/ 68 h 268"/>
                  <a:gd name="T52" fmla="*/ 146 w 318"/>
                  <a:gd name="T53" fmla="*/ 88 h 268"/>
                  <a:gd name="T54" fmla="*/ 118 w 318"/>
                  <a:gd name="T55" fmla="*/ 102 h 268"/>
                  <a:gd name="T56" fmla="*/ 118 w 318"/>
                  <a:gd name="T57" fmla="*/ 82 h 268"/>
                  <a:gd name="T58" fmla="*/ 132 w 318"/>
                  <a:gd name="T59" fmla="*/ 60 h 268"/>
                  <a:gd name="T60" fmla="*/ 138 w 318"/>
                  <a:gd name="T61" fmla="*/ 34 h 268"/>
                  <a:gd name="T62" fmla="*/ 112 w 318"/>
                  <a:gd name="T63" fmla="*/ 0 h 268"/>
                  <a:gd name="T64" fmla="*/ 118 w 318"/>
                  <a:gd name="T65" fmla="*/ 26 h 268"/>
                  <a:gd name="T66" fmla="*/ 104 w 318"/>
                  <a:gd name="T67" fmla="*/ 40 h 268"/>
                  <a:gd name="T68" fmla="*/ 96 w 318"/>
                  <a:gd name="T69" fmla="*/ 6 h 268"/>
                  <a:gd name="T70" fmla="*/ 84 w 318"/>
                  <a:gd name="T71" fmla="*/ 26 h 268"/>
                  <a:gd name="T72" fmla="*/ 70 w 318"/>
                  <a:gd name="T73" fmla="*/ 40 h 268"/>
                  <a:gd name="T74" fmla="*/ 56 w 318"/>
                  <a:gd name="T75" fmla="*/ 20 h 268"/>
                  <a:gd name="T76" fmla="*/ 50 w 318"/>
                  <a:gd name="T77" fmla="*/ 26 h 268"/>
                  <a:gd name="T78" fmla="*/ 56 w 318"/>
                  <a:gd name="T79" fmla="*/ 40 h 268"/>
                  <a:gd name="T80" fmla="*/ 90 w 318"/>
                  <a:gd name="T81" fmla="*/ 60 h 268"/>
                  <a:gd name="T82" fmla="*/ 104 w 318"/>
                  <a:gd name="T83" fmla="*/ 82 h 268"/>
                  <a:gd name="T84" fmla="*/ 76 w 318"/>
                  <a:gd name="T85" fmla="*/ 82 h 268"/>
                  <a:gd name="T86" fmla="*/ 76 w 318"/>
                  <a:gd name="T87" fmla="*/ 102 h 268"/>
                  <a:gd name="T88" fmla="*/ 42 w 318"/>
                  <a:gd name="T89" fmla="*/ 82 h 268"/>
                  <a:gd name="T90" fmla="*/ 28 w 318"/>
                  <a:gd name="T91" fmla="*/ 88 h 268"/>
                  <a:gd name="T92" fmla="*/ 56 w 318"/>
                  <a:gd name="T93" fmla="*/ 102 h 268"/>
                  <a:gd name="T94" fmla="*/ 50 w 318"/>
                  <a:gd name="T95" fmla="*/ 136 h 268"/>
                  <a:gd name="T96" fmla="*/ 42 w 318"/>
                  <a:gd name="T97" fmla="*/ 150 h 268"/>
                  <a:gd name="T98" fmla="*/ 14 w 318"/>
                  <a:gd name="T99" fmla="*/ 158 h 268"/>
                  <a:gd name="T100" fmla="*/ 0 w 318"/>
                  <a:gd name="T101" fmla="*/ 164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8" h="268">
                    <a:moveTo>
                      <a:pt x="0" y="164"/>
                    </a:moveTo>
                    <a:lnTo>
                      <a:pt x="8" y="170"/>
                    </a:lnTo>
                    <a:lnTo>
                      <a:pt x="14" y="170"/>
                    </a:lnTo>
                    <a:lnTo>
                      <a:pt x="22" y="178"/>
                    </a:lnTo>
                    <a:lnTo>
                      <a:pt x="28" y="184"/>
                    </a:lnTo>
                    <a:lnTo>
                      <a:pt x="34" y="192"/>
                    </a:lnTo>
                    <a:lnTo>
                      <a:pt x="42" y="192"/>
                    </a:lnTo>
                    <a:lnTo>
                      <a:pt x="50" y="192"/>
                    </a:lnTo>
                    <a:lnTo>
                      <a:pt x="50" y="198"/>
                    </a:lnTo>
                    <a:lnTo>
                      <a:pt x="50" y="206"/>
                    </a:lnTo>
                    <a:lnTo>
                      <a:pt x="50" y="212"/>
                    </a:lnTo>
                    <a:lnTo>
                      <a:pt x="50" y="218"/>
                    </a:lnTo>
                    <a:lnTo>
                      <a:pt x="56" y="226"/>
                    </a:lnTo>
                    <a:lnTo>
                      <a:pt x="70" y="240"/>
                    </a:lnTo>
                    <a:lnTo>
                      <a:pt x="76" y="240"/>
                    </a:lnTo>
                    <a:lnTo>
                      <a:pt x="84" y="240"/>
                    </a:lnTo>
                    <a:lnTo>
                      <a:pt x="84" y="248"/>
                    </a:lnTo>
                    <a:lnTo>
                      <a:pt x="84" y="254"/>
                    </a:lnTo>
                    <a:lnTo>
                      <a:pt x="96" y="260"/>
                    </a:lnTo>
                    <a:lnTo>
                      <a:pt x="104" y="268"/>
                    </a:lnTo>
                    <a:lnTo>
                      <a:pt x="104" y="260"/>
                    </a:lnTo>
                    <a:lnTo>
                      <a:pt x="112" y="254"/>
                    </a:lnTo>
                    <a:lnTo>
                      <a:pt x="112" y="260"/>
                    </a:lnTo>
                    <a:lnTo>
                      <a:pt x="118" y="260"/>
                    </a:lnTo>
                    <a:lnTo>
                      <a:pt x="132" y="254"/>
                    </a:lnTo>
                    <a:lnTo>
                      <a:pt x="138" y="254"/>
                    </a:lnTo>
                    <a:lnTo>
                      <a:pt x="154" y="260"/>
                    </a:lnTo>
                    <a:lnTo>
                      <a:pt x="160" y="254"/>
                    </a:lnTo>
                    <a:lnTo>
                      <a:pt x="166" y="260"/>
                    </a:lnTo>
                    <a:lnTo>
                      <a:pt x="180" y="260"/>
                    </a:lnTo>
                    <a:lnTo>
                      <a:pt x="180" y="268"/>
                    </a:lnTo>
                    <a:lnTo>
                      <a:pt x="194" y="260"/>
                    </a:lnTo>
                    <a:lnTo>
                      <a:pt x="202" y="254"/>
                    </a:lnTo>
                    <a:lnTo>
                      <a:pt x="216" y="260"/>
                    </a:lnTo>
                    <a:lnTo>
                      <a:pt x="222" y="260"/>
                    </a:lnTo>
                    <a:lnTo>
                      <a:pt x="228" y="254"/>
                    </a:lnTo>
                    <a:lnTo>
                      <a:pt x="236" y="260"/>
                    </a:lnTo>
                    <a:lnTo>
                      <a:pt x="236" y="268"/>
                    </a:lnTo>
                    <a:lnTo>
                      <a:pt x="242" y="260"/>
                    </a:lnTo>
                    <a:lnTo>
                      <a:pt x="250" y="260"/>
                    </a:lnTo>
                    <a:lnTo>
                      <a:pt x="264" y="254"/>
                    </a:lnTo>
                    <a:lnTo>
                      <a:pt x="270" y="240"/>
                    </a:lnTo>
                    <a:lnTo>
                      <a:pt x="278" y="248"/>
                    </a:lnTo>
                    <a:lnTo>
                      <a:pt x="284" y="248"/>
                    </a:lnTo>
                    <a:lnTo>
                      <a:pt x="298" y="248"/>
                    </a:lnTo>
                    <a:lnTo>
                      <a:pt x="298" y="234"/>
                    </a:lnTo>
                    <a:lnTo>
                      <a:pt x="306" y="226"/>
                    </a:lnTo>
                    <a:lnTo>
                      <a:pt x="312" y="226"/>
                    </a:lnTo>
                    <a:lnTo>
                      <a:pt x="312" y="218"/>
                    </a:lnTo>
                    <a:lnTo>
                      <a:pt x="312" y="212"/>
                    </a:lnTo>
                    <a:lnTo>
                      <a:pt x="318" y="206"/>
                    </a:lnTo>
                    <a:lnTo>
                      <a:pt x="318" y="198"/>
                    </a:lnTo>
                    <a:lnTo>
                      <a:pt x="312" y="192"/>
                    </a:lnTo>
                    <a:lnTo>
                      <a:pt x="312" y="184"/>
                    </a:lnTo>
                    <a:lnTo>
                      <a:pt x="312" y="178"/>
                    </a:lnTo>
                    <a:lnTo>
                      <a:pt x="298" y="178"/>
                    </a:lnTo>
                    <a:lnTo>
                      <a:pt x="298" y="170"/>
                    </a:lnTo>
                    <a:lnTo>
                      <a:pt x="306" y="164"/>
                    </a:lnTo>
                    <a:lnTo>
                      <a:pt x="312" y="170"/>
                    </a:lnTo>
                    <a:lnTo>
                      <a:pt x="312" y="164"/>
                    </a:lnTo>
                    <a:lnTo>
                      <a:pt x="306" y="158"/>
                    </a:lnTo>
                    <a:lnTo>
                      <a:pt x="306" y="150"/>
                    </a:lnTo>
                    <a:lnTo>
                      <a:pt x="306" y="144"/>
                    </a:lnTo>
                    <a:lnTo>
                      <a:pt x="318" y="136"/>
                    </a:lnTo>
                    <a:lnTo>
                      <a:pt x="318" y="130"/>
                    </a:lnTo>
                    <a:lnTo>
                      <a:pt x="312" y="136"/>
                    </a:lnTo>
                    <a:lnTo>
                      <a:pt x="298" y="136"/>
                    </a:lnTo>
                    <a:lnTo>
                      <a:pt x="298" y="130"/>
                    </a:lnTo>
                    <a:lnTo>
                      <a:pt x="298" y="122"/>
                    </a:lnTo>
                    <a:lnTo>
                      <a:pt x="306" y="116"/>
                    </a:lnTo>
                    <a:lnTo>
                      <a:pt x="306" y="110"/>
                    </a:lnTo>
                    <a:lnTo>
                      <a:pt x="306" y="102"/>
                    </a:lnTo>
                    <a:lnTo>
                      <a:pt x="306" y="110"/>
                    </a:lnTo>
                    <a:lnTo>
                      <a:pt x="292" y="102"/>
                    </a:lnTo>
                    <a:lnTo>
                      <a:pt x="292" y="110"/>
                    </a:lnTo>
                    <a:lnTo>
                      <a:pt x="284" y="116"/>
                    </a:lnTo>
                    <a:lnTo>
                      <a:pt x="278" y="122"/>
                    </a:lnTo>
                    <a:lnTo>
                      <a:pt x="270" y="122"/>
                    </a:lnTo>
                    <a:lnTo>
                      <a:pt x="264" y="116"/>
                    </a:lnTo>
                    <a:lnTo>
                      <a:pt x="264" y="110"/>
                    </a:lnTo>
                    <a:lnTo>
                      <a:pt x="250" y="116"/>
                    </a:lnTo>
                    <a:lnTo>
                      <a:pt x="236" y="122"/>
                    </a:lnTo>
                    <a:lnTo>
                      <a:pt x="228" y="122"/>
                    </a:lnTo>
                    <a:lnTo>
                      <a:pt x="236" y="102"/>
                    </a:lnTo>
                    <a:lnTo>
                      <a:pt x="228" y="96"/>
                    </a:lnTo>
                    <a:lnTo>
                      <a:pt x="228" y="102"/>
                    </a:lnTo>
                    <a:lnTo>
                      <a:pt x="222" y="116"/>
                    </a:lnTo>
                    <a:lnTo>
                      <a:pt x="222" y="122"/>
                    </a:lnTo>
                    <a:lnTo>
                      <a:pt x="216" y="130"/>
                    </a:lnTo>
                    <a:lnTo>
                      <a:pt x="208" y="122"/>
                    </a:lnTo>
                    <a:lnTo>
                      <a:pt x="208" y="110"/>
                    </a:lnTo>
                    <a:lnTo>
                      <a:pt x="216" y="102"/>
                    </a:lnTo>
                    <a:lnTo>
                      <a:pt x="216" y="88"/>
                    </a:lnTo>
                    <a:lnTo>
                      <a:pt x="208" y="82"/>
                    </a:lnTo>
                    <a:lnTo>
                      <a:pt x="202" y="88"/>
                    </a:lnTo>
                    <a:lnTo>
                      <a:pt x="194" y="82"/>
                    </a:lnTo>
                    <a:lnTo>
                      <a:pt x="194" y="88"/>
                    </a:lnTo>
                    <a:lnTo>
                      <a:pt x="188" y="96"/>
                    </a:lnTo>
                    <a:lnTo>
                      <a:pt x="180" y="102"/>
                    </a:lnTo>
                    <a:lnTo>
                      <a:pt x="174" y="102"/>
                    </a:lnTo>
                    <a:lnTo>
                      <a:pt x="174" y="96"/>
                    </a:lnTo>
                    <a:lnTo>
                      <a:pt x="174" y="88"/>
                    </a:lnTo>
                    <a:lnTo>
                      <a:pt x="174" y="74"/>
                    </a:lnTo>
                    <a:lnTo>
                      <a:pt x="166" y="68"/>
                    </a:lnTo>
                    <a:lnTo>
                      <a:pt x="160" y="82"/>
                    </a:lnTo>
                    <a:lnTo>
                      <a:pt x="154" y="96"/>
                    </a:lnTo>
                    <a:lnTo>
                      <a:pt x="146" y="96"/>
                    </a:lnTo>
                    <a:lnTo>
                      <a:pt x="146" y="88"/>
                    </a:lnTo>
                    <a:lnTo>
                      <a:pt x="138" y="88"/>
                    </a:lnTo>
                    <a:lnTo>
                      <a:pt x="132" y="88"/>
                    </a:lnTo>
                    <a:lnTo>
                      <a:pt x="118" y="110"/>
                    </a:lnTo>
                    <a:lnTo>
                      <a:pt x="118" y="102"/>
                    </a:lnTo>
                    <a:lnTo>
                      <a:pt x="112" y="102"/>
                    </a:lnTo>
                    <a:lnTo>
                      <a:pt x="112" y="96"/>
                    </a:lnTo>
                    <a:lnTo>
                      <a:pt x="118" y="88"/>
                    </a:lnTo>
                    <a:lnTo>
                      <a:pt x="118" y="82"/>
                    </a:lnTo>
                    <a:lnTo>
                      <a:pt x="118" y="74"/>
                    </a:lnTo>
                    <a:lnTo>
                      <a:pt x="118" y="60"/>
                    </a:lnTo>
                    <a:lnTo>
                      <a:pt x="126" y="60"/>
                    </a:lnTo>
                    <a:lnTo>
                      <a:pt x="132" y="60"/>
                    </a:lnTo>
                    <a:lnTo>
                      <a:pt x="138" y="46"/>
                    </a:lnTo>
                    <a:lnTo>
                      <a:pt x="132" y="46"/>
                    </a:lnTo>
                    <a:lnTo>
                      <a:pt x="132" y="40"/>
                    </a:lnTo>
                    <a:lnTo>
                      <a:pt x="138" y="34"/>
                    </a:lnTo>
                    <a:lnTo>
                      <a:pt x="138" y="26"/>
                    </a:lnTo>
                    <a:lnTo>
                      <a:pt x="138" y="12"/>
                    </a:lnTo>
                    <a:lnTo>
                      <a:pt x="126" y="0"/>
                    </a:lnTo>
                    <a:lnTo>
                      <a:pt x="112" y="0"/>
                    </a:lnTo>
                    <a:lnTo>
                      <a:pt x="118" y="6"/>
                    </a:lnTo>
                    <a:lnTo>
                      <a:pt x="126" y="20"/>
                    </a:lnTo>
                    <a:lnTo>
                      <a:pt x="118" y="20"/>
                    </a:lnTo>
                    <a:lnTo>
                      <a:pt x="118" y="26"/>
                    </a:lnTo>
                    <a:lnTo>
                      <a:pt x="118" y="34"/>
                    </a:lnTo>
                    <a:lnTo>
                      <a:pt x="118" y="40"/>
                    </a:lnTo>
                    <a:lnTo>
                      <a:pt x="112" y="46"/>
                    </a:lnTo>
                    <a:lnTo>
                      <a:pt x="104" y="40"/>
                    </a:lnTo>
                    <a:lnTo>
                      <a:pt x="104" y="26"/>
                    </a:lnTo>
                    <a:lnTo>
                      <a:pt x="96" y="34"/>
                    </a:lnTo>
                    <a:lnTo>
                      <a:pt x="96" y="20"/>
                    </a:lnTo>
                    <a:lnTo>
                      <a:pt x="96" y="6"/>
                    </a:lnTo>
                    <a:lnTo>
                      <a:pt x="96" y="12"/>
                    </a:lnTo>
                    <a:lnTo>
                      <a:pt x="90" y="12"/>
                    </a:lnTo>
                    <a:lnTo>
                      <a:pt x="84" y="6"/>
                    </a:lnTo>
                    <a:lnTo>
                      <a:pt x="84" y="26"/>
                    </a:lnTo>
                    <a:lnTo>
                      <a:pt x="70" y="20"/>
                    </a:lnTo>
                    <a:lnTo>
                      <a:pt x="76" y="26"/>
                    </a:lnTo>
                    <a:lnTo>
                      <a:pt x="84" y="34"/>
                    </a:lnTo>
                    <a:lnTo>
                      <a:pt x="70" y="40"/>
                    </a:lnTo>
                    <a:lnTo>
                      <a:pt x="64" y="40"/>
                    </a:lnTo>
                    <a:lnTo>
                      <a:pt x="64" y="34"/>
                    </a:lnTo>
                    <a:lnTo>
                      <a:pt x="64" y="26"/>
                    </a:lnTo>
                    <a:lnTo>
                      <a:pt x="56" y="20"/>
                    </a:lnTo>
                    <a:lnTo>
                      <a:pt x="56" y="26"/>
                    </a:lnTo>
                    <a:lnTo>
                      <a:pt x="56" y="34"/>
                    </a:lnTo>
                    <a:lnTo>
                      <a:pt x="50" y="34"/>
                    </a:lnTo>
                    <a:lnTo>
                      <a:pt x="50" y="26"/>
                    </a:lnTo>
                    <a:lnTo>
                      <a:pt x="42" y="34"/>
                    </a:lnTo>
                    <a:lnTo>
                      <a:pt x="42" y="40"/>
                    </a:lnTo>
                    <a:lnTo>
                      <a:pt x="50" y="40"/>
                    </a:lnTo>
                    <a:lnTo>
                      <a:pt x="56" y="40"/>
                    </a:lnTo>
                    <a:lnTo>
                      <a:pt x="64" y="46"/>
                    </a:lnTo>
                    <a:lnTo>
                      <a:pt x="76" y="46"/>
                    </a:lnTo>
                    <a:lnTo>
                      <a:pt x="84" y="54"/>
                    </a:lnTo>
                    <a:lnTo>
                      <a:pt x="90" y="60"/>
                    </a:lnTo>
                    <a:lnTo>
                      <a:pt x="90" y="68"/>
                    </a:lnTo>
                    <a:lnTo>
                      <a:pt x="96" y="68"/>
                    </a:lnTo>
                    <a:lnTo>
                      <a:pt x="104" y="68"/>
                    </a:lnTo>
                    <a:lnTo>
                      <a:pt x="104" y="82"/>
                    </a:lnTo>
                    <a:lnTo>
                      <a:pt x="96" y="82"/>
                    </a:lnTo>
                    <a:lnTo>
                      <a:pt x="84" y="74"/>
                    </a:lnTo>
                    <a:lnTo>
                      <a:pt x="70" y="74"/>
                    </a:lnTo>
                    <a:lnTo>
                      <a:pt x="76" y="82"/>
                    </a:lnTo>
                    <a:lnTo>
                      <a:pt x="84" y="88"/>
                    </a:lnTo>
                    <a:lnTo>
                      <a:pt x="90" y="96"/>
                    </a:lnTo>
                    <a:lnTo>
                      <a:pt x="84" y="102"/>
                    </a:lnTo>
                    <a:lnTo>
                      <a:pt x="76" y="102"/>
                    </a:lnTo>
                    <a:lnTo>
                      <a:pt x="70" y="96"/>
                    </a:lnTo>
                    <a:lnTo>
                      <a:pt x="64" y="88"/>
                    </a:lnTo>
                    <a:lnTo>
                      <a:pt x="56" y="88"/>
                    </a:lnTo>
                    <a:lnTo>
                      <a:pt x="42" y="82"/>
                    </a:lnTo>
                    <a:lnTo>
                      <a:pt x="28" y="74"/>
                    </a:lnTo>
                    <a:lnTo>
                      <a:pt x="14" y="82"/>
                    </a:lnTo>
                    <a:lnTo>
                      <a:pt x="14" y="88"/>
                    </a:lnTo>
                    <a:lnTo>
                      <a:pt x="28" y="88"/>
                    </a:lnTo>
                    <a:lnTo>
                      <a:pt x="42" y="88"/>
                    </a:lnTo>
                    <a:lnTo>
                      <a:pt x="50" y="96"/>
                    </a:lnTo>
                    <a:lnTo>
                      <a:pt x="50" y="102"/>
                    </a:lnTo>
                    <a:lnTo>
                      <a:pt x="56" y="102"/>
                    </a:lnTo>
                    <a:lnTo>
                      <a:pt x="56" y="110"/>
                    </a:lnTo>
                    <a:lnTo>
                      <a:pt x="56" y="116"/>
                    </a:lnTo>
                    <a:lnTo>
                      <a:pt x="50" y="122"/>
                    </a:lnTo>
                    <a:lnTo>
                      <a:pt x="50" y="136"/>
                    </a:lnTo>
                    <a:lnTo>
                      <a:pt x="56" y="130"/>
                    </a:lnTo>
                    <a:lnTo>
                      <a:pt x="56" y="136"/>
                    </a:lnTo>
                    <a:lnTo>
                      <a:pt x="50" y="144"/>
                    </a:lnTo>
                    <a:lnTo>
                      <a:pt x="42" y="150"/>
                    </a:lnTo>
                    <a:lnTo>
                      <a:pt x="34" y="150"/>
                    </a:lnTo>
                    <a:lnTo>
                      <a:pt x="28" y="150"/>
                    </a:lnTo>
                    <a:lnTo>
                      <a:pt x="22" y="150"/>
                    </a:lnTo>
                    <a:lnTo>
                      <a:pt x="14" y="158"/>
                    </a:lnTo>
                    <a:lnTo>
                      <a:pt x="8" y="150"/>
                    </a:lnTo>
                    <a:lnTo>
                      <a:pt x="0" y="164"/>
                    </a:lnTo>
                    <a:lnTo>
                      <a:pt x="0" y="164"/>
                    </a:lnTo>
                    <a:lnTo>
                      <a:pt x="0" y="164"/>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4" name="Freeform 28"/>
              <p:cNvSpPr>
                <a:spLocks/>
              </p:cNvSpPr>
              <p:nvPr>
                <p:custDataLst>
                  <p:tags r:id="rId132"/>
                </p:custDataLst>
              </p:nvPr>
            </p:nvSpPr>
            <p:spPr bwMode="gray">
              <a:xfrm>
                <a:off x="3039182" y="2336417"/>
                <a:ext cx="406490" cy="381084"/>
              </a:xfrm>
              <a:custGeom>
                <a:avLst/>
                <a:gdLst>
                  <a:gd name="T0" fmla="*/ 250 w 256"/>
                  <a:gd name="T1" fmla="*/ 118 h 240"/>
                  <a:gd name="T2" fmla="*/ 242 w 256"/>
                  <a:gd name="T3" fmla="*/ 132 h 240"/>
                  <a:gd name="T4" fmla="*/ 236 w 256"/>
                  <a:gd name="T5" fmla="*/ 158 h 240"/>
                  <a:gd name="T6" fmla="*/ 228 w 256"/>
                  <a:gd name="T7" fmla="*/ 180 h 240"/>
                  <a:gd name="T8" fmla="*/ 228 w 256"/>
                  <a:gd name="T9" fmla="*/ 200 h 240"/>
                  <a:gd name="T10" fmla="*/ 214 w 256"/>
                  <a:gd name="T11" fmla="*/ 214 h 240"/>
                  <a:gd name="T12" fmla="*/ 202 w 256"/>
                  <a:gd name="T13" fmla="*/ 228 h 240"/>
                  <a:gd name="T14" fmla="*/ 166 w 256"/>
                  <a:gd name="T15" fmla="*/ 228 h 240"/>
                  <a:gd name="T16" fmla="*/ 132 w 256"/>
                  <a:gd name="T17" fmla="*/ 228 h 240"/>
                  <a:gd name="T18" fmla="*/ 118 w 256"/>
                  <a:gd name="T19" fmla="*/ 228 h 240"/>
                  <a:gd name="T20" fmla="*/ 104 w 256"/>
                  <a:gd name="T21" fmla="*/ 240 h 240"/>
                  <a:gd name="T22" fmla="*/ 76 w 256"/>
                  <a:gd name="T23" fmla="*/ 240 h 240"/>
                  <a:gd name="T24" fmla="*/ 48 w 256"/>
                  <a:gd name="T25" fmla="*/ 234 h 240"/>
                  <a:gd name="T26" fmla="*/ 34 w 256"/>
                  <a:gd name="T27" fmla="*/ 228 h 240"/>
                  <a:gd name="T28" fmla="*/ 34 w 256"/>
                  <a:gd name="T29" fmla="*/ 228 h 240"/>
                  <a:gd name="T30" fmla="*/ 20 w 256"/>
                  <a:gd name="T31" fmla="*/ 220 h 240"/>
                  <a:gd name="T32" fmla="*/ 20 w 256"/>
                  <a:gd name="T33" fmla="*/ 206 h 240"/>
                  <a:gd name="T34" fmla="*/ 28 w 256"/>
                  <a:gd name="T35" fmla="*/ 206 h 240"/>
                  <a:gd name="T36" fmla="*/ 6 w 256"/>
                  <a:gd name="T37" fmla="*/ 206 h 240"/>
                  <a:gd name="T38" fmla="*/ 14 w 256"/>
                  <a:gd name="T39" fmla="*/ 186 h 240"/>
                  <a:gd name="T40" fmla="*/ 34 w 256"/>
                  <a:gd name="T41" fmla="*/ 186 h 240"/>
                  <a:gd name="T42" fmla="*/ 6 w 256"/>
                  <a:gd name="T43" fmla="*/ 180 h 240"/>
                  <a:gd name="T44" fmla="*/ 20 w 256"/>
                  <a:gd name="T45" fmla="*/ 166 h 240"/>
                  <a:gd name="T46" fmla="*/ 54 w 256"/>
                  <a:gd name="T47" fmla="*/ 158 h 240"/>
                  <a:gd name="T48" fmla="*/ 82 w 256"/>
                  <a:gd name="T49" fmla="*/ 166 h 240"/>
                  <a:gd name="T50" fmla="*/ 76 w 256"/>
                  <a:gd name="T51" fmla="*/ 158 h 240"/>
                  <a:gd name="T52" fmla="*/ 48 w 256"/>
                  <a:gd name="T53" fmla="*/ 158 h 240"/>
                  <a:gd name="T54" fmla="*/ 68 w 256"/>
                  <a:gd name="T55" fmla="*/ 138 h 240"/>
                  <a:gd name="T56" fmla="*/ 104 w 256"/>
                  <a:gd name="T57" fmla="*/ 124 h 240"/>
                  <a:gd name="T58" fmla="*/ 82 w 256"/>
                  <a:gd name="T59" fmla="*/ 118 h 240"/>
                  <a:gd name="T60" fmla="*/ 68 w 256"/>
                  <a:gd name="T61" fmla="*/ 110 h 240"/>
                  <a:gd name="T62" fmla="*/ 68 w 256"/>
                  <a:gd name="T63" fmla="*/ 82 h 240"/>
                  <a:gd name="T64" fmla="*/ 90 w 256"/>
                  <a:gd name="T65" fmla="*/ 68 h 240"/>
                  <a:gd name="T66" fmla="*/ 90 w 256"/>
                  <a:gd name="T67" fmla="*/ 62 h 240"/>
                  <a:gd name="T68" fmla="*/ 90 w 256"/>
                  <a:gd name="T69" fmla="*/ 48 h 240"/>
                  <a:gd name="T70" fmla="*/ 118 w 256"/>
                  <a:gd name="T71" fmla="*/ 42 h 240"/>
                  <a:gd name="T72" fmla="*/ 138 w 256"/>
                  <a:gd name="T73" fmla="*/ 62 h 240"/>
                  <a:gd name="T74" fmla="*/ 160 w 256"/>
                  <a:gd name="T75" fmla="*/ 56 h 240"/>
                  <a:gd name="T76" fmla="*/ 180 w 256"/>
                  <a:gd name="T77" fmla="*/ 42 h 240"/>
                  <a:gd name="T78" fmla="*/ 152 w 256"/>
                  <a:gd name="T79" fmla="*/ 28 h 240"/>
                  <a:gd name="T80" fmla="*/ 186 w 256"/>
                  <a:gd name="T81" fmla="*/ 14 h 240"/>
                  <a:gd name="T82" fmla="*/ 202 w 256"/>
                  <a:gd name="T83" fmla="*/ 8 h 240"/>
                  <a:gd name="T84" fmla="*/ 228 w 256"/>
                  <a:gd name="T85" fmla="*/ 8 h 240"/>
                  <a:gd name="T86" fmla="*/ 242 w 256"/>
                  <a:gd name="T87" fmla="*/ 0 h 240"/>
                  <a:gd name="T88" fmla="*/ 250 w 256"/>
                  <a:gd name="T89" fmla="*/ 22 h 240"/>
                  <a:gd name="T90" fmla="*/ 242 w 256"/>
                  <a:gd name="T91" fmla="*/ 28 h 240"/>
                  <a:gd name="T92" fmla="*/ 214 w 256"/>
                  <a:gd name="T93" fmla="*/ 34 h 240"/>
                  <a:gd name="T94" fmla="*/ 202 w 256"/>
                  <a:gd name="T95" fmla="*/ 56 h 240"/>
                  <a:gd name="T96" fmla="*/ 186 w 256"/>
                  <a:gd name="T97" fmla="*/ 56 h 240"/>
                  <a:gd name="T98" fmla="*/ 194 w 256"/>
                  <a:gd name="T99" fmla="*/ 76 h 240"/>
                  <a:gd name="T100" fmla="*/ 214 w 256"/>
                  <a:gd name="T101" fmla="*/ 82 h 240"/>
                  <a:gd name="T102" fmla="*/ 242 w 256"/>
                  <a:gd name="T103" fmla="*/ 90 h 240"/>
                  <a:gd name="T104" fmla="*/ 256 w 256"/>
                  <a:gd name="T105" fmla="*/ 11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6" h="240">
                    <a:moveTo>
                      <a:pt x="256" y="118"/>
                    </a:moveTo>
                    <a:lnTo>
                      <a:pt x="250" y="124"/>
                    </a:lnTo>
                    <a:lnTo>
                      <a:pt x="250" y="118"/>
                    </a:lnTo>
                    <a:lnTo>
                      <a:pt x="242" y="118"/>
                    </a:lnTo>
                    <a:lnTo>
                      <a:pt x="250" y="124"/>
                    </a:lnTo>
                    <a:lnTo>
                      <a:pt x="242" y="132"/>
                    </a:lnTo>
                    <a:lnTo>
                      <a:pt x="242" y="138"/>
                    </a:lnTo>
                    <a:lnTo>
                      <a:pt x="242" y="152"/>
                    </a:lnTo>
                    <a:lnTo>
                      <a:pt x="236" y="158"/>
                    </a:lnTo>
                    <a:lnTo>
                      <a:pt x="236" y="166"/>
                    </a:lnTo>
                    <a:lnTo>
                      <a:pt x="236" y="172"/>
                    </a:lnTo>
                    <a:lnTo>
                      <a:pt x="228" y="180"/>
                    </a:lnTo>
                    <a:lnTo>
                      <a:pt x="228" y="186"/>
                    </a:lnTo>
                    <a:lnTo>
                      <a:pt x="228" y="192"/>
                    </a:lnTo>
                    <a:lnTo>
                      <a:pt x="228" y="200"/>
                    </a:lnTo>
                    <a:lnTo>
                      <a:pt x="222" y="200"/>
                    </a:lnTo>
                    <a:lnTo>
                      <a:pt x="222" y="206"/>
                    </a:lnTo>
                    <a:lnTo>
                      <a:pt x="214" y="214"/>
                    </a:lnTo>
                    <a:lnTo>
                      <a:pt x="208" y="214"/>
                    </a:lnTo>
                    <a:lnTo>
                      <a:pt x="208" y="220"/>
                    </a:lnTo>
                    <a:lnTo>
                      <a:pt x="202" y="228"/>
                    </a:lnTo>
                    <a:lnTo>
                      <a:pt x="186" y="234"/>
                    </a:lnTo>
                    <a:lnTo>
                      <a:pt x="180" y="228"/>
                    </a:lnTo>
                    <a:lnTo>
                      <a:pt x="166" y="228"/>
                    </a:lnTo>
                    <a:lnTo>
                      <a:pt x="152" y="228"/>
                    </a:lnTo>
                    <a:lnTo>
                      <a:pt x="138" y="228"/>
                    </a:lnTo>
                    <a:lnTo>
                      <a:pt x="132" y="228"/>
                    </a:lnTo>
                    <a:lnTo>
                      <a:pt x="124" y="234"/>
                    </a:lnTo>
                    <a:lnTo>
                      <a:pt x="118" y="234"/>
                    </a:lnTo>
                    <a:lnTo>
                      <a:pt x="118" y="228"/>
                    </a:lnTo>
                    <a:lnTo>
                      <a:pt x="110" y="234"/>
                    </a:lnTo>
                    <a:lnTo>
                      <a:pt x="104" y="234"/>
                    </a:lnTo>
                    <a:lnTo>
                      <a:pt x="104" y="240"/>
                    </a:lnTo>
                    <a:lnTo>
                      <a:pt x="90" y="240"/>
                    </a:lnTo>
                    <a:lnTo>
                      <a:pt x="82" y="234"/>
                    </a:lnTo>
                    <a:lnTo>
                      <a:pt x="76" y="240"/>
                    </a:lnTo>
                    <a:lnTo>
                      <a:pt x="62" y="240"/>
                    </a:lnTo>
                    <a:lnTo>
                      <a:pt x="54" y="234"/>
                    </a:lnTo>
                    <a:lnTo>
                      <a:pt x="48" y="234"/>
                    </a:lnTo>
                    <a:lnTo>
                      <a:pt x="34" y="240"/>
                    </a:lnTo>
                    <a:lnTo>
                      <a:pt x="34" y="234"/>
                    </a:lnTo>
                    <a:lnTo>
                      <a:pt x="34" y="228"/>
                    </a:lnTo>
                    <a:lnTo>
                      <a:pt x="14" y="234"/>
                    </a:lnTo>
                    <a:lnTo>
                      <a:pt x="20" y="234"/>
                    </a:lnTo>
                    <a:lnTo>
                      <a:pt x="34" y="228"/>
                    </a:lnTo>
                    <a:lnTo>
                      <a:pt x="14" y="228"/>
                    </a:lnTo>
                    <a:lnTo>
                      <a:pt x="28" y="220"/>
                    </a:lnTo>
                    <a:lnTo>
                      <a:pt x="20" y="220"/>
                    </a:lnTo>
                    <a:lnTo>
                      <a:pt x="14" y="220"/>
                    </a:lnTo>
                    <a:lnTo>
                      <a:pt x="14" y="214"/>
                    </a:lnTo>
                    <a:lnTo>
                      <a:pt x="20" y="206"/>
                    </a:lnTo>
                    <a:lnTo>
                      <a:pt x="28" y="206"/>
                    </a:lnTo>
                    <a:lnTo>
                      <a:pt x="34" y="206"/>
                    </a:lnTo>
                    <a:lnTo>
                      <a:pt x="28" y="206"/>
                    </a:lnTo>
                    <a:lnTo>
                      <a:pt x="20" y="206"/>
                    </a:lnTo>
                    <a:lnTo>
                      <a:pt x="14" y="200"/>
                    </a:lnTo>
                    <a:lnTo>
                      <a:pt x="6" y="206"/>
                    </a:lnTo>
                    <a:lnTo>
                      <a:pt x="0" y="200"/>
                    </a:lnTo>
                    <a:lnTo>
                      <a:pt x="6" y="192"/>
                    </a:lnTo>
                    <a:lnTo>
                      <a:pt x="14" y="186"/>
                    </a:lnTo>
                    <a:lnTo>
                      <a:pt x="20" y="186"/>
                    </a:lnTo>
                    <a:lnTo>
                      <a:pt x="28" y="186"/>
                    </a:lnTo>
                    <a:lnTo>
                      <a:pt x="34" y="186"/>
                    </a:lnTo>
                    <a:lnTo>
                      <a:pt x="28" y="180"/>
                    </a:lnTo>
                    <a:lnTo>
                      <a:pt x="14" y="180"/>
                    </a:lnTo>
                    <a:lnTo>
                      <a:pt x="6" y="180"/>
                    </a:lnTo>
                    <a:lnTo>
                      <a:pt x="6" y="172"/>
                    </a:lnTo>
                    <a:lnTo>
                      <a:pt x="14" y="166"/>
                    </a:lnTo>
                    <a:lnTo>
                      <a:pt x="20" y="166"/>
                    </a:lnTo>
                    <a:lnTo>
                      <a:pt x="40" y="166"/>
                    </a:lnTo>
                    <a:lnTo>
                      <a:pt x="40" y="158"/>
                    </a:lnTo>
                    <a:lnTo>
                      <a:pt x="54" y="158"/>
                    </a:lnTo>
                    <a:lnTo>
                      <a:pt x="62" y="158"/>
                    </a:lnTo>
                    <a:lnTo>
                      <a:pt x="68" y="166"/>
                    </a:lnTo>
                    <a:lnTo>
                      <a:pt x="82" y="166"/>
                    </a:lnTo>
                    <a:lnTo>
                      <a:pt x="90" y="166"/>
                    </a:lnTo>
                    <a:lnTo>
                      <a:pt x="82" y="158"/>
                    </a:lnTo>
                    <a:lnTo>
                      <a:pt x="76" y="158"/>
                    </a:lnTo>
                    <a:lnTo>
                      <a:pt x="68" y="158"/>
                    </a:lnTo>
                    <a:lnTo>
                      <a:pt x="62" y="152"/>
                    </a:lnTo>
                    <a:lnTo>
                      <a:pt x="48" y="158"/>
                    </a:lnTo>
                    <a:lnTo>
                      <a:pt x="40" y="152"/>
                    </a:lnTo>
                    <a:lnTo>
                      <a:pt x="54" y="152"/>
                    </a:lnTo>
                    <a:lnTo>
                      <a:pt x="68" y="138"/>
                    </a:lnTo>
                    <a:lnTo>
                      <a:pt x="90" y="132"/>
                    </a:lnTo>
                    <a:lnTo>
                      <a:pt x="96" y="132"/>
                    </a:lnTo>
                    <a:lnTo>
                      <a:pt x="104" y="124"/>
                    </a:lnTo>
                    <a:lnTo>
                      <a:pt x="104" y="118"/>
                    </a:lnTo>
                    <a:lnTo>
                      <a:pt x="96" y="118"/>
                    </a:lnTo>
                    <a:lnTo>
                      <a:pt x="82" y="118"/>
                    </a:lnTo>
                    <a:lnTo>
                      <a:pt x="76" y="124"/>
                    </a:lnTo>
                    <a:lnTo>
                      <a:pt x="76" y="110"/>
                    </a:lnTo>
                    <a:lnTo>
                      <a:pt x="68" y="110"/>
                    </a:lnTo>
                    <a:lnTo>
                      <a:pt x="68" y="104"/>
                    </a:lnTo>
                    <a:lnTo>
                      <a:pt x="62" y="90"/>
                    </a:lnTo>
                    <a:lnTo>
                      <a:pt x="68" y="82"/>
                    </a:lnTo>
                    <a:lnTo>
                      <a:pt x="76" y="82"/>
                    </a:lnTo>
                    <a:lnTo>
                      <a:pt x="82" y="76"/>
                    </a:lnTo>
                    <a:lnTo>
                      <a:pt x="90" y="68"/>
                    </a:lnTo>
                    <a:lnTo>
                      <a:pt x="96" y="68"/>
                    </a:lnTo>
                    <a:lnTo>
                      <a:pt x="90" y="68"/>
                    </a:lnTo>
                    <a:lnTo>
                      <a:pt x="90" y="62"/>
                    </a:lnTo>
                    <a:lnTo>
                      <a:pt x="90" y="56"/>
                    </a:lnTo>
                    <a:lnTo>
                      <a:pt x="82" y="48"/>
                    </a:lnTo>
                    <a:lnTo>
                      <a:pt x="90" y="48"/>
                    </a:lnTo>
                    <a:lnTo>
                      <a:pt x="96" y="34"/>
                    </a:lnTo>
                    <a:lnTo>
                      <a:pt x="110" y="34"/>
                    </a:lnTo>
                    <a:lnTo>
                      <a:pt x="118" y="42"/>
                    </a:lnTo>
                    <a:lnTo>
                      <a:pt x="124" y="48"/>
                    </a:lnTo>
                    <a:lnTo>
                      <a:pt x="124" y="56"/>
                    </a:lnTo>
                    <a:lnTo>
                      <a:pt x="138" y="62"/>
                    </a:lnTo>
                    <a:lnTo>
                      <a:pt x="144" y="68"/>
                    </a:lnTo>
                    <a:lnTo>
                      <a:pt x="160" y="62"/>
                    </a:lnTo>
                    <a:lnTo>
                      <a:pt x="160" y="56"/>
                    </a:lnTo>
                    <a:lnTo>
                      <a:pt x="160" y="48"/>
                    </a:lnTo>
                    <a:lnTo>
                      <a:pt x="174" y="48"/>
                    </a:lnTo>
                    <a:lnTo>
                      <a:pt x="180" y="42"/>
                    </a:lnTo>
                    <a:lnTo>
                      <a:pt x="174" y="42"/>
                    </a:lnTo>
                    <a:lnTo>
                      <a:pt x="160" y="34"/>
                    </a:lnTo>
                    <a:lnTo>
                      <a:pt x="152" y="28"/>
                    </a:lnTo>
                    <a:lnTo>
                      <a:pt x="174" y="22"/>
                    </a:lnTo>
                    <a:lnTo>
                      <a:pt x="180" y="14"/>
                    </a:lnTo>
                    <a:lnTo>
                      <a:pt x="186" y="14"/>
                    </a:lnTo>
                    <a:lnTo>
                      <a:pt x="180" y="14"/>
                    </a:lnTo>
                    <a:lnTo>
                      <a:pt x="186" y="8"/>
                    </a:lnTo>
                    <a:lnTo>
                      <a:pt x="202" y="8"/>
                    </a:lnTo>
                    <a:lnTo>
                      <a:pt x="208" y="0"/>
                    </a:lnTo>
                    <a:lnTo>
                      <a:pt x="222" y="8"/>
                    </a:lnTo>
                    <a:lnTo>
                      <a:pt x="228" y="8"/>
                    </a:lnTo>
                    <a:lnTo>
                      <a:pt x="236" y="8"/>
                    </a:lnTo>
                    <a:lnTo>
                      <a:pt x="242" y="8"/>
                    </a:lnTo>
                    <a:lnTo>
                      <a:pt x="242" y="0"/>
                    </a:lnTo>
                    <a:lnTo>
                      <a:pt x="250" y="8"/>
                    </a:lnTo>
                    <a:lnTo>
                      <a:pt x="256" y="14"/>
                    </a:lnTo>
                    <a:lnTo>
                      <a:pt x="250" y="22"/>
                    </a:lnTo>
                    <a:lnTo>
                      <a:pt x="242" y="22"/>
                    </a:lnTo>
                    <a:lnTo>
                      <a:pt x="236" y="22"/>
                    </a:lnTo>
                    <a:lnTo>
                      <a:pt x="242" y="28"/>
                    </a:lnTo>
                    <a:lnTo>
                      <a:pt x="236" y="28"/>
                    </a:lnTo>
                    <a:lnTo>
                      <a:pt x="222" y="28"/>
                    </a:lnTo>
                    <a:lnTo>
                      <a:pt x="214" y="34"/>
                    </a:lnTo>
                    <a:lnTo>
                      <a:pt x="208" y="42"/>
                    </a:lnTo>
                    <a:lnTo>
                      <a:pt x="208" y="48"/>
                    </a:lnTo>
                    <a:lnTo>
                      <a:pt x="202" y="56"/>
                    </a:lnTo>
                    <a:lnTo>
                      <a:pt x="194" y="48"/>
                    </a:lnTo>
                    <a:lnTo>
                      <a:pt x="186" y="48"/>
                    </a:lnTo>
                    <a:lnTo>
                      <a:pt x="186" y="56"/>
                    </a:lnTo>
                    <a:lnTo>
                      <a:pt x="180" y="62"/>
                    </a:lnTo>
                    <a:lnTo>
                      <a:pt x="186" y="68"/>
                    </a:lnTo>
                    <a:lnTo>
                      <a:pt x="194" y="76"/>
                    </a:lnTo>
                    <a:lnTo>
                      <a:pt x="202" y="82"/>
                    </a:lnTo>
                    <a:lnTo>
                      <a:pt x="208" y="90"/>
                    </a:lnTo>
                    <a:lnTo>
                      <a:pt x="214" y="82"/>
                    </a:lnTo>
                    <a:lnTo>
                      <a:pt x="222" y="82"/>
                    </a:lnTo>
                    <a:lnTo>
                      <a:pt x="228" y="82"/>
                    </a:lnTo>
                    <a:lnTo>
                      <a:pt x="242" y="90"/>
                    </a:lnTo>
                    <a:lnTo>
                      <a:pt x="242" y="96"/>
                    </a:lnTo>
                    <a:lnTo>
                      <a:pt x="250" y="104"/>
                    </a:lnTo>
                    <a:lnTo>
                      <a:pt x="256" y="118"/>
                    </a:lnTo>
                    <a:lnTo>
                      <a:pt x="256" y="118"/>
                    </a:lnTo>
                    <a:lnTo>
                      <a:pt x="256" y="118"/>
                    </a:lnTo>
                    <a:close/>
                  </a:path>
                </a:pathLst>
              </a:custGeom>
              <a:solidFill>
                <a:srgbClr val="D6D9DC"/>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5" name="Freeform 29"/>
              <p:cNvSpPr>
                <a:spLocks/>
              </p:cNvSpPr>
              <p:nvPr/>
            </p:nvSpPr>
            <p:spPr bwMode="gray">
              <a:xfrm>
                <a:off x="3321820" y="2371350"/>
                <a:ext cx="187367" cy="152434"/>
              </a:xfrm>
              <a:custGeom>
                <a:avLst/>
                <a:gdLst>
                  <a:gd name="T0" fmla="*/ 62 w 118"/>
                  <a:gd name="T1" fmla="*/ 6 h 96"/>
                  <a:gd name="T2" fmla="*/ 54 w 118"/>
                  <a:gd name="T3" fmla="*/ 6 h 96"/>
                  <a:gd name="T4" fmla="*/ 40 w 118"/>
                  <a:gd name="T5" fmla="*/ 6 h 96"/>
                  <a:gd name="T6" fmla="*/ 36 w 118"/>
                  <a:gd name="T7" fmla="*/ 14 h 96"/>
                  <a:gd name="T8" fmla="*/ 28 w 118"/>
                  <a:gd name="T9" fmla="*/ 20 h 96"/>
                  <a:gd name="T10" fmla="*/ 28 w 118"/>
                  <a:gd name="T11" fmla="*/ 28 h 96"/>
                  <a:gd name="T12" fmla="*/ 20 w 118"/>
                  <a:gd name="T13" fmla="*/ 34 h 96"/>
                  <a:gd name="T14" fmla="*/ 14 w 118"/>
                  <a:gd name="T15" fmla="*/ 28 h 96"/>
                  <a:gd name="T16" fmla="*/ 6 w 118"/>
                  <a:gd name="T17" fmla="*/ 28 h 96"/>
                  <a:gd name="T18" fmla="*/ 6 w 118"/>
                  <a:gd name="T19" fmla="*/ 34 h 96"/>
                  <a:gd name="T20" fmla="*/ 0 w 118"/>
                  <a:gd name="T21" fmla="*/ 40 h 96"/>
                  <a:gd name="T22" fmla="*/ 6 w 118"/>
                  <a:gd name="T23" fmla="*/ 48 h 96"/>
                  <a:gd name="T24" fmla="*/ 14 w 118"/>
                  <a:gd name="T25" fmla="*/ 54 h 96"/>
                  <a:gd name="T26" fmla="*/ 20 w 118"/>
                  <a:gd name="T27" fmla="*/ 62 h 96"/>
                  <a:gd name="T28" fmla="*/ 28 w 118"/>
                  <a:gd name="T29" fmla="*/ 68 h 96"/>
                  <a:gd name="T30" fmla="*/ 36 w 118"/>
                  <a:gd name="T31" fmla="*/ 62 h 96"/>
                  <a:gd name="T32" fmla="*/ 40 w 118"/>
                  <a:gd name="T33" fmla="*/ 62 h 96"/>
                  <a:gd name="T34" fmla="*/ 48 w 118"/>
                  <a:gd name="T35" fmla="*/ 62 h 96"/>
                  <a:gd name="T36" fmla="*/ 62 w 118"/>
                  <a:gd name="T37" fmla="*/ 68 h 96"/>
                  <a:gd name="T38" fmla="*/ 62 w 118"/>
                  <a:gd name="T39" fmla="*/ 76 h 96"/>
                  <a:gd name="T40" fmla="*/ 68 w 118"/>
                  <a:gd name="T41" fmla="*/ 82 h 96"/>
                  <a:gd name="T42" fmla="*/ 76 w 118"/>
                  <a:gd name="T43" fmla="*/ 96 h 96"/>
                  <a:gd name="T44" fmla="*/ 84 w 118"/>
                  <a:gd name="T45" fmla="*/ 88 h 96"/>
                  <a:gd name="T46" fmla="*/ 90 w 118"/>
                  <a:gd name="T47" fmla="*/ 82 h 96"/>
                  <a:gd name="T48" fmla="*/ 96 w 118"/>
                  <a:gd name="T49" fmla="*/ 82 h 96"/>
                  <a:gd name="T50" fmla="*/ 104 w 118"/>
                  <a:gd name="T51" fmla="*/ 82 h 96"/>
                  <a:gd name="T52" fmla="*/ 104 w 118"/>
                  <a:gd name="T53" fmla="*/ 68 h 96"/>
                  <a:gd name="T54" fmla="*/ 110 w 118"/>
                  <a:gd name="T55" fmla="*/ 62 h 96"/>
                  <a:gd name="T56" fmla="*/ 110 w 118"/>
                  <a:gd name="T57" fmla="*/ 68 h 96"/>
                  <a:gd name="T58" fmla="*/ 110 w 118"/>
                  <a:gd name="T59" fmla="*/ 76 h 96"/>
                  <a:gd name="T60" fmla="*/ 118 w 118"/>
                  <a:gd name="T61" fmla="*/ 76 h 96"/>
                  <a:gd name="T62" fmla="*/ 118 w 118"/>
                  <a:gd name="T63" fmla="*/ 68 h 96"/>
                  <a:gd name="T64" fmla="*/ 118 w 118"/>
                  <a:gd name="T65" fmla="*/ 62 h 96"/>
                  <a:gd name="T66" fmla="*/ 110 w 118"/>
                  <a:gd name="T67" fmla="*/ 54 h 96"/>
                  <a:gd name="T68" fmla="*/ 104 w 118"/>
                  <a:gd name="T69" fmla="*/ 62 h 96"/>
                  <a:gd name="T70" fmla="*/ 96 w 118"/>
                  <a:gd name="T71" fmla="*/ 54 h 96"/>
                  <a:gd name="T72" fmla="*/ 104 w 118"/>
                  <a:gd name="T73" fmla="*/ 48 h 96"/>
                  <a:gd name="T74" fmla="*/ 110 w 118"/>
                  <a:gd name="T75" fmla="*/ 48 h 96"/>
                  <a:gd name="T76" fmla="*/ 110 w 118"/>
                  <a:gd name="T77" fmla="*/ 40 h 96"/>
                  <a:gd name="T78" fmla="*/ 110 w 118"/>
                  <a:gd name="T79" fmla="*/ 34 h 96"/>
                  <a:gd name="T80" fmla="*/ 104 w 118"/>
                  <a:gd name="T81" fmla="*/ 20 h 96"/>
                  <a:gd name="T82" fmla="*/ 104 w 118"/>
                  <a:gd name="T83" fmla="*/ 14 h 96"/>
                  <a:gd name="T84" fmla="*/ 104 w 118"/>
                  <a:gd name="T85" fmla="*/ 6 h 96"/>
                  <a:gd name="T86" fmla="*/ 96 w 118"/>
                  <a:gd name="T87" fmla="*/ 6 h 96"/>
                  <a:gd name="T88" fmla="*/ 90 w 118"/>
                  <a:gd name="T89" fmla="*/ 6 h 96"/>
                  <a:gd name="T90" fmla="*/ 84 w 118"/>
                  <a:gd name="T91" fmla="*/ 6 h 96"/>
                  <a:gd name="T92" fmla="*/ 84 w 118"/>
                  <a:gd name="T93" fmla="*/ 0 h 96"/>
                  <a:gd name="T94" fmla="*/ 76 w 118"/>
                  <a:gd name="T95" fmla="*/ 0 h 96"/>
                  <a:gd name="T96" fmla="*/ 68 w 118"/>
                  <a:gd name="T97" fmla="*/ 6 h 96"/>
                  <a:gd name="T98" fmla="*/ 62 w 118"/>
                  <a:gd name="T99" fmla="*/ 6 h 96"/>
                  <a:gd name="T100" fmla="*/ 62 w 118"/>
                  <a:gd name="T101" fmla="*/ 6 h 96"/>
                  <a:gd name="T102" fmla="*/ 62 w 118"/>
                  <a:gd name="T103" fmla="*/ 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8" h="96">
                    <a:moveTo>
                      <a:pt x="62" y="6"/>
                    </a:moveTo>
                    <a:lnTo>
                      <a:pt x="54" y="6"/>
                    </a:lnTo>
                    <a:lnTo>
                      <a:pt x="40" y="6"/>
                    </a:lnTo>
                    <a:lnTo>
                      <a:pt x="36" y="14"/>
                    </a:lnTo>
                    <a:lnTo>
                      <a:pt x="28" y="20"/>
                    </a:lnTo>
                    <a:lnTo>
                      <a:pt x="28" y="28"/>
                    </a:lnTo>
                    <a:lnTo>
                      <a:pt x="20" y="34"/>
                    </a:lnTo>
                    <a:lnTo>
                      <a:pt x="14" y="28"/>
                    </a:lnTo>
                    <a:lnTo>
                      <a:pt x="6" y="28"/>
                    </a:lnTo>
                    <a:lnTo>
                      <a:pt x="6" y="34"/>
                    </a:lnTo>
                    <a:lnTo>
                      <a:pt x="0" y="40"/>
                    </a:lnTo>
                    <a:lnTo>
                      <a:pt x="6" y="48"/>
                    </a:lnTo>
                    <a:lnTo>
                      <a:pt x="14" y="54"/>
                    </a:lnTo>
                    <a:lnTo>
                      <a:pt x="20" y="62"/>
                    </a:lnTo>
                    <a:lnTo>
                      <a:pt x="28" y="68"/>
                    </a:lnTo>
                    <a:lnTo>
                      <a:pt x="36" y="62"/>
                    </a:lnTo>
                    <a:lnTo>
                      <a:pt x="40" y="62"/>
                    </a:lnTo>
                    <a:lnTo>
                      <a:pt x="48" y="62"/>
                    </a:lnTo>
                    <a:lnTo>
                      <a:pt x="62" y="68"/>
                    </a:lnTo>
                    <a:lnTo>
                      <a:pt x="62" y="76"/>
                    </a:lnTo>
                    <a:lnTo>
                      <a:pt x="68" y="82"/>
                    </a:lnTo>
                    <a:lnTo>
                      <a:pt x="76" y="96"/>
                    </a:lnTo>
                    <a:lnTo>
                      <a:pt x="84" y="88"/>
                    </a:lnTo>
                    <a:lnTo>
                      <a:pt x="90" y="82"/>
                    </a:lnTo>
                    <a:lnTo>
                      <a:pt x="96" y="82"/>
                    </a:lnTo>
                    <a:lnTo>
                      <a:pt x="104" y="82"/>
                    </a:lnTo>
                    <a:lnTo>
                      <a:pt x="104" y="68"/>
                    </a:lnTo>
                    <a:lnTo>
                      <a:pt x="110" y="62"/>
                    </a:lnTo>
                    <a:lnTo>
                      <a:pt x="110" y="68"/>
                    </a:lnTo>
                    <a:lnTo>
                      <a:pt x="110" y="76"/>
                    </a:lnTo>
                    <a:lnTo>
                      <a:pt x="118" y="76"/>
                    </a:lnTo>
                    <a:lnTo>
                      <a:pt x="118" y="68"/>
                    </a:lnTo>
                    <a:lnTo>
                      <a:pt x="118" y="62"/>
                    </a:lnTo>
                    <a:lnTo>
                      <a:pt x="110" y="54"/>
                    </a:lnTo>
                    <a:lnTo>
                      <a:pt x="104" y="62"/>
                    </a:lnTo>
                    <a:lnTo>
                      <a:pt x="96" y="54"/>
                    </a:lnTo>
                    <a:lnTo>
                      <a:pt x="104" y="48"/>
                    </a:lnTo>
                    <a:lnTo>
                      <a:pt x="110" y="48"/>
                    </a:lnTo>
                    <a:lnTo>
                      <a:pt x="110" y="40"/>
                    </a:lnTo>
                    <a:lnTo>
                      <a:pt x="110" y="34"/>
                    </a:lnTo>
                    <a:lnTo>
                      <a:pt x="104" y="20"/>
                    </a:lnTo>
                    <a:lnTo>
                      <a:pt x="104" y="14"/>
                    </a:lnTo>
                    <a:lnTo>
                      <a:pt x="104" y="6"/>
                    </a:lnTo>
                    <a:lnTo>
                      <a:pt x="96" y="6"/>
                    </a:lnTo>
                    <a:lnTo>
                      <a:pt x="90" y="6"/>
                    </a:lnTo>
                    <a:lnTo>
                      <a:pt x="84" y="6"/>
                    </a:lnTo>
                    <a:lnTo>
                      <a:pt x="84" y="0"/>
                    </a:lnTo>
                    <a:lnTo>
                      <a:pt x="76" y="0"/>
                    </a:lnTo>
                    <a:lnTo>
                      <a:pt x="68" y="6"/>
                    </a:lnTo>
                    <a:lnTo>
                      <a:pt x="62" y="6"/>
                    </a:lnTo>
                    <a:lnTo>
                      <a:pt x="62" y="6"/>
                    </a:lnTo>
                    <a:lnTo>
                      <a:pt x="62" y="6"/>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6" name="Freeform 30"/>
              <p:cNvSpPr>
                <a:spLocks/>
              </p:cNvSpPr>
              <p:nvPr>
                <p:custDataLst>
                  <p:tags r:id="rId133"/>
                </p:custDataLst>
              </p:nvPr>
            </p:nvSpPr>
            <p:spPr bwMode="gray">
              <a:xfrm>
                <a:off x="4253890" y="4095758"/>
                <a:ext cx="85744" cy="158785"/>
              </a:xfrm>
              <a:custGeom>
                <a:avLst/>
                <a:gdLst>
                  <a:gd name="T0" fmla="*/ 18 w 54"/>
                  <a:gd name="T1" fmla="*/ 92 h 100"/>
                  <a:gd name="T2" fmla="*/ 14 w 54"/>
                  <a:gd name="T3" fmla="*/ 92 h 100"/>
                  <a:gd name="T4" fmla="*/ 10 w 54"/>
                  <a:gd name="T5" fmla="*/ 84 h 100"/>
                  <a:gd name="T6" fmla="*/ 10 w 54"/>
                  <a:gd name="T7" fmla="*/ 78 h 100"/>
                  <a:gd name="T8" fmla="*/ 4 w 54"/>
                  <a:gd name="T9" fmla="*/ 72 h 100"/>
                  <a:gd name="T10" fmla="*/ 0 w 54"/>
                  <a:gd name="T11" fmla="*/ 64 h 100"/>
                  <a:gd name="T12" fmla="*/ 4 w 54"/>
                  <a:gd name="T13" fmla="*/ 60 h 100"/>
                  <a:gd name="T14" fmla="*/ 4 w 54"/>
                  <a:gd name="T15" fmla="*/ 58 h 100"/>
                  <a:gd name="T16" fmla="*/ 4 w 54"/>
                  <a:gd name="T17" fmla="*/ 50 h 100"/>
                  <a:gd name="T18" fmla="*/ 2 w 54"/>
                  <a:gd name="T19" fmla="*/ 44 h 100"/>
                  <a:gd name="T20" fmla="*/ 0 w 54"/>
                  <a:gd name="T21" fmla="*/ 38 h 100"/>
                  <a:gd name="T22" fmla="*/ 2 w 54"/>
                  <a:gd name="T23" fmla="*/ 30 h 100"/>
                  <a:gd name="T24" fmla="*/ 0 w 54"/>
                  <a:gd name="T25" fmla="*/ 24 h 100"/>
                  <a:gd name="T26" fmla="*/ 4 w 54"/>
                  <a:gd name="T27" fmla="*/ 20 h 100"/>
                  <a:gd name="T28" fmla="*/ 10 w 54"/>
                  <a:gd name="T29" fmla="*/ 12 h 100"/>
                  <a:gd name="T30" fmla="*/ 18 w 54"/>
                  <a:gd name="T31" fmla="*/ 10 h 100"/>
                  <a:gd name="T32" fmla="*/ 22 w 54"/>
                  <a:gd name="T33" fmla="*/ 4 h 100"/>
                  <a:gd name="T34" fmla="*/ 26 w 54"/>
                  <a:gd name="T35" fmla="*/ 2 h 100"/>
                  <a:gd name="T36" fmla="*/ 32 w 54"/>
                  <a:gd name="T37" fmla="*/ 2 h 100"/>
                  <a:gd name="T38" fmla="*/ 40 w 54"/>
                  <a:gd name="T39" fmla="*/ 0 h 100"/>
                  <a:gd name="T40" fmla="*/ 46 w 54"/>
                  <a:gd name="T41" fmla="*/ 2 h 100"/>
                  <a:gd name="T42" fmla="*/ 48 w 54"/>
                  <a:gd name="T43" fmla="*/ 0 h 100"/>
                  <a:gd name="T44" fmla="*/ 50 w 54"/>
                  <a:gd name="T45" fmla="*/ 2 h 100"/>
                  <a:gd name="T46" fmla="*/ 54 w 54"/>
                  <a:gd name="T47" fmla="*/ 10 h 100"/>
                  <a:gd name="T48" fmla="*/ 54 w 54"/>
                  <a:gd name="T49" fmla="*/ 16 h 100"/>
                  <a:gd name="T50" fmla="*/ 54 w 54"/>
                  <a:gd name="T51" fmla="*/ 24 h 100"/>
                  <a:gd name="T52" fmla="*/ 54 w 54"/>
                  <a:gd name="T53" fmla="*/ 38 h 100"/>
                  <a:gd name="T54" fmla="*/ 46 w 54"/>
                  <a:gd name="T55" fmla="*/ 44 h 100"/>
                  <a:gd name="T56" fmla="*/ 40 w 54"/>
                  <a:gd name="T57" fmla="*/ 50 h 100"/>
                  <a:gd name="T58" fmla="*/ 40 w 54"/>
                  <a:gd name="T59" fmla="*/ 58 h 100"/>
                  <a:gd name="T60" fmla="*/ 40 w 54"/>
                  <a:gd name="T61" fmla="*/ 64 h 100"/>
                  <a:gd name="T62" fmla="*/ 32 w 54"/>
                  <a:gd name="T63" fmla="*/ 78 h 100"/>
                  <a:gd name="T64" fmla="*/ 32 w 54"/>
                  <a:gd name="T65" fmla="*/ 86 h 100"/>
                  <a:gd name="T66" fmla="*/ 26 w 54"/>
                  <a:gd name="T67" fmla="*/ 92 h 100"/>
                  <a:gd name="T68" fmla="*/ 26 w 54"/>
                  <a:gd name="T69" fmla="*/ 100 h 100"/>
                  <a:gd name="T70" fmla="*/ 18 w 54"/>
                  <a:gd name="T71" fmla="*/ 92 h 100"/>
                  <a:gd name="T72" fmla="*/ 18 w 54"/>
                  <a:gd name="T73" fmla="*/ 92 h 100"/>
                  <a:gd name="T74" fmla="*/ 18 w 54"/>
                  <a:gd name="T75" fmla="*/ 9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100">
                    <a:moveTo>
                      <a:pt x="18" y="92"/>
                    </a:moveTo>
                    <a:lnTo>
                      <a:pt x="14" y="92"/>
                    </a:lnTo>
                    <a:lnTo>
                      <a:pt x="10" y="84"/>
                    </a:lnTo>
                    <a:lnTo>
                      <a:pt x="10" y="78"/>
                    </a:lnTo>
                    <a:lnTo>
                      <a:pt x="4" y="72"/>
                    </a:lnTo>
                    <a:lnTo>
                      <a:pt x="0" y="64"/>
                    </a:lnTo>
                    <a:lnTo>
                      <a:pt x="4" y="60"/>
                    </a:lnTo>
                    <a:lnTo>
                      <a:pt x="4" y="58"/>
                    </a:lnTo>
                    <a:lnTo>
                      <a:pt x="4" y="50"/>
                    </a:lnTo>
                    <a:lnTo>
                      <a:pt x="2" y="44"/>
                    </a:lnTo>
                    <a:lnTo>
                      <a:pt x="0" y="38"/>
                    </a:lnTo>
                    <a:lnTo>
                      <a:pt x="2" y="30"/>
                    </a:lnTo>
                    <a:lnTo>
                      <a:pt x="0" y="24"/>
                    </a:lnTo>
                    <a:lnTo>
                      <a:pt x="4" y="20"/>
                    </a:lnTo>
                    <a:lnTo>
                      <a:pt x="10" y="12"/>
                    </a:lnTo>
                    <a:lnTo>
                      <a:pt x="18" y="10"/>
                    </a:lnTo>
                    <a:lnTo>
                      <a:pt x="22" y="4"/>
                    </a:lnTo>
                    <a:lnTo>
                      <a:pt x="26" y="2"/>
                    </a:lnTo>
                    <a:lnTo>
                      <a:pt x="32" y="2"/>
                    </a:lnTo>
                    <a:lnTo>
                      <a:pt x="40" y="0"/>
                    </a:lnTo>
                    <a:lnTo>
                      <a:pt x="46" y="2"/>
                    </a:lnTo>
                    <a:lnTo>
                      <a:pt x="48" y="0"/>
                    </a:lnTo>
                    <a:lnTo>
                      <a:pt x="50" y="2"/>
                    </a:lnTo>
                    <a:lnTo>
                      <a:pt x="54" y="10"/>
                    </a:lnTo>
                    <a:lnTo>
                      <a:pt x="54" y="16"/>
                    </a:lnTo>
                    <a:lnTo>
                      <a:pt x="54" y="24"/>
                    </a:lnTo>
                    <a:lnTo>
                      <a:pt x="54" y="38"/>
                    </a:lnTo>
                    <a:lnTo>
                      <a:pt x="46" y="44"/>
                    </a:lnTo>
                    <a:lnTo>
                      <a:pt x="40" y="50"/>
                    </a:lnTo>
                    <a:lnTo>
                      <a:pt x="40" y="58"/>
                    </a:lnTo>
                    <a:lnTo>
                      <a:pt x="40" y="64"/>
                    </a:lnTo>
                    <a:lnTo>
                      <a:pt x="32" y="78"/>
                    </a:lnTo>
                    <a:lnTo>
                      <a:pt x="32" y="86"/>
                    </a:lnTo>
                    <a:lnTo>
                      <a:pt x="26" y="92"/>
                    </a:lnTo>
                    <a:lnTo>
                      <a:pt x="26" y="100"/>
                    </a:lnTo>
                    <a:lnTo>
                      <a:pt x="18" y="92"/>
                    </a:lnTo>
                    <a:lnTo>
                      <a:pt x="18" y="92"/>
                    </a:lnTo>
                    <a:lnTo>
                      <a:pt x="18" y="92"/>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7" name="Freeform 31"/>
              <p:cNvSpPr>
                <a:spLocks/>
              </p:cNvSpPr>
              <p:nvPr>
                <p:custDataLst>
                  <p:tags r:id="rId134"/>
                </p:custDataLst>
              </p:nvPr>
            </p:nvSpPr>
            <p:spPr bwMode="gray">
              <a:xfrm>
                <a:off x="4187200" y="4264405"/>
                <a:ext cx="152434" cy="260408"/>
              </a:xfrm>
              <a:custGeom>
                <a:avLst/>
                <a:gdLst>
                  <a:gd name="T0" fmla="*/ 12 w 96"/>
                  <a:gd name="T1" fmla="*/ 28 h 164"/>
                  <a:gd name="T2" fmla="*/ 34 w 96"/>
                  <a:gd name="T3" fmla="*/ 20 h 164"/>
                  <a:gd name="T4" fmla="*/ 48 w 96"/>
                  <a:gd name="T5" fmla="*/ 14 h 164"/>
                  <a:gd name="T6" fmla="*/ 60 w 96"/>
                  <a:gd name="T7" fmla="*/ 14 h 164"/>
                  <a:gd name="T8" fmla="*/ 68 w 96"/>
                  <a:gd name="T9" fmla="*/ 8 h 164"/>
                  <a:gd name="T10" fmla="*/ 74 w 96"/>
                  <a:gd name="T11" fmla="*/ 8 h 164"/>
                  <a:gd name="T12" fmla="*/ 88 w 96"/>
                  <a:gd name="T13" fmla="*/ 20 h 164"/>
                  <a:gd name="T14" fmla="*/ 88 w 96"/>
                  <a:gd name="T15" fmla="*/ 28 h 164"/>
                  <a:gd name="T16" fmla="*/ 96 w 96"/>
                  <a:gd name="T17" fmla="*/ 34 h 164"/>
                  <a:gd name="T18" fmla="*/ 88 w 96"/>
                  <a:gd name="T19" fmla="*/ 56 h 164"/>
                  <a:gd name="T20" fmla="*/ 96 w 96"/>
                  <a:gd name="T21" fmla="*/ 62 h 164"/>
                  <a:gd name="T22" fmla="*/ 82 w 96"/>
                  <a:gd name="T23" fmla="*/ 68 h 164"/>
                  <a:gd name="T24" fmla="*/ 82 w 96"/>
                  <a:gd name="T25" fmla="*/ 82 h 164"/>
                  <a:gd name="T26" fmla="*/ 82 w 96"/>
                  <a:gd name="T27" fmla="*/ 96 h 164"/>
                  <a:gd name="T28" fmla="*/ 74 w 96"/>
                  <a:gd name="T29" fmla="*/ 116 h 164"/>
                  <a:gd name="T30" fmla="*/ 74 w 96"/>
                  <a:gd name="T31" fmla="*/ 144 h 164"/>
                  <a:gd name="T32" fmla="*/ 68 w 96"/>
                  <a:gd name="T33" fmla="*/ 158 h 164"/>
                  <a:gd name="T34" fmla="*/ 54 w 96"/>
                  <a:gd name="T35" fmla="*/ 152 h 164"/>
                  <a:gd name="T36" fmla="*/ 34 w 96"/>
                  <a:gd name="T37" fmla="*/ 152 h 164"/>
                  <a:gd name="T38" fmla="*/ 34 w 96"/>
                  <a:gd name="T39" fmla="*/ 164 h 164"/>
                  <a:gd name="T40" fmla="*/ 20 w 96"/>
                  <a:gd name="T41" fmla="*/ 164 h 164"/>
                  <a:gd name="T42" fmla="*/ 6 w 96"/>
                  <a:gd name="T43" fmla="*/ 152 h 164"/>
                  <a:gd name="T44" fmla="*/ 0 w 96"/>
                  <a:gd name="T45" fmla="*/ 138 h 164"/>
                  <a:gd name="T46" fmla="*/ 0 w 96"/>
                  <a:gd name="T47" fmla="*/ 116 h 164"/>
                  <a:gd name="T48" fmla="*/ 12 w 96"/>
                  <a:gd name="T49" fmla="*/ 110 h 164"/>
                  <a:gd name="T50" fmla="*/ 12 w 96"/>
                  <a:gd name="T51" fmla="*/ 96 h 164"/>
                  <a:gd name="T52" fmla="*/ 26 w 96"/>
                  <a:gd name="T53" fmla="*/ 82 h 164"/>
                  <a:gd name="T54" fmla="*/ 6 w 96"/>
                  <a:gd name="T55" fmla="*/ 82 h 164"/>
                  <a:gd name="T56" fmla="*/ 6 w 96"/>
                  <a:gd name="T57" fmla="*/ 62 h 164"/>
                  <a:gd name="T58" fmla="*/ 0 w 96"/>
                  <a:gd name="T59" fmla="*/ 42 h 164"/>
                  <a:gd name="T60" fmla="*/ 6 w 96"/>
                  <a:gd name="T61" fmla="*/ 28 h 164"/>
                  <a:gd name="T62" fmla="*/ 6 w 96"/>
                  <a:gd name="T63" fmla="*/ 2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64">
                    <a:moveTo>
                      <a:pt x="6" y="20"/>
                    </a:moveTo>
                    <a:lnTo>
                      <a:pt x="12" y="28"/>
                    </a:lnTo>
                    <a:lnTo>
                      <a:pt x="20" y="20"/>
                    </a:lnTo>
                    <a:lnTo>
                      <a:pt x="34" y="20"/>
                    </a:lnTo>
                    <a:lnTo>
                      <a:pt x="40" y="20"/>
                    </a:lnTo>
                    <a:lnTo>
                      <a:pt x="48" y="14"/>
                    </a:lnTo>
                    <a:lnTo>
                      <a:pt x="54" y="14"/>
                    </a:lnTo>
                    <a:lnTo>
                      <a:pt x="60" y="14"/>
                    </a:lnTo>
                    <a:lnTo>
                      <a:pt x="60" y="8"/>
                    </a:lnTo>
                    <a:lnTo>
                      <a:pt x="68" y="8"/>
                    </a:lnTo>
                    <a:lnTo>
                      <a:pt x="74" y="0"/>
                    </a:lnTo>
                    <a:lnTo>
                      <a:pt x="74" y="8"/>
                    </a:lnTo>
                    <a:lnTo>
                      <a:pt x="82" y="14"/>
                    </a:lnTo>
                    <a:lnTo>
                      <a:pt x="88" y="20"/>
                    </a:lnTo>
                    <a:lnTo>
                      <a:pt x="82" y="20"/>
                    </a:lnTo>
                    <a:lnTo>
                      <a:pt x="88" y="28"/>
                    </a:lnTo>
                    <a:lnTo>
                      <a:pt x="88" y="34"/>
                    </a:lnTo>
                    <a:lnTo>
                      <a:pt x="96" y="34"/>
                    </a:lnTo>
                    <a:lnTo>
                      <a:pt x="96" y="42"/>
                    </a:lnTo>
                    <a:lnTo>
                      <a:pt x="88" y="56"/>
                    </a:lnTo>
                    <a:lnTo>
                      <a:pt x="96" y="56"/>
                    </a:lnTo>
                    <a:lnTo>
                      <a:pt x="96" y="62"/>
                    </a:lnTo>
                    <a:lnTo>
                      <a:pt x="88" y="68"/>
                    </a:lnTo>
                    <a:lnTo>
                      <a:pt x="82" y="68"/>
                    </a:lnTo>
                    <a:lnTo>
                      <a:pt x="82" y="76"/>
                    </a:lnTo>
                    <a:lnTo>
                      <a:pt x="82" y="82"/>
                    </a:lnTo>
                    <a:lnTo>
                      <a:pt x="82" y="88"/>
                    </a:lnTo>
                    <a:lnTo>
                      <a:pt x="82" y="96"/>
                    </a:lnTo>
                    <a:lnTo>
                      <a:pt x="82" y="104"/>
                    </a:lnTo>
                    <a:lnTo>
                      <a:pt x="74" y="116"/>
                    </a:lnTo>
                    <a:lnTo>
                      <a:pt x="74" y="130"/>
                    </a:lnTo>
                    <a:lnTo>
                      <a:pt x="74" y="144"/>
                    </a:lnTo>
                    <a:lnTo>
                      <a:pt x="74" y="152"/>
                    </a:lnTo>
                    <a:lnTo>
                      <a:pt x="68" y="158"/>
                    </a:lnTo>
                    <a:lnTo>
                      <a:pt x="60" y="152"/>
                    </a:lnTo>
                    <a:lnTo>
                      <a:pt x="54" y="152"/>
                    </a:lnTo>
                    <a:lnTo>
                      <a:pt x="40" y="144"/>
                    </a:lnTo>
                    <a:lnTo>
                      <a:pt x="34" y="152"/>
                    </a:lnTo>
                    <a:lnTo>
                      <a:pt x="34" y="158"/>
                    </a:lnTo>
                    <a:lnTo>
                      <a:pt x="34" y="164"/>
                    </a:lnTo>
                    <a:lnTo>
                      <a:pt x="26" y="164"/>
                    </a:lnTo>
                    <a:lnTo>
                      <a:pt x="20" y="164"/>
                    </a:lnTo>
                    <a:lnTo>
                      <a:pt x="6" y="158"/>
                    </a:lnTo>
                    <a:lnTo>
                      <a:pt x="6" y="152"/>
                    </a:lnTo>
                    <a:lnTo>
                      <a:pt x="6" y="144"/>
                    </a:lnTo>
                    <a:lnTo>
                      <a:pt x="0" y="138"/>
                    </a:lnTo>
                    <a:lnTo>
                      <a:pt x="6" y="124"/>
                    </a:lnTo>
                    <a:lnTo>
                      <a:pt x="0" y="116"/>
                    </a:lnTo>
                    <a:lnTo>
                      <a:pt x="6" y="116"/>
                    </a:lnTo>
                    <a:lnTo>
                      <a:pt x="12" y="110"/>
                    </a:lnTo>
                    <a:lnTo>
                      <a:pt x="12" y="104"/>
                    </a:lnTo>
                    <a:lnTo>
                      <a:pt x="12" y="96"/>
                    </a:lnTo>
                    <a:lnTo>
                      <a:pt x="20" y="88"/>
                    </a:lnTo>
                    <a:lnTo>
                      <a:pt x="26" y="82"/>
                    </a:lnTo>
                    <a:lnTo>
                      <a:pt x="12" y="82"/>
                    </a:lnTo>
                    <a:lnTo>
                      <a:pt x="6" y="82"/>
                    </a:lnTo>
                    <a:lnTo>
                      <a:pt x="6" y="68"/>
                    </a:lnTo>
                    <a:lnTo>
                      <a:pt x="6" y="62"/>
                    </a:lnTo>
                    <a:lnTo>
                      <a:pt x="0" y="48"/>
                    </a:lnTo>
                    <a:lnTo>
                      <a:pt x="0" y="42"/>
                    </a:lnTo>
                    <a:lnTo>
                      <a:pt x="0" y="34"/>
                    </a:lnTo>
                    <a:lnTo>
                      <a:pt x="6" y="28"/>
                    </a:lnTo>
                    <a:lnTo>
                      <a:pt x="6" y="20"/>
                    </a:lnTo>
                    <a:lnTo>
                      <a:pt x="6" y="20"/>
                    </a:lnTo>
                    <a:lnTo>
                      <a:pt x="6" y="20"/>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8" name="Freeform 32"/>
              <p:cNvSpPr>
                <a:spLocks/>
              </p:cNvSpPr>
              <p:nvPr>
                <p:custDataLst>
                  <p:tags r:id="rId135"/>
                </p:custDataLst>
              </p:nvPr>
            </p:nvSpPr>
            <p:spPr bwMode="gray">
              <a:xfrm>
                <a:off x="4546055" y="4648330"/>
                <a:ext cx="308043" cy="196894"/>
              </a:xfrm>
              <a:custGeom>
                <a:avLst/>
                <a:gdLst>
                  <a:gd name="T0" fmla="*/ 194 w 194"/>
                  <a:gd name="T1" fmla="*/ 6 h 124"/>
                  <a:gd name="T2" fmla="*/ 194 w 194"/>
                  <a:gd name="T3" fmla="*/ 14 h 124"/>
                  <a:gd name="T4" fmla="*/ 194 w 194"/>
                  <a:gd name="T5" fmla="*/ 20 h 124"/>
                  <a:gd name="T6" fmla="*/ 188 w 194"/>
                  <a:gd name="T7" fmla="*/ 34 h 124"/>
                  <a:gd name="T8" fmla="*/ 182 w 194"/>
                  <a:gd name="T9" fmla="*/ 34 h 124"/>
                  <a:gd name="T10" fmla="*/ 174 w 194"/>
                  <a:gd name="T11" fmla="*/ 40 h 124"/>
                  <a:gd name="T12" fmla="*/ 174 w 194"/>
                  <a:gd name="T13" fmla="*/ 48 h 124"/>
                  <a:gd name="T14" fmla="*/ 174 w 194"/>
                  <a:gd name="T15" fmla="*/ 54 h 124"/>
                  <a:gd name="T16" fmla="*/ 174 w 194"/>
                  <a:gd name="T17" fmla="*/ 62 h 124"/>
                  <a:gd name="T18" fmla="*/ 168 w 194"/>
                  <a:gd name="T19" fmla="*/ 68 h 124"/>
                  <a:gd name="T20" fmla="*/ 168 w 194"/>
                  <a:gd name="T21" fmla="*/ 74 h 124"/>
                  <a:gd name="T22" fmla="*/ 168 w 194"/>
                  <a:gd name="T23" fmla="*/ 82 h 124"/>
                  <a:gd name="T24" fmla="*/ 174 w 194"/>
                  <a:gd name="T25" fmla="*/ 82 h 124"/>
                  <a:gd name="T26" fmla="*/ 168 w 194"/>
                  <a:gd name="T27" fmla="*/ 90 h 124"/>
                  <a:gd name="T28" fmla="*/ 174 w 194"/>
                  <a:gd name="T29" fmla="*/ 90 h 124"/>
                  <a:gd name="T30" fmla="*/ 174 w 194"/>
                  <a:gd name="T31" fmla="*/ 104 h 124"/>
                  <a:gd name="T32" fmla="*/ 160 w 194"/>
                  <a:gd name="T33" fmla="*/ 110 h 124"/>
                  <a:gd name="T34" fmla="*/ 160 w 194"/>
                  <a:gd name="T35" fmla="*/ 124 h 124"/>
                  <a:gd name="T36" fmla="*/ 146 w 194"/>
                  <a:gd name="T37" fmla="*/ 116 h 124"/>
                  <a:gd name="T38" fmla="*/ 138 w 194"/>
                  <a:gd name="T39" fmla="*/ 124 h 124"/>
                  <a:gd name="T40" fmla="*/ 126 w 194"/>
                  <a:gd name="T41" fmla="*/ 116 h 124"/>
                  <a:gd name="T42" fmla="*/ 118 w 194"/>
                  <a:gd name="T43" fmla="*/ 104 h 124"/>
                  <a:gd name="T44" fmla="*/ 118 w 194"/>
                  <a:gd name="T45" fmla="*/ 96 h 124"/>
                  <a:gd name="T46" fmla="*/ 104 w 194"/>
                  <a:gd name="T47" fmla="*/ 90 h 124"/>
                  <a:gd name="T48" fmla="*/ 90 w 194"/>
                  <a:gd name="T49" fmla="*/ 90 h 124"/>
                  <a:gd name="T50" fmla="*/ 84 w 194"/>
                  <a:gd name="T51" fmla="*/ 82 h 124"/>
                  <a:gd name="T52" fmla="*/ 70 w 194"/>
                  <a:gd name="T53" fmla="*/ 82 h 124"/>
                  <a:gd name="T54" fmla="*/ 64 w 194"/>
                  <a:gd name="T55" fmla="*/ 68 h 124"/>
                  <a:gd name="T56" fmla="*/ 56 w 194"/>
                  <a:gd name="T57" fmla="*/ 62 h 124"/>
                  <a:gd name="T58" fmla="*/ 36 w 194"/>
                  <a:gd name="T59" fmla="*/ 54 h 124"/>
                  <a:gd name="T60" fmla="*/ 28 w 194"/>
                  <a:gd name="T61" fmla="*/ 48 h 124"/>
                  <a:gd name="T62" fmla="*/ 22 w 194"/>
                  <a:gd name="T63" fmla="*/ 48 h 124"/>
                  <a:gd name="T64" fmla="*/ 8 w 194"/>
                  <a:gd name="T65" fmla="*/ 40 h 124"/>
                  <a:gd name="T66" fmla="*/ 0 w 194"/>
                  <a:gd name="T67" fmla="*/ 34 h 124"/>
                  <a:gd name="T68" fmla="*/ 0 w 194"/>
                  <a:gd name="T69" fmla="*/ 28 h 124"/>
                  <a:gd name="T70" fmla="*/ 8 w 194"/>
                  <a:gd name="T71" fmla="*/ 20 h 124"/>
                  <a:gd name="T72" fmla="*/ 8 w 194"/>
                  <a:gd name="T73" fmla="*/ 6 h 124"/>
                  <a:gd name="T74" fmla="*/ 14 w 194"/>
                  <a:gd name="T75" fmla="*/ 6 h 124"/>
                  <a:gd name="T76" fmla="*/ 22 w 194"/>
                  <a:gd name="T77" fmla="*/ 0 h 124"/>
                  <a:gd name="T78" fmla="*/ 28 w 194"/>
                  <a:gd name="T79" fmla="*/ 6 h 124"/>
                  <a:gd name="T80" fmla="*/ 28 w 194"/>
                  <a:gd name="T81" fmla="*/ 14 h 124"/>
                  <a:gd name="T82" fmla="*/ 42 w 194"/>
                  <a:gd name="T83" fmla="*/ 6 h 124"/>
                  <a:gd name="T84" fmla="*/ 56 w 194"/>
                  <a:gd name="T85" fmla="*/ 6 h 124"/>
                  <a:gd name="T86" fmla="*/ 64 w 194"/>
                  <a:gd name="T87" fmla="*/ 14 h 124"/>
                  <a:gd name="T88" fmla="*/ 76 w 194"/>
                  <a:gd name="T89" fmla="*/ 20 h 124"/>
                  <a:gd name="T90" fmla="*/ 90 w 194"/>
                  <a:gd name="T91" fmla="*/ 28 h 124"/>
                  <a:gd name="T92" fmla="*/ 104 w 194"/>
                  <a:gd name="T93" fmla="*/ 28 h 124"/>
                  <a:gd name="T94" fmla="*/ 118 w 194"/>
                  <a:gd name="T95" fmla="*/ 20 h 124"/>
                  <a:gd name="T96" fmla="*/ 126 w 194"/>
                  <a:gd name="T97" fmla="*/ 20 h 124"/>
                  <a:gd name="T98" fmla="*/ 132 w 194"/>
                  <a:gd name="T99" fmla="*/ 20 h 124"/>
                  <a:gd name="T100" fmla="*/ 138 w 194"/>
                  <a:gd name="T101" fmla="*/ 20 h 124"/>
                  <a:gd name="T102" fmla="*/ 146 w 194"/>
                  <a:gd name="T103" fmla="*/ 14 h 124"/>
                  <a:gd name="T104" fmla="*/ 152 w 194"/>
                  <a:gd name="T105" fmla="*/ 14 h 124"/>
                  <a:gd name="T106" fmla="*/ 160 w 194"/>
                  <a:gd name="T107" fmla="*/ 20 h 124"/>
                  <a:gd name="T108" fmla="*/ 168 w 194"/>
                  <a:gd name="T109" fmla="*/ 14 h 124"/>
                  <a:gd name="T110" fmla="*/ 182 w 194"/>
                  <a:gd name="T111" fmla="*/ 14 h 124"/>
                  <a:gd name="T112" fmla="*/ 194 w 194"/>
                  <a:gd name="T113" fmla="*/ 6 h 124"/>
                  <a:gd name="T114" fmla="*/ 194 w 194"/>
                  <a:gd name="T115" fmla="*/ 6 h 124"/>
                  <a:gd name="T116" fmla="*/ 194 w 194"/>
                  <a:gd name="T117" fmla="*/ 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4" h="124">
                    <a:moveTo>
                      <a:pt x="194" y="6"/>
                    </a:moveTo>
                    <a:lnTo>
                      <a:pt x="194" y="14"/>
                    </a:lnTo>
                    <a:lnTo>
                      <a:pt x="194" y="20"/>
                    </a:lnTo>
                    <a:lnTo>
                      <a:pt x="188" y="34"/>
                    </a:lnTo>
                    <a:lnTo>
                      <a:pt x="182" y="34"/>
                    </a:lnTo>
                    <a:lnTo>
                      <a:pt x="174" y="40"/>
                    </a:lnTo>
                    <a:lnTo>
                      <a:pt x="174" y="48"/>
                    </a:lnTo>
                    <a:lnTo>
                      <a:pt x="174" y="54"/>
                    </a:lnTo>
                    <a:lnTo>
                      <a:pt x="174" y="62"/>
                    </a:lnTo>
                    <a:lnTo>
                      <a:pt x="168" y="68"/>
                    </a:lnTo>
                    <a:lnTo>
                      <a:pt x="168" y="74"/>
                    </a:lnTo>
                    <a:lnTo>
                      <a:pt x="168" y="82"/>
                    </a:lnTo>
                    <a:lnTo>
                      <a:pt x="174" y="82"/>
                    </a:lnTo>
                    <a:lnTo>
                      <a:pt x="168" y="90"/>
                    </a:lnTo>
                    <a:lnTo>
                      <a:pt x="174" y="90"/>
                    </a:lnTo>
                    <a:lnTo>
                      <a:pt x="174" y="104"/>
                    </a:lnTo>
                    <a:lnTo>
                      <a:pt x="160" y="110"/>
                    </a:lnTo>
                    <a:lnTo>
                      <a:pt x="160" y="124"/>
                    </a:lnTo>
                    <a:lnTo>
                      <a:pt x="146" y="116"/>
                    </a:lnTo>
                    <a:lnTo>
                      <a:pt x="138" y="124"/>
                    </a:lnTo>
                    <a:lnTo>
                      <a:pt x="126" y="116"/>
                    </a:lnTo>
                    <a:lnTo>
                      <a:pt x="118" y="104"/>
                    </a:lnTo>
                    <a:lnTo>
                      <a:pt x="118" y="96"/>
                    </a:lnTo>
                    <a:lnTo>
                      <a:pt x="104" y="90"/>
                    </a:lnTo>
                    <a:lnTo>
                      <a:pt x="90" y="90"/>
                    </a:lnTo>
                    <a:lnTo>
                      <a:pt x="84" y="82"/>
                    </a:lnTo>
                    <a:lnTo>
                      <a:pt x="70" y="82"/>
                    </a:lnTo>
                    <a:lnTo>
                      <a:pt x="64" y="68"/>
                    </a:lnTo>
                    <a:lnTo>
                      <a:pt x="56" y="62"/>
                    </a:lnTo>
                    <a:lnTo>
                      <a:pt x="36" y="54"/>
                    </a:lnTo>
                    <a:lnTo>
                      <a:pt x="28" y="48"/>
                    </a:lnTo>
                    <a:lnTo>
                      <a:pt x="22" y="48"/>
                    </a:lnTo>
                    <a:lnTo>
                      <a:pt x="8" y="40"/>
                    </a:lnTo>
                    <a:lnTo>
                      <a:pt x="0" y="34"/>
                    </a:lnTo>
                    <a:lnTo>
                      <a:pt x="0" y="28"/>
                    </a:lnTo>
                    <a:lnTo>
                      <a:pt x="8" y="20"/>
                    </a:lnTo>
                    <a:lnTo>
                      <a:pt x="8" y="6"/>
                    </a:lnTo>
                    <a:lnTo>
                      <a:pt x="14" y="6"/>
                    </a:lnTo>
                    <a:lnTo>
                      <a:pt x="22" y="0"/>
                    </a:lnTo>
                    <a:lnTo>
                      <a:pt x="28" y="6"/>
                    </a:lnTo>
                    <a:lnTo>
                      <a:pt x="28" y="14"/>
                    </a:lnTo>
                    <a:lnTo>
                      <a:pt x="42" y="6"/>
                    </a:lnTo>
                    <a:lnTo>
                      <a:pt x="56" y="6"/>
                    </a:lnTo>
                    <a:lnTo>
                      <a:pt x="64" y="14"/>
                    </a:lnTo>
                    <a:lnTo>
                      <a:pt x="76" y="20"/>
                    </a:lnTo>
                    <a:lnTo>
                      <a:pt x="90" y="28"/>
                    </a:lnTo>
                    <a:lnTo>
                      <a:pt x="104" y="28"/>
                    </a:lnTo>
                    <a:lnTo>
                      <a:pt x="118" y="20"/>
                    </a:lnTo>
                    <a:lnTo>
                      <a:pt x="126" y="20"/>
                    </a:lnTo>
                    <a:lnTo>
                      <a:pt x="132" y="20"/>
                    </a:lnTo>
                    <a:lnTo>
                      <a:pt x="138" y="20"/>
                    </a:lnTo>
                    <a:lnTo>
                      <a:pt x="146" y="14"/>
                    </a:lnTo>
                    <a:lnTo>
                      <a:pt x="152" y="14"/>
                    </a:lnTo>
                    <a:lnTo>
                      <a:pt x="160" y="20"/>
                    </a:lnTo>
                    <a:lnTo>
                      <a:pt x="168" y="14"/>
                    </a:lnTo>
                    <a:lnTo>
                      <a:pt x="182" y="14"/>
                    </a:lnTo>
                    <a:lnTo>
                      <a:pt x="194" y="6"/>
                    </a:lnTo>
                    <a:lnTo>
                      <a:pt x="194" y="6"/>
                    </a:lnTo>
                    <a:lnTo>
                      <a:pt x="194" y="6"/>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9" name="Freeform 33"/>
              <p:cNvSpPr>
                <a:spLocks/>
              </p:cNvSpPr>
              <p:nvPr/>
            </p:nvSpPr>
            <p:spPr bwMode="gray">
              <a:xfrm>
                <a:off x="3521889" y="2625406"/>
                <a:ext cx="31757" cy="19054"/>
              </a:xfrm>
              <a:custGeom>
                <a:avLst/>
                <a:gdLst>
                  <a:gd name="T0" fmla="*/ 14 w 20"/>
                  <a:gd name="T1" fmla="*/ 12 h 12"/>
                  <a:gd name="T2" fmla="*/ 8 w 20"/>
                  <a:gd name="T3" fmla="*/ 12 h 12"/>
                  <a:gd name="T4" fmla="*/ 0 w 20"/>
                  <a:gd name="T5" fmla="*/ 12 h 12"/>
                  <a:gd name="T6" fmla="*/ 0 w 20"/>
                  <a:gd name="T7" fmla="*/ 0 h 12"/>
                  <a:gd name="T8" fmla="*/ 8 w 20"/>
                  <a:gd name="T9" fmla="*/ 0 h 12"/>
                  <a:gd name="T10" fmla="*/ 14 w 20"/>
                  <a:gd name="T11" fmla="*/ 0 h 12"/>
                  <a:gd name="T12" fmla="*/ 20 w 20"/>
                  <a:gd name="T13" fmla="*/ 6 h 12"/>
                  <a:gd name="T14" fmla="*/ 14 w 20"/>
                  <a:gd name="T15" fmla="*/ 12 h 12"/>
                  <a:gd name="T16" fmla="*/ 14 w 20"/>
                  <a:gd name="T17" fmla="*/ 12 h 12"/>
                  <a:gd name="T18" fmla="*/ 14 w 20"/>
                  <a:gd name="T1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2">
                    <a:moveTo>
                      <a:pt x="14" y="12"/>
                    </a:moveTo>
                    <a:lnTo>
                      <a:pt x="8" y="12"/>
                    </a:lnTo>
                    <a:lnTo>
                      <a:pt x="0" y="12"/>
                    </a:lnTo>
                    <a:lnTo>
                      <a:pt x="0" y="0"/>
                    </a:lnTo>
                    <a:lnTo>
                      <a:pt x="8" y="0"/>
                    </a:lnTo>
                    <a:lnTo>
                      <a:pt x="14" y="0"/>
                    </a:lnTo>
                    <a:lnTo>
                      <a:pt x="20" y="6"/>
                    </a:lnTo>
                    <a:lnTo>
                      <a:pt x="14" y="12"/>
                    </a:lnTo>
                    <a:lnTo>
                      <a:pt x="14" y="12"/>
                    </a:lnTo>
                    <a:lnTo>
                      <a:pt x="14" y="12"/>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0" name="Freeform 34"/>
              <p:cNvSpPr>
                <a:spLocks/>
              </p:cNvSpPr>
              <p:nvPr/>
            </p:nvSpPr>
            <p:spPr bwMode="gray">
              <a:xfrm>
                <a:off x="3636215" y="2996963"/>
                <a:ext cx="34933" cy="9527"/>
              </a:xfrm>
              <a:custGeom>
                <a:avLst/>
                <a:gdLst>
                  <a:gd name="T0" fmla="*/ 14 w 22"/>
                  <a:gd name="T1" fmla="*/ 0 h 6"/>
                  <a:gd name="T2" fmla="*/ 0 w 22"/>
                  <a:gd name="T3" fmla="*/ 0 h 6"/>
                  <a:gd name="T4" fmla="*/ 8 w 22"/>
                  <a:gd name="T5" fmla="*/ 6 h 6"/>
                  <a:gd name="T6" fmla="*/ 14 w 22"/>
                  <a:gd name="T7" fmla="*/ 6 h 6"/>
                  <a:gd name="T8" fmla="*/ 22 w 22"/>
                  <a:gd name="T9" fmla="*/ 6 h 6"/>
                  <a:gd name="T10" fmla="*/ 22 w 22"/>
                  <a:gd name="T11" fmla="*/ 0 h 6"/>
                  <a:gd name="T12" fmla="*/ 14 w 22"/>
                  <a:gd name="T13" fmla="*/ 0 h 6"/>
                  <a:gd name="T14" fmla="*/ 14 w 22"/>
                  <a:gd name="T15" fmla="*/ 0 h 6"/>
                  <a:gd name="T16" fmla="*/ 14 w 22"/>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
                    <a:moveTo>
                      <a:pt x="14" y="0"/>
                    </a:moveTo>
                    <a:lnTo>
                      <a:pt x="0" y="0"/>
                    </a:lnTo>
                    <a:lnTo>
                      <a:pt x="8" y="6"/>
                    </a:lnTo>
                    <a:lnTo>
                      <a:pt x="14" y="6"/>
                    </a:lnTo>
                    <a:lnTo>
                      <a:pt x="22" y="6"/>
                    </a:lnTo>
                    <a:lnTo>
                      <a:pt x="22" y="0"/>
                    </a:lnTo>
                    <a:lnTo>
                      <a:pt x="14" y="0"/>
                    </a:lnTo>
                    <a:lnTo>
                      <a:pt x="14" y="0"/>
                    </a:lnTo>
                    <a:lnTo>
                      <a:pt x="14" y="0"/>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1" name="Freeform 35"/>
              <p:cNvSpPr>
                <a:spLocks/>
              </p:cNvSpPr>
              <p:nvPr/>
            </p:nvSpPr>
            <p:spPr bwMode="gray">
              <a:xfrm>
                <a:off x="3842635" y="1999792"/>
                <a:ext cx="19054" cy="34933"/>
              </a:xfrm>
              <a:custGeom>
                <a:avLst/>
                <a:gdLst>
                  <a:gd name="T0" fmla="*/ 12 w 12"/>
                  <a:gd name="T1" fmla="*/ 22 h 22"/>
                  <a:gd name="T2" fmla="*/ 6 w 12"/>
                  <a:gd name="T3" fmla="*/ 14 h 22"/>
                  <a:gd name="T4" fmla="*/ 0 w 12"/>
                  <a:gd name="T5" fmla="*/ 8 h 22"/>
                  <a:gd name="T6" fmla="*/ 6 w 12"/>
                  <a:gd name="T7" fmla="*/ 8 h 22"/>
                  <a:gd name="T8" fmla="*/ 12 w 12"/>
                  <a:gd name="T9" fmla="*/ 0 h 22"/>
                  <a:gd name="T10" fmla="*/ 12 w 12"/>
                  <a:gd name="T11" fmla="*/ 8 h 22"/>
                  <a:gd name="T12" fmla="*/ 12 w 12"/>
                  <a:gd name="T13" fmla="*/ 14 h 22"/>
                  <a:gd name="T14" fmla="*/ 12 w 12"/>
                  <a:gd name="T15" fmla="*/ 22 h 22"/>
                  <a:gd name="T16" fmla="*/ 12 w 12"/>
                  <a:gd name="T17" fmla="*/ 22 h 22"/>
                  <a:gd name="T18" fmla="*/ 12 w 12"/>
                  <a:gd name="T1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22">
                    <a:moveTo>
                      <a:pt x="12" y="22"/>
                    </a:moveTo>
                    <a:lnTo>
                      <a:pt x="6" y="14"/>
                    </a:lnTo>
                    <a:lnTo>
                      <a:pt x="0" y="8"/>
                    </a:lnTo>
                    <a:lnTo>
                      <a:pt x="6" y="8"/>
                    </a:lnTo>
                    <a:lnTo>
                      <a:pt x="12" y="0"/>
                    </a:lnTo>
                    <a:lnTo>
                      <a:pt x="12" y="8"/>
                    </a:lnTo>
                    <a:lnTo>
                      <a:pt x="12" y="14"/>
                    </a:lnTo>
                    <a:lnTo>
                      <a:pt x="12" y="22"/>
                    </a:lnTo>
                    <a:lnTo>
                      <a:pt x="12" y="22"/>
                    </a:lnTo>
                    <a:lnTo>
                      <a:pt x="12" y="22"/>
                    </a:lnTo>
                    <a:close/>
                  </a:path>
                </a:pathLst>
              </a:custGeom>
              <a:solidFill>
                <a:schemeClr val="accent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2" name="Freeform 36"/>
              <p:cNvSpPr>
                <a:spLocks/>
              </p:cNvSpPr>
              <p:nvPr/>
            </p:nvSpPr>
            <p:spPr bwMode="gray">
              <a:xfrm>
                <a:off x="3996657" y="1869589"/>
                <a:ext cx="34933" cy="85744"/>
              </a:xfrm>
              <a:custGeom>
                <a:avLst/>
                <a:gdLst>
                  <a:gd name="T0" fmla="*/ 0 w 22"/>
                  <a:gd name="T1" fmla="*/ 54 h 54"/>
                  <a:gd name="T2" fmla="*/ 8 w 22"/>
                  <a:gd name="T3" fmla="*/ 48 h 54"/>
                  <a:gd name="T4" fmla="*/ 8 w 22"/>
                  <a:gd name="T5" fmla="*/ 42 h 54"/>
                  <a:gd name="T6" fmla="*/ 0 w 22"/>
                  <a:gd name="T7" fmla="*/ 34 h 54"/>
                  <a:gd name="T8" fmla="*/ 0 w 22"/>
                  <a:gd name="T9" fmla="*/ 28 h 54"/>
                  <a:gd name="T10" fmla="*/ 14 w 22"/>
                  <a:gd name="T11" fmla="*/ 28 h 54"/>
                  <a:gd name="T12" fmla="*/ 14 w 22"/>
                  <a:gd name="T13" fmla="*/ 20 h 54"/>
                  <a:gd name="T14" fmla="*/ 22 w 22"/>
                  <a:gd name="T15" fmla="*/ 0 h 54"/>
                  <a:gd name="T16" fmla="*/ 22 w 22"/>
                  <a:gd name="T17" fmla="*/ 14 h 54"/>
                  <a:gd name="T18" fmla="*/ 22 w 22"/>
                  <a:gd name="T19" fmla="*/ 20 h 54"/>
                  <a:gd name="T20" fmla="*/ 22 w 22"/>
                  <a:gd name="T21" fmla="*/ 28 h 54"/>
                  <a:gd name="T22" fmla="*/ 22 w 22"/>
                  <a:gd name="T23" fmla="*/ 34 h 54"/>
                  <a:gd name="T24" fmla="*/ 14 w 22"/>
                  <a:gd name="T25" fmla="*/ 42 h 54"/>
                  <a:gd name="T26" fmla="*/ 14 w 22"/>
                  <a:gd name="T27" fmla="*/ 48 h 54"/>
                  <a:gd name="T28" fmla="*/ 0 w 22"/>
                  <a:gd name="T29" fmla="*/ 54 h 54"/>
                  <a:gd name="T30" fmla="*/ 0 w 22"/>
                  <a:gd name="T31" fmla="*/ 54 h 54"/>
                  <a:gd name="T32" fmla="*/ 0 w 22"/>
                  <a:gd name="T3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54">
                    <a:moveTo>
                      <a:pt x="0" y="54"/>
                    </a:moveTo>
                    <a:lnTo>
                      <a:pt x="8" y="48"/>
                    </a:lnTo>
                    <a:lnTo>
                      <a:pt x="8" y="42"/>
                    </a:lnTo>
                    <a:lnTo>
                      <a:pt x="0" y="34"/>
                    </a:lnTo>
                    <a:lnTo>
                      <a:pt x="0" y="28"/>
                    </a:lnTo>
                    <a:lnTo>
                      <a:pt x="14" y="28"/>
                    </a:lnTo>
                    <a:lnTo>
                      <a:pt x="14" y="20"/>
                    </a:lnTo>
                    <a:lnTo>
                      <a:pt x="22" y="0"/>
                    </a:lnTo>
                    <a:lnTo>
                      <a:pt x="22" y="14"/>
                    </a:lnTo>
                    <a:lnTo>
                      <a:pt x="22" y="20"/>
                    </a:lnTo>
                    <a:lnTo>
                      <a:pt x="22" y="28"/>
                    </a:lnTo>
                    <a:lnTo>
                      <a:pt x="22" y="34"/>
                    </a:lnTo>
                    <a:lnTo>
                      <a:pt x="14" y="42"/>
                    </a:lnTo>
                    <a:lnTo>
                      <a:pt x="14" y="48"/>
                    </a:lnTo>
                    <a:lnTo>
                      <a:pt x="0" y="54"/>
                    </a:lnTo>
                    <a:lnTo>
                      <a:pt x="0" y="54"/>
                    </a:lnTo>
                    <a:lnTo>
                      <a:pt x="0" y="54"/>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3" name="Freeform 37"/>
              <p:cNvSpPr>
                <a:spLocks/>
              </p:cNvSpPr>
              <p:nvPr/>
            </p:nvSpPr>
            <p:spPr bwMode="gray">
              <a:xfrm>
                <a:off x="3566349" y="2012495"/>
                <a:ext cx="76217" cy="76217"/>
              </a:xfrm>
              <a:custGeom>
                <a:avLst/>
                <a:gdLst>
                  <a:gd name="T0" fmla="*/ 0 w 48"/>
                  <a:gd name="T1" fmla="*/ 48 h 48"/>
                  <a:gd name="T2" fmla="*/ 6 w 48"/>
                  <a:gd name="T3" fmla="*/ 34 h 48"/>
                  <a:gd name="T4" fmla="*/ 14 w 48"/>
                  <a:gd name="T5" fmla="*/ 28 h 48"/>
                  <a:gd name="T6" fmla="*/ 20 w 48"/>
                  <a:gd name="T7" fmla="*/ 34 h 48"/>
                  <a:gd name="T8" fmla="*/ 20 w 48"/>
                  <a:gd name="T9" fmla="*/ 42 h 48"/>
                  <a:gd name="T10" fmla="*/ 28 w 48"/>
                  <a:gd name="T11" fmla="*/ 34 h 48"/>
                  <a:gd name="T12" fmla="*/ 28 w 48"/>
                  <a:gd name="T13" fmla="*/ 28 h 48"/>
                  <a:gd name="T14" fmla="*/ 34 w 48"/>
                  <a:gd name="T15" fmla="*/ 20 h 48"/>
                  <a:gd name="T16" fmla="*/ 42 w 48"/>
                  <a:gd name="T17" fmla="*/ 20 h 48"/>
                  <a:gd name="T18" fmla="*/ 42 w 48"/>
                  <a:gd name="T19" fmla="*/ 14 h 48"/>
                  <a:gd name="T20" fmla="*/ 48 w 48"/>
                  <a:gd name="T21" fmla="*/ 6 h 48"/>
                  <a:gd name="T22" fmla="*/ 48 w 48"/>
                  <a:gd name="T23" fmla="*/ 0 h 48"/>
                  <a:gd name="T24" fmla="*/ 42 w 48"/>
                  <a:gd name="T25" fmla="*/ 6 h 48"/>
                  <a:gd name="T26" fmla="*/ 34 w 48"/>
                  <a:gd name="T27" fmla="*/ 6 h 48"/>
                  <a:gd name="T28" fmla="*/ 20 w 48"/>
                  <a:gd name="T29" fmla="*/ 6 h 48"/>
                  <a:gd name="T30" fmla="*/ 20 w 48"/>
                  <a:gd name="T31" fmla="*/ 20 h 48"/>
                  <a:gd name="T32" fmla="*/ 14 w 48"/>
                  <a:gd name="T33" fmla="*/ 14 h 48"/>
                  <a:gd name="T34" fmla="*/ 14 w 48"/>
                  <a:gd name="T35" fmla="*/ 6 h 48"/>
                  <a:gd name="T36" fmla="*/ 6 w 48"/>
                  <a:gd name="T37" fmla="*/ 14 h 48"/>
                  <a:gd name="T38" fmla="*/ 6 w 48"/>
                  <a:gd name="T39" fmla="*/ 20 h 48"/>
                  <a:gd name="T40" fmla="*/ 0 w 48"/>
                  <a:gd name="T41" fmla="*/ 34 h 48"/>
                  <a:gd name="T42" fmla="*/ 0 w 48"/>
                  <a:gd name="T43" fmla="*/ 42 h 48"/>
                  <a:gd name="T44" fmla="*/ 0 w 48"/>
                  <a:gd name="T45" fmla="*/ 48 h 48"/>
                  <a:gd name="T46" fmla="*/ 0 w 48"/>
                  <a:gd name="T47" fmla="*/ 48 h 48"/>
                  <a:gd name="T48" fmla="*/ 0 w 48"/>
                  <a:gd name="T4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 h="48">
                    <a:moveTo>
                      <a:pt x="0" y="48"/>
                    </a:moveTo>
                    <a:lnTo>
                      <a:pt x="6" y="34"/>
                    </a:lnTo>
                    <a:lnTo>
                      <a:pt x="14" y="28"/>
                    </a:lnTo>
                    <a:lnTo>
                      <a:pt x="20" y="34"/>
                    </a:lnTo>
                    <a:lnTo>
                      <a:pt x="20" y="42"/>
                    </a:lnTo>
                    <a:lnTo>
                      <a:pt x="28" y="34"/>
                    </a:lnTo>
                    <a:lnTo>
                      <a:pt x="28" y="28"/>
                    </a:lnTo>
                    <a:lnTo>
                      <a:pt x="34" y="20"/>
                    </a:lnTo>
                    <a:lnTo>
                      <a:pt x="42" y="20"/>
                    </a:lnTo>
                    <a:lnTo>
                      <a:pt x="42" y="14"/>
                    </a:lnTo>
                    <a:lnTo>
                      <a:pt x="48" y="6"/>
                    </a:lnTo>
                    <a:lnTo>
                      <a:pt x="48" y="0"/>
                    </a:lnTo>
                    <a:lnTo>
                      <a:pt x="42" y="6"/>
                    </a:lnTo>
                    <a:lnTo>
                      <a:pt x="34" y="6"/>
                    </a:lnTo>
                    <a:lnTo>
                      <a:pt x="20" y="6"/>
                    </a:lnTo>
                    <a:lnTo>
                      <a:pt x="20" y="20"/>
                    </a:lnTo>
                    <a:lnTo>
                      <a:pt x="14" y="14"/>
                    </a:lnTo>
                    <a:lnTo>
                      <a:pt x="14" y="6"/>
                    </a:lnTo>
                    <a:lnTo>
                      <a:pt x="6" y="14"/>
                    </a:lnTo>
                    <a:lnTo>
                      <a:pt x="6" y="20"/>
                    </a:lnTo>
                    <a:lnTo>
                      <a:pt x="0" y="34"/>
                    </a:lnTo>
                    <a:lnTo>
                      <a:pt x="0" y="42"/>
                    </a:lnTo>
                    <a:lnTo>
                      <a:pt x="0" y="48"/>
                    </a:lnTo>
                    <a:lnTo>
                      <a:pt x="0" y="48"/>
                    </a:lnTo>
                    <a:lnTo>
                      <a:pt x="0" y="48"/>
                    </a:lnTo>
                    <a:close/>
                  </a:path>
                </a:pathLst>
              </a:custGeom>
              <a:solidFill>
                <a:schemeClr val="bg1">
                  <a:lumMod val="85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4" name="Freeform 38"/>
              <p:cNvSpPr>
                <a:spLocks/>
              </p:cNvSpPr>
              <p:nvPr/>
            </p:nvSpPr>
            <p:spPr bwMode="gray">
              <a:xfrm>
                <a:off x="3553646" y="2514257"/>
                <a:ext cx="34933" cy="31757"/>
              </a:xfrm>
              <a:custGeom>
                <a:avLst/>
                <a:gdLst>
                  <a:gd name="T0" fmla="*/ 0 w 22"/>
                  <a:gd name="T1" fmla="*/ 14 h 20"/>
                  <a:gd name="T2" fmla="*/ 6 w 22"/>
                  <a:gd name="T3" fmla="*/ 6 h 20"/>
                  <a:gd name="T4" fmla="*/ 14 w 22"/>
                  <a:gd name="T5" fmla="*/ 0 h 20"/>
                  <a:gd name="T6" fmla="*/ 22 w 22"/>
                  <a:gd name="T7" fmla="*/ 6 h 20"/>
                  <a:gd name="T8" fmla="*/ 22 w 22"/>
                  <a:gd name="T9" fmla="*/ 14 h 20"/>
                  <a:gd name="T10" fmla="*/ 6 w 22"/>
                  <a:gd name="T11" fmla="*/ 20 h 20"/>
                  <a:gd name="T12" fmla="*/ 0 w 22"/>
                  <a:gd name="T13" fmla="*/ 14 h 20"/>
                  <a:gd name="T14" fmla="*/ 0 w 22"/>
                  <a:gd name="T15" fmla="*/ 14 h 20"/>
                  <a:gd name="T16" fmla="*/ 0 w 22"/>
                  <a:gd name="T17"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0">
                    <a:moveTo>
                      <a:pt x="0" y="14"/>
                    </a:moveTo>
                    <a:lnTo>
                      <a:pt x="6" y="6"/>
                    </a:lnTo>
                    <a:lnTo>
                      <a:pt x="14" y="0"/>
                    </a:lnTo>
                    <a:lnTo>
                      <a:pt x="22" y="6"/>
                    </a:lnTo>
                    <a:lnTo>
                      <a:pt x="22" y="14"/>
                    </a:lnTo>
                    <a:lnTo>
                      <a:pt x="6" y="20"/>
                    </a:lnTo>
                    <a:lnTo>
                      <a:pt x="0" y="14"/>
                    </a:lnTo>
                    <a:lnTo>
                      <a:pt x="0" y="14"/>
                    </a:lnTo>
                    <a:lnTo>
                      <a:pt x="0" y="14"/>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5" name="Freeform 39"/>
              <p:cNvSpPr>
                <a:spLocks/>
              </p:cNvSpPr>
              <p:nvPr/>
            </p:nvSpPr>
            <p:spPr bwMode="gray">
              <a:xfrm>
                <a:off x="3579052" y="2110942"/>
                <a:ext cx="41284" cy="66690"/>
              </a:xfrm>
              <a:custGeom>
                <a:avLst/>
                <a:gdLst>
                  <a:gd name="T0" fmla="*/ 20 w 26"/>
                  <a:gd name="T1" fmla="*/ 28 h 42"/>
                  <a:gd name="T2" fmla="*/ 20 w 26"/>
                  <a:gd name="T3" fmla="*/ 22 h 42"/>
                  <a:gd name="T4" fmla="*/ 20 w 26"/>
                  <a:gd name="T5" fmla="*/ 14 h 42"/>
                  <a:gd name="T6" fmla="*/ 26 w 26"/>
                  <a:gd name="T7" fmla="*/ 8 h 42"/>
                  <a:gd name="T8" fmla="*/ 26 w 26"/>
                  <a:gd name="T9" fmla="*/ 0 h 42"/>
                  <a:gd name="T10" fmla="*/ 20 w 26"/>
                  <a:gd name="T11" fmla="*/ 8 h 42"/>
                  <a:gd name="T12" fmla="*/ 12 w 26"/>
                  <a:gd name="T13" fmla="*/ 14 h 42"/>
                  <a:gd name="T14" fmla="*/ 12 w 26"/>
                  <a:gd name="T15" fmla="*/ 8 h 42"/>
                  <a:gd name="T16" fmla="*/ 12 w 26"/>
                  <a:gd name="T17" fmla="*/ 0 h 42"/>
                  <a:gd name="T18" fmla="*/ 0 w 26"/>
                  <a:gd name="T19" fmla="*/ 8 h 42"/>
                  <a:gd name="T20" fmla="*/ 0 w 26"/>
                  <a:gd name="T21" fmla="*/ 14 h 42"/>
                  <a:gd name="T22" fmla="*/ 0 w 26"/>
                  <a:gd name="T23" fmla="*/ 22 h 42"/>
                  <a:gd name="T24" fmla="*/ 12 w 26"/>
                  <a:gd name="T25" fmla="*/ 14 h 42"/>
                  <a:gd name="T26" fmla="*/ 6 w 26"/>
                  <a:gd name="T27" fmla="*/ 28 h 42"/>
                  <a:gd name="T28" fmla="*/ 12 w 26"/>
                  <a:gd name="T29" fmla="*/ 34 h 42"/>
                  <a:gd name="T30" fmla="*/ 12 w 26"/>
                  <a:gd name="T31" fmla="*/ 42 h 42"/>
                  <a:gd name="T32" fmla="*/ 20 w 26"/>
                  <a:gd name="T33" fmla="*/ 28 h 42"/>
                  <a:gd name="T34" fmla="*/ 20 w 26"/>
                  <a:gd name="T35" fmla="*/ 28 h 42"/>
                  <a:gd name="T36" fmla="*/ 20 w 26"/>
                  <a:gd name="T37" fmla="*/ 2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2">
                    <a:moveTo>
                      <a:pt x="20" y="28"/>
                    </a:moveTo>
                    <a:lnTo>
                      <a:pt x="20" y="22"/>
                    </a:lnTo>
                    <a:lnTo>
                      <a:pt x="20" y="14"/>
                    </a:lnTo>
                    <a:lnTo>
                      <a:pt x="26" y="8"/>
                    </a:lnTo>
                    <a:lnTo>
                      <a:pt x="26" y="0"/>
                    </a:lnTo>
                    <a:lnTo>
                      <a:pt x="20" y="8"/>
                    </a:lnTo>
                    <a:lnTo>
                      <a:pt x="12" y="14"/>
                    </a:lnTo>
                    <a:lnTo>
                      <a:pt x="12" y="8"/>
                    </a:lnTo>
                    <a:lnTo>
                      <a:pt x="12" y="0"/>
                    </a:lnTo>
                    <a:lnTo>
                      <a:pt x="0" y="8"/>
                    </a:lnTo>
                    <a:lnTo>
                      <a:pt x="0" y="14"/>
                    </a:lnTo>
                    <a:lnTo>
                      <a:pt x="0" y="22"/>
                    </a:lnTo>
                    <a:lnTo>
                      <a:pt x="12" y="14"/>
                    </a:lnTo>
                    <a:lnTo>
                      <a:pt x="6" y="28"/>
                    </a:lnTo>
                    <a:lnTo>
                      <a:pt x="12" y="34"/>
                    </a:lnTo>
                    <a:lnTo>
                      <a:pt x="12" y="42"/>
                    </a:lnTo>
                    <a:lnTo>
                      <a:pt x="20" y="28"/>
                    </a:lnTo>
                    <a:lnTo>
                      <a:pt x="20" y="28"/>
                    </a:lnTo>
                    <a:lnTo>
                      <a:pt x="20" y="28"/>
                    </a:lnTo>
                    <a:close/>
                  </a:path>
                </a:pathLst>
              </a:custGeom>
              <a:solidFill>
                <a:schemeClr val="accent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6" name="Freeform 40"/>
              <p:cNvSpPr>
                <a:spLocks/>
              </p:cNvSpPr>
              <p:nvPr/>
            </p:nvSpPr>
            <p:spPr bwMode="gray">
              <a:xfrm>
                <a:off x="3566349" y="2231619"/>
                <a:ext cx="22230" cy="31757"/>
              </a:xfrm>
              <a:custGeom>
                <a:avLst/>
                <a:gdLst>
                  <a:gd name="T0" fmla="*/ 6 w 14"/>
                  <a:gd name="T1" fmla="*/ 20 h 20"/>
                  <a:gd name="T2" fmla="*/ 6 w 14"/>
                  <a:gd name="T3" fmla="*/ 14 h 20"/>
                  <a:gd name="T4" fmla="*/ 0 w 14"/>
                  <a:gd name="T5" fmla="*/ 14 h 20"/>
                  <a:gd name="T6" fmla="*/ 6 w 14"/>
                  <a:gd name="T7" fmla="*/ 6 h 20"/>
                  <a:gd name="T8" fmla="*/ 6 w 14"/>
                  <a:gd name="T9" fmla="*/ 0 h 20"/>
                  <a:gd name="T10" fmla="*/ 0 w 14"/>
                  <a:gd name="T11" fmla="*/ 0 h 20"/>
                  <a:gd name="T12" fmla="*/ 14 w 14"/>
                  <a:gd name="T13" fmla="*/ 6 h 20"/>
                  <a:gd name="T14" fmla="*/ 14 w 14"/>
                  <a:gd name="T15" fmla="*/ 14 h 20"/>
                  <a:gd name="T16" fmla="*/ 6 w 14"/>
                  <a:gd name="T17" fmla="*/ 14 h 20"/>
                  <a:gd name="T18" fmla="*/ 6 w 14"/>
                  <a:gd name="T19" fmla="*/ 20 h 20"/>
                  <a:gd name="T20" fmla="*/ 6 w 14"/>
                  <a:gd name="T21" fmla="*/ 20 h 20"/>
                  <a:gd name="T22" fmla="*/ 6 w 14"/>
                  <a:gd name="T2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6" y="20"/>
                    </a:moveTo>
                    <a:lnTo>
                      <a:pt x="6" y="14"/>
                    </a:lnTo>
                    <a:lnTo>
                      <a:pt x="0" y="14"/>
                    </a:lnTo>
                    <a:lnTo>
                      <a:pt x="6" y="6"/>
                    </a:lnTo>
                    <a:lnTo>
                      <a:pt x="6" y="0"/>
                    </a:lnTo>
                    <a:lnTo>
                      <a:pt x="0" y="0"/>
                    </a:lnTo>
                    <a:lnTo>
                      <a:pt x="14" y="6"/>
                    </a:lnTo>
                    <a:lnTo>
                      <a:pt x="14" y="14"/>
                    </a:lnTo>
                    <a:lnTo>
                      <a:pt x="6" y="14"/>
                    </a:lnTo>
                    <a:lnTo>
                      <a:pt x="6" y="20"/>
                    </a:lnTo>
                    <a:lnTo>
                      <a:pt x="6" y="20"/>
                    </a:lnTo>
                    <a:lnTo>
                      <a:pt x="6" y="20"/>
                    </a:lnTo>
                    <a:close/>
                  </a:path>
                </a:pathLst>
              </a:custGeom>
              <a:solidFill>
                <a:schemeClr val="accent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7" name="Freeform 41"/>
              <p:cNvSpPr>
                <a:spLocks/>
              </p:cNvSpPr>
              <p:nvPr/>
            </p:nvSpPr>
            <p:spPr bwMode="gray">
              <a:xfrm>
                <a:off x="3309117" y="2409458"/>
                <a:ext cx="639905" cy="612911"/>
              </a:xfrm>
              <a:custGeom>
                <a:avLst/>
                <a:gdLst>
                  <a:gd name="T0" fmla="*/ 36 w 403"/>
                  <a:gd name="T1" fmla="*/ 330 h 386"/>
                  <a:gd name="T2" fmla="*/ 76 w 403"/>
                  <a:gd name="T3" fmla="*/ 302 h 386"/>
                  <a:gd name="T4" fmla="*/ 92 w 403"/>
                  <a:gd name="T5" fmla="*/ 296 h 386"/>
                  <a:gd name="T6" fmla="*/ 112 w 403"/>
                  <a:gd name="T7" fmla="*/ 302 h 386"/>
                  <a:gd name="T8" fmla="*/ 140 w 403"/>
                  <a:gd name="T9" fmla="*/ 310 h 386"/>
                  <a:gd name="T10" fmla="*/ 166 w 403"/>
                  <a:gd name="T11" fmla="*/ 296 h 386"/>
                  <a:gd name="T12" fmla="*/ 194 w 403"/>
                  <a:gd name="T13" fmla="*/ 282 h 386"/>
                  <a:gd name="T14" fmla="*/ 180 w 403"/>
                  <a:gd name="T15" fmla="*/ 276 h 386"/>
                  <a:gd name="T16" fmla="*/ 174 w 403"/>
                  <a:gd name="T17" fmla="*/ 248 h 386"/>
                  <a:gd name="T18" fmla="*/ 188 w 403"/>
                  <a:gd name="T19" fmla="*/ 228 h 386"/>
                  <a:gd name="T20" fmla="*/ 202 w 403"/>
                  <a:gd name="T21" fmla="*/ 200 h 386"/>
                  <a:gd name="T22" fmla="*/ 202 w 403"/>
                  <a:gd name="T23" fmla="*/ 172 h 386"/>
                  <a:gd name="T24" fmla="*/ 222 w 403"/>
                  <a:gd name="T25" fmla="*/ 164 h 386"/>
                  <a:gd name="T26" fmla="*/ 208 w 403"/>
                  <a:gd name="T27" fmla="*/ 152 h 386"/>
                  <a:gd name="T28" fmla="*/ 222 w 403"/>
                  <a:gd name="T29" fmla="*/ 130 h 386"/>
                  <a:gd name="T30" fmla="*/ 242 w 403"/>
                  <a:gd name="T31" fmla="*/ 116 h 386"/>
                  <a:gd name="T32" fmla="*/ 216 w 403"/>
                  <a:gd name="T33" fmla="*/ 110 h 386"/>
                  <a:gd name="T34" fmla="*/ 216 w 403"/>
                  <a:gd name="T35" fmla="*/ 82 h 386"/>
                  <a:gd name="T36" fmla="*/ 230 w 403"/>
                  <a:gd name="T37" fmla="*/ 48 h 386"/>
                  <a:gd name="T38" fmla="*/ 250 w 403"/>
                  <a:gd name="T39" fmla="*/ 40 h 386"/>
                  <a:gd name="T40" fmla="*/ 270 w 403"/>
                  <a:gd name="T41" fmla="*/ 34 h 386"/>
                  <a:gd name="T42" fmla="*/ 284 w 403"/>
                  <a:gd name="T43" fmla="*/ 20 h 386"/>
                  <a:gd name="T44" fmla="*/ 298 w 403"/>
                  <a:gd name="T45" fmla="*/ 14 h 386"/>
                  <a:gd name="T46" fmla="*/ 326 w 403"/>
                  <a:gd name="T47" fmla="*/ 20 h 386"/>
                  <a:gd name="T48" fmla="*/ 326 w 403"/>
                  <a:gd name="T49" fmla="*/ 54 h 386"/>
                  <a:gd name="T50" fmla="*/ 320 w 403"/>
                  <a:gd name="T51" fmla="*/ 90 h 386"/>
                  <a:gd name="T52" fmla="*/ 340 w 403"/>
                  <a:gd name="T53" fmla="*/ 102 h 386"/>
                  <a:gd name="T54" fmla="*/ 346 w 403"/>
                  <a:gd name="T55" fmla="*/ 130 h 386"/>
                  <a:gd name="T56" fmla="*/ 332 w 403"/>
                  <a:gd name="T57" fmla="*/ 164 h 386"/>
                  <a:gd name="T58" fmla="*/ 346 w 403"/>
                  <a:gd name="T59" fmla="*/ 178 h 386"/>
                  <a:gd name="T60" fmla="*/ 354 w 403"/>
                  <a:gd name="T61" fmla="*/ 206 h 386"/>
                  <a:gd name="T62" fmla="*/ 332 w 403"/>
                  <a:gd name="T63" fmla="*/ 228 h 386"/>
                  <a:gd name="T64" fmla="*/ 346 w 403"/>
                  <a:gd name="T65" fmla="*/ 240 h 386"/>
                  <a:gd name="T66" fmla="*/ 383 w 403"/>
                  <a:gd name="T67" fmla="*/ 240 h 386"/>
                  <a:gd name="T68" fmla="*/ 403 w 403"/>
                  <a:gd name="T69" fmla="*/ 276 h 386"/>
                  <a:gd name="T70" fmla="*/ 383 w 403"/>
                  <a:gd name="T71" fmla="*/ 310 h 386"/>
                  <a:gd name="T72" fmla="*/ 360 w 403"/>
                  <a:gd name="T73" fmla="*/ 316 h 386"/>
                  <a:gd name="T74" fmla="*/ 346 w 403"/>
                  <a:gd name="T75" fmla="*/ 324 h 386"/>
                  <a:gd name="T76" fmla="*/ 326 w 403"/>
                  <a:gd name="T77" fmla="*/ 330 h 386"/>
                  <a:gd name="T78" fmla="*/ 332 w 403"/>
                  <a:gd name="T79" fmla="*/ 352 h 386"/>
                  <a:gd name="T80" fmla="*/ 360 w 403"/>
                  <a:gd name="T81" fmla="*/ 352 h 386"/>
                  <a:gd name="T82" fmla="*/ 346 w 403"/>
                  <a:gd name="T83" fmla="*/ 372 h 386"/>
                  <a:gd name="T84" fmla="*/ 320 w 403"/>
                  <a:gd name="T85" fmla="*/ 378 h 386"/>
                  <a:gd name="T86" fmla="*/ 284 w 403"/>
                  <a:gd name="T87" fmla="*/ 372 h 386"/>
                  <a:gd name="T88" fmla="*/ 250 w 403"/>
                  <a:gd name="T89" fmla="*/ 372 h 386"/>
                  <a:gd name="T90" fmla="*/ 230 w 403"/>
                  <a:gd name="T91" fmla="*/ 358 h 386"/>
                  <a:gd name="T92" fmla="*/ 202 w 403"/>
                  <a:gd name="T93" fmla="*/ 364 h 386"/>
                  <a:gd name="T94" fmla="*/ 166 w 403"/>
                  <a:gd name="T95" fmla="*/ 364 h 386"/>
                  <a:gd name="T96" fmla="*/ 146 w 403"/>
                  <a:gd name="T97" fmla="*/ 344 h 386"/>
                  <a:gd name="T98" fmla="*/ 118 w 403"/>
                  <a:gd name="T99" fmla="*/ 338 h 386"/>
                  <a:gd name="T100" fmla="*/ 104 w 403"/>
                  <a:gd name="T101" fmla="*/ 364 h 386"/>
                  <a:gd name="T102" fmla="*/ 70 w 403"/>
                  <a:gd name="T103" fmla="*/ 352 h 386"/>
                  <a:gd name="T104" fmla="*/ 36 w 403"/>
                  <a:gd name="T105" fmla="*/ 352 h 386"/>
                  <a:gd name="T106" fmla="*/ 14 w 403"/>
                  <a:gd name="T107" fmla="*/ 358 h 386"/>
                  <a:gd name="T108" fmla="*/ 14 w 403"/>
                  <a:gd name="T109" fmla="*/ 344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3" h="386">
                    <a:moveTo>
                      <a:pt x="14" y="344"/>
                    </a:moveTo>
                    <a:lnTo>
                      <a:pt x="28" y="338"/>
                    </a:lnTo>
                    <a:lnTo>
                      <a:pt x="36" y="338"/>
                    </a:lnTo>
                    <a:lnTo>
                      <a:pt x="36" y="330"/>
                    </a:lnTo>
                    <a:lnTo>
                      <a:pt x="56" y="324"/>
                    </a:lnTo>
                    <a:lnTo>
                      <a:pt x="70" y="324"/>
                    </a:lnTo>
                    <a:lnTo>
                      <a:pt x="76" y="310"/>
                    </a:lnTo>
                    <a:lnTo>
                      <a:pt x="76" y="302"/>
                    </a:lnTo>
                    <a:lnTo>
                      <a:pt x="84" y="302"/>
                    </a:lnTo>
                    <a:lnTo>
                      <a:pt x="92" y="310"/>
                    </a:lnTo>
                    <a:lnTo>
                      <a:pt x="98" y="302"/>
                    </a:lnTo>
                    <a:lnTo>
                      <a:pt x="92" y="296"/>
                    </a:lnTo>
                    <a:lnTo>
                      <a:pt x="98" y="296"/>
                    </a:lnTo>
                    <a:lnTo>
                      <a:pt x="104" y="296"/>
                    </a:lnTo>
                    <a:lnTo>
                      <a:pt x="112" y="296"/>
                    </a:lnTo>
                    <a:lnTo>
                      <a:pt x="112" y="302"/>
                    </a:lnTo>
                    <a:lnTo>
                      <a:pt x="118" y="302"/>
                    </a:lnTo>
                    <a:lnTo>
                      <a:pt x="126" y="310"/>
                    </a:lnTo>
                    <a:lnTo>
                      <a:pt x="132" y="310"/>
                    </a:lnTo>
                    <a:lnTo>
                      <a:pt x="140" y="310"/>
                    </a:lnTo>
                    <a:lnTo>
                      <a:pt x="154" y="310"/>
                    </a:lnTo>
                    <a:lnTo>
                      <a:pt x="160" y="310"/>
                    </a:lnTo>
                    <a:lnTo>
                      <a:pt x="160" y="302"/>
                    </a:lnTo>
                    <a:lnTo>
                      <a:pt x="166" y="296"/>
                    </a:lnTo>
                    <a:lnTo>
                      <a:pt x="174" y="296"/>
                    </a:lnTo>
                    <a:lnTo>
                      <a:pt x="180" y="296"/>
                    </a:lnTo>
                    <a:lnTo>
                      <a:pt x="188" y="290"/>
                    </a:lnTo>
                    <a:lnTo>
                      <a:pt x="194" y="282"/>
                    </a:lnTo>
                    <a:lnTo>
                      <a:pt x="188" y="282"/>
                    </a:lnTo>
                    <a:lnTo>
                      <a:pt x="174" y="282"/>
                    </a:lnTo>
                    <a:lnTo>
                      <a:pt x="174" y="276"/>
                    </a:lnTo>
                    <a:lnTo>
                      <a:pt x="180" y="276"/>
                    </a:lnTo>
                    <a:lnTo>
                      <a:pt x="180" y="262"/>
                    </a:lnTo>
                    <a:lnTo>
                      <a:pt x="174" y="262"/>
                    </a:lnTo>
                    <a:lnTo>
                      <a:pt x="174" y="254"/>
                    </a:lnTo>
                    <a:lnTo>
                      <a:pt x="174" y="248"/>
                    </a:lnTo>
                    <a:lnTo>
                      <a:pt x="180" y="240"/>
                    </a:lnTo>
                    <a:lnTo>
                      <a:pt x="188" y="228"/>
                    </a:lnTo>
                    <a:lnTo>
                      <a:pt x="180" y="228"/>
                    </a:lnTo>
                    <a:lnTo>
                      <a:pt x="188" y="228"/>
                    </a:lnTo>
                    <a:lnTo>
                      <a:pt x="194" y="220"/>
                    </a:lnTo>
                    <a:lnTo>
                      <a:pt x="194" y="214"/>
                    </a:lnTo>
                    <a:lnTo>
                      <a:pt x="194" y="206"/>
                    </a:lnTo>
                    <a:lnTo>
                      <a:pt x="202" y="200"/>
                    </a:lnTo>
                    <a:lnTo>
                      <a:pt x="208" y="192"/>
                    </a:lnTo>
                    <a:lnTo>
                      <a:pt x="208" y="186"/>
                    </a:lnTo>
                    <a:lnTo>
                      <a:pt x="202" y="178"/>
                    </a:lnTo>
                    <a:lnTo>
                      <a:pt x="202" y="172"/>
                    </a:lnTo>
                    <a:lnTo>
                      <a:pt x="208" y="164"/>
                    </a:lnTo>
                    <a:lnTo>
                      <a:pt x="208" y="172"/>
                    </a:lnTo>
                    <a:lnTo>
                      <a:pt x="216" y="172"/>
                    </a:lnTo>
                    <a:lnTo>
                      <a:pt x="222" y="164"/>
                    </a:lnTo>
                    <a:lnTo>
                      <a:pt x="216" y="164"/>
                    </a:lnTo>
                    <a:lnTo>
                      <a:pt x="216" y="158"/>
                    </a:lnTo>
                    <a:lnTo>
                      <a:pt x="216" y="152"/>
                    </a:lnTo>
                    <a:lnTo>
                      <a:pt x="208" y="152"/>
                    </a:lnTo>
                    <a:lnTo>
                      <a:pt x="208" y="144"/>
                    </a:lnTo>
                    <a:lnTo>
                      <a:pt x="216" y="138"/>
                    </a:lnTo>
                    <a:lnTo>
                      <a:pt x="222" y="138"/>
                    </a:lnTo>
                    <a:lnTo>
                      <a:pt x="222" y="130"/>
                    </a:lnTo>
                    <a:lnTo>
                      <a:pt x="222" y="124"/>
                    </a:lnTo>
                    <a:lnTo>
                      <a:pt x="230" y="124"/>
                    </a:lnTo>
                    <a:lnTo>
                      <a:pt x="230" y="116"/>
                    </a:lnTo>
                    <a:lnTo>
                      <a:pt x="242" y="116"/>
                    </a:lnTo>
                    <a:lnTo>
                      <a:pt x="242" y="110"/>
                    </a:lnTo>
                    <a:lnTo>
                      <a:pt x="230" y="102"/>
                    </a:lnTo>
                    <a:lnTo>
                      <a:pt x="222" y="102"/>
                    </a:lnTo>
                    <a:lnTo>
                      <a:pt x="216" y="110"/>
                    </a:lnTo>
                    <a:lnTo>
                      <a:pt x="230" y="96"/>
                    </a:lnTo>
                    <a:lnTo>
                      <a:pt x="222" y="96"/>
                    </a:lnTo>
                    <a:lnTo>
                      <a:pt x="216" y="90"/>
                    </a:lnTo>
                    <a:lnTo>
                      <a:pt x="216" y="82"/>
                    </a:lnTo>
                    <a:lnTo>
                      <a:pt x="216" y="68"/>
                    </a:lnTo>
                    <a:lnTo>
                      <a:pt x="216" y="62"/>
                    </a:lnTo>
                    <a:lnTo>
                      <a:pt x="222" y="54"/>
                    </a:lnTo>
                    <a:lnTo>
                      <a:pt x="230" y="48"/>
                    </a:lnTo>
                    <a:lnTo>
                      <a:pt x="236" y="54"/>
                    </a:lnTo>
                    <a:lnTo>
                      <a:pt x="236" y="48"/>
                    </a:lnTo>
                    <a:lnTo>
                      <a:pt x="242" y="48"/>
                    </a:lnTo>
                    <a:lnTo>
                      <a:pt x="250" y="40"/>
                    </a:lnTo>
                    <a:lnTo>
                      <a:pt x="250" y="48"/>
                    </a:lnTo>
                    <a:lnTo>
                      <a:pt x="256" y="48"/>
                    </a:lnTo>
                    <a:lnTo>
                      <a:pt x="264" y="40"/>
                    </a:lnTo>
                    <a:lnTo>
                      <a:pt x="270" y="34"/>
                    </a:lnTo>
                    <a:lnTo>
                      <a:pt x="278" y="34"/>
                    </a:lnTo>
                    <a:lnTo>
                      <a:pt x="278" y="28"/>
                    </a:lnTo>
                    <a:lnTo>
                      <a:pt x="284" y="28"/>
                    </a:lnTo>
                    <a:lnTo>
                      <a:pt x="284" y="20"/>
                    </a:lnTo>
                    <a:lnTo>
                      <a:pt x="292" y="20"/>
                    </a:lnTo>
                    <a:lnTo>
                      <a:pt x="298" y="28"/>
                    </a:lnTo>
                    <a:lnTo>
                      <a:pt x="306" y="20"/>
                    </a:lnTo>
                    <a:lnTo>
                      <a:pt x="298" y="14"/>
                    </a:lnTo>
                    <a:lnTo>
                      <a:pt x="306" y="14"/>
                    </a:lnTo>
                    <a:lnTo>
                      <a:pt x="312" y="0"/>
                    </a:lnTo>
                    <a:lnTo>
                      <a:pt x="320" y="14"/>
                    </a:lnTo>
                    <a:lnTo>
                      <a:pt x="326" y="20"/>
                    </a:lnTo>
                    <a:lnTo>
                      <a:pt x="320" y="34"/>
                    </a:lnTo>
                    <a:lnTo>
                      <a:pt x="320" y="40"/>
                    </a:lnTo>
                    <a:lnTo>
                      <a:pt x="320" y="48"/>
                    </a:lnTo>
                    <a:lnTo>
                      <a:pt x="326" y="54"/>
                    </a:lnTo>
                    <a:lnTo>
                      <a:pt x="326" y="62"/>
                    </a:lnTo>
                    <a:lnTo>
                      <a:pt x="320" y="68"/>
                    </a:lnTo>
                    <a:lnTo>
                      <a:pt x="320" y="76"/>
                    </a:lnTo>
                    <a:lnTo>
                      <a:pt x="320" y="90"/>
                    </a:lnTo>
                    <a:lnTo>
                      <a:pt x="320" y="96"/>
                    </a:lnTo>
                    <a:lnTo>
                      <a:pt x="326" y="96"/>
                    </a:lnTo>
                    <a:lnTo>
                      <a:pt x="332" y="102"/>
                    </a:lnTo>
                    <a:lnTo>
                      <a:pt x="340" y="102"/>
                    </a:lnTo>
                    <a:lnTo>
                      <a:pt x="340" y="110"/>
                    </a:lnTo>
                    <a:lnTo>
                      <a:pt x="346" y="116"/>
                    </a:lnTo>
                    <a:lnTo>
                      <a:pt x="346" y="124"/>
                    </a:lnTo>
                    <a:lnTo>
                      <a:pt x="346" y="130"/>
                    </a:lnTo>
                    <a:lnTo>
                      <a:pt x="346" y="138"/>
                    </a:lnTo>
                    <a:lnTo>
                      <a:pt x="346" y="172"/>
                    </a:lnTo>
                    <a:lnTo>
                      <a:pt x="340" y="164"/>
                    </a:lnTo>
                    <a:lnTo>
                      <a:pt x="332" y="164"/>
                    </a:lnTo>
                    <a:lnTo>
                      <a:pt x="326" y="164"/>
                    </a:lnTo>
                    <a:lnTo>
                      <a:pt x="326" y="172"/>
                    </a:lnTo>
                    <a:lnTo>
                      <a:pt x="332" y="172"/>
                    </a:lnTo>
                    <a:lnTo>
                      <a:pt x="346" y="178"/>
                    </a:lnTo>
                    <a:lnTo>
                      <a:pt x="346" y="186"/>
                    </a:lnTo>
                    <a:lnTo>
                      <a:pt x="354" y="192"/>
                    </a:lnTo>
                    <a:lnTo>
                      <a:pt x="354" y="200"/>
                    </a:lnTo>
                    <a:lnTo>
                      <a:pt x="354" y="206"/>
                    </a:lnTo>
                    <a:lnTo>
                      <a:pt x="354" y="214"/>
                    </a:lnTo>
                    <a:lnTo>
                      <a:pt x="346" y="220"/>
                    </a:lnTo>
                    <a:lnTo>
                      <a:pt x="340" y="228"/>
                    </a:lnTo>
                    <a:lnTo>
                      <a:pt x="332" y="228"/>
                    </a:lnTo>
                    <a:lnTo>
                      <a:pt x="332" y="234"/>
                    </a:lnTo>
                    <a:lnTo>
                      <a:pt x="332" y="240"/>
                    </a:lnTo>
                    <a:lnTo>
                      <a:pt x="340" y="248"/>
                    </a:lnTo>
                    <a:lnTo>
                      <a:pt x="346" y="240"/>
                    </a:lnTo>
                    <a:lnTo>
                      <a:pt x="354" y="240"/>
                    </a:lnTo>
                    <a:lnTo>
                      <a:pt x="360" y="234"/>
                    </a:lnTo>
                    <a:lnTo>
                      <a:pt x="368" y="240"/>
                    </a:lnTo>
                    <a:lnTo>
                      <a:pt x="383" y="240"/>
                    </a:lnTo>
                    <a:lnTo>
                      <a:pt x="397" y="248"/>
                    </a:lnTo>
                    <a:lnTo>
                      <a:pt x="403" y="254"/>
                    </a:lnTo>
                    <a:lnTo>
                      <a:pt x="403" y="268"/>
                    </a:lnTo>
                    <a:lnTo>
                      <a:pt x="403" y="276"/>
                    </a:lnTo>
                    <a:lnTo>
                      <a:pt x="397" y="290"/>
                    </a:lnTo>
                    <a:lnTo>
                      <a:pt x="397" y="296"/>
                    </a:lnTo>
                    <a:lnTo>
                      <a:pt x="389" y="302"/>
                    </a:lnTo>
                    <a:lnTo>
                      <a:pt x="383" y="310"/>
                    </a:lnTo>
                    <a:lnTo>
                      <a:pt x="374" y="310"/>
                    </a:lnTo>
                    <a:lnTo>
                      <a:pt x="368" y="310"/>
                    </a:lnTo>
                    <a:lnTo>
                      <a:pt x="368" y="316"/>
                    </a:lnTo>
                    <a:lnTo>
                      <a:pt x="360" y="316"/>
                    </a:lnTo>
                    <a:lnTo>
                      <a:pt x="354" y="316"/>
                    </a:lnTo>
                    <a:lnTo>
                      <a:pt x="346" y="316"/>
                    </a:lnTo>
                    <a:lnTo>
                      <a:pt x="340" y="324"/>
                    </a:lnTo>
                    <a:lnTo>
                      <a:pt x="346" y="324"/>
                    </a:lnTo>
                    <a:lnTo>
                      <a:pt x="346" y="330"/>
                    </a:lnTo>
                    <a:lnTo>
                      <a:pt x="340" y="338"/>
                    </a:lnTo>
                    <a:lnTo>
                      <a:pt x="332" y="330"/>
                    </a:lnTo>
                    <a:lnTo>
                      <a:pt x="326" y="330"/>
                    </a:lnTo>
                    <a:lnTo>
                      <a:pt x="320" y="330"/>
                    </a:lnTo>
                    <a:lnTo>
                      <a:pt x="320" y="338"/>
                    </a:lnTo>
                    <a:lnTo>
                      <a:pt x="326" y="344"/>
                    </a:lnTo>
                    <a:lnTo>
                      <a:pt x="332" y="352"/>
                    </a:lnTo>
                    <a:lnTo>
                      <a:pt x="340" y="352"/>
                    </a:lnTo>
                    <a:lnTo>
                      <a:pt x="346" y="358"/>
                    </a:lnTo>
                    <a:lnTo>
                      <a:pt x="354" y="352"/>
                    </a:lnTo>
                    <a:lnTo>
                      <a:pt x="360" y="352"/>
                    </a:lnTo>
                    <a:lnTo>
                      <a:pt x="368" y="358"/>
                    </a:lnTo>
                    <a:lnTo>
                      <a:pt x="360" y="364"/>
                    </a:lnTo>
                    <a:lnTo>
                      <a:pt x="354" y="372"/>
                    </a:lnTo>
                    <a:lnTo>
                      <a:pt x="346" y="372"/>
                    </a:lnTo>
                    <a:lnTo>
                      <a:pt x="340" y="378"/>
                    </a:lnTo>
                    <a:lnTo>
                      <a:pt x="332" y="386"/>
                    </a:lnTo>
                    <a:lnTo>
                      <a:pt x="326" y="378"/>
                    </a:lnTo>
                    <a:lnTo>
                      <a:pt x="320" y="378"/>
                    </a:lnTo>
                    <a:lnTo>
                      <a:pt x="306" y="386"/>
                    </a:lnTo>
                    <a:lnTo>
                      <a:pt x="298" y="378"/>
                    </a:lnTo>
                    <a:lnTo>
                      <a:pt x="292" y="378"/>
                    </a:lnTo>
                    <a:lnTo>
                      <a:pt x="284" y="372"/>
                    </a:lnTo>
                    <a:lnTo>
                      <a:pt x="278" y="372"/>
                    </a:lnTo>
                    <a:lnTo>
                      <a:pt x="270" y="372"/>
                    </a:lnTo>
                    <a:lnTo>
                      <a:pt x="264" y="372"/>
                    </a:lnTo>
                    <a:lnTo>
                      <a:pt x="250" y="372"/>
                    </a:lnTo>
                    <a:lnTo>
                      <a:pt x="250" y="364"/>
                    </a:lnTo>
                    <a:lnTo>
                      <a:pt x="242" y="364"/>
                    </a:lnTo>
                    <a:lnTo>
                      <a:pt x="236" y="364"/>
                    </a:lnTo>
                    <a:lnTo>
                      <a:pt x="230" y="358"/>
                    </a:lnTo>
                    <a:lnTo>
                      <a:pt x="222" y="352"/>
                    </a:lnTo>
                    <a:lnTo>
                      <a:pt x="216" y="358"/>
                    </a:lnTo>
                    <a:lnTo>
                      <a:pt x="216" y="364"/>
                    </a:lnTo>
                    <a:lnTo>
                      <a:pt x="202" y="364"/>
                    </a:lnTo>
                    <a:lnTo>
                      <a:pt x="194" y="358"/>
                    </a:lnTo>
                    <a:lnTo>
                      <a:pt x="180" y="358"/>
                    </a:lnTo>
                    <a:lnTo>
                      <a:pt x="174" y="364"/>
                    </a:lnTo>
                    <a:lnTo>
                      <a:pt x="166" y="364"/>
                    </a:lnTo>
                    <a:lnTo>
                      <a:pt x="166" y="358"/>
                    </a:lnTo>
                    <a:lnTo>
                      <a:pt x="160" y="352"/>
                    </a:lnTo>
                    <a:lnTo>
                      <a:pt x="154" y="344"/>
                    </a:lnTo>
                    <a:lnTo>
                      <a:pt x="146" y="344"/>
                    </a:lnTo>
                    <a:lnTo>
                      <a:pt x="140" y="344"/>
                    </a:lnTo>
                    <a:lnTo>
                      <a:pt x="132" y="344"/>
                    </a:lnTo>
                    <a:lnTo>
                      <a:pt x="126" y="344"/>
                    </a:lnTo>
                    <a:lnTo>
                      <a:pt x="118" y="338"/>
                    </a:lnTo>
                    <a:lnTo>
                      <a:pt x="112" y="344"/>
                    </a:lnTo>
                    <a:lnTo>
                      <a:pt x="112" y="352"/>
                    </a:lnTo>
                    <a:lnTo>
                      <a:pt x="112" y="358"/>
                    </a:lnTo>
                    <a:lnTo>
                      <a:pt x="104" y="364"/>
                    </a:lnTo>
                    <a:lnTo>
                      <a:pt x="92" y="364"/>
                    </a:lnTo>
                    <a:lnTo>
                      <a:pt x="84" y="358"/>
                    </a:lnTo>
                    <a:lnTo>
                      <a:pt x="84" y="352"/>
                    </a:lnTo>
                    <a:lnTo>
                      <a:pt x="70" y="352"/>
                    </a:lnTo>
                    <a:lnTo>
                      <a:pt x="56" y="344"/>
                    </a:lnTo>
                    <a:lnTo>
                      <a:pt x="42" y="352"/>
                    </a:lnTo>
                    <a:lnTo>
                      <a:pt x="36" y="358"/>
                    </a:lnTo>
                    <a:lnTo>
                      <a:pt x="36" y="352"/>
                    </a:lnTo>
                    <a:lnTo>
                      <a:pt x="28" y="352"/>
                    </a:lnTo>
                    <a:lnTo>
                      <a:pt x="28" y="358"/>
                    </a:lnTo>
                    <a:lnTo>
                      <a:pt x="22" y="358"/>
                    </a:lnTo>
                    <a:lnTo>
                      <a:pt x="14" y="358"/>
                    </a:lnTo>
                    <a:lnTo>
                      <a:pt x="14" y="344"/>
                    </a:lnTo>
                    <a:lnTo>
                      <a:pt x="8" y="344"/>
                    </a:lnTo>
                    <a:lnTo>
                      <a:pt x="0" y="344"/>
                    </a:lnTo>
                    <a:lnTo>
                      <a:pt x="14" y="344"/>
                    </a:lnTo>
                    <a:lnTo>
                      <a:pt x="14" y="344"/>
                    </a:lnTo>
                    <a:lnTo>
                      <a:pt x="14" y="344"/>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8" name="Freeform 42"/>
              <p:cNvSpPr>
                <a:spLocks/>
              </p:cNvSpPr>
              <p:nvPr>
                <p:custDataLst>
                  <p:tags r:id="rId136"/>
                </p:custDataLst>
              </p:nvPr>
            </p:nvSpPr>
            <p:spPr bwMode="gray">
              <a:xfrm>
                <a:off x="3413915" y="2653988"/>
                <a:ext cx="231826" cy="215948"/>
              </a:xfrm>
              <a:custGeom>
                <a:avLst/>
                <a:gdLst>
                  <a:gd name="T0" fmla="*/ 132 w 146"/>
                  <a:gd name="T1" fmla="*/ 12 h 136"/>
                  <a:gd name="T2" fmla="*/ 126 w 146"/>
                  <a:gd name="T3" fmla="*/ 6 h 136"/>
                  <a:gd name="T4" fmla="*/ 118 w 146"/>
                  <a:gd name="T5" fmla="*/ 0 h 136"/>
                  <a:gd name="T6" fmla="*/ 90 w 146"/>
                  <a:gd name="T7" fmla="*/ 6 h 136"/>
                  <a:gd name="T8" fmla="*/ 70 w 146"/>
                  <a:gd name="T9" fmla="*/ 12 h 136"/>
                  <a:gd name="T10" fmla="*/ 56 w 146"/>
                  <a:gd name="T11" fmla="*/ 20 h 136"/>
                  <a:gd name="T12" fmla="*/ 62 w 146"/>
                  <a:gd name="T13" fmla="*/ 26 h 136"/>
                  <a:gd name="T14" fmla="*/ 78 w 146"/>
                  <a:gd name="T15" fmla="*/ 26 h 136"/>
                  <a:gd name="T16" fmla="*/ 90 w 146"/>
                  <a:gd name="T17" fmla="*/ 20 h 136"/>
                  <a:gd name="T18" fmla="*/ 84 w 146"/>
                  <a:gd name="T19" fmla="*/ 34 h 136"/>
                  <a:gd name="T20" fmla="*/ 84 w 146"/>
                  <a:gd name="T21" fmla="*/ 48 h 136"/>
                  <a:gd name="T22" fmla="*/ 84 w 146"/>
                  <a:gd name="T23" fmla="*/ 54 h 136"/>
                  <a:gd name="T24" fmla="*/ 70 w 146"/>
                  <a:gd name="T25" fmla="*/ 62 h 136"/>
                  <a:gd name="T26" fmla="*/ 56 w 146"/>
                  <a:gd name="T27" fmla="*/ 76 h 136"/>
                  <a:gd name="T28" fmla="*/ 42 w 146"/>
                  <a:gd name="T29" fmla="*/ 76 h 136"/>
                  <a:gd name="T30" fmla="*/ 28 w 146"/>
                  <a:gd name="T31" fmla="*/ 76 h 136"/>
                  <a:gd name="T32" fmla="*/ 14 w 146"/>
                  <a:gd name="T33" fmla="*/ 68 h 136"/>
                  <a:gd name="T34" fmla="*/ 8 w 146"/>
                  <a:gd name="T35" fmla="*/ 82 h 136"/>
                  <a:gd name="T36" fmla="*/ 14 w 146"/>
                  <a:gd name="T37" fmla="*/ 88 h 136"/>
                  <a:gd name="T38" fmla="*/ 22 w 146"/>
                  <a:gd name="T39" fmla="*/ 96 h 136"/>
                  <a:gd name="T40" fmla="*/ 14 w 146"/>
                  <a:gd name="T41" fmla="*/ 102 h 136"/>
                  <a:gd name="T42" fmla="*/ 36 w 146"/>
                  <a:gd name="T43" fmla="*/ 96 h 136"/>
                  <a:gd name="T44" fmla="*/ 48 w 146"/>
                  <a:gd name="T45" fmla="*/ 96 h 136"/>
                  <a:gd name="T46" fmla="*/ 48 w 146"/>
                  <a:gd name="T47" fmla="*/ 110 h 136"/>
                  <a:gd name="T48" fmla="*/ 48 w 146"/>
                  <a:gd name="T49" fmla="*/ 110 h 136"/>
                  <a:gd name="T50" fmla="*/ 62 w 146"/>
                  <a:gd name="T51" fmla="*/ 116 h 136"/>
                  <a:gd name="T52" fmla="*/ 62 w 146"/>
                  <a:gd name="T53" fmla="*/ 124 h 136"/>
                  <a:gd name="T54" fmla="*/ 78 w 146"/>
                  <a:gd name="T55" fmla="*/ 136 h 136"/>
                  <a:gd name="T56" fmla="*/ 98 w 146"/>
                  <a:gd name="T57" fmla="*/ 136 h 136"/>
                  <a:gd name="T58" fmla="*/ 112 w 146"/>
                  <a:gd name="T59" fmla="*/ 130 h 136"/>
                  <a:gd name="T60" fmla="*/ 118 w 146"/>
                  <a:gd name="T61" fmla="*/ 124 h 136"/>
                  <a:gd name="T62" fmla="*/ 112 w 146"/>
                  <a:gd name="T63" fmla="*/ 110 h 136"/>
                  <a:gd name="T64" fmla="*/ 112 w 146"/>
                  <a:gd name="T65" fmla="*/ 96 h 136"/>
                  <a:gd name="T66" fmla="*/ 126 w 146"/>
                  <a:gd name="T67" fmla="*/ 76 h 136"/>
                  <a:gd name="T68" fmla="*/ 126 w 146"/>
                  <a:gd name="T69" fmla="*/ 76 h 136"/>
                  <a:gd name="T70" fmla="*/ 132 w 146"/>
                  <a:gd name="T71" fmla="*/ 62 h 136"/>
                  <a:gd name="T72" fmla="*/ 140 w 146"/>
                  <a:gd name="T73" fmla="*/ 48 h 136"/>
                  <a:gd name="T74" fmla="*/ 146 w 146"/>
                  <a:gd name="T75" fmla="*/ 34 h 136"/>
                  <a:gd name="T76" fmla="*/ 140 w 146"/>
                  <a:gd name="T77" fmla="*/ 20 h 136"/>
                  <a:gd name="T78" fmla="*/ 140 w 146"/>
                  <a:gd name="T79"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6" h="136">
                    <a:moveTo>
                      <a:pt x="140" y="20"/>
                    </a:moveTo>
                    <a:lnTo>
                      <a:pt x="132" y="12"/>
                    </a:lnTo>
                    <a:lnTo>
                      <a:pt x="132" y="6"/>
                    </a:lnTo>
                    <a:lnTo>
                      <a:pt x="126" y="6"/>
                    </a:lnTo>
                    <a:lnTo>
                      <a:pt x="118" y="6"/>
                    </a:lnTo>
                    <a:lnTo>
                      <a:pt x="118" y="0"/>
                    </a:lnTo>
                    <a:lnTo>
                      <a:pt x="98" y="6"/>
                    </a:lnTo>
                    <a:lnTo>
                      <a:pt x="90" y="6"/>
                    </a:lnTo>
                    <a:lnTo>
                      <a:pt x="84" y="12"/>
                    </a:lnTo>
                    <a:lnTo>
                      <a:pt x="70" y="12"/>
                    </a:lnTo>
                    <a:lnTo>
                      <a:pt x="62" y="20"/>
                    </a:lnTo>
                    <a:lnTo>
                      <a:pt x="56" y="20"/>
                    </a:lnTo>
                    <a:lnTo>
                      <a:pt x="56" y="26"/>
                    </a:lnTo>
                    <a:lnTo>
                      <a:pt x="62" y="26"/>
                    </a:lnTo>
                    <a:lnTo>
                      <a:pt x="70" y="20"/>
                    </a:lnTo>
                    <a:lnTo>
                      <a:pt x="78" y="26"/>
                    </a:lnTo>
                    <a:lnTo>
                      <a:pt x="84" y="20"/>
                    </a:lnTo>
                    <a:lnTo>
                      <a:pt x="90" y="20"/>
                    </a:lnTo>
                    <a:lnTo>
                      <a:pt x="90" y="26"/>
                    </a:lnTo>
                    <a:lnTo>
                      <a:pt x="84" y="34"/>
                    </a:lnTo>
                    <a:lnTo>
                      <a:pt x="84" y="40"/>
                    </a:lnTo>
                    <a:lnTo>
                      <a:pt x="84" y="48"/>
                    </a:lnTo>
                    <a:lnTo>
                      <a:pt x="78" y="48"/>
                    </a:lnTo>
                    <a:lnTo>
                      <a:pt x="84" y="54"/>
                    </a:lnTo>
                    <a:lnTo>
                      <a:pt x="78" y="62"/>
                    </a:lnTo>
                    <a:lnTo>
                      <a:pt x="70" y="62"/>
                    </a:lnTo>
                    <a:lnTo>
                      <a:pt x="62" y="68"/>
                    </a:lnTo>
                    <a:lnTo>
                      <a:pt x="56" y="76"/>
                    </a:lnTo>
                    <a:lnTo>
                      <a:pt x="48" y="68"/>
                    </a:lnTo>
                    <a:lnTo>
                      <a:pt x="42" y="76"/>
                    </a:lnTo>
                    <a:lnTo>
                      <a:pt x="36" y="76"/>
                    </a:lnTo>
                    <a:lnTo>
                      <a:pt x="28" y="76"/>
                    </a:lnTo>
                    <a:lnTo>
                      <a:pt x="22" y="76"/>
                    </a:lnTo>
                    <a:lnTo>
                      <a:pt x="14" y="68"/>
                    </a:lnTo>
                    <a:lnTo>
                      <a:pt x="8" y="76"/>
                    </a:lnTo>
                    <a:lnTo>
                      <a:pt x="8" y="82"/>
                    </a:lnTo>
                    <a:lnTo>
                      <a:pt x="0" y="88"/>
                    </a:lnTo>
                    <a:lnTo>
                      <a:pt x="14" y="88"/>
                    </a:lnTo>
                    <a:lnTo>
                      <a:pt x="22" y="88"/>
                    </a:lnTo>
                    <a:lnTo>
                      <a:pt x="22" y="96"/>
                    </a:lnTo>
                    <a:lnTo>
                      <a:pt x="14" y="96"/>
                    </a:lnTo>
                    <a:lnTo>
                      <a:pt x="14" y="102"/>
                    </a:lnTo>
                    <a:lnTo>
                      <a:pt x="28" y="102"/>
                    </a:lnTo>
                    <a:lnTo>
                      <a:pt x="36" y="96"/>
                    </a:lnTo>
                    <a:lnTo>
                      <a:pt x="42" y="96"/>
                    </a:lnTo>
                    <a:lnTo>
                      <a:pt x="48" y="96"/>
                    </a:lnTo>
                    <a:lnTo>
                      <a:pt x="48" y="102"/>
                    </a:lnTo>
                    <a:lnTo>
                      <a:pt x="48" y="110"/>
                    </a:lnTo>
                    <a:lnTo>
                      <a:pt x="56" y="110"/>
                    </a:lnTo>
                    <a:lnTo>
                      <a:pt x="48" y="110"/>
                    </a:lnTo>
                    <a:lnTo>
                      <a:pt x="48" y="116"/>
                    </a:lnTo>
                    <a:lnTo>
                      <a:pt x="62" y="116"/>
                    </a:lnTo>
                    <a:lnTo>
                      <a:pt x="70" y="116"/>
                    </a:lnTo>
                    <a:lnTo>
                      <a:pt x="62" y="124"/>
                    </a:lnTo>
                    <a:lnTo>
                      <a:pt x="70" y="130"/>
                    </a:lnTo>
                    <a:lnTo>
                      <a:pt x="78" y="136"/>
                    </a:lnTo>
                    <a:lnTo>
                      <a:pt x="84" y="136"/>
                    </a:lnTo>
                    <a:lnTo>
                      <a:pt x="98" y="136"/>
                    </a:lnTo>
                    <a:lnTo>
                      <a:pt x="104" y="136"/>
                    </a:lnTo>
                    <a:lnTo>
                      <a:pt x="112" y="130"/>
                    </a:lnTo>
                    <a:lnTo>
                      <a:pt x="112" y="124"/>
                    </a:lnTo>
                    <a:lnTo>
                      <a:pt x="118" y="124"/>
                    </a:lnTo>
                    <a:lnTo>
                      <a:pt x="118" y="110"/>
                    </a:lnTo>
                    <a:lnTo>
                      <a:pt x="112" y="110"/>
                    </a:lnTo>
                    <a:lnTo>
                      <a:pt x="112" y="102"/>
                    </a:lnTo>
                    <a:lnTo>
                      <a:pt x="112" y="96"/>
                    </a:lnTo>
                    <a:lnTo>
                      <a:pt x="118" y="88"/>
                    </a:lnTo>
                    <a:lnTo>
                      <a:pt x="126" y="76"/>
                    </a:lnTo>
                    <a:lnTo>
                      <a:pt x="118" y="76"/>
                    </a:lnTo>
                    <a:lnTo>
                      <a:pt x="126" y="76"/>
                    </a:lnTo>
                    <a:lnTo>
                      <a:pt x="132" y="68"/>
                    </a:lnTo>
                    <a:lnTo>
                      <a:pt x="132" y="62"/>
                    </a:lnTo>
                    <a:lnTo>
                      <a:pt x="132" y="54"/>
                    </a:lnTo>
                    <a:lnTo>
                      <a:pt x="140" y="48"/>
                    </a:lnTo>
                    <a:lnTo>
                      <a:pt x="146" y="40"/>
                    </a:lnTo>
                    <a:lnTo>
                      <a:pt x="146" y="34"/>
                    </a:lnTo>
                    <a:lnTo>
                      <a:pt x="140" y="26"/>
                    </a:lnTo>
                    <a:lnTo>
                      <a:pt x="140" y="20"/>
                    </a:lnTo>
                    <a:lnTo>
                      <a:pt x="140" y="20"/>
                    </a:lnTo>
                    <a:lnTo>
                      <a:pt x="140" y="20"/>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9" name="Freeform 43"/>
              <p:cNvSpPr>
                <a:spLocks/>
              </p:cNvSpPr>
              <p:nvPr/>
            </p:nvSpPr>
            <p:spPr bwMode="gray">
              <a:xfrm>
                <a:off x="3563173" y="2041076"/>
                <a:ext cx="317570" cy="447774"/>
              </a:xfrm>
              <a:custGeom>
                <a:avLst/>
                <a:gdLst>
                  <a:gd name="T0" fmla="*/ 82 w 200"/>
                  <a:gd name="T1" fmla="*/ 276 h 282"/>
                  <a:gd name="T2" fmla="*/ 62 w 200"/>
                  <a:gd name="T3" fmla="*/ 268 h 282"/>
                  <a:gd name="T4" fmla="*/ 54 w 200"/>
                  <a:gd name="T5" fmla="*/ 268 h 282"/>
                  <a:gd name="T6" fmla="*/ 34 w 200"/>
                  <a:gd name="T7" fmla="*/ 262 h 282"/>
                  <a:gd name="T8" fmla="*/ 28 w 200"/>
                  <a:gd name="T9" fmla="*/ 282 h 282"/>
                  <a:gd name="T10" fmla="*/ 14 w 200"/>
                  <a:gd name="T11" fmla="*/ 262 h 282"/>
                  <a:gd name="T12" fmla="*/ 6 w 200"/>
                  <a:gd name="T13" fmla="*/ 276 h 282"/>
                  <a:gd name="T14" fmla="*/ 0 w 200"/>
                  <a:gd name="T15" fmla="*/ 254 h 282"/>
                  <a:gd name="T16" fmla="*/ 6 w 200"/>
                  <a:gd name="T17" fmla="*/ 240 h 282"/>
                  <a:gd name="T18" fmla="*/ 20 w 200"/>
                  <a:gd name="T19" fmla="*/ 228 h 282"/>
                  <a:gd name="T20" fmla="*/ 42 w 200"/>
                  <a:gd name="T21" fmla="*/ 214 h 282"/>
                  <a:gd name="T22" fmla="*/ 54 w 200"/>
                  <a:gd name="T23" fmla="*/ 200 h 282"/>
                  <a:gd name="T24" fmla="*/ 42 w 200"/>
                  <a:gd name="T25" fmla="*/ 186 h 282"/>
                  <a:gd name="T26" fmla="*/ 28 w 200"/>
                  <a:gd name="T27" fmla="*/ 180 h 282"/>
                  <a:gd name="T28" fmla="*/ 42 w 200"/>
                  <a:gd name="T29" fmla="*/ 164 h 282"/>
                  <a:gd name="T30" fmla="*/ 20 w 200"/>
                  <a:gd name="T31" fmla="*/ 172 h 282"/>
                  <a:gd name="T32" fmla="*/ 14 w 200"/>
                  <a:gd name="T33" fmla="*/ 164 h 282"/>
                  <a:gd name="T34" fmla="*/ 34 w 200"/>
                  <a:gd name="T35" fmla="*/ 144 h 282"/>
                  <a:gd name="T36" fmla="*/ 34 w 200"/>
                  <a:gd name="T37" fmla="*/ 138 h 282"/>
                  <a:gd name="T38" fmla="*/ 54 w 200"/>
                  <a:gd name="T39" fmla="*/ 118 h 282"/>
                  <a:gd name="T40" fmla="*/ 34 w 200"/>
                  <a:gd name="T41" fmla="*/ 124 h 282"/>
                  <a:gd name="T42" fmla="*/ 14 w 200"/>
                  <a:gd name="T43" fmla="*/ 124 h 282"/>
                  <a:gd name="T44" fmla="*/ 28 w 200"/>
                  <a:gd name="T45" fmla="*/ 104 h 282"/>
                  <a:gd name="T46" fmla="*/ 42 w 200"/>
                  <a:gd name="T47" fmla="*/ 90 h 282"/>
                  <a:gd name="T48" fmla="*/ 54 w 200"/>
                  <a:gd name="T49" fmla="*/ 76 h 282"/>
                  <a:gd name="T50" fmla="*/ 48 w 200"/>
                  <a:gd name="T51" fmla="*/ 70 h 282"/>
                  <a:gd name="T52" fmla="*/ 48 w 200"/>
                  <a:gd name="T53" fmla="*/ 48 h 282"/>
                  <a:gd name="T54" fmla="*/ 68 w 200"/>
                  <a:gd name="T55" fmla="*/ 42 h 282"/>
                  <a:gd name="T56" fmla="*/ 82 w 200"/>
                  <a:gd name="T57" fmla="*/ 56 h 282"/>
                  <a:gd name="T58" fmla="*/ 76 w 200"/>
                  <a:gd name="T59" fmla="*/ 34 h 282"/>
                  <a:gd name="T60" fmla="*/ 82 w 200"/>
                  <a:gd name="T61" fmla="*/ 20 h 282"/>
                  <a:gd name="T62" fmla="*/ 96 w 200"/>
                  <a:gd name="T63" fmla="*/ 20 h 282"/>
                  <a:gd name="T64" fmla="*/ 110 w 200"/>
                  <a:gd name="T65" fmla="*/ 0 h 282"/>
                  <a:gd name="T66" fmla="*/ 124 w 200"/>
                  <a:gd name="T67" fmla="*/ 14 h 282"/>
                  <a:gd name="T68" fmla="*/ 144 w 200"/>
                  <a:gd name="T69" fmla="*/ 20 h 282"/>
                  <a:gd name="T70" fmla="*/ 166 w 200"/>
                  <a:gd name="T71" fmla="*/ 20 h 282"/>
                  <a:gd name="T72" fmla="*/ 172 w 200"/>
                  <a:gd name="T73" fmla="*/ 34 h 282"/>
                  <a:gd name="T74" fmla="*/ 152 w 200"/>
                  <a:gd name="T75" fmla="*/ 48 h 282"/>
                  <a:gd name="T76" fmla="*/ 132 w 200"/>
                  <a:gd name="T77" fmla="*/ 56 h 282"/>
                  <a:gd name="T78" fmla="*/ 118 w 200"/>
                  <a:gd name="T79" fmla="*/ 70 h 282"/>
                  <a:gd name="T80" fmla="*/ 110 w 200"/>
                  <a:gd name="T81" fmla="*/ 82 h 282"/>
                  <a:gd name="T82" fmla="*/ 104 w 200"/>
                  <a:gd name="T83" fmla="*/ 96 h 282"/>
                  <a:gd name="T84" fmla="*/ 132 w 200"/>
                  <a:gd name="T85" fmla="*/ 90 h 282"/>
                  <a:gd name="T86" fmla="*/ 166 w 200"/>
                  <a:gd name="T87" fmla="*/ 90 h 282"/>
                  <a:gd name="T88" fmla="*/ 180 w 200"/>
                  <a:gd name="T89" fmla="*/ 104 h 282"/>
                  <a:gd name="T90" fmla="*/ 200 w 200"/>
                  <a:gd name="T91" fmla="*/ 104 h 282"/>
                  <a:gd name="T92" fmla="*/ 194 w 200"/>
                  <a:gd name="T93" fmla="*/ 124 h 282"/>
                  <a:gd name="T94" fmla="*/ 180 w 200"/>
                  <a:gd name="T95" fmla="*/ 132 h 282"/>
                  <a:gd name="T96" fmla="*/ 180 w 200"/>
                  <a:gd name="T97" fmla="*/ 152 h 282"/>
                  <a:gd name="T98" fmla="*/ 158 w 200"/>
                  <a:gd name="T99" fmla="*/ 172 h 282"/>
                  <a:gd name="T100" fmla="*/ 138 w 200"/>
                  <a:gd name="T101" fmla="*/ 172 h 282"/>
                  <a:gd name="T102" fmla="*/ 118 w 200"/>
                  <a:gd name="T103" fmla="*/ 180 h 282"/>
                  <a:gd name="T104" fmla="*/ 138 w 200"/>
                  <a:gd name="T105" fmla="*/ 186 h 282"/>
                  <a:gd name="T106" fmla="*/ 118 w 200"/>
                  <a:gd name="T107" fmla="*/ 200 h 282"/>
                  <a:gd name="T108" fmla="*/ 96 w 200"/>
                  <a:gd name="T109" fmla="*/ 194 h 282"/>
                  <a:gd name="T110" fmla="*/ 96 w 200"/>
                  <a:gd name="T111" fmla="*/ 200 h 282"/>
                  <a:gd name="T112" fmla="*/ 124 w 200"/>
                  <a:gd name="T113" fmla="*/ 206 h 282"/>
                  <a:gd name="T114" fmla="*/ 144 w 200"/>
                  <a:gd name="T115" fmla="*/ 220 h 282"/>
                  <a:gd name="T116" fmla="*/ 138 w 200"/>
                  <a:gd name="T117" fmla="*/ 248 h 282"/>
                  <a:gd name="T118" fmla="*/ 132 w 200"/>
                  <a:gd name="T119" fmla="*/ 254 h 282"/>
                  <a:gd name="T120" fmla="*/ 118 w 200"/>
                  <a:gd name="T121" fmla="*/ 262 h 282"/>
                  <a:gd name="T122" fmla="*/ 104 w 200"/>
                  <a:gd name="T123" fmla="*/ 276 h 282"/>
                  <a:gd name="T124" fmla="*/ 90 w 200"/>
                  <a:gd name="T125" fmla="*/ 276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 h="282">
                    <a:moveTo>
                      <a:pt x="90" y="276"/>
                    </a:moveTo>
                    <a:lnTo>
                      <a:pt x="90" y="268"/>
                    </a:lnTo>
                    <a:lnTo>
                      <a:pt x="82" y="276"/>
                    </a:lnTo>
                    <a:lnTo>
                      <a:pt x="76" y="276"/>
                    </a:lnTo>
                    <a:lnTo>
                      <a:pt x="68" y="268"/>
                    </a:lnTo>
                    <a:lnTo>
                      <a:pt x="62" y="268"/>
                    </a:lnTo>
                    <a:lnTo>
                      <a:pt x="62" y="276"/>
                    </a:lnTo>
                    <a:lnTo>
                      <a:pt x="54" y="276"/>
                    </a:lnTo>
                    <a:lnTo>
                      <a:pt x="54" y="268"/>
                    </a:lnTo>
                    <a:lnTo>
                      <a:pt x="42" y="276"/>
                    </a:lnTo>
                    <a:lnTo>
                      <a:pt x="42" y="268"/>
                    </a:lnTo>
                    <a:lnTo>
                      <a:pt x="34" y="262"/>
                    </a:lnTo>
                    <a:lnTo>
                      <a:pt x="28" y="268"/>
                    </a:lnTo>
                    <a:lnTo>
                      <a:pt x="28" y="276"/>
                    </a:lnTo>
                    <a:lnTo>
                      <a:pt x="28" y="282"/>
                    </a:lnTo>
                    <a:lnTo>
                      <a:pt x="20" y="276"/>
                    </a:lnTo>
                    <a:lnTo>
                      <a:pt x="20" y="268"/>
                    </a:lnTo>
                    <a:lnTo>
                      <a:pt x="14" y="262"/>
                    </a:lnTo>
                    <a:lnTo>
                      <a:pt x="6" y="262"/>
                    </a:lnTo>
                    <a:lnTo>
                      <a:pt x="6" y="268"/>
                    </a:lnTo>
                    <a:lnTo>
                      <a:pt x="6" y="276"/>
                    </a:lnTo>
                    <a:lnTo>
                      <a:pt x="0" y="276"/>
                    </a:lnTo>
                    <a:lnTo>
                      <a:pt x="0" y="268"/>
                    </a:lnTo>
                    <a:lnTo>
                      <a:pt x="0" y="254"/>
                    </a:lnTo>
                    <a:lnTo>
                      <a:pt x="0" y="248"/>
                    </a:lnTo>
                    <a:lnTo>
                      <a:pt x="6" y="248"/>
                    </a:lnTo>
                    <a:lnTo>
                      <a:pt x="6" y="240"/>
                    </a:lnTo>
                    <a:lnTo>
                      <a:pt x="14" y="240"/>
                    </a:lnTo>
                    <a:lnTo>
                      <a:pt x="20" y="234"/>
                    </a:lnTo>
                    <a:lnTo>
                      <a:pt x="20" y="228"/>
                    </a:lnTo>
                    <a:lnTo>
                      <a:pt x="28" y="228"/>
                    </a:lnTo>
                    <a:lnTo>
                      <a:pt x="34" y="220"/>
                    </a:lnTo>
                    <a:lnTo>
                      <a:pt x="42" y="214"/>
                    </a:lnTo>
                    <a:lnTo>
                      <a:pt x="48" y="206"/>
                    </a:lnTo>
                    <a:lnTo>
                      <a:pt x="48" y="200"/>
                    </a:lnTo>
                    <a:lnTo>
                      <a:pt x="54" y="200"/>
                    </a:lnTo>
                    <a:lnTo>
                      <a:pt x="54" y="194"/>
                    </a:lnTo>
                    <a:lnTo>
                      <a:pt x="48" y="194"/>
                    </a:lnTo>
                    <a:lnTo>
                      <a:pt x="42" y="186"/>
                    </a:lnTo>
                    <a:lnTo>
                      <a:pt x="34" y="186"/>
                    </a:lnTo>
                    <a:lnTo>
                      <a:pt x="28" y="186"/>
                    </a:lnTo>
                    <a:lnTo>
                      <a:pt x="28" y="180"/>
                    </a:lnTo>
                    <a:lnTo>
                      <a:pt x="34" y="180"/>
                    </a:lnTo>
                    <a:lnTo>
                      <a:pt x="42" y="172"/>
                    </a:lnTo>
                    <a:lnTo>
                      <a:pt x="42" y="164"/>
                    </a:lnTo>
                    <a:lnTo>
                      <a:pt x="34" y="158"/>
                    </a:lnTo>
                    <a:lnTo>
                      <a:pt x="28" y="158"/>
                    </a:lnTo>
                    <a:lnTo>
                      <a:pt x="20" y="172"/>
                    </a:lnTo>
                    <a:lnTo>
                      <a:pt x="14" y="180"/>
                    </a:lnTo>
                    <a:lnTo>
                      <a:pt x="14" y="172"/>
                    </a:lnTo>
                    <a:lnTo>
                      <a:pt x="14" y="164"/>
                    </a:lnTo>
                    <a:lnTo>
                      <a:pt x="20" y="152"/>
                    </a:lnTo>
                    <a:lnTo>
                      <a:pt x="28" y="144"/>
                    </a:lnTo>
                    <a:lnTo>
                      <a:pt x="34" y="144"/>
                    </a:lnTo>
                    <a:lnTo>
                      <a:pt x="42" y="144"/>
                    </a:lnTo>
                    <a:lnTo>
                      <a:pt x="42" y="138"/>
                    </a:lnTo>
                    <a:lnTo>
                      <a:pt x="34" y="138"/>
                    </a:lnTo>
                    <a:lnTo>
                      <a:pt x="42" y="132"/>
                    </a:lnTo>
                    <a:lnTo>
                      <a:pt x="48" y="124"/>
                    </a:lnTo>
                    <a:lnTo>
                      <a:pt x="54" y="118"/>
                    </a:lnTo>
                    <a:lnTo>
                      <a:pt x="48" y="118"/>
                    </a:lnTo>
                    <a:lnTo>
                      <a:pt x="42" y="124"/>
                    </a:lnTo>
                    <a:lnTo>
                      <a:pt x="34" y="124"/>
                    </a:lnTo>
                    <a:lnTo>
                      <a:pt x="28" y="138"/>
                    </a:lnTo>
                    <a:lnTo>
                      <a:pt x="20" y="132"/>
                    </a:lnTo>
                    <a:lnTo>
                      <a:pt x="14" y="124"/>
                    </a:lnTo>
                    <a:lnTo>
                      <a:pt x="28" y="118"/>
                    </a:lnTo>
                    <a:lnTo>
                      <a:pt x="28" y="110"/>
                    </a:lnTo>
                    <a:lnTo>
                      <a:pt x="28" y="104"/>
                    </a:lnTo>
                    <a:lnTo>
                      <a:pt x="34" y="96"/>
                    </a:lnTo>
                    <a:lnTo>
                      <a:pt x="42" y="96"/>
                    </a:lnTo>
                    <a:lnTo>
                      <a:pt x="42" y="90"/>
                    </a:lnTo>
                    <a:lnTo>
                      <a:pt x="42" y="82"/>
                    </a:lnTo>
                    <a:lnTo>
                      <a:pt x="54" y="82"/>
                    </a:lnTo>
                    <a:lnTo>
                      <a:pt x="54" y="76"/>
                    </a:lnTo>
                    <a:lnTo>
                      <a:pt x="48" y="70"/>
                    </a:lnTo>
                    <a:lnTo>
                      <a:pt x="42" y="70"/>
                    </a:lnTo>
                    <a:lnTo>
                      <a:pt x="48" y="70"/>
                    </a:lnTo>
                    <a:lnTo>
                      <a:pt x="48" y="62"/>
                    </a:lnTo>
                    <a:lnTo>
                      <a:pt x="48" y="56"/>
                    </a:lnTo>
                    <a:lnTo>
                      <a:pt x="48" y="48"/>
                    </a:lnTo>
                    <a:lnTo>
                      <a:pt x="54" y="42"/>
                    </a:lnTo>
                    <a:lnTo>
                      <a:pt x="62" y="42"/>
                    </a:lnTo>
                    <a:lnTo>
                      <a:pt x="68" y="42"/>
                    </a:lnTo>
                    <a:lnTo>
                      <a:pt x="68" y="48"/>
                    </a:lnTo>
                    <a:lnTo>
                      <a:pt x="76" y="48"/>
                    </a:lnTo>
                    <a:lnTo>
                      <a:pt x="82" y="56"/>
                    </a:lnTo>
                    <a:lnTo>
                      <a:pt x="82" y="48"/>
                    </a:lnTo>
                    <a:lnTo>
                      <a:pt x="82" y="42"/>
                    </a:lnTo>
                    <a:lnTo>
                      <a:pt x="76" y="34"/>
                    </a:lnTo>
                    <a:lnTo>
                      <a:pt x="82" y="28"/>
                    </a:lnTo>
                    <a:lnTo>
                      <a:pt x="90" y="28"/>
                    </a:lnTo>
                    <a:lnTo>
                      <a:pt x="82" y="20"/>
                    </a:lnTo>
                    <a:lnTo>
                      <a:pt x="96" y="28"/>
                    </a:lnTo>
                    <a:lnTo>
                      <a:pt x="104" y="20"/>
                    </a:lnTo>
                    <a:lnTo>
                      <a:pt x="96" y="20"/>
                    </a:lnTo>
                    <a:lnTo>
                      <a:pt x="104" y="6"/>
                    </a:lnTo>
                    <a:lnTo>
                      <a:pt x="104" y="0"/>
                    </a:lnTo>
                    <a:lnTo>
                      <a:pt x="110" y="0"/>
                    </a:lnTo>
                    <a:lnTo>
                      <a:pt x="124" y="6"/>
                    </a:lnTo>
                    <a:lnTo>
                      <a:pt x="118" y="6"/>
                    </a:lnTo>
                    <a:lnTo>
                      <a:pt x="124" y="14"/>
                    </a:lnTo>
                    <a:lnTo>
                      <a:pt x="132" y="6"/>
                    </a:lnTo>
                    <a:lnTo>
                      <a:pt x="132" y="14"/>
                    </a:lnTo>
                    <a:lnTo>
                      <a:pt x="144" y="20"/>
                    </a:lnTo>
                    <a:lnTo>
                      <a:pt x="158" y="14"/>
                    </a:lnTo>
                    <a:lnTo>
                      <a:pt x="158" y="20"/>
                    </a:lnTo>
                    <a:lnTo>
                      <a:pt x="166" y="20"/>
                    </a:lnTo>
                    <a:lnTo>
                      <a:pt x="172" y="20"/>
                    </a:lnTo>
                    <a:lnTo>
                      <a:pt x="180" y="28"/>
                    </a:lnTo>
                    <a:lnTo>
                      <a:pt x="172" y="34"/>
                    </a:lnTo>
                    <a:lnTo>
                      <a:pt x="172" y="42"/>
                    </a:lnTo>
                    <a:lnTo>
                      <a:pt x="158" y="42"/>
                    </a:lnTo>
                    <a:lnTo>
                      <a:pt x="152" y="48"/>
                    </a:lnTo>
                    <a:lnTo>
                      <a:pt x="144" y="56"/>
                    </a:lnTo>
                    <a:lnTo>
                      <a:pt x="138" y="56"/>
                    </a:lnTo>
                    <a:lnTo>
                      <a:pt x="132" y="56"/>
                    </a:lnTo>
                    <a:lnTo>
                      <a:pt x="124" y="62"/>
                    </a:lnTo>
                    <a:lnTo>
                      <a:pt x="124" y="70"/>
                    </a:lnTo>
                    <a:lnTo>
                      <a:pt x="118" y="70"/>
                    </a:lnTo>
                    <a:lnTo>
                      <a:pt x="104" y="76"/>
                    </a:lnTo>
                    <a:lnTo>
                      <a:pt x="104" y="82"/>
                    </a:lnTo>
                    <a:lnTo>
                      <a:pt x="110" y="82"/>
                    </a:lnTo>
                    <a:lnTo>
                      <a:pt x="104" y="82"/>
                    </a:lnTo>
                    <a:lnTo>
                      <a:pt x="104" y="90"/>
                    </a:lnTo>
                    <a:lnTo>
                      <a:pt x="104" y="96"/>
                    </a:lnTo>
                    <a:lnTo>
                      <a:pt x="110" y="96"/>
                    </a:lnTo>
                    <a:lnTo>
                      <a:pt x="124" y="90"/>
                    </a:lnTo>
                    <a:lnTo>
                      <a:pt x="132" y="90"/>
                    </a:lnTo>
                    <a:lnTo>
                      <a:pt x="144" y="90"/>
                    </a:lnTo>
                    <a:lnTo>
                      <a:pt x="152" y="90"/>
                    </a:lnTo>
                    <a:lnTo>
                      <a:pt x="166" y="90"/>
                    </a:lnTo>
                    <a:lnTo>
                      <a:pt x="172" y="90"/>
                    </a:lnTo>
                    <a:lnTo>
                      <a:pt x="180" y="96"/>
                    </a:lnTo>
                    <a:lnTo>
                      <a:pt x="180" y="104"/>
                    </a:lnTo>
                    <a:lnTo>
                      <a:pt x="186" y="104"/>
                    </a:lnTo>
                    <a:lnTo>
                      <a:pt x="194" y="104"/>
                    </a:lnTo>
                    <a:lnTo>
                      <a:pt x="200" y="104"/>
                    </a:lnTo>
                    <a:lnTo>
                      <a:pt x="200" y="110"/>
                    </a:lnTo>
                    <a:lnTo>
                      <a:pt x="200" y="118"/>
                    </a:lnTo>
                    <a:lnTo>
                      <a:pt x="194" y="124"/>
                    </a:lnTo>
                    <a:lnTo>
                      <a:pt x="186" y="124"/>
                    </a:lnTo>
                    <a:lnTo>
                      <a:pt x="186" y="132"/>
                    </a:lnTo>
                    <a:lnTo>
                      <a:pt x="180" y="132"/>
                    </a:lnTo>
                    <a:lnTo>
                      <a:pt x="172" y="138"/>
                    </a:lnTo>
                    <a:lnTo>
                      <a:pt x="180" y="144"/>
                    </a:lnTo>
                    <a:lnTo>
                      <a:pt x="180" y="152"/>
                    </a:lnTo>
                    <a:lnTo>
                      <a:pt x="172" y="158"/>
                    </a:lnTo>
                    <a:lnTo>
                      <a:pt x="158" y="164"/>
                    </a:lnTo>
                    <a:lnTo>
                      <a:pt x="158" y="172"/>
                    </a:lnTo>
                    <a:lnTo>
                      <a:pt x="152" y="172"/>
                    </a:lnTo>
                    <a:lnTo>
                      <a:pt x="144" y="180"/>
                    </a:lnTo>
                    <a:lnTo>
                      <a:pt x="138" y="172"/>
                    </a:lnTo>
                    <a:lnTo>
                      <a:pt x="132" y="172"/>
                    </a:lnTo>
                    <a:lnTo>
                      <a:pt x="118" y="172"/>
                    </a:lnTo>
                    <a:lnTo>
                      <a:pt x="118" y="180"/>
                    </a:lnTo>
                    <a:lnTo>
                      <a:pt x="124" y="180"/>
                    </a:lnTo>
                    <a:lnTo>
                      <a:pt x="132" y="186"/>
                    </a:lnTo>
                    <a:lnTo>
                      <a:pt x="138" y="186"/>
                    </a:lnTo>
                    <a:lnTo>
                      <a:pt x="132" y="194"/>
                    </a:lnTo>
                    <a:lnTo>
                      <a:pt x="118" y="194"/>
                    </a:lnTo>
                    <a:lnTo>
                      <a:pt x="118" y="200"/>
                    </a:lnTo>
                    <a:lnTo>
                      <a:pt x="110" y="200"/>
                    </a:lnTo>
                    <a:lnTo>
                      <a:pt x="104" y="200"/>
                    </a:lnTo>
                    <a:lnTo>
                      <a:pt x="96" y="194"/>
                    </a:lnTo>
                    <a:lnTo>
                      <a:pt x="90" y="194"/>
                    </a:lnTo>
                    <a:lnTo>
                      <a:pt x="90" y="200"/>
                    </a:lnTo>
                    <a:lnTo>
                      <a:pt x="96" y="200"/>
                    </a:lnTo>
                    <a:lnTo>
                      <a:pt x="104" y="206"/>
                    </a:lnTo>
                    <a:lnTo>
                      <a:pt x="110" y="206"/>
                    </a:lnTo>
                    <a:lnTo>
                      <a:pt x="124" y="206"/>
                    </a:lnTo>
                    <a:lnTo>
                      <a:pt x="132" y="206"/>
                    </a:lnTo>
                    <a:lnTo>
                      <a:pt x="138" y="214"/>
                    </a:lnTo>
                    <a:lnTo>
                      <a:pt x="144" y="220"/>
                    </a:lnTo>
                    <a:lnTo>
                      <a:pt x="152" y="234"/>
                    </a:lnTo>
                    <a:lnTo>
                      <a:pt x="144" y="248"/>
                    </a:lnTo>
                    <a:lnTo>
                      <a:pt x="138" y="248"/>
                    </a:lnTo>
                    <a:lnTo>
                      <a:pt x="144" y="254"/>
                    </a:lnTo>
                    <a:lnTo>
                      <a:pt x="138" y="262"/>
                    </a:lnTo>
                    <a:lnTo>
                      <a:pt x="132" y="254"/>
                    </a:lnTo>
                    <a:lnTo>
                      <a:pt x="124" y="254"/>
                    </a:lnTo>
                    <a:lnTo>
                      <a:pt x="124" y="262"/>
                    </a:lnTo>
                    <a:lnTo>
                      <a:pt x="118" y="262"/>
                    </a:lnTo>
                    <a:lnTo>
                      <a:pt x="118" y="268"/>
                    </a:lnTo>
                    <a:lnTo>
                      <a:pt x="110" y="268"/>
                    </a:lnTo>
                    <a:lnTo>
                      <a:pt x="104" y="276"/>
                    </a:lnTo>
                    <a:lnTo>
                      <a:pt x="96" y="282"/>
                    </a:lnTo>
                    <a:lnTo>
                      <a:pt x="90" y="282"/>
                    </a:lnTo>
                    <a:lnTo>
                      <a:pt x="90" y="276"/>
                    </a:lnTo>
                    <a:lnTo>
                      <a:pt x="90" y="276"/>
                    </a:lnTo>
                    <a:lnTo>
                      <a:pt x="90" y="276"/>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0" name="Freeform 44"/>
              <p:cNvSpPr>
                <a:spLocks/>
              </p:cNvSpPr>
              <p:nvPr>
                <p:custDataLst>
                  <p:tags r:id="rId137"/>
                </p:custDataLst>
              </p:nvPr>
            </p:nvSpPr>
            <p:spPr bwMode="gray">
              <a:xfrm>
                <a:off x="4114159" y="3619402"/>
                <a:ext cx="1036868" cy="1082915"/>
              </a:xfrm>
              <a:custGeom>
                <a:avLst/>
                <a:gdLst>
                  <a:gd name="T0" fmla="*/ 62 w 653"/>
                  <a:gd name="T1" fmla="*/ 208 h 682"/>
                  <a:gd name="T2" fmla="*/ 96 w 653"/>
                  <a:gd name="T3" fmla="*/ 172 h 682"/>
                  <a:gd name="T4" fmla="*/ 160 w 653"/>
                  <a:gd name="T5" fmla="*/ 194 h 682"/>
                  <a:gd name="T6" fmla="*/ 172 w 653"/>
                  <a:gd name="T7" fmla="*/ 186 h 682"/>
                  <a:gd name="T8" fmla="*/ 194 w 653"/>
                  <a:gd name="T9" fmla="*/ 248 h 682"/>
                  <a:gd name="T10" fmla="*/ 242 w 653"/>
                  <a:gd name="T11" fmla="*/ 332 h 682"/>
                  <a:gd name="T12" fmla="*/ 326 w 653"/>
                  <a:gd name="T13" fmla="*/ 420 h 682"/>
                  <a:gd name="T14" fmla="*/ 368 w 653"/>
                  <a:gd name="T15" fmla="*/ 442 h 682"/>
                  <a:gd name="T16" fmla="*/ 422 w 653"/>
                  <a:gd name="T17" fmla="*/ 490 h 682"/>
                  <a:gd name="T18" fmla="*/ 436 w 653"/>
                  <a:gd name="T19" fmla="*/ 524 h 682"/>
                  <a:gd name="T20" fmla="*/ 484 w 653"/>
                  <a:gd name="T21" fmla="*/ 544 h 682"/>
                  <a:gd name="T22" fmla="*/ 507 w 653"/>
                  <a:gd name="T23" fmla="*/ 620 h 682"/>
                  <a:gd name="T24" fmla="*/ 484 w 653"/>
                  <a:gd name="T25" fmla="*/ 642 h 682"/>
                  <a:gd name="T26" fmla="*/ 470 w 653"/>
                  <a:gd name="T27" fmla="*/ 676 h 682"/>
                  <a:gd name="T28" fmla="*/ 507 w 653"/>
                  <a:gd name="T29" fmla="*/ 676 h 682"/>
                  <a:gd name="T30" fmla="*/ 527 w 653"/>
                  <a:gd name="T31" fmla="*/ 642 h 682"/>
                  <a:gd name="T32" fmla="*/ 561 w 653"/>
                  <a:gd name="T33" fmla="*/ 620 h 682"/>
                  <a:gd name="T34" fmla="*/ 569 w 653"/>
                  <a:gd name="T35" fmla="*/ 586 h 682"/>
                  <a:gd name="T36" fmla="*/ 541 w 653"/>
                  <a:gd name="T37" fmla="*/ 560 h 682"/>
                  <a:gd name="T38" fmla="*/ 555 w 653"/>
                  <a:gd name="T39" fmla="*/ 518 h 682"/>
                  <a:gd name="T40" fmla="*/ 575 w 653"/>
                  <a:gd name="T41" fmla="*/ 504 h 682"/>
                  <a:gd name="T42" fmla="*/ 611 w 653"/>
                  <a:gd name="T43" fmla="*/ 518 h 682"/>
                  <a:gd name="T44" fmla="*/ 625 w 653"/>
                  <a:gd name="T45" fmla="*/ 544 h 682"/>
                  <a:gd name="T46" fmla="*/ 653 w 653"/>
                  <a:gd name="T47" fmla="*/ 530 h 682"/>
                  <a:gd name="T48" fmla="*/ 625 w 653"/>
                  <a:gd name="T49" fmla="*/ 482 h 682"/>
                  <a:gd name="T50" fmla="*/ 561 w 653"/>
                  <a:gd name="T51" fmla="*/ 454 h 682"/>
                  <a:gd name="T52" fmla="*/ 521 w 653"/>
                  <a:gd name="T53" fmla="*/ 434 h 682"/>
                  <a:gd name="T54" fmla="*/ 521 w 653"/>
                  <a:gd name="T55" fmla="*/ 414 h 682"/>
                  <a:gd name="T56" fmla="*/ 458 w 653"/>
                  <a:gd name="T57" fmla="*/ 394 h 682"/>
                  <a:gd name="T58" fmla="*/ 408 w 653"/>
                  <a:gd name="T59" fmla="*/ 338 h 682"/>
                  <a:gd name="T60" fmla="*/ 388 w 653"/>
                  <a:gd name="T61" fmla="*/ 276 h 682"/>
                  <a:gd name="T62" fmla="*/ 360 w 653"/>
                  <a:gd name="T63" fmla="*/ 242 h 682"/>
                  <a:gd name="T64" fmla="*/ 318 w 653"/>
                  <a:gd name="T65" fmla="*/ 214 h 682"/>
                  <a:gd name="T66" fmla="*/ 318 w 653"/>
                  <a:gd name="T67" fmla="*/ 172 h 682"/>
                  <a:gd name="T68" fmla="*/ 318 w 653"/>
                  <a:gd name="T69" fmla="*/ 146 h 682"/>
                  <a:gd name="T70" fmla="*/ 326 w 653"/>
                  <a:gd name="T71" fmla="*/ 118 h 682"/>
                  <a:gd name="T72" fmla="*/ 368 w 653"/>
                  <a:gd name="T73" fmla="*/ 110 h 682"/>
                  <a:gd name="T74" fmla="*/ 388 w 653"/>
                  <a:gd name="T75" fmla="*/ 110 h 682"/>
                  <a:gd name="T76" fmla="*/ 402 w 653"/>
                  <a:gd name="T77" fmla="*/ 90 h 682"/>
                  <a:gd name="T78" fmla="*/ 402 w 653"/>
                  <a:gd name="T79" fmla="*/ 56 h 682"/>
                  <a:gd name="T80" fmla="*/ 368 w 653"/>
                  <a:gd name="T81" fmla="*/ 42 h 682"/>
                  <a:gd name="T82" fmla="*/ 340 w 653"/>
                  <a:gd name="T83" fmla="*/ 22 h 682"/>
                  <a:gd name="T84" fmla="*/ 298 w 653"/>
                  <a:gd name="T85" fmla="*/ 8 h 682"/>
                  <a:gd name="T86" fmla="*/ 264 w 653"/>
                  <a:gd name="T87" fmla="*/ 14 h 682"/>
                  <a:gd name="T88" fmla="*/ 242 w 653"/>
                  <a:gd name="T89" fmla="*/ 0 h 682"/>
                  <a:gd name="T90" fmla="*/ 228 w 653"/>
                  <a:gd name="T91" fmla="*/ 22 h 682"/>
                  <a:gd name="T92" fmla="*/ 208 w 653"/>
                  <a:gd name="T93" fmla="*/ 42 h 682"/>
                  <a:gd name="T94" fmla="*/ 180 w 653"/>
                  <a:gd name="T95" fmla="*/ 28 h 682"/>
                  <a:gd name="T96" fmla="*/ 160 w 653"/>
                  <a:gd name="T97" fmla="*/ 42 h 682"/>
                  <a:gd name="T98" fmla="*/ 132 w 653"/>
                  <a:gd name="T99" fmla="*/ 50 h 682"/>
                  <a:gd name="T100" fmla="*/ 110 w 653"/>
                  <a:gd name="T101" fmla="*/ 22 h 682"/>
                  <a:gd name="T102" fmla="*/ 76 w 653"/>
                  <a:gd name="T103" fmla="*/ 50 h 682"/>
                  <a:gd name="T104" fmla="*/ 28 w 653"/>
                  <a:gd name="T105" fmla="*/ 56 h 682"/>
                  <a:gd name="T106" fmla="*/ 34 w 653"/>
                  <a:gd name="T107" fmla="*/ 90 h 682"/>
                  <a:gd name="T108" fmla="*/ 0 w 653"/>
                  <a:gd name="T109" fmla="*/ 104 h 682"/>
                  <a:gd name="T110" fmla="*/ 20 w 653"/>
                  <a:gd name="T111" fmla="*/ 132 h 682"/>
                  <a:gd name="T112" fmla="*/ 14 w 653"/>
                  <a:gd name="T113" fmla="*/ 172 h 682"/>
                  <a:gd name="T114" fmla="*/ 42 w 653"/>
                  <a:gd name="T115" fmla="*/ 200 h 682"/>
                  <a:gd name="T116" fmla="*/ 28 w 653"/>
                  <a:gd name="T117" fmla="*/ 22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53" h="682">
                    <a:moveTo>
                      <a:pt x="28" y="220"/>
                    </a:moveTo>
                    <a:lnTo>
                      <a:pt x="42" y="214"/>
                    </a:lnTo>
                    <a:lnTo>
                      <a:pt x="48" y="208"/>
                    </a:lnTo>
                    <a:lnTo>
                      <a:pt x="56" y="208"/>
                    </a:lnTo>
                    <a:lnTo>
                      <a:pt x="62" y="208"/>
                    </a:lnTo>
                    <a:lnTo>
                      <a:pt x="76" y="200"/>
                    </a:lnTo>
                    <a:lnTo>
                      <a:pt x="84" y="194"/>
                    </a:lnTo>
                    <a:lnTo>
                      <a:pt x="84" y="186"/>
                    </a:lnTo>
                    <a:lnTo>
                      <a:pt x="90" y="180"/>
                    </a:lnTo>
                    <a:lnTo>
                      <a:pt x="96" y="172"/>
                    </a:lnTo>
                    <a:lnTo>
                      <a:pt x="110" y="172"/>
                    </a:lnTo>
                    <a:lnTo>
                      <a:pt x="118" y="172"/>
                    </a:lnTo>
                    <a:lnTo>
                      <a:pt x="132" y="186"/>
                    </a:lnTo>
                    <a:lnTo>
                      <a:pt x="138" y="180"/>
                    </a:lnTo>
                    <a:lnTo>
                      <a:pt x="160" y="194"/>
                    </a:lnTo>
                    <a:lnTo>
                      <a:pt x="160" y="186"/>
                    </a:lnTo>
                    <a:lnTo>
                      <a:pt x="166" y="180"/>
                    </a:lnTo>
                    <a:lnTo>
                      <a:pt x="172" y="180"/>
                    </a:lnTo>
                    <a:lnTo>
                      <a:pt x="180" y="180"/>
                    </a:lnTo>
                    <a:lnTo>
                      <a:pt x="172" y="186"/>
                    </a:lnTo>
                    <a:lnTo>
                      <a:pt x="172" y="194"/>
                    </a:lnTo>
                    <a:lnTo>
                      <a:pt x="180" y="200"/>
                    </a:lnTo>
                    <a:lnTo>
                      <a:pt x="172" y="208"/>
                    </a:lnTo>
                    <a:lnTo>
                      <a:pt x="186" y="220"/>
                    </a:lnTo>
                    <a:lnTo>
                      <a:pt x="194" y="248"/>
                    </a:lnTo>
                    <a:lnTo>
                      <a:pt x="200" y="276"/>
                    </a:lnTo>
                    <a:lnTo>
                      <a:pt x="208" y="284"/>
                    </a:lnTo>
                    <a:lnTo>
                      <a:pt x="222" y="318"/>
                    </a:lnTo>
                    <a:lnTo>
                      <a:pt x="228" y="318"/>
                    </a:lnTo>
                    <a:lnTo>
                      <a:pt x="242" y="332"/>
                    </a:lnTo>
                    <a:lnTo>
                      <a:pt x="250" y="346"/>
                    </a:lnTo>
                    <a:lnTo>
                      <a:pt x="256" y="352"/>
                    </a:lnTo>
                    <a:lnTo>
                      <a:pt x="264" y="358"/>
                    </a:lnTo>
                    <a:lnTo>
                      <a:pt x="284" y="380"/>
                    </a:lnTo>
                    <a:lnTo>
                      <a:pt x="326" y="420"/>
                    </a:lnTo>
                    <a:lnTo>
                      <a:pt x="332" y="420"/>
                    </a:lnTo>
                    <a:lnTo>
                      <a:pt x="340" y="434"/>
                    </a:lnTo>
                    <a:lnTo>
                      <a:pt x="354" y="434"/>
                    </a:lnTo>
                    <a:lnTo>
                      <a:pt x="360" y="448"/>
                    </a:lnTo>
                    <a:lnTo>
                      <a:pt x="368" y="442"/>
                    </a:lnTo>
                    <a:lnTo>
                      <a:pt x="388" y="462"/>
                    </a:lnTo>
                    <a:lnTo>
                      <a:pt x="396" y="470"/>
                    </a:lnTo>
                    <a:lnTo>
                      <a:pt x="402" y="476"/>
                    </a:lnTo>
                    <a:lnTo>
                      <a:pt x="408" y="476"/>
                    </a:lnTo>
                    <a:lnTo>
                      <a:pt x="422" y="490"/>
                    </a:lnTo>
                    <a:lnTo>
                      <a:pt x="430" y="490"/>
                    </a:lnTo>
                    <a:lnTo>
                      <a:pt x="436" y="496"/>
                    </a:lnTo>
                    <a:lnTo>
                      <a:pt x="436" y="510"/>
                    </a:lnTo>
                    <a:lnTo>
                      <a:pt x="436" y="518"/>
                    </a:lnTo>
                    <a:lnTo>
                      <a:pt x="436" y="524"/>
                    </a:lnTo>
                    <a:lnTo>
                      <a:pt x="450" y="530"/>
                    </a:lnTo>
                    <a:lnTo>
                      <a:pt x="458" y="530"/>
                    </a:lnTo>
                    <a:lnTo>
                      <a:pt x="464" y="530"/>
                    </a:lnTo>
                    <a:lnTo>
                      <a:pt x="478" y="538"/>
                    </a:lnTo>
                    <a:lnTo>
                      <a:pt x="484" y="544"/>
                    </a:lnTo>
                    <a:lnTo>
                      <a:pt x="484" y="552"/>
                    </a:lnTo>
                    <a:lnTo>
                      <a:pt x="493" y="558"/>
                    </a:lnTo>
                    <a:lnTo>
                      <a:pt x="499" y="578"/>
                    </a:lnTo>
                    <a:lnTo>
                      <a:pt x="507" y="600"/>
                    </a:lnTo>
                    <a:lnTo>
                      <a:pt x="507" y="620"/>
                    </a:lnTo>
                    <a:lnTo>
                      <a:pt x="499" y="628"/>
                    </a:lnTo>
                    <a:lnTo>
                      <a:pt x="493" y="628"/>
                    </a:lnTo>
                    <a:lnTo>
                      <a:pt x="484" y="628"/>
                    </a:lnTo>
                    <a:lnTo>
                      <a:pt x="484" y="634"/>
                    </a:lnTo>
                    <a:lnTo>
                      <a:pt x="484" y="642"/>
                    </a:lnTo>
                    <a:lnTo>
                      <a:pt x="484" y="648"/>
                    </a:lnTo>
                    <a:lnTo>
                      <a:pt x="484" y="654"/>
                    </a:lnTo>
                    <a:lnTo>
                      <a:pt x="478" y="662"/>
                    </a:lnTo>
                    <a:lnTo>
                      <a:pt x="470" y="668"/>
                    </a:lnTo>
                    <a:lnTo>
                      <a:pt x="470" y="676"/>
                    </a:lnTo>
                    <a:lnTo>
                      <a:pt x="478" y="682"/>
                    </a:lnTo>
                    <a:lnTo>
                      <a:pt x="484" y="682"/>
                    </a:lnTo>
                    <a:lnTo>
                      <a:pt x="493" y="682"/>
                    </a:lnTo>
                    <a:lnTo>
                      <a:pt x="499" y="682"/>
                    </a:lnTo>
                    <a:lnTo>
                      <a:pt x="507" y="676"/>
                    </a:lnTo>
                    <a:lnTo>
                      <a:pt x="513" y="676"/>
                    </a:lnTo>
                    <a:lnTo>
                      <a:pt x="513" y="668"/>
                    </a:lnTo>
                    <a:lnTo>
                      <a:pt x="527" y="662"/>
                    </a:lnTo>
                    <a:lnTo>
                      <a:pt x="527" y="654"/>
                    </a:lnTo>
                    <a:lnTo>
                      <a:pt x="527" y="642"/>
                    </a:lnTo>
                    <a:lnTo>
                      <a:pt x="535" y="634"/>
                    </a:lnTo>
                    <a:lnTo>
                      <a:pt x="541" y="628"/>
                    </a:lnTo>
                    <a:lnTo>
                      <a:pt x="549" y="620"/>
                    </a:lnTo>
                    <a:lnTo>
                      <a:pt x="555" y="620"/>
                    </a:lnTo>
                    <a:lnTo>
                      <a:pt x="561" y="620"/>
                    </a:lnTo>
                    <a:lnTo>
                      <a:pt x="569" y="620"/>
                    </a:lnTo>
                    <a:lnTo>
                      <a:pt x="569" y="614"/>
                    </a:lnTo>
                    <a:lnTo>
                      <a:pt x="569" y="606"/>
                    </a:lnTo>
                    <a:lnTo>
                      <a:pt x="569" y="600"/>
                    </a:lnTo>
                    <a:lnTo>
                      <a:pt x="569" y="586"/>
                    </a:lnTo>
                    <a:lnTo>
                      <a:pt x="569" y="578"/>
                    </a:lnTo>
                    <a:lnTo>
                      <a:pt x="569" y="572"/>
                    </a:lnTo>
                    <a:lnTo>
                      <a:pt x="561" y="566"/>
                    </a:lnTo>
                    <a:lnTo>
                      <a:pt x="549" y="572"/>
                    </a:lnTo>
                    <a:lnTo>
                      <a:pt x="541" y="560"/>
                    </a:lnTo>
                    <a:lnTo>
                      <a:pt x="539" y="542"/>
                    </a:lnTo>
                    <a:lnTo>
                      <a:pt x="541" y="530"/>
                    </a:lnTo>
                    <a:lnTo>
                      <a:pt x="549" y="530"/>
                    </a:lnTo>
                    <a:lnTo>
                      <a:pt x="549" y="524"/>
                    </a:lnTo>
                    <a:lnTo>
                      <a:pt x="555" y="518"/>
                    </a:lnTo>
                    <a:lnTo>
                      <a:pt x="549" y="518"/>
                    </a:lnTo>
                    <a:lnTo>
                      <a:pt x="555" y="510"/>
                    </a:lnTo>
                    <a:lnTo>
                      <a:pt x="561" y="504"/>
                    </a:lnTo>
                    <a:lnTo>
                      <a:pt x="569" y="504"/>
                    </a:lnTo>
                    <a:lnTo>
                      <a:pt x="575" y="504"/>
                    </a:lnTo>
                    <a:lnTo>
                      <a:pt x="575" y="510"/>
                    </a:lnTo>
                    <a:lnTo>
                      <a:pt x="589" y="518"/>
                    </a:lnTo>
                    <a:lnTo>
                      <a:pt x="597" y="518"/>
                    </a:lnTo>
                    <a:lnTo>
                      <a:pt x="603" y="518"/>
                    </a:lnTo>
                    <a:lnTo>
                      <a:pt x="611" y="518"/>
                    </a:lnTo>
                    <a:lnTo>
                      <a:pt x="617" y="518"/>
                    </a:lnTo>
                    <a:lnTo>
                      <a:pt x="617" y="524"/>
                    </a:lnTo>
                    <a:lnTo>
                      <a:pt x="617" y="530"/>
                    </a:lnTo>
                    <a:lnTo>
                      <a:pt x="625" y="538"/>
                    </a:lnTo>
                    <a:lnTo>
                      <a:pt x="625" y="544"/>
                    </a:lnTo>
                    <a:lnTo>
                      <a:pt x="631" y="552"/>
                    </a:lnTo>
                    <a:lnTo>
                      <a:pt x="637" y="552"/>
                    </a:lnTo>
                    <a:lnTo>
                      <a:pt x="645" y="552"/>
                    </a:lnTo>
                    <a:lnTo>
                      <a:pt x="653" y="544"/>
                    </a:lnTo>
                    <a:lnTo>
                      <a:pt x="653" y="530"/>
                    </a:lnTo>
                    <a:lnTo>
                      <a:pt x="653" y="518"/>
                    </a:lnTo>
                    <a:lnTo>
                      <a:pt x="653" y="510"/>
                    </a:lnTo>
                    <a:lnTo>
                      <a:pt x="637" y="504"/>
                    </a:lnTo>
                    <a:lnTo>
                      <a:pt x="631" y="490"/>
                    </a:lnTo>
                    <a:lnTo>
                      <a:pt x="625" y="482"/>
                    </a:lnTo>
                    <a:lnTo>
                      <a:pt x="611" y="476"/>
                    </a:lnTo>
                    <a:lnTo>
                      <a:pt x="597" y="476"/>
                    </a:lnTo>
                    <a:lnTo>
                      <a:pt x="589" y="470"/>
                    </a:lnTo>
                    <a:lnTo>
                      <a:pt x="583" y="462"/>
                    </a:lnTo>
                    <a:lnTo>
                      <a:pt x="561" y="454"/>
                    </a:lnTo>
                    <a:lnTo>
                      <a:pt x="555" y="448"/>
                    </a:lnTo>
                    <a:lnTo>
                      <a:pt x="549" y="442"/>
                    </a:lnTo>
                    <a:lnTo>
                      <a:pt x="541" y="442"/>
                    </a:lnTo>
                    <a:lnTo>
                      <a:pt x="527" y="442"/>
                    </a:lnTo>
                    <a:lnTo>
                      <a:pt x="521" y="434"/>
                    </a:lnTo>
                    <a:lnTo>
                      <a:pt x="507" y="428"/>
                    </a:lnTo>
                    <a:lnTo>
                      <a:pt x="499" y="428"/>
                    </a:lnTo>
                    <a:lnTo>
                      <a:pt x="507" y="420"/>
                    </a:lnTo>
                    <a:lnTo>
                      <a:pt x="513" y="420"/>
                    </a:lnTo>
                    <a:lnTo>
                      <a:pt x="521" y="414"/>
                    </a:lnTo>
                    <a:lnTo>
                      <a:pt x="521" y="400"/>
                    </a:lnTo>
                    <a:lnTo>
                      <a:pt x="499" y="394"/>
                    </a:lnTo>
                    <a:lnTo>
                      <a:pt x="493" y="394"/>
                    </a:lnTo>
                    <a:lnTo>
                      <a:pt x="470" y="394"/>
                    </a:lnTo>
                    <a:lnTo>
                      <a:pt x="458" y="394"/>
                    </a:lnTo>
                    <a:lnTo>
                      <a:pt x="444" y="386"/>
                    </a:lnTo>
                    <a:lnTo>
                      <a:pt x="436" y="372"/>
                    </a:lnTo>
                    <a:lnTo>
                      <a:pt x="430" y="366"/>
                    </a:lnTo>
                    <a:lnTo>
                      <a:pt x="416" y="352"/>
                    </a:lnTo>
                    <a:lnTo>
                      <a:pt x="408" y="338"/>
                    </a:lnTo>
                    <a:lnTo>
                      <a:pt x="396" y="324"/>
                    </a:lnTo>
                    <a:lnTo>
                      <a:pt x="396" y="310"/>
                    </a:lnTo>
                    <a:lnTo>
                      <a:pt x="402" y="304"/>
                    </a:lnTo>
                    <a:lnTo>
                      <a:pt x="396" y="290"/>
                    </a:lnTo>
                    <a:lnTo>
                      <a:pt x="388" y="276"/>
                    </a:lnTo>
                    <a:lnTo>
                      <a:pt x="388" y="268"/>
                    </a:lnTo>
                    <a:lnTo>
                      <a:pt x="382" y="262"/>
                    </a:lnTo>
                    <a:lnTo>
                      <a:pt x="382" y="248"/>
                    </a:lnTo>
                    <a:lnTo>
                      <a:pt x="374" y="248"/>
                    </a:lnTo>
                    <a:lnTo>
                      <a:pt x="360" y="242"/>
                    </a:lnTo>
                    <a:lnTo>
                      <a:pt x="346" y="234"/>
                    </a:lnTo>
                    <a:lnTo>
                      <a:pt x="340" y="234"/>
                    </a:lnTo>
                    <a:lnTo>
                      <a:pt x="326" y="228"/>
                    </a:lnTo>
                    <a:lnTo>
                      <a:pt x="326" y="220"/>
                    </a:lnTo>
                    <a:lnTo>
                      <a:pt x="318" y="214"/>
                    </a:lnTo>
                    <a:lnTo>
                      <a:pt x="318" y="208"/>
                    </a:lnTo>
                    <a:lnTo>
                      <a:pt x="312" y="194"/>
                    </a:lnTo>
                    <a:lnTo>
                      <a:pt x="318" y="186"/>
                    </a:lnTo>
                    <a:lnTo>
                      <a:pt x="318" y="180"/>
                    </a:lnTo>
                    <a:lnTo>
                      <a:pt x="318" y="172"/>
                    </a:lnTo>
                    <a:lnTo>
                      <a:pt x="326" y="166"/>
                    </a:lnTo>
                    <a:lnTo>
                      <a:pt x="332" y="160"/>
                    </a:lnTo>
                    <a:lnTo>
                      <a:pt x="332" y="152"/>
                    </a:lnTo>
                    <a:lnTo>
                      <a:pt x="326" y="152"/>
                    </a:lnTo>
                    <a:lnTo>
                      <a:pt x="318" y="146"/>
                    </a:lnTo>
                    <a:lnTo>
                      <a:pt x="318" y="138"/>
                    </a:lnTo>
                    <a:lnTo>
                      <a:pt x="312" y="138"/>
                    </a:lnTo>
                    <a:lnTo>
                      <a:pt x="318" y="132"/>
                    </a:lnTo>
                    <a:lnTo>
                      <a:pt x="326" y="132"/>
                    </a:lnTo>
                    <a:lnTo>
                      <a:pt x="326" y="118"/>
                    </a:lnTo>
                    <a:lnTo>
                      <a:pt x="340" y="118"/>
                    </a:lnTo>
                    <a:lnTo>
                      <a:pt x="346" y="118"/>
                    </a:lnTo>
                    <a:lnTo>
                      <a:pt x="354" y="118"/>
                    </a:lnTo>
                    <a:lnTo>
                      <a:pt x="360" y="118"/>
                    </a:lnTo>
                    <a:lnTo>
                      <a:pt x="368" y="110"/>
                    </a:lnTo>
                    <a:lnTo>
                      <a:pt x="374" y="110"/>
                    </a:lnTo>
                    <a:lnTo>
                      <a:pt x="374" y="104"/>
                    </a:lnTo>
                    <a:lnTo>
                      <a:pt x="382" y="104"/>
                    </a:lnTo>
                    <a:lnTo>
                      <a:pt x="388" y="104"/>
                    </a:lnTo>
                    <a:lnTo>
                      <a:pt x="388" y="110"/>
                    </a:lnTo>
                    <a:lnTo>
                      <a:pt x="396" y="118"/>
                    </a:lnTo>
                    <a:lnTo>
                      <a:pt x="396" y="104"/>
                    </a:lnTo>
                    <a:lnTo>
                      <a:pt x="402" y="104"/>
                    </a:lnTo>
                    <a:lnTo>
                      <a:pt x="408" y="96"/>
                    </a:lnTo>
                    <a:lnTo>
                      <a:pt x="402" y="90"/>
                    </a:lnTo>
                    <a:lnTo>
                      <a:pt x="396" y="84"/>
                    </a:lnTo>
                    <a:lnTo>
                      <a:pt x="408" y="76"/>
                    </a:lnTo>
                    <a:lnTo>
                      <a:pt x="408" y="70"/>
                    </a:lnTo>
                    <a:lnTo>
                      <a:pt x="402" y="62"/>
                    </a:lnTo>
                    <a:lnTo>
                      <a:pt x="402" y="56"/>
                    </a:lnTo>
                    <a:lnTo>
                      <a:pt x="402" y="50"/>
                    </a:lnTo>
                    <a:lnTo>
                      <a:pt x="396" y="50"/>
                    </a:lnTo>
                    <a:lnTo>
                      <a:pt x="388" y="42"/>
                    </a:lnTo>
                    <a:lnTo>
                      <a:pt x="374" y="42"/>
                    </a:lnTo>
                    <a:lnTo>
                      <a:pt x="368" y="42"/>
                    </a:lnTo>
                    <a:lnTo>
                      <a:pt x="360" y="42"/>
                    </a:lnTo>
                    <a:lnTo>
                      <a:pt x="354" y="42"/>
                    </a:lnTo>
                    <a:lnTo>
                      <a:pt x="346" y="36"/>
                    </a:lnTo>
                    <a:lnTo>
                      <a:pt x="340" y="28"/>
                    </a:lnTo>
                    <a:lnTo>
                      <a:pt x="340" y="22"/>
                    </a:lnTo>
                    <a:lnTo>
                      <a:pt x="332" y="14"/>
                    </a:lnTo>
                    <a:lnTo>
                      <a:pt x="326" y="8"/>
                    </a:lnTo>
                    <a:lnTo>
                      <a:pt x="312" y="8"/>
                    </a:lnTo>
                    <a:lnTo>
                      <a:pt x="304" y="8"/>
                    </a:lnTo>
                    <a:lnTo>
                      <a:pt x="298" y="8"/>
                    </a:lnTo>
                    <a:lnTo>
                      <a:pt x="292" y="8"/>
                    </a:lnTo>
                    <a:lnTo>
                      <a:pt x="284" y="0"/>
                    </a:lnTo>
                    <a:lnTo>
                      <a:pt x="276" y="0"/>
                    </a:lnTo>
                    <a:lnTo>
                      <a:pt x="276" y="8"/>
                    </a:lnTo>
                    <a:lnTo>
                      <a:pt x="264" y="14"/>
                    </a:lnTo>
                    <a:lnTo>
                      <a:pt x="256" y="14"/>
                    </a:lnTo>
                    <a:lnTo>
                      <a:pt x="250" y="14"/>
                    </a:lnTo>
                    <a:lnTo>
                      <a:pt x="250" y="8"/>
                    </a:lnTo>
                    <a:lnTo>
                      <a:pt x="250" y="0"/>
                    </a:lnTo>
                    <a:lnTo>
                      <a:pt x="242" y="0"/>
                    </a:lnTo>
                    <a:lnTo>
                      <a:pt x="236" y="0"/>
                    </a:lnTo>
                    <a:lnTo>
                      <a:pt x="236" y="8"/>
                    </a:lnTo>
                    <a:lnTo>
                      <a:pt x="236" y="14"/>
                    </a:lnTo>
                    <a:lnTo>
                      <a:pt x="236" y="22"/>
                    </a:lnTo>
                    <a:lnTo>
                      <a:pt x="228" y="22"/>
                    </a:lnTo>
                    <a:lnTo>
                      <a:pt x="222" y="14"/>
                    </a:lnTo>
                    <a:lnTo>
                      <a:pt x="214" y="22"/>
                    </a:lnTo>
                    <a:lnTo>
                      <a:pt x="208" y="28"/>
                    </a:lnTo>
                    <a:lnTo>
                      <a:pt x="214" y="36"/>
                    </a:lnTo>
                    <a:lnTo>
                      <a:pt x="208" y="42"/>
                    </a:lnTo>
                    <a:lnTo>
                      <a:pt x="200" y="36"/>
                    </a:lnTo>
                    <a:lnTo>
                      <a:pt x="194" y="36"/>
                    </a:lnTo>
                    <a:lnTo>
                      <a:pt x="186" y="36"/>
                    </a:lnTo>
                    <a:lnTo>
                      <a:pt x="180" y="36"/>
                    </a:lnTo>
                    <a:lnTo>
                      <a:pt x="180" y="28"/>
                    </a:lnTo>
                    <a:lnTo>
                      <a:pt x="172" y="22"/>
                    </a:lnTo>
                    <a:lnTo>
                      <a:pt x="166" y="22"/>
                    </a:lnTo>
                    <a:lnTo>
                      <a:pt x="166" y="28"/>
                    </a:lnTo>
                    <a:lnTo>
                      <a:pt x="166" y="42"/>
                    </a:lnTo>
                    <a:lnTo>
                      <a:pt x="160" y="42"/>
                    </a:lnTo>
                    <a:lnTo>
                      <a:pt x="152" y="50"/>
                    </a:lnTo>
                    <a:lnTo>
                      <a:pt x="146" y="56"/>
                    </a:lnTo>
                    <a:lnTo>
                      <a:pt x="146" y="62"/>
                    </a:lnTo>
                    <a:lnTo>
                      <a:pt x="138" y="56"/>
                    </a:lnTo>
                    <a:lnTo>
                      <a:pt x="132" y="50"/>
                    </a:lnTo>
                    <a:lnTo>
                      <a:pt x="124" y="42"/>
                    </a:lnTo>
                    <a:lnTo>
                      <a:pt x="124" y="36"/>
                    </a:lnTo>
                    <a:lnTo>
                      <a:pt x="124" y="28"/>
                    </a:lnTo>
                    <a:lnTo>
                      <a:pt x="118" y="22"/>
                    </a:lnTo>
                    <a:lnTo>
                      <a:pt x="110" y="22"/>
                    </a:lnTo>
                    <a:lnTo>
                      <a:pt x="104" y="28"/>
                    </a:lnTo>
                    <a:lnTo>
                      <a:pt x="104" y="36"/>
                    </a:lnTo>
                    <a:lnTo>
                      <a:pt x="96" y="50"/>
                    </a:lnTo>
                    <a:lnTo>
                      <a:pt x="90" y="50"/>
                    </a:lnTo>
                    <a:lnTo>
                      <a:pt x="76" y="50"/>
                    </a:lnTo>
                    <a:lnTo>
                      <a:pt x="68" y="42"/>
                    </a:lnTo>
                    <a:lnTo>
                      <a:pt x="42" y="50"/>
                    </a:lnTo>
                    <a:lnTo>
                      <a:pt x="34" y="50"/>
                    </a:lnTo>
                    <a:lnTo>
                      <a:pt x="34" y="56"/>
                    </a:lnTo>
                    <a:lnTo>
                      <a:pt x="28" y="56"/>
                    </a:lnTo>
                    <a:lnTo>
                      <a:pt x="28" y="62"/>
                    </a:lnTo>
                    <a:lnTo>
                      <a:pt x="34" y="70"/>
                    </a:lnTo>
                    <a:lnTo>
                      <a:pt x="34" y="76"/>
                    </a:lnTo>
                    <a:lnTo>
                      <a:pt x="42" y="84"/>
                    </a:lnTo>
                    <a:lnTo>
                      <a:pt x="34" y="90"/>
                    </a:lnTo>
                    <a:lnTo>
                      <a:pt x="28" y="96"/>
                    </a:lnTo>
                    <a:lnTo>
                      <a:pt x="20" y="104"/>
                    </a:lnTo>
                    <a:lnTo>
                      <a:pt x="14" y="104"/>
                    </a:lnTo>
                    <a:lnTo>
                      <a:pt x="6" y="104"/>
                    </a:lnTo>
                    <a:lnTo>
                      <a:pt x="0" y="104"/>
                    </a:lnTo>
                    <a:lnTo>
                      <a:pt x="0" y="110"/>
                    </a:lnTo>
                    <a:lnTo>
                      <a:pt x="6" y="118"/>
                    </a:lnTo>
                    <a:lnTo>
                      <a:pt x="14" y="118"/>
                    </a:lnTo>
                    <a:lnTo>
                      <a:pt x="20" y="126"/>
                    </a:lnTo>
                    <a:lnTo>
                      <a:pt x="20" y="132"/>
                    </a:lnTo>
                    <a:lnTo>
                      <a:pt x="20" y="138"/>
                    </a:lnTo>
                    <a:lnTo>
                      <a:pt x="14" y="146"/>
                    </a:lnTo>
                    <a:lnTo>
                      <a:pt x="14" y="152"/>
                    </a:lnTo>
                    <a:lnTo>
                      <a:pt x="14" y="166"/>
                    </a:lnTo>
                    <a:lnTo>
                      <a:pt x="14" y="172"/>
                    </a:lnTo>
                    <a:lnTo>
                      <a:pt x="20" y="186"/>
                    </a:lnTo>
                    <a:lnTo>
                      <a:pt x="28" y="186"/>
                    </a:lnTo>
                    <a:lnTo>
                      <a:pt x="42" y="186"/>
                    </a:lnTo>
                    <a:lnTo>
                      <a:pt x="48" y="194"/>
                    </a:lnTo>
                    <a:lnTo>
                      <a:pt x="42" y="200"/>
                    </a:lnTo>
                    <a:lnTo>
                      <a:pt x="42" y="208"/>
                    </a:lnTo>
                    <a:lnTo>
                      <a:pt x="34" y="214"/>
                    </a:lnTo>
                    <a:lnTo>
                      <a:pt x="28" y="220"/>
                    </a:lnTo>
                    <a:lnTo>
                      <a:pt x="28" y="220"/>
                    </a:lnTo>
                    <a:lnTo>
                      <a:pt x="28" y="220"/>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1" name="Freeform 45"/>
              <p:cNvSpPr>
                <a:spLocks/>
              </p:cNvSpPr>
              <p:nvPr/>
            </p:nvSpPr>
            <p:spPr bwMode="gray">
              <a:xfrm>
                <a:off x="4104632" y="3514604"/>
                <a:ext cx="393788" cy="206421"/>
              </a:xfrm>
              <a:custGeom>
                <a:avLst/>
                <a:gdLst>
                  <a:gd name="T0" fmla="*/ 36 w 248"/>
                  <a:gd name="T1" fmla="*/ 104 h 130"/>
                  <a:gd name="T2" fmla="*/ 42 w 248"/>
                  <a:gd name="T3" fmla="*/ 96 h 130"/>
                  <a:gd name="T4" fmla="*/ 36 w 248"/>
                  <a:gd name="T5" fmla="*/ 82 h 130"/>
                  <a:gd name="T6" fmla="*/ 48 w 248"/>
                  <a:gd name="T7" fmla="*/ 82 h 130"/>
                  <a:gd name="T8" fmla="*/ 42 w 248"/>
                  <a:gd name="T9" fmla="*/ 62 h 130"/>
                  <a:gd name="T10" fmla="*/ 36 w 248"/>
                  <a:gd name="T11" fmla="*/ 68 h 130"/>
                  <a:gd name="T12" fmla="*/ 22 w 248"/>
                  <a:gd name="T13" fmla="*/ 82 h 130"/>
                  <a:gd name="T14" fmla="*/ 0 w 248"/>
                  <a:gd name="T15" fmla="*/ 74 h 130"/>
                  <a:gd name="T16" fmla="*/ 22 w 248"/>
                  <a:gd name="T17" fmla="*/ 48 h 130"/>
                  <a:gd name="T18" fmla="*/ 28 w 248"/>
                  <a:gd name="T19" fmla="*/ 34 h 130"/>
                  <a:gd name="T20" fmla="*/ 56 w 248"/>
                  <a:gd name="T21" fmla="*/ 28 h 130"/>
                  <a:gd name="T22" fmla="*/ 62 w 248"/>
                  <a:gd name="T23" fmla="*/ 6 h 130"/>
                  <a:gd name="T24" fmla="*/ 76 w 248"/>
                  <a:gd name="T25" fmla="*/ 6 h 130"/>
                  <a:gd name="T26" fmla="*/ 90 w 248"/>
                  <a:gd name="T27" fmla="*/ 0 h 130"/>
                  <a:gd name="T28" fmla="*/ 98 w 248"/>
                  <a:gd name="T29" fmla="*/ 0 h 130"/>
                  <a:gd name="T30" fmla="*/ 104 w 248"/>
                  <a:gd name="T31" fmla="*/ 0 h 130"/>
                  <a:gd name="T32" fmla="*/ 126 w 248"/>
                  <a:gd name="T33" fmla="*/ 6 h 130"/>
                  <a:gd name="T34" fmla="*/ 138 w 248"/>
                  <a:gd name="T35" fmla="*/ 6 h 130"/>
                  <a:gd name="T36" fmla="*/ 152 w 248"/>
                  <a:gd name="T37" fmla="*/ 6 h 130"/>
                  <a:gd name="T38" fmla="*/ 174 w 248"/>
                  <a:gd name="T39" fmla="*/ 6 h 130"/>
                  <a:gd name="T40" fmla="*/ 180 w 248"/>
                  <a:gd name="T41" fmla="*/ 14 h 130"/>
                  <a:gd name="T42" fmla="*/ 186 w 248"/>
                  <a:gd name="T43" fmla="*/ 20 h 130"/>
                  <a:gd name="T44" fmla="*/ 200 w 248"/>
                  <a:gd name="T45" fmla="*/ 34 h 130"/>
                  <a:gd name="T46" fmla="*/ 194 w 248"/>
                  <a:gd name="T47" fmla="*/ 48 h 130"/>
                  <a:gd name="T48" fmla="*/ 200 w 248"/>
                  <a:gd name="T49" fmla="*/ 54 h 130"/>
                  <a:gd name="T50" fmla="*/ 214 w 248"/>
                  <a:gd name="T51" fmla="*/ 62 h 130"/>
                  <a:gd name="T52" fmla="*/ 248 w 248"/>
                  <a:gd name="T53" fmla="*/ 68 h 130"/>
                  <a:gd name="T54" fmla="*/ 242 w 248"/>
                  <a:gd name="T55" fmla="*/ 74 h 130"/>
                  <a:gd name="T56" fmla="*/ 242 w 248"/>
                  <a:gd name="T57" fmla="*/ 90 h 130"/>
                  <a:gd name="T58" fmla="*/ 228 w 248"/>
                  <a:gd name="T59" fmla="*/ 82 h 130"/>
                  <a:gd name="T60" fmla="*/ 214 w 248"/>
                  <a:gd name="T61" fmla="*/ 96 h 130"/>
                  <a:gd name="T62" fmla="*/ 214 w 248"/>
                  <a:gd name="T63" fmla="*/ 110 h 130"/>
                  <a:gd name="T64" fmla="*/ 200 w 248"/>
                  <a:gd name="T65" fmla="*/ 104 h 130"/>
                  <a:gd name="T66" fmla="*/ 186 w 248"/>
                  <a:gd name="T67" fmla="*/ 104 h 130"/>
                  <a:gd name="T68" fmla="*/ 180 w 248"/>
                  <a:gd name="T69" fmla="*/ 90 h 130"/>
                  <a:gd name="T70" fmla="*/ 174 w 248"/>
                  <a:gd name="T71" fmla="*/ 96 h 130"/>
                  <a:gd name="T72" fmla="*/ 166 w 248"/>
                  <a:gd name="T73" fmla="*/ 110 h 130"/>
                  <a:gd name="T74" fmla="*/ 152 w 248"/>
                  <a:gd name="T75" fmla="*/ 124 h 130"/>
                  <a:gd name="T76" fmla="*/ 146 w 248"/>
                  <a:gd name="T77" fmla="*/ 124 h 130"/>
                  <a:gd name="T78" fmla="*/ 132 w 248"/>
                  <a:gd name="T79" fmla="*/ 110 h 130"/>
                  <a:gd name="T80" fmla="*/ 132 w 248"/>
                  <a:gd name="T81" fmla="*/ 96 h 130"/>
                  <a:gd name="T82" fmla="*/ 118 w 248"/>
                  <a:gd name="T83" fmla="*/ 90 h 130"/>
                  <a:gd name="T84" fmla="*/ 112 w 248"/>
                  <a:gd name="T85" fmla="*/ 104 h 130"/>
                  <a:gd name="T86" fmla="*/ 98 w 248"/>
                  <a:gd name="T87" fmla="*/ 116 h 130"/>
                  <a:gd name="T88" fmla="*/ 76 w 248"/>
                  <a:gd name="T89" fmla="*/ 110 h 130"/>
                  <a:gd name="T90" fmla="*/ 42 w 248"/>
                  <a:gd name="T91" fmla="*/ 110 h 130"/>
                  <a:gd name="T92" fmla="*/ 42 w 248"/>
                  <a:gd name="T93" fmla="*/ 11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8" h="130">
                    <a:moveTo>
                      <a:pt x="42" y="110"/>
                    </a:moveTo>
                    <a:lnTo>
                      <a:pt x="36" y="104"/>
                    </a:lnTo>
                    <a:lnTo>
                      <a:pt x="36" y="96"/>
                    </a:lnTo>
                    <a:lnTo>
                      <a:pt x="42" y="96"/>
                    </a:lnTo>
                    <a:lnTo>
                      <a:pt x="36" y="90"/>
                    </a:lnTo>
                    <a:lnTo>
                      <a:pt x="36" y="82"/>
                    </a:lnTo>
                    <a:lnTo>
                      <a:pt x="42" y="82"/>
                    </a:lnTo>
                    <a:lnTo>
                      <a:pt x="48" y="82"/>
                    </a:lnTo>
                    <a:lnTo>
                      <a:pt x="48" y="74"/>
                    </a:lnTo>
                    <a:lnTo>
                      <a:pt x="42" y="62"/>
                    </a:lnTo>
                    <a:lnTo>
                      <a:pt x="36" y="62"/>
                    </a:lnTo>
                    <a:lnTo>
                      <a:pt x="36" y="68"/>
                    </a:lnTo>
                    <a:lnTo>
                      <a:pt x="28" y="68"/>
                    </a:lnTo>
                    <a:lnTo>
                      <a:pt x="22" y="82"/>
                    </a:lnTo>
                    <a:lnTo>
                      <a:pt x="8" y="90"/>
                    </a:lnTo>
                    <a:lnTo>
                      <a:pt x="0" y="74"/>
                    </a:lnTo>
                    <a:lnTo>
                      <a:pt x="8" y="62"/>
                    </a:lnTo>
                    <a:lnTo>
                      <a:pt x="22" y="48"/>
                    </a:lnTo>
                    <a:lnTo>
                      <a:pt x="22" y="42"/>
                    </a:lnTo>
                    <a:lnTo>
                      <a:pt x="28" y="34"/>
                    </a:lnTo>
                    <a:lnTo>
                      <a:pt x="42" y="34"/>
                    </a:lnTo>
                    <a:lnTo>
                      <a:pt x="56" y="28"/>
                    </a:lnTo>
                    <a:lnTo>
                      <a:pt x="62" y="14"/>
                    </a:lnTo>
                    <a:lnTo>
                      <a:pt x="62" y="6"/>
                    </a:lnTo>
                    <a:lnTo>
                      <a:pt x="70" y="0"/>
                    </a:lnTo>
                    <a:lnTo>
                      <a:pt x="76" y="6"/>
                    </a:lnTo>
                    <a:lnTo>
                      <a:pt x="84" y="14"/>
                    </a:lnTo>
                    <a:lnTo>
                      <a:pt x="90" y="0"/>
                    </a:lnTo>
                    <a:lnTo>
                      <a:pt x="98" y="6"/>
                    </a:lnTo>
                    <a:lnTo>
                      <a:pt x="98" y="0"/>
                    </a:lnTo>
                    <a:lnTo>
                      <a:pt x="104" y="6"/>
                    </a:lnTo>
                    <a:lnTo>
                      <a:pt x="104" y="0"/>
                    </a:lnTo>
                    <a:lnTo>
                      <a:pt x="118" y="6"/>
                    </a:lnTo>
                    <a:lnTo>
                      <a:pt x="126" y="6"/>
                    </a:lnTo>
                    <a:lnTo>
                      <a:pt x="132" y="6"/>
                    </a:lnTo>
                    <a:lnTo>
                      <a:pt x="138" y="6"/>
                    </a:lnTo>
                    <a:lnTo>
                      <a:pt x="146" y="6"/>
                    </a:lnTo>
                    <a:lnTo>
                      <a:pt x="152" y="6"/>
                    </a:lnTo>
                    <a:lnTo>
                      <a:pt x="160" y="6"/>
                    </a:lnTo>
                    <a:lnTo>
                      <a:pt x="174" y="6"/>
                    </a:lnTo>
                    <a:lnTo>
                      <a:pt x="174" y="14"/>
                    </a:lnTo>
                    <a:lnTo>
                      <a:pt x="180" y="14"/>
                    </a:lnTo>
                    <a:lnTo>
                      <a:pt x="186" y="14"/>
                    </a:lnTo>
                    <a:lnTo>
                      <a:pt x="186" y="20"/>
                    </a:lnTo>
                    <a:lnTo>
                      <a:pt x="200" y="28"/>
                    </a:lnTo>
                    <a:lnTo>
                      <a:pt x="200" y="34"/>
                    </a:lnTo>
                    <a:lnTo>
                      <a:pt x="194" y="42"/>
                    </a:lnTo>
                    <a:lnTo>
                      <a:pt x="194" y="48"/>
                    </a:lnTo>
                    <a:lnTo>
                      <a:pt x="200" y="48"/>
                    </a:lnTo>
                    <a:lnTo>
                      <a:pt x="200" y="54"/>
                    </a:lnTo>
                    <a:lnTo>
                      <a:pt x="208" y="54"/>
                    </a:lnTo>
                    <a:lnTo>
                      <a:pt x="214" y="62"/>
                    </a:lnTo>
                    <a:lnTo>
                      <a:pt x="222" y="68"/>
                    </a:lnTo>
                    <a:lnTo>
                      <a:pt x="248" y="68"/>
                    </a:lnTo>
                    <a:lnTo>
                      <a:pt x="242" y="68"/>
                    </a:lnTo>
                    <a:lnTo>
                      <a:pt x="242" y="74"/>
                    </a:lnTo>
                    <a:lnTo>
                      <a:pt x="242" y="82"/>
                    </a:lnTo>
                    <a:lnTo>
                      <a:pt x="242" y="90"/>
                    </a:lnTo>
                    <a:lnTo>
                      <a:pt x="236" y="90"/>
                    </a:lnTo>
                    <a:lnTo>
                      <a:pt x="228" y="82"/>
                    </a:lnTo>
                    <a:lnTo>
                      <a:pt x="222" y="90"/>
                    </a:lnTo>
                    <a:lnTo>
                      <a:pt x="214" y="96"/>
                    </a:lnTo>
                    <a:lnTo>
                      <a:pt x="222" y="104"/>
                    </a:lnTo>
                    <a:lnTo>
                      <a:pt x="214" y="110"/>
                    </a:lnTo>
                    <a:lnTo>
                      <a:pt x="208" y="104"/>
                    </a:lnTo>
                    <a:lnTo>
                      <a:pt x="200" y="104"/>
                    </a:lnTo>
                    <a:lnTo>
                      <a:pt x="194" y="104"/>
                    </a:lnTo>
                    <a:lnTo>
                      <a:pt x="186" y="104"/>
                    </a:lnTo>
                    <a:lnTo>
                      <a:pt x="186" y="96"/>
                    </a:lnTo>
                    <a:lnTo>
                      <a:pt x="180" y="90"/>
                    </a:lnTo>
                    <a:lnTo>
                      <a:pt x="174" y="90"/>
                    </a:lnTo>
                    <a:lnTo>
                      <a:pt x="174" y="96"/>
                    </a:lnTo>
                    <a:lnTo>
                      <a:pt x="174" y="110"/>
                    </a:lnTo>
                    <a:lnTo>
                      <a:pt x="166" y="110"/>
                    </a:lnTo>
                    <a:lnTo>
                      <a:pt x="160" y="116"/>
                    </a:lnTo>
                    <a:lnTo>
                      <a:pt x="152" y="124"/>
                    </a:lnTo>
                    <a:lnTo>
                      <a:pt x="152" y="130"/>
                    </a:lnTo>
                    <a:lnTo>
                      <a:pt x="146" y="124"/>
                    </a:lnTo>
                    <a:lnTo>
                      <a:pt x="138" y="116"/>
                    </a:lnTo>
                    <a:lnTo>
                      <a:pt x="132" y="110"/>
                    </a:lnTo>
                    <a:lnTo>
                      <a:pt x="132" y="104"/>
                    </a:lnTo>
                    <a:lnTo>
                      <a:pt x="132" y="96"/>
                    </a:lnTo>
                    <a:lnTo>
                      <a:pt x="126" y="90"/>
                    </a:lnTo>
                    <a:lnTo>
                      <a:pt x="118" y="90"/>
                    </a:lnTo>
                    <a:lnTo>
                      <a:pt x="112" y="96"/>
                    </a:lnTo>
                    <a:lnTo>
                      <a:pt x="112" y="104"/>
                    </a:lnTo>
                    <a:lnTo>
                      <a:pt x="104" y="116"/>
                    </a:lnTo>
                    <a:lnTo>
                      <a:pt x="98" y="116"/>
                    </a:lnTo>
                    <a:lnTo>
                      <a:pt x="84" y="116"/>
                    </a:lnTo>
                    <a:lnTo>
                      <a:pt x="76" y="110"/>
                    </a:lnTo>
                    <a:lnTo>
                      <a:pt x="48" y="116"/>
                    </a:lnTo>
                    <a:lnTo>
                      <a:pt x="42" y="110"/>
                    </a:lnTo>
                    <a:lnTo>
                      <a:pt x="42" y="110"/>
                    </a:lnTo>
                    <a:lnTo>
                      <a:pt x="42" y="11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2" name="Freeform 46"/>
              <p:cNvSpPr>
                <a:spLocks/>
              </p:cNvSpPr>
              <p:nvPr>
                <p:custDataLst>
                  <p:tags r:id="rId138"/>
                </p:custDataLst>
              </p:nvPr>
            </p:nvSpPr>
            <p:spPr bwMode="gray">
              <a:xfrm>
                <a:off x="4412675" y="3425684"/>
                <a:ext cx="639905" cy="292165"/>
              </a:xfrm>
              <a:custGeom>
                <a:avLst/>
                <a:gdLst>
                  <a:gd name="T0" fmla="*/ 347 w 403"/>
                  <a:gd name="T1" fmla="*/ 164 h 184"/>
                  <a:gd name="T2" fmla="*/ 341 w 403"/>
                  <a:gd name="T3" fmla="*/ 164 h 184"/>
                  <a:gd name="T4" fmla="*/ 319 w 403"/>
                  <a:gd name="T5" fmla="*/ 164 h 184"/>
                  <a:gd name="T6" fmla="*/ 298 w 403"/>
                  <a:gd name="T7" fmla="*/ 164 h 184"/>
                  <a:gd name="T8" fmla="*/ 284 w 403"/>
                  <a:gd name="T9" fmla="*/ 178 h 184"/>
                  <a:gd name="T10" fmla="*/ 262 w 403"/>
                  <a:gd name="T11" fmla="*/ 184 h 184"/>
                  <a:gd name="T12" fmla="*/ 242 w 403"/>
                  <a:gd name="T13" fmla="*/ 178 h 184"/>
                  <a:gd name="T14" fmla="*/ 228 w 403"/>
                  <a:gd name="T15" fmla="*/ 178 h 184"/>
                  <a:gd name="T16" fmla="*/ 200 w 403"/>
                  <a:gd name="T17" fmla="*/ 164 h 184"/>
                  <a:gd name="T18" fmla="*/ 174 w 403"/>
                  <a:gd name="T19" fmla="*/ 164 h 184"/>
                  <a:gd name="T20" fmla="*/ 152 w 403"/>
                  <a:gd name="T21" fmla="*/ 150 h 184"/>
                  <a:gd name="T22" fmla="*/ 138 w 403"/>
                  <a:gd name="T23" fmla="*/ 130 h 184"/>
                  <a:gd name="T24" fmla="*/ 110 w 403"/>
                  <a:gd name="T25" fmla="*/ 130 h 184"/>
                  <a:gd name="T26" fmla="*/ 90 w 403"/>
                  <a:gd name="T27" fmla="*/ 124 h 184"/>
                  <a:gd name="T28" fmla="*/ 70 w 403"/>
                  <a:gd name="T29" fmla="*/ 138 h 184"/>
                  <a:gd name="T30" fmla="*/ 62 w 403"/>
                  <a:gd name="T31" fmla="*/ 124 h 184"/>
                  <a:gd name="T32" fmla="*/ 20 w 403"/>
                  <a:gd name="T33" fmla="*/ 116 h 184"/>
                  <a:gd name="T34" fmla="*/ 6 w 403"/>
                  <a:gd name="T35" fmla="*/ 104 h 184"/>
                  <a:gd name="T36" fmla="*/ 6 w 403"/>
                  <a:gd name="T37" fmla="*/ 88 h 184"/>
                  <a:gd name="T38" fmla="*/ 20 w 403"/>
                  <a:gd name="T39" fmla="*/ 76 h 184"/>
                  <a:gd name="T40" fmla="*/ 40 w 403"/>
                  <a:gd name="T41" fmla="*/ 88 h 184"/>
                  <a:gd name="T42" fmla="*/ 62 w 403"/>
                  <a:gd name="T43" fmla="*/ 88 h 184"/>
                  <a:gd name="T44" fmla="*/ 82 w 403"/>
                  <a:gd name="T45" fmla="*/ 88 h 184"/>
                  <a:gd name="T46" fmla="*/ 104 w 403"/>
                  <a:gd name="T47" fmla="*/ 82 h 184"/>
                  <a:gd name="T48" fmla="*/ 124 w 403"/>
                  <a:gd name="T49" fmla="*/ 88 h 184"/>
                  <a:gd name="T50" fmla="*/ 152 w 403"/>
                  <a:gd name="T51" fmla="*/ 82 h 184"/>
                  <a:gd name="T52" fmla="*/ 166 w 403"/>
                  <a:gd name="T53" fmla="*/ 82 h 184"/>
                  <a:gd name="T54" fmla="*/ 186 w 403"/>
                  <a:gd name="T55" fmla="*/ 96 h 184"/>
                  <a:gd name="T56" fmla="*/ 194 w 403"/>
                  <a:gd name="T57" fmla="*/ 104 h 184"/>
                  <a:gd name="T58" fmla="*/ 200 w 403"/>
                  <a:gd name="T59" fmla="*/ 88 h 184"/>
                  <a:gd name="T60" fmla="*/ 194 w 403"/>
                  <a:gd name="T61" fmla="*/ 68 h 184"/>
                  <a:gd name="T62" fmla="*/ 186 w 403"/>
                  <a:gd name="T63" fmla="*/ 42 h 184"/>
                  <a:gd name="T64" fmla="*/ 222 w 403"/>
                  <a:gd name="T65" fmla="*/ 28 h 184"/>
                  <a:gd name="T66" fmla="*/ 236 w 403"/>
                  <a:gd name="T67" fmla="*/ 20 h 184"/>
                  <a:gd name="T68" fmla="*/ 250 w 403"/>
                  <a:gd name="T69" fmla="*/ 14 h 184"/>
                  <a:gd name="T70" fmla="*/ 284 w 403"/>
                  <a:gd name="T71" fmla="*/ 20 h 184"/>
                  <a:gd name="T72" fmla="*/ 290 w 403"/>
                  <a:gd name="T73" fmla="*/ 0 h 184"/>
                  <a:gd name="T74" fmla="*/ 319 w 403"/>
                  <a:gd name="T75" fmla="*/ 0 h 184"/>
                  <a:gd name="T76" fmla="*/ 341 w 403"/>
                  <a:gd name="T77" fmla="*/ 6 h 184"/>
                  <a:gd name="T78" fmla="*/ 369 w 403"/>
                  <a:gd name="T79" fmla="*/ 14 h 184"/>
                  <a:gd name="T80" fmla="*/ 381 w 403"/>
                  <a:gd name="T81" fmla="*/ 28 h 184"/>
                  <a:gd name="T82" fmla="*/ 403 w 403"/>
                  <a:gd name="T83" fmla="*/ 34 h 184"/>
                  <a:gd name="T84" fmla="*/ 395 w 403"/>
                  <a:gd name="T85" fmla="*/ 54 h 184"/>
                  <a:gd name="T86" fmla="*/ 395 w 403"/>
                  <a:gd name="T87" fmla="*/ 88 h 184"/>
                  <a:gd name="T88" fmla="*/ 389 w 403"/>
                  <a:gd name="T89" fmla="*/ 88 h 184"/>
                  <a:gd name="T90" fmla="*/ 375 w 403"/>
                  <a:gd name="T91" fmla="*/ 96 h 184"/>
                  <a:gd name="T92" fmla="*/ 381 w 403"/>
                  <a:gd name="T93" fmla="*/ 116 h 184"/>
                  <a:gd name="T94" fmla="*/ 369 w 403"/>
                  <a:gd name="T95" fmla="*/ 144 h 184"/>
                  <a:gd name="T96" fmla="*/ 355 w 403"/>
                  <a:gd name="T97" fmla="*/ 164 h 184"/>
                  <a:gd name="T98" fmla="*/ 355 w 403"/>
                  <a:gd name="T99" fmla="*/ 158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3" h="184">
                    <a:moveTo>
                      <a:pt x="355" y="158"/>
                    </a:moveTo>
                    <a:lnTo>
                      <a:pt x="355" y="164"/>
                    </a:lnTo>
                    <a:lnTo>
                      <a:pt x="347" y="164"/>
                    </a:lnTo>
                    <a:lnTo>
                      <a:pt x="347" y="172"/>
                    </a:lnTo>
                    <a:lnTo>
                      <a:pt x="341" y="172"/>
                    </a:lnTo>
                    <a:lnTo>
                      <a:pt x="341" y="164"/>
                    </a:lnTo>
                    <a:lnTo>
                      <a:pt x="333" y="164"/>
                    </a:lnTo>
                    <a:lnTo>
                      <a:pt x="327" y="164"/>
                    </a:lnTo>
                    <a:lnTo>
                      <a:pt x="319" y="164"/>
                    </a:lnTo>
                    <a:lnTo>
                      <a:pt x="313" y="164"/>
                    </a:lnTo>
                    <a:lnTo>
                      <a:pt x="305" y="164"/>
                    </a:lnTo>
                    <a:lnTo>
                      <a:pt x="298" y="164"/>
                    </a:lnTo>
                    <a:lnTo>
                      <a:pt x="290" y="164"/>
                    </a:lnTo>
                    <a:lnTo>
                      <a:pt x="290" y="172"/>
                    </a:lnTo>
                    <a:lnTo>
                      <a:pt x="284" y="178"/>
                    </a:lnTo>
                    <a:lnTo>
                      <a:pt x="276" y="178"/>
                    </a:lnTo>
                    <a:lnTo>
                      <a:pt x="270" y="178"/>
                    </a:lnTo>
                    <a:lnTo>
                      <a:pt x="262" y="184"/>
                    </a:lnTo>
                    <a:lnTo>
                      <a:pt x="256" y="184"/>
                    </a:lnTo>
                    <a:lnTo>
                      <a:pt x="250" y="178"/>
                    </a:lnTo>
                    <a:lnTo>
                      <a:pt x="242" y="178"/>
                    </a:lnTo>
                    <a:lnTo>
                      <a:pt x="236" y="178"/>
                    </a:lnTo>
                    <a:lnTo>
                      <a:pt x="228" y="172"/>
                    </a:lnTo>
                    <a:lnTo>
                      <a:pt x="228" y="178"/>
                    </a:lnTo>
                    <a:lnTo>
                      <a:pt x="214" y="172"/>
                    </a:lnTo>
                    <a:lnTo>
                      <a:pt x="208" y="172"/>
                    </a:lnTo>
                    <a:lnTo>
                      <a:pt x="200" y="164"/>
                    </a:lnTo>
                    <a:lnTo>
                      <a:pt x="186" y="164"/>
                    </a:lnTo>
                    <a:lnTo>
                      <a:pt x="180" y="164"/>
                    </a:lnTo>
                    <a:lnTo>
                      <a:pt x="174" y="164"/>
                    </a:lnTo>
                    <a:lnTo>
                      <a:pt x="166" y="164"/>
                    </a:lnTo>
                    <a:lnTo>
                      <a:pt x="160" y="158"/>
                    </a:lnTo>
                    <a:lnTo>
                      <a:pt x="152" y="150"/>
                    </a:lnTo>
                    <a:lnTo>
                      <a:pt x="152" y="144"/>
                    </a:lnTo>
                    <a:lnTo>
                      <a:pt x="144" y="138"/>
                    </a:lnTo>
                    <a:lnTo>
                      <a:pt x="138" y="130"/>
                    </a:lnTo>
                    <a:lnTo>
                      <a:pt x="124" y="130"/>
                    </a:lnTo>
                    <a:lnTo>
                      <a:pt x="118" y="130"/>
                    </a:lnTo>
                    <a:lnTo>
                      <a:pt x="110" y="130"/>
                    </a:lnTo>
                    <a:lnTo>
                      <a:pt x="104" y="130"/>
                    </a:lnTo>
                    <a:lnTo>
                      <a:pt x="96" y="124"/>
                    </a:lnTo>
                    <a:lnTo>
                      <a:pt x="90" y="124"/>
                    </a:lnTo>
                    <a:lnTo>
                      <a:pt x="90" y="130"/>
                    </a:lnTo>
                    <a:lnTo>
                      <a:pt x="76" y="138"/>
                    </a:lnTo>
                    <a:lnTo>
                      <a:pt x="70" y="138"/>
                    </a:lnTo>
                    <a:lnTo>
                      <a:pt x="62" y="138"/>
                    </a:lnTo>
                    <a:lnTo>
                      <a:pt x="62" y="130"/>
                    </a:lnTo>
                    <a:lnTo>
                      <a:pt x="62" y="124"/>
                    </a:lnTo>
                    <a:lnTo>
                      <a:pt x="56" y="124"/>
                    </a:lnTo>
                    <a:lnTo>
                      <a:pt x="28" y="124"/>
                    </a:lnTo>
                    <a:lnTo>
                      <a:pt x="20" y="116"/>
                    </a:lnTo>
                    <a:lnTo>
                      <a:pt x="14" y="110"/>
                    </a:lnTo>
                    <a:lnTo>
                      <a:pt x="6" y="110"/>
                    </a:lnTo>
                    <a:lnTo>
                      <a:pt x="6" y="104"/>
                    </a:lnTo>
                    <a:lnTo>
                      <a:pt x="0" y="104"/>
                    </a:lnTo>
                    <a:lnTo>
                      <a:pt x="0" y="96"/>
                    </a:lnTo>
                    <a:lnTo>
                      <a:pt x="6" y="88"/>
                    </a:lnTo>
                    <a:lnTo>
                      <a:pt x="6" y="82"/>
                    </a:lnTo>
                    <a:lnTo>
                      <a:pt x="14" y="76"/>
                    </a:lnTo>
                    <a:lnTo>
                      <a:pt x="20" y="76"/>
                    </a:lnTo>
                    <a:lnTo>
                      <a:pt x="28" y="82"/>
                    </a:lnTo>
                    <a:lnTo>
                      <a:pt x="34" y="88"/>
                    </a:lnTo>
                    <a:lnTo>
                      <a:pt x="40" y="88"/>
                    </a:lnTo>
                    <a:lnTo>
                      <a:pt x="48" y="96"/>
                    </a:lnTo>
                    <a:lnTo>
                      <a:pt x="56" y="88"/>
                    </a:lnTo>
                    <a:lnTo>
                      <a:pt x="62" y="88"/>
                    </a:lnTo>
                    <a:lnTo>
                      <a:pt x="70" y="76"/>
                    </a:lnTo>
                    <a:lnTo>
                      <a:pt x="82" y="82"/>
                    </a:lnTo>
                    <a:lnTo>
                      <a:pt x="82" y="88"/>
                    </a:lnTo>
                    <a:lnTo>
                      <a:pt x="90" y="88"/>
                    </a:lnTo>
                    <a:lnTo>
                      <a:pt x="96" y="88"/>
                    </a:lnTo>
                    <a:lnTo>
                      <a:pt x="104" y="82"/>
                    </a:lnTo>
                    <a:lnTo>
                      <a:pt x="110" y="88"/>
                    </a:lnTo>
                    <a:lnTo>
                      <a:pt x="118" y="88"/>
                    </a:lnTo>
                    <a:lnTo>
                      <a:pt x="124" y="88"/>
                    </a:lnTo>
                    <a:lnTo>
                      <a:pt x="132" y="82"/>
                    </a:lnTo>
                    <a:lnTo>
                      <a:pt x="138" y="82"/>
                    </a:lnTo>
                    <a:lnTo>
                      <a:pt x="152" y="82"/>
                    </a:lnTo>
                    <a:lnTo>
                      <a:pt x="160" y="82"/>
                    </a:lnTo>
                    <a:lnTo>
                      <a:pt x="166" y="88"/>
                    </a:lnTo>
                    <a:lnTo>
                      <a:pt x="166" y="82"/>
                    </a:lnTo>
                    <a:lnTo>
                      <a:pt x="174" y="82"/>
                    </a:lnTo>
                    <a:lnTo>
                      <a:pt x="186" y="88"/>
                    </a:lnTo>
                    <a:lnTo>
                      <a:pt x="186" y="96"/>
                    </a:lnTo>
                    <a:lnTo>
                      <a:pt x="186" y="104"/>
                    </a:lnTo>
                    <a:lnTo>
                      <a:pt x="194" y="110"/>
                    </a:lnTo>
                    <a:lnTo>
                      <a:pt x="194" y="104"/>
                    </a:lnTo>
                    <a:lnTo>
                      <a:pt x="200" y="104"/>
                    </a:lnTo>
                    <a:lnTo>
                      <a:pt x="200" y="96"/>
                    </a:lnTo>
                    <a:lnTo>
                      <a:pt x="200" y="88"/>
                    </a:lnTo>
                    <a:lnTo>
                      <a:pt x="194" y="82"/>
                    </a:lnTo>
                    <a:lnTo>
                      <a:pt x="194" y="76"/>
                    </a:lnTo>
                    <a:lnTo>
                      <a:pt x="194" y="68"/>
                    </a:lnTo>
                    <a:lnTo>
                      <a:pt x="186" y="62"/>
                    </a:lnTo>
                    <a:lnTo>
                      <a:pt x="186" y="54"/>
                    </a:lnTo>
                    <a:lnTo>
                      <a:pt x="186" y="42"/>
                    </a:lnTo>
                    <a:lnTo>
                      <a:pt x="208" y="42"/>
                    </a:lnTo>
                    <a:lnTo>
                      <a:pt x="214" y="34"/>
                    </a:lnTo>
                    <a:lnTo>
                      <a:pt x="222" y="28"/>
                    </a:lnTo>
                    <a:lnTo>
                      <a:pt x="222" y="20"/>
                    </a:lnTo>
                    <a:lnTo>
                      <a:pt x="228" y="20"/>
                    </a:lnTo>
                    <a:lnTo>
                      <a:pt x="236" y="20"/>
                    </a:lnTo>
                    <a:lnTo>
                      <a:pt x="242" y="20"/>
                    </a:lnTo>
                    <a:lnTo>
                      <a:pt x="242" y="14"/>
                    </a:lnTo>
                    <a:lnTo>
                      <a:pt x="250" y="14"/>
                    </a:lnTo>
                    <a:lnTo>
                      <a:pt x="256" y="20"/>
                    </a:lnTo>
                    <a:lnTo>
                      <a:pt x="270" y="20"/>
                    </a:lnTo>
                    <a:lnTo>
                      <a:pt x="284" y="20"/>
                    </a:lnTo>
                    <a:lnTo>
                      <a:pt x="290" y="14"/>
                    </a:lnTo>
                    <a:lnTo>
                      <a:pt x="290" y="6"/>
                    </a:lnTo>
                    <a:lnTo>
                      <a:pt x="290" y="0"/>
                    </a:lnTo>
                    <a:lnTo>
                      <a:pt x="298" y="0"/>
                    </a:lnTo>
                    <a:lnTo>
                      <a:pt x="313" y="0"/>
                    </a:lnTo>
                    <a:lnTo>
                      <a:pt x="319" y="0"/>
                    </a:lnTo>
                    <a:lnTo>
                      <a:pt x="327" y="0"/>
                    </a:lnTo>
                    <a:lnTo>
                      <a:pt x="333" y="6"/>
                    </a:lnTo>
                    <a:lnTo>
                      <a:pt x="341" y="6"/>
                    </a:lnTo>
                    <a:lnTo>
                      <a:pt x="355" y="6"/>
                    </a:lnTo>
                    <a:lnTo>
                      <a:pt x="361" y="14"/>
                    </a:lnTo>
                    <a:lnTo>
                      <a:pt x="369" y="14"/>
                    </a:lnTo>
                    <a:lnTo>
                      <a:pt x="369" y="20"/>
                    </a:lnTo>
                    <a:lnTo>
                      <a:pt x="375" y="28"/>
                    </a:lnTo>
                    <a:lnTo>
                      <a:pt x="381" y="28"/>
                    </a:lnTo>
                    <a:lnTo>
                      <a:pt x="389" y="28"/>
                    </a:lnTo>
                    <a:lnTo>
                      <a:pt x="395" y="28"/>
                    </a:lnTo>
                    <a:lnTo>
                      <a:pt x="403" y="34"/>
                    </a:lnTo>
                    <a:lnTo>
                      <a:pt x="395" y="42"/>
                    </a:lnTo>
                    <a:lnTo>
                      <a:pt x="403" y="54"/>
                    </a:lnTo>
                    <a:lnTo>
                      <a:pt x="395" y="54"/>
                    </a:lnTo>
                    <a:lnTo>
                      <a:pt x="403" y="68"/>
                    </a:lnTo>
                    <a:lnTo>
                      <a:pt x="403" y="82"/>
                    </a:lnTo>
                    <a:lnTo>
                      <a:pt x="395" y="88"/>
                    </a:lnTo>
                    <a:lnTo>
                      <a:pt x="395" y="96"/>
                    </a:lnTo>
                    <a:lnTo>
                      <a:pt x="389" y="96"/>
                    </a:lnTo>
                    <a:lnTo>
                      <a:pt x="389" y="88"/>
                    </a:lnTo>
                    <a:lnTo>
                      <a:pt x="381" y="88"/>
                    </a:lnTo>
                    <a:lnTo>
                      <a:pt x="375" y="88"/>
                    </a:lnTo>
                    <a:lnTo>
                      <a:pt x="375" y="96"/>
                    </a:lnTo>
                    <a:lnTo>
                      <a:pt x="381" y="104"/>
                    </a:lnTo>
                    <a:lnTo>
                      <a:pt x="381" y="110"/>
                    </a:lnTo>
                    <a:lnTo>
                      <a:pt x="381" y="116"/>
                    </a:lnTo>
                    <a:lnTo>
                      <a:pt x="375" y="116"/>
                    </a:lnTo>
                    <a:lnTo>
                      <a:pt x="375" y="130"/>
                    </a:lnTo>
                    <a:lnTo>
                      <a:pt x="369" y="144"/>
                    </a:lnTo>
                    <a:lnTo>
                      <a:pt x="361" y="144"/>
                    </a:lnTo>
                    <a:lnTo>
                      <a:pt x="355" y="158"/>
                    </a:lnTo>
                    <a:lnTo>
                      <a:pt x="355" y="164"/>
                    </a:lnTo>
                    <a:lnTo>
                      <a:pt x="355" y="158"/>
                    </a:lnTo>
                    <a:lnTo>
                      <a:pt x="355" y="158"/>
                    </a:lnTo>
                    <a:lnTo>
                      <a:pt x="355" y="158"/>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3" name="Freeform 47"/>
              <p:cNvSpPr>
                <a:spLocks/>
              </p:cNvSpPr>
              <p:nvPr>
                <p:custDataLst>
                  <p:tags r:id="rId139"/>
                </p:custDataLst>
              </p:nvPr>
            </p:nvSpPr>
            <p:spPr bwMode="gray">
              <a:xfrm>
                <a:off x="4193551" y="2673042"/>
                <a:ext cx="741528" cy="930481"/>
              </a:xfrm>
              <a:custGeom>
                <a:avLst/>
                <a:gdLst>
                  <a:gd name="T0" fmla="*/ 14 w 467"/>
                  <a:gd name="T1" fmla="*/ 358 h 586"/>
                  <a:gd name="T2" fmla="*/ 14 w 467"/>
                  <a:gd name="T3" fmla="*/ 392 h 586"/>
                  <a:gd name="T4" fmla="*/ 62 w 467"/>
                  <a:gd name="T5" fmla="*/ 426 h 586"/>
                  <a:gd name="T6" fmla="*/ 62 w 467"/>
                  <a:gd name="T7" fmla="*/ 454 h 586"/>
                  <a:gd name="T8" fmla="*/ 48 w 467"/>
                  <a:gd name="T9" fmla="*/ 502 h 586"/>
                  <a:gd name="T10" fmla="*/ 48 w 467"/>
                  <a:gd name="T11" fmla="*/ 538 h 586"/>
                  <a:gd name="T12" fmla="*/ 84 w 467"/>
                  <a:gd name="T13" fmla="*/ 538 h 586"/>
                  <a:gd name="T14" fmla="*/ 118 w 467"/>
                  <a:gd name="T15" fmla="*/ 544 h 586"/>
                  <a:gd name="T16" fmla="*/ 154 w 467"/>
                  <a:gd name="T17" fmla="*/ 550 h 586"/>
                  <a:gd name="T18" fmla="*/ 188 w 467"/>
                  <a:gd name="T19" fmla="*/ 572 h 586"/>
                  <a:gd name="T20" fmla="*/ 222 w 467"/>
                  <a:gd name="T21" fmla="*/ 564 h 586"/>
                  <a:gd name="T22" fmla="*/ 258 w 467"/>
                  <a:gd name="T23" fmla="*/ 564 h 586"/>
                  <a:gd name="T24" fmla="*/ 298 w 467"/>
                  <a:gd name="T25" fmla="*/ 558 h 586"/>
                  <a:gd name="T26" fmla="*/ 326 w 467"/>
                  <a:gd name="T27" fmla="*/ 572 h 586"/>
                  <a:gd name="T28" fmla="*/ 340 w 467"/>
                  <a:gd name="T29" fmla="*/ 572 h 586"/>
                  <a:gd name="T30" fmla="*/ 326 w 467"/>
                  <a:gd name="T31" fmla="*/ 538 h 586"/>
                  <a:gd name="T32" fmla="*/ 360 w 467"/>
                  <a:gd name="T33" fmla="*/ 502 h 586"/>
                  <a:gd name="T34" fmla="*/ 382 w 467"/>
                  <a:gd name="T35" fmla="*/ 490 h 586"/>
                  <a:gd name="T36" fmla="*/ 354 w 467"/>
                  <a:gd name="T37" fmla="*/ 462 h 586"/>
                  <a:gd name="T38" fmla="*/ 326 w 467"/>
                  <a:gd name="T39" fmla="*/ 414 h 586"/>
                  <a:gd name="T40" fmla="*/ 306 w 467"/>
                  <a:gd name="T41" fmla="*/ 372 h 586"/>
                  <a:gd name="T42" fmla="*/ 320 w 467"/>
                  <a:gd name="T43" fmla="*/ 352 h 586"/>
                  <a:gd name="T44" fmla="*/ 368 w 467"/>
                  <a:gd name="T45" fmla="*/ 344 h 586"/>
                  <a:gd name="T46" fmla="*/ 424 w 467"/>
                  <a:gd name="T47" fmla="*/ 310 h 586"/>
                  <a:gd name="T48" fmla="*/ 465 w 467"/>
                  <a:gd name="T49" fmla="*/ 308 h 586"/>
                  <a:gd name="T50" fmla="*/ 459 w 467"/>
                  <a:gd name="T51" fmla="*/ 264 h 586"/>
                  <a:gd name="T52" fmla="*/ 453 w 467"/>
                  <a:gd name="T53" fmla="*/ 210 h 586"/>
                  <a:gd name="T54" fmla="*/ 434 w 467"/>
                  <a:gd name="T55" fmla="*/ 180 h 586"/>
                  <a:gd name="T56" fmla="*/ 443 w 467"/>
                  <a:gd name="T57" fmla="*/ 140 h 586"/>
                  <a:gd name="T58" fmla="*/ 410 w 467"/>
                  <a:gd name="T59" fmla="*/ 98 h 586"/>
                  <a:gd name="T60" fmla="*/ 382 w 467"/>
                  <a:gd name="T61" fmla="*/ 70 h 586"/>
                  <a:gd name="T62" fmla="*/ 354 w 467"/>
                  <a:gd name="T63" fmla="*/ 70 h 586"/>
                  <a:gd name="T64" fmla="*/ 312 w 467"/>
                  <a:gd name="T65" fmla="*/ 84 h 586"/>
                  <a:gd name="T66" fmla="*/ 284 w 467"/>
                  <a:gd name="T67" fmla="*/ 70 h 586"/>
                  <a:gd name="T68" fmla="*/ 278 w 467"/>
                  <a:gd name="T69" fmla="*/ 56 h 586"/>
                  <a:gd name="T70" fmla="*/ 250 w 467"/>
                  <a:gd name="T71" fmla="*/ 42 h 586"/>
                  <a:gd name="T72" fmla="*/ 236 w 467"/>
                  <a:gd name="T73" fmla="*/ 22 h 586"/>
                  <a:gd name="T74" fmla="*/ 196 w 467"/>
                  <a:gd name="T75" fmla="*/ 0 h 586"/>
                  <a:gd name="T76" fmla="*/ 188 w 467"/>
                  <a:gd name="T77" fmla="*/ 42 h 586"/>
                  <a:gd name="T78" fmla="*/ 188 w 467"/>
                  <a:gd name="T79" fmla="*/ 64 h 586"/>
                  <a:gd name="T80" fmla="*/ 216 w 467"/>
                  <a:gd name="T81" fmla="*/ 104 h 586"/>
                  <a:gd name="T82" fmla="*/ 174 w 467"/>
                  <a:gd name="T83" fmla="*/ 90 h 586"/>
                  <a:gd name="T84" fmla="*/ 160 w 467"/>
                  <a:gd name="T85" fmla="*/ 112 h 586"/>
                  <a:gd name="T86" fmla="*/ 146 w 467"/>
                  <a:gd name="T87" fmla="*/ 104 h 586"/>
                  <a:gd name="T88" fmla="*/ 112 w 467"/>
                  <a:gd name="T89" fmla="*/ 84 h 586"/>
                  <a:gd name="T90" fmla="*/ 104 w 467"/>
                  <a:gd name="T91" fmla="*/ 104 h 586"/>
                  <a:gd name="T92" fmla="*/ 104 w 467"/>
                  <a:gd name="T93" fmla="*/ 138 h 586"/>
                  <a:gd name="T94" fmla="*/ 98 w 467"/>
                  <a:gd name="T95" fmla="*/ 172 h 586"/>
                  <a:gd name="T96" fmla="*/ 84 w 467"/>
                  <a:gd name="T97" fmla="*/ 214 h 586"/>
                  <a:gd name="T98" fmla="*/ 36 w 467"/>
                  <a:gd name="T99" fmla="*/ 214 h 586"/>
                  <a:gd name="T100" fmla="*/ 22 w 467"/>
                  <a:gd name="T101" fmla="*/ 256 h 586"/>
                  <a:gd name="T102" fmla="*/ 0 w 467"/>
                  <a:gd name="T103" fmla="*/ 296 h 586"/>
                  <a:gd name="T104" fmla="*/ 0 w 467"/>
                  <a:gd name="T105" fmla="*/ 318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7" h="586">
                    <a:moveTo>
                      <a:pt x="0" y="332"/>
                    </a:moveTo>
                    <a:lnTo>
                      <a:pt x="0" y="338"/>
                    </a:lnTo>
                    <a:lnTo>
                      <a:pt x="8" y="344"/>
                    </a:lnTo>
                    <a:lnTo>
                      <a:pt x="14" y="352"/>
                    </a:lnTo>
                    <a:lnTo>
                      <a:pt x="14" y="358"/>
                    </a:lnTo>
                    <a:lnTo>
                      <a:pt x="14" y="366"/>
                    </a:lnTo>
                    <a:lnTo>
                      <a:pt x="14" y="372"/>
                    </a:lnTo>
                    <a:lnTo>
                      <a:pt x="14" y="380"/>
                    </a:lnTo>
                    <a:lnTo>
                      <a:pt x="8" y="380"/>
                    </a:lnTo>
                    <a:lnTo>
                      <a:pt x="14" y="392"/>
                    </a:lnTo>
                    <a:lnTo>
                      <a:pt x="22" y="406"/>
                    </a:lnTo>
                    <a:lnTo>
                      <a:pt x="28" y="414"/>
                    </a:lnTo>
                    <a:lnTo>
                      <a:pt x="42" y="420"/>
                    </a:lnTo>
                    <a:lnTo>
                      <a:pt x="56" y="420"/>
                    </a:lnTo>
                    <a:lnTo>
                      <a:pt x="62" y="426"/>
                    </a:lnTo>
                    <a:lnTo>
                      <a:pt x="70" y="426"/>
                    </a:lnTo>
                    <a:lnTo>
                      <a:pt x="76" y="426"/>
                    </a:lnTo>
                    <a:lnTo>
                      <a:pt x="84" y="434"/>
                    </a:lnTo>
                    <a:lnTo>
                      <a:pt x="70" y="448"/>
                    </a:lnTo>
                    <a:lnTo>
                      <a:pt x="62" y="454"/>
                    </a:lnTo>
                    <a:lnTo>
                      <a:pt x="56" y="468"/>
                    </a:lnTo>
                    <a:lnTo>
                      <a:pt x="56" y="476"/>
                    </a:lnTo>
                    <a:lnTo>
                      <a:pt x="48" y="482"/>
                    </a:lnTo>
                    <a:lnTo>
                      <a:pt x="48" y="490"/>
                    </a:lnTo>
                    <a:lnTo>
                      <a:pt x="48" y="502"/>
                    </a:lnTo>
                    <a:lnTo>
                      <a:pt x="48" y="510"/>
                    </a:lnTo>
                    <a:lnTo>
                      <a:pt x="42" y="516"/>
                    </a:lnTo>
                    <a:lnTo>
                      <a:pt x="42" y="532"/>
                    </a:lnTo>
                    <a:lnTo>
                      <a:pt x="42" y="530"/>
                    </a:lnTo>
                    <a:lnTo>
                      <a:pt x="48" y="538"/>
                    </a:lnTo>
                    <a:lnTo>
                      <a:pt x="48" y="530"/>
                    </a:lnTo>
                    <a:lnTo>
                      <a:pt x="62" y="538"/>
                    </a:lnTo>
                    <a:lnTo>
                      <a:pt x="70" y="538"/>
                    </a:lnTo>
                    <a:lnTo>
                      <a:pt x="76" y="538"/>
                    </a:lnTo>
                    <a:lnTo>
                      <a:pt x="84" y="538"/>
                    </a:lnTo>
                    <a:lnTo>
                      <a:pt x="90" y="538"/>
                    </a:lnTo>
                    <a:lnTo>
                      <a:pt x="98" y="538"/>
                    </a:lnTo>
                    <a:lnTo>
                      <a:pt x="104" y="538"/>
                    </a:lnTo>
                    <a:lnTo>
                      <a:pt x="118" y="538"/>
                    </a:lnTo>
                    <a:lnTo>
                      <a:pt x="118" y="544"/>
                    </a:lnTo>
                    <a:lnTo>
                      <a:pt x="126" y="544"/>
                    </a:lnTo>
                    <a:lnTo>
                      <a:pt x="132" y="544"/>
                    </a:lnTo>
                    <a:lnTo>
                      <a:pt x="132" y="550"/>
                    </a:lnTo>
                    <a:lnTo>
                      <a:pt x="146" y="558"/>
                    </a:lnTo>
                    <a:lnTo>
                      <a:pt x="154" y="550"/>
                    </a:lnTo>
                    <a:lnTo>
                      <a:pt x="160" y="550"/>
                    </a:lnTo>
                    <a:lnTo>
                      <a:pt x="166" y="558"/>
                    </a:lnTo>
                    <a:lnTo>
                      <a:pt x="174" y="564"/>
                    </a:lnTo>
                    <a:lnTo>
                      <a:pt x="180" y="564"/>
                    </a:lnTo>
                    <a:lnTo>
                      <a:pt x="188" y="572"/>
                    </a:lnTo>
                    <a:lnTo>
                      <a:pt x="196" y="564"/>
                    </a:lnTo>
                    <a:lnTo>
                      <a:pt x="202" y="564"/>
                    </a:lnTo>
                    <a:lnTo>
                      <a:pt x="208" y="550"/>
                    </a:lnTo>
                    <a:lnTo>
                      <a:pt x="222" y="558"/>
                    </a:lnTo>
                    <a:lnTo>
                      <a:pt x="222" y="564"/>
                    </a:lnTo>
                    <a:lnTo>
                      <a:pt x="228" y="564"/>
                    </a:lnTo>
                    <a:lnTo>
                      <a:pt x="236" y="564"/>
                    </a:lnTo>
                    <a:lnTo>
                      <a:pt x="244" y="558"/>
                    </a:lnTo>
                    <a:lnTo>
                      <a:pt x="250" y="564"/>
                    </a:lnTo>
                    <a:lnTo>
                      <a:pt x="258" y="564"/>
                    </a:lnTo>
                    <a:lnTo>
                      <a:pt x="264" y="564"/>
                    </a:lnTo>
                    <a:lnTo>
                      <a:pt x="272" y="558"/>
                    </a:lnTo>
                    <a:lnTo>
                      <a:pt x="278" y="558"/>
                    </a:lnTo>
                    <a:lnTo>
                      <a:pt x="292" y="558"/>
                    </a:lnTo>
                    <a:lnTo>
                      <a:pt x="298" y="558"/>
                    </a:lnTo>
                    <a:lnTo>
                      <a:pt x="306" y="564"/>
                    </a:lnTo>
                    <a:lnTo>
                      <a:pt x="306" y="558"/>
                    </a:lnTo>
                    <a:lnTo>
                      <a:pt x="312" y="558"/>
                    </a:lnTo>
                    <a:lnTo>
                      <a:pt x="326" y="564"/>
                    </a:lnTo>
                    <a:lnTo>
                      <a:pt x="326" y="572"/>
                    </a:lnTo>
                    <a:lnTo>
                      <a:pt x="326" y="578"/>
                    </a:lnTo>
                    <a:lnTo>
                      <a:pt x="334" y="586"/>
                    </a:lnTo>
                    <a:lnTo>
                      <a:pt x="334" y="578"/>
                    </a:lnTo>
                    <a:lnTo>
                      <a:pt x="340" y="578"/>
                    </a:lnTo>
                    <a:lnTo>
                      <a:pt x="340" y="572"/>
                    </a:lnTo>
                    <a:lnTo>
                      <a:pt x="340" y="564"/>
                    </a:lnTo>
                    <a:lnTo>
                      <a:pt x="334" y="558"/>
                    </a:lnTo>
                    <a:lnTo>
                      <a:pt x="334" y="550"/>
                    </a:lnTo>
                    <a:lnTo>
                      <a:pt x="334" y="544"/>
                    </a:lnTo>
                    <a:lnTo>
                      <a:pt x="326" y="538"/>
                    </a:lnTo>
                    <a:lnTo>
                      <a:pt x="326" y="530"/>
                    </a:lnTo>
                    <a:lnTo>
                      <a:pt x="326" y="516"/>
                    </a:lnTo>
                    <a:lnTo>
                      <a:pt x="348" y="516"/>
                    </a:lnTo>
                    <a:lnTo>
                      <a:pt x="354" y="510"/>
                    </a:lnTo>
                    <a:lnTo>
                      <a:pt x="360" y="502"/>
                    </a:lnTo>
                    <a:lnTo>
                      <a:pt x="360" y="496"/>
                    </a:lnTo>
                    <a:lnTo>
                      <a:pt x="368" y="496"/>
                    </a:lnTo>
                    <a:lnTo>
                      <a:pt x="374" y="496"/>
                    </a:lnTo>
                    <a:lnTo>
                      <a:pt x="382" y="496"/>
                    </a:lnTo>
                    <a:lnTo>
                      <a:pt x="382" y="490"/>
                    </a:lnTo>
                    <a:lnTo>
                      <a:pt x="382" y="482"/>
                    </a:lnTo>
                    <a:lnTo>
                      <a:pt x="374" y="476"/>
                    </a:lnTo>
                    <a:lnTo>
                      <a:pt x="368" y="468"/>
                    </a:lnTo>
                    <a:lnTo>
                      <a:pt x="360" y="462"/>
                    </a:lnTo>
                    <a:lnTo>
                      <a:pt x="354" y="462"/>
                    </a:lnTo>
                    <a:lnTo>
                      <a:pt x="348" y="454"/>
                    </a:lnTo>
                    <a:lnTo>
                      <a:pt x="340" y="440"/>
                    </a:lnTo>
                    <a:lnTo>
                      <a:pt x="334" y="426"/>
                    </a:lnTo>
                    <a:lnTo>
                      <a:pt x="326" y="420"/>
                    </a:lnTo>
                    <a:lnTo>
                      <a:pt x="326" y="414"/>
                    </a:lnTo>
                    <a:lnTo>
                      <a:pt x="326" y="400"/>
                    </a:lnTo>
                    <a:lnTo>
                      <a:pt x="320" y="392"/>
                    </a:lnTo>
                    <a:lnTo>
                      <a:pt x="312" y="386"/>
                    </a:lnTo>
                    <a:lnTo>
                      <a:pt x="312" y="372"/>
                    </a:lnTo>
                    <a:lnTo>
                      <a:pt x="306" y="372"/>
                    </a:lnTo>
                    <a:lnTo>
                      <a:pt x="298" y="358"/>
                    </a:lnTo>
                    <a:lnTo>
                      <a:pt x="298" y="344"/>
                    </a:lnTo>
                    <a:lnTo>
                      <a:pt x="306" y="352"/>
                    </a:lnTo>
                    <a:lnTo>
                      <a:pt x="306" y="358"/>
                    </a:lnTo>
                    <a:lnTo>
                      <a:pt x="320" y="352"/>
                    </a:lnTo>
                    <a:lnTo>
                      <a:pt x="326" y="358"/>
                    </a:lnTo>
                    <a:lnTo>
                      <a:pt x="340" y="358"/>
                    </a:lnTo>
                    <a:lnTo>
                      <a:pt x="354" y="352"/>
                    </a:lnTo>
                    <a:lnTo>
                      <a:pt x="360" y="352"/>
                    </a:lnTo>
                    <a:lnTo>
                      <a:pt x="368" y="344"/>
                    </a:lnTo>
                    <a:lnTo>
                      <a:pt x="374" y="344"/>
                    </a:lnTo>
                    <a:lnTo>
                      <a:pt x="396" y="332"/>
                    </a:lnTo>
                    <a:lnTo>
                      <a:pt x="402" y="324"/>
                    </a:lnTo>
                    <a:lnTo>
                      <a:pt x="410" y="318"/>
                    </a:lnTo>
                    <a:lnTo>
                      <a:pt x="424" y="310"/>
                    </a:lnTo>
                    <a:lnTo>
                      <a:pt x="430" y="318"/>
                    </a:lnTo>
                    <a:lnTo>
                      <a:pt x="430" y="324"/>
                    </a:lnTo>
                    <a:lnTo>
                      <a:pt x="438" y="324"/>
                    </a:lnTo>
                    <a:lnTo>
                      <a:pt x="445" y="318"/>
                    </a:lnTo>
                    <a:lnTo>
                      <a:pt x="465" y="308"/>
                    </a:lnTo>
                    <a:lnTo>
                      <a:pt x="463" y="292"/>
                    </a:lnTo>
                    <a:lnTo>
                      <a:pt x="467" y="282"/>
                    </a:lnTo>
                    <a:lnTo>
                      <a:pt x="459" y="276"/>
                    </a:lnTo>
                    <a:lnTo>
                      <a:pt x="461" y="272"/>
                    </a:lnTo>
                    <a:lnTo>
                      <a:pt x="459" y="264"/>
                    </a:lnTo>
                    <a:lnTo>
                      <a:pt x="459" y="248"/>
                    </a:lnTo>
                    <a:lnTo>
                      <a:pt x="465" y="238"/>
                    </a:lnTo>
                    <a:lnTo>
                      <a:pt x="457" y="222"/>
                    </a:lnTo>
                    <a:lnTo>
                      <a:pt x="459" y="216"/>
                    </a:lnTo>
                    <a:lnTo>
                      <a:pt x="453" y="210"/>
                    </a:lnTo>
                    <a:lnTo>
                      <a:pt x="451" y="206"/>
                    </a:lnTo>
                    <a:lnTo>
                      <a:pt x="453" y="196"/>
                    </a:lnTo>
                    <a:lnTo>
                      <a:pt x="440" y="190"/>
                    </a:lnTo>
                    <a:lnTo>
                      <a:pt x="438" y="184"/>
                    </a:lnTo>
                    <a:lnTo>
                      <a:pt x="434" y="180"/>
                    </a:lnTo>
                    <a:lnTo>
                      <a:pt x="440" y="174"/>
                    </a:lnTo>
                    <a:lnTo>
                      <a:pt x="445" y="168"/>
                    </a:lnTo>
                    <a:lnTo>
                      <a:pt x="438" y="158"/>
                    </a:lnTo>
                    <a:lnTo>
                      <a:pt x="445" y="148"/>
                    </a:lnTo>
                    <a:lnTo>
                      <a:pt x="443" y="140"/>
                    </a:lnTo>
                    <a:lnTo>
                      <a:pt x="438" y="138"/>
                    </a:lnTo>
                    <a:lnTo>
                      <a:pt x="436" y="130"/>
                    </a:lnTo>
                    <a:lnTo>
                      <a:pt x="430" y="112"/>
                    </a:lnTo>
                    <a:lnTo>
                      <a:pt x="410" y="112"/>
                    </a:lnTo>
                    <a:lnTo>
                      <a:pt x="410" y="98"/>
                    </a:lnTo>
                    <a:lnTo>
                      <a:pt x="410" y="84"/>
                    </a:lnTo>
                    <a:lnTo>
                      <a:pt x="396" y="84"/>
                    </a:lnTo>
                    <a:lnTo>
                      <a:pt x="388" y="84"/>
                    </a:lnTo>
                    <a:lnTo>
                      <a:pt x="388" y="76"/>
                    </a:lnTo>
                    <a:lnTo>
                      <a:pt x="382" y="70"/>
                    </a:lnTo>
                    <a:lnTo>
                      <a:pt x="382" y="64"/>
                    </a:lnTo>
                    <a:lnTo>
                      <a:pt x="374" y="64"/>
                    </a:lnTo>
                    <a:lnTo>
                      <a:pt x="368" y="70"/>
                    </a:lnTo>
                    <a:lnTo>
                      <a:pt x="360" y="70"/>
                    </a:lnTo>
                    <a:lnTo>
                      <a:pt x="354" y="70"/>
                    </a:lnTo>
                    <a:lnTo>
                      <a:pt x="340" y="76"/>
                    </a:lnTo>
                    <a:lnTo>
                      <a:pt x="326" y="84"/>
                    </a:lnTo>
                    <a:lnTo>
                      <a:pt x="320" y="76"/>
                    </a:lnTo>
                    <a:lnTo>
                      <a:pt x="320" y="84"/>
                    </a:lnTo>
                    <a:lnTo>
                      <a:pt x="312" y="84"/>
                    </a:lnTo>
                    <a:lnTo>
                      <a:pt x="298" y="84"/>
                    </a:lnTo>
                    <a:lnTo>
                      <a:pt x="292" y="84"/>
                    </a:lnTo>
                    <a:lnTo>
                      <a:pt x="278" y="76"/>
                    </a:lnTo>
                    <a:lnTo>
                      <a:pt x="284" y="76"/>
                    </a:lnTo>
                    <a:lnTo>
                      <a:pt x="284" y="70"/>
                    </a:lnTo>
                    <a:lnTo>
                      <a:pt x="292" y="70"/>
                    </a:lnTo>
                    <a:lnTo>
                      <a:pt x="292" y="64"/>
                    </a:lnTo>
                    <a:lnTo>
                      <a:pt x="292" y="56"/>
                    </a:lnTo>
                    <a:lnTo>
                      <a:pt x="284" y="56"/>
                    </a:lnTo>
                    <a:lnTo>
                      <a:pt x="278" y="56"/>
                    </a:lnTo>
                    <a:lnTo>
                      <a:pt x="272" y="64"/>
                    </a:lnTo>
                    <a:lnTo>
                      <a:pt x="264" y="48"/>
                    </a:lnTo>
                    <a:lnTo>
                      <a:pt x="258" y="48"/>
                    </a:lnTo>
                    <a:lnTo>
                      <a:pt x="250" y="48"/>
                    </a:lnTo>
                    <a:lnTo>
                      <a:pt x="250" y="42"/>
                    </a:lnTo>
                    <a:lnTo>
                      <a:pt x="244" y="42"/>
                    </a:lnTo>
                    <a:lnTo>
                      <a:pt x="236" y="42"/>
                    </a:lnTo>
                    <a:lnTo>
                      <a:pt x="236" y="36"/>
                    </a:lnTo>
                    <a:lnTo>
                      <a:pt x="244" y="28"/>
                    </a:lnTo>
                    <a:lnTo>
                      <a:pt x="236" y="22"/>
                    </a:lnTo>
                    <a:lnTo>
                      <a:pt x="228" y="14"/>
                    </a:lnTo>
                    <a:lnTo>
                      <a:pt x="222" y="8"/>
                    </a:lnTo>
                    <a:lnTo>
                      <a:pt x="208" y="8"/>
                    </a:lnTo>
                    <a:lnTo>
                      <a:pt x="202" y="0"/>
                    </a:lnTo>
                    <a:lnTo>
                      <a:pt x="196" y="0"/>
                    </a:lnTo>
                    <a:lnTo>
                      <a:pt x="196" y="14"/>
                    </a:lnTo>
                    <a:lnTo>
                      <a:pt x="196" y="22"/>
                    </a:lnTo>
                    <a:lnTo>
                      <a:pt x="202" y="28"/>
                    </a:lnTo>
                    <a:lnTo>
                      <a:pt x="202" y="36"/>
                    </a:lnTo>
                    <a:lnTo>
                      <a:pt x="188" y="42"/>
                    </a:lnTo>
                    <a:lnTo>
                      <a:pt x="180" y="42"/>
                    </a:lnTo>
                    <a:lnTo>
                      <a:pt x="180" y="48"/>
                    </a:lnTo>
                    <a:lnTo>
                      <a:pt x="188" y="48"/>
                    </a:lnTo>
                    <a:lnTo>
                      <a:pt x="188" y="56"/>
                    </a:lnTo>
                    <a:lnTo>
                      <a:pt x="188" y="64"/>
                    </a:lnTo>
                    <a:lnTo>
                      <a:pt x="202" y="70"/>
                    </a:lnTo>
                    <a:lnTo>
                      <a:pt x="196" y="76"/>
                    </a:lnTo>
                    <a:lnTo>
                      <a:pt x="202" y="84"/>
                    </a:lnTo>
                    <a:lnTo>
                      <a:pt x="216" y="90"/>
                    </a:lnTo>
                    <a:lnTo>
                      <a:pt x="216" y="104"/>
                    </a:lnTo>
                    <a:lnTo>
                      <a:pt x="208" y="90"/>
                    </a:lnTo>
                    <a:lnTo>
                      <a:pt x="202" y="84"/>
                    </a:lnTo>
                    <a:lnTo>
                      <a:pt x="188" y="84"/>
                    </a:lnTo>
                    <a:lnTo>
                      <a:pt x="174" y="84"/>
                    </a:lnTo>
                    <a:lnTo>
                      <a:pt x="174" y="90"/>
                    </a:lnTo>
                    <a:lnTo>
                      <a:pt x="174" y="104"/>
                    </a:lnTo>
                    <a:lnTo>
                      <a:pt x="174" y="112"/>
                    </a:lnTo>
                    <a:lnTo>
                      <a:pt x="166" y="118"/>
                    </a:lnTo>
                    <a:lnTo>
                      <a:pt x="166" y="124"/>
                    </a:lnTo>
                    <a:lnTo>
                      <a:pt x="160" y="112"/>
                    </a:lnTo>
                    <a:lnTo>
                      <a:pt x="160" y="104"/>
                    </a:lnTo>
                    <a:lnTo>
                      <a:pt x="160" y="98"/>
                    </a:lnTo>
                    <a:lnTo>
                      <a:pt x="154" y="98"/>
                    </a:lnTo>
                    <a:lnTo>
                      <a:pt x="154" y="104"/>
                    </a:lnTo>
                    <a:lnTo>
                      <a:pt x="146" y="104"/>
                    </a:lnTo>
                    <a:lnTo>
                      <a:pt x="146" y="98"/>
                    </a:lnTo>
                    <a:lnTo>
                      <a:pt x="154" y="90"/>
                    </a:lnTo>
                    <a:lnTo>
                      <a:pt x="138" y="84"/>
                    </a:lnTo>
                    <a:lnTo>
                      <a:pt x="126" y="84"/>
                    </a:lnTo>
                    <a:lnTo>
                      <a:pt x="112" y="84"/>
                    </a:lnTo>
                    <a:lnTo>
                      <a:pt x="104" y="84"/>
                    </a:lnTo>
                    <a:lnTo>
                      <a:pt x="104" y="90"/>
                    </a:lnTo>
                    <a:lnTo>
                      <a:pt x="98" y="98"/>
                    </a:lnTo>
                    <a:lnTo>
                      <a:pt x="98" y="104"/>
                    </a:lnTo>
                    <a:lnTo>
                      <a:pt x="104" y="104"/>
                    </a:lnTo>
                    <a:lnTo>
                      <a:pt x="104" y="112"/>
                    </a:lnTo>
                    <a:lnTo>
                      <a:pt x="112" y="118"/>
                    </a:lnTo>
                    <a:lnTo>
                      <a:pt x="104" y="124"/>
                    </a:lnTo>
                    <a:lnTo>
                      <a:pt x="104" y="132"/>
                    </a:lnTo>
                    <a:lnTo>
                      <a:pt x="104" y="138"/>
                    </a:lnTo>
                    <a:lnTo>
                      <a:pt x="104" y="146"/>
                    </a:lnTo>
                    <a:lnTo>
                      <a:pt x="98" y="146"/>
                    </a:lnTo>
                    <a:lnTo>
                      <a:pt x="98" y="152"/>
                    </a:lnTo>
                    <a:lnTo>
                      <a:pt x="98" y="166"/>
                    </a:lnTo>
                    <a:lnTo>
                      <a:pt x="98" y="172"/>
                    </a:lnTo>
                    <a:lnTo>
                      <a:pt x="90" y="180"/>
                    </a:lnTo>
                    <a:lnTo>
                      <a:pt x="98" y="186"/>
                    </a:lnTo>
                    <a:lnTo>
                      <a:pt x="98" y="194"/>
                    </a:lnTo>
                    <a:lnTo>
                      <a:pt x="90" y="214"/>
                    </a:lnTo>
                    <a:lnTo>
                      <a:pt x="84" y="214"/>
                    </a:lnTo>
                    <a:lnTo>
                      <a:pt x="76" y="214"/>
                    </a:lnTo>
                    <a:lnTo>
                      <a:pt x="70" y="214"/>
                    </a:lnTo>
                    <a:lnTo>
                      <a:pt x="62" y="214"/>
                    </a:lnTo>
                    <a:lnTo>
                      <a:pt x="56" y="206"/>
                    </a:lnTo>
                    <a:lnTo>
                      <a:pt x="36" y="214"/>
                    </a:lnTo>
                    <a:lnTo>
                      <a:pt x="22" y="220"/>
                    </a:lnTo>
                    <a:lnTo>
                      <a:pt x="22" y="228"/>
                    </a:lnTo>
                    <a:lnTo>
                      <a:pt x="22" y="234"/>
                    </a:lnTo>
                    <a:lnTo>
                      <a:pt x="22" y="248"/>
                    </a:lnTo>
                    <a:lnTo>
                      <a:pt x="22" y="256"/>
                    </a:lnTo>
                    <a:lnTo>
                      <a:pt x="8" y="262"/>
                    </a:lnTo>
                    <a:lnTo>
                      <a:pt x="8" y="268"/>
                    </a:lnTo>
                    <a:lnTo>
                      <a:pt x="8" y="276"/>
                    </a:lnTo>
                    <a:lnTo>
                      <a:pt x="8" y="282"/>
                    </a:lnTo>
                    <a:lnTo>
                      <a:pt x="0" y="296"/>
                    </a:lnTo>
                    <a:lnTo>
                      <a:pt x="8" y="296"/>
                    </a:lnTo>
                    <a:lnTo>
                      <a:pt x="8" y="304"/>
                    </a:lnTo>
                    <a:lnTo>
                      <a:pt x="8" y="310"/>
                    </a:lnTo>
                    <a:lnTo>
                      <a:pt x="0" y="310"/>
                    </a:lnTo>
                    <a:lnTo>
                      <a:pt x="0" y="318"/>
                    </a:lnTo>
                    <a:lnTo>
                      <a:pt x="0" y="324"/>
                    </a:lnTo>
                    <a:lnTo>
                      <a:pt x="0" y="332"/>
                    </a:lnTo>
                    <a:lnTo>
                      <a:pt x="0" y="332"/>
                    </a:lnTo>
                    <a:lnTo>
                      <a:pt x="0" y="332"/>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4" name="Freeform 48"/>
              <p:cNvSpPr>
                <a:spLocks/>
              </p:cNvSpPr>
              <p:nvPr/>
            </p:nvSpPr>
            <p:spPr bwMode="gray">
              <a:xfrm>
                <a:off x="4473013" y="2444391"/>
                <a:ext cx="196894" cy="254057"/>
              </a:xfrm>
              <a:custGeom>
                <a:avLst/>
                <a:gdLst>
                  <a:gd name="T0" fmla="*/ 28 w 124"/>
                  <a:gd name="T1" fmla="*/ 146 h 160"/>
                  <a:gd name="T2" fmla="*/ 50 w 124"/>
                  <a:gd name="T3" fmla="*/ 152 h 160"/>
                  <a:gd name="T4" fmla="*/ 48 w 124"/>
                  <a:gd name="T5" fmla="*/ 160 h 160"/>
                  <a:gd name="T6" fmla="*/ 62 w 124"/>
                  <a:gd name="T7" fmla="*/ 152 h 160"/>
                  <a:gd name="T8" fmla="*/ 48 w 124"/>
                  <a:gd name="T9" fmla="*/ 138 h 160"/>
                  <a:gd name="T10" fmla="*/ 62 w 124"/>
                  <a:gd name="T11" fmla="*/ 132 h 160"/>
                  <a:gd name="T12" fmla="*/ 56 w 124"/>
                  <a:gd name="T13" fmla="*/ 118 h 160"/>
                  <a:gd name="T14" fmla="*/ 62 w 124"/>
                  <a:gd name="T15" fmla="*/ 110 h 160"/>
                  <a:gd name="T16" fmla="*/ 70 w 124"/>
                  <a:gd name="T17" fmla="*/ 104 h 160"/>
                  <a:gd name="T18" fmla="*/ 84 w 124"/>
                  <a:gd name="T19" fmla="*/ 96 h 160"/>
                  <a:gd name="T20" fmla="*/ 98 w 124"/>
                  <a:gd name="T21" fmla="*/ 82 h 160"/>
                  <a:gd name="T22" fmla="*/ 98 w 124"/>
                  <a:gd name="T23" fmla="*/ 62 h 160"/>
                  <a:gd name="T24" fmla="*/ 112 w 124"/>
                  <a:gd name="T25" fmla="*/ 56 h 160"/>
                  <a:gd name="T26" fmla="*/ 118 w 124"/>
                  <a:gd name="T27" fmla="*/ 62 h 160"/>
                  <a:gd name="T28" fmla="*/ 124 w 124"/>
                  <a:gd name="T29" fmla="*/ 48 h 160"/>
                  <a:gd name="T30" fmla="*/ 118 w 124"/>
                  <a:gd name="T31" fmla="*/ 34 h 160"/>
                  <a:gd name="T32" fmla="*/ 104 w 124"/>
                  <a:gd name="T33" fmla="*/ 34 h 160"/>
                  <a:gd name="T34" fmla="*/ 98 w 124"/>
                  <a:gd name="T35" fmla="*/ 28 h 160"/>
                  <a:gd name="T36" fmla="*/ 104 w 124"/>
                  <a:gd name="T37" fmla="*/ 14 h 160"/>
                  <a:gd name="T38" fmla="*/ 104 w 124"/>
                  <a:gd name="T39" fmla="*/ 6 h 160"/>
                  <a:gd name="T40" fmla="*/ 98 w 124"/>
                  <a:gd name="T41" fmla="*/ 0 h 160"/>
                  <a:gd name="T42" fmla="*/ 90 w 124"/>
                  <a:gd name="T43" fmla="*/ 6 h 160"/>
                  <a:gd name="T44" fmla="*/ 70 w 124"/>
                  <a:gd name="T45" fmla="*/ 6 h 160"/>
                  <a:gd name="T46" fmla="*/ 70 w 124"/>
                  <a:gd name="T47" fmla="*/ 20 h 160"/>
                  <a:gd name="T48" fmla="*/ 70 w 124"/>
                  <a:gd name="T49" fmla="*/ 34 h 160"/>
                  <a:gd name="T50" fmla="*/ 62 w 124"/>
                  <a:gd name="T51" fmla="*/ 20 h 160"/>
                  <a:gd name="T52" fmla="*/ 56 w 124"/>
                  <a:gd name="T53" fmla="*/ 20 h 160"/>
                  <a:gd name="T54" fmla="*/ 48 w 124"/>
                  <a:gd name="T55" fmla="*/ 14 h 160"/>
                  <a:gd name="T56" fmla="*/ 42 w 124"/>
                  <a:gd name="T57" fmla="*/ 28 h 160"/>
                  <a:gd name="T58" fmla="*/ 36 w 124"/>
                  <a:gd name="T59" fmla="*/ 34 h 160"/>
                  <a:gd name="T60" fmla="*/ 28 w 124"/>
                  <a:gd name="T61" fmla="*/ 20 h 160"/>
                  <a:gd name="T62" fmla="*/ 22 w 124"/>
                  <a:gd name="T63" fmla="*/ 14 h 160"/>
                  <a:gd name="T64" fmla="*/ 14 w 124"/>
                  <a:gd name="T65" fmla="*/ 20 h 160"/>
                  <a:gd name="T66" fmla="*/ 8 w 124"/>
                  <a:gd name="T67" fmla="*/ 34 h 160"/>
                  <a:gd name="T68" fmla="*/ 8 w 124"/>
                  <a:gd name="T69" fmla="*/ 56 h 160"/>
                  <a:gd name="T70" fmla="*/ 8 w 124"/>
                  <a:gd name="T71" fmla="*/ 70 h 160"/>
                  <a:gd name="T72" fmla="*/ 8 w 124"/>
                  <a:gd name="T73" fmla="*/ 82 h 160"/>
                  <a:gd name="T74" fmla="*/ 8 w 124"/>
                  <a:gd name="T75" fmla="*/ 96 h 160"/>
                  <a:gd name="T76" fmla="*/ 14 w 124"/>
                  <a:gd name="T77" fmla="*/ 104 h 160"/>
                  <a:gd name="T78" fmla="*/ 22 w 124"/>
                  <a:gd name="T79" fmla="*/ 118 h 160"/>
                  <a:gd name="T80" fmla="*/ 22 w 124"/>
                  <a:gd name="T81" fmla="*/ 138 h 160"/>
                  <a:gd name="T82" fmla="*/ 22 w 124"/>
                  <a:gd name="T83" fmla="*/ 152 h 160"/>
                  <a:gd name="T84" fmla="*/ 22 w 124"/>
                  <a:gd name="T85" fmla="*/ 14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4" h="160">
                    <a:moveTo>
                      <a:pt x="22" y="146"/>
                    </a:moveTo>
                    <a:lnTo>
                      <a:pt x="28" y="146"/>
                    </a:lnTo>
                    <a:lnTo>
                      <a:pt x="36" y="152"/>
                    </a:lnTo>
                    <a:lnTo>
                      <a:pt x="50" y="152"/>
                    </a:lnTo>
                    <a:lnTo>
                      <a:pt x="52" y="156"/>
                    </a:lnTo>
                    <a:lnTo>
                      <a:pt x="48" y="160"/>
                    </a:lnTo>
                    <a:lnTo>
                      <a:pt x="56" y="152"/>
                    </a:lnTo>
                    <a:lnTo>
                      <a:pt x="62" y="152"/>
                    </a:lnTo>
                    <a:lnTo>
                      <a:pt x="56" y="146"/>
                    </a:lnTo>
                    <a:lnTo>
                      <a:pt x="48" y="138"/>
                    </a:lnTo>
                    <a:lnTo>
                      <a:pt x="56" y="132"/>
                    </a:lnTo>
                    <a:lnTo>
                      <a:pt x="62" y="132"/>
                    </a:lnTo>
                    <a:lnTo>
                      <a:pt x="56" y="124"/>
                    </a:lnTo>
                    <a:lnTo>
                      <a:pt x="56" y="118"/>
                    </a:lnTo>
                    <a:lnTo>
                      <a:pt x="62" y="118"/>
                    </a:lnTo>
                    <a:lnTo>
                      <a:pt x="62" y="110"/>
                    </a:lnTo>
                    <a:lnTo>
                      <a:pt x="62" y="104"/>
                    </a:lnTo>
                    <a:lnTo>
                      <a:pt x="70" y="104"/>
                    </a:lnTo>
                    <a:lnTo>
                      <a:pt x="76" y="96"/>
                    </a:lnTo>
                    <a:lnTo>
                      <a:pt x="84" y="96"/>
                    </a:lnTo>
                    <a:lnTo>
                      <a:pt x="84" y="90"/>
                    </a:lnTo>
                    <a:lnTo>
                      <a:pt x="98" y="82"/>
                    </a:lnTo>
                    <a:lnTo>
                      <a:pt x="104" y="70"/>
                    </a:lnTo>
                    <a:lnTo>
                      <a:pt x="98" y="62"/>
                    </a:lnTo>
                    <a:lnTo>
                      <a:pt x="104" y="56"/>
                    </a:lnTo>
                    <a:lnTo>
                      <a:pt x="112" y="56"/>
                    </a:lnTo>
                    <a:lnTo>
                      <a:pt x="112" y="62"/>
                    </a:lnTo>
                    <a:lnTo>
                      <a:pt x="118" y="62"/>
                    </a:lnTo>
                    <a:lnTo>
                      <a:pt x="124" y="56"/>
                    </a:lnTo>
                    <a:lnTo>
                      <a:pt x="124" y="48"/>
                    </a:lnTo>
                    <a:lnTo>
                      <a:pt x="124" y="42"/>
                    </a:lnTo>
                    <a:lnTo>
                      <a:pt x="118" y="34"/>
                    </a:lnTo>
                    <a:lnTo>
                      <a:pt x="112" y="34"/>
                    </a:lnTo>
                    <a:lnTo>
                      <a:pt x="104" y="34"/>
                    </a:lnTo>
                    <a:lnTo>
                      <a:pt x="104" y="28"/>
                    </a:lnTo>
                    <a:lnTo>
                      <a:pt x="98" y="28"/>
                    </a:lnTo>
                    <a:lnTo>
                      <a:pt x="98" y="20"/>
                    </a:lnTo>
                    <a:lnTo>
                      <a:pt x="104" y="14"/>
                    </a:lnTo>
                    <a:lnTo>
                      <a:pt x="112" y="14"/>
                    </a:lnTo>
                    <a:lnTo>
                      <a:pt x="104" y="6"/>
                    </a:lnTo>
                    <a:lnTo>
                      <a:pt x="104" y="0"/>
                    </a:lnTo>
                    <a:lnTo>
                      <a:pt x="98" y="0"/>
                    </a:lnTo>
                    <a:lnTo>
                      <a:pt x="90" y="0"/>
                    </a:lnTo>
                    <a:lnTo>
                      <a:pt x="90" y="6"/>
                    </a:lnTo>
                    <a:lnTo>
                      <a:pt x="76" y="6"/>
                    </a:lnTo>
                    <a:lnTo>
                      <a:pt x="70" y="6"/>
                    </a:lnTo>
                    <a:lnTo>
                      <a:pt x="62" y="14"/>
                    </a:lnTo>
                    <a:lnTo>
                      <a:pt x="70" y="20"/>
                    </a:lnTo>
                    <a:lnTo>
                      <a:pt x="70" y="28"/>
                    </a:lnTo>
                    <a:lnTo>
                      <a:pt x="70" y="34"/>
                    </a:lnTo>
                    <a:lnTo>
                      <a:pt x="70" y="28"/>
                    </a:lnTo>
                    <a:lnTo>
                      <a:pt x="62" y="20"/>
                    </a:lnTo>
                    <a:lnTo>
                      <a:pt x="56" y="28"/>
                    </a:lnTo>
                    <a:lnTo>
                      <a:pt x="56" y="20"/>
                    </a:lnTo>
                    <a:lnTo>
                      <a:pt x="56" y="14"/>
                    </a:lnTo>
                    <a:lnTo>
                      <a:pt x="48" y="14"/>
                    </a:lnTo>
                    <a:lnTo>
                      <a:pt x="42" y="20"/>
                    </a:lnTo>
                    <a:lnTo>
                      <a:pt x="42" y="28"/>
                    </a:lnTo>
                    <a:lnTo>
                      <a:pt x="36" y="28"/>
                    </a:lnTo>
                    <a:lnTo>
                      <a:pt x="36" y="34"/>
                    </a:lnTo>
                    <a:lnTo>
                      <a:pt x="36" y="28"/>
                    </a:lnTo>
                    <a:lnTo>
                      <a:pt x="28" y="20"/>
                    </a:lnTo>
                    <a:lnTo>
                      <a:pt x="22" y="20"/>
                    </a:lnTo>
                    <a:lnTo>
                      <a:pt x="22" y="14"/>
                    </a:lnTo>
                    <a:lnTo>
                      <a:pt x="14" y="14"/>
                    </a:lnTo>
                    <a:lnTo>
                      <a:pt x="14" y="20"/>
                    </a:lnTo>
                    <a:lnTo>
                      <a:pt x="8" y="28"/>
                    </a:lnTo>
                    <a:lnTo>
                      <a:pt x="8" y="34"/>
                    </a:lnTo>
                    <a:lnTo>
                      <a:pt x="8" y="48"/>
                    </a:lnTo>
                    <a:lnTo>
                      <a:pt x="8" y="56"/>
                    </a:lnTo>
                    <a:lnTo>
                      <a:pt x="8" y="62"/>
                    </a:lnTo>
                    <a:lnTo>
                      <a:pt x="8" y="70"/>
                    </a:lnTo>
                    <a:lnTo>
                      <a:pt x="8" y="76"/>
                    </a:lnTo>
                    <a:lnTo>
                      <a:pt x="8" y="82"/>
                    </a:lnTo>
                    <a:lnTo>
                      <a:pt x="0" y="90"/>
                    </a:lnTo>
                    <a:lnTo>
                      <a:pt x="8" y="96"/>
                    </a:lnTo>
                    <a:lnTo>
                      <a:pt x="14" y="96"/>
                    </a:lnTo>
                    <a:lnTo>
                      <a:pt x="14" y="104"/>
                    </a:lnTo>
                    <a:lnTo>
                      <a:pt x="22" y="110"/>
                    </a:lnTo>
                    <a:lnTo>
                      <a:pt x="22" y="118"/>
                    </a:lnTo>
                    <a:lnTo>
                      <a:pt x="22" y="124"/>
                    </a:lnTo>
                    <a:lnTo>
                      <a:pt x="22" y="138"/>
                    </a:lnTo>
                    <a:lnTo>
                      <a:pt x="22" y="146"/>
                    </a:lnTo>
                    <a:lnTo>
                      <a:pt x="22" y="152"/>
                    </a:lnTo>
                    <a:lnTo>
                      <a:pt x="22" y="146"/>
                    </a:lnTo>
                    <a:lnTo>
                      <a:pt x="22" y="146"/>
                    </a:lnTo>
                    <a:lnTo>
                      <a:pt x="22" y="146"/>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5" name="Freeform 49"/>
              <p:cNvSpPr>
                <a:spLocks/>
              </p:cNvSpPr>
              <p:nvPr>
                <p:custDataLst>
                  <p:tags r:id="rId140"/>
                </p:custDataLst>
              </p:nvPr>
            </p:nvSpPr>
            <p:spPr bwMode="gray">
              <a:xfrm>
                <a:off x="3952198" y="3012842"/>
                <a:ext cx="254057" cy="263584"/>
              </a:xfrm>
              <a:custGeom>
                <a:avLst/>
                <a:gdLst>
                  <a:gd name="T0" fmla="*/ 146 w 160"/>
                  <a:gd name="T1" fmla="*/ 28 h 166"/>
                  <a:gd name="T2" fmla="*/ 132 w 160"/>
                  <a:gd name="T3" fmla="*/ 14 h 166"/>
                  <a:gd name="T4" fmla="*/ 118 w 160"/>
                  <a:gd name="T5" fmla="*/ 22 h 166"/>
                  <a:gd name="T6" fmla="*/ 112 w 160"/>
                  <a:gd name="T7" fmla="*/ 14 h 166"/>
                  <a:gd name="T8" fmla="*/ 84 w 160"/>
                  <a:gd name="T9" fmla="*/ 8 h 166"/>
                  <a:gd name="T10" fmla="*/ 76 w 160"/>
                  <a:gd name="T11" fmla="*/ 22 h 166"/>
                  <a:gd name="T12" fmla="*/ 56 w 160"/>
                  <a:gd name="T13" fmla="*/ 22 h 166"/>
                  <a:gd name="T14" fmla="*/ 50 w 160"/>
                  <a:gd name="T15" fmla="*/ 14 h 166"/>
                  <a:gd name="T16" fmla="*/ 36 w 160"/>
                  <a:gd name="T17" fmla="*/ 8 h 166"/>
                  <a:gd name="T18" fmla="*/ 28 w 160"/>
                  <a:gd name="T19" fmla="*/ 0 h 166"/>
                  <a:gd name="T20" fmla="*/ 14 w 160"/>
                  <a:gd name="T21" fmla="*/ 0 h 166"/>
                  <a:gd name="T22" fmla="*/ 0 w 160"/>
                  <a:gd name="T23" fmla="*/ 14 h 166"/>
                  <a:gd name="T24" fmla="*/ 0 w 160"/>
                  <a:gd name="T25" fmla="*/ 28 h 166"/>
                  <a:gd name="T26" fmla="*/ 8 w 160"/>
                  <a:gd name="T27" fmla="*/ 42 h 166"/>
                  <a:gd name="T28" fmla="*/ 14 w 160"/>
                  <a:gd name="T29" fmla="*/ 48 h 166"/>
                  <a:gd name="T30" fmla="*/ 20 w 160"/>
                  <a:gd name="T31" fmla="*/ 56 h 166"/>
                  <a:gd name="T32" fmla="*/ 28 w 160"/>
                  <a:gd name="T33" fmla="*/ 62 h 166"/>
                  <a:gd name="T34" fmla="*/ 36 w 160"/>
                  <a:gd name="T35" fmla="*/ 70 h 166"/>
                  <a:gd name="T36" fmla="*/ 50 w 160"/>
                  <a:gd name="T37" fmla="*/ 84 h 166"/>
                  <a:gd name="T38" fmla="*/ 62 w 160"/>
                  <a:gd name="T39" fmla="*/ 84 h 166"/>
                  <a:gd name="T40" fmla="*/ 62 w 160"/>
                  <a:gd name="T41" fmla="*/ 104 h 166"/>
                  <a:gd name="T42" fmla="*/ 62 w 160"/>
                  <a:gd name="T43" fmla="*/ 118 h 166"/>
                  <a:gd name="T44" fmla="*/ 76 w 160"/>
                  <a:gd name="T45" fmla="*/ 118 h 166"/>
                  <a:gd name="T46" fmla="*/ 84 w 160"/>
                  <a:gd name="T47" fmla="*/ 110 h 166"/>
                  <a:gd name="T48" fmla="*/ 90 w 160"/>
                  <a:gd name="T49" fmla="*/ 124 h 166"/>
                  <a:gd name="T50" fmla="*/ 98 w 160"/>
                  <a:gd name="T51" fmla="*/ 138 h 166"/>
                  <a:gd name="T52" fmla="*/ 104 w 160"/>
                  <a:gd name="T53" fmla="*/ 144 h 166"/>
                  <a:gd name="T54" fmla="*/ 118 w 160"/>
                  <a:gd name="T55" fmla="*/ 158 h 166"/>
                  <a:gd name="T56" fmla="*/ 126 w 160"/>
                  <a:gd name="T57" fmla="*/ 158 h 166"/>
                  <a:gd name="T58" fmla="*/ 134 w 160"/>
                  <a:gd name="T59" fmla="*/ 158 h 166"/>
                  <a:gd name="T60" fmla="*/ 134 w 160"/>
                  <a:gd name="T61" fmla="*/ 138 h 166"/>
                  <a:gd name="T62" fmla="*/ 134 w 160"/>
                  <a:gd name="T63" fmla="*/ 124 h 166"/>
                  <a:gd name="T64" fmla="*/ 148 w 160"/>
                  <a:gd name="T65" fmla="*/ 110 h 166"/>
                  <a:gd name="T66" fmla="*/ 154 w 160"/>
                  <a:gd name="T67" fmla="*/ 104 h 166"/>
                  <a:gd name="T68" fmla="*/ 160 w 160"/>
                  <a:gd name="T69" fmla="*/ 98 h 166"/>
                  <a:gd name="T70" fmla="*/ 160 w 160"/>
                  <a:gd name="T71" fmla="*/ 84 h 166"/>
                  <a:gd name="T72" fmla="*/ 160 w 160"/>
                  <a:gd name="T73" fmla="*/ 70 h 166"/>
                  <a:gd name="T74" fmla="*/ 160 w 160"/>
                  <a:gd name="T75" fmla="*/ 56 h 166"/>
                  <a:gd name="T76" fmla="*/ 160 w 160"/>
                  <a:gd name="T77" fmla="*/ 42 h 166"/>
                  <a:gd name="T78" fmla="*/ 160 w 160"/>
                  <a:gd name="T79" fmla="*/ 4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 h="166">
                    <a:moveTo>
                      <a:pt x="160" y="42"/>
                    </a:moveTo>
                    <a:lnTo>
                      <a:pt x="146" y="28"/>
                    </a:lnTo>
                    <a:lnTo>
                      <a:pt x="140" y="22"/>
                    </a:lnTo>
                    <a:lnTo>
                      <a:pt x="132" y="14"/>
                    </a:lnTo>
                    <a:lnTo>
                      <a:pt x="126" y="14"/>
                    </a:lnTo>
                    <a:lnTo>
                      <a:pt x="118" y="22"/>
                    </a:lnTo>
                    <a:lnTo>
                      <a:pt x="112" y="22"/>
                    </a:lnTo>
                    <a:lnTo>
                      <a:pt x="112" y="14"/>
                    </a:lnTo>
                    <a:lnTo>
                      <a:pt x="90" y="8"/>
                    </a:lnTo>
                    <a:lnTo>
                      <a:pt x="84" y="8"/>
                    </a:lnTo>
                    <a:lnTo>
                      <a:pt x="76" y="14"/>
                    </a:lnTo>
                    <a:lnTo>
                      <a:pt x="76" y="22"/>
                    </a:lnTo>
                    <a:lnTo>
                      <a:pt x="62" y="22"/>
                    </a:lnTo>
                    <a:lnTo>
                      <a:pt x="56" y="22"/>
                    </a:lnTo>
                    <a:lnTo>
                      <a:pt x="50" y="22"/>
                    </a:lnTo>
                    <a:lnTo>
                      <a:pt x="50" y="14"/>
                    </a:lnTo>
                    <a:lnTo>
                      <a:pt x="42" y="8"/>
                    </a:lnTo>
                    <a:lnTo>
                      <a:pt x="36" y="8"/>
                    </a:lnTo>
                    <a:lnTo>
                      <a:pt x="36" y="0"/>
                    </a:lnTo>
                    <a:lnTo>
                      <a:pt x="28" y="0"/>
                    </a:lnTo>
                    <a:lnTo>
                      <a:pt x="20" y="8"/>
                    </a:lnTo>
                    <a:lnTo>
                      <a:pt x="14" y="0"/>
                    </a:lnTo>
                    <a:lnTo>
                      <a:pt x="14" y="8"/>
                    </a:lnTo>
                    <a:lnTo>
                      <a:pt x="0" y="14"/>
                    </a:lnTo>
                    <a:lnTo>
                      <a:pt x="0" y="22"/>
                    </a:lnTo>
                    <a:lnTo>
                      <a:pt x="0" y="28"/>
                    </a:lnTo>
                    <a:lnTo>
                      <a:pt x="0" y="34"/>
                    </a:lnTo>
                    <a:lnTo>
                      <a:pt x="8" y="42"/>
                    </a:lnTo>
                    <a:lnTo>
                      <a:pt x="8" y="48"/>
                    </a:lnTo>
                    <a:lnTo>
                      <a:pt x="14" y="48"/>
                    </a:lnTo>
                    <a:lnTo>
                      <a:pt x="20" y="48"/>
                    </a:lnTo>
                    <a:lnTo>
                      <a:pt x="20" y="56"/>
                    </a:lnTo>
                    <a:lnTo>
                      <a:pt x="20" y="62"/>
                    </a:lnTo>
                    <a:lnTo>
                      <a:pt x="28" y="62"/>
                    </a:lnTo>
                    <a:lnTo>
                      <a:pt x="36" y="62"/>
                    </a:lnTo>
                    <a:lnTo>
                      <a:pt x="36" y="70"/>
                    </a:lnTo>
                    <a:lnTo>
                      <a:pt x="42" y="84"/>
                    </a:lnTo>
                    <a:lnTo>
                      <a:pt x="50" y="84"/>
                    </a:lnTo>
                    <a:lnTo>
                      <a:pt x="56" y="84"/>
                    </a:lnTo>
                    <a:lnTo>
                      <a:pt x="62" y="84"/>
                    </a:lnTo>
                    <a:lnTo>
                      <a:pt x="62" y="98"/>
                    </a:lnTo>
                    <a:lnTo>
                      <a:pt x="62" y="104"/>
                    </a:lnTo>
                    <a:lnTo>
                      <a:pt x="56" y="110"/>
                    </a:lnTo>
                    <a:lnTo>
                      <a:pt x="62" y="118"/>
                    </a:lnTo>
                    <a:lnTo>
                      <a:pt x="70" y="118"/>
                    </a:lnTo>
                    <a:lnTo>
                      <a:pt x="76" y="118"/>
                    </a:lnTo>
                    <a:lnTo>
                      <a:pt x="76" y="110"/>
                    </a:lnTo>
                    <a:lnTo>
                      <a:pt x="84" y="110"/>
                    </a:lnTo>
                    <a:lnTo>
                      <a:pt x="84" y="118"/>
                    </a:lnTo>
                    <a:lnTo>
                      <a:pt x="90" y="124"/>
                    </a:lnTo>
                    <a:lnTo>
                      <a:pt x="90" y="132"/>
                    </a:lnTo>
                    <a:lnTo>
                      <a:pt x="98" y="138"/>
                    </a:lnTo>
                    <a:lnTo>
                      <a:pt x="98" y="144"/>
                    </a:lnTo>
                    <a:lnTo>
                      <a:pt x="104" y="144"/>
                    </a:lnTo>
                    <a:lnTo>
                      <a:pt x="112" y="152"/>
                    </a:lnTo>
                    <a:lnTo>
                      <a:pt x="118" y="158"/>
                    </a:lnTo>
                    <a:lnTo>
                      <a:pt x="118" y="166"/>
                    </a:lnTo>
                    <a:lnTo>
                      <a:pt x="126" y="158"/>
                    </a:lnTo>
                    <a:lnTo>
                      <a:pt x="132" y="158"/>
                    </a:lnTo>
                    <a:lnTo>
                      <a:pt x="134" y="158"/>
                    </a:lnTo>
                    <a:lnTo>
                      <a:pt x="138" y="146"/>
                    </a:lnTo>
                    <a:lnTo>
                      <a:pt x="134" y="138"/>
                    </a:lnTo>
                    <a:lnTo>
                      <a:pt x="134" y="132"/>
                    </a:lnTo>
                    <a:lnTo>
                      <a:pt x="134" y="124"/>
                    </a:lnTo>
                    <a:lnTo>
                      <a:pt x="140" y="118"/>
                    </a:lnTo>
                    <a:lnTo>
                      <a:pt x="148" y="110"/>
                    </a:lnTo>
                    <a:lnTo>
                      <a:pt x="154" y="110"/>
                    </a:lnTo>
                    <a:lnTo>
                      <a:pt x="154" y="104"/>
                    </a:lnTo>
                    <a:lnTo>
                      <a:pt x="154" y="98"/>
                    </a:lnTo>
                    <a:lnTo>
                      <a:pt x="160" y="98"/>
                    </a:lnTo>
                    <a:lnTo>
                      <a:pt x="160" y="90"/>
                    </a:lnTo>
                    <a:lnTo>
                      <a:pt x="160" y="84"/>
                    </a:lnTo>
                    <a:lnTo>
                      <a:pt x="154" y="84"/>
                    </a:lnTo>
                    <a:lnTo>
                      <a:pt x="160" y="70"/>
                    </a:lnTo>
                    <a:lnTo>
                      <a:pt x="160" y="62"/>
                    </a:lnTo>
                    <a:lnTo>
                      <a:pt x="160" y="56"/>
                    </a:lnTo>
                    <a:lnTo>
                      <a:pt x="160" y="48"/>
                    </a:lnTo>
                    <a:lnTo>
                      <a:pt x="160" y="42"/>
                    </a:lnTo>
                    <a:lnTo>
                      <a:pt x="160" y="42"/>
                    </a:lnTo>
                    <a:lnTo>
                      <a:pt x="160" y="42"/>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6" name="Freeform 50"/>
              <p:cNvSpPr>
                <a:spLocks/>
              </p:cNvSpPr>
              <p:nvPr/>
            </p:nvSpPr>
            <p:spPr bwMode="gray">
              <a:xfrm>
                <a:off x="4161794" y="3187506"/>
                <a:ext cx="53987" cy="88920"/>
              </a:xfrm>
              <a:custGeom>
                <a:avLst/>
                <a:gdLst>
                  <a:gd name="T0" fmla="*/ 2 w 34"/>
                  <a:gd name="T1" fmla="*/ 48 h 56"/>
                  <a:gd name="T2" fmla="*/ 4 w 34"/>
                  <a:gd name="T3" fmla="*/ 36 h 56"/>
                  <a:gd name="T4" fmla="*/ 0 w 34"/>
                  <a:gd name="T5" fmla="*/ 28 h 56"/>
                  <a:gd name="T6" fmla="*/ 0 w 34"/>
                  <a:gd name="T7" fmla="*/ 22 h 56"/>
                  <a:gd name="T8" fmla="*/ 0 w 34"/>
                  <a:gd name="T9" fmla="*/ 14 h 56"/>
                  <a:gd name="T10" fmla="*/ 8 w 34"/>
                  <a:gd name="T11" fmla="*/ 8 h 56"/>
                  <a:gd name="T12" fmla="*/ 14 w 34"/>
                  <a:gd name="T13" fmla="*/ 0 h 56"/>
                  <a:gd name="T14" fmla="*/ 22 w 34"/>
                  <a:gd name="T15" fmla="*/ 8 h 56"/>
                  <a:gd name="T16" fmla="*/ 22 w 34"/>
                  <a:gd name="T17" fmla="*/ 14 h 56"/>
                  <a:gd name="T18" fmla="*/ 28 w 34"/>
                  <a:gd name="T19" fmla="*/ 22 h 56"/>
                  <a:gd name="T20" fmla="*/ 34 w 34"/>
                  <a:gd name="T21" fmla="*/ 28 h 56"/>
                  <a:gd name="T22" fmla="*/ 34 w 34"/>
                  <a:gd name="T23" fmla="*/ 34 h 56"/>
                  <a:gd name="T24" fmla="*/ 34 w 34"/>
                  <a:gd name="T25" fmla="*/ 42 h 56"/>
                  <a:gd name="T26" fmla="*/ 34 w 34"/>
                  <a:gd name="T27" fmla="*/ 48 h 56"/>
                  <a:gd name="T28" fmla="*/ 34 w 34"/>
                  <a:gd name="T29" fmla="*/ 56 h 56"/>
                  <a:gd name="T30" fmla="*/ 28 w 34"/>
                  <a:gd name="T31" fmla="*/ 56 h 56"/>
                  <a:gd name="T32" fmla="*/ 2 w 34"/>
                  <a:gd name="T33" fmla="*/ 48 h 56"/>
                  <a:gd name="T34" fmla="*/ 2 w 34"/>
                  <a:gd name="T35" fmla="*/ 48 h 56"/>
                  <a:gd name="T36" fmla="*/ 2 w 34"/>
                  <a:gd name="T37"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6">
                    <a:moveTo>
                      <a:pt x="2" y="48"/>
                    </a:moveTo>
                    <a:lnTo>
                      <a:pt x="4" y="36"/>
                    </a:lnTo>
                    <a:lnTo>
                      <a:pt x="0" y="28"/>
                    </a:lnTo>
                    <a:lnTo>
                      <a:pt x="0" y="22"/>
                    </a:lnTo>
                    <a:lnTo>
                      <a:pt x="0" y="14"/>
                    </a:lnTo>
                    <a:lnTo>
                      <a:pt x="8" y="8"/>
                    </a:lnTo>
                    <a:lnTo>
                      <a:pt x="14" y="0"/>
                    </a:lnTo>
                    <a:lnTo>
                      <a:pt x="22" y="8"/>
                    </a:lnTo>
                    <a:lnTo>
                      <a:pt x="22" y="14"/>
                    </a:lnTo>
                    <a:lnTo>
                      <a:pt x="28" y="22"/>
                    </a:lnTo>
                    <a:lnTo>
                      <a:pt x="34" y="28"/>
                    </a:lnTo>
                    <a:lnTo>
                      <a:pt x="34" y="34"/>
                    </a:lnTo>
                    <a:lnTo>
                      <a:pt x="34" y="42"/>
                    </a:lnTo>
                    <a:lnTo>
                      <a:pt x="34" y="48"/>
                    </a:lnTo>
                    <a:lnTo>
                      <a:pt x="34" y="56"/>
                    </a:lnTo>
                    <a:lnTo>
                      <a:pt x="28" y="56"/>
                    </a:lnTo>
                    <a:lnTo>
                      <a:pt x="2" y="48"/>
                    </a:lnTo>
                    <a:lnTo>
                      <a:pt x="2" y="48"/>
                    </a:lnTo>
                    <a:lnTo>
                      <a:pt x="2" y="48"/>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7" name="Freeform 51"/>
              <p:cNvSpPr>
                <a:spLocks/>
              </p:cNvSpPr>
              <p:nvPr>
                <p:custDataLst>
                  <p:tags r:id="rId141"/>
                </p:custDataLst>
              </p:nvPr>
            </p:nvSpPr>
            <p:spPr bwMode="gray">
              <a:xfrm>
                <a:off x="4072875" y="2815949"/>
                <a:ext cx="298516" cy="276286"/>
              </a:xfrm>
              <a:custGeom>
                <a:avLst/>
                <a:gdLst>
                  <a:gd name="T0" fmla="*/ 166 w 188"/>
                  <a:gd name="T1" fmla="*/ 28 h 174"/>
                  <a:gd name="T2" fmla="*/ 160 w 188"/>
                  <a:gd name="T3" fmla="*/ 0 h 174"/>
                  <a:gd name="T4" fmla="*/ 146 w 188"/>
                  <a:gd name="T5" fmla="*/ 8 h 174"/>
                  <a:gd name="T6" fmla="*/ 132 w 188"/>
                  <a:gd name="T7" fmla="*/ 8 h 174"/>
                  <a:gd name="T8" fmla="*/ 124 w 188"/>
                  <a:gd name="T9" fmla="*/ 8 h 174"/>
                  <a:gd name="T10" fmla="*/ 112 w 188"/>
                  <a:gd name="T11" fmla="*/ 8 h 174"/>
                  <a:gd name="T12" fmla="*/ 90 w 188"/>
                  <a:gd name="T13" fmla="*/ 22 h 174"/>
                  <a:gd name="T14" fmla="*/ 90 w 188"/>
                  <a:gd name="T15" fmla="*/ 36 h 174"/>
                  <a:gd name="T16" fmla="*/ 90 w 188"/>
                  <a:gd name="T17" fmla="*/ 50 h 174"/>
                  <a:gd name="T18" fmla="*/ 76 w 188"/>
                  <a:gd name="T19" fmla="*/ 76 h 174"/>
                  <a:gd name="T20" fmla="*/ 62 w 188"/>
                  <a:gd name="T21" fmla="*/ 76 h 174"/>
                  <a:gd name="T22" fmla="*/ 70 w 188"/>
                  <a:gd name="T23" fmla="*/ 56 h 174"/>
                  <a:gd name="T24" fmla="*/ 70 w 188"/>
                  <a:gd name="T25" fmla="*/ 50 h 174"/>
                  <a:gd name="T26" fmla="*/ 76 w 188"/>
                  <a:gd name="T27" fmla="*/ 36 h 174"/>
                  <a:gd name="T28" fmla="*/ 56 w 188"/>
                  <a:gd name="T29" fmla="*/ 28 h 174"/>
                  <a:gd name="T30" fmla="*/ 56 w 188"/>
                  <a:gd name="T31" fmla="*/ 28 h 174"/>
                  <a:gd name="T32" fmla="*/ 48 w 188"/>
                  <a:gd name="T33" fmla="*/ 56 h 174"/>
                  <a:gd name="T34" fmla="*/ 42 w 188"/>
                  <a:gd name="T35" fmla="*/ 70 h 174"/>
                  <a:gd name="T36" fmla="*/ 34 w 188"/>
                  <a:gd name="T37" fmla="*/ 76 h 174"/>
                  <a:gd name="T38" fmla="*/ 14 w 188"/>
                  <a:gd name="T39" fmla="*/ 84 h 174"/>
                  <a:gd name="T40" fmla="*/ 20 w 188"/>
                  <a:gd name="T41" fmla="*/ 98 h 174"/>
                  <a:gd name="T42" fmla="*/ 8 w 188"/>
                  <a:gd name="T43" fmla="*/ 112 h 174"/>
                  <a:gd name="T44" fmla="*/ 0 w 188"/>
                  <a:gd name="T45" fmla="*/ 98 h 174"/>
                  <a:gd name="T46" fmla="*/ 0 w 188"/>
                  <a:gd name="T47" fmla="*/ 112 h 174"/>
                  <a:gd name="T48" fmla="*/ 8 w 188"/>
                  <a:gd name="T49" fmla="*/ 126 h 174"/>
                  <a:gd name="T50" fmla="*/ 34 w 188"/>
                  <a:gd name="T51" fmla="*/ 138 h 174"/>
                  <a:gd name="T52" fmla="*/ 42 w 188"/>
                  <a:gd name="T53" fmla="*/ 146 h 174"/>
                  <a:gd name="T54" fmla="*/ 56 w 188"/>
                  <a:gd name="T55" fmla="*/ 138 h 174"/>
                  <a:gd name="T56" fmla="*/ 70 w 188"/>
                  <a:gd name="T57" fmla="*/ 152 h 174"/>
                  <a:gd name="T58" fmla="*/ 82 w 188"/>
                  <a:gd name="T59" fmla="*/ 174 h 174"/>
                  <a:gd name="T60" fmla="*/ 96 w 188"/>
                  <a:gd name="T61" fmla="*/ 160 h 174"/>
                  <a:gd name="T62" fmla="*/ 96 w 188"/>
                  <a:gd name="T63" fmla="*/ 138 h 174"/>
                  <a:gd name="T64" fmla="*/ 112 w 188"/>
                  <a:gd name="T65" fmla="*/ 126 h 174"/>
                  <a:gd name="T66" fmla="*/ 138 w 188"/>
                  <a:gd name="T67" fmla="*/ 126 h 174"/>
                  <a:gd name="T68" fmla="*/ 152 w 188"/>
                  <a:gd name="T69" fmla="*/ 126 h 174"/>
                  <a:gd name="T70" fmla="*/ 166 w 188"/>
                  <a:gd name="T71" fmla="*/ 126 h 174"/>
                  <a:gd name="T72" fmla="*/ 174 w 188"/>
                  <a:gd name="T73" fmla="*/ 98 h 174"/>
                  <a:gd name="T74" fmla="*/ 174 w 188"/>
                  <a:gd name="T75" fmla="*/ 84 h 174"/>
                  <a:gd name="T76" fmla="*/ 174 w 188"/>
                  <a:gd name="T77" fmla="*/ 64 h 174"/>
                  <a:gd name="T78" fmla="*/ 180 w 188"/>
                  <a:gd name="T79" fmla="*/ 56 h 174"/>
                  <a:gd name="T80" fmla="*/ 180 w 188"/>
                  <a:gd name="T81" fmla="*/ 42 h 174"/>
                  <a:gd name="T82" fmla="*/ 188 w 188"/>
                  <a:gd name="T83" fmla="*/ 28 h 174"/>
                  <a:gd name="T84" fmla="*/ 174 w 188"/>
                  <a:gd name="T85" fmla="*/ 28 h 174"/>
                  <a:gd name="T86" fmla="*/ 174 w 188"/>
                  <a:gd name="T87" fmla="*/ 2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 h="174">
                    <a:moveTo>
                      <a:pt x="174" y="28"/>
                    </a:moveTo>
                    <a:lnTo>
                      <a:pt x="166" y="28"/>
                    </a:lnTo>
                    <a:lnTo>
                      <a:pt x="166" y="0"/>
                    </a:lnTo>
                    <a:lnTo>
                      <a:pt x="160" y="0"/>
                    </a:lnTo>
                    <a:lnTo>
                      <a:pt x="152" y="0"/>
                    </a:lnTo>
                    <a:lnTo>
                      <a:pt x="146" y="8"/>
                    </a:lnTo>
                    <a:lnTo>
                      <a:pt x="132" y="14"/>
                    </a:lnTo>
                    <a:lnTo>
                      <a:pt x="132" y="8"/>
                    </a:lnTo>
                    <a:lnTo>
                      <a:pt x="132" y="0"/>
                    </a:lnTo>
                    <a:lnTo>
                      <a:pt x="124" y="8"/>
                    </a:lnTo>
                    <a:lnTo>
                      <a:pt x="118" y="8"/>
                    </a:lnTo>
                    <a:lnTo>
                      <a:pt x="112" y="8"/>
                    </a:lnTo>
                    <a:lnTo>
                      <a:pt x="96" y="14"/>
                    </a:lnTo>
                    <a:lnTo>
                      <a:pt x="90" y="22"/>
                    </a:lnTo>
                    <a:lnTo>
                      <a:pt x="90" y="28"/>
                    </a:lnTo>
                    <a:lnTo>
                      <a:pt x="90" y="36"/>
                    </a:lnTo>
                    <a:lnTo>
                      <a:pt x="90" y="42"/>
                    </a:lnTo>
                    <a:lnTo>
                      <a:pt x="90" y="50"/>
                    </a:lnTo>
                    <a:lnTo>
                      <a:pt x="90" y="64"/>
                    </a:lnTo>
                    <a:lnTo>
                      <a:pt x="76" y="76"/>
                    </a:lnTo>
                    <a:lnTo>
                      <a:pt x="70" y="76"/>
                    </a:lnTo>
                    <a:lnTo>
                      <a:pt x="62" y="76"/>
                    </a:lnTo>
                    <a:lnTo>
                      <a:pt x="62" y="64"/>
                    </a:lnTo>
                    <a:lnTo>
                      <a:pt x="70" y="56"/>
                    </a:lnTo>
                    <a:lnTo>
                      <a:pt x="62" y="56"/>
                    </a:lnTo>
                    <a:lnTo>
                      <a:pt x="70" y="50"/>
                    </a:lnTo>
                    <a:lnTo>
                      <a:pt x="76" y="42"/>
                    </a:lnTo>
                    <a:lnTo>
                      <a:pt x="76" y="36"/>
                    </a:lnTo>
                    <a:lnTo>
                      <a:pt x="70" y="28"/>
                    </a:lnTo>
                    <a:lnTo>
                      <a:pt x="56" y="28"/>
                    </a:lnTo>
                    <a:lnTo>
                      <a:pt x="56" y="22"/>
                    </a:lnTo>
                    <a:lnTo>
                      <a:pt x="56" y="28"/>
                    </a:lnTo>
                    <a:lnTo>
                      <a:pt x="48" y="42"/>
                    </a:lnTo>
                    <a:lnTo>
                      <a:pt x="48" y="56"/>
                    </a:lnTo>
                    <a:lnTo>
                      <a:pt x="42" y="64"/>
                    </a:lnTo>
                    <a:lnTo>
                      <a:pt x="42" y="70"/>
                    </a:lnTo>
                    <a:lnTo>
                      <a:pt x="34" y="70"/>
                    </a:lnTo>
                    <a:lnTo>
                      <a:pt x="34" y="76"/>
                    </a:lnTo>
                    <a:lnTo>
                      <a:pt x="28" y="84"/>
                    </a:lnTo>
                    <a:lnTo>
                      <a:pt x="14" y="84"/>
                    </a:lnTo>
                    <a:lnTo>
                      <a:pt x="14" y="98"/>
                    </a:lnTo>
                    <a:lnTo>
                      <a:pt x="20" y="98"/>
                    </a:lnTo>
                    <a:lnTo>
                      <a:pt x="20" y="104"/>
                    </a:lnTo>
                    <a:lnTo>
                      <a:pt x="8" y="112"/>
                    </a:lnTo>
                    <a:lnTo>
                      <a:pt x="8" y="98"/>
                    </a:lnTo>
                    <a:lnTo>
                      <a:pt x="0" y="98"/>
                    </a:lnTo>
                    <a:lnTo>
                      <a:pt x="0" y="104"/>
                    </a:lnTo>
                    <a:lnTo>
                      <a:pt x="0" y="112"/>
                    </a:lnTo>
                    <a:lnTo>
                      <a:pt x="0" y="126"/>
                    </a:lnTo>
                    <a:lnTo>
                      <a:pt x="8" y="126"/>
                    </a:lnTo>
                    <a:lnTo>
                      <a:pt x="14" y="132"/>
                    </a:lnTo>
                    <a:lnTo>
                      <a:pt x="34" y="138"/>
                    </a:lnTo>
                    <a:lnTo>
                      <a:pt x="34" y="146"/>
                    </a:lnTo>
                    <a:lnTo>
                      <a:pt x="42" y="146"/>
                    </a:lnTo>
                    <a:lnTo>
                      <a:pt x="48" y="138"/>
                    </a:lnTo>
                    <a:lnTo>
                      <a:pt x="56" y="138"/>
                    </a:lnTo>
                    <a:lnTo>
                      <a:pt x="62" y="146"/>
                    </a:lnTo>
                    <a:lnTo>
                      <a:pt x="70" y="152"/>
                    </a:lnTo>
                    <a:lnTo>
                      <a:pt x="82" y="168"/>
                    </a:lnTo>
                    <a:lnTo>
                      <a:pt x="82" y="174"/>
                    </a:lnTo>
                    <a:lnTo>
                      <a:pt x="96" y="168"/>
                    </a:lnTo>
                    <a:lnTo>
                      <a:pt x="96" y="160"/>
                    </a:lnTo>
                    <a:lnTo>
                      <a:pt x="96" y="146"/>
                    </a:lnTo>
                    <a:lnTo>
                      <a:pt x="96" y="138"/>
                    </a:lnTo>
                    <a:lnTo>
                      <a:pt x="96" y="132"/>
                    </a:lnTo>
                    <a:lnTo>
                      <a:pt x="112" y="126"/>
                    </a:lnTo>
                    <a:lnTo>
                      <a:pt x="132" y="118"/>
                    </a:lnTo>
                    <a:lnTo>
                      <a:pt x="138" y="126"/>
                    </a:lnTo>
                    <a:lnTo>
                      <a:pt x="146" y="126"/>
                    </a:lnTo>
                    <a:lnTo>
                      <a:pt x="152" y="126"/>
                    </a:lnTo>
                    <a:lnTo>
                      <a:pt x="160" y="126"/>
                    </a:lnTo>
                    <a:lnTo>
                      <a:pt x="166" y="126"/>
                    </a:lnTo>
                    <a:lnTo>
                      <a:pt x="174" y="104"/>
                    </a:lnTo>
                    <a:lnTo>
                      <a:pt x="174" y="98"/>
                    </a:lnTo>
                    <a:lnTo>
                      <a:pt x="166" y="90"/>
                    </a:lnTo>
                    <a:lnTo>
                      <a:pt x="174" y="84"/>
                    </a:lnTo>
                    <a:lnTo>
                      <a:pt x="174" y="76"/>
                    </a:lnTo>
                    <a:lnTo>
                      <a:pt x="174" y="64"/>
                    </a:lnTo>
                    <a:lnTo>
                      <a:pt x="174" y="56"/>
                    </a:lnTo>
                    <a:lnTo>
                      <a:pt x="180" y="56"/>
                    </a:lnTo>
                    <a:lnTo>
                      <a:pt x="180" y="50"/>
                    </a:lnTo>
                    <a:lnTo>
                      <a:pt x="180" y="42"/>
                    </a:lnTo>
                    <a:lnTo>
                      <a:pt x="180" y="36"/>
                    </a:lnTo>
                    <a:lnTo>
                      <a:pt x="188" y="28"/>
                    </a:lnTo>
                    <a:lnTo>
                      <a:pt x="180" y="22"/>
                    </a:lnTo>
                    <a:lnTo>
                      <a:pt x="174" y="28"/>
                    </a:lnTo>
                    <a:lnTo>
                      <a:pt x="174" y="28"/>
                    </a:lnTo>
                    <a:lnTo>
                      <a:pt x="174" y="28"/>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8" name="Freeform 52"/>
              <p:cNvSpPr>
                <a:spLocks/>
              </p:cNvSpPr>
              <p:nvPr/>
            </p:nvSpPr>
            <p:spPr bwMode="gray">
              <a:xfrm>
                <a:off x="4517473" y="2352295"/>
                <a:ext cx="177840" cy="107974"/>
              </a:xfrm>
              <a:custGeom>
                <a:avLst/>
                <a:gdLst>
                  <a:gd name="T0" fmla="*/ 8 w 112"/>
                  <a:gd name="T1" fmla="*/ 68 h 68"/>
                  <a:gd name="T2" fmla="*/ 8 w 112"/>
                  <a:gd name="T3" fmla="*/ 62 h 68"/>
                  <a:gd name="T4" fmla="*/ 8 w 112"/>
                  <a:gd name="T5" fmla="*/ 54 h 68"/>
                  <a:gd name="T6" fmla="*/ 14 w 112"/>
                  <a:gd name="T7" fmla="*/ 48 h 68"/>
                  <a:gd name="T8" fmla="*/ 22 w 112"/>
                  <a:gd name="T9" fmla="*/ 48 h 68"/>
                  <a:gd name="T10" fmla="*/ 28 w 112"/>
                  <a:gd name="T11" fmla="*/ 48 h 68"/>
                  <a:gd name="T12" fmla="*/ 34 w 112"/>
                  <a:gd name="T13" fmla="*/ 48 h 68"/>
                  <a:gd name="T14" fmla="*/ 42 w 112"/>
                  <a:gd name="T15" fmla="*/ 48 h 68"/>
                  <a:gd name="T16" fmla="*/ 50 w 112"/>
                  <a:gd name="T17" fmla="*/ 48 h 68"/>
                  <a:gd name="T18" fmla="*/ 56 w 112"/>
                  <a:gd name="T19" fmla="*/ 42 h 68"/>
                  <a:gd name="T20" fmla="*/ 64 w 112"/>
                  <a:gd name="T21" fmla="*/ 42 h 68"/>
                  <a:gd name="T22" fmla="*/ 76 w 112"/>
                  <a:gd name="T23" fmla="*/ 42 h 68"/>
                  <a:gd name="T24" fmla="*/ 84 w 112"/>
                  <a:gd name="T25" fmla="*/ 48 h 68"/>
                  <a:gd name="T26" fmla="*/ 92 w 112"/>
                  <a:gd name="T27" fmla="*/ 54 h 68"/>
                  <a:gd name="T28" fmla="*/ 92 w 112"/>
                  <a:gd name="T29" fmla="*/ 48 h 68"/>
                  <a:gd name="T30" fmla="*/ 98 w 112"/>
                  <a:gd name="T31" fmla="*/ 42 h 68"/>
                  <a:gd name="T32" fmla="*/ 106 w 112"/>
                  <a:gd name="T33" fmla="*/ 34 h 68"/>
                  <a:gd name="T34" fmla="*/ 106 w 112"/>
                  <a:gd name="T35" fmla="*/ 20 h 68"/>
                  <a:gd name="T36" fmla="*/ 98 w 112"/>
                  <a:gd name="T37" fmla="*/ 20 h 68"/>
                  <a:gd name="T38" fmla="*/ 98 w 112"/>
                  <a:gd name="T39" fmla="*/ 14 h 68"/>
                  <a:gd name="T40" fmla="*/ 106 w 112"/>
                  <a:gd name="T41" fmla="*/ 6 h 68"/>
                  <a:gd name="T42" fmla="*/ 112 w 112"/>
                  <a:gd name="T43" fmla="*/ 0 h 68"/>
                  <a:gd name="T44" fmla="*/ 106 w 112"/>
                  <a:gd name="T45" fmla="*/ 0 h 68"/>
                  <a:gd name="T46" fmla="*/ 98 w 112"/>
                  <a:gd name="T47" fmla="*/ 6 h 68"/>
                  <a:gd name="T48" fmla="*/ 92 w 112"/>
                  <a:gd name="T49" fmla="*/ 6 h 68"/>
                  <a:gd name="T50" fmla="*/ 84 w 112"/>
                  <a:gd name="T51" fmla="*/ 6 h 68"/>
                  <a:gd name="T52" fmla="*/ 76 w 112"/>
                  <a:gd name="T53" fmla="*/ 14 h 68"/>
                  <a:gd name="T54" fmla="*/ 70 w 112"/>
                  <a:gd name="T55" fmla="*/ 14 h 68"/>
                  <a:gd name="T56" fmla="*/ 64 w 112"/>
                  <a:gd name="T57" fmla="*/ 20 h 68"/>
                  <a:gd name="T58" fmla="*/ 56 w 112"/>
                  <a:gd name="T59" fmla="*/ 28 h 68"/>
                  <a:gd name="T60" fmla="*/ 56 w 112"/>
                  <a:gd name="T61" fmla="*/ 34 h 68"/>
                  <a:gd name="T62" fmla="*/ 50 w 112"/>
                  <a:gd name="T63" fmla="*/ 42 h 68"/>
                  <a:gd name="T64" fmla="*/ 42 w 112"/>
                  <a:gd name="T65" fmla="*/ 42 h 68"/>
                  <a:gd name="T66" fmla="*/ 34 w 112"/>
                  <a:gd name="T67" fmla="*/ 42 h 68"/>
                  <a:gd name="T68" fmla="*/ 14 w 112"/>
                  <a:gd name="T69" fmla="*/ 42 h 68"/>
                  <a:gd name="T70" fmla="*/ 8 w 112"/>
                  <a:gd name="T71" fmla="*/ 42 h 68"/>
                  <a:gd name="T72" fmla="*/ 0 w 112"/>
                  <a:gd name="T73" fmla="*/ 48 h 68"/>
                  <a:gd name="T74" fmla="*/ 0 w 112"/>
                  <a:gd name="T75" fmla="*/ 54 h 68"/>
                  <a:gd name="T76" fmla="*/ 8 w 112"/>
                  <a:gd name="T77" fmla="*/ 68 h 68"/>
                  <a:gd name="T78" fmla="*/ 8 w 112"/>
                  <a:gd name="T79" fmla="*/ 68 h 68"/>
                  <a:gd name="T80" fmla="*/ 8 w 112"/>
                  <a:gd name="T8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68">
                    <a:moveTo>
                      <a:pt x="8" y="68"/>
                    </a:moveTo>
                    <a:lnTo>
                      <a:pt x="8" y="62"/>
                    </a:lnTo>
                    <a:lnTo>
                      <a:pt x="8" y="54"/>
                    </a:lnTo>
                    <a:lnTo>
                      <a:pt x="14" y="48"/>
                    </a:lnTo>
                    <a:lnTo>
                      <a:pt x="22" y="48"/>
                    </a:lnTo>
                    <a:lnTo>
                      <a:pt x="28" y="48"/>
                    </a:lnTo>
                    <a:lnTo>
                      <a:pt x="34" y="48"/>
                    </a:lnTo>
                    <a:lnTo>
                      <a:pt x="42" y="48"/>
                    </a:lnTo>
                    <a:lnTo>
                      <a:pt x="50" y="48"/>
                    </a:lnTo>
                    <a:lnTo>
                      <a:pt x="56" y="42"/>
                    </a:lnTo>
                    <a:lnTo>
                      <a:pt x="64" y="42"/>
                    </a:lnTo>
                    <a:lnTo>
                      <a:pt x="76" y="42"/>
                    </a:lnTo>
                    <a:lnTo>
                      <a:pt x="84" y="48"/>
                    </a:lnTo>
                    <a:lnTo>
                      <a:pt x="92" y="54"/>
                    </a:lnTo>
                    <a:lnTo>
                      <a:pt x="92" y="48"/>
                    </a:lnTo>
                    <a:lnTo>
                      <a:pt x="98" y="42"/>
                    </a:lnTo>
                    <a:lnTo>
                      <a:pt x="106" y="34"/>
                    </a:lnTo>
                    <a:lnTo>
                      <a:pt x="106" y="20"/>
                    </a:lnTo>
                    <a:lnTo>
                      <a:pt x="98" y="20"/>
                    </a:lnTo>
                    <a:lnTo>
                      <a:pt x="98" y="14"/>
                    </a:lnTo>
                    <a:lnTo>
                      <a:pt x="106" y="6"/>
                    </a:lnTo>
                    <a:lnTo>
                      <a:pt x="112" y="0"/>
                    </a:lnTo>
                    <a:lnTo>
                      <a:pt x="106" y="0"/>
                    </a:lnTo>
                    <a:lnTo>
                      <a:pt x="98" y="6"/>
                    </a:lnTo>
                    <a:lnTo>
                      <a:pt x="92" y="6"/>
                    </a:lnTo>
                    <a:lnTo>
                      <a:pt x="84" y="6"/>
                    </a:lnTo>
                    <a:lnTo>
                      <a:pt x="76" y="14"/>
                    </a:lnTo>
                    <a:lnTo>
                      <a:pt x="70" y="14"/>
                    </a:lnTo>
                    <a:lnTo>
                      <a:pt x="64" y="20"/>
                    </a:lnTo>
                    <a:lnTo>
                      <a:pt x="56" y="28"/>
                    </a:lnTo>
                    <a:lnTo>
                      <a:pt x="56" y="34"/>
                    </a:lnTo>
                    <a:lnTo>
                      <a:pt x="50" y="42"/>
                    </a:lnTo>
                    <a:lnTo>
                      <a:pt x="42" y="42"/>
                    </a:lnTo>
                    <a:lnTo>
                      <a:pt x="34" y="42"/>
                    </a:lnTo>
                    <a:lnTo>
                      <a:pt x="14" y="42"/>
                    </a:lnTo>
                    <a:lnTo>
                      <a:pt x="8" y="42"/>
                    </a:lnTo>
                    <a:lnTo>
                      <a:pt x="0" y="48"/>
                    </a:lnTo>
                    <a:lnTo>
                      <a:pt x="0" y="54"/>
                    </a:lnTo>
                    <a:lnTo>
                      <a:pt x="8" y="68"/>
                    </a:lnTo>
                    <a:lnTo>
                      <a:pt x="8" y="68"/>
                    </a:lnTo>
                    <a:lnTo>
                      <a:pt x="8" y="68"/>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9" name="Freeform 53"/>
              <p:cNvSpPr>
                <a:spLocks/>
              </p:cNvSpPr>
              <p:nvPr/>
            </p:nvSpPr>
            <p:spPr bwMode="gray">
              <a:xfrm>
                <a:off x="4596866" y="2615879"/>
                <a:ext cx="53987" cy="53987"/>
              </a:xfrm>
              <a:custGeom>
                <a:avLst/>
                <a:gdLst>
                  <a:gd name="T0" fmla="*/ 34 w 34"/>
                  <a:gd name="T1" fmla="*/ 34 h 34"/>
                  <a:gd name="T2" fmla="*/ 26 w 34"/>
                  <a:gd name="T3" fmla="*/ 34 h 34"/>
                  <a:gd name="T4" fmla="*/ 14 w 34"/>
                  <a:gd name="T5" fmla="*/ 34 h 34"/>
                  <a:gd name="T6" fmla="*/ 14 w 34"/>
                  <a:gd name="T7" fmla="*/ 28 h 34"/>
                  <a:gd name="T8" fmla="*/ 0 w 34"/>
                  <a:gd name="T9" fmla="*/ 28 h 34"/>
                  <a:gd name="T10" fmla="*/ 0 w 34"/>
                  <a:gd name="T11" fmla="*/ 14 h 34"/>
                  <a:gd name="T12" fmla="*/ 0 w 34"/>
                  <a:gd name="T13" fmla="*/ 6 h 34"/>
                  <a:gd name="T14" fmla="*/ 6 w 34"/>
                  <a:gd name="T15" fmla="*/ 6 h 34"/>
                  <a:gd name="T16" fmla="*/ 6 w 34"/>
                  <a:gd name="T17" fmla="*/ 0 h 34"/>
                  <a:gd name="T18" fmla="*/ 14 w 34"/>
                  <a:gd name="T19" fmla="*/ 6 h 34"/>
                  <a:gd name="T20" fmla="*/ 20 w 34"/>
                  <a:gd name="T21" fmla="*/ 0 h 34"/>
                  <a:gd name="T22" fmla="*/ 26 w 34"/>
                  <a:gd name="T23" fmla="*/ 6 h 34"/>
                  <a:gd name="T24" fmla="*/ 34 w 34"/>
                  <a:gd name="T25" fmla="*/ 6 h 34"/>
                  <a:gd name="T26" fmla="*/ 34 w 34"/>
                  <a:gd name="T27" fmla="*/ 14 h 34"/>
                  <a:gd name="T28" fmla="*/ 34 w 34"/>
                  <a:gd name="T29" fmla="*/ 20 h 34"/>
                  <a:gd name="T30" fmla="*/ 34 w 34"/>
                  <a:gd name="T31" fmla="*/ 28 h 34"/>
                  <a:gd name="T32" fmla="*/ 34 w 34"/>
                  <a:gd name="T33" fmla="*/ 34 h 34"/>
                  <a:gd name="T34" fmla="*/ 26 w 34"/>
                  <a:gd name="T35" fmla="*/ 34 h 34"/>
                  <a:gd name="T36" fmla="*/ 34 w 34"/>
                  <a:gd name="T37" fmla="*/ 34 h 34"/>
                  <a:gd name="T38" fmla="*/ 34 w 34"/>
                  <a:gd name="T39" fmla="*/ 34 h 34"/>
                  <a:gd name="T40" fmla="*/ 34 w 34"/>
                  <a:gd name="T4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34">
                    <a:moveTo>
                      <a:pt x="34" y="34"/>
                    </a:moveTo>
                    <a:lnTo>
                      <a:pt x="26" y="34"/>
                    </a:lnTo>
                    <a:lnTo>
                      <a:pt x="14" y="34"/>
                    </a:lnTo>
                    <a:lnTo>
                      <a:pt x="14" y="28"/>
                    </a:lnTo>
                    <a:lnTo>
                      <a:pt x="0" y="28"/>
                    </a:lnTo>
                    <a:lnTo>
                      <a:pt x="0" y="14"/>
                    </a:lnTo>
                    <a:lnTo>
                      <a:pt x="0" y="6"/>
                    </a:lnTo>
                    <a:lnTo>
                      <a:pt x="6" y="6"/>
                    </a:lnTo>
                    <a:lnTo>
                      <a:pt x="6" y="0"/>
                    </a:lnTo>
                    <a:lnTo>
                      <a:pt x="14" y="6"/>
                    </a:lnTo>
                    <a:lnTo>
                      <a:pt x="20" y="0"/>
                    </a:lnTo>
                    <a:lnTo>
                      <a:pt x="26" y="6"/>
                    </a:lnTo>
                    <a:lnTo>
                      <a:pt x="34" y="6"/>
                    </a:lnTo>
                    <a:lnTo>
                      <a:pt x="34" y="14"/>
                    </a:lnTo>
                    <a:lnTo>
                      <a:pt x="34" y="20"/>
                    </a:lnTo>
                    <a:lnTo>
                      <a:pt x="34" y="28"/>
                    </a:lnTo>
                    <a:lnTo>
                      <a:pt x="34" y="34"/>
                    </a:lnTo>
                    <a:lnTo>
                      <a:pt x="26" y="34"/>
                    </a:lnTo>
                    <a:lnTo>
                      <a:pt x="34" y="34"/>
                    </a:lnTo>
                    <a:lnTo>
                      <a:pt x="34" y="34"/>
                    </a:lnTo>
                    <a:lnTo>
                      <a:pt x="34" y="34"/>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0" name="Freeform 54"/>
              <p:cNvSpPr>
                <a:spLocks/>
              </p:cNvSpPr>
              <p:nvPr/>
            </p:nvSpPr>
            <p:spPr bwMode="gray">
              <a:xfrm>
                <a:off x="4666731" y="2558716"/>
                <a:ext cx="111150" cy="130204"/>
              </a:xfrm>
              <a:custGeom>
                <a:avLst/>
                <a:gdLst>
                  <a:gd name="T0" fmla="*/ 34 w 70"/>
                  <a:gd name="T1" fmla="*/ 82 h 82"/>
                  <a:gd name="T2" fmla="*/ 20 w 70"/>
                  <a:gd name="T3" fmla="*/ 76 h 82"/>
                  <a:gd name="T4" fmla="*/ 28 w 70"/>
                  <a:gd name="T5" fmla="*/ 76 h 82"/>
                  <a:gd name="T6" fmla="*/ 28 w 70"/>
                  <a:gd name="T7" fmla="*/ 68 h 82"/>
                  <a:gd name="T8" fmla="*/ 20 w 70"/>
                  <a:gd name="T9" fmla="*/ 68 h 82"/>
                  <a:gd name="T10" fmla="*/ 6 w 70"/>
                  <a:gd name="T11" fmla="*/ 68 h 82"/>
                  <a:gd name="T12" fmla="*/ 0 w 70"/>
                  <a:gd name="T13" fmla="*/ 62 h 82"/>
                  <a:gd name="T14" fmla="*/ 0 w 70"/>
                  <a:gd name="T15" fmla="*/ 56 h 82"/>
                  <a:gd name="T16" fmla="*/ 6 w 70"/>
                  <a:gd name="T17" fmla="*/ 48 h 82"/>
                  <a:gd name="T18" fmla="*/ 0 w 70"/>
                  <a:gd name="T19" fmla="*/ 42 h 82"/>
                  <a:gd name="T20" fmla="*/ 0 w 70"/>
                  <a:gd name="T21" fmla="*/ 34 h 82"/>
                  <a:gd name="T22" fmla="*/ 6 w 70"/>
                  <a:gd name="T23" fmla="*/ 28 h 82"/>
                  <a:gd name="T24" fmla="*/ 14 w 70"/>
                  <a:gd name="T25" fmla="*/ 28 h 82"/>
                  <a:gd name="T26" fmla="*/ 20 w 70"/>
                  <a:gd name="T27" fmla="*/ 22 h 82"/>
                  <a:gd name="T28" fmla="*/ 20 w 70"/>
                  <a:gd name="T29" fmla="*/ 14 h 82"/>
                  <a:gd name="T30" fmla="*/ 28 w 70"/>
                  <a:gd name="T31" fmla="*/ 14 h 82"/>
                  <a:gd name="T32" fmla="*/ 28 w 70"/>
                  <a:gd name="T33" fmla="*/ 22 h 82"/>
                  <a:gd name="T34" fmla="*/ 20 w 70"/>
                  <a:gd name="T35" fmla="*/ 28 h 82"/>
                  <a:gd name="T36" fmla="*/ 28 w 70"/>
                  <a:gd name="T37" fmla="*/ 34 h 82"/>
                  <a:gd name="T38" fmla="*/ 34 w 70"/>
                  <a:gd name="T39" fmla="*/ 34 h 82"/>
                  <a:gd name="T40" fmla="*/ 34 w 70"/>
                  <a:gd name="T41" fmla="*/ 28 h 82"/>
                  <a:gd name="T42" fmla="*/ 34 w 70"/>
                  <a:gd name="T43" fmla="*/ 22 h 82"/>
                  <a:gd name="T44" fmla="*/ 42 w 70"/>
                  <a:gd name="T45" fmla="*/ 22 h 82"/>
                  <a:gd name="T46" fmla="*/ 48 w 70"/>
                  <a:gd name="T47" fmla="*/ 22 h 82"/>
                  <a:gd name="T48" fmla="*/ 56 w 70"/>
                  <a:gd name="T49" fmla="*/ 14 h 82"/>
                  <a:gd name="T50" fmla="*/ 48 w 70"/>
                  <a:gd name="T51" fmla="*/ 8 h 82"/>
                  <a:gd name="T52" fmla="*/ 42 w 70"/>
                  <a:gd name="T53" fmla="*/ 8 h 82"/>
                  <a:gd name="T54" fmla="*/ 48 w 70"/>
                  <a:gd name="T55" fmla="*/ 0 h 82"/>
                  <a:gd name="T56" fmla="*/ 56 w 70"/>
                  <a:gd name="T57" fmla="*/ 0 h 82"/>
                  <a:gd name="T58" fmla="*/ 70 w 70"/>
                  <a:gd name="T59" fmla="*/ 0 h 82"/>
                  <a:gd name="T60" fmla="*/ 62 w 70"/>
                  <a:gd name="T61" fmla="*/ 8 h 82"/>
                  <a:gd name="T62" fmla="*/ 70 w 70"/>
                  <a:gd name="T63" fmla="*/ 8 h 82"/>
                  <a:gd name="T64" fmla="*/ 62 w 70"/>
                  <a:gd name="T65" fmla="*/ 14 h 82"/>
                  <a:gd name="T66" fmla="*/ 70 w 70"/>
                  <a:gd name="T67" fmla="*/ 28 h 82"/>
                  <a:gd name="T68" fmla="*/ 62 w 70"/>
                  <a:gd name="T69" fmla="*/ 34 h 82"/>
                  <a:gd name="T70" fmla="*/ 48 w 70"/>
                  <a:gd name="T71" fmla="*/ 48 h 82"/>
                  <a:gd name="T72" fmla="*/ 56 w 70"/>
                  <a:gd name="T73" fmla="*/ 56 h 82"/>
                  <a:gd name="T74" fmla="*/ 48 w 70"/>
                  <a:gd name="T75" fmla="*/ 68 h 82"/>
                  <a:gd name="T76" fmla="*/ 42 w 70"/>
                  <a:gd name="T77" fmla="*/ 68 h 82"/>
                  <a:gd name="T78" fmla="*/ 34 w 70"/>
                  <a:gd name="T79" fmla="*/ 76 h 82"/>
                  <a:gd name="T80" fmla="*/ 42 w 70"/>
                  <a:gd name="T81" fmla="*/ 82 h 82"/>
                  <a:gd name="T82" fmla="*/ 34 w 70"/>
                  <a:gd name="T83" fmla="*/ 82 h 82"/>
                  <a:gd name="T84" fmla="*/ 34 w 70"/>
                  <a:gd name="T85" fmla="*/ 82 h 82"/>
                  <a:gd name="T86" fmla="*/ 34 w 70"/>
                  <a:gd name="T8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 h="82">
                    <a:moveTo>
                      <a:pt x="34" y="82"/>
                    </a:moveTo>
                    <a:lnTo>
                      <a:pt x="20" y="76"/>
                    </a:lnTo>
                    <a:lnTo>
                      <a:pt x="28" y="76"/>
                    </a:lnTo>
                    <a:lnTo>
                      <a:pt x="28" y="68"/>
                    </a:lnTo>
                    <a:lnTo>
                      <a:pt x="20" y="68"/>
                    </a:lnTo>
                    <a:lnTo>
                      <a:pt x="6" y="68"/>
                    </a:lnTo>
                    <a:lnTo>
                      <a:pt x="0" y="62"/>
                    </a:lnTo>
                    <a:lnTo>
                      <a:pt x="0" y="56"/>
                    </a:lnTo>
                    <a:lnTo>
                      <a:pt x="6" y="48"/>
                    </a:lnTo>
                    <a:lnTo>
                      <a:pt x="0" y="42"/>
                    </a:lnTo>
                    <a:lnTo>
                      <a:pt x="0" y="34"/>
                    </a:lnTo>
                    <a:lnTo>
                      <a:pt x="6" y="28"/>
                    </a:lnTo>
                    <a:lnTo>
                      <a:pt x="14" y="28"/>
                    </a:lnTo>
                    <a:lnTo>
                      <a:pt x="20" y="22"/>
                    </a:lnTo>
                    <a:lnTo>
                      <a:pt x="20" y="14"/>
                    </a:lnTo>
                    <a:lnTo>
                      <a:pt x="28" y="14"/>
                    </a:lnTo>
                    <a:lnTo>
                      <a:pt x="28" y="22"/>
                    </a:lnTo>
                    <a:lnTo>
                      <a:pt x="20" y="28"/>
                    </a:lnTo>
                    <a:lnTo>
                      <a:pt x="28" y="34"/>
                    </a:lnTo>
                    <a:lnTo>
                      <a:pt x="34" y="34"/>
                    </a:lnTo>
                    <a:lnTo>
                      <a:pt x="34" y="28"/>
                    </a:lnTo>
                    <a:lnTo>
                      <a:pt x="34" y="22"/>
                    </a:lnTo>
                    <a:lnTo>
                      <a:pt x="42" y="22"/>
                    </a:lnTo>
                    <a:lnTo>
                      <a:pt x="48" y="22"/>
                    </a:lnTo>
                    <a:lnTo>
                      <a:pt x="56" y="14"/>
                    </a:lnTo>
                    <a:lnTo>
                      <a:pt x="48" y="8"/>
                    </a:lnTo>
                    <a:lnTo>
                      <a:pt x="42" y="8"/>
                    </a:lnTo>
                    <a:lnTo>
                      <a:pt x="48" y="0"/>
                    </a:lnTo>
                    <a:lnTo>
                      <a:pt x="56" y="0"/>
                    </a:lnTo>
                    <a:lnTo>
                      <a:pt x="70" y="0"/>
                    </a:lnTo>
                    <a:lnTo>
                      <a:pt x="62" y="8"/>
                    </a:lnTo>
                    <a:lnTo>
                      <a:pt x="70" y="8"/>
                    </a:lnTo>
                    <a:lnTo>
                      <a:pt x="62" y="14"/>
                    </a:lnTo>
                    <a:lnTo>
                      <a:pt x="70" y="28"/>
                    </a:lnTo>
                    <a:lnTo>
                      <a:pt x="62" y="34"/>
                    </a:lnTo>
                    <a:lnTo>
                      <a:pt x="48" y="48"/>
                    </a:lnTo>
                    <a:lnTo>
                      <a:pt x="56" y="56"/>
                    </a:lnTo>
                    <a:lnTo>
                      <a:pt x="48" y="68"/>
                    </a:lnTo>
                    <a:lnTo>
                      <a:pt x="42" y="68"/>
                    </a:lnTo>
                    <a:lnTo>
                      <a:pt x="34" y="76"/>
                    </a:lnTo>
                    <a:lnTo>
                      <a:pt x="42" y="82"/>
                    </a:lnTo>
                    <a:lnTo>
                      <a:pt x="34" y="82"/>
                    </a:lnTo>
                    <a:lnTo>
                      <a:pt x="34" y="82"/>
                    </a:lnTo>
                    <a:lnTo>
                      <a:pt x="34" y="82"/>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1" name="Freeform 55"/>
              <p:cNvSpPr>
                <a:spLocks/>
              </p:cNvSpPr>
              <p:nvPr/>
            </p:nvSpPr>
            <p:spPr bwMode="gray">
              <a:xfrm>
                <a:off x="4654029" y="2701623"/>
                <a:ext cx="44460" cy="31757"/>
              </a:xfrm>
              <a:custGeom>
                <a:avLst/>
                <a:gdLst>
                  <a:gd name="T0" fmla="*/ 22 w 28"/>
                  <a:gd name="T1" fmla="*/ 20 h 20"/>
                  <a:gd name="T2" fmla="*/ 14 w 28"/>
                  <a:gd name="T3" fmla="*/ 20 h 20"/>
                  <a:gd name="T4" fmla="*/ 8 w 28"/>
                  <a:gd name="T5" fmla="*/ 14 h 20"/>
                  <a:gd name="T6" fmla="*/ 0 w 28"/>
                  <a:gd name="T7" fmla="*/ 8 h 20"/>
                  <a:gd name="T8" fmla="*/ 0 w 28"/>
                  <a:gd name="T9" fmla="*/ 0 h 20"/>
                  <a:gd name="T10" fmla="*/ 8 w 28"/>
                  <a:gd name="T11" fmla="*/ 0 h 20"/>
                  <a:gd name="T12" fmla="*/ 14 w 28"/>
                  <a:gd name="T13" fmla="*/ 0 h 20"/>
                  <a:gd name="T14" fmla="*/ 14 w 28"/>
                  <a:gd name="T15" fmla="*/ 8 h 20"/>
                  <a:gd name="T16" fmla="*/ 22 w 28"/>
                  <a:gd name="T17" fmla="*/ 8 h 20"/>
                  <a:gd name="T18" fmla="*/ 28 w 28"/>
                  <a:gd name="T19" fmla="*/ 14 h 20"/>
                  <a:gd name="T20" fmla="*/ 28 w 28"/>
                  <a:gd name="T21" fmla="*/ 20 h 20"/>
                  <a:gd name="T22" fmla="*/ 22 w 28"/>
                  <a:gd name="T23" fmla="*/ 20 h 20"/>
                  <a:gd name="T24" fmla="*/ 22 w 28"/>
                  <a:gd name="T25" fmla="*/ 20 h 20"/>
                  <a:gd name="T26" fmla="*/ 22 w 28"/>
                  <a:gd name="T2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20">
                    <a:moveTo>
                      <a:pt x="22" y="20"/>
                    </a:moveTo>
                    <a:lnTo>
                      <a:pt x="14" y="20"/>
                    </a:lnTo>
                    <a:lnTo>
                      <a:pt x="8" y="14"/>
                    </a:lnTo>
                    <a:lnTo>
                      <a:pt x="0" y="8"/>
                    </a:lnTo>
                    <a:lnTo>
                      <a:pt x="0" y="0"/>
                    </a:lnTo>
                    <a:lnTo>
                      <a:pt x="8" y="0"/>
                    </a:lnTo>
                    <a:lnTo>
                      <a:pt x="14" y="0"/>
                    </a:lnTo>
                    <a:lnTo>
                      <a:pt x="14" y="8"/>
                    </a:lnTo>
                    <a:lnTo>
                      <a:pt x="22" y="8"/>
                    </a:lnTo>
                    <a:lnTo>
                      <a:pt x="28" y="14"/>
                    </a:lnTo>
                    <a:lnTo>
                      <a:pt x="28" y="20"/>
                    </a:lnTo>
                    <a:lnTo>
                      <a:pt x="22" y="20"/>
                    </a:lnTo>
                    <a:lnTo>
                      <a:pt x="22" y="20"/>
                    </a:lnTo>
                    <a:lnTo>
                      <a:pt x="22" y="20"/>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2" name="Freeform 56"/>
              <p:cNvSpPr>
                <a:spLocks/>
              </p:cNvSpPr>
              <p:nvPr/>
            </p:nvSpPr>
            <p:spPr bwMode="gray">
              <a:xfrm>
                <a:off x="4711192" y="2701623"/>
                <a:ext cx="22230" cy="31757"/>
              </a:xfrm>
              <a:custGeom>
                <a:avLst/>
                <a:gdLst>
                  <a:gd name="T0" fmla="*/ 0 w 14"/>
                  <a:gd name="T1" fmla="*/ 14 h 20"/>
                  <a:gd name="T2" fmla="*/ 0 w 14"/>
                  <a:gd name="T3" fmla="*/ 8 h 20"/>
                  <a:gd name="T4" fmla="*/ 0 w 14"/>
                  <a:gd name="T5" fmla="*/ 0 h 20"/>
                  <a:gd name="T6" fmla="*/ 8 w 14"/>
                  <a:gd name="T7" fmla="*/ 8 h 20"/>
                  <a:gd name="T8" fmla="*/ 14 w 14"/>
                  <a:gd name="T9" fmla="*/ 8 h 20"/>
                  <a:gd name="T10" fmla="*/ 14 w 14"/>
                  <a:gd name="T11" fmla="*/ 14 h 20"/>
                  <a:gd name="T12" fmla="*/ 8 w 14"/>
                  <a:gd name="T13" fmla="*/ 14 h 20"/>
                  <a:gd name="T14" fmla="*/ 8 w 14"/>
                  <a:gd name="T15" fmla="*/ 20 h 20"/>
                  <a:gd name="T16" fmla="*/ 0 w 14"/>
                  <a:gd name="T17" fmla="*/ 14 h 20"/>
                  <a:gd name="T18" fmla="*/ 0 w 14"/>
                  <a:gd name="T19" fmla="*/ 14 h 20"/>
                  <a:gd name="T20" fmla="*/ 0 w 14"/>
                  <a:gd name="T21"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20">
                    <a:moveTo>
                      <a:pt x="0" y="14"/>
                    </a:moveTo>
                    <a:lnTo>
                      <a:pt x="0" y="8"/>
                    </a:lnTo>
                    <a:lnTo>
                      <a:pt x="0" y="0"/>
                    </a:lnTo>
                    <a:lnTo>
                      <a:pt x="8" y="8"/>
                    </a:lnTo>
                    <a:lnTo>
                      <a:pt x="14" y="8"/>
                    </a:lnTo>
                    <a:lnTo>
                      <a:pt x="14" y="14"/>
                    </a:lnTo>
                    <a:lnTo>
                      <a:pt x="8" y="14"/>
                    </a:lnTo>
                    <a:lnTo>
                      <a:pt x="8" y="20"/>
                    </a:lnTo>
                    <a:lnTo>
                      <a:pt x="0" y="14"/>
                    </a:lnTo>
                    <a:lnTo>
                      <a:pt x="0" y="14"/>
                    </a:lnTo>
                    <a:lnTo>
                      <a:pt x="0" y="14"/>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3" name="Freeform 57"/>
              <p:cNvSpPr>
                <a:spLocks/>
              </p:cNvSpPr>
              <p:nvPr>
                <p:custDataLst>
                  <p:tags r:id="rId142"/>
                </p:custDataLst>
              </p:nvPr>
            </p:nvSpPr>
            <p:spPr bwMode="gray">
              <a:xfrm>
                <a:off x="4973186" y="3460617"/>
                <a:ext cx="555748" cy="349328"/>
              </a:xfrm>
              <a:custGeom>
                <a:avLst/>
                <a:gdLst>
                  <a:gd name="T0" fmla="*/ 56 w 350"/>
                  <a:gd name="T1" fmla="*/ 48 h 220"/>
                  <a:gd name="T2" fmla="*/ 70 w 350"/>
                  <a:gd name="T3" fmla="*/ 54 h 220"/>
                  <a:gd name="T4" fmla="*/ 84 w 350"/>
                  <a:gd name="T5" fmla="*/ 68 h 220"/>
                  <a:gd name="T6" fmla="*/ 104 w 350"/>
                  <a:gd name="T7" fmla="*/ 68 h 220"/>
                  <a:gd name="T8" fmla="*/ 114 w 350"/>
                  <a:gd name="T9" fmla="*/ 68 h 220"/>
                  <a:gd name="T10" fmla="*/ 138 w 350"/>
                  <a:gd name="T11" fmla="*/ 62 h 220"/>
                  <a:gd name="T12" fmla="*/ 138 w 350"/>
                  <a:gd name="T13" fmla="*/ 54 h 220"/>
                  <a:gd name="T14" fmla="*/ 150 w 350"/>
                  <a:gd name="T15" fmla="*/ 46 h 220"/>
                  <a:gd name="T16" fmla="*/ 166 w 350"/>
                  <a:gd name="T17" fmla="*/ 48 h 220"/>
                  <a:gd name="T18" fmla="*/ 188 w 350"/>
                  <a:gd name="T19" fmla="*/ 40 h 220"/>
                  <a:gd name="T20" fmla="*/ 208 w 350"/>
                  <a:gd name="T21" fmla="*/ 26 h 220"/>
                  <a:gd name="T22" fmla="*/ 222 w 350"/>
                  <a:gd name="T23" fmla="*/ 12 h 220"/>
                  <a:gd name="T24" fmla="*/ 230 w 350"/>
                  <a:gd name="T25" fmla="*/ 0 h 220"/>
                  <a:gd name="T26" fmla="*/ 242 w 350"/>
                  <a:gd name="T27" fmla="*/ 0 h 220"/>
                  <a:gd name="T28" fmla="*/ 264 w 350"/>
                  <a:gd name="T29" fmla="*/ 0 h 220"/>
                  <a:gd name="T30" fmla="*/ 278 w 350"/>
                  <a:gd name="T31" fmla="*/ 0 h 220"/>
                  <a:gd name="T32" fmla="*/ 284 w 350"/>
                  <a:gd name="T33" fmla="*/ 6 h 220"/>
                  <a:gd name="T34" fmla="*/ 304 w 350"/>
                  <a:gd name="T35" fmla="*/ 6 h 220"/>
                  <a:gd name="T36" fmla="*/ 322 w 350"/>
                  <a:gd name="T37" fmla="*/ 20 h 220"/>
                  <a:gd name="T38" fmla="*/ 334 w 350"/>
                  <a:gd name="T39" fmla="*/ 20 h 220"/>
                  <a:gd name="T40" fmla="*/ 350 w 350"/>
                  <a:gd name="T41" fmla="*/ 32 h 220"/>
                  <a:gd name="T42" fmla="*/ 348 w 350"/>
                  <a:gd name="T43" fmla="*/ 52 h 220"/>
                  <a:gd name="T44" fmla="*/ 328 w 350"/>
                  <a:gd name="T45" fmla="*/ 68 h 220"/>
                  <a:gd name="T46" fmla="*/ 314 w 350"/>
                  <a:gd name="T47" fmla="*/ 74 h 220"/>
                  <a:gd name="T48" fmla="*/ 306 w 350"/>
                  <a:gd name="T49" fmla="*/ 98 h 220"/>
                  <a:gd name="T50" fmla="*/ 300 w 350"/>
                  <a:gd name="T51" fmla="*/ 112 h 220"/>
                  <a:gd name="T52" fmla="*/ 288 w 350"/>
                  <a:gd name="T53" fmla="*/ 138 h 220"/>
                  <a:gd name="T54" fmla="*/ 274 w 350"/>
                  <a:gd name="T55" fmla="*/ 148 h 220"/>
                  <a:gd name="T56" fmla="*/ 262 w 350"/>
                  <a:gd name="T57" fmla="*/ 164 h 220"/>
                  <a:gd name="T58" fmla="*/ 252 w 350"/>
                  <a:gd name="T59" fmla="*/ 174 h 220"/>
                  <a:gd name="T60" fmla="*/ 244 w 350"/>
                  <a:gd name="T61" fmla="*/ 186 h 220"/>
                  <a:gd name="T62" fmla="*/ 214 w 350"/>
                  <a:gd name="T63" fmla="*/ 178 h 220"/>
                  <a:gd name="T64" fmla="*/ 208 w 350"/>
                  <a:gd name="T65" fmla="*/ 186 h 220"/>
                  <a:gd name="T66" fmla="*/ 188 w 350"/>
                  <a:gd name="T67" fmla="*/ 192 h 220"/>
                  <a:gd name="T68" fmla="*/ 166 w 350"/>
                  <a:gd name="T69" fmla="*/ 192 h 220"/>
                  <a:gd name="T70" fmla="*/ 146 w 350"/>
                  <a:gd name="T71" fmla="*/ 200 h 220"/>
                  <a:gd name="T72" fmla="*/ 132 w 350"/>
                  <a:gd name="T73" fmla="*/ 206 h 220"/>
                  <a:gd name="T74" fmla="*/ 118 w 350"/>
                  <a:gd name="T75" fmla="*/ 220 h 220"/>
                  <a:gd name="T76" fmla="*/ 96 w 350"/>
                  <a:gd name="T77" fmla="*/ 214 h 220"/>
                  <a:gd name="T78" fmla="*/ 84 w 350"/>
                  <a:gd name="T79" fmla="*/ 214 h 220"/>
                  <a:gd name="T80" fmla="*/ 70 w 350"/>
                  <a:gd name="T81" fmla="*/ 206 h 220"/>
                  <a:gd name="T82" fmla="*/ 62 w 350"/>
                  <a:gd name="T83" fmla="*/ 200 h 220"/>
                  <a:gd name="T84" fmla="*/ 48 w 350"/>
                  <a:gd name="T85" fmla="*/ 192 h 220"/>
                  <a:gd name="T86" fmla="*/ 34 w 350"/>
                  <a:gd name="T87" fmla="*/ 178 h 220"/>
                  <a:gd name="T88" fmla="*/ 28 w 350"/>
                  <a:gd name="T89" fmla="*/ 164 h 220"/>
                  <a:gd name="T90" fmla="*/ 20 w 350"/>
                  <a:gd name="T91" fmla="*/ 152 h 220"/>
                  <a:gd name="T92" fmla="*/ 14 w 350"/>
                  <a:gd name="T93" fmla="*/ 138 h 220"/>
                  <a:gd name="T94" fmla="*/ 0 w 350"/>
                  <a:gd name="T95" fmla="*/ 144 h 220"/>
                  <a:gd name="T96" fmla="*/ 8 w 350"/>
                  <a:gd name="T97" fmla="*/ 124 h 220"/>
                  <a:gd name="T98" fmla="*/ 20 w 350"/>
                  <a:gd name="T99" fmla="*/ 110 h 220"/>
                  <a:gd name="T100" fmla="*/ 28 w 350"/>
                  <a:gd name="T101" fmla="*/ 96 h 220"/>
                  <a:gd name="T102" fmla="*/ 28 w 350"/>
                  <a:gd name="T103" fmla="*/ 82 h 220"/>
                  <a:gd name="T104" fmla="*/ 20 w 350"/>
                  <a:gd name="T105" fmla="*/ 68 h 220"/>
                  <a:gd name="T106" fmla="*/ 32 w 350"/>
                  <a:gd name="T107" fmla="*/ 66 h 220"/>
                  <a:gd name="T108" fmla="*/ 42 w 350"/>
                  <a:gd name="T109" fmla="*/ 72 h 220"/>
                  <a:gd name="T110" fmla="*/ 48 w 350"/>
                  <a:gd name="T111" fmla="*/ 62 h 220"/>
                  <a:gd name="T112" fmla="*/ 40 w 350"/>
                  <a:gd name="T113" fmla="*/ 36 h 220"/>
                  <a:gd name="T114" fmla="*/ 40 w 350"/>
                  <a:gd name="T115" fmla="*/ 3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0" h="220">
                    <a:moveTo>
                      <a:pt x="40" y="36"/>
                    </a:moveTo>
                    <a:lnTo>
                      <a:pt x="56" y="48"/>
                    </a:lnTo>
                    <a:lnTo>
                      <a:pt x="62" y="54"/>
                    </a:lnTo>
                    <a:lnTo>
                      <a:pt x="70" y="54"/>
                    </a:lnTo>
                    <a:lnTo>
                      <a:pt x="76" y="62"/>
                    </a:lnTo>
                    <a:lnTo>
                      <a:pt x="84" y="68"/>
                    </a:lnTo>
                    <a:lnTo>
                      <a:pt x="96" y="68"/>
                    </a:lnTo>
                    <a:lnTo>
                      <a:pt x="104" y="68"/>
                    </a:lnTo>
                    <a:lnTo>
                      <a:pt x="112" y="68"/>
                    </a:lnTo>
                    <a:lnTo>
                      <a:pt x="114" y="68"/>
                    </a:lnTo>
                    <a:lnTo>
                      <a:pt x="132" y="62"/>
                    </a:lnTo>
                    <a:lnTo>
                      <a:pt x="138" y="62"/>
                    </a:lnTo>
                    <a:lnTo>
                      <a:pt x="134" y="56"/>
                    </a:lnTo>
                    <a:lnTo>
                      <a:pt x="138" y="54"/>
                    </a:lnTo>
                    <a:lnTo>
                      <a:pt x="138" y="48"/>
                    </a:lnTo>
                    <a:lnTo>
                      <a:pt x="150" y="46"/>
                    </a:lnTo>
                    <a:lnTo>
                      <a:pt x="158" y="48"/>
                    </a:lnTo>
                    <a:lnTo>
                      <a:pt x="166" y="48"/>
                    </a:lnTo>
                    <a:lnTo>
                      <a:pt x="174" y="48"/>
                    </a:lnTo>
                    <a:lnTo>
                      <a:pt x="188" y="40"/>
                    </a:lnTo>
                    <a:lnTo>
                      <a:pt x="194" y="34"/>
                    </a:lnTo>
                    <a:lnTo>
                      <a:pt x="208" y="26"/>
                    </a:lnTo>
                    <a:lnTo>
                      <a:pt x="214" y="20"/>
                    </a:lnTo>
                    <a:lnTo>
                      <a:pt x="222" y="12"/>
                    </a:lnTo>
                    <a:lnTo>
                      <a:pt x="222" y="6"/>
                    </a:lnTo>
                    <a:lnTo>
                      <a:pt x="230" y="0"/>
                    </a:lnTo>
                    <a:lnTo>
                      <a:pt x="236" y="0"/>
                    </a:lnTo>
                    <a:lnTo>
                      <a:pt x="242" y="0"/>
                    </a:lnTo>
                    <a:lnTo>
                      <a:pt x="256" y="0"/>
                    </a:lnTo>
                    <a:lnTo>
                      <a:pt x="264" y="0"/>
                    </a:lnTo>
                    <a:lnTo>
                      <a:pt x="270" y="0"/>
                    </a:lnTo>
                    <a:lnTo>
                      <a:pt x="278" y="0"/>
                    </a:lnTo>
                    <a:lnTo>
                      <a:pt x="278" y="6"/>
                    </a:lnTo>
                    <a:lnTo>
                      <a:pt x="284" y="6"/>
                    </a:lnTo>
                    <a:lnTo>
                      <a:pt x="292" y="12"/>
                    </a:lnTo>
                    <a:lnTo>
                      <a:pt x="304" y="6"/>
                    </a:lnTo>
                    <a:lnTo>
                      <a:pt x="318" y="12"/>
                    </a:lnTo>
                    <a:lnTo>
                      <a:pt x="322" y="20"/>
                    </a:lnTo>
                    <a:lnTo>
                      <a:pt x="326" y="18"/>
                    </a:lnTo>
                    <a:lnTo>
                      <a:pt x="334" y="20"/>
                    </a:lnTo>
                    <a:lnTo>
                      <a:pt x="340" y="26"/>
                    </a:lnTo>
                    <a:lnTo>
                      <a:pt x="350" y="32"/>
                    </a:lnTo>
                    <a:lnTo>
                      <a:pt x="350" y="40"/>
                    </a:lnTo>
                    <a:lnTo>
                      <a:pt x="348" y="52"/>
                    </a:lnTo>
                    <a:lnTo>
                      <a:pt x="338" y="62"/>
                    </a:lnTo>
                    <a:lnTo>
                      <a:pt x="328" y="68"/>
                    </a:lnTo>
                    <a:lnTo>
                      <a:pt x="322" y="72"/>
                    </a:lnTo>
                    <a:lnTo>
                      <a:pt x="314" y="74"/>
                    </a:lnTo>
                    <a:lnTo>
                      <a:pt x="308" y="84"/>
                    </a:lnTo>
                    <a:lnTo>
                      <a:pt x="306" y="98"/>
                    </a:lnTo>
                    <a:lnTo>
                      <a:pt x="302" y="104"/>
                    </a:lnTo>
                    <a:lnTo>
                      <a:pt x="300" y="112"/>
                    </a:lnTo>
                    <a:lnTo>
                      <a:pt x="296" y="130"/>
                    </a:lnTo>
                    <a:lnTo>
                      <a:pt x="288" y="138"/>
                    </a:lnTo>
                    <a:lnTo>
                      <a:pt x="284" y="146"/>
                    </a:lnTo>
                    <a:lnTo>
                      <a:pt x="274" y="148"/>
                    </a:lnTo>
                    <a:lnTo>
                      <a:pt x="274" y="156"/>
                    </a:lnTo>
                    <a:lnTo>
                      <a:pt x="262" y="164"/>
                    </a:lnTo>
                    <a:lnTo>
                      <a:pt x="260" y="166"/>
                    </a:lnTo>
                    <a:lnTo>
                      <a:pt x="252" y="174"/>
                    </a:lnTo>
                    <a:lnTo>
                      <a:pt x="248" y="180"/>
                    </a:lnTo>
                    <a:lnTo>
                      <a:pt x="244" y="186"/>
                    </a:lnTo>
                    <a:lnTo>
                      <a:pt x="222" y="186"/>
                    </a:lnTo>
                    <a:lnTo>
                      <a:pt x="214" y="178"/>
                    </a:lnTo>
                    <a:lnTo>
                      <a:pt x="208" y="178"/>
                    </a:lnTo>
                    <a:lnTo>
                      <a:pt x="208" y="186"/>
                    </a:lnTo>
                    <a:lnTo>
                      <a:pt x="194" y="192"/>
                    </a:lnTo>
                    <a:lnTo>
                      <a:pt x="188" y="192"/>
                    </a:lnTo>
                    <a:lnTo>
                      <a:pt x="180" y="186"/>
                    </a:lnTo>
                    <a:lnTo>
                      <a:pt x="166" y="192"/>
                    </a:lnTo>
                    <a:lnTo>
                      <a:pt x="158" y="200"/>
                    </a:lnTo>
                    <a:lnTo>
                      <a:pt x="146" y="200"/>
                    </a:lnTo>
                    <a:lnTo>
                      <a:pt x="138" y="200"/>
                    </a:lnTo>
                    <a:lnTo>
                      <a:pt x="132" y="206"/>
                    </a:lnTo>
                    <a:lnTo>
                      <a:pt x="126" y="214"/>
                    </a:lnTo>
                    <a:lnTo>
                      <a:pt x="118" y="220"/>
                    </a:lnTo>
                    <a:lnTo>
                      <a:pt x="112" y="220"/>
                    </a:lnTo>
                    <a:lnTo>
                      <a:pt x="96" y="214"/>
                    </a:lnTo>
                    <a:lnTo>
                      <a:pt x="90" y="214"/>
                    </a:lnTo>
                    <a:lnTo>
                      <a:pt x="84" y="214"/>
                    </a:lnTo>
                    <a:lnTo>
                      <a:pt x="76" y="214"/>
                    </a:lnTo>
                    <a:lnTo>
                      <a:pt x="70" y="206"/>
                    </a:lnTo>
                    <a:lnTo>
                      <a:pt x="62" y="206"/>
                    </a:lnTo>
                    <a:lnTo>
                      <a:pt x="62" y="200"/>
                    </a:lnTo>
                    <a:lnTo>
                      <a:pt x="56" y="200"/>
                    </a:lnTo>
                    <a:lnTo>
                      <a:pt x="48" y="192"/>
                    </a:lnTo>
                    <a:lnTo>
                      <a:pt x="42" y="186"/>
                    </a:lnTo>
                    <a:lnTo>
                      <a:pt x="34" y="178"/>
                    </a:lnTo>
                    <a:lnTo>
                      <a:pt x="28" y="172"/>
                    </a:lnTo>
                    <a:lnTo>
                      <a:pt x="28" y="164"/>
                    </a:lnTo>
                    <a:lnTo>
                      <a:pt x="28" y="158"/>
                    </a:lnTo>
                    <a:lnTo>
                      <a:pt x="20" y="152"/>
                    </a:lnTo>
                    <a:lnTo>
                      <a:pt x="14" y="144"/>
                    </a:lnTo>
                    <a:lnTo>
                      <a:pt x="14" y="138"/>
                    </a:lnTo>
                    <a:lnTo>
                      <a:pt x="0" y="138"/>
                    </a:lnTo>
                    <a:lnTo>
                      <a:pt x="0" y="144"/>
                    </a:lnTo>
                    <a:lnTo>
                      <a:pt x="0" y="138"/>
                    </a:lnTo>
                    <a:lnTo>
                      <a:pt x="8" y="124"/>
                    </a:lnTo>
                    <a:lnTo>
                      <a:pt x="14" y="124"/>
                    </a:lnTo>
                    <a:lnTo>
                      <a:pt x="20" y="110"/>
                    </a:lnTo>
                    <a:lnTo>
                      <a:pt x="20" y="96"/>
                    </a:lnTo>
                    <a:lnTo>
                      <a:pt x="28" y="96"/>
                    </a:lnTo>
                    <a:lnTo>
                      <a:pt x="28" y="90"/>
                    </a:lnTo>
                    <a:lnTo>
                      <a:pt x="28" y="82"/>
                    </a:lnTo>
                    <a:lnTo>
                      <a:pt x="20" y="76"/>
                    </a:lnTo>
                    <a:lnTo>
                      <a:pt x="20" y="68"/>
                    </a:lnTo>
                    <a:lnTo>
                      <a:pt x="28" y="68"/>
                    </a:lnTo>
                    <a:lnTo>
                      <a:pt x="32" y="66"/>
                    </a:lnTo>
                    <a:lnTo>
                      <a:pt x="34" y="70"/>
                    </a:lnTo>
                    <a:lnTo>
                      <a:pt x="42" y="72"/>
                    </a:lnTo>
                    <a:lnTo>
                      <a:pt x="42" y="68"/>
                    </a:lnTo>
                    <a:lnTo>
                      <a:pt x="48" y="62"/>
                    </a:lnTo>
                    <a:lnTo>
                      <a:pt x="44" y="48"/>
                    </a:lnTo>
                    <a:lnTo>
                      <a:pt x="40" y="36"/>
                    </a:lnTo>
                    <a:lnTo>
                      <a:pt x="40" y="36"/>
                    </a:lnTo>
                    <a:lnTo>
                      <a:pt x="40" y="36"/>
                    </a:lnTo>
                    <a:close/>
                  </a:path>
                </a:pathLst>
              </a:custGeom>
              <a:solidFill>
                <a:srgbClr val="73C37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4" name="Freeform 58"/>
              <p:cNvSpPr>
                <a:spLocks/>
              </p:cNvSpPr>
              <p:nvPr>
                <p:custDataLst>
                  <p:tags r:id="rId143"/>
                </p:custDataLst>
              </p:nvPr>
            </p:nvSpPr>
            <p:spPr bwMode="gray">
              <a:xfrm>
                <a:off x="5589273" y="4581641"/>
                <a:ext cx="155609" cy="107974"/>
              </a:xfrm>
              <a:custGeom>
                <a:avLst/>
                <a:gdLst>
                  <a:gd name="T0" fmla="*/ 0 w 98"/>
                  <a:gd name="T1" fmla="*/ 6 h 68"/>
                  <a:gd name="T2" fmla="*/ 14 w 98"/>
                  <a:gd name="T3" fmla="*/ 0 h 68"/>
                  <a:gd name="T4" fmla="*/ 20 w 98"/>
                  <a:gd name="T5" fmla="*/ 0 h 68"/>
                  <a:gd name="T6" fmla="*/ 28 w 98"/>
                  <a:gd name="T7" fmla="*/ 6 h 68"/>
                  <a:gd name="T8" fmla="*/ 34 w 98"/>
                  <a:gd name="T9" fmla="*/ 12 h 68"/>
                  <a:gd name="T10" fmla="*/ 48 w 98"/>
                  <a:gd name="T11" fmla="*/ 12 h 68"/>
                  <a:gd name="T12" fmla="*/ 62 w 98"/>
                  <a:gd name="T13" fmla="*/ 20 h 68"/>
                  <a:gd name="T14" fmla="*/ 70 w 98"/>
                  <a:gd name="T15" fmla="*/ 26 h 68"/>
                  <a:gd name="T16" fmla="*/ 76 w 98"/>
                  <a:gd name="T17" fmla="*/ 26 h 68"/>
                  <a:gd name="T18" fmla="*/ 84 w 98"/>
                  <a:gd name="T19" fmla="*/ 34 h 68"/>
                  <a:gd name="T20" fmla="*/ 84 w 98"/>
                  <a:gd name="T21" fmla="*/ 40 h 68"/>
                  <a:gd name="T22" fmla="*/ 90 w 98"/>
                  <a:gd name="T23" fmla="*/ 46 h 68"/>
                  <a:gd name="T24" fmla="*/ 98 w 98"/>
                  <a:gd name="T25" fmla="*/ 54 h 68"/>
                  <a:gd name="T26" fmla="*/ 98 w 98"/>
                  <a:gd name="T27" fmla="*/ 68 h 68"/>
                  <a:gd name="T28" fmla="*/ 90 w 98"/>
                  <a:gd name="T29" fmla="*/ 68 h 68"/>
                  <a:gd name="T30" fmla="*/ 84 w 98"/>
                  <a:gd name="T31" fmla="*/ 54 h 68"/>
                  <a:gd name="T32" fmla="*/ 76 w 98"/>
                  <a:gd name="T33" fmla="*/ 46 h 68"/>
                  <a:gd name="T34" fmla="*/ 70 w 98"/>
                  <a:gd name="T35" fmla="*/ 40 h 68"/>
                  <a:gd name="T36" fmla="*/ 56 w 98"/>
                  <a:gd name="T37" fmla="*/ 34 h 68"/>
                  <a:gd name="T38" fmla="*/ 48 w 98"/>
                  <a:gd name="T39" fmla="*/ 26 h 68"/>
                  <a:gd name="T40" fmla="*/ 34 w 98"/>
                  <a:gd name="T41" fmla="*/ 20 h 68"/>
                  <a:gd name="T42" fmla="*/ 28 w 98"/>
                  <a:gd name="T43" fmla="*/ 12 h 68"/>
                  <a:gd name="T44" fmla="*/ 14 w 98"/>
                  <a:gd name="T45" fmla="*/ 12 h 68"/>
                  <a:gd name="T46" fmla="*/ 6 w 98"/>
                  <a:gd name="T47" fmla="*/ 12 h 68"/>
                  <a:gd name="T48" fmla="*/ 0 w 98"/>
                  <a:gd name="T49" fmla="*/ 6 h 68"/>
                  <a:gd name="T50" fmla="*/ 0 w 98"/>
                  <a:gd name="T51" fmla="*/ 6 h 68"/>
                  <a:gd name="T52" fmla="*/ 0 w 98"/>
                  <a:gd name="T53" fmla="*/ 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68">
                    <a:moveTo>
                      <a:pt x="0" y="6"/>
                    </a:moveTo>
                    <a:lnTo>
                      <a:pt x="14" y="0"/>
                    </a:lnTo>
                    <a:lnTo>
                      <a:pt x="20" y="0"/>
                    </a:lnTo>
                    <a:lnTo>
                      <a:pt x="28" y="6"/>
                    </a:lnTo>
                    <a:lnTo>
                      <a:pt x="34" y="12"/>
                    </a:lnTo>
                    <a:lnTo>
                      <a:pt x="48" y="12"/>
                    </a:lnTo>
                    <a:lnTo>
                      <a:pt x="62" y="20"/>
                    </a:lnTo>
                    <a:lnTo>
                      <a:pt x="70" y="26"/>
                    </a:lnTo>
                    <a:lnTo>
                      <a:pt x="76" y="26"/>
                    </a:lnTo>
                    <a:lnTo>
                      <a:pt x="84" y="34"/>
                    </a:lnTo>
                    <a:lnTo>
                      <a:pt x="84" y="40"/>
                    </a:lnTo>
                    <a:lnTo>
                      <a:pt x="90" y="46"/>
                    </a:lnTo>
                    <a:lnTo>
                      <a:pt x="98" y="54"/>
                    </a:lnTo>
                    <a:lnTo>
                      <a:pt x="98" y="68"/>
                    </a:lnTo>
                    <a:lnTo>
                      <a:pt x="90" y="68"/>
                    </a:lnTo>
                    <a:lnTo>
                      <a:pt x="84" y="54"/>
                    </a:lnTo>
                    <a:lnTo>
                      <a:pt x="76" y="46"/>
                    </a:lnTo>
                    <a:lnTo>
                      <a:pt x="70" y="40"/>
                    </a:lnTo>
                    <a:lnTo>
                      <a:pt x="56" y="34"/>
                    </a:lnTo>
                    <a:lnTo>
                      <a:pt x="48" y="26"/>
                    </a:lnTo>
                    <a:lnTo>
                      <a:pt x="34" y="20"/>
                    </a:lnTo>
                    <a:lnTo>
                      <a:pt x="28" y="12"/>
                    </a:lnTo>
                    <a:lnTo>
                      <a:pt x="14" y="12"/>
                    </a:lnTo>
                    <a:lnTo>
                      <a:pt x="6" y="12"/>
                    </a:lnTo>
                    <a:lnTo>
                      <a:pt x="0" y="6"/>
                    </a:lnTo>
                    <a:lnTo>
                      <a:pt x="0" y="6"/>
                    </a:lnTo>
                    <a:lnTo>
                      <a:pt x="0" y="6"/>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5" name="Freeform 59"/>
              <p:cNvSpPr>
                <a:spLocks/>
              </p:cNvSpPr>
              <p:nvPr/>
            </p:nvSpPr>
            <p:spPr bwMode="gray">
              <a:xfrm>
                <a:off x="5157377" y="1018500"/>
                <a:ext cx="53987" cy="66690"/>
              </a:xfrm>
              <a:custGeom>
                <a:avLst/>
                <a:gdLst>
                  <a:gd name="T0" fmla="*/ 6 w 34"/>
                  <a:gd name="T1" fmla="*/ 42 h 42"/>
                  <a:gd name="T2" fmla="*/ 14 w 34"/>
                  <a:gd name="T3" fmla="*/ 34 h 42"/>
                  <a:gd name="T4" fmla="*/ 14 w 34"/>
                  <a:gd name="T5" fmla="*/ 28 h 42"/>
                  <a:gd name="T6" fmla="*/ 20 w 34"/>
                  <a:gd name="T7" fmla="*/ 28 h 42"/>
                  <a:gd name="T8" fmla="*/ 28 w 34"/>
                  <a:gd name="T9" fmla="*/ 28 h 42"/>
                  <a:gd name="T10" fmla="*/ 34 w 34"/>
                  <a:gd name="T11" fmla="*/ 8 h 42"/>
                  <a:gd name="T12" fmla="*/ 28 w 34"/>
                  <a:gd name="T13" fmla="*/ 0 h 42"/>
                  <a:gd name="T14" fmla="*/ 20 w 34"/>
                  <a:gd name="T15" fmla="*/ 0 h 42"/>
                  <a:gd name="T16" fmla="*/ 20 w 34"/>
                  <a:gd name="T17" fmla="*/ 8 h 42"/>
                  <a:gd name="T18" fmla="*/ 14 w 34"/>
                  <a:gd name="T19" fmla="*/ 8 h 42"/>
                  <a:gd name="T20" fmla="*/ 6 w 34"/>
                  <a:gd name="T21" fmla="*/ 8 h 42"/>
                  <a:gd name="T22" fmla="*/ 6 w 34"/>
                  <a:gd name="T23" fmla="*/ 14 h 42"/>
                  <a:gd name="T24" fmla="*/ 6 w 34"/>
                  <a:gd name="T25" fmla="*/ 22 h 42"/>
                  <a:gd name="T26" fmla="*/ 0 w 34"/>
                  <a:gd name="T27" fmla="*/ 28 h 42"/>
                  <a:gd name="T28" fmla="*/ 6 w 34"/>
                  <a:gd name="T29" fmla="*/ 34 h 42"/>
                  <a:gd name="T30" fmla="*/ 6 w 34"/>
                  <a:gd name="T31" fmla="*/ 42 h 42"/>
                  <a:gd name="T32" fmla="*/ 6 w 34"/>
                  <a:gd name="T33" fmla="*/ 42 h 42"/>
                  <a:gd name="T34" fmla="*/ 6 w 34"/>
                  <a:gd name="T3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42">
                    <a:moveTo>
                      <a:pt x="6" y="42"/>
                    </a:moveTo>
                    <a:lnTo>
                      <a:pt x="14" y="34"/>
                    </a:lnTo>
                    <a:lnTo>
                      <a:pt x="14" y="28"/>
                    </a:lnTo>
                    <a:lnTo>
                      <a:pt x="20" y="28"/>
                    </a:lnTo>
                    <a:lnTo>
                      <a:pt x="28" y="28"/>
                    </a:lnTo>
                    <a:lnTo>
                      <a:pt x="34" y="8"/>
                    </a:lnTo>
                    <a:lnTo>
                      <a:pt x="28" y="0"/>
                    </a:lnTo>
                    <a:lnTo>
                      <a:pt x="20" y="0"/>
                    </a:lnTo>
                    <a:lnTo>
                      <a:pt x="20" y="8"/>
                    </a:lnTo>
                    <a:lnTo>
                      <a:pt x="14" y="8"/>
                    </a:lnTo>
                    <a:lnTo>
                      <a:pt x="6" y="8"/>
                    </a:lnTo>
                    <a:lnTo>
                      <a:pt x="6" y="14"/>
                    </a:lnTo>
                    <a:lnTo>
                      <a:pt x="6" y="22"/>
                    </a:lnTo>
                    <a:lnTo>
                      <a:pt x="0" y="28"/>
                    </a:lnTo>
                    <a:lnTo>
                      <a:pt x="6" y="34"/>
                    </a:lnTo>
                    <a:lnTo>
                      <a:pt x="6" y="42"/>
                    </a:lnTo>
                    <a:lnTo>
                      <a:pt x="6" y="42"/>
                    </a:lnTo>
                    <a:lnTo>
                      <a:pt x="6" y="42"/>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6" name="Freeform 60"/>
              <p:cNvSpPr>
                <a:spLocks/>
              </p:cNvSpPr>
              <p:nvPr>
                <p:custDataLst>
                  <p:tags r:id="rId144"/>
                </p:custDataLst>
              </p:nvPr>
            </p:nvSpPr>
            <p:spPr bwMode="gray">
              <a:xfrm>
                <a:off x="4365040" y="802551"/>
                <a:ext cx="1398899" cy="1495757"/>
              </a:xfrm>
              <a:custGeom>
                <a:avLst/>
                <a:gdLst>
                  <a:gd name="T0" fmla="*/ 256 w 881"/>
                  <a:gd name="T1" fmla="*/ 866 h 942"/>
                  <a:gd name="T2" fmla="*/ 304 w 881"/>
                  <a:gd name="T3" fmla="*/ 804 h 942"/>
                  <a:gd name="T4" fmla="*/ 318 w 881"/>
                  <a:gd name="T5" fmla="*/ 716 h 942"/>
                  <a:gd name="T6" fmla="*/ 312 w 881"/>
                  <a:gd name="T7" fmla="*/ 646 h 942"/>
                  <a:gd name="T8" fmla="*/ 318 w 881"/>
                  <a:gd name="T9" fmla="*/ 556 h 942"/>
                  <a:gd name="T10" fmla="*/ 383 w 881"/>
                  <a:gd name="T11" fmla="*/ 536 h 942"/>
                  <a:gd name="T12" fmla="*/ 395 w 881"/>
                  <a:gd name="T13" fmla="*/ 468 h 942"/>
                  <a:gd name="T14" fmla="*/ 431 w 881"/>
                  <a:gd name="T15" fmla="*/ 378 h 942"/>
                  <a:gd name="T16" fmla="*/ 485 w 881"/>
                  <a:gd name="T17" fmla="*/ 308 h 942"/>
                  <a:gd name="T18" fmla="*/ 521 w 881"/>
                  <a:gd name="T19" fmla="*/ 240 h 942"/>
                  <a:gd name="T20" fmla="*/ 569 w 881"/>
                  <a:gd name="T21" fmla="*/ 220 h 942"/>
                  <a:gd name="T22" fmla="*/ 611 w 881"/>
                  <a:gd name="T23" fmla="*/ 150 h 942"/>
                  <a:gd name="T24" fmla="*/ 665 w 881"/>
                  <a:gd name="T25" fmla="*/ 192 h 942"/>
                  <a:gd name="T26" fmla="*/ 735 w 881"/>
                  <a:gd name="T27" fmla="*/ 172 h 942"/>
                  <a:gd name="T28" fmla="*/ 769 w 881"/>
                  <a:gd name="T29" fmla="*/ 96 h 942"/>
                  <a:gd name="T30" fmla="*/ 833 w 881"/>
                  <a:gd name="T31" fmla="*/ 116 h 942"/>
                  <a:gd name="T32" fmla="*/ 835 w 881"/>
                  <a:gd name="T33" fmla="*/ 140 h 942"/>
                  <a:gd name="T34" fmla="*/ 867 w 881"/>
                  <a:gd name="T35" fmla="*/ 82 h 942"/>
                  <a:gd name="T36" fmla="*/ 867 w 881"/>
                  <a:gd name="T37" fmla="*/ 34 h 942"/>
                  <a:gd name="T38" fmla="*/ 797 w 881"/>
                  <a:gd name="T39" fmla="*/ 48 h 942"/>
                  <a:gd name="T40" fmla="*/ 777 w 881"/>
                  <a:gd name="T41" fmla="*/ 20 h 942"/>
                  <a:gd name="T42" fmla="*/ 749 w 881"/>
                  <a:gd name="T43" fmla="*/ 20 h 942"/>
                  <a:gd name="T44" fmla="*/ 721 w 881"/>
                  <a:gd name="T45" fmla="*/ 62 h 942"/>
                  <a:gd name="T46" fmla="*/ 721 w 881"/>
                  <a:gd name="T47" fmla="*/ 14 h 942"/>
                  <a:gd name="T48" fmla="*/ 687 w 881"/>
                  <a:gd name="T49" fmla="*/ 48 h 942"/>
                  <a:gd name="T50" fmla="*/ 651 w 881"/>
                  <a:gd name="T51" fmla="*/ 82 h 942"/>
                  <a:gd name="T52" fmla="*/ 611 w 881"/>
                  <a:gd name="T53" fmla="*/ 88 h 942"/>
                  <a:gd name="T54" fmla="*/ 583 w 881"/>
                  <a:gd name="T55" fmla="*/ 130 h 942"/>
                  <a:gd name="T56" fmla="*/ 561 w 881"/>
                  <a:gd name="T57" fmla="*/ 150 h 942"/>
                  <a:gd name="T58" fmla="*/ 521 w 881"/>
                  <a:gd name="T59" fmla="*/ 178 h 942"/>
                  <a:gd name="T60" fmla="*/ 493 w 881"/>
                  <a:gd name="T61" fmla="*/ 212 h 942"/>
                  <a:gd name="T62" fmla="*/ 479 w 881"/>
                  <a:gd name="T63" fmla="*/ 226 h 942"/>
                  <a:gd name="T64" fmla="*/ 457 w 881"/>
                  <a:gd name="T65" fmla="*/ 246 h 942"/>
                  <a:gd name="T66" fmla="*/ 457 w 881"/>
                  <a:gd name="T67" fmla="*/ 274 h 942"/>
                  <a:gd name="T68" fmla="*/ 431 w 881"/>
                  <a:gd name="T69" fmla="*/ 302 h 942"/>
                  <a:gd name="T70" fmla="*/ 381 w 881"/>
                  <a:gd name="T71" fmla="*/ 336 h 942"/>
                  <a:gd name="T72" fmla="*/ 375 w 881"/>
                  <a:gd name="T73" fmla="*/ 370 h 942"/>
                  <a:gd name="T74" fmla="*/ 353 w 881"/>
                  <a:gd name="T75" fmla="*/ 412 h 942"/>
                  <a:gd name="T76" fmla="*/ 341 w 881"/>
                  <a:gd name="T77" fmla="*/ 446 h 942"/>
                  <a:gd name="T78" fmla="*/ 318 w 881"/>
                  <a:gd name="T79" fmla="*/ 488 h 942"/>
                  <a:gd name="T80" fmla="*/ 270 w 881"/>
                  <a:gd name="T81" fmla="*/ 496 h 942"/>
                  <a:gd name="T82" fmla="*/ 236 w 881"/>
                  <a:gd name="T83" fmla="*/ 550 h 942"/>
                  <a:gd name="T84" fmla="*/ 188 w 881"/>
                  <a:gd name="T85" fmla="*/ 578 h 942"/>
                  <a:gd name="T86" fmla="*/ 152 w 881"/>
                  <a:gd name="T87" fmla="*/ 584 h 942"/>
                  <a:gd name="T88" fmla="*/ 110 w 881"/>
                  <a:gd name="T89" fmla="*/ 598 h 942"/>
                  <a:gd name="T90" fmla="*/ 76 w 881"/>
                  <a:gd name="T91" fmla="*/ 618 h 942"/>
                  <a:gd name="T92" fmla="*/ 62 w 881"/>
                  <a:gd name="T93" fmla="*/ 640 h 942"/>
                  <a:gd name="T94" fmla="*/ 28 w 881"/>
                  <a:gd name="T95" fmla="*/ 668 h 942"/>
                  <a:gd name="T96" fmla="*/ 28 w 881"/>
                  <a:gd name="T97" fmla="*/ 702 h 942"/>
                  <a:gd name="T98" fmla="*/ 34 w 881"/>
                  <a:gd name="T99" fmla="*/ 750 h 942"/>
                  <a:gd name="T100" fmla="*/ 48 w 881"/>
                  <a:gd name="T101" fmla="*/ 776 h 942"/>
                  <a:gd name="T102" fmla="*/ 14 w 881"/>
                  <a:gd name="T103" fmla="*/ 804 h 942"/>
                  <a:gd name="T104" fmla="*/ 34 w 881"/>
                  <a:gd name="T105" fmla="*/ 846 h 942"/>
                  <a:gd name="T106" fmla="*/ 14 w 881"/>
                  <a:gd name="T107" fmla="*/ 894 h 942"/>
                  <a:gd name="T108" fmla="*/ 90 w 881"/>
                  <a:gd name="T109" fmla="*/ 942 h 942"/>
                  <a:gd name="T110" fmla="*/ 160 w 881"/>
                  <a:gd name="T111" fmla="*/ 894 h 942"/>
                  <a:gd name="T112" fmla="*/ 214 w 881"/>
                  <a:gd name="T113" fmla="*/ 852 h 942"/>
                  <a:gd name="T114" fmla="*/ 228 w 881"/>
                  <a:gd name="T115" fmla="*/ 838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81" h="942">
                    <a:moveTo>
                      <a:pt x="242" y="880"/>
                    </a:moveTo>
                    <a:lnTo>
                      <a:pt x="250" y="880"/>
                    </a:lnTo>
                    <a:lnTo>
                      <a:pt x="250" y="886"/>
                    </a:lnTo>
                    <a:lnTo>
                      <a:pt x="256" y="894"/>
                    </a:lnTo>
                    <a:lnTo>
                      <a:pt x="264" y="886"/>
                    </a:lnTo>
                    <a:lnTo>
                      <a:pt x="264" y="880"/>
                    </a:lnTo>
                    <a:lnTo>
                      <a:pt x="264" y="874"/>
                    </a:lnTo>
                    <a:lnTo>
                      <a:pt x="256" y="866"/>
                    </a:lnTo>
                    <a:lnTo>
                      <a:pt x="270" y="852"/>
                    </a:lnTo>
                    <a:lnTo>
                      <a:pt x="270" y="846"/>
                    </a:lnTo>
                    <a:lnTo>
                      <a:pt x="278" y="838"/>
                    </a:lnTo>
                    <a:lnTo>
                      <a:pt x="278" y="832"/>
                    </a:lnTo>
                    <a:lnTo>
                      <a:pt x="284" y="826"/>
                    </a:lnTo>
                    <a:lnTo>
                      <a:pt x="292" y="826"/>
                    </a:lnTo>
                    <a:lnTo>
                      <a:pt x="298" y="826"/>
                    </a:lnTo>
                    <a:lnTo>
                      <a:pt x="304" y="804"/>
                    </a:lnTo>
                    <a:lnTo>
                      <a:pt x="304" y="784"/>
                    </a:lnTo>
                    <a:lnTo>
                      <a:pt x="304" y="776"/>
                    </a:lnTo>
                    <a:lnTo>
                      <a:pt x="304" y="770"/>
                    </a:lnTo>
                    <a:lnTo>
                      <a:pt x="298" y="756"/>
                    </a:lnTo>
                    <a:lnTo>
                      <a:pt x="298" y="750"/>
                    </a:lnTo>
                    <a:lnTo>
                      <a:pt x="318" y="736"/>
                    </a:lnTo>
                    <a:lnTo>
                      <a:pt x="318" y="728"/>
                    </a:lnTo>
                    <a:lnTo>
                      <a:pt x="318" y="716"/>
                    </a:lnTo>
                    <a:lnTo>
                      <a:pt x="318" y="708"/>
                    </a:lnTo>
                    <a:lnTo>
                      <a:pt x="312" y="702"/>
                    </a:lnTo>
                    <a:lnTo>
                      <a:pt x="304" y="694"/>
                    </a:lnTo>
                    <a:lnTo>
                      <a:pt x="304" y="686"/>
                    </a:lnTo>
                    <a:lnTo>
                      <a:pt x="304" y="680"/>
                    </a:lnTo>
                    <a:lnTo>
                      <a:pt x="312" y="668"/>
                    </a:lnTo>
                    <a:lnTo>
                      <a:pt x="312" y="660"/>
                    </a:lnTo>
                    <a:lnTo>
                      <a:pt x="312" y="646"/>
                    </a:lnTo>
                    <a:lnTo>
                      <a:pt x="304" y="640"/>
                    </a:lnTo>
                    <a:lnTo>
                      <a:pt x="304" y="632"/>
                    </a:lnTo>
                    <a:lnTo>
                      <a:pt x="304" y="618"/>
                    </a:lnTo>
                    <a:lnTo>
                      <a:pt x="312" y="612"/>
                    </a:lnTo>
                    <a:lnTo>
                      <a:pt x="312" y="598"/>
                    </a:lnTo>
                    <a:lnTo>
                      <a:pt x="312" y="584"/>
                    </a:lnTo>
                    <a:lnTo>
                      <a:pt x="312" y="570"/>
                    </a:lnTo>
                    <a:lnTo>
                      <a:pt x="318" y="556"/>
                    </a:lnTo>
                    <a:lnTo>
                      <a:pt x="326" y="550"/>
                    </a:lnTo>
                    <a:lnTo>
                      <a:pt x="341" y="544"/>
                    </a:lnTo>
                    <a:lnTo>
                      <a:pt x="341" y="550"/>
                    </a:lnTo>
                    <a:lnTo>
                      <a:pt x="347" y="550"/>
                    </a:lnTo>
                    <a:lnTo>
                      <a:pt x="355" y="544"/>
                    </a:lnTo>
                    <a:lnTo>
                      <a:pt x="361" y="536"/>
                    </a:lnTo>
                    <a:lnTo>
                      <a:pt x="369" y="536"/>
                    </a:lnTo>
                    <a:lnTo>
                      <a:pt x="383" y="536"/>
                    </a:lnTo>
                    <a:lnTo>
                      <a:pt x="389" y="528"/>
                    </a:lnTo>
                    <a:lnTo>
                      <a:pt x="383" y="516"/>
                    </a:lnTo>
                    <a:lnTo>
                      <a:pt x="383" y="508"/>
                    </a:lnTo>
                    <a:lnTo>
                      <a:pt x="383" y="502"/>
                    </a:lnTo>
                    <a:lnTo>
                      <a:pt x="375" y="488"/>
                    </a:lnTo>
                    <a:lnTo>
                      <a:pt x="383" y="480"/>
                    </a:lnTo>
                    <a:lnTo>
                      <a:pt x="395" y="474"/>
                    </a:lnTo>
                    <a:lnTo>
                      <a:pt x="395" y="468"/>
                    </a:lnTo>
                    <a:lnTo>
                      <a:pt x="403" y="446"/>
                    </a:lnTo>
                    <a:lnTo>
                      <a:pt x="403" y="440"/>
                    </a:lnTo>
                    <a:lnTo>
                      <a:pt x="403" y="432"/>
                    </a:lnTo>
                    <a:lnTo>
                      <a:pt x="403" y="418"/>
                    </a:lnTo>
                    <a:lnTo>
                      <a:pt x="409" y="412"/>
                    </a:lnTo>
                    <a:lnTo>
                      <a:pt x="417" y="398"/>
                    </a:lnTo>
                    <a:lnTo>
                      <a:pt x="417" y="384"/>
                    </a:lnTo>
                    <a:lnTo>
                      <a:pt x="431" y="378"/>
                    </a:lnTo>
                    <a:lnTo>
                      <a:pt x="445" y="370"/>
                    </a:lnTo>
                    <a:lnTo>
                      <a:pt x="451" y="364"/>
                    </a:lnTo>
                    <a:lnTo>
                      <a:pt x="451" y="358"/>
                    </a:lnTo>
                    <a:lnTo>
                      <a:pt x="451" y="344"/>
                    </a:lnTo>
                    <a:lnTo>
                      <a:pt x="465" y="336"/>
                    </a:lnTo>
                    <a:lnTo>
                      <a:pt x="479" y="324"/>
                    </a:lnTo>
                    <a:lnTo>
                      <a:pt x="479" y="316"/>
                    </a:lnTo>
                    <a:lnTo>
                      <a:pt x="485" y="308"/>
                    </a:lnTo>
                    <a:lnTo>
                      <a:pt x="479" y="296"/>
                    </a:lnTo>
                    <a:lnTo>
                      <a:pt x="471" y="288"/>
                    </a:lnTo>
                    <a:lnTo>
                      <a:pt x="479" y="282"/>
                    </a:lnTo>
                    <a:lnTo>
                      <a:pt x="485" y="274"/>
                    </a:lnTo>
                    <a:lnTo>
                      <a:pt x="507" y="260"/>
                    </a:lnTo>
                    <a:lnTo>
                      <a:pt x="507" y="254"/>
                    </a:lnTo>
                    <a:lnTo>
                      <a:pt x="513" y="240"/>
                    </a:lnTo>
                    <a:lnTo>
                      <a:pt x="521" y="240"/>
                    </a:lnTo>
                    <a:lnTo>
                      <a:pt x="535" y="246"/>
                    </a:lnTo>
                    <a:lnTo>
                      <a:pt x="541" y="246"/>
                    </a:lnTo>
                    <a:lnTo>
                      <a:pt x="541" y="240"/>
                    </a:lnTo>
                    <a:lnTo>
                      <a:pt x="541" y="226"/>
                    </a:lnTo>
                    <a:lnTo>
                      <a:pt x="555" y="220"/>
                    </a:lnTo>
                    <a:lnTo>
                      <a:pt x="563" y="226"/>
                    </a:lnTo>
                    <a:lnTo>
                      <a:pt x="569" y="226"/>
                    </a:lnTo>
                    <a:lnTo>
                      <a:pt x="569" y="220"/>
                    </a:lnTo>
                    <a:lnTo>
                      <a:pt x="575" y="198"/>
                    </a:lnTo>
                    <a:lnTo>
                      <a:pt x="589" y="206"/>
                    </a:lnTo>
                    <a:lnTo>
                      <a:pt x="589" y="198"/>
                    </a:lnTo>
                    <a:lnTo>
                      <a:pt x="589" y="186"/>
                    </a:lnTo>
                    <a:lnTo>
                      <a:pt x="589" y="178"/>
                    </a:lnTo>
                    <a:lnTo>
                      <a:pt x="603" y="178"/>
                    </a:lnTo>
                    <a:lnTo>
                      <a:pt x="603" y="164"/>
                    </a:lnTo>
                    <a:lnTo>
                      <a:pt x="611" y="150"/>
                    </a:lnTo>
                    <a:lnTo>
                      <a:pt x="617" y="150"/>
                    </a:lnTo>
                    <a:lnTo>
                      <a:pt x="625" y="158"/>
                    </a:lnTo>
                    <a:lnTo>
                      <a:pt x="639" y="164"/>
                    </a:lnTo>
                    <a:lnTo>
                      <a:pt x="639" y="172"/>
                    </a:lnTo>
                    <a:lnTo>
                      <a:pt x="645" y="186"/>
                    </a:lnTo>
                    <a:lnTo>
                      <a:pt x="653" y="186"/>
                    </a:lnTo>
                    <a:lnTo>
                      <a:pt x="659" y="186"/>
                    </a:lnTo>
                    <a:lnTo>
                      <a:pt x="665" y="192"/>
                    </a:lnTo>
                    <a:lnTo>
                      <a:pt x="687" y="192"/>
                    </a:lnTo>
                    <a:lnTo>
                      <a:pt x="693" y="186"/>
                    </a:lnTo>
                    <a:lnTo>
                      <a:pt x="701" y="186"/>
                    </a:lnTo>
                    <a:lnTo>
                      <a:pt x="707" y="198"/>
                    </a:lnTo>
                    <a:lnTo>
                      <a:pt x="721" y="192"/>
                    </a:lnTo>
                    <a:lnTo>
                      <a:pt x="729" y="192"/>
                    </a:lnTo>
                    <a:lnTo>
                      <a:pt x="729" y="186"/>
                    </a:lnTo>
                    <a:lnTo>
                      <a:pt x="735" y="172"/>
                    </a:lnTo>
                    <a:lnTo>
                      <a:pt x="743" y="164"/>
                    </a:lnTo>
                    <a:lnTo>
                      <a:pt x="743" y="158"/>
                    </a:lnTo>
                    <a:lnTo>
                      <a:pt x="743" y="150"/>
                    </a:lnTo>
                    <a:lnTo>
                      <a:pt x="743" y="144"/>
                    </a:lnTo>
                    <a:lnTo>
                      <a:pt x="749" y="130"/>
                    </a:lnTo>
                    <a:lnTo>
                      <a:pt x="749" y="102"/>
                    </a:lnTo>
                    <a:lnTo>
                      <a:pt x="755" y="96"/>
                    </a:lnTo>
                    <a:lnTo>
                      <a:pt x="769" y="96"/>
                    </a:lnTo>
                    <a:lnTo>
                      <a:pt x="783" y="88"/>
                    </a:lnTo>
                    <a:lnTo>
                      <a:pt x="791" y="82"/>
                    </a:lnTo>
                    <a:lnTo>
                      <a:pt x="797" y="82"/>
                    </a:lnTo>
                    <a:lnTo>
                      <a:pt x="791" y="96"/>
                    </a:lnTo>
                    <a:lnTo>
                      <a:pt x="811" y="102"/>
                    </a:lnTo>
                    <a:lnTo>
                      <a:pt x="817" y="102"/>
                    </a:lnTo>
                    <a:lnTo>
                      <a:pt x="825" y="110"/>
                    </a:lnTo>
                    <a:lnTo>
                      <a:pt x="833" y="116"/>
                    </a:lnTo>
                    <a:lnTo>
                      <a:pt x="833" y="124"/>
                    </a:lnTo>
                    <a:lnTo>
                      <a:pt x="825" y="130"/>
                    </a:lnTo>
                    <a:lnTo>
                      <a:pt x="825" y="144"/>
                    </a:lnTo>
                    <a:lnTo>
                      <a:pt x="825" y="150"/>
                    </a:lnTo>
                    <a:lnTo>
                      <a:pt x="825" y="158"/>
                    </a:lnTo>
                    <a:lnTo>
                      <a:pt x="825" y="164"/>
                    </a:lnTo>
                    <a:lnTo>
                      <a:pt x="833" y="164"/>
                    </a:lnTo>
                    <a:lnTo>
                      <a:pt x="835" y="140"/>
                    </a:lnTo>
                    <a:lnTo>
                      <a:pt x="845" y="124"/>
                    </a:lnTo>
                    <a:lnTo>
                      <a:pt x="859" y="116"/>
                    </a:lnTo>
                    <a:lnTo>
                      <a:pt x="875" y="112"/>
                    </a:lnTo>
                    <a:lnTo>
                      <a:pt x="881" y="88"/>
                    </a:lnTo>
                    <a:lnTo>
                      <a:pt x="879" y="88"/>
                    </a:lnTo>
                    <a:lnTo>
                      <a:pt x="867" y="88"/>
                    </a:lnTo>
                    <a:lnTo>
                      <a:pt x="859" y="88"/>
                    </a:lnTo>
                    <a:lnTo>
                      <a:pt x="867" y="82"/>
                    </a:lnTo>
                    <a:lnTo>
                      <a:pt x="867" y="68"/>
                    </a:lnTo>
                    <a:lnTo>
                      <a:pt x="859" y="62"/>
                    </a:lnTo>
                    <a:lnTo>
                      <a:pt x="867" y="62"/>
                    </a:lnTo>
                    <a:lnTo>
                      <a:pt x="873" y="54"/>
                    </a:lnTo>
                    <a:lnTo>
                      <a:pt x="873" y="48"/>
                    </a:lnTo>
                    <a:lnTo>
                      <a:pt x="873" y="40"/>
                    </a:lnTo>
                    <a:lnTo>
                      <a:pt x="867" y="40"/>
                    </a:lnTo>
                    <a:lnTo>
                      <a:pt x="867" y="34"/>
                    </a:lnTo>
                    <a:lnTo>
                      <a:pt x="853" y="34"/>
                    </a:lnTo>
                    <a:lnTo>
                      <a:pt x="839" y="40"/>
                    </a:lnTo>
                    <a:lnTo>
                      <a:pt x="839" y="26"/>
                    </a:lnTo>
                    <a:lnTo>
                      <a:pt x="825" y="26"/>
                    </a:lnTo>
                    <a:lnTo>
                      <a:pt x="817" y="20"/>
                    </a:lnTo>
                    <a:lnTo>
                      <a:pt x="803" y="34"/>
                    </a:lnTo>
                    <a:lnTo>
                      <a:pt x="803" y="40"/>
                    </a:lnTo>
                    <a:lnTo>
                      <a:pt x="797" y="48"/>
                    </a:lnTo>
                    <a:lnTo>
                      <a:pt x="791" y="34"/>
                    </a:lnTo>
                    <a:lnTo>
                      <a:pt x="791" y="26"/>
                    </a:lnTo>
                    <a:lnTo>
                      <a:pt x="797" y="20"/>
                    </a:lnTo>
                    <a:lnTo>
                      <a:pt x="797" y="14"/>
                    </a:lnTo>
                    <a:lnTo>
                      <a:pt x="797" y="0"/>
                    </a:lnTo>
                    <a:lnTo>
                      <a:pt x="791" y="0"/>
                    </a:lnTo>
                    <a:lnTo>
                      <a:pt x="777" y="14"/>
                    </a:lnTo>
                    <a:lnTo>
                      <a:pt x="777" y="20"/>
                    </a:lnTo>
                    <a:lnTo>
                      <a:pt x="763" y="26"/>
                    </a:lnTo>
                    <a:lnTo>
                      <a:pt x="763" y="48"/>
                    </a:lnTo>
                    <a:lnTo>
                      <a:pt x="763" y="54"/>
                    </a:lnTo>
                    <a:lnTo>
                      <a:pt x="755" y="48"/>
                    </a:lnTo>
                    <a:lnTo>
                      <a:pt x="755" y="40"/>
                    </a:lnTo>
                    <a:lnTo>
                      <a:pt x="749" y="34"/>
                    </a:lnTo>
                    <a:lnTo>
                      <a:pt x="749" y="26"/>
                    </a:lnTo>
                    <a:lnTo>
                      <a:pt x="749" y="20"/>
                    </a:lnTo>
                    <a:lnTo>
                      <a:pt x="749" y="14"/>
                    </a:lnTo>
                    <a:lnTo>
                      <a:pt x="741" y="14"/>
                    </a:lnTo>
                    <a:lnTo>
                      <a:pt x="741" y="20"/>
                    </a:lnTo>
                    <a:lnTo>
                      <a:pt x="741" y="26"/>
                    </a:lnTo>
                    <a:lnTo>
                      <a:pt x="735" y="40"/>
                    </a:lnTo>
                    <a:lnTo>
                      <a:pt x="727" y="54"/>
                    </a:lnTo>
                    <a:lnTo>
                      <a:pt x="721" y="68"/>
                    </a:lnTo>
                    <a:lnTo>
                      <a:pt x="721" y="62"/>
                    </a:lnTo>
                    <a:lnTo>
                      <a:pt x="721" y="54"/>
                    </a:lnTo>
                    <a:lnTo>
                      <a:pt x="721" y="40"/>
                    </a:lnTo>
                    <a:lnTo>
                      <a:pt x="735" y="34"/>
                    </a:lnTo>
                    <a:lnTo>
                      <a:pt x="735" y="26"/>
                    </a:lnTo>
                    <a:lnTo>
                      <a:pt x="741" y="14"/>
                    </a:lnTo>
                    <a:lnTo>
                      <a:pt x="749" y="6"/>
                    </a:lnTo>
                    <a:lnTo>
                      <a:pt x="741" y="0"/>
                    </a:lnTo>
                    <a:lnTo>
                      <a:pt x="721" y="14"/>
                    </a:lnTo>
                    <a:lnTo>
                      <a:pt x="713" y="6"/>
                    </a:lnTo>
                    <a:lnTo>
                      <a:pt x="707" y="14"/>
                    </a:lnTo>
                    <a:lnTo>
                      <a:pt x="707" y="20"/>
                    </a:lnTo>
                    <a:lnTo>
                      <a:pt x="721" y="26"/>
                    </a:lnTo>
                    <a:lnTo>
                      <a:pt x="701" y="34"/>
                    </a:lnTo>
                    <a:lnTo>
                      <a:pt x="693" y="26"/>
                    </a:lnTo>
                    <a:lnTo>
                      <a:pt x="687" y="34"/>
                    </a:lnTo>
                    <a:lnTo>
                      <a:pt x="687" y="48"/>
                    </a:lnTo>
                    <a:lnTo>
                      <a:pt x="679" y="48"/>
                    </a:lnTo>
                    <a:lnTo>
                      <a:pt x="687" y="54"/>
                    </a:lnTo>
                    <a:lnTo>
                      <a:pt x="673" y="68"/>
                    </a:lnTo>
                    <a:lnTo>
                      <a:pt x="665" y="54"/>
                    </a:lnTo>
                    <a:lnTo>
                      <a:pt x="659" y="62"/>
                    </a:lnTo>
                    <a:lnTo>
                      <a:pt x="659" y="68"/>
                    </a:lnTo>
                    <a:lnTo>
                      <a:pt x="659" y="76"/>
                    </a:lnTo>
                    <a:lnTo>
                      <a:pt x="651" y="82"/>
                    </a:lnTo>
                    <a:lnTo>
                      <a:pt x="645" y="76"/>
                    </a:lnTo>
                    <a:lnTo>
                      <a:pt x="637" y="76"/>
                    </a:lnTo>
                    <a:lnTo>
                      <a:pt x="637" y="82"/>
                    </a:lnTo>
                    <a:lnTo>
                      <a:pt x="631" y="76"/>
                    </a:lnTo>
                    <a:lnTo>
                      <a:pt x="623" y="76"/>
                    </a:lnTo>
                    <a:lnTo>
                      <a:pt x="617" y="82"/>
                    </a:lnTo>
                    <a:lnTo>
                      <a:pt x="617" y="88"/>
                    </a:lnTo>
                    <a:lnTo>
                      <a:pt x="611" y="88"/>
                    </a:lnTo>
                    <a:lnTo>
                      <a:pt x="603" y="96"/>
                    </a:lnTo>
                    <a:lnTo>
                      <a:pt x="603" y="110"/>
                    </a:lnTo>
                    <a:lnTo>
                      <a:pt x="611" y="116"/>
                    </a:lnTo>
                    <a:lnTo>
                      <a:pt x="611" y="130"/>
                    </a:lnTo>
                    <a:lnTo>
                      <a:pt x="603" y="124"/>
                    </a:lnTo>
                    <a:lnTo>
                      <a:pt x="597" y="116"/>
                    </a:lnTo>
                    <a:lnTo>
                      <a:pt x="589" y="116"/>
                    </a:lnTo>
                    <a:lnTo>
                      <a:pt x="583" y="130"/>
                    </a:lnTo>
                    <a:lnTo>
                      <a:pt x="575" y="116"/>
                    </a:lnTo>
                    <a:lnTo>
                      <a:pt x="569" y="124"/>
                    </a:lnTo>
                    <a:lnTo>
                      <a:pt x="569" y="138"/>
                    </a:lnTo>
                    <a:lnTo>
                      <a:pt x="575" y="150"/>
                    </a:lnTo>
                    <a:lnTo>
                      <a:pt x="575" y="158"/>
                    </a:lnTo>
                    <a:lnTo>
                      <a:pt x="569" y="150"/>
                    </a:lnTo>
                    <a:lnTo>
                      <a:pt x="561" y="138"/>
                    </a:lnTo>
                    <a:lnTo>
                      <a:pt x="561" y="150"/>
                    </a:lnTo>
                    <a:lnTo>
                      <a:pt x="555" y="164"/>
                    </a:lnTo>
                    <a:lnTo>
                      <a:pt x="547" y="158"/>
                    </a:lnTo>
                    <a:lnTo>
                      <a:pt x="547" y="144"/>
                    </a:lnTo>
                    <a:lnTo>
                      <a:pt x="541" y="150"/>
                    </a:lnTo>
                    <a:lnTo>
                      <a:pt x="541" y="172"/>
                    </a:lnTo>
                    <a:lnTo>
                      <a:pt x="535" y="172"/>
                    </a:lnTo>
                    <a:lnTo>
                      <a:pt x="527" y="172"/>
                    </a:lnTo>
                    <a:lnTo>
                      <a:pt x="521" y="178"/>
                    </a:lnTo>
                    <a:lnTo>
                      <a:pt x="527" y="186"/>
                    </a:lnTo>
                    <a:lnTo>
                      <a:pt x="521" y="192"/>
                    </a:lnTo>
                    <a:lnTo>
                      <a:pt x="513" y="198"/>
                    </a:lnTo>
                    <a:lnTo>
                      <a:pt x="513" y="206"/>
                    </a:lnTo>
                    <a:lnTo>
                      <a:pt x="521" y="212"/>
                    </a:lnTo>
                    <a:lnTo>
                      <a:pt x="513" y="220"/>
                    </a:lnTo>
                    <a:lnTo>
                      <a:pt x="493" y="220"/>
                    </a:lnTo>
                    <a:lnTo>
                      <a:pt x="493" y="212"/>
                    </a:lnTo>
                    <a:lnTo>
                      <a:pt x="485" y="220"/>
                    </a:lnTo>
                    <a:lnTo>
                      <a:pt x="485" y="226"/>
                    </a:lnTo>
                    <a:lnTo>
                      <a:pt x="485" y="240"/>
                    </a:lnTo>
                    <a:lnTo>
                      <a:pt x="485" y="246"/>
                    </a:lnTo>
                    <a:lnTo>
                      <a:pt x="479" y="260"/>
                    </a:lnTo>
                    <a:lnTo>
                      <a:pt x="479" y="246"/>
                    </a:lnTo>
                    <a:lnTo>
                      <a:pt x="479" y="234"/>
                    </a:lnTo>
                    <a:lnTo>
                      <a:pt x="479" y="226"/>
                    </a:lnTo>
                    <a:lnTo>
                      <a:pt x="471" y="234"/>
                    </a:lnTo>
                    <a:lnTo>
                      <a:pt x="465" y="234"/>
                    </a:lnTo>
                    <a:lnTo>
                      <a:pt x="457" y="234"/>
                    </a:lnTo>
                    <a:lnTo>
                      <a:pt x="451" y="240"/>
                    </a:lnTo>
                    <a:lnTo>
                      <a:pt x="457" y="240"/>
                    </a:lnTo>
                    <a:lnTo>
                      <a:pt x="465" y="246"/>
                    </a:lnTo>
                    <a:lnTo>
                      <a:pt x="465" y="254"/>
                    </a:lnTo>
                    <a:lnTo>
                      <a:pt x="457" y="246"/>
                    </a:lnTo>
                    <a:lnTo>
                      <a:pt x="451" y="254"/>
                    </a:lnTo>
                    <a:lnTo>
                      <a:pt x="443" y="246"/>
                    </a:lnTo>
                    <a:lnTo>
                      <a:pt x="437" y="246"/>
                    </a:lnTo>
                    <a:lnTo>
                      <a:pt x="437" y="260"/>
                    </a:lnTo>
                    <a:lnTo>
                      <a:pt x="431" y="268"/>
                    </a:lnTo>
                    <a:lnTo>
                      <a:pt x="451" y="260"/>
                    </a:lnTo>
                    <a:lnTo>
                      <a:pt x="457" y="268"/>
                    </a:lnTo>
                    <a:lnTo>
                      <a:pt x="457" y="274"/>
                    </a:lnTo>
                    <a:lnTo>
                      <a:pt x="443" y="274"/>
                    </a:lnTo>
                    <a:lnTo>
                      <a:pt x="437" y="274"/>
                    </a:lnTo>
                    <a:lnTo>
                      <a:pt x="431" y="282"/>
                    </a:lnTo>
                    <a:lnTo>
                      <a:pt x="431" y="288"/>
                    </a:lnTo>
                    <a:lnTo>
                      <a:pt x="443" y="288"/>
                    </a:lnTo>
                    <a:lnTo>
                      <a:pt x="443" y="302"/>
                    </a:lnTo>
                    <a:lnTo>
                      <a:pt x="437" y="302"/>
                    </a:lnTo>
                    <a:lnTo>
                      <a:pt x="431" y="302"/>
                    </a:lnTo>
                    <a:lnTo>
                      <a:pt x="423" y="308"/>
                    </a:lnTo>
                    <a:lnTo>
                      <a:pt x="417" y="316"/>
                    </a:lnTo>
                    <a:lnTo>
                      <a:pt x="403" y="308"/>
                    </a:lnTo>
                    <a:lnTo>
                      <a:pt x="395" y="316"/>
                    </a:lnTo>
                    <a:lnTo>
                      <a:pt x="395" y="324"/>
                    </a:lnTo>
                    <a:lnTo>
                      <a:pt x="395" y="330"/>
                    </a:lnTo>
                    <a:lnTo>
                      <a:pt x="389" y="330"/>
                    </a:lnTo>
                    <a:lnTo>
                      <a:pt x="381" y="336"/>
                    </a:lnTo>
                    <a:lnTo>
                      <a:pt x="389" y="344"/>
                    </a:lnTo>
                    <a:lnTo>
                      <a:pt x="381" y="350"/>
                    </a:lnTo>
                    <a:lnTo>
                      <a:pt x="367" y="350"/>
                    </a:lnTo>
                    <a:lnTo>
                      <a:pt x="375" y="358"/>
                    </a:lnTo>
                    <a:lnTo>
                      <a:pt x="381" y="364"/>
                    </a:lnTo>
                    <a:lnTo>
                      <a:pt x="389" y="358"/>
                    </a:lnTo>
                    <a:lnTo>
                      <a:pt x="389" y="370"/>
                    </a:lnTo>
                    <a:lnTo>
                      <a:pt x="375" y="370"/>
                    </a:lnTo>
                    <a:lnTo>
                      <a:pt x="367" y="370"/>
                    </a:lnTo>
                    <a:lnTo>
                      <a:pt x="367" y="378"/>
                    </a:lnTo>
                    <a:lnTo>
                      <a:pt x="375" y="384"/>
                    </a:lnTo>
                    <a:lnTo>
                      <a:pt x="367" y="392"/>
                    </a:lnTo>
                    <a:lnTo>
                      <a:pt x="361" y="392"/>
                    </a:lnTo>
                    <a:lnTo>
                      <a:pt x="353" y="398"/>
                    </a:lnTo>
                    <a:lnTo>
                      <a:pt x="347" y="406"/>
                    </a:lnTo>
                    <a:lnTo>
                      <a:pt x="353" y="412"/>
                    </a:lnTo>
                    <a:lnTo>
                      <a:pt x="353" y="418"/>
                    </a:lnTo>
                    <a:lnTo>
                      <a:pt x="347" y="426"/>
                    </a:lnTo>
                    <a:lnTo>
                      <a:pt x="341" y="418"/>
                    </a:lnTo>
                    <a:lnTo>
                      <a:pt x="341" y="412"/>
                    </a:lnTo>
                    <a:lnTo>
                      <a:pt x="332" y="426"/>
                    </a:lnTo>
                    <a:lnTo>
                      <a:pt x="332" y="432"/>
                    </a:lnTo>
                    <a:lnTo>
                      <a:pt x="341" y="432"/>
                    </a:lnTo>
                    <a:lnTo>
                      <a:pt x="341" y="446"/>
                    </a:lnTo>
                    <a:lnTo>
                      <a:pt x="332" y="454"/>
                    </a:lnTo>
                    <a:lnTo>
                      <a:pt x="326" y="454"/>
                    </a:lnTo>
                    <a:lnTo>
                      <a:pt x="326" y="468"/>
                    </a:lnTo>
                    <a:lnTo>
                      <a:pt x="318" y="474"/>
                    </a:lnTo>
                    <a:lnTo>
                      <a:pt x="312" y="474"/>
                    </a:lnTo>
                    <a:lnTo>
                      <a:pt x="312" y="480"/>
                    </a:lnTo>
                    <a:lnTo>
                      <a:pt x="318" y="480"/>
                    </a:lnTo>
                    <a:lnTo>
                      <a:pt x="318" y="488"/>
                    </a:lnTo>
                    <a:lnTo>
                      <a:pt x="318" y="496"/>
                    </a:lnTo>
                    <a:lnTo>
                      <a:pt x="312" y="502"/>
                    </a:lnTo>
                    <a:lnTo>
                      <a:pt x="298" y="496"/>
                    </a:lnTo>
                    <a:lnTo>
                      <a:pt x="298" y="488"/>
                    </a:lnTo>
                    <a:lnTo>
                      <a:pt x="290" y="480"/>
                    </a:lnTo>
                    <a:lnTo>
                      <a:pt x="284" y="488"/>
                    </a:lnTo>
                    <a:lnTo>
                      <a:pt x="276" y="496"/>
                    </a:lnTo>
                    <a:lnTo>
                      <a:pt x="270" y="496"/>
                    </a:lnTo>
                    <a:lnTo>
                      <a:pt x="264" y="496"/>
                    </a:lnTo>
                    <a:lnTo>
                      <a:pt x="264" y="508"/>
                    </a:lnTo>
                    <a:lnTo>
                      <a:pt x="256" y="516"/>
                    </a:lnTo>
                    <a:lnTo>
                      <a:pt x="250" y="528"/>
                    </a:lnTo>
                    <a:lnTo>
                      <a:pt x="242" y="528"/>
                    </a:lnTo>
                    <a:lnTo>
                      <a:pt x="236" y="528"/>
                    </a:lnTo>
                    <a:lnTo>
                      <a:pt x="236" y="536"/>
                    </a:lnTo>
                    <a:lnTo>
                      <a:pt x="236" y="550"/>
                    </a:lnTo>
                    <a:lnTo>
                      <a:pt x="228" y="544"/>
                    </a:lnTo>
                    <a:lnTo>
                      <a:pt x="222" y="550"/>
                    </a:lnTo>
                    <a:lnTo>
                      <a:pt x="214" y="556"/>
                    </a:lnTo>
                    <a:lnTo>
                      <a:pt x="208" y="550"/>
                    </a:lnTo>
                    <a:lnTo>
                      <a:pt x="202" y="556"/>
                    </a:lnTo>
                    <a:lnTo>
                      <a:pt x="194" y="564"/>
                    </a:lnTo>
                    <a:lnTo>
                      <a:pt x="188" y="564"/>
                    </a:lnTo>
                    <a:lnTo>
                      <a:pt x="188" y="578"/>
                    </a:lnTo>
                    <a:lnTo>
                      <a:pt x="180" y="570"/>
                    </a:lnTo>
                    <a:lnTo>
                      <a:pt x="172" y="570"/>
                    </a:lnTo>
                    <a:lnTo>
                      <a:pt x="180" y="578"/>
                    </a:lnTo>
                    <a:lnTo>
                      <a:pt x="180" y="584"/>
                    </a:lnTo>
                    <a:lnTo>
                      <a:pt x="172" y="584"/>
                    </a:lnTo>
                    <a:lnTo>
                      <a:pt x="166" y="578"/>
                    </a:lnTo>
                    <a:lnTo>
                      <a:pt x="160" y="584"/>
                    </a:lnTo>
                    <a:lnTo>
                      <a:pt x="152" y="584"/>
                    </a:lnTo>
                    <a:lnTo>
                      <a:pt x="146" y="584"/>
                    </a:lnTo>
                    <a:lnTo>
                      <a:pt x="138" y="584"/>
                    </a:lnTo>
                    <a:lnTo>
                      <a:pt x="138" y="592"/>
                    </a:lnTo>
                    <a:lnTo>
                      <a:pt x="146" y="604"/>
                    </a:lnTo>
                    <a:lnTo>
                      <a:pt x="138" y="604"/>
                    </a:lnTo>
                    <a:lnTo>
                      <a:pt x="130" y="604"/>
                    </a:lnTo>
                    <a:lnTo>
                      <a:pt x="118" y="598"/>
                    </a:lnTo>
                    <a:lnTo>
                      <a:pt x="110" y="598"/>
                    </a:lnTo>
                    <a:lnTo>
                      <a:pt x="104" y="604"/>
                    </a:lnTo>
                    <a:lnTo>
                      <a:pt x="110" y="612"/>
                    </a:lnTo>
                    <a:lnTo>
                      <a:pt x="110" y="618"/>
                    </a:lnTo>
                    <a:lnTo>
                      <a:pt x="104" y="618"/>
                    </a:lnTo>
                    <a:lnTo>
                      <a:pt x="90" y="618"/>
                    </a:lnTo>
                    <a:lnTo>
                      <a:pt x="82" y="632"/>
                    </a:lnTo>
                    <a:lnTo>
                      <a:pt x="82" y="618"/>
                    </a:lnTo>
                    <a:lnTo>
                      <a:pt x="76" y="618"/>
                    </a:lnTo>
                    <a:lnTo>
                      <a:pt x="68" y="626"/>
                    </a:lnTo>
                    <a:lnTo>
                      <a:pt x="62" y="618"/>
                    </a:lnTo>
                    <a:lnTo>
                      <a:pt x="56" y="618"/>
                    </a:lnTo>
                    <a:lnTo>
                      <a:pt x="48" y="618"/>
                    </a:lnTo>
                    <a:lnTo>
                      <a:pt x="48" y="626"/>
                    </a:lnTo>
                    <a:lnTo>
                      <a:pt x="48" y="632"/>
                    </a:lnTo>
                    <a:lnTo>
                      <a:pt x="56" y="640"/>
                    </a:lnTo>
                    <a:lnTo>
                      <a:pt x="62" y="640"/>
                    </a:lnTo>
                    <a:lnTo>
                      <a:pt x="62" y="646"/>
                    </a:lnTo>
                    <a:lnTo>
                      <a:pt x="56" y="646"/>
                    </a:lnTo>
                    <a:lnTo>
                      <a:pt x="48" y="654"/>
                    </a:lnTo>
                    <a:lnTo>
                      <a:pt x="34" y="654"/>
                    </a:lnTo>
                    <a:lnTo>
                      <a:pt x="34" y="660"/>
                    </a:lnTo>
                    <a:lnTo>
                      <a:pt x="42" y="668"/>
                    </a:lnTo>
                    <a:lnTo>
                      <a:pt x="42" y="674"/>
                    </a:lnTo>
                    <a:lnTo>
                      <a:pt x="28" y="668"/>
                    </a:lnTo>
                    <a:lnTo>
                      <a:pt x="28" y="674"/>
                    </a:lnTo>
                    <a:lnTo>
                      <a:pt x="28" y="680"/>
                    </a:lnTo>
                    <a:lnTo>
                      <a:pt x="34" y="694"/>
                    </a:lnTo>
                    <a:lnTo>
                      <a:pt x="48" y="694"/>
                    </a:lnTo>
                    <a:lnTo>
                      <a:pt x="48" y="702"/>
                    </a:lnTo>
                    <a:lnTo>
                      <a:pt x="42" y="702"/>
                    </a:lnTo>
                    <a:lnTo>
                      <a:pt x="28" y="694"/>
                    </a:lnTo>
                    <a:lnTo>
                      <a:pt x="28" y="702"/>
                    </a:lnTo>
                    <a:lnTo>
                      <a:pt x="28" y="708"/>
                    </a:lnTo>
                    <a:lnTo>
                      <a:pt x="34" y="722"/>
                    </a:lnTo>
                    <a:lnTo>
                      <a:pt x="42" y="728"/>
                    </a:lnTo>
                    <a:lnTo>
                      <a:pt x="34" y="736"/>
                    </a:lnTo>
                    <a:lnTo>
                      <a:pt x="28" y="728"/>
                    </a:lnTo>
                    <a:lnTo>
                      <a:pt x="20" y="736"/>
                    </a:lnTo>
                    <a:lnTo>
                      <a:pt x="20" y="742"/>
                    </a:lnTo>
                    <a:lnTo>
                      <a:pt x="34" y="750"/>
                    </a:lnTo>
                    <a:lnTo>
                      <a:pt x="28" y="750"/>
                    </a:lnTo>
                    <a:lnTo>
                      <a:pt x="20" y="750"/>
                    </a:lnTo>
                    <a:lnTo>
                      <a:pt x="20" y="756"/>
                    </a:lnTo>
                    <a:lnTo>
                      <a:pt x="28" y="764"/>
                    </a:lnTo>
                    <a:lnTo>
                      <a:pt x="34" y="770"/>
                    </a:lnTo>
                    <a:lnTo>
                      <a:pt x="48" y="770"/>
                    </a:lnTo>
                    <a:lnTo>
                      <a:pt x="62" y="764"/>
                    </a:lnTo>
                    <a:lnTo>
                      <a:pt x="48" y="776"/>
                    </a:lnTo>
                    <a:lnTo>
                      <a:pt x="42" y="784"/>
                    </a:lnTo>
                    <a:lnTo>
                      <a:pt x="34" y="790"/>
                    </a:lnTo>
                    <a:lnTo>
                      <a:pt x="48" y="804"/>
                    </a:lnTo>
                    <a:lnTo>
                      <a:pt x="42" y="804"/>
                    </a:lnTo>
                    <a:lnTo>
                      <a:pt x="34" y="804"/>
                    </a:lnTo>
                    <a:lnTo>
                      <a:pt x="28" y="812"/>
                    </a:lnTo>
                    <a:lnTo>
                      <a:pt x="20" y="804"/>
                    </a:lnTo>
                    <a:lnTo>
                      <a:pt x="14" y="804"/>
                    </a:lnTo>
                    <a:lnTo>
                      <a:pt x="6" y="818"/>
                    </a:lnTo>
                    <a:lnTo>
                      <a:pt x="6" y="826"/>
                    </a:lnTo>
                    <a:lnTo>
                      <a:pt x="0" y="838"/>
                    </a:lnTo>
                    <a:lnTo>
                      <a:pt x="6" y="846"/>
                    </a:lnTo>
                    <a:lnTo>
                      <a:pt x="20" y="826"/>
                    </a:lnTo>
                    <a:lnTo>
                      <a:pt x="34" y="826"/>
                    </a:lnTo>
                    <a:lnTo>
                      <a:pt x="34" y="832"/>
                    </a:lnTo>
                    <a:lnTo>
                      <a:pt x="34" y="846"/>
                    </a:lnTo>
                    <a:lnTo>
                      <a:pt x="28" y="846"/>
                    </a:lnTo>
                    <a:lnTo>
                      <a:pt x="28" y="860"/>
                    </a:lnTo>
                    <a:lnTo>
                      <a:pt x="20" y="866"/>
                    </a:lnTo>
                    <a:lnTo>
                      <a:pt x="20" y="860"/>
                    </a:lnTo>
                    <a:lnTo>
                      <a:pt x="14" y="866"/>
                    </a:lnTo>
                    <a:lnTo>
                      <a:pt x="14" y="874"/>
                    </a:lnTo>
                    <a:lnTo>
                      <a:pt x="14" y="886"/>
                    </a:lnTo>
                    <a:lnTo>
                      <a:pt x="14" y="894"/>
                    </a:lnTo>
                    <a:lnTo>
                      <a:pt x="28" y="908"/>
                    </a:lnTo>
                    <a:lnTo>
                      <a:pt x="48" y="914"/>
                    </a:lnTo>
                    <a:lnTo>
                      <a:pt x="34" y="928"/>
                    </a:lnTo>
                    <a:lnTo>
                      <a:pt x="48" y="936"/>
                    </a:lnTo>
                    <a:lnTo>
                      <a:pt x="56" y="928"/>
                    </a:lnTo>
                    <a:lnTo>
                      <a:pt x="56" y="942"/>
                    </a:lnTo>
                    <a:lnTo>
                      <a:pt x="76" y="942"/>
                    </a:lnTo>
                    <a:lnTo>
                      <a:pt x="90" y="942"/>
                    </a:lnTo>
                    <a:lnTo>
                      <a:pt x="104" y="936"/>
                    </a:lnTo>
                    <a:lnTo>
                      <a:pt x="104" y="942"/>
                    </a:lnTo>
                    <a:lnTo>
                      <a:pt x="118" y="936"/>
                    </a:lnTo>
                    <a:lnTo>
                      <a:pt x="124" y="928"/>
                    </a:lnTo>
                    <a:lnTo>
                      <a:pt x="130" y="914"/>
                    </a:lnTo>
                    <a:lnTo>
                      <a:pt x="138" y="908"/>
                    </a:lnTo>
                    <a:lnTo>
                      <a:pt x="160" y="900"/>
                    </a:lnTo>
                    <a:lnTo>
                      <a:pt x="160" y="894"/>
                    </a:lnTo>
                    <a:lnTo>
                      <a:pt x="166" y="886"/>
                    </a:lnTo>
                    <a:lnTo>
                      <a:pt x="180" y="886"/>
                    </a:lnTo>
                    <a:lnTo>
                      <a:pt x="180" y="894"/>
                    </a:lnTo>
                    <a:lnTo>
                      <a:pt x="188" y="900"/>
                    </a:lnTo>
                    <a:lnTo>
                      <a:pt x="202" y="894"/>
                    </a:lnTo>
                    <a:lnTo>
                      <a:pt x="202" y="880"/>
                    </a:lnTo>
                    <a:lnTo>
                      <a:pt x="214" y="866"/>
                    </a:lnTo>
                    <a:lnTo>
                      <a:pt x="214" y="852"/>
                    </a:lnTo>
                    <a:lnTo>
                      <a:pt x="208" y="846"/>
                    </a:lnTo>
                    <a:lnTo>
                      <a:pt x="222" y="832"/>
                    </a:lnTo>
                    <a:lnTo>
                      <a:pt x="228" y="826"/>
                    </a:lnTo>
                    <a:lnTo>
                      <a:pt x="236" y="818"/>
                    </a:lnTo>
                    <a:lnTo>
                      <a:pt x="242" y="818"/>
                    </a:lnTo>
                    <a:lnTo>
                      <a:pt x="242" y="832"/>
                    </a:lnTo>
                    <a:lnTo>
                      <a:pt x="236" y="838"/>
                    </a:lnTo>
                    <a:lnTo>
                      <a:pt x="228" y="838"/>
                    </a:lnTo>
                    <a:lnTo>
                      <a:pt x="228" y="852"/>
                    </a:lnTo>
                    <a:lnTo>
                      <a:pt x="236" y="852"/>
                    </a:lnTo>
                    <a:lnTo>
                      <a:pt x="256" y="866"/>
                    </a:lnTo>
                    <a:lnTo>
                      <a:pt x="242" y="880"/>
                    </a:lnTo>
                    <a:lnTo>
                      <a:pt x="242" y="880"/>
                    </a:lnTo>
                    <a:lnTo>
                      <a:pt x="242" y="88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7" name="Freeform 61"/>
              <p:cNvSpPr>
                <a:spLocks/>
              </p:cNvSpPr>
              <p:nvPr>
                <p:custDataLst>
                  <p:tags r:id="rId145"/>
                </p:custDataLst>
              </p:nvPr>
            </p:nvSpPr>
            <p:spPr bwMode="gray">
              <a:xfrm>
                <a:off x="4749300" y="1085189"/>
                <a:ext cx="757406" cy="1575150"/>
              </a:xfrm>
              <a:custGeom>
                <a:avLst/>
                <a:gdLst>
                  <a:gd name="T0" fmla="*/ 465 w 477"/>
                  <a:gd name="T1" fmla="*/ 180 h 992"/>
                  <a:gd name="T2" fmla="*/ 465 w 477"/>
                  <a:gd name="T3" fmla="*/ 130 h 992"/>
                  <a:gd name="T4" fmla="*/ 443 w 477"/>
                  <a:gd name="T5" fmla="*/ 104 h 992"/>
                  <a:gd name="T6" fmla="*/ 451 w 477"/>
                  <a:gd name="T7" fmla="*/ 68 h 992"/>
                  <a:gd name="T8" fmla="*/ 409 w 477"/>
                  <a:gd name="T9" fmla="*/ 34 h 992"/>
                  <a:gd name="T10" fmla="*/ 375 w 477"/>
                  <a:gd name="T11" fmla="*/ 8 h 992"/>
                  <a:gd name="T12" fmla="*/ 347 w 477"/>
                  <a:gd name="T13" fmla="*/ 28 h 992"/>
                  <a:gd name="T14" fmla="*/ 311 w 477"/>
                  <a:gd name="T15" fmla="*/ 42 h 992"/>
                  <a:gd name="T16" fmla="*/ 277 w 477"/>
                  <a:gd name="T17" fmla="*/ 62 h 992"/>
                  <a:gd name="T18" fmla="*/ 237 w 477"/>
                  <a:gd name="T19" fmla="*/ 104 h 992"/>
                  <a:gd name="T20" fmla="*/ 237 w 477"/>
                  <a:gd name="T21" fmla="*/ 144 h 992"/>
                  <a:gd name="T22" fmla="*/ 201 w 477"/>
                  <a:gd name="T23" fmla="*/ 192 h 992"/>
                  <a:gd name="T24" fmla="*/ 159 w 477"/>
                  <a:gd name="T25" fmla="*/ 240 h 992"/>
                  <a:gd name="T26" fmla="*/ 153 w 477"/>
                  <a:gd name="T27" fmla="*/ 296 h 992"/>
                  <a:gd name="T28" fmla="*/ 139 w 477"/>
                  <a:gd name="T29" fmla="*/ 338 h 992"/>
                  <a:gd name="T30" fmla="*/ 111 w 477"/>
                  <a:gd name="T31" fmla="*/ 366 h 992"/>
                  <a:gd name="T32" fmla="*/ 76 w 477"/>
                  <a:gd name="T33" fmla="*/ 380 h 992"/>
                  <a:gd name="T34" fmla="*/ 62 w 477"/>
                  <a:gd name="T35" fmla="*/ 442 h 992"/>
                  <a:gd name="T36" fmla="*/ 68 w 477"/>
                  <a:gd name="T37" fmla="*/ 490 h 992"/>
                  <a:gd name="T38" fmla="*/ 76 w 477"/>
                  <a:gd name="T39" fmla="*/ 530 h 992"/>
                  <a:gd name="T40" fmla="*/ 56 w 477"/>
                  <a:gd name="T41" fmla="*/ 580 h 992"/>
                  <a:gd name="T42" fmla="*/ 56 w 477"/>
                  <a:gd name="T43" fmla="*/ 648 h 992"/>
                  <a:gd name="T44" fmla="*/ 28 w 477"/>
                  <a:gd name="T45" fmla="*/ 670 h 992"/>
                  <a:gd name="T46" fmla="*/ 20 w 477"/>
                  <a:gd name="T47" fmla="*/ 710 h 992"/>
                  <a:gd name="T48" fmla="*/ 0 w 477"/>
                  <a:gd name="T49" fmla="*/ 704 h 992"/>
                  <a:gd name="T50" fmla="*/ 0 w 477"/>
                  <a:gd name="T51" fmla="*/ 752 h 992"/>
                  <a:gd name="T52" fmla="*/ 14 w 477"/>
                  <a:gd name="T53" fmla="*/ 772 h 992"/>
                  <a:gd name="T54" fmla="*/ 14 w 477"/>
                  <a:gd name="T55" fmla="*/ 814 h 992"/>
                  <a:gd name="T56" fmla="*/ 14 w 477"/>
                  <a:gd name="T57" fmla="*/ 862 h 992"/>
                  <a:gd name="T58" fmla="*/ 42 w 477"/>
                  <a:gd name="T59" fmla="*/ 902 h 992"/>
                  <a:gd name="T60" fmla="*/ 28 w 477"/>
                  <a:gd name="T61" fmla="*/ 930 h 992"/>
                  <a:gd name="T62" fmla="*/ 42 w 477"/>
                  <a:gd name="T63" fmla="*/ 964 h 992"/>
                  <a:gd name="T64" fmla="*/ 56 w 477"/>
                  <a:gd name="T65" fmla="*/ 992 h 992"/>
                  <a:gd name="T66" fmla="*/ 99 w 477"/>
                  <a:gd name="T67" fmla="*/ 986 h 992"/>
                  <a:gd name="T68" fmla="*/ 119 w 477"/>
                  <a:gd name="T69" fmla="*/ 952 h 992"/>
                  <a:gd name="T70" fmla="*/ 153 w 477"/>
                  <a:gd name="T71" fmla="*/ 938 h 992"/>
                  <a:gd name="T72" fmla="*/ 181 w 477"/>
                  <a:gd name="T73" fmla="*/ 930 h 992"/>
                  <a:gd name="T74" fmla="*/ 209 w 477"/>
                  <a:gd name="T75" fmla="*/ 876 h 992"/>
                  <a:gd name="T76" fmla="*/ 209 w 477"/>
                  <a:gd name="T77" fmla="*/ 840 h 992"/>
                  <a:gd name="T78" fmla="*/ 223 w 477"/>
                  <a:gd name="T79" fmla="*/ 800 h 992"/>
                  <a:gd name="T80" fmla="*/ 209 w 477"/>
                  <a:gd name="T81" fmla="*/ 758 h 992"/>
                  <a:gd name="T82" fmla="*/ 249 w 477"/>
                  <a:gd name="T83" fmla="*/ 738 h 992"/>
                  <a:gd name="T84" fmla="*/ 277 w 477"/>
                  <a:gd name="T85" fmla="*/ 724 h 992"/>
                  <a:gd name="T86" fmla="*/ 291 w 477"/>
                  <a:gd name="T87" fmla="*/ 690 h 992"/>
                  <a:gd name="T88" fmla="*/ 291 w 477"/>
                  <a:gd name="T89" fmla="*/ 654 h 992"/>
                  <a:gd name="T90" fmla="*/ 277 w 477"/>
                  <a:gd name="T91" fmla="*/ 620 h 992"/>
                  <a:gd name="T92" fmla="*/ 249 w 477"/>
                  <a:gd name="T93" fmla="*/ 592 h 992"/>
                  <a:gd name="T94" fmla="*/ 249 w 477"/>
                  <a:gd name="T95" fmla="*/ 566 h 992"/>
                  <a:gd name="T96" fmla="*/ 249 w 477"/>
                  <a:gd name="T97" fmla="*/ 524 h 992"/>
                  <a:gd name="T98" fmla="*/ 243 w 477"/>
                  <a:gd name="T99" fmla="*/ 482 h 992"/>
                  <a:gd name="T100" fmla="*/ 277 w 477"/>
                  <a:gd name="T101" fmla="*/ 462 h 992"/>
                  <a:gd name="T102" fmla="*/ 313 w 477"/>
                  <a:gd name="T103" fmla="*/ 428 h 992"/>
                  <a:gd name="T104" fmla="*/ 347 w 477"/>
                  <a:gd name="T105" fmla="*/ 406 h 992"/>
                  <a:gd name="T106" fmla="*/ 367 w 477"/>
                  <a:gd name="T107" fmla="*/ 372 h 992"/>
                  <a:gd name="T108" fmla="*/ 389 w 477"/>
                  <a:gd name="T109" fmla="*/ 330 h 992"/>
                  <a:gd name="T110" fmla="*/ 389 w 477"/>
                  <a:gd name="T111" fmla="*/ 282 h 992"/>
                  <a:gd name="T112" fmla="*/ 417 w 477"/>
                  <a:gd name="T113" fmla="*/ 254 h 992"/>
                  <a:gd name="T114" fmla="*/ 429 w 477"/>
                  <a:gd name="T115" fmla="*/ 228 h 992"/>
                  <a:gd name="T116" fmla="*/ 471 w 477"/>
                  <a:gd name="T117" fmla="*/ 228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7" h="992">
                    <a:moveTo>
                      <a:pt x="477" y="220"/>
                    </a:moveTo>
                    <a:lnTo>
                      <a:pt x="477" y="206"/>
                    </a:lnTo>
                    <a:lnTo>
                      <a:pt x="471" y="200"/>
                    </a:lnTo>
                    <a:lnTo>
                      <a:pt x="465" y="186"/>
                    </a:lnTo>
                    <a:lnTo>
                      <a:pt x="465" y="180"/>
                    </a:lnTo>
                    <a:lnTo>
                      <a:pt x="465" y="166"/>
                    </a:lnTo>
                    <a:lnTo>
                      <a:pt x="465" y="152"/>
                    </a:lnTo>
                    <a:lnTo>
                      <a:pt x="471" y="144"/>
                    </a:lnTo>
                    <a:lnTo>
                      <a:pt x="465" y="138"/>
                    </a:lnTo>
                    <a:lnTo>
                      <a:pt x="465" y="130"/>
                    </a:lnTo>
                    <a:lnTo>
                      <a:pt x="457" y="124"/>
                    </a:lnTo>
                    <a:lnTo>
                      <a:pt x="457" y="116"/>
                    </a:lnTo>
                    <a:lnTo>
                      <a:pt x="457" y="110"/>
                    </a:lnTo>
                    <a:lnTo>
                      <a:pt x="457" y="104"/>
                    </a:lnTo>
                    <a:lnTo>
                      <a:pt x="443" y="104"/>
                    </a:lnTo>
                    <a:lnTo>
                      <a:pt x="451" y="96"/>
                    </a:lnTo>
                    <a:lnTo>
                      <a:pt x="451" y="90"/>
                    </a:lnTo>
                    <a:lnTo>
                      <a:pt x="451" y="82"/>
                    </a:lnTo>
                    <a:lnTo>
                      <a:pt x="451" y="76"/>
                    </a:lnTo>
                    <a:lnTo>
                      <a:pt x="451" y="68"/>
                    </a:lnTo>
                    <a:lnTo>
                      <a:pt x="443" y="62"/>
                    </a:lnTo>
                    <a:lnTo>
                      <a:pt x="443" y="48"/>
                    </a:lnTo>
                    <a:lnTo>
                      <a:pt x="437" y="48"/>
                    </a:lnTo>
                    <a:lnTo>
                      <a:pt x="423" y="42"/>
                    </a:lnTo>
                    <a:lnTo>
                      <a:pt x="409" y="34"/>
                    </a:lnTo>
                    <a:lnTo>
                      <a:pt x="403" y="34"/>
                    </a:lnTo>
                    <a:lnTo>
                      <a:pt x="395" y="28"/>
                    </a:lnTo>
                    <a:lnTo>
                      <a:pt x="387" y="28"/>
                    </a:lnTo>
                    <a:lnTo>
                      <a:pt x="387" y="14"/>
                    </a:lnTo>
                    <a:lnTo>
                      <a:pt x="375" y="8"/>
                    </a:lnTo>
                    <a:lnTo>
                      <a:pt x="361" y="0"/>
                    </a:lnTo>
                    <a:lnTo>
                      <a:pt x="347" y="0"/>
                    </a:lnTo>
                    <a:lnTo>
                      <a:pt x="347" y="8"/>
                    </a:lnTo>
                    <a:lnTo>
                      <a:pt x="347" y="20"/>
                    </a:lnTo>
                    <a:lnTo>
                      <a:pt x="347" y="28"/>
                    </a:lnTo>
                    <a:lnTo>
                      <a:pt x="333" y="20"/>
                    </a:lnTo>
                    <a:lnTo>
                      <a:pt x="327" y="42"/>
                    </a:lnTo>
                    <a:lnTo>
                      <a:pt x="327" y="48"/>
                    </a:lnTo>
                    <a:lnTo>
                      <a:pt x="319" y="48"/>
                    </a:lnTo>
                    <a:lnTo>
                      <a:pt x="311" y="42"/>
                    </a:lnTo>
                    <a:lnTo>
                      <a:pt x="297" y="48"/>
                    </a:lnTo>
                    <a:lnTo>
                      <a:pt x="297" y="62"/>
                    </a:lnTo>
                    <a:lnTo>
                      <a:pt x="297" y="68"/>
                    </a:lnTo>
                    <a:lnTo>
                      <a:pt x="291" y="68"/>
                    </a:lnTo>
                    <a:lnTo>
                      <a:pt x="277" y="62"/>
                    </a:lnTo>
                    <a:lnTo>
                      <a:pt x="271" y="62"/>
                    </a:lnTo>
                    <a:lnTo>
                      <a:pt x="263" y="76"/>
                    </a:lnTo>
                    <a:lnTo>
                      <a:pt x="263" y="82"/>
                    </a:lnTo>
                    <a:lnTo>
                      <a:pt x="243" y="96"/>
                    </a:lnTo>
                    <a:lnTo>
                      <a:pt x="237" y="104"/>
                    </a:lnTo>
                    <a:lnTo>
                      <a:pt x="229" y="110"/>
                    </a:lnTo>
                    <a:lnTo>
                      <a:pt x="237" y="116"/>
                    </a:lnTo>
                    <a:lnTo>
                      <a:pt x="243" y="130"/>
                    </a:lnTo>
                    <a:lnTo>
                      <a:pt x="237" y="138"/>
                    </a:lnTo>
                    <a:lnTo>
                      <a:pt x="237" y="144"/>
                    </a:lnTo>
                    <a:lnTo>
                      <a:pt x="223" y="158"/>
                    </a:lnTo>
                    <a:lnTo>
                      <a:pt x="207" y="166"/>
                    </a:lnTo>
                    <a:lnTo>
                      <a:pt x="207" y="180"/>
                    </a:lnTo>
                    <a:lnTo>
                      <a:pt x="207" y="186"/>
                    </a:lnTo>
                    <a:lnTo>
                      <a:pt x="201" y="192"/>
                    </a:lnTo>
                    <a:lnTo>
                      <a:pt x="187" y="200"/>
                    </a:lnTo>
                    <a:lnTo>
                      <a:pt x="173" y="206"/>
                    </a:lnTo>
                    <a:lnTo>
                      <a:pt x="173" y="220"/>
                    </a:lnTo>
                    <a:lnTo>
                      <a:pt x="167" y="234"/>
                    </a:lnTo>
                    <a:lnTo>
                      <a:pt x="159" y="240"/>
                    </a:lnTo>
                    <a:lnTo>
                      <a:pt x="159" y="254"/>
                    </a:lnTo>
                    <a:lnTo>
                      <a:pt x="159" y="262"/>
                    </a:lnTo>
                    <a:lnTo>
                      <a:pt x="159" y="268"/>
                    </a:lnTo>
                    <a:lnTo>
                      <a:pt x="153" y="290"/>
                    </a:lnTo>
                    <a:lnTo>
                      <a:pt x="153" y="296"/>
                    </a:lnTo>
                    <a:lnTo>
                      <a:pt x="139" y="302"/>
                    </a:lnTo>
                    <a:lnTo>
                      <a:pt x="133" y="310"/>
                    </a:lnTo>
                    <a:lnTo>
                      <a:pt x="139" y="324"/>
                    </a:lnTo>
                    <a:lnTo>
                      <a:pt x="139" y="330"/>
                    </a:lnTo>
                    <a:lnTo>
                      <a:pt x="139" y="338"/>
                    </a:lnTo>
                    <a:lnTo>
                      <a:pt x="147" y="352"/>
                    </a:lnTo>
                    <a:lnTo>
                      <a:pt x="139" y="358"/>
                    </a:lnTo>
                    <a:lnTo>
                      <a:pt x="125" y="358"/>
                    </a:lnTo>
                    <a:lnTo>
                      <a:pt x="119" y="358"/>
                    </a:lnTo>
                    <a:lnTo>
                      <a:pt x="111" y="366"/>
                    </a:lnTo>
                    <a:lnTo>
                      <a:pt x="105" y="372"/>
                    </a:lnTo>
                    <a:lnTo>
                      <a:pt x="97" y="372"/>
                    </a:lnTo>
                    <a:lnTo>
                      <a:pt x="97" y="366"/>
                    </a:lnTo>
                    <a:lnTo>
                      <a:pt x="82" y="372"/>
                    </a:lnTo>
                    <a:lnTo>
                      <a:pt x="76" y="380"/>
                    </a:lnTo>
                    <a:lnTo>
                      <a:pt x="68" y="392"/>
                    </a:lnTo>
                    <a:lnTo>
                      <a:pt x="68" y="406"/>
                    </a:lnTo>
                    <a:lnTo>
                      <a:pt x="68" y="420"/>
                    </a:lnTo>
                    <a:lnTo>
                      <a:pt x="68" y="434"/>
                    </a:lnTo>
                    <a:lnTo>
                      <a:pt x="62" y="442"/>
                    </a:lnTo>
                    <a:lnTo>
                      <a:pt x="62" y="456"/>
                    </a:lnTo>
                    <a:lnTo>
                      <a:pt x="62" y="462"/>
                    </a:lnTo>
                    <a:lnTo>
                      <a:pt x="68" y="468"/>
                    </a:lnTo>
                    <a:lnTo>
                      <a:pt x="68" y="482"/>
                    </a:lnTo>
                    <a:lnTo>
                      <a:pt x="68" y="490"/>
                    </a:lnTo>
                    <a:lnTo>
                      <a:pt x="62" y="504"/>
                    </a:lnTo>
                    <a:lnTo>
                      <a:pt x="62" y="510"/>
                    </a:lnTo>
                    <a:lnTo>
                      <a:pt x="62" y="516"/>
                    </a:lnTo>
                    <a:lnTo>
                      <a:pt x="68" y="524"/>
                    </a:lnTo>
                    <a:lnTo>
                      <a:pt x="76" y="530"/>
                    </a:lnTo>
                    <a:lnTo>
                      <a:pt x="76" y="538"/>
                    </a:lnTo>
                    <a:lnTo>
                      <a:pt x="76" y="552"/>
                    </a:lnTo>
                    <a:lnTo>
                      <a:pt x="76" y="558"/>
                    </a:lnTo>
                    <a:lnTo>
                      <a:pt x="56" y="572"/>
                    </a:lnTo>
                    <a:lnTo>
                      <a:pt x="56" y="580"/>
                    </a:lnTo>
                    <a:lnTo>
                      <a:pt x="62" y="592"/>
                    </a:lnTo>
                    <a:lnTo>
                      <a:pt x="62" y="600"/>
                    </a:lnTo>
                    <a:lnTo>
                      <a:pt x="62" y="606"/>
                    </a:lnTo>
                    <a:lnTo>
                      <a:pt x="62" y="628"/>
                    </a:lnTo>
                    <a:lnTo>
                      <a:pt x="56" y="648"/>
                    </a:lnTo>
                    <a:lnTo>
                      <a:pt x="48" y="648"/>
                    </a:lnTo>
                    <a:lnTo>
                      <a:pt x="42" y="648"/>
                    </a:lnTo>
                    <a:lnTo>
                      <a:pt x="34" y="654"/>
                    </a:lnTo>
                    <a:lnTo>
                      <a:pt x="34" y="662"/>
                    </a:lnTo>
                    <a:lnTo>
                      <a:pt x="28" y="670"/>
                    </a:lnTo>
                    <a:lnTo>
                      <a:pt x="28" y="676"/>
                    </a:lnTo>
                    <a:lnTo>
                      <a:pt x="14" y="690"/>
                    </a:lnTo>
                    <a:lnTo>
                      <a:pt x="20" y="696"/>
                    </a:lnTo>
                    <a:lnTo>
                      <a:pt x="20" y="704"/>
                    </a:lnTo>
                    <a:lnTo>
                      <a:pt x="20" y="710"/>
                    </a:lnTo>
                    <a:lnTo>
                      <a:pt x="14" y="718"/>
                    </a:lnTo>
                    <a:lnTo>
                      <a:pt x="6" y="710"/>
                    </a:lnTo>
                    <a:lnTo>
                      <a:pt x="6" y="704"/>
                    </a:lnTo>
                    <a:lnTo>
                      <a:pt x="0" y="704"/>
                    </a:lnTo>
                    <a:lnTo>
                      <a:pt x="0" y="704"/>
                    </a:lnTo>
                    <a:lnTo>
                      <a:pt x="0" y="718"/>
                    </a:lnTo>
                    <a:lnTo>
                      <a:pt x="0" y="724"/>
                    </a:lnTo>
                    <a:lnTo>
                      <a:pt x="0" y="738"/>
                    </a:lnTo>
                    <a:lnTo>
                      <a:pt x="0" y="744"/>
                    </a:lnTo>
                    <a:lnTo>
                      <a:pt x="0" y="752"/>
                    </a:lnTo>
                    <a:lnTo>
                      <a:pt x="0" y="758"/>
                    </a:lnTo>
                    <a:lnTo>
                      <a:pt x="0" y="766"/>
                    </a:lnTo>
                    <a:lnTo>
                      <a:pt x="8" y="766"/>
                    </a:lnTo>
                    <a:lnTo>
                      <a:pt x="8" y="780"/>
                    </a:lnTo>
                    <a:lnTo>
                      <a:pt x="14" y="772"/>
                    </a:lnTo>
                    <a:lnTo>
                      <a:pt x="20" y="780"/>
                    </a:lnTo>
                    <a:lnTo>
                      <a:pt x="14" y="794"/>
                    </a:lnTo>
                    <a:lnTo>
                      <a:pt x="14" y="800"/>
                    </a:lnTo>
                    <a:lnTo>
                      <a:pt x="14" y="806"/>
                    </a:lnTo>
                    <a:lnTo>
                      <a:pt x="14" y="814"/>
                    </a:lnTo>
                    <a:lnTo>
                      <a:pt x="14" y="828"/>
                    </a:lnTo>
                    <a:lnTo>
                      <a:pt x="14" y="834"/>
                    </a:lnTo>
                    <a:lnTo>
                      <a:pt x="20" y="840"/>
                    </a:lnTo>
                    <a:lnTo>
                      <a:pt x="14" y="848"/>
                    </a:lnTo>
                    <a:lnTo>
                      <a:pt x="14" y="862"/>
                    </a:lnTo>
                    <a:lnTo>
                      <a:pt x="20" y="868"/>
                    </a:lnTo>
                    <a:lnTo>
                      <a:pt x="28" y="868"/>
                    </a:lnTo>
                    <a:lnTo>
                      <a:pt x="28" y="890"/>
                    </a:lnTo>
                    <a:lnTo>
                      <a:pt x="42" y="896"/>
                    </a:lnTo>
                    <a:lnTo>
                      <a:pt x="42" y="902"/>
                    </a:lnTo>
                    <a:lnTo>
                      <a:pt x="42" y="910"/>
                    </a:lnTo>
                    <a:lnTo>
                      <a:pt x="34" y="910"/>
                    </a:lnTo>
                    <a:lnTo>
                      <a:pt x="34" y="918"/>
                    </a:lnTo>
                    <a:lnTo>
                      <a:pt x="28" y="924"/>
                    </a:lnTo>
                    <a:lnTo>
                      <a:pt x="28" y="930"/>
                    </a:lnTo>
                    <a:lnTo>
                      <a:pt x="28" y="938"/>
                    </a:lnTo>
                    <a:lnTo>
                      <a:pt x="34" y="944"/>
                    </a:lnTo>
                    <a:lnTo>
                      <a:pt x="34" y="952"/>
                    </a:lnTo>
                    <a:lnTo>
                      <a:pt x="42" y="958"/>
                    </a:lnTo>
                    <a:lnTo>
                      <a:pt x="42" y="964"/>
                    </a:lnTo>
                    <a:lnTo>
                      <a:pt x="42" y="980"/>
                    </a:lnTo>
                    <a:lnTo>
                      <a:pt x="34" y="986"/>
                    </a:lnTo>
                    <a:lnTo>
                      <a:pt x="42" y="992"/>
                    </a:lnTo>
                    <a:lnTo>
                      <a:pt x="48" y="986"/>
                    </a:lnTo>
                    <a:lnTo>
                      <a:pt x="56" y="992"/>
                    </a:lnTo>
                    <a:lnTo>
                      <a:pt x="76" y="986"/>
                    </a:lnTo>
                    <a:lnTo>
                      <a:pt x="84" y="992"/>
                    </a:lnTo>
                    <a:lnTo>
                      <a:pt x="90" y="992"/>
                    </a:lnTo>
                    <a:lnTo>
                      <a:pt x="99" y="992"/>
                    </a:lnTo>
                    <a:lnTo>
                      <a:pt x="99" y="986"/>
                    </a:lnTo>
                    <a:lnTo>
                      <a:pt x="99" y="972"/>
                    </a:lnTo>
                    <a:lnTo>
                      <a:pt x="99" y="958"/>
                    </a:lnTo>
                    <a:lnTo>
                      <a:pt x="105" y="952"/>
                    </a:lnTo>
                    <a:lnTo>
                      <a:pt x="111" y="952"/>
                    </a:lnTo>
                    <a:lnTo>
                      <a:pt x="119" y="952"/>
                    </a:lnTo>
                    <a:lnTo>
                      <a:pt x="125" y="944"/>
                    </a:lnTo>
                    <a:lnTo>
                      <a:pt x="119" y="944"/>
                    </a:lnTo>
                    <a:lnTo>
                      <a:pt x="125" y="938"/>
                    </a:lnTo>
                    <a:lnTo>
                      <a:pt x="139" y="930"/>
                    </a:lnTo>
                    <a:lnTo>
                      <a:pt x="153" y="938"/>
                    </a:lnTo>
                    <a:lnTo>
                      <a:pt x="153" y="944"/>
                    </a:lnTo>
                    <a:lnTo>
                      <a:pt x="161" y="944"/>
                    </a:lnTo>
                    <a:lnTo>
                      <a:pt x="175" y="944"/>
                    </a:lnTo>
                    <a:lnTo>
                      <a:pt x="181" y="944"/>
                    </a:lnTo>
                    <a:lnTo>
                      <a:pt x="181" y="930"/>
                    </a:lnTo>
                    <a:lnTo>
                      <a:pt x="181" y="924"/>
                    </a:lnTo>
                    <a:lnTo>
                      <a:pt x="195" y="902"/>
                    </a:lnTo>
                    <a:lnTo>
                      <a:pt x="195" y="890"/>
                    </a:lnTo>
                    <a:lnTo>
                      <a:pt x="201" y="882"/>
                    </a:lnTo>
                    <a:lnTo>
                      <a:pt x="209" y="876"/>
                    </a:lnTo>
                    <a:lnTo>
                      <a:pt x="209" y="868"/>
                    </a:lnTo>
                    <a:lnTo>
                      <a:pt x="201" y="868"/>
                    </a:lnTo>
                    <a:lnTo>
                      <a:pt x="209" y="854"/>
                    </a:lnTo>
                    <a:lnTo>
                      <a:pt x="215" y="848"/>
                    </a:lnTo>
                    <a:lnTo>
                      <a:pt x="209" y="840"/>
                    </a:lnTo>
                    <a:lnTo>
                      <a:pt x="209" y="834"/>
                    </a:lnTo>
                    <a:lnTo>
                      <a:pt x="209" y="828"/>
                    </a:lnTo>
                    <a:lnTo>
                      <a:pt x="215" y="820"/>
                    </a:lnTo>
                    <a:lnTo>
                      <a:pt x="215" y="814"/>
                    </a:lnTo>
                    <a:lnTo>
                      <a:pt x="223" y="800"/>
                    </a:lnTo>
                    <a:lnTo>
                      <a:pt x="223" y="794"/>
                    </a:lnTo>
                    <a:lnTo>
                      <a:pt x="223" y="786"/>
                    </a:lnTo>
                    <a:lnTo>
                      <a:pt x="215" y="772"/>
                    </a:lnTo>
                    <a:lnTo>
                      <a:pt x="229" y="766"/>
                    </a:lnTo>
                    <a:lnTo>
                      <a:pt x="209" y="758"/>
                    </a:lnTo>
                    <a:lnTo>
                      <a:pt x="215" y="752"/>
                    </a:lnTo>
                    <a:lnTo>
                      <a:pt x="229" y="758"/>
                    </a:lnTo>
                    <a:lnTo>
                      <a:pt x="237" y="758"/>
                    </a:lnTo>
                    <a:lnTo>
                      <a:pt x="249" y="744"/>
                    </a:lnTo>
                    <a:lnTo>
                      <a:pt x="249" y="738"/>
                    </a:lnTo>
                    <a:lnTo>
                      <a:pt x="249" y="730"/>
                    </a:lnTo>
                    <a:lnTo>
                      <a:pt x="257" y="730"/>
                    </a:lnTo>
                    <a:lnTo>
                      <a:pt x="263" y="730"/>
                    </a:lnTo>
                    <a:lnTo>
                      <a:pt x="271" y="738"/>
                    </a:lnTo>
                    <a:lnTo>
                      <a:pt x="277" y="724"/>
                    </a:lnTo>
                    <a:lnTo>
                      <a:pt x="285" y="718"/>
                    </a:lnTo>
                    <a:lnTo>
                      <a:pt x="299" y="710"/>
                    </a:lnTo>
                    <a:lnTo>
                      <a:pt x="285" y="704"/>
                    </a:lnTo>
                    <a:lnTo>
                      <a:pt x="285" y="696"/>
                    </a:lnTo>
                    <a:lnTo>
                      <a:pt x="291" y="690"/>
                    </a:lnTo>
                    <a:lnTo>
                      <a:pt x="299" y="690"/>
                    </a:lnTo>
                    <a:lnTo>
                      <a:pt x="313" y="670"/>
                    </a:lnTo>
                    <a:lnTo>
                      <a:pt x="305" y="662"/>
                    </a:lnTo>
                    <a:lnTo>
                      <a:pt x="305" y="648"/>
                    </a:lnTo>
                    <a:lnTo>
                      <a:pt x="291" y="654"/>
                    </a:lnTo>
                    <a:lnTo>
                      <a:pt x="291" y="648"/>
                    </a:lnTo>
                    <a:lnTo>
                      <a:pt x="291" y="640"/>
                    </a:lnTo>
                    <a:lnTo>
                      <a:pt x="285" y="634"/>
                    </a:lnTo>
                    <a:lnTo>
                      <a:pt x="277" y="628"/>
                    </a:lnTo>
                    <a:lnTo>
                      <a:pt x="277" y="620"/>
                    </a:lnTo>
                    <a:lnTo>
                      <a:pt x="277" y="614"/>
                    </a:lnTo>
                    <a:lnTo>
                      <a:pt x="263" y="620"/>
                    </a:lnTo>
                    <a:lnTo>
                      <a:pt x="257" y="614"/>
                    </a:lnTo>
                    <a:lnTo>
                      <a:pt x="249" y="606"/>
                    </a:lnTo>
                    <a:lnTo>
                      <a:pt x="249" y="592"/>
                    </a:lnTo>
                    <a:lnTo>
                      <a:pt x="243" y="586"/>
                    </a:lnTo>
                    <a:lnTo>
                      <a:pt x="243" y="580"/>
                    </a:lnTo>
                    <a:lnTo>
                      <a:pt x="237" y="572"/>
                    </a:lnTo>
                    <a:lnTo>
                      <a:pt x="243" y="572"/>
                    </a:lnTo>
                    <a:lnTo>
                      <a:pt x="249" y="566"/>
                    </a:lnTo>
                    <a:lnTo>
                      <a:pt x="249" y="552"/>
                    </a:lnTo>
                    <a:lnTo>
                      <a:pt x="249" y="544"/>
                    </a:lnTo>
                    <a:lnTo>
                      <a:pt x="249" y="530"/>
                    </a:lnTo>
                    <a:lnTo>
                      <a:pt x="257" y="530"/>
                    </a:lnTo>
                    <a:lnTo>
                      <a:pt x="249" y="524"/>
                    </a:lnTo>
                    <a:lnTo>
                      <a:pt x="257" y="516"/>
                    </a:lnTo>
                    <a:lnTo>
                      <a:pt x="257" y="504"/>
                    </a:lnTo>
                    <a:lnTo>
                      <a:pt x="263" y="496"/>
                    </a:lnTo>
                    <a:lnTo>
                      <a:pt x="263" y="482"/>
                    </a:lnTo>
                    <a:lnTo>
                      <a:pt x="243" y="482"/>
                    </a:lnTo>
                    <a:lnTo>
                      <a:pt x="243" y="468"/>
                    </a:lnTo>
                    <a:lnTo>
                      <a:pt x="249" y="462"/>
                    </a:lnTo>
                    <a:lnTo>
                      <a:pt x="263" y="468"/>
                    </a:lnTo>
                    <a:lnTo>
                      <a:pt x="271" y="462"/>
                    </a:lnTo>
                    <a:lnTo>
                      <a:pt x="277" y="462"/>
                    </a:lnTo>
                    <a:lnTo>
                      <a:pt x="285" y="456"/>
                    </a:lnTo>
                    <a:lnTo>
                      <a:pt x="291" y="456"/>
                    </a:lnTo>
                    <a:lnTo>
                      <a:pt x="305" y="448"/>
                    </a:lnTo>
                    <a:lnTo>
                      <a:pt x="299" y="442"/>
                    </a:lnTo>
                    <a:lnTo>
                      <a:pt x="313" y="428"/>
                    </a:lnTo>
                    <a:lnTo>
                      <a:pt x="305" y="420"/>
                    </a:lnTo>
                    <a:lnTo>
                      <a:pt x="319" y="420"/>
                    </a:lnTo>
                    <a:lnTo>
                      <a:pt x="327" y="406"/>
                    </a:lnTo>
                    <a:lnTo>
                      <a:pt x="333" y="414"/>
                    </a:lnTo>
                    <a:lnTo>
                      <a:pt x="347" y="406"/>
                    </a:lnTo>
                    <a:lnTo>
                      <a:pt x="341" y="400"/>
                    </a:lnTo>
                    <a:lnTo>
                      <a:pt x="347" y="392"/>
                    </a:lnTo>
                    <a:lnTo>
                      <a:pt x="353" y="392"/>
                    </a:lnTo>
                    <a:lnTo>
                      <a:pt x="367" y="386"/>
                    </a:lnTo>
                    <a:lnTo>
                      <a:pt x="367" y="372"/>
                    </a:lnTo>
                    <a:lnTo>
                      <a:pt x="367" y="366"/>
                    </a:lnTo>
                    <a:lnTo>
                      <a:pt x="367" y="358"/>
                    </a:lnTo>
                    <a:lnTo>
                      <a:pt x="375" y="344"/>
                    </a:lnTo>
                    <a:lnTo>
                      <a:pt x="381" y="344"/>
                    </a:lnTo>
                    <a:lnTo>
                      <a:pt x="389" y="330"/>
                    </a:lnTo>
                    <a:lnTo>
                      <a:pt x="395" y="324"/>
                    </a:lnTo>
                    <a:lnTo>
                      <a:pt x="389" y="318"/>
                    </a:lnTo>
                    <a:lnTo>
                      <a:pt x="389" y="310"/>
                    </a:lnTo>
                    <a:lnTo>
                      <a:pt x="389" y="296"/>
                    </a:lnTo>
                    <a:lnTo>
                      <a:pt x="389" y="282"/>
                    </a:lnTo>
                    <a:lnTo>
                      <a:pt x="395" y="276"/>
                    </a:lnTo>
                    <a:lnTo>
                      <a:pt x="395" y="268"/>
                    </a:lnTo>
                    <a:lnTo>
                      <a:pt x="395" y="262"/>
                    </a:lnTo>
                    <a:lnTo>
                      <a:pt x="403" y="254"/>
                    </a:lnTo>
                    <a:lnTo>
                      <a:pt x="417" y="254"/>
                    </a:lnTo>
                    <a:lnTo>
                      <a:pt x="417" y="240"/>
                    </a:lnTo>
                    <a:lnTo>
                      <a:pt x="417" y="228"/>
                    </a:lnTo>
                    <a:lnTo>
                      <a:pt x="417" y="220"/>
                    </a:lnTo>
                    <a:lnTo>
                      <a:pt x="423" y="220"/>
                    </a:lnTo>
                    <a:lnTo>
                      <a:pt x="429" y="228"/>
                    </a:lnTo>
                    <a:lnTo>
                      <a:pt x="443" y="214"/>
                    </a:lnTo>
                    <a:lnTo>
                      <a:pt x="451" y="220"/>
                    </a:lnTo>
                    <a:lnTo>
                      <a:pt x="457" y="220"/>
                    </a:lnTo>
                    <a:lnTo>
                      <a:pt x="465" y="220"/>
                    </a:lnTo>
                    <a:lnTo>
                      <a:pt x="471" y="228"/>
                    </a:lnTo>
                    <a:lnTo>
                      <a:pt x="477" y="220"/>
                    </a:lnTo>
                    <a:lnTo>
                      <a:pt x="477" y="220"/>
                    </a:lnTo>
                    <a:lnTo>
                      <a:pt x="477" y="220"/>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8" name="Freeform 62"/>
              <p:cNvSpPr>
                <a:spLocks/>
              </p:cNvSpPr>
              <p:nvPr>
                <p:custDataLst>
                  <p:tags r:id="rId146"/>
                </p:custDataLst>
              </p:nvPr>
            </p:nvSpPr>
            <p:spPr bwMode="gray">
              <a:xfrm>
                <a:off x="5322514" y="932755"/>
                <a:ext cx="652608" cy="1190889"/>
              </a:xfrm>
              <a:custGeom>
                <a:avLst/>
                <a:gdLst>
                  <a:gd name="T0" fmla="*/ 222 w 411"/>
                  <a:gd name="T1" fmla="*/ 68 h 750"/>
                  <a:gd name="T2" fmla="*/ 228 w 411"/>
                  <a:gd name="T3" fmla="*/ 34 h 750"/>
                  <a:gd name="T4" fmla="*/ 186 w 411"/>
                  <a:gd name="T5" fmla="*/ 14 h 750"/>
                  <a:gd name="T6" fmla="*/ 166 w 411"/>
                  <a:gd name="T7" fmla="*/ 14 h 750"/>
                  <a:gd name="T8" fmla="*/ 138 w 411"/>
                  <a:gd name="T9" fmla="*/ 62 h 750"/>
                  <a:gd name="T10" fmla="*/ 130 w 411"/>
                  <a:gd name="T11" fmla="*/ 88 h 750"/>
                  <a:gd name="T12" fmla="*/ 104 w 411"/>
                  <a:gd name="T13" fmla="*/ 116 h 750"/>
                  <a:gd name="T14" fmla="*/ 62 w 411"/>
                  <a:gd name="T15" fmla="*/ 110 h 750"/>
                  <a:gd name="T16" fmla="*/ 34 w 411"/>
                  <a:gd name="T17" fmla="*/ 88 h 750"/>
                  <a:gd name="T18" fmla="*/ 6 w 411"/>
                  <a:gd name="T19" fmla="*/ 68 h 750"/>
                  <a:gd name="T20" fmla="*/ 26 w 411"/>
                  <a:gd name="T21" fmla="*/ 110 h 750"/>
                  <a:gd name="T22" fmla="*/ 48 w 411"/>
                  <a:gd name="T23" fmla="*/ 130 h 750"/>
                  <a:gd name="T24" fmla="*/ 82 w 411"/>
                  <a:gd name="T25" fmla="*/ 158 h 750"/>
                  <a:gd name="T26" fmla="*/ 90 w 411"/>
                  <a:gd name="T27" fmla="*/ 186 h 750"/>
                  <a:gd name="T28" fmla="*/ 96 w 411"/>
                  <a:gd name="T29" fmla="*/ 206 h 750"/>
                  <a:gd name="T30" fmla="*/ 104 w 411"/>
                  <a:gd name="T31" fmla="*/ 234 h 750"/>
                  <a:gd name="T32" fmla="*/ 104 w 411"/>
                  <a:gd name="T33" fmla="*/ 276 h 750"/>
                  <a:gd name="T34" fmla="*/ 116 w 411"/>
                  <a:gd name="T35" fmla="*/ 316 h 750"/>
                  <a:gd name="T36" fmla="*/ 144 w 411"/>
                  <a:gd name="T37" fmla="*/ 330 h 750"/>
                  <a:gd name="T38" fmla="*/ 152 w 411"/>
                  <a:gd name="T39" fmla="*/ 364 h 750"/>
                  <a:gd name="T40" fmla="*/ 152 w 411"/>
                  <a:gd name="T41" fmla="*/ 384 h 750"/>
                  <a:gd name="T42" fmla="*/ 124 w 411"/>
                  <a:gd name="T43" fmla="*/ 414 h 750"/>
                  <a:gd name="T44" fmla="*/ 96 w 411"/>
                  <a:gd name="T45" fmla="*/ 454 h 750"/>
                  <a:gd name="T46" fmla="*/ 82 w 411"/>
                  <a:gd name="T47" fmla="*/ 482 h 750"/>
                  <a:gd name="T48" fmla="*/ 68 w 411"/>
                  <a:gd name="T49" fmla="*/ 496 h 750"/>
                  <a:gd name="T50" fmla="*/ 40 w 411"/>
                  <a:gd name="T51" fmla="*/ 510 h 750"/>
                  <a:gd name="T52" fmla="*/ 26 w 411"/>
                  <a:gd name="T53" fmla="*/ 558 h 750"/>
                  <a:gd name="T54" fmla="*/ 26 w 411"/>
                  <a:gd name="T55" fmla="*/ 592 h 750"/>
                  <a:gd name="T56" fmla="*/ 40 w 411"/>
                  <a:gd name="T57" fmla="*/ 640 h 750"/>
                  <a:gd name="T58" fmla="*/ 26 w 411"/>
                  <a:gd name="T59" fmla="*/ 682 h 750"/>
                  <a:gd name="T60" fmla="*/ 82 w 411"/>
                  <a:gd name="T61" fmla="*/ 710 h 750"/>
                  <a:gd name="T62" fmla="*/ 104 w 411"/>
                  <a:gd name="T63" fmla="*/ 744 h 750"/>
                  <a:gd name="T64" fmla="*/ 144 w 411"/>
                  <a:gd name="T65" fmla="*/ 736 h 750"/>
                  <a:gd name="T66" fmla="*/ 172 w 411"/>
                  <a:gd name="T67" fmla="*/ 730 h 750"/>
                  <a:gd name="T68" fmla="*/ 222 w 411"/>
                  <a:gd name="T69" fmla="*/ 716 h 750"/>
                  <a:gd name="T70" fmla="*/ 236 w 411"/>
                  <a:gd name="T71" fmla="*/ 710 h 750"/>
                  <a:gd name="T72" fmla="*/ 270 w 411"/>
                  <a:gd name="T73" fmla="*/ 688 h 750"/>
                  <a:gd name="T74" fmla="*/ 312 w 411"/>
                  <a:gd name="T75" fmla="*/ 654 h 750"/>
                  <a:gd name="T76" fmla="*/ 338 w 411"/>
                  <a:gd name="T77" fmla="*/ 620 h 750"/>
                  <a:gd name="T78" fmla="*/ 361 w 411"/>
                  <a:gd name="T79" fmla="*/ 592 h 750"/>
                  <a:gd name="T80" fmla="*/ 367 w 411"/>
                  <a:gd name="T81" fmla="*/ 558 h 750"/>
                  <a:gd name="T82" fmla="*/ 389 w 411"/>
                  <a:gd name="T83" fmla="*/ 522 h 750"/>
                  <a:gd name="T84" fmla="*/ 395 w 411"/>
                  <a:gd name="T85" fmla="*/ 482 h 750"/>
                  <a:gd name="T86" fmla="*/ 338 w 411"/>
                  <a:gd name="T87" fmla="*/ 454 h 750"/>
                  <a:gd name="T88" fmla="*/ 338 w 411"/>
                  <a:gd name="T89" fmla="*/ 440 h 750"/>
                  <a:gd name="T90" fmla="*/ 338 w 411"/>
                  <a:gd name="T91" fmla="*/ 414 h 750"/>
                  <a:gd name="T92" fmla="*/ 326 w 411"/>
                  <a:gd name="T93" fmla="*/ 392 h 750"/>
                  <a:gd name="T94" fmla="*/ 318 w 411"/>
                  <a:gd name="T95" fmla="*/ 364 h 750"/>
                  <a:gd name="T96" fmla="*/ 304 w 411"/>
                  <a:gd name="T97" fmla="*/ 350 h 750"/>
                  <a:gd name="T98" fmla="*/ 304 w 411"/>
                  <a:gd name="T99" fmla="*/ 322 h 750"/>
                  <a:gd name="T100" fmla="*/ 304 w 411"/>
                  <a:gd name="T101" fmla="*/ 288 h 750"/>
                  <a:gd name="T102" fmla="*/ 270 w 411"/>
                  <a:gd name="T103" fmla="*/ 248 h 750"/>
                  <a:gd name="T104" fmla="*/ 256 w 411"/>
                  <a:gd name="T105" fmla="*/ 206 h 750"/>
                  <a:gd name="T106" fmla="*/ 262 w 411"/>
                  <a:gd name="T107" fmla="*/ 172 h 750"/>
                  <a:gd name="T108" fmla="*/ 236 w 411"/>
                  <a:gd name="T109" fmla="*/ 130 h 750"/>
                  <a:gd name="T110" fmla="*/ 214 w 411"/>
                  <a:gd name="T111" fmla="*/ 102 h 750"/>
                  <a:gd name="T112" fmla="*/ 228 w 411"/>
                  <a:gd name="T113" fmla="*/ 82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1" h="750">
                    <a:moveTo>
                      <a:pt x="228" y="82"/>
                    </a:moveTo>
                    <a:lnTo>
                      <a:pt x="222" y="82"/>
                    </a:lnTo>
                    <a:lnTo>
                      <a:pt x="222" y="74"/>
                    </a:lnTo>
                    <a:lnTo>
                      <a:pt x="222" y="68"/>
                    </a:lnTo>
                    <a:lnTo>
                      <a:pt x="222" y="62"/>
                    </a:lnTo>
                    <a:lnTo>
                      <a:pt x="222" y="48"/>
                    </a:lnTo>
                    <a:lnTo>
                      <a:pt x="228" y="40"/>
                    </a:lnTo>
                    <a:lnTo>
                      <a:pt x="228" y="34"/>
                    </a:lnTo>
                    <a:lnTo>
                      <a:pt x="222" y="26"/>
                    </a:lnTo>
                    <a:lnTo>
                      <a:pt x="214" y="20"/>
                    </a:lnTo>
                    <a:lnTo>
                      <a:pt x="206" y="20"/>
                    </a:lnTo>
                    <a:lnTo>
                      <a:pt x="186" y="14"/>
                    </a:lnTo>
                    <a:lnTo>
                      <a:pt x="194" y="0"/>
                    </a:lnTo>
                    <a:lnTo>
                      <a:pt x="186" y="0"/>
                    </a:lnTo>
                    <a:lnTo>
                      <a:pt x="180" y="6"/>
                    </a:lnTo>
                    <a:lnTo>
                      <a:pt x="166" y="14"/>
                    </a:lnTo>
                    <a:lnTo>
                      <a:pt x="152" y="14"/>
                    </a:lnTo>
                    <a:lnTo>
                      <a:pt x="144" y="20"/>
                    </a:lnTo>
                    <a:lnTo>
                      <a:pt x="144" y="48"/>
                    </a:lnTo>
                    <a:lnTo>
                      <a:pt x="138" y="62"/>
                    </a:lnTo>
                    <a:lnTo>
                      <a:pt x="138" y="68"/>
                    </a:lnTo>
                    <a:lnTo>
                      <a:pt x="138" y="74"/>
                    </a:lnTo>
                    <a:lnTo>
                      <a:pt x="138" y="82"/>
                    </a:lnTo>
                    <a:lnTo>
                      <a:pt x="130" y="88"/>
                    </a:lnTo>
                    <a:lnTo>
                      <a:pt x="124" y="102"/>
                    </a:lnTo>
                    <a:lnTo>
                      <a:pt x="124" y="110"/>
                    </a:lnTo>
                    <a:lnTo>
                      <a:pt x="116" y="110"/>
                    </a:lnTo>
                    <a:lnTo>
                      <a:pt x="104" y="116"/>
                    </a:lnTo>
                    <a:lnTo>
                      <a:pt x="96" y="102"/>
                    </a:lnTo>
                    <a:lnTo>
                      <a:pt x="90" y="102"/>
                    </a:lnTo>
                    <a:lnTo>
                      <a:pt x="82" y="110"/>
                    </a:lnTo>
                    <a:lnTo>
                      <a:pt x="62" y="110"/>
                    </a:lnTo>
                    <a:lnTo>
                      <a:pt x="54" y="102"/>
                    </a:lnTo>
                    <a:lnTo>
                      <a:pt x="48" y="102"/>
                    </a:lnTo>
                    <a:lnTo>
                      <a:pt x="40" y="102"/>
                    </a:lnTo>
                    <a:lnTo>
                      <a:pt x="34" y="88"/>
                    </a:lnTo>
                    <a:lnTo>
                      <a:pt x="34" y="82"/>
                    </a:lnTo>
                    <a:lnTo>
                      <a:pt x="20" y="74"/>
                    </a:lnTo>
                    <a:lnTo>
                      <a:pt x="14" y="68"/>
                    </a:lnTo>
                    <a:lnTo>
                      <a:pt x="6" y="68"/>
                    </a:lnTo>
                    <a:lnTo>
                      <a:pt x="0" y="82"/>
                    </a:lnTo>
                    <a:lnTo>
                      <a:pt x="0" y="96"/>
                    </a:lnTo>
                    <a:lnTo>
                      <a:pt x="14" y="102"/>
                    </a:lnTo>
                    <a:lnTo>
                      <a:pt x="26" y="110"/>
                    </a:lnTo>
                    <a:lnTo>
                      <a:pt x="26" y="124"/>
                    </a:lnTo>
                    <a:lnTo>
                      <a:pt x="34" y="124"/>
                    </a:lnTo>
                    <a:lnTo>
                      <a:pt x="40" y="130"/>
                    </a:lnTo>
                    <a:lnTo>
                      <a:pt x="48" y="130"/>
                    </a:lnTo>
                    <a:lnTo>
                      <a:pt x="62" y="138"/>
                    </a:lnTo>
                    <a:lnTo>
                      <a:pt x="76" y="144"/>
                    </a:lnTo>
                    <a:lnTo>
                      <a:pt x="82" y="144"/>
                    </a:lnTo>
                    <a:lnTo>
                      <a:pt x="82" y="158"/>
                    </a:lnTo>
                    <a:lnTo>
                      <a:pt x="90" y="164"/>
                    </a:lnTo>
                    <a:lnTo>
                      <a:pt x="90" y="172"/>
                    </a:lnTo>
                    <a:lnTo>
                      <a:pt x="90" y="178"/>
                    </a:lnTo>
                    <a:lnTo>
                      <a:pt x="90" y="186"/>
                    </a:lnTo>
                    <a:lnTo>
                      <a:pt x="90" y="192"/>
                    </a:lnTo>
                    <a:lnTo>
                      <a:pt x="82" y="198"/>
                    </a:lnTo>
                    <a:lnTo>
                      <a:pt x="96" y="198"/>
                    </a:lnTo>
                    <a:lnTo>
                      <a:pt x="96" y="206"/>
                    </a:lnTo>
                    <a:lnTo>
                      <a:pt x="96" y="212"/>
                    </a:lnTo>
                    <a:lnTo>
                      <a:pt x="96" y="220"/>
                    </a:lnTo>
                    <a:lnTo>
                      <a:pt x="104" y="226"/>
                    </a:lnTo>
                    <a:lnTo>
                      <a:pt x="104" y="234"/>
                    </a:lnTo>
                    <a:lnTo>
                      <a:pt x="110" y="240"/>
                    </a:lnTo>
                    <a:lnTo>
                      <a:pt x="104" y="248"/>
                    </a:lnTo>
                    <a:lnTo>
                      <a:pt x="104" y="262"/>
                    </a:lnTo>
                    <a:lnTo>
                      <a:pt x="104" y="276"/>
                    </a:lnTo>
                    <a:lnTo>
                      <a:pt x="104" y="282"/>
                    </a:lnTo>
                    <a:lnTo>
                      <a:pt x="110" y="296"/>
                    </a:lnTo>
                    <a:lnTo>
                      <a:pt x="116" y="302"/>
                    </a:lnTo>
                    <a:lnTo>
                      <a:pt x="116" y="316"/>
                    </a:lnTo>
                    <a:lnTo>
                      <a:pt x="124" y="316"/>
                    </a:lnTo>
                    <a:lnTo>
                      <a:pt x="130" y="322"/>
                    </a:lnTo>
                    <a:lnTo>
                      <a:pt x="144" y="322"/>
                    </a:lnTo>
                    <a:lnTo>
                      <a:pt x="144" y="330"/>
                    </a:lnTo>
                    <a:lnTo>
                      <a:pt x="152" y="336"/>
                    </a:lnTo>
                    <a:lnTo>
                      <a:pt x="152" y="344"/>
                    </a:lnTo>
                    <a:lnTo>
                      <a:pt x="152" y="350"/>
                    </a:lnTo>
                    <a:lnTo>
                      <a:pt x="152" y="364"/>
                    </a:lnTo>
                    <a:lnTo>
                      <a:pt x="152" y="372"/>
                    </a:lnTo>
                    <a:lnTo>
                      <a:pt x="158" y="378"/>
                    </a:lnTo>
                    <a:lnTo>
                      <a:pt x="158" y="384"/>
                    </a:lnTo>
                    <a:lnTo>
                      <a:pt x="152" y="384"/>
                    </a:lnTo>
                    <a:lnTo>
                      <a:pt x="144" y="384"/>
                    </a:lnTo>
                    <a:lnTo>
                      <a:pt x="138" y="384"/>
                    </a:lnTo>
                    <a:lnTo>
                      <a:pt x="138" y="392"/>
                    </a:lnTo>
                    <a:lnTo>
                      <a:pt x="124" y="414"/>
                    </a:lnTo>
                    <a:lnTo>
                      <a:pt x="124" y="420"/>
                    </a:lnTo>
                    <a:lnTo>
                      <a:pt x="116" y="434"/>
                    </a:lnTo>
                    <a:lnTo>
                      <a:pt x="110" y="440"/>
                    </a:lnTo>
                    <a:lnTo>
                      <a:pt x="96" y="454"/>
                    </a:lnTo>
                    <a:lnTo>
                      <a:pt x="96" y="462"/>
                    </a:lnTo>
                    <a:lnTo>
                      <a:pt x="96" y="468"/>
                    </a:lnTo>
                    <a:lnTo>
                      <a:pt x="82" y="474"/>
                    </a:lnTo>
                    <a:lnTo>
                      <a:pt x="82" y="482"/>
                    </a:lnTo>
                    <a:lnTo>
                      <a:pt x="82" y="474"/>
                    </a:lnTo>
                    <a:lnTo>
                      <a:pt x="76" y="482"/>
                    </a:lnTo>
                    <a:lnTo>
                      <a:pt x="68" y="488"/>
                    </a:lnTo>
                    <a:lnTo>
                      <a:pt x="68" y="496"/>
                    </a:lnTo>
                    <a:lnTo>
                      <a:pt x="68" y="510"/>
                    </a:lnTo>
                    <a:lnTo>
                      <a:pt x="54" y="516"/>
                    </a:lnTo>
                    <a:lnTo>
                      <a:pt x="48" y="510"/>
                    </a:lnTo>
                    <a:lnTo>
                      <a:pt x="40" y="510"/>
                    </a:lnTo>
                    <a:lnTo>
                      <a:pt x="40" y="522"/>
                    </a:lnTo>
                    <a:lnTo>
                      <a:pt x="26" y="536"/>
                    </a:lnTo>
                    <a:lnTo>
                      <a:pt x="26" y="550"/>
                    </a:lnTo>
                    <a:lnTo>
                      <a:pt x="26" y="558"/>
                    </a:lnTo>
                    <a:lnTo>
                      <a:pt x="34" y="564"/>
                    </a:lnTo>
                    <a:lnTo>
                      <a:pt x="34" y="578"/>
                    </a:lnTo>
                    <a:lnTo>
                      <a:pt x="26" y="586"/>
                    </a:lnTo>
                    <a:lnTo>
                      <a:pt x="26" y="592"/>
                    </a:lnTo>
                    <a:lnTo>
                      <a:pt x="40" y="598"/>
                    </a:lnTo>
                    <a:lnTo>
                      <a:pt x="40" y="606"/>
                    </a:lnTo>
                    <a:lnTo>
                      <a:pt x="40" y="620"/>
                    </a:lnTo>
                    <a:lnTo>
                      <a:pt x="40" y="640"/>
                    </a:lnTo>
                    <a:lnTo>
                      <a:pt x="40" y="654"/>
                    </a:lnTo>
                    <a:lnTo>
                      <a:pt x="26" y="660"/>
                    </a:lnTo>
                    <a:lnTo>
                      <a:pt x="26" y="674"/>
                    </a:lnTo>
                    <a:lnTo>
                      <a:pt x="26" y="682"/>
                    </a:lnTo>
                    <a:lnTo>
                      <a:pt x="40" y="702"/>
                    </a:lnTo>
                    <a:lnTo>
                      <a:pt x="62" y="702"/>
                    </a:lnTo>
                    <a:lnTo>
                      <a:pt x="68" y="710"/>
                    </a:lnTo>
                    <a:lnTo>
                      <a:pt x="82" y="710"/>
                    </a:lnTo>
                    <a:lnTo>
                      <a:pt x="90" y="710"/>
                    </a:lnTo>
                    <a:lnTo>
                      <a:pt x="96" y="724"/>
                    </a:lnTo>
                    <a:lnTo>
                      <a:pt x="96" y="736"/>
                    </a:lnTo>
                    <a:lnTo>
                      <a:pt x="104" y="744"/>
                    </a:lnTo>
                    <a:lnTo>
                      <a:pt x="110" y="750"/>
                    </a:lnTo>
                    <a:lnTo>
                      <a:pt x="130" y="750"/>
                    </a:lnTo>
                    <a:lnTo>
                      <a:pt x="138" y="750"/>
                    </a:lnTo>
                    <a:lnTo>
                      <a:pt x="144" y="736"/>
                    </a:lnTo>
                    <a:lnTo>
                      <a:pt x="152" y="730"/>
                    </a:lnTo>
                    <a:lnTo>
                      <a:pt x="158" y="744"/>
                    </a:lnTo>
                    <a:lnTo>
                      <a:pt x="166" y="736"/>
                    </a:lnTo>
                    <a:lnTo>
                      <a:pt x="172" y="730"/>
                    </a:lnTo>
                    <a:lnTo>
                      <a:pt x="186" y="724"/>
                    </a:lnTo>
                    <a:lnTo>
                      <a:pt x="206" y="716"/>
                    </a:lnTo>
                    <a:lnTo>
                      <a:pt x="214" y="716"/>
                    </a:lnTo>
                    <a:lnTo>
                      <a:pt x="222" y="716"/>
                    </a:lnTo>
                    <a:lnTo>
                      <a:pt x="222" y="710"/>
                    </a:lnTo>
                    <a:lnTo>
                      <a:pt x="222" y="702"/>
                    </a:lnTo>
                    <a:lnTo>
                      <a:pt x="228" y="696"/>
                    </a:lnTo>
                    <a:lnTo>
                      <a:pt x="236" y="710"/>
                    </a:lnTo>
                    <a:lnTo>
                      <a:pt x="242" y="702"/>
                    </a:lnTo>
                    <a:lnTo>
                      <a:pt x="256" y="696"/>
                    </a:lnTo>
                    <a:lnTo>
                      <a:pt x="262" y="682"/>
                    </a:lnTo>
                    <a:lnTo>
                      <a:pt x="270" y="688"/>
                    </a:lnTo>
                    <a:lnTo>
                      <a:pt x="284" y="688"/>
                    </a:lnTo>
                    <a:lnTo>
                      <a:pt x="290" y="688"/>
                    </a:lnTo>
                    <a:lnTo>
                      <a:pt x="298" y="682"/>
                    </a:lnTo>
                    <a:lnTo>
                      <a:pt x="312" y="654"/>
                    </a:lnTo>
                    <a:lnTo>
                      <a:pt x="318" y="648"/>
                    </a:lnTo>
                    <a:lnTo>
                      <a:pt x="326" y="634"/>
                    </a:lnTo>
                    <a:lnTo>
                      <a:pt x="332" y="626"/>
                    </a:lnTo>
                    <a:lnTo>
                      <a:pt x="338" y="620"/>
                    </a:lnTo>
                    <a:lnTo>
                      <a:pt x="346" y="606"/>
                    </a:lnTo>
                    <a:lnTo>
                      <a:pt x="353" y="586"/>
                    </a:lnTo>
                    <a:lnTo>
                      <a:pt x="353" y="592"/>
                    </a:lnTo>
                    <a:lnTo>
                      <a:pt x="361" y="592"/>
                    </a:lnTo>
                    <a:lnTo>
                      <a:pt x="367" y="586"/>
                    </a:lnTo>
                    <a:lnTo>
                      <a:pt x="361" y="578"/>
                    </a:lnTo>
                    <a:lnTo>
                      <a:pt x="367" y="572"/>
                    </a:lnTo>
                    <a:lnTo>
                      <a:pt x="367" y="558"/>
                    </a:lnTo>
                    <a:lnTo>
                      <a:pt x="375" y="550"/>
                    </a:lnTo>
                    <a:lnTo>
                      <a:pt x="381" y="544"/>
                    </a:lnTo>
                    <a:lnTo>
                      <a:pt x="381" y="536"/>
                    </a:lnTo>
                    <a:lnTo>
                      <a:pt x="389" y="522"/>
                    </a:lnTo>
                    <a:lnTo>
                      <a:pt x="403" y="516"/>
                    </a:lnTo>
                    <a:lnTo>
                      <a:pt x="411" y="502"/>
                    </a:lnTo>
                    <a:lnTo>
                      <a:pt x="403" y="488"/>
                    </a:lnTo>
                    <a:lnTo>
                      <a:pt x="395" y="482"/>
                    </a:lnTo>
                    <a:lnTo>
                      <a:pt x="375" y="474"/>
                    </a:lnTo>
                    <a:lnTo>
                      <a:pt x="353" y="468"/>
                    </a:lnTo>
                    <a:lnTo>
                      <a:pt x="346" y="462"/>
                    </a:lnTo>
                    <a:lnTo>
                      <a:pt x="338" y="454"/>
                    </a:lnTo>
                    <a:lnTo>
                      <a:pt x="332" y="454"/>
                    </a:lnTo>
                    <a:lnTo>
                      <a:pt x="326" y="440"/>
                    </a:lnTo>
                    <a:lnTo>
                      <a:pt x="332" y="440"/>
                    </a:lnTo>
                    <a:lnTo>
                      <a:pt x="338" y="440"/>
                    </a:lnTo>
                    <a:lnTo>
                      <a:pt x="346" y="434"/>
                    </a:lnTo>
                    <a:lnTo>
                      <a:pt x="346" y="426"/>
                    </a:lnTo>
                    <a:lnTo>
                      <a:pt x="346" y="420"/>
                    </a:lnTo>
                    <a:lnTo>
                      <a:pt x="338" y="414"/>
                    </a:lnTo>
                    <a:lnTo>
                      <a:pt x="338" y="406"/>
                    </a:lnTo>
                    <a:lnTo>
                      <a:pt x="326" y="406"/>
                    </a:lnTo>
                    <a:lnTo>
                      <a:pt x="326" y="398"/>
                    </a:lnTo>
                    <a:lnTo>
                      <a:pt x="326" y="392"/>
                    </a:lnTo>
                    <a:lnTo>
                      <a:pt x="312" y="384"/>
                    </a:lnTo>
                    <a:lnTo>
                      <a:pt x="326" y="378"/>
                    </a:lnTo>
                    <a:lnTo>
                      <a:pt x="318" y="372"/>
                    </a:lnTo>
                    <a:lnTo>
                      <a:pt x="318" y="364"/>
                    </a:lnTo>
                    <a:lnTo>
                      <a:pt x="312" y="372"/>
                    </a:lnTo>
                    <a:lnTo>
                      <a:pt x="304" y="364"/>
                    </a:lnTo>
                    <a:lnTo>
                      <a:pt x="304" y="358"/>
                    </a:lnTo>
                    <a:lnTo>
                      <a:pt x="304" y="350"/>
                    </a:lnTo>
                    <a:lnTo>
                      <a:pt x="304" y="344"/>
                    </a:lnTo>
                    <a:lnTo>
                      <a:pt x="298" y="336"/>
                    </a:lnTo>
                    <a:lnTo>
                      <a:pt x="298" y="330"/>
                    </a:lnTo>
                    <a:lnTo>
                      <a:pt x="304" y="322"/>
                    </a:lnTo>
                    <a:lnTo>
                      <a:pt x="298" y="310"/>
                    </a:lnTo>
                    <a:lnTo>
                      <a:pt x="304" y="302"/>
                    </a:lnTo>
                    <a:lnTo>
                      <a:pt x="304" y="296"/>
                    </a:lnTo>
                    <a:lnTo>
                      <a:pt x="304" y="288"/>
                    </a:lnTo>
                    <a:lnTo>
                      <a:pt x="298" y="276"/>
                    </a:lnTo>
                    <a:lnTo>
                      <a:pt x="290" y="262"/>
                    </a:lnTo>
                    <a:lnTo>
                      <a:pt x="284" y="254"/>
                    </a:lnTo>
                    <a:lnTo>
                      <a:pt x="270" y="248"/>
                    </a:lnTo>
                    <a:lnTo>
                      <a:pt x="270" y="240"/>
                    </a:lnTo>
                    <a:lnTo>
                      <a:pt x="262" y="234"/>
                    </a:lnTo>
                    <a:lnTo>
                      <a:pt x="256" y="220"/>
                    </a:lnTo>
                    <a:lnTo>
                      <a:pt x="256" y="206"/>
                    </a:lnTo>
                    <a:lnTo>
                      <a:pt x="256" y="198"/>
                    </a:lnTo>
                    <a:lnTo>
                      <a:pt x="256" y="186"/>
                    </a:lnTo>
                    <a:lnTo>
                      <a:pt x="262" y="178"/>
                    </a:lnTo>
                    <a:lnTo>
                      <a:pt x="262" y="172"/>
                    </a:lnTo>
                    <a:lnTo>
                      <a:pt x="262" y="158"/>
                    </a:lnTo>
                    <a:lnTo>
                      <a:pt x="248" y="144"/>
                    </a:lnTo>
                    <a:lnTo>
                      <a:pt x="236" y="138"/>
                    </a:lnTo>
                    <a:lnTo>
                      <a:pt x="236" y="130"/>
                    </a:lnTo>
                    <a:lnTo>
                      <a:pt x="228" y="124"/>
                    </a:lnTo>
                    <a:lnTo>
                      <a:pt x="222" y="116"/>
                    </a:lnTo>
                    <a:lnTo>
                      <a:pt x="214" y="110"/>
                    </a:lnTo>
                    <a:lnTo>
                      <a:pt x="214" y="102"/>
                    </a:lnTo>
                    <a:lnTo>
                      <a:pt x="222" y="96"/>
                    </a:lnTo>
                    <a:lnTo>
                      <a:pt x="222" y="88"/>
                    </a:lnTo>
                    <a:lnTo>
                      <a:pt x="228" y="82"/>
                    </a:lnTo>
                    <a:lnTo>
                      <a:pt x="228" y="82"/>
                    </a:lnTo>
                    <a:lnTo>
                      <a:pt x="228" y="82"/>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9" name="Freeform 63"/>
              <p:cNvSpPr>
                <a:spLocks/>
              </p:cNvSpPr>
              <p:nvPr>
                <p:custDataLst>
                  <p:tags r:id="rId147"/>
                </p:custDataLst>
              </p:nvPr>
            </p:nvSpPr>
            <p:spPr bwMode="gray">
              <a:xfrm>
                <a:off x="5494002" y="3952851"/>
                <a:ext cx="573215" cy="358855"/>
              </a:xfrm>
              <a:custGeom>
                <a:avLst/>
                <a:gdLst>
                  <a:gd name="T0" fmla="*/ 56 w 361"/>
                  <a:gd name="T1" fmla="*/ 220 h 226"/>
                  <a:gd name="T2" fmla="*/ 84 w 361"/>
                  <a:gd name="T3" fmla="*/ 220 h 226"/>
                  <a:gd name="T4" fmla="*/ 104 w 361"/>
                  <a:gd name="T5" fmla="*/ 226 h 226"/>
                  <a:gd name="T6" fmla="*/ 118 w 361"/>
                  <a:gd name="T7" fmla="*/ 212 h 226"/>
                  <a:gd name="T8" fmla="*/ 132 w 361"/>
                  <a:gd name="T9" fmla="*/ 206 h 226"/>
                  <a:gd name="T10" fmla="*/ 140 w 361"/>
                  <a:gd name="T11" fmla="*/ 206 h 226"/>
                  <a:gd name="T12" fmla="*/ 152 w 361"/>
                  <a:gd name="T13" fmla="*/ 212 h 226"/>
                  <a:gd name="T14" fmla="*/ 160 w 361"/>
                  <a:gd name="T15" fmla="*/ 220 h 226"/>
                  <a:gd name="T16" fmla="*/ 180 w 361"/>
                  <a:gd name="T17" fmla="*/ 212 h 226"/>
                  <a:gd name="T18" fmla="*/ 202 w 361"/>
                  <a:gd name="T19" fmla="*/ 212 h 226"/>
                  <a:gd name="T20" fmla="*/ 222 w 361"/>
                  <a:gd name="T21" fmla="*/ 206 h 226"/>
                  <a:gd name="T22" fmla="*/ 243 w 361"/>
                  <a:gd name="T23" fmla="*/ 200 h 226"/>
                  <a:gd name="T24" fmla="*/ 236 w 361"/>
                  <a:gd name="T25" fmla="*/ 186 h 226"/>
                  <a:gd name="T26" fmla="*/ 251 w 361"/>
                  <a:gd name="T27" fmla="*/ 186 h 226"/>
                  <a:gd name="T28" fmla="*/ 259 w 361"/>
                  <a:gd name="T29" fmla="*/ 178 h 226"/>
                  <a:gd name="T30" fmla="*/ 269 w 361"/>
                  <a:gd name="T31" fmla="*/ 166 h 226"/>
                  <a:gd name="T32" fmla="*/ 279 w 361"/>
                  <a:gd name="T33" fmla="*/ 158 h 226"/>
                  <a:gd name="T34" fmla="*/ 293 w 361"/>
                  <a:gd name="T35" fmla="*/ 158 h 226"/>
                  <a:gd name="T36" fmla="*/ 299 w 361"/>
                  <a:gd name="T37" fmla="*/ 164 h 226"/>
                  <a:gd name="T38" fmla="*/ 319 w 361"/>
                  <a:gd name="T39" fmla="*/ 164 h 226"/>
                  <a:gd name="T40" fmla="*/ 341 w 361"/>
                  <a:gd name="T41" fmla="*/ 158 h 226"/>
                  <a:gd name="T42" fmla="*/ 333 w 361"/>
                  <a:gd name="T43" fmla="*/ 144 h 226"/>
                  <a:gd name="T44" fmla="*/ 327 w 361"/>
                  <a:gd name="T45" fmla="*/ 130 h 226"/>
                  <a:gd name="T46" fmla="*/ 305 w 361"/>
                  <a:gd name="T47" fmla="*/ 138 h 226"/>
                  <a:gd name="T48" fmla="*/ 305 w 361"/>
                  <a:gd name="T49" fmla="*/ 116 h 226"/>
                  <a:gd name="T50" fmla="*/ 319 w 361"/>
                  <a:gd name="T51" fmla="*/ 110 h 226"/>
                  <a:gd name="T52" fmla="*/ 327 w 361"/>
                  <a:gd name="T53" fmla="*/ 96 h 226"/>
                  <a:gd name="T54" fmla="*/ 319 w 361"/>
                  <a:gd name="T55" fmla="*/ 76 h 226"/>
                  <a:gd name="T56" fmla="*/ 327 w 361"/>
                  <a:gd name="T57" fmla="*/ 62 h 226"/>
                  <a:gd name="T58" fmla="*/ 341 w 361"/>
                  <a:gd name="T59" fmla="*/ 48 h 226"/>
                  <a:gd name="T60" fmla="*/ 361 w 361"/>
                  <a:gd name="T61" fmla="*/ 42 h 226"/>
                  <a:gd name="T62" fmla="*/ 353 w 361"/>
                  <a:gd name="T63" fmla="*/ 20 h 226"/>
                  <a:gd name="T64" fmla="*/ 319 w 361"/>
                  <a:gd name="T65" fmla="*/ 8 h 226"/>
                  <a:gd name="T66" fmla="*/ 307 w 361"/>
                  <a:gd name="T67" fmla="*/ 8 h 226"/>
                  <a:gd name="T68" fmla="*/ 285 w 361"/>
                  <a:gd name="T69" fmla="*/ 6 h 226"/>
                  <a:gd name="T70" fmla="*/ 265 w 361"/>
                  <a:gd name="T71" fmla="*/ 6 h 226"/>
                  <a:gd name="T72" fmla="*/ 228 w 361"/>
                  <a:gd name="T73" fmla="*/ 6 h 226"/>
                  <a:gd name="T74" fmla="*/ 208 w 361"/>
                  <a:gd name="T75" fmla="*/ 28 h 226"/>
                  <a:gd name="T76" fmla="*/ 180 w 361"/>
                  <a:gd name="T77" fmla="*/ 48 h 226"/>
                  <a:gd name="T78" fmla="*/ 160 w 361"/>
                  <a:gd name="T79" fmla="*/ 54 h 226"/>
                  <a:gd name="T80" fmla="*/ 140 w 361"/>
                  <a:gd name="T81" fmla="*/ 48 h 226"/>
                  <a:gd name="T82" fmla="*/ 118 w 361"/>
                  <a:gd name="T83" fmla="*/ 48 h 226"/>
                  <a:gd name="T84" fmla="*/ 90 w 361"/>
                  <a:gd name="T85" fmla="*/ 48 h 226"/>
                  <a:gd name="T86" fmla="*/ 70 w 361"/>
                  <a:gd name="T87" fmla="*/ 42 h 226"/>
                  <a:gd name="T88" fmla="*/ 42 w 361"/>
                  <a:gd name="T89" fmla="*/ 42 h 226"/>
                  <a:gd name="T90" fmla="*/ 36 w 361"/>
                  <a:gd name="T91" fmla="*/ 28 h 226"/>
                  <a:gd name="T92" fmla="*/ 22 w 361"/>
                  <a:gd name="T93" fmla="*/ 14 h 226"/>
                  <a:gd name="T94" fmla="*/ 14 w 361"/>
                  <a:gd name="T95" fmla="*/ 28 h 226"/>
                  <a:gd name="T96" fmla="*/ 0 w 361"/>
                  <a:gd name="T97" fmla="*/ 34 h 226"/>
                  <a:gd name="T98" fmla="*/ 8 w 361"/>
                  <a:gd name="T99" fmla="*/ 62 h 226"/>
                  <a:gd name="T100" fmla="*/ 14 w 361"/>
                  <a:gd name="T101" fmla="*/ 76 h 226"/>
                  <a:gd name="T102" fmla="*/ 28 w 361"/>
                  <a:gd name="T103" fmla="*/ 76 h 226"/>
                  <a:gd name="T104" fmla="*/ 28 w 361"/>
                  <a:gd name="T105" fmla="*/ 90 h 226"/>
                  <a:gd name="T106" fmla="*/ 14 w 361"/>
                  <a:gd name="T107" fmla="*/ 102 h 226"/>
                  <a:gd name="T108" fmla="*/ 14 w 361"/>
                  <a:gd name="T109" fmla="*/ 124 h 226"/>
                  <a:gd name="T110" fmla="*/ 8 w 361"/>
                  <a:gd name="T111" fmla="*/ 138 h 226"/>
                  <a:gd name="T112" fmla="*/ 8 w 361"/>
                  <a:gd name="T113" fmla="*/ 158 h 226"/>
                  <a:gd name="T114" fmla="*/ 28 w 361"/>
                  <a:gd name="T115" fmla="*/ 172 h 226"/>
                  <a:gd name="T116" fmla="*/ 42 w 361"/>
                  <a:gd name="T117" fmla="*/ 186 h 226"/>
                  <a:gd name="T118" fmla="*/ 48 w 361"/>
                  <a:gd name="T119" fmla="*/ 200 h 226"/>
                  <a:gd name="T120" fmla="*/ 42 w 361"/>
                  <a:gd name="T121" fmla="*/ 212 h 226"/>
                  <a:gd name="T122" fmla="*/ 42 w 361"/>
                  <a:gd name="T123" fmla="*/ 22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1" h="226">
                    <a:moveTo>
                      <a:pt x="42" y="220"/>
                    </a:moveTo>
                    <a:lnTo>
                      <a:pt x="56" y="220"/>
                    </a:lnTo>
                    <a:lnTo>
                      <a:pt x="70" y="220"/>
                    </a:lnTo>
                    <a:lnTo>
                      <a:pt x="84" y="220"/>
                    </a:lnTo>
                    <a:lnTo>
                      <a:pt x="98" y="220"/>
                    </a:lnTo>
                    <a:lnTo>
                      <a:pt x="104" y="226"/>
                    </a:lnTo>
                    <a:lnTo>
                      <a:pt x="118" y="220"/>
                    </a:lnTo>
                    <a:lnTo>
                      <a:pt x="118" y="212"/>
                    </a:lnTo>
                    <a:lnTo>
                      <a:pt x="124" y="212"/>
                    </a:lnTo>
                    <a:lnTo>
                      <a:pt x="132" y="206"/>
                    </a:lnTo>
                    <a:lnTo>
                      <a:pt x="140" y="212"/>
                    </a:lnTo>
                    <a:lnTo>
                      <a:pt x="140" y="206"/>
                    </a:lnTo>
                    <a:lnTo>
                      <a:pt x="146" y="206"/>
                    </a:lnTo>
                    <a:lnTo>
                      <a:pt x="152" y="212"/>
                    </a:lnTo>
                    <a:lnTo>
                      <a:pt x="160" y="212"/>
                    </a:lnTo>
                    <a:lnTo>
                      <a:pt x="160" y="220"/>
                    </a:lnTo>
                    <a:lnTo>
                      <a:pt x="174" y="212"/>
                    </a:lnTo>
                    <a:lnTo>
                      <a:pt x="180" y="212"/>
                    </a:lnTo>
                    <a:lnTo>
                      <a:pt x="186" y="212"/>
                    </a:lnTo>
                    <a:lnTo>
                      <a:pt x="202" y="212"/>
                    </a:lnTo>
                    <a:lnTo>
                      <a:pt x="208" y="206"/>
                    </a:lnTo>
                    <a:lnTo>
                      <a:pt x="222" y="206"/>
                    </a:lnTo>
                    <a:lnTo>
                      <a:pt x="236" y="206"/>
                    </a:lnTo>
                    <a:lnTo>
                      <a:pt x="243" y="200"/>
                    </a:lnTo>
                    <a:lnTo>
                      <a:pt x="236" y="192"/>
                    </a:lnTo>
                    <a:lnTo>
                      <a:pt x="236" y="186"/>
                    </a:lnTo>
                    <a:lnTo>
                      <a:pt x="243" y="186"/>
                    </a:lnTo>
                    <a:lnTo>
                      <a:pt x="251" y="186"/>
                    </a:lnTo>
                    <a:lnTo>
                      <a:pt x="251" y="178"/>
                    </a:lnTo>
                    <a:lnTo>
                      <a:pt x="259" y="178"/>
                    </a:lnTo>
                    <a:lnTo>
                      <a:pt x="261" y="166"/>
                    </a:lnTo>
                    <a:lnTo>
                      <a:pt x="269" y="166"/>
                    </a:lnTo>
                    <a:lnTo>
                      <a:pt x="271" y="164"/>
                    </a:lnTo>
                    <a:lnTo>
                      <a:pt x="279" y="158"/>
                    </a:lnTo>
                    <a:lnTo>
                      <a:pt x="285" y="158"/>
                    </a:lnTo>
                    <a:lnTo>
                      <a:pt x="293" y="158"/>
                    </a:lnTo>
                    <a:lnTo>
                      <a:pt x="299" y="158"/>
                    </a:lnTo>
                    <a:lnTo>
                      <a:pt x="299" y="164"/>
                    </a:lnTo>
                    <a:lnTo>
                      <a:pt x="305" y="164"/>
                    </a:lnTo>
                    <a:lnTo>
                      <a:pt x="319" y="164"/>
                    </a:lnTo>
                    <a:lnTo>
                      <a:pt x="341" y="164"/>
                    </a:lnTo>
                    <a:lnTo>
                      <a:pt x="341" y="158"/>
                    </a:lnTo>
                    <a:lnTo>
                      <a:pt x="341" y="144"/>
                    </a:lnTo>
                    <a:lnTo>
                      <a:pt x="333" y="144"/>
                    </a:lnTo>
                    <a:lnTo>
                      <a:pt x="327" y="138"/>
                    </a:lnTo>
                    <a:lnTo>
                      <a:pt x="327" y="130"/>
                    </a:lnTo>
                    <a:lnTo>
                      <a:pt x="313" y="130"/>
                    </a:lnTo>
                    <a:lnTo>
                      <a:pt x="305" y="138"/>
                    </a:lnTo>
                    <a:lnTo>
                      <a:pt x="305" y="124"/>
                    </a:lnTo>
                    <a:lnTo>
                      <a:pt x="305" y="116"/>
                    </a:lnTo>
                    <a:lnTo>
                      <a:pt x="313" y="110"/>
                    </a:lnTo>
                    <a:lnTo>
                      <a:pt x="319" y="110"/>
                    </a:lnTo>
                    <a:lnTo>
                      <a:pt x="319" y="102"/>
                    </a:lnTo>
                    <a:lnTo>
                      <a:pt x="327" y="96"/>
                    </a:lnTo>
                    <a:lnTo>
                      <a:pt x="319" y="90"/>
                    </a:lnTo>
                    <a:lnTo>
                      <a:pt x="319" y="76"/>
                    </a:lnTo>
                    <a:lnTo>
                      <a:pt x="327" y="76"/>
                    </a:lnTo>
                    <a:lnTo>
                      <a:pt x="327" y="62"/>
                    </a:lnTo>
                    <a:lnTo>
                      <a:pt x="327" y="48"/>
                    </a:lnTo>
                    <a:lnTo>
                      <a:pt x="341" y="48"/>
                    </a:lnTo>
                    <a:lnTo>
                      <a:pt x="355" y="48"/>
                    </a:lnTo>
                    <a:lnTo>
                      <a:pt x="361" y="42"/>
                    </a:lnTo>
                    <a:lnTo>
                      <a:pt x="353" y="24"/>
                    </a:lnTo>
                    <a:lnTo>
                      <a:pt x="353" y="20"/>
                    </a:lnTo>
                    <a:lnTo>
                      <a:pt x="327" y="10"/>
                    </a:lnTo>
                    <a:lnTo>
                      <a:pt x="319" y="8"/>
                    </a:lnTo>
                    <a:lnTo>
                      <a:pt x="313" y="8"/>
                    </a:lnTo>
                    <a:lnTo>
                      <a:pt x="307" y="8"/>
                    </a:lnTo>
                    <a:lnTo>
                      <a:pt x="291" y="10"/>
                    </a:lnTo>
                    <a:lnTo>
                      <a:pt x="285" y="6"/>
                    </a:lnTo>
                    <a:lnTo>
                      <a:pt x="271" y="6"/>
                    </a:lnTo>
                    <a:lnTo>
                      <a:pt x="265" y="6"/>
                    </a:lnTo>
                    <a:lnTo>
                      <a:pt x="257" y="0"/>
                    </a:lnTo>
                    <a:lnTo>
                      <a:pt x="228" y="6"/>
                    </a:lnTo>
                    <a:lnTo>
                      <a:pt x="222" y="14"/>
                    </a:lnTo>
                    <a:lnTo>
                      <a:pt x="208" y="28"/>
                    </a:lnTo>
                    <a:lnTo>
                      <a:pt x="194" y="42"/>
                    </a:lnTo>
                    <a:lnTo>
                      <a:pt x="180" y="48"/>
                    </a:lnTo>
                    <a:lnTo>
                      <a:pt x="174" y="54"/>
                    </a:lnTo>
                    <a:lnTo>
                      <a:pt x="160" y="54"/>
                    </a:lnTo>
                    <a:lnTo>
                      <a:pt x="146" y="48"/>
                    </a:lnTo>
                    <a:lnTo>
                      <a:pt x="140" y="48"/>
                    </a:lnTo>
                    <a:lnTo>
                      <a:pt x="124" y="48"/>
                    </a:lnTo>
                    <a:lnTo>
                      <a:pt x="118" y="48"/>
                    </a:lnTo>
                    <a:lnTo>
                      <a:pt x="104" y="48"/>
                    </a:lnTo>
                    <a:lnTo>
                      <a:pt x="90" y="48"/>
                    </a:lnTo>
                    <a:lnTo>
                      <a:pt x="84" y="42"/>
                    </a:lnTo>
                    <a:lnTo>
                      <a:pt x="70" y="42"/>
                    </a:lnTo>
                    <a:lnTo>
                      <a:pt x="56" y="42"/>
                    </a:lnTo>
                    <a:lnTo>
                      <a:pt x="42" y="42"/>
                    </a:lnTo>
                    <a:lnTo>
                      <a:pt x="36" y="34"/>
                    </a:lnTo>
                    <a:lnTo>
                      <a:pt x="36" y="28"/>
                    </a:lnTo>
                    <a:lnTo>
                      <a:pt x="36" y="14"/>
                    </a:lnTo>
                    <a:lnTo>
                      <a:pt x="22" y="14"/>
                    </a:lnTo>
                    <a:lnTo>
                      <a:pt x="28" y="14"/>
                    </a:lnTo>
                    <a:lnTo>
                      <a:pt x="14" y="28"/>
                    </a:lnTo>
                    <a:lnTo>
                      <a:pt x="8" y="34"/>
                    </a:lnTo>
                    <a:lnTo>
                      <a:pt x="0" y="34"/>
                    </a:lnTo>
                    <a:lnTo>
                      <a:pt x="8" y="48"/>
                    </a:lnTo>
                    <a:lnTo>
                      <a:pt x="8" y="62"/>
                    </a:lnTo>
                    <a:lnTo>
                      <a:pt x="14" y="68"/>
                    </a:lnTo>
                    <a:lnTo>
                      <a:pt x="14" y="76"/>
                    </a:lnTo>
                    <a:lnTo>
                      <a:pt x="22" y="76"/>
                    </a:lnTo>
                    <a:lnTo>
                      <a:pt x="28" y="76"/>
                    </a:lnTo>
                    <a:lnTo>
                      <a:pt x="36" y="82"/>
                    </a:lnTo>
                    <a:lnTo>
                      <a:pt x="28" y="90"/>
                    </a:lnTo>
                    <a:lnTo>
                      <a:pt x="28" y="96"/>
                    </a:lnTo>
                    <a:lnTo>
                      <a:pt x="14" y="102"/>
                    </a:lnTo>
                    <a:lnTo>
                      <a:pt x="14" y="110"/>
                    </a:lnTo>
                    <a:lnTo>
                      <a:pt x="14" y="124"/>
                    </a:lnTo>
                    <a:lnTo>
                      <a:pt x="8" y="124"/>
                    </a:lnTo>
                    <a:lnTo>
                      <a:pt x="8" y="138"/>
                    </a:lnTo>
                    <a:lnTo>
                      <a:pt x="8" y="144"/>
                    </a:lnTo>
                    <a:lnTo>
                      <a:pt x="8" y="158"/>
                    </a:lnTo>
                    <a:lnTo>
                      <a:pt x="22" y="164"/>
                    </a:lnTo>
                    <a:lnTo>
                      <a:pt x="28" y="172"/>
                    </a:lnTo>
                    <a:lnTo>
                      <a:pt x="36" y="178"/>
                    </a:lnTo>
                    <a:lnTo>
                      <a:pt x="42" y="186"/>
                    </a:lnTo>
                    <a:lnTo>
                      <a:pt x="48" y="192"/>
                    </a:lnTo>
                    <a:lnTo>
                      <a:pt x="48" y="200"/>
                    </a:lnTo>
                    <a:lnTo>
                      <a:pt x="48" y="206"/>
                    </a:lnTo>
                    <a:lnTo>
                      <a:pt x="42" y="212"/>
                    </a:lnTo>
                    <a:lnTo>
                      <a:pt x="42" y="220"/>
                    </a:lnTo>
                    <a:lnTo>
                      <a:pt x="42" y="220"/>
                    </a:lnTo>
                    <a:lnTo>
                      <a:pt x="42" y="220"/>
                    </a:lnTo>
                    <a:close/>
                  </a:path>
                </a:pathLst>
              </a:custGeom>
              <a:solidFill>
                <a:srgbClr val="73C37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0" name="Freeform 64"/>
              <p:cNvSpPr>
                <a:spLocks/>
              </p:cNvSpPr>
              <p:nvPr>
                <p:custDataLst>
                  <p:tags r:id="rId148"/>
                </p:custDataLst>
              </p:nvPr>
            </p:nvSpPr>
            <p:spPr bwMode="gray">
              <a:xfrm>
                <a:off x="5347919" y="3454265"/>
                <a:ext cx="792339" cy="590681"/>
              </a:xfrm>
              <a:custGeom>
                <a:avLst/>
                <a:gdLst>
                  <a:gd name="T0" fmla="*/ 110 w 499"/>
                  <a:gd name="T1" fmla="*/ 312 h 372"/>
                  <a:gd name="T2" fmla="*/ 110 w 499"/>
                  <a:gd name="T3" fmla="*/ 292 h 372"/>
                  <a:gd name="T4" fmla="*/ 76 w 499"/>
                  <a:gd name="T5" fmla="*/ 300 h 372"/>
                  <a:gd name="T6" fmla="*/ 48 w 499"/>
                  <a:gd name="T7" fmla="*/ 292 h 372"/>
                  <a:gd name="T8" fmla="*/ 40 w 499"/>
                  <a:gd name="T9" fmla="*/ 278 h 372"/>
                  <a:gd name="T10" fmla="*/ 40 w 499"/>
                  <a:gd name="T11" fmla="*/ 258 h 372"/>
                  <a:gd name="T12" fmla="*/ 20 w 499"/>
                  <a:gd name="T13" fmla="*/ 250 h 372"/>
                  <a:gd name="T14" fmla="*/ 12 w 499"/>
                  <a:gd name="T15" fmla="*/ 224 h 372"/>
                  <a:gd name="T16" fmla="*/ 6 w 499"/>
                  <a:gd name="T17" fmla="*/ 202 h 372"/>
                  <a:gd name="T18" fmla="*/ 6 w 499"/>
                  <a:gd name="T19" fmla="*/ 190 h 372"/>
                  <a:gd name="T20" fmla="*/ 28 w 499"/>
                  <a:gd name="T21" fmla="*/ 162 h 372"/>
                  <a:gd name="T22" fmla="*/ 42 w 499"/>
                  <a:gd name="T23" fmla="*/ 142 h 372"/>
                  <a:gd name="T24" fmla="*/ 62 w 499"/>
                  <a:gd name="T25" fmla="*/ 126 h 372"/>
                  <a:gd name="T26" fmla="*/ 68 w 499"/>
                  <a:gd name="T27" fmla="*/ 86 h 372"/>
                  <a:gd name="T28" fmla="*/ 90 w 499"/>
                  <a:gd name="T29" fmla="*/ 72 h 372"/>
                  <a:gd name="T30" fmla="*/ 110 w 499"/>
                  <a:gd name="T31" fmla="*/ 52 h 372"/>
                  <a:gd name="T32" fmla="*/ 112 w 499"/>
                  <a:gd name="T33" fmla="*/ 24 h 372"/>
                  <a:gd name="T34" fmla="*/ 154 w 499"/>
                  <a:gd name="T35" fmla="*/ 32 h 372"/>
                  <a:gd name="T36" fmla="*/ 180 w 499"/>
                  <a:gd name="T37" fmla="*/ 30 h 372"/>
                  <a:gd name="T38" fmla="*/ 220 w 499"/>
                  <a:gd name="T39" fmla="*/ 36 h 372"/>
                  <a:gd name="T40" fmla="*/ 248 w 499"/>
                  <a:gd name="T41" fmla="*/ 20 h 372"/>
                  <a:gd name="T42" fmla="*/ 274 w 499"/>
                  <a:gd name="T43" fmla="*/ 16 h 372"/>
                  <a:gd name="T44" fmla="*/ 310 w 499"/>
                  <a:gd name="T45" fmla="*/ 6 h 372"/>
                  <a:gd name="T46" fmla="*/ 353 w 499"/>
                  <a:gd name="T47" fmla="*/ 30 h 372"/>
                  <a:gd name="T48" fmla="*/ 381 w 499"/>
                  <a:gd name="T49" fmla="*/ 64 h 372"/>
                  <a:gd name="T50" fmla="*/ 395 w 499"/>
                  <a:gd name="T51" fmla="*/ 92 h 372"/>
                  <a:gd name="T52" fmla="*/ 415 w 499"/>
                  <a:gd name="T53" fmla="*/ 120 h 372"/>
                  <a:gd name="T54" fmla="*/ 409 w 499"/>
                  <a:gd name="T55" fmla="*/ 140 h 372"/>
                  <a:gd name="T56" fmla="*/ 415 w 499"/>
                  <a:gd name="T57" fmla="*/ 160 h 372"/>
                  <a:gd name="T58" fmla="*/ 415 w 499"/>
                  <a:gd name="T59" fmla="*/ 196 h 372"/>
                  <a:gd name="T60" fmla="*/ 445 w 499"/>
                  <a:gd name="T61" fmla="*/ 208 h 372"/>
                  <a:gd name="T62" fmla="*/ 459 w 499"/>
                  <a:gd name="T63" fmla="*/ 200 h 372"/>
                  <a:gd name="T64" fmla="*/ 485 w 499"/>
                  <a:gd name="T65" fmla="*/ 208 h 372"/>
                  <a:gd name="T66" fmla="*/ 499 w 499"/>
                  <a:gd name="T67" fmla="*/ 236 h 372"/>
                  <a:gd name="T68" fmla="*/ 485 w 499"/>
                  <a:gd name="T69" fmla="*/ 258 h 372"/>
                  <a:gd name="T70" fmla="*/ 471 w 499"/>
                  <a:gd name="T71" fmla="*/ 250 h 372"/>
                  <a:gd name="T72" fmla="*/ 457 w 499"/>
                  <a:gd name="T73" fmla="*/ 258 h 372"/>
                  <a:gd name="T74" fmla="*/ 457 w 499"/>
                  <a:gd name="T75" fmla="*/ 278 h 372"/>
                  <a:gd name="T76" fmla="*/ 451 w 499"/>
                  <a:gd name="T77" fmla="*/ 292 h 372"/>
                  <a:gd name="T78" fmla="*/ 457 w 499"/>
                  <a:gd name="T79" fmla="*/ 320 h 372"/>
                  <a:gd name="T80" fmla="*/ 449 w 499"/>
                  <a:gd name="T81" fmla="*/ 342 h 372"/>
                  <a:gd name="T82" fmla="*/ 409 w 499"/>
                  <a:gd name="T83" fmla="*/ 326 h 372"/>
                  <a:gd name="T84" fmla="*/ 381 w 499"/>
                  <a:gd name="T85" fmla="*/ 324 h 372"/>
                  <a:gd name="T86" fmla="*/ 353 w 499"/>
                  <a:gd name="T87" fmla="*/ 316 h 372"/>
                  <a:gd name="T88" fmla="*/ 306 w 499"/>
                  <a:gd name="T89" fmla="*/ 342 h 372"/>
                  <a:gd name="T90" fmla="*/ 270 w 499"/>
                  <a:gd name="T91" fmla="*/ 370 h 372"/>
                  <a:gd name="T92" fmla="*/ 236 w 499"/>
                  <a:gd name="T93" fmla="*/ 366 h 372"/>
                  <a:gd name="T94" fmla="*/ 200 w 499"/>
                  <a:gd name="T95" fmla="*/ 366 h 372"/>
                  <a:gd name="T96" fmla="*/ 166 w 499"/>
                  <a:gd name="T97" fmla="*/ 360 h 372"/>
                  <a:gd name="T98" fmla="*/ 130 w 499"/>
                  <a:gd name="T99" fmla="*/ 356 h 372"/>
                  <a:gd name="T100" fmla="*/ 124 w 499"/>
                  <a:gd name="T101" fmla="*/ 334 h 372"/>
                  <a:gd name="T102" fmla="*/ 124 w 499"/>
                  <a:gd name="T103" fmla="*/ 33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99" h="372">
                    <a:moveTo>
                      <a:pt x="124" y="330"/>
                    </a:moveTo>
                    <a:lnTo>
                      <a:pt x="116" y="316"/>
                    </a:lnTo>
                    <a:lnTo>
                      <a:pt x="110" y="312"/>
                    </a:lnTo>
                    <a:lnTo>
                      <a:pt x="110" y="306"/>
                    </a:lnTo>
                    <a:lnTo>
                      <a:pt x="116" y="300"/>
                    </a:lnTo>
                    <a:lnTo>
                      <a:pt x="110" y="292"/>
                    </a:lnTo>
                    <a:lnTo>
                      <a:pt x="96" y="300"/>
                    </a:lnTo>
                    <a:lnTo>
                      <a:pt x="90" y="306"/>
                    </a:lnTo>
                    <a:lnTo>
                      <a:pt x="76" y="300"/>
                    </a:lnTo>
                    <a:lnTo>
                      <a:pt x="68" y="292"/>
                    </a:lnTo>
                    <a:lnTo>
                      <a:pt x="62" y="292"/>
                    </a:lnTo>
                    <a:lnTo>
                      <a:pt x="48" y="292"/>
                    </a:lnTo>
                    <a:lnTo>
                      <a:pt x="40" y="292"/>
                    </a:lnTo>
                    <a:lnTo>
                      <a:pt x="40" y="286"/>
                    </a:lnTo>
                    <a:lnTo>
                      <a:pt x="40" y="278"/>
                    </a:lnTo>
                    <a:lnTo>
                      <a:pt x="48" y="272"/>
                    </a:lnTo>
                    <a:lnTo>
                      <a:pt x="48" y="264"/>
                    </a:lnTo>
                    <a:lnTo>
                      <a:pt x="40" y="258"/>
                    </a:lnTo>
                    <a:lnTo>
                      <a:pt x="34" y="250"/>
                    </a:lnTo>
                    <a:lnTo>
                      <a:pt x="26" y="250"/>
                    </a:lnTo>
                    <a:lnTo>
                      <a:pt x="20" y="250"/>
                    </a:lnTo>
                    <a:lnTo>
                      <a:pt x="20" y="236"/>
                    </a:lnTo>
                    <a:lnTo>
                      <a:pt x="12" y="230"/>
                    </a:lnTo>
                    <a:lnTo>
                      <a:pt x="12" y="224"/>
                    </a:lnTo>
                    <a:lnTo>
                      <a:pt x="12" y="210"/>
                    </a:lnTo>
                    <a:lnTo>
                      <a:pt x="12" y="202"/>
                    </a:lnTo>
                    <a:lnTo>
                      <a:pt x="6" y="202"/>
                    </a:lnTo>
                    <a:lnTo>
                      <a:pt x="0" y="202"/>
                    </a:lnTo>
                    <a:lnTo>
                      <a:pt x="6" y="188"/>
                    </a:lnTo>
                    <a:lnTo>
                      <a:pt x="6" y="190"/>
                    </a:lnTo>
                    <a:lnTo>
                      <a:pt x="14" y="176"/>
                    </a:lnTo>
                    <a:lnTo>
                      <a:pt x="20" y="168"/>
                    </a:lnTo>
                    <a:lnTo>
                      <a:pt x="28" y="162"/>
                    </a:lnTo>
                    <a:lnTo>
                      <a:pt x="34" y="154"/>
                    </a:lnTo>
                    <a:lnTo>
                      <a:pt x="42" y="148"/>
                    </a:lnTo>
                    <a:lnTo>
                      <a:pt x="42" y="142"/>
                    </a:lnTo>
                    <a:lnTo>
                      <a:pt x="48" y="142"/>
                    </a:lnTo>
                    <a:lnTo>
                      <a:pt x="56" y="134"/>
                    </a:lnTo>
                    <a:lnTo>
                      <a:pt x="62" y="126"/>
                    </a:lnTo>
                    <a:lnTo>
                      <a:pt x="62" y="106"/>
                    </a:lnTo>
                    <a:lnTo>
                      <a:pt x="68" y="100"/>
                    </a:lnTo>
                    <a:lnTo>
                      <a:pt x="68" y="86"/>
                    </a:lnTo>
                    <a:lnTo>
                      <a:pt x="76" y="78"/>
                    </a:lnTo>
                    <a:lnTo>
                      <a:pt x="82" y="72"/>
                    </a:lnTo>
                    <a:lnTo>
                      <a:pt x="90" y="72"/>
                    </a:lnTo>
                    <a:lnTo>
                      <a:pt x="96" y="64"/>
                    </a:lnTo>
                    <a:lnTo>
                      <a:pt x="104" y="58"/>
                    </a:lnTo>
                    <a:lnTo>
                      <a:pt x="110" y="52"/>
                    </a:lnTo>
                    <a:lnTo>
                      <a:pt x="110" y="44"/>
                    </a:lnTo>
                    <a:lnTo>
                      <a:pt x="98" y="28"/>
                    </a:lnTo>
                    <a:lnTo>
                      <a:pt x="112" y="24"/>
                    </a:lnTo>
                    <a:lnTo>
                      <a:pt x="130" y="24"/>
                    </a:lnTo>
                    <a:lnTo>
                      <a:pt x="144" y="28"/>
                    </a:lnTo>
                    <a:lnTo>
                      <a:pt x="154" y="32"/>
                    </a:lnTo>
                    <a:lnTo>
                      <a:pt x="162" y="36"/>
                    </a:lnTo>
                    <a:lnTo>
                      <a:pt x="174" y="40"/>
                    </a:lnTo>
                    <a:lnTo>
                      <a:pt x="180" y="30"/>
                    </a:lnTo>
                    <a:lnTo>
                      <a:pt x="192" y="28"/>
                    </a:lnTo>
                    <a:lnTo>
                      <a:pt x="200" y="28"/>
                    </a:lnTo>
                    <a:lnTo>
                      <a:pt x="220" y="36"/>
                    </a:lnTo>
                    <a:lnTo>
                      <a:pt x="228" y="32"/>
                    </a:lnTo>
                    <a:lnTo>
                      <a:pt x="242" y="20"/>
                    </a:lnTo>
                    <a:lnTo>
                      <a:pt x="248" y="20"/>
                    </a:lnTo>
                    <a:lnTo>
                      <a:pt x="260" y="20"/>
                    </a:lnTo>
                    <a:lnTo>
                      <a:pt x="272" y="20"/>
                    </a:lnTo>
                    <a:lnTo>
                      <a:pt x="274" y="16"/>
                    </a:lnTo>
                    <a:lnTo>
                      <a:pt x="278" y="8"/>
                    </a:lnTo>
                    <a:lnTo>
                      <a:pt x="298" y="0"/>
                    </a:lnTo>
                    <a:lnTo>
                      <a:pt x="310" y="6"/>
                    </a:lnTo>
                    <a:lnTo>
                      <a:pt x="324" y="10"/>
                    </a:lnTo>
                    <a:lnTo>
                      <a:pt x="333" y="16"/>
                    </a:lnTo>
                    <a:lnTo>
                      <a:pt x="353" y="30"/>
                    </a:lnTo>
                    <a:lnTo>
                      <a:pt x="351" y="54"/>
                    </a:lnTo>
                    <a:lnTo>
                      <a:pt x="367" y="58"/>
                    </a:lnTo>
                    <a:lnTo>
                      <a:pt x="381" y="64"/>
                    </a:lnTo>
                    <a:lnTo>
                      <a:pt x="381" y="78"/>
                    </a:lnTo>
                    <a:lnTo>
                      <a:pt x="387" y="86"/>
                    </a:lnTo>
                    <a:lnTo>
                      <a:pt x="395" y="92"/>
                    </a:lnTo>
                    <a:lnTo>
                      <a:pt x="409" y="100"/>
                    </a:lnTo>
                    <a:lnTo>
                      <a:pt x="409" y="106"/>
                    </a:lnTo>
                    <a:lnTo>
                      <a:pt x="415" y="120"/>
                    </a:lnTo>
                    <a:lnTo>
                      <a:pt x="415" y="126"/>
                    </a:lnTo>
                    <a:lnTo>
                      <a:pt x="415" y="140"/>
                    </a:lnTo>
                    <a:lnTo>
                      <a:pt x="409" y="140"/>
                    </a:lnTo>
                    <a:lnTo>
                      <a:pt x="409" y="146"/>
                    </a:lnTo>
                    <a:lnTo>
                      <a:pt x="409" y="154"/>
                    </a:lnTo>
                    <a:lnTo>
                      <a:pt x="415" y="160"/>
                    </a:lnTo>
                    <a:lnTo>
                      <a:pt x="415" y="168"/>
                    </a:lnTo>
                    <a:lnTo>
                      <a:pt x="415" y="182"/>
                    </a:lnTo>
                    <a:lnTo>
                      <a:pt x="415" y="196"/>
                    </a:lnTo>
                    <a:lnTo>
                      <a:pt x="423" y="206"/>
                    </a:lnTo>
                    <a:lnTo>
                      <a:pt x="437" y="202"/>
                    </a:lnTo>
                    <a:lnTo>
                      <a:pt x="445" y="208"/>
                    </a:lnTo>
                    <a:lnTo>
                      <a:pt x="449" y="210"/>
                    </a:lnTo>
                    <a:lnTo>
                      <a:pt x="453" y="208"/>
                    </a:lnTo>
                    <a:lnTo>
                      <a:pt x="459" y="200"/>
                    </a:lnTo>
                    <a:lnTo>
                      <a:pt x="475" y="202"/>
                    </a:lnTo>
                    <a:lnTo>
                      <a:pt x="479" y="206"/>
                    </a:lnTo>
                    <a:lnTo>
                      <a:pt x="485" y="208"/>
                    </a:lnTo>
                    <a:lnTo>
                      <a:pt x="493" y="220"/>
                    </a:lnTo>
                    <a:lnTo>
                      <a:pt x="499" y="210"/>
                    </a:lnTo>
                    <a:lnTo>
                      <a:pt x="499" y="236"/>
                    </a:lnTo>
                    <a:lnTo>
                      <a:pt x="491" y="250"/>
                    </a:lnTo>
                    <a:lnTo>
                      <a:pt x="485" y="250"/>
                    </a:lnTo>
                    <a:lnTo>
                      <a:pt x="485" y="258"/>
                    </a:lnTo>
                    <a:lnTo>
                      <a:pt x="477" y="264"/>
                    </a:lnTo>
                    <a:lnTo>
                      <a:pt x="471" y="264"/>
                    </a:lnTo>
                    <a:lnTo>
                      <a:pt x="471" y="250"/>
                    </a:lnTo>
                    <a:lnTo>
                      <a:pt x="463" y="244"/>
                    </a:lnTo>
                    <a:lnTo>
                      <a:pt x="457" y="250"/>
                    </a:lnTo>
                    <a:lnTo>
                      <a:pt x="457" y="258"/>
                    </a:lnTo>
                    <a:lnTo>
                      <a:pt x="451" y="272"/>
                    </a:lnTo>
                    <a:lnTo>
                      <a:pt x="451" y="278"/>
                    </a:lnTo>
                    <a:lnTo>
                      <a:pt x="457" y="278"/>
                    </a:lnTo>
                    <a:lnTo>
                      <a:pt x="463" y="278"/>
                    </a:lnTo>
                    <a:lnTo>
                      <a:pt x="457" y="286"/>
                    </a:lnTo>
                    <a:lnTo>
                      <a:pt x="451" y="292"/>
                    </a:lnTo>
                    <a:lnTo>
                      <a:pt x="451" y="300"/>
                    </a:lnTo>
                    <a:lnTo>
                      <a:pt x="451" y="312"/>
                    </a:lnTo>
                    <a:lnTo>
                      <a:pt x="457" y="320"/>
                    </a:lnTo>
                    <a:lnTo>
                      <a:pt x="451" y="334"/>
                    </a:lnTo>
                    <a:lnTo>
                      <a:pt x="451" y="340"/>
                    </a:lnTo>
                    <a:lnTo>
                      <a:pt x="449" y="342"/>
                    </a:lnTo>
                    <a:lnTo>
                      <a:pt x="423" y="328"/>
                    </a:lnTo>
                    <a:lnTo>
                      <a:pt x="415" y="328"/>
                    </a:lnTo>
                    <a:lnTo>
                      <a:pt x="409" y="326"/>
                    </a:lnTo>
                    <a:lnTo>
                      <a:pt x="403" y="326"/>
                    </a:lnTo>
                    <a:lnTo>
                      <a:pt x="387" y="328"/>
                    </a:lnTo>
                    <a:lnTo>
                      <a:pt x="381" y="324"/>
                    </a:lnTo>
                    <a:lnTo>
                      <a:pt x="367" y="324"/>
                    </a:lnTo>
                    <a:lnTo>
                      <a:pt x="361" y="324"/>
                    </a:lnTo>
                    <a:lnTo>
                      <a:pt x="353" y="316"/>
                    </a:lnTo>
                    <a:lnTo>
                      <a:pt x="324" y="324"/>
                    </a:lnTo>
                    <a:lnTo>
                      <a:pt x="318" y="326"/>
                    </a:lnTo>
                    <a:lnTo>
                      <a:pt x="306" y="342"/>
                    </a:lnTo>
                    <a:lnTo>
                      <a:pt x="290" y="358"/>
                    </a:lnTo>
                    <a:lnTo>
                      <a:pt x="274" y="362"/>
                    </a:lnTo>
                    <a:lnTo>
                      <a:pt x="270" y="370"/>
                    </a:lnTo>
                    <a:lnTo>
                      <a:pt x="254" y="372"/>
                    </a:lnTo>
                    <a:lnTo>
                      <a:pt x="242" y="366"/>
                    </a:lnTo>
                    <a:lnTo>
                      <a:pt x="236" y="366"/>
                    </a:lnTo>
                    <a:lnTo>
                      <a:pt x="220" y="366"/>
                    </a:lnTo>
                    <a:lnTo>
                      <a:pt x="212" y="366"/>
                    </a:lnTo>
                    <a:lnTo>
                      <a:pt x="200" y="366"/>
                    </a:lnTo>
                    <a:lnTo>
                      <a:pt x="186" y="366"/>
                    </a:lnTo>
                    <a:lnTo>
                      <a:pt x="176" y="360"/>
                    </a:lnTo>
                    <a:lnTo>
                      <a:pt x="166" y="360"/>
                    </a:lnTo>
                    <a:lnTo>
                      <a:pt x="150" y="360"/>
                    </a:lnTo>
                    <a:lnTo>
                      <a:pt x="138" y="360"/>
                    </a:lnTo>
                    <a:lnTo>
                      <a:pt x="130" y="356"/>
                    </a:lnTo>
                    <a:lnTo>
                      <a:pt x="128" y="346"/>
                    </a:lnTo>
                    <a:lnTo>
                      <a:pt x="126" y="336"/>
                    </a:lnTo>
                    <a:lnTo>
                      <a:pt x="124" y="334"/>
                    </a:lnTo>
                    <a:lnTo>
                      <a:pt x="124" y="330"/>
                    </a:lnTo>
                    <a:lnTo>
                      <a:pt x="124" y="330"/>
                    </a:lnTo>
                    <a:lnTo>
                      <a:pt x="124" y="330"/>
                    </a:lnTo>
                    <a:close/>
                  </a:path>
                </a:pathLst>
              </a:custGeom>
              <a:solidFill>
                <a:schemeClr val="bg1">
                  <a:lumMod val="85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2" name="Freeform 66"/>
              <p:cNvSpPr>
                <a:spLocks/>
              </p:cNvSpPr>
              <p:nvPr>
                <p:custDataLst>
                  <p:tags r:id="rId149"/>
                </p:custDataLst>
              </p:nvPr>
            </p:nvSpPr>
            <p:spPr bwMode="gray">
              <a:xfrm>
                <a:off x="5313554" y="4244826"/>
                <a:ext cx="604972" cy="641492"/>
              </a:xfrm>
              <a:custGeom>
                <a:avLst/>
                <a:gdLst>
                  <a:gd name="T0" fmla="*/ 214 w 381"/>
                  <a:gd name="T1" fmla="*/ 40 h 404"/>
                  <a:gd name="T2" fmla="*/ 248 w 381"/>
                  <a:gd name="T3" fmla="*/ 24 h 404"/>
                  <a:gd name="T4" fmla="*/ 278 w 381"/>
                  <a:gd name="T5" fmla="*/ 32 h 404"/>
                  <a:gd name="T6" fmla="*/ 318 w 381"/>
                  <a:gd name="T7" fmla="*/ 32 h 404"/>
                  <a:gd name="T8" fmla="*/ 348 w 381"/>
                  <a:gd name="T9" fmla="*/ 12 h 404"/>
                  <a:gd name="T10" fmla="*/ 381 w 381"/>
                  <a:gd name="T11" fmla="*/ 12 h 404"/>
                  <a:gd name="T12" fmla="*/ 369 w 381"/>
                  <a:gd name="T13" fmla="*/ 42 h 404"/>
                  <a:gd name="T14" fmla="*/ 355 w 381"/>
                  <a:gd name="T15" fmla="*/ 82 h 404"/>
                  <a:gd name="T16" fmla="*/ 292 w 381"/>
                  <a:gd name="T17" fmla="*/ 68 h 404"/>
                  <a:gd name="T18" fmla="*/ 264 w 381"/>
                  <a:gd name="T19" fmla="*/ 74 h 404"/>
                  <a:gd name="T20" fmla="*/ 242 w 381"/>
                  <a:gd name="T21" fmla="*/ 88 h 404"/>
                  <a:gd name="T22" fmla="*/ 228 w 381"/>
                  <a:gd name="T23" fmla="*/ 108 h 404"/>
                  <a:gd name="T24" fmla="*/ 242 w 381"/>
                  <a:gd name="T25" fmla="*/ 136 h 404"/>
                  <a:gd name="T26" fmla="*/ 222 w 381"/>
                  <a:gd name="T27" fmla="*/ 130 h 404"/>
                  <a:gd name="T28" fmla="*/ 208 w 381"/>
                  <a:gd name="T29" fmla="*/ 136 h 404"/>
                  <a:gd name="T30" fmla="*/ 202 w 381"/>
                  <a:gd name="T31" fmla="*/ 144 h 404"/>
                  <a:gd name="T32" fmla="*/ 180 w 381"/>
                  <a:gd name="T33" fmla="*/ 130 h 404"/>
                  <a:gd name="T34" fmla="*/ 146 w 381"/>
                  <a:gd name="T35" fmla="*/ 102 h 404"/>
                  <a:gd name="T36" fmla="*/ 146 w 381"/>
                  <a:gd name="T37" fmla="*/ 144 h 404"/>
                  <a:gd name="T38" fmla="*/ 202 w 381"/>
                  <a:gd name="T39" fmla="*/ 192 h 404"/>
                  <a:gd name="T40" fmla="*/ 180 w 381"/>
                  <a:gd name="T41" fmla="*/ 184 h 404"/>
                  <a:gd name="T42" fmla="*/ 166 w 381"/>
                  <a:gd name="T43" fmla="*/ 204 h 404"/>
                  <a:gd name="T44" fmla="*/ 174 w 381"/>
                  <a:gd name="T45" fmla="*/ 232 h 404"/>
                  <a:gd name="T46" fmla="*/ 228 w 381"/>
                  <a:gd name="T47" fmla="*/ 266 h 404"/>
                  <a:gd name="T48" fmla="*/ 236 w 381"/>
                  <a:gd name="T49" fmla="*/ 308 h 404"/>
                  <a:gd name="T50" fmla="*/ 188 w 381"/>
                  <a:gd name="T51" fmla="*/ 308 h 404"/>
                  <a:gd name="T52" fmla="*/ 214 w 381"/>
                  <a:gd name="T53" fmla="*/ 328 h 404"/>
                  <a:gd name="T54" fmla="*/ 174 w 381"/>
                  <a:gd name="T55" fmla="*/ 328 h 404"/>
                  <a:gd name="T56" fmla="*/ 174 w 381"/>
                  <a:gd name="T57" fmla="*/ 356 h 404"/>
                  <a:gd name="T58" fmla="*/ 202 w 381"/>
                  <a:gd name="T59" fmla="*/ 390 h 404"/>
                  <a:gd name="T60" fmla="*/ 158 w 381"/>
                  <a:gd name="T61" fmla="*/ 384 h 404"/>
                  <a:gd name="T62" fmla="*/ 152 w 381"/>
                  <a:gd name="T63" fmla="*/ 404 h 404"/>
                  <a:gd name="T64" fmla="*/ 124 w 381"/>
                  <a:gd name="T65" fmla="*/ 378 h 404"/>
                  <a:gd name="T66" fmla="*/ 112 w 381"/>
                  <a:gd name="T67" fmla="*/ 370 h 404"/>
                  <a:gd name="T68" fmla="*/ 90 w 381"/>
                  <a:gd name="T69" fmla="*/ 370 h 404"/>
                  <a:gd name="T70" fmla="*/ 90 w 381"/>
                  <a:gd name="T71" fmla="*/ 328 h 404"/>
                  <a:gd name="T72" fmla="*/ 62 w 381"/>
                  <a:gd name="T73" fmla="*/ 294 h 404"/>
                  <a:gd name="T74" fmla="*/ 90 w 381"/>
                  <a:gd name="T75" fmla="*/ 280 h 404"/>
                  <a:gd name="T76" fmla="*/ 124 w 381"/>
                  <a:gd name="T77" fmla="*/ 274 h 404"/>
                  <a:gd name="T78" fmla="*/ 152 w 381"/>
                  <a:gd name="T79" fmla="*/ 288 h 404"/>
                  <a:gd name="T80" fmla="*/ 166 w 381"/>
                  <a:gd name="T81" fmla="*/ 274 h 404"/>
                  <a:gd name="T82" fmla="*/ 132 w 381"/>
                  <a:gd name="T83" fmla="*/ 260 h 404"/>
                  <a:gd name="T84" fmla="*/ 82 w 381"/>
                  <a:gd name="T85" fmla="*/ 260 h 404"/>
                  <a:gd name="T86" fmla="*/ 48 w 381"/>
                  <a:gd name="T87" fmla="*/ 254 h 404"/>
                  <a:gd name="T88" fmla="*/ 42 w 381"/>
                  <a:gd name="T89" fmla="*/ 226 h 404"/>
                  <a:gd name="T90" fmla="*/ 56 w 381"/>
                  <a:gd name="T91" fmla="*/ 212 h 404"/>
                  <a:gd name="T92" fmla="*/ 28 w 381"/>
                  <a:gd name="T93" fmla="*/ 198 h 404"/>
                  <a:gd name="T94" fmla="*/ 6 w 381"/>
                  <a:gd name="T95" fmla="*/ 170 h 404"/>
                  <a:gd name="T96" fmla="*/ 34 w 381"/>
                  <a:gd name="T97" fmla="*/ 144 h 404"/>
                  <a:gd name="T98" fmla="*/ 56 w 381"/>
                  <a:gd name="T99" fmla="*/ 108 h 404"/>
                  <a:gd name="T100" fmla="*/ 48 w 381"/>
                  <a:gd name="T101" fmla="*/ 74 h 404"/>
                  <a:gd name="T102" fmla="*/ 82 w 381"/>
                  <a:gd name="T103" fmla="*/ 74 h 404"/>
                  <a:gd name="T104" fmla="*/ 132 w 381"/>
                  <a:gd name="T105" fmla="*/ 60 h 404"/>
                  <a:gd name="T106" fmla="*/ 174 w 381"/>
                  <a:gd name="T107" fmla="*/ 4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1" h="404">
                    <a:moveTo>
                      <a:pt x="158" y="40"/>
                    </a:moveTo>
                    <a:lnTo>
                      <a:pt x="174" y="40"/>
                    </a:lnTo>
                    <a:lnTo>
                      <a:pt x="188" y="40"/>
                    </a:lnTo>
                    <a:lnTo>
                      <a:pt x="202" y="40"/>
                    </a:lnTo>
                    <a:lnTo>
                      <a:pt x="214" y="40"/>
                    </a:lnTo>
                    <a:lnTo>
                      <a:pt x="222" y="46"/>
                    </a:lnTo>
                    <a:lnTo>
                      <a:pt x="232" y="40"/>
                    </a:lnTo>
                    <a:lnTo>
                      <a:pt x="228" y="32"/>
                    </a:lnTo>
                    <a:lnTo>
                      <a:pt x="234" y="30"/>
                    </a:lnTo>
                    <a:lnTo>
                      <a:pt x="248" y="24"/>
                    </a:lnTo>
                    <a:lnTo>
                      <a:pt x="256" y="30"/>
                    </a:lnTo>
                    <a:lnTo>
                      <a:pt x="262" y="24"/>
                    </a:lnTo>
                    <a:lnTo>
                      <a:pt x="264" y="24"/>
                    </a:lnTo>
                    <a:lnTo>
                      <a:pt x="270" y="32"/>
                    </a:lnTo>
                    <a:lnTo>
                      <a:pt x="278" y="32"/>
                    </a:lnTo>
                    <a:lnTo>
                      <a:pt x="278" y="40"/>
                    </a:lnTo>
                    <a:lnTo>
                      <a:pt x="292" y="32"/>
                    </a:lnTo>
                    <a:lnTo>
                      <a:pt x="298" y="32"/>
                    </a:lnTo>
                    <a:lnTo>
                      <a:pt x="304" y="32"/>
                    </a:lnTo>
                    <a:lnTo>
                      <a:pt x="318" y="32"/>
                    </a:lnTo>
                    <a:lnTo>
                      <a:pt x="326" y="26"/>
                    </a:lnTo>
                    <a:lnTo>
                      <a:pt x="340" y="26"/>
                    </a:lnTo>
                    <a:lnTo>
                      <a:pt x="355" y="26"/>
                    </a:lnTo>
                    <a:lnTo>
                      <a:pt x="352" y="20"/>
                    </a:lnTo>
                    <a:lnTo>
                      <a:pt x="348" y="12"/>
                    </a:lnTo>
                    <a:lnTo>
                      <a:pt x="348" y="6"/>
                    </a:lnTo>
                    <a:lnTo>
                      <a:pt x="361" y="0"/>
                    </a:lnTo>
                    <a:lnTo>
                      <a:pt x="371" y="6"/>
                    </a:lnTo>
                    <a:lnTo>
                      <a:pt x="375" y="12"/>
                    </a:lnTo>
                    <a:lnTo>
                      <a:pt x="381" y="12"/>
                    </a:lnTo>
                    <a:lnTo>
                      <a:pt x="381" y="20"/>
                    </a:lnTo>
                    <a:lnTo>
                      <a:pt x="381" y="26"/>
                    </a:lnTo>
                    <a:lnTo>
                      <a:pt x="375" y="32"/>
                    </a:lnTo>
                    <a:lnTo>
                      <a:pt x="379" y="40"/>
                    </a:lnTo>
                    <a:lnTo>
                      <a:pt x="369" y="42"/>
                    </a:lnTo>
                    <a:lnTo>
                      <a:pt x="371" y="46"/>
                    </a:lnTo>
                    <a:lnTo>
                      <a:pt x="367" y="60"/>
                    </a:lnTo>
                    <a:lnTo>
                      <a:pt x="361" y="68"/>
                    </a:lnTo>
                    <a:lnTo>
                      <a:pt x="361" y="74"/>
                    </a:lnTo>
                    <a:lnTo>
                      <a:pt x="355" y="82"/>
                    </a:lnTo>
                    <a:lnTo>
                      <a:pt x="346" y="82"/>
                    </a:lnTo>
                    <a:lnTo>
                      <a:pt x="340" y="74"/>
                    </a:lnTo>
                    <a:lnTo>
                      <a:pt x="318" y="74"/>
                    </a:lnTo>
                    <a:lnTo>
                      <a:pt x="304" y="68"/>
                    </a:lnTo>
                    <a:lnTo>
                      <a:pt x="292" y="68"/>
                    </a:lnTo>
                    <a:lnTo>
                      <a:pt x="284" y="68"/>
                    </a:lnTo>
                    <a:lnTo>
                      <a:pt x="292" y="74"/>
                    </a:lnTo>
                    <a:lnTo>
                      <a:pt x="284" y="82"/>
                    </a:lnTo>
                    <a:lnTo>
                      <a:pt x="270" y="82"/>
                    </a:lnTo>
                    <a:lnTo>
                      <a:pt x="264" y="74"/>
                    </a:lnTo>
                    <a:lnTo>
                      <a:pt x="256" y="68"/>
                    </a:lnTo>
                    <a:lnTo>
                      <a:pt x="250" y="74"/>
                    </a:lnTo>
                    <a:lnTo>
                      <a:pt x="250" y="82"/>
                    </a:lnTo>
                    <a:lnTo>
                      <a:pt x="250" y="88"/>
                    </a:lnTo>
                    <a:lnTo>
                      <a:pt x="242" y="88"/>
                    </a:lnTo>
                    <a:lnTo>
                      <a:pt x="222" y="88"/>
                    </a:lnTo>
                    <a:lnTo>
                      <a:pt x="214" y="88"/>
                    </a:lnTo>
                    <a:lnTo>
                      <a:pt x="214" y="94"/>
                    </a:lnTo>
                    <a:lnTo>
                      <a:pt x="222" y="102"/>
                    </a:lnTo>
                    <a:lnTo>
                      <a:pt x="228" y="108"/>
                    </a:lnTo>
                    <a:lnTo>
                      <a:pt x="242" y="116"/>
                    </a:lnTo>
                    <a:lnTo>
                      <a:pt x="256" y="122"/>
                    </a:lnTo>
                    <a:lnTo>
                      <a:pt x="264" y="122"/>
                    </a:lnTo>
                    <a:lnTo>
                      <a:pt x="256" y="130"/>
                    </a:lnTo>
                    <a:lnTo>
                      <a:pt x="242" y="136"/>
                    </a:lnTo>
                    <a:lnTo>
                      <a:pt x="228" y="136"/>
                    </a:lnTo>
                    <a:lnTo>
                      <a:pt x="228" y="122"/>
                    </a:lnTo>
                    <a:lnTo>
                      <a:pt x="222" y="122"/>
                    </a:lnTo>
                    <a:lnTo>
                      <a:pt x="214" y="122"/>
                    </a:lnTo>
                    <a:lnTo>
                      <a:pt x="222" y="130"/>
                    </a:lnTo>
                    <a:lnTo>
                      <a:pt x="228" y="144"/>
                    </a:lnTo>
                    <a:lnTo>
                      <a:pt x="236" y="144"/>
                    </a:lnTo>
                    <a:lnTo>
                      <a:pt x="236" y="150"/>
                    </a:lnTo>
                    <a:lnTo>
                      <a:pt x="214" y="144"/>
                    </a:lnTo>
                    <a:lnTo>
                      <a:pt x="208" y="136"/>
                    </a:lnTo>
                    <a:lnTo>
                      <a:pt x="202" y="130"/>
                    </a:lnTo>
                    <a:lnTo>
                      <a:pt x="194" y="122"/>
                    </a:lnTo>
                    <a:lnTo>
                      <a:pt x="194" y="130"/>
                    </a:lnTo>
                    <a:lnTo>
                      <a:pt x="194" y="136"/>
                    </a:lnTo>
                    <a:lnTo>
                      <a:pt x="202" y="144"/>
                    </a:lnTo>
                    <a:lnTo>
                      <a:pt x="214" y="150"/>
                    </a:lnTo>
                    <a:lnTo>
                      <a:pt x="214" y="156"/>
                    </a:lnTo>
                    <a:lnTo>
                      <a:pt x="202" y="150"/>
                    </a:lnTo>
                    <a:lnTo>
                      <a:pt x="188" y="144"/>
                    </a:lnTo>
                    <a:lnTo>
                      <a:pt x="180" y="130"/>
                    </a:lnTo>
                    <a:lnTo>
                      <a:pt x="174" y="116"/>
                    </a:lnTo>
                    <a:lnTo>
                      <a:pt x="166" y="108"/>
                    </a:lnTo>
                    <a:lnTo>
                      <a:pt x="166" y="94"/>
                    </a:lnTo>
                    <a:lnTo>
                      <a:pt x="158" y="94"/>
                    </a:lnTo>
                    <a:lnTo>
                      <a:pt x="146" y="102"/>
                    </a:lnTo>
                    <a:lnTo>
                      <a:pt x="138" y="108"/>
                    </a:lnTo>
                    <a:lnTo>
                      <a:pt x="146" y="116"/>
                    </a:lnTo>
                    <a:lnTo>
                      <a:pt x="146" y="122"/>
                    </a:lnTo>
                    <a:lnTo>
                      <a:pt x="146" y="130"/>
                    </a:lnTo>
                    <a:lnTo>
                      <a:pt x="146" y="144"/>
                    </a:lnTo>
                    <a:lnTo>
                      <a:pt x="152" y="150"/>
                    </a:lnTo>
                    <a:lnTo>
                      <a:pt x="166" y="156"/>
                    </a:lnTo>
                    <a:lnTo>
                      <a:pt x="174" y="170"/>
                    </a:lnTo>
                    <a:lnTo>
                      <a:pt x="194" y="192"/>
                    </a:lnTo>
                    <a:lnTo>
                      <a:pt x="202" y="192"/>
                    </a:lnTo>
                    <a:lnTo>
                      <a:pt x="194" y="204"/>
                    </a:lnTo>
                    <a:lnTo>
                      <a:pt x="188" y="204"/>
                    </a:lnTo>
                    <a:lnTo>
                      <a:pt x="188" y="198"/>
                    </a:lnTo>
                    <a:lnTo>
                      <a:pt x="188" y="192"/>
                    </a:lnTo>
                    <a:lnTo>
                      <a:pt x="180" y="184"/>
                    </a:lnTo>
                    <a:lnTo>
                      <a:pt x="166" y="184"/>
                    </a:lnTo>
                    <a:lnTo>
                      <a:pt x="158" y="184"/>
                    </a:lnTo>
                    <a:lnTo>
                      <a:pt x="152" y="192"/>
                    </a:lnTo>
                    <a:lnTo>
                      <a:pt x="158" y="204"/>
                    </a:lnTo>
                    <a:lnTo>
                      <a:pt x="166" y="204"/>
                    </a:lnTo>
                    <a:lnTo>
                      <a:pt x="166" y="212"/>
                    </a:lnTo>
                    <a:lnTo>
                      <a:pt x="158" y="220"/>
                    </a:lnTo>
                    <a:lnTo>
                      <a:pt x="152" y="226"/>
                    </a:lnTo>
                    <a:lnTo>
                      <a:pt x="158" y="232"/>
                    </a:lnTo>
                    <a:lnTo>
                      <a:pt x="174" y="232"/>
                    </a:lnTo>
                    <a:lnTo>
                      <a:pt x="188" y="240"/>
                    </a:lnTo>
                    <a:lnTo>
                      <a:pt x="202" y="246"/>
                    </a:lnTo>
                    <a:lnTo>
                      <a:pt x="208" y="246"/>
                    </a:lnTo>
                    <a:lnTo>
                      <a:pt x="214" y="260"/>
                    </a:lnTo>
                    <a:lnTo>
                      <a:pt x="228" y="266"/>
                    </a:lnTo>
                    <a:lnTo>
                      <a:pt x="236" y="266"/>
                    </a:lnTo>
                    <a:lnTo>
                      <a:pt x="236" y="280"/>
                    </a:lnTo>
                    <a:lnTo>
                      <a:pt x="236" y="294"/>
                    </a:lnTo>
                    <a:lnTo>
                      <a:pt x="236" y="302"/>
                    </a:lnTo>
                    <a:lnTo>
                      <a:pt x="236" y="308"/>
                    </a:lnTo>
                    <a:lnTo>
                      <a:pt x="222" y="302"/>
                    </a:lnTo>
                    <a:lnTo>
                      <a:pt x="214" y="288"/>
                    </a:lnTo>
                    <a:lnTo>
                      <a:pt x="208" y="288"/>
                    </a:lnTo>
                    <a:lnTo>
                      <a:pt x="194" y="302"/>
                    </a:lnTo>
                    <a:lnTo>
                      <a:pt x="188" y="308"/>
                    </a:lnTo>
                    <a:lnTo>
                      <a:pt x="188" y="314"/>
                    </a:lnTo>
                    <a:lnTo>
                      <a:pt x="194" y="322"/>
                    </a:lnTo>
                    <a:lnTo>
                      <a:pt x="202" y="322"/>
                    </a:lnTo>
                    <a:lnTo>
                      <a:pt x="214" y="314"/>
                    </a:lnTo>
                    <a:lnTo>
                      <a:pt x="214" y="328"/>
                    </a:lnTo>
                    <a:lnTo>
                      <a:pt x="202" y="336"/>
                    </a:lnTo>
                    <a:lnTo>
                      <a:pt x="188" y="342"/>
                    </a:lnTo>
                    <a:lnTo>
                      <a:pt x="180" y="342"/>
                    </a:lnTo>
                    <a:lnTo>
                      <a:pt x="174" y="336"/>
                    </a:lnTo>
                    <a:lnTo>
                      <a:pt x="174" y="328"/>
                    </a:lnTo>
                    <a:lnTo>
                      <a:pt x="166" y="322"/>
                    </a:lnTo>
                    <a:lnTo>
                      <a:pt x="158" y="322"/>
                    </a:lnTo>
                    <a:lnTo>
                      <a:pt x="158" y="336"/>
                    </a:lnTo>
                    <a:lnTo>
                      <a:pt x="166" y="342"/>
                    </a:lnTo>
                    <a:lnTo>
                      <a:pt x="174" y="356"/>
                    </a:lnTo>
                    <a:lnTo>
                      <a:pt x="180" y="356"/>
                    </a:lnTo>
                    <a:lnTo>
                      <a:pt x="180" y="370"/>
                    </a:lnTo>
                    <a:lnTo>
                      <a:pt x="188" y="378"/>
                    </a:lnTo>
                    <a:lnTo>
                      <a:pt x="188" y="384"/>
                    </a:lnTo>
                    <a:lnTo>
                      <a:pt x="202" y="390"/>
                    </a:lnTo>
                    <a:lnTo>
                      <a:pt x="202" y="398"/>
                    </a:lnTo>
                    <a:lnTo>
                      <a:pt x="174" y="398"/>
                    </a:lnTo>
                    <a:lnTo>
                      <a:pt x="166" y="398"/>
                    </a:lnTo>
                    <a:lnTo>
                      <a:pt x="166" y="384"/>
                    </a:lnTo>
                    <a:lnTo>
                      <a:pt x="158" y="384"/>
                    </a:lnTo>
                    <a:lnTo>
                      <a:pt x="158" y="370"/>
                    </a:lnTo>
                    <a:lnTo>
                      <a:pt x="152" y="378"/>
                    </a:lnTo>
                    <a:lnTo>
                      <a:pt x="152" y="384"/>
                    </a:lnTo>
                    <a:lnTo>
                      <a:pt x="152" y="390"/>
                    </a:lnTo>
                    <a:lnTo>
                      <a:pt x="152" y="404"/>
                    </a:lnTo>
                    <a:lnTo>
                      <a:pt x="146" y="404"/>
                    </a:lnTo>
                    <a:lnTo>
                      <a:pt x="138" y="390"/>
                    </a:lnTo>
                    <a:lnTo>
                      <a:pt x="132" y="390"/>
                    </a:lnTo>
                    <a:lnTo>
                      <a:pt x="124" y="384"/>
                    </a:lnTo>
                    <a:lnTo>
                      <a:pt x="124" y="378"/>
                    </a:lnTo>
                    <a:lnTo>
                      <a:pt x="124" y="370"/>
                    </a:lnTo>
                    <a:lnTo>
                      <a:pt x="124" y="364"/>
                    </a:lnTo>
                    <a:lnTo>
                      <a:pt x="118" y="356"/>
                    </a:lnTo>
                    <a:lnTo>
                      <a:pt x="112" y="364"/>
                    </a:lnTo>
                    <a:lnTo>
                      <a:pt x="112" y="370"/>
                    </a:lnTo>
                    <a:lnTo>
                      <a:pt x="118" y="378"/>
                    </a:lnTo>
                    <a:lnTo>
                      <a:pt x="112" y="384"/>
                    </a:lnTo>
                    <a:lnTo>
                      <a:pt x="104" y="384"/>
                    </a:lnTo>
                    <a:lnTo>
                      <a:pt x="96" y="384"/>
                    </a:lnTo>
                    <a:lnTo>
                      <a:pt x="90" y="370"/>
                    </a:lnTo>
                    <a:lnTo>
                      <a:pt x="90" y="364"/>
                    </a:lnTo>
                    <a:lnTo>
                      <a:pt x="90" y="356"/>
                    </a:lnTo>
                    <a:lnTo>
                      <a:pt x="82" y="350"/>
                    </a:lnTo>
                    <a:lnTo>
                      <a:pt x="90" y="342"/>
                    </a:lnTo>
                    <a:lnTo>
                      <a:pt x="90" y="328"/>
                    </a:lnTo>
                    <a:lnTo>
                      <a:pt x="90" y="322"/>
                    </a:lnTo>
                    <a:lnTo>
                      <a:pt x="82" y="314"/>
                    </a:lnTo>
                    <a:lnTo>
                      <a:pt x="76" y="308"/>
                    </a:lnTo>
                    <a:lnTo>
                      <a:pt x="70" y="308"/>
                    </a:lnTo>
                    <a:lnTo>
                      <a:pt x="62" y="294"/>
                    </a:lnTo>
                    <a:lnTo>
                      <a:pt x="62" y="288"/>
                    </a:lnTo>
                    <a:lnTo>
                      <a:pt x="70" y="280"/>
                    </a:lnTo>
                    <a:lnTo>
                      <a:pt x="76" y="280"/>
                    </a:lnTo>
                    <a:lnTo>
                      <a:pt x="82" y="280"/>
                    </a:lnTo>
                    <a:lnTo>
                      <a:pt x="90" y="280"/>
                    </a:lnTo>
                    <a:lnTo>
                      <a:pt x="96" y="280"/>
                    </a:lnTo>
                    <a:lnTo>
                      <a:pt x="104" y="274"/>
                    </a:lnTo>
                    <a:lnTo>
                      <a:pt x="112" y="274"/>
                    </a:lnTo>
                    <a:lnTo>
                      <a:pt x="118" y="274"/>
                    </a:lnTo>
                    <a:lnTo>
                      <a:pt x="124" y="274"/>
                    </a:lnTo>
                    <a:lnTo>
                      <a:pt x="132" y="274"/>
                    </a:lnTo>
                    <a:lnTo>
                      <a:pt x="132" y="280"/>
                    </a:lnTo>
                    <a:lnTo>
                      <a:pt x="146" y="274"/>
                    </a:lnTo>
                    <a:lnTo>
                      <a:pt x="152" y="280"/>
                    </a:lnTo>
                    <a:lnTo>
                      <a:pt x="152" y="288"/>
                    </a:lnTo>
                    <a:lnTo>
                      <a:pt x="158" y="294"/>
                    </a:lnTo>
                    <a:lnTo>
                      <a:pt x="166" y="288"/>
                    </a:lnTo>
                    <a:lnTo>
                      <a:pt x="174" y="288"/>
                    </a:lnTo>
                    <a:lnTo>
                      <a:pt x="180" y="280"/>
                    </a:lnTo>
                    <a:lnTo>
                      <a:pt x="166" y="274"/>
                    </a:lnTo>
                    <a:lnTo>
                      <a:pt x="158" y="266"/>
                    </a:lnTo>
                    <a:lnTo>
                      <a:pt x="152" y="260"/>
                    </a:lnTo>
                    <a:lnTo>
                      <a:pt x="138" y="260"/>
                    </a:lnTo>
                    <a:lnTo>
                      <a:pt x="138" y="266"/>
                    </a:lnTo>
                    <a:lnTo>
                      <a:pt x="132" y="260"/>
                    </a:lnTo>
                    <a:lnTo>
                      <a:pt x="124" y="254"/>
                    </a:lnTo>
                    <a:lnTo>
                      <a:pt x="112" y="254"/>
                    </a:lnTo>
                    <a:lnTo>
                      <a:pt x="104" y="254"/>
                    </a:lnTo>
                    <a:lnTo>
                      <a:pt x="96" y="254"/>
                    </a:lnTo>
                    <a:lnTo>
                      <a:pt x="82" y="260"/>
                    </a:lnTo>
                    <a:lnTo>
                      <a:pt x="82" y="254"/>
                    </a:lnTo>
                    <a:lnTo>
                      <a:pt x="76" y="254"/>
                    </a:lnTo>
                    <a:lnTo>
                      <a:pt x="70" y="254"/>
                    </a:lnTo>
                    <a:lnTo>
                      <a:pt x="62" y="260"/>
                    </a:lnTo>
                    <a:lnTo>
                      <a:pt x="48" y="254"/>
                    </a:lnTo>
                    <a:lnTo>
                      <a:pt x="42" y="254"/>
                    </a:lnTo>
                    <a:lnTo>
                      <a:pt x="42" y="246"/>
                    </a:lnTo>
                    <a:lnTo>
                      <a:pt x="42" y="240"/>
                    </a:lnTo>
                    <a:lnTo>
                      <a:pt x="34" y="232"/>
                    </a:lnTo>
                    <a:lnTo>
                      <a:pt x="42" y="226"/>
                    </a:lnTo>
                    <a:lnTo>
                      <a:pt x="48" y="226"/>
                    </a:lnTo>
                    <a:lnTo>
                      <a:pt x="62" y="226"/>
                    </a:lnTo>
                    <a:lnTo>
                      <a:pt x="62" y="220"/>
                    </a:lnTo>
                    <a:lnTo>
                      <a:pt x="62" y="212"/>
                    </a:lnTo>
                    <a:lnTo>
                      <a:pt x="56" y="212"/>
                    </a:lnTo>
                    <a:lnTo>
                      <a:pt x="48" y="212"/>
                    </a:lnTo>
                    <a:lnTo>
                      <a:pt x="42" y="212"/>
                    </a:lnTo>
                    <a:lnTo>
                      <a:pt x="34" y="220"/>
                    </a:lnTo>
                    <a:lnTo>
                      <a:pt x="28" y="212"/>
                    </a:lnTo>
                    <a:lnTo>
                      <a:pt x="28" y="198"/>
                    </a:lnTo>
                    <a:lnTo>
                      <a:pt x="28" y="192"/>
                    </a:lnTo>
                    <a:lnTo>
                      <a:pt x="14" y="192"/>
                    </a:lnTo>
                    <a:lnTo>
                      <a:pt x="6" y="184"/>
                    </a:lnTo>
                    <a:lnTo>
                      <a:pt x="0" y="170"/>
                    </a:lnTo>
                    <a:lnTo>
                      <a:pt x="6" y="170"/>
                    </a:lnTo>
                    <a:lnTo>
                      <a:pt x="6" y="164"/>
                    </a:lnTo>
                    <a:lnTo>
                      <a:pt x="6" y="156"/>
                    </a:lnTo>
                    <a:lnTo>
                      <a:pt x="14" y="150"/>
                    </a:lnTo>
                    <a:lnTo>
                      <a:pt x="22" y="150"/>
                    </a:lnTo>
                    <a:lnTo>
                      <a:pt x="34" y="144"/>
                    </a:lnTo>
                    <a:lnTo>
                      <a:pt x="28" y="136"/>
                    </a:lnTo>
                    <a:lnTo>
                      <a:pt x="34" y="136"/>
                    </a:lnTo>
                    <a:lnTo>
                      <a:pt x="42" y="130"/>
                    </a:lnTo>
                    <a:lnTo>
                      <a:pt x="48" y="116"/>
                    </a:lnTo>
                    <a:lnTo>
                      <a:pt x="56" y="108"/>
                    </a:lnTo>
                    <a:lnTo>
                      <a:pt x="56" y="102"/>
                    </a:lnTo>
                    <a:lnTo>
                      <a:pt x="56" y="94"/>
                    </a:lnTo>
                    <a:lnTo>
                      <a:pt x="48" y="88"/>
                    </a:lnTo>
                    <a:lnTo>
                      <a:pt x="42" y="82"/>
                    </a:lnTo>
                    <a:lnTo>
                      <a:pt x="48" y="74"/>
                    </a:lnTo>
                    <a:lnTo>
                      <a:pt x="56" y="74"/>
                    </a:lnTo>
                    <a:lnTo>
                      <a:pt x="56" y="68"/>
                    </a:lnTo>
                    <a:lnTo>
                      <a:pt x="62" y="74"/>
                    </a:lnTo>
                    <a:lnTo>
                      <a:pt x="76" y="74"/>
                    </a:lnTo>
                    <a:lnTo>
                      <a:pt x="82" y="74"/>
                    </a:lnTo>
                    <a:lnTo>
                      <a:pt x="96" y="68"/>
                    </a:lnTo>
                    <a:lnTo>
                      <a:pt x="112" y="68"/>
                    </a:lnTo>
                    <a:lnTo>
                      <a:pt x="118" y="60"/>
                    </a:lnTo>
                    <a:lnTo>
                      <a:pt x="124" y="54"/>
                    </a:lnTo>
                    <a:lnTo>
                      <a:pt x="132" y="60"/>
                    </a:lnTo>
                    <a:lnTo>
                      <a:pt x="138" y="60"/>
                    </a:lnTo>
                    <a:lnTo>
                      <a:pt x="146" y="60"/>
                    </a:lnTo>
                    <a:lnTo>
                      <a:pt x="152" y="54"/>
                    </a:lnTo>
                    <a:lnTo>
                      <a:pt x="158" y="46"/>
                    </a:lnTo>
                    <a:lnTo>
                      <a:pt x="174" y="40"/>
                    </a:lnTo>
                    <a:lnTo>
                      <a:pt x="158" y="40"/>
                    </a:lnTo>
                    <a:lnTo>
                      <a:pt x="158" y="40"/>
                    </a:lnTo>
                    <a:lnTo>
                      <a:pt x="158" y="40"/>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3" name="Freeform 69"/>
              <p:cNvSpPr>
                <a:spLocks/>
              </p:cNvSpPr>
              <p:nvPr/>
            </p:nvSpPr>
            <p:spPr bwMode="gray">
              <a:xfrm>
                <a:off x="3629863" y="3990959"/>
                <a:ext cx="44460" cy="41284"/>
              </a:xfrm>
              <a:custGeom>
                <a:avLst/>
                <a:gdLst>
                  <a:gd name="T0" fmla="*/ 0 w 28"/>
                  <a:gd name="T1" fmla="*/ 10 h 26"/>
                  <a:gd name="T2" fmla="*/ 4 w 28"/>
                  <a:gd name="T3" fmla="*/ 4 h 26"/>
                  <a:gd name="T4" fmla="*/ 8 w 28"/>
                  <a:gd name="T5" fmla="*/ 2 h 26"/>
                  <a:gd name="T6" fmla="*/ 16 w 28"/>
                  <a:gd name="T7" fmla="*/ 0 h 26"/>
                  <a:gd name="T8" fmla="*/ 22 w 28"/>
                  <a:gd name="T9" fmla="*/ 0 h 26"/>
                  <a:gd name="T10" fmla="*/ 28 w 28"/>
                  <a:gd name="T11" fmla="*/ 10 h 26"/>
                  <a:gd name="T12" fmla="*/ 28 w 28"/>
                  <a:gd name="T13" fmla="*/ 20 h 26"/>
                  <a:gd name="T14" fmla="*/ 22 w 28"/>
                  <a:gd name="T15" fmla="*/ 26 h 26"/>
                  <a:gd name="T16" fmla="*/ 16 w 28"/>
                  <a:gd name="T17" fmla="*/ 26 h 26"/>
                  <a:gd name="T18" fmla="*/ 10 w 28"/>
                  <a:gd name="T19" fmla="*/ 26 h 26"/>
                  <a:gd name="T20" fmla="*/ 4 w 28"/>
                  <a:gd name="T21" fmla="*/ 22 h 26"/>
                  <a:gd name="T22" fmla="*/ 0 w 28"/>
                  <a:gd name="T23" fmla="*/ 10 h 26"/>
                  <a:gd name="T24" fmla="*/ 0 w 28"/>
                  <a:gd name="T25" fmla="*/ 10 h 26"/>
                  <a:gd name="T26" fmla="*/ 0 w 28"/>
                  <a:gd name="T2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26">
                    <a:moveTo>
                      <a:pt x="0" y="10"/>
                    </a:moveTo>
                    <a:lnTo>
                      <a:pt x="4" y="4"/>
                    </a:lnTo>
                    <a:lnTo>
                      <a:pt x="8" y="2"/>
                    </a:lnTo>
                    <a:lnTo>
                      <a:pt x="16" y="0"/>
                    </a:lnTo>
                    <a:lnTo>
                      <a:pt x="22" y="0"/>
                    </a:lnTo>
                    <a:lnTo>
                      <a:pt x="28" y="10"/>
                    </a:lnTo>
                    <a:lnTo>
                      <a:pt x="28" y="20"/>
                    </a:lnTo>
                    <a:lnTo>
                      <a:pt x="22" y="26"/>
                    </a:lnTo>
                    <a:lnTo>
                      <a:pt x="16" y="26"/>
                    </a:lnTo>
                    <a:lnTo>
                      <a:pt x="10" y="26"/>
                    </a:lnTo>
                    <a:lnTo>
                      <a:pt x="4" y="22"/>
                    </a:lnTo>
                    <a:lnTo>
                      <a:pt x="0" y="10"/>
                    </a:lnTo>
                    <a:lnTo>
                      <a:pt x="0" y="10"/>
                    </a:lnTo>
                    <a:lnTo>
                      <a:pt x="0" y="10"/>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4" name="Freeform 70"/>
              <p:cNvSpPr>
                <a:spLocks/>
              </p:cNvSpPr>
              <p:nvPr/>
            </p:nvSpPr>
            <p:spPr bwMode="gray">
              <a:xfrm>
                <a:off x="4412675" y="3568591"/>
                <a:ext cx="31757" cy="34933"/>
              </a:xfrm>
              <a:custGeom>
                <a:avLst/>
                <a:gdLst>
                  <a:gd name="T0" fmla="*/ 10 w 20"/>
                  <a:gd name="T1" fmla="*/ 0 h 22"/>
                  <a:gd name="T2" fmla="*/ 20 w 20"/>
                  <a:gd name="T3" fmla="*/ 6 h 22"/>
                  <a:gd name="T4" fmla="*/ 20 w 20"/>
                  <a:gd name="T5" fmla="*/ 18 h 22"/>
                  <a:gd name="T6" fmla="*/ 16 w 20"/>
                  <a:gd name="T7" fmla="*/ 22 h 22"/>
                  <a:gd name="T8" fmla="*/ 10 w 20"/>
                  <a:gd name="T9" fmla="*/ 22 h 22"/>
                  <a:gd name="T10" fmla="*/ 4 w 20"/>
                  <a:gd name="T11" fmla="*/ 22 h 22"/>
                  <a:gd name="T12" fmla="*/ 0 w 20"/>
                  <a:gd name="T13" fmla="*/ 18 h 22"/>
                  <a:gd name="T14" fmla="*/ 0 w 20"/>
                  <a:gd name="T15" fmla="*/ 6 h 22"/>
                  <a:gd name="T16" fmla="*/ 8 w 20"/>
                  <a:gd name="T17" fmla="*/ 2 h 22"/>
                  <a:gd name="T18" fmla="*/ 10 w 20"/>
                  <a:gd name="T19" fmla="*/ 0 h 22"/>
                  <a:gd name="T20" fmla="*/ 10 w 20"/>
                  <a:gd name="T21" fmla="*/ 0 h 22"/>
                  <a:gd name="T22" fmla="*/ 10 w 2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2">
                    <a:moveTo>
                      <a:pt x="10" y="0"/>
                    </a:moveTo>
                    <a:lnTo>
                      <a:pt x="20" y="6"/>
                    </a:lnTo>
                    <a:lnTo>
                      <a:pt x="20" y="18"/>
                    </a:lnTo>
                    <a:lnTo>
                      <a:pt x="16" y="22"/>
                    </a:lnTo>
                    <a:lnTo>
                      <a:pt x="10" y="22"/>
                    </a:lnTo>
                    <a:lnTo>
                      <a:pt x="4" y="22"/>
                    </a:lnTo>
                    <a:lnTo>
                      <a:pt x="0" y="18"/>
                    </a:lnTo>
                    <a:lnTo>
                      <a:pt x="0" y="6"/>
                    </a:lnTo>
                    <a:lnTo>
                      <a:pt x="8" y="2"/>
                    </a:lnTo>
                    <a:lnTo>
                      <a:pt x="10" y="0"/>
                    </a:lnTo>
                    <a:lnTo>
                      <a:pt x="10" y="0"/>
                    </a:lnTo>
                    <a:lnTo>
                      <a:pt x="10" y="0"/>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5" name="Line 71"/>
              <p:cNvSpPr>
                <a:spLocks noChangeShapeType="1"/>
              </p:cNvSpPr>
              <p:nvPr/>
            </p:nvSpPr>
            <p:spPr bwMode="gray">
              <a:xfrm>
                <a:off x="5039876" y="3295480"/>
                <a:ext cx="0" cy="0"/>
              </a:xfrm>
              <a:prstGeom prst="line">
                <a:avLst/>
              </a:prstGeom>
              <a:solidFill>
                <a:schemeClr val="bg2">
                  <a:lumMod val="40000"/>
                  <a:lumOff val="60000"/>
                </a:schemeClr>
              </a:solid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826" name="Line 72"/>
              <p:cNvSpPr>
                <a:spLocks noChangeShapeType="1"/>
              </p:cNvSpPr>
              <p:nvPr/>
            </p:nvSpPr>
            <p:spPr bwMode="gray">
              <a:xfrm>
                <a:off x="5039876" y="3295480"/>
                <a:ext cx="0" cy="0"/>
              </a:xfrm>
              <a:prstGeom prst="line">
                <a:avLst/>
              </a:prstGeom>
              <a:solidFill>
                <a:schemeClr val="bg2">
                  <a:lumMod val="40000"/>
                  <a:lumOff val="60000"/>
                </a:schemeClr>
              </a:solid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827" name="Freeform 73"/>
              <p:cNvSpPr>
                <a:spLocks/>
              </p:cNvSpPr>
              <p:nvPr>
                <p:custDataLst>
                  <p:tags r:id="rId150"/>
                </p:custDataLst>
              </p:nvPr>
            </p:nvSpPr>
            <p:spPr bwMode="gray">
              <a:xfrm>
                <a:off x="4669907" y="3158925"/>
                <a:ext cx="570039" cy="314395"/>
              </a:xfrm>
              <a:custGeom>
                <a:avLst/>
                <a:gdLst>
                  <a:gd name="T0" fmla="*/ 133 w 179"/>
                  <a:gd name="T1" fmla="*/ 19 h 99"/>
                  <a:gd name="T2" fmla="*/ 114 w 179"/>
                  <a:gd name="T3" fmla="*/ 13 h 99"/>
                  <a:gd name="T4" fmla="*/ 95 w 179"/>
                  <a:gd name="T5" fmla="*/ 5 h 99"/>
                  <a:gd name="T6" fmla="*/ 79 w 179"/>
                  <a:gd name="T7" fmla="*/ 2 h 99"/>
                  <a:gd name="T8" fmla="*/ 72 w 179"/>
                  <a:gd name="T9" fmla="*/ 6 h 99"/>
                  <a:gd name="T10" fmla="*/ 65 w 179"/>
                  <a:gd name="T11" fmla="*/ 9 h 99"/>
                  <a:gd name="T12" fmla="*/ 62 w 179"/>
                  <a:gd name="T13" fmla="*/ 2 h 99"/>
                  <a:gd name="T14" fmla="*/ 51 w 179"/>
                  <a:gd name="T15" fmla="*/ 9 h 99"/>
                  <a:gd name="T16" fmla="*/ 37 w 179"/>
                  <a:gd name="T17" fmla="*/ 19 h 99"/>
                  <a:gd name="T18" fmla="*/ 30 w 179"/>
                  <a:gd name="T19" fmla="*/ 23 h 99"/>
                  <a:gd name="T20" fmla="*/ 20 w 179"/>
                  <a:gd name="T21" fmla="*/ 26 h 99"/>
                  <a:gd name="T22" fmla="*/ 10 w 179"/>
                  <a:gd name="T23" fmla="*/ 23 h 99"/>
                  <a:gd name="T24" fmla="*/ 3 w 179"/>
                  <a:gd name="T25" fmla="*/ 23 h 99"/>
                  <a:gd name="T26" fmla="*/ 0 w 179"/>
                  <a:gd name="T27" fmla="*/ 26 h 99"/>
                  <a:gd name="T28" fmla="*/ 7 w 179"/>
                  <a:gd name="T29" fmla="*/ 33 h 99"/>
                  <a:gd name="T30" fmla="*/ 10 w 179"/>
                  <a:gd name="T31" fmla="*/ 43 h 99"/>
                  <a:gd name="T32" fmla="*/ 13 w 179"/>
                  <a:gd name="T33" fmla="*/ 54 h 99"/>
                  <a:gd name="T34" fmla="*/ 17 w 179"/>
                  <a:gd name="T35" fmla="*/ 60 h 99"/>
                  <a:gd name="T36" fmla="*/ 24 w 179"/>
                  <a:gd name="T37" fmla="*/ 74 h 99"/>
                  <a:gd name="T38" fmla="*/ 30 w 179"/>
                  <a:gd name="T39" fmla="*/ 78 h 99"/>
                  <a:gd name="T40" fmla="*/ 36 w 179"/>
                  <a:gd name="T41" fmla="*/ 84 h 99"/>
                  <a:gd name="T42" fmla="*/ 41 w 179"/>
                  <a:gd name="T43" fmla="*/ 91 h 99"/>
                  <a:gd name="T44" fmla="*/ 48 w 179"/>
                  <a:gd name="T45" fmla="*/ 95 h 99"/>
                  <a:gd name="T46" fmla="*/ 62 w 179"/>
                  <a:gd name="T47" fmla="*/ 95 h 99"/>
                  <a:gd name="T48" fmla="*/ 65 w 179"/>
                  <a:gd name="T49" fmla="*/ 88 h 99"/>
                  <a:gd name="T50" fmla="*/ 68 w 179"/>
                  <a:gd name="T51" fmla="*/ 84 h 99"/>
                  <a:gd name="T52" fmla="*/ 79 w 179"/>
                  <a:gd name="T53" fmla="*/ 84 h 99"/>
                  <a:gd name="T54" fmla="*/ 86 w 179"/>
                  <a:gd name="T55" fmla="*/ 88 h 99"/>
                  <a:gd name="T56" fmla="*/ 96 w 179"/>
                  <a:gd name="T57" fmla="*/ 88 h 99"/>
                  <a:gd name="T58" fmla="*/ 100 w 179"/>
                  <a:gd name="T59" fmla="*/ 93 h 99"/>
                  <a:gd name="T60" fmla="*/ 106 w 179"/>
                  <a:gd name="T61" fmla="*/ 98 h 99"/>
                  <a:gd name="T62" fmla="*/ 110 w 179"/>
                  <a:gd name="T63" fmla="*/ 99 h 99"/>
                  <a:gd name="T64" fmla="*/ 113 w 179"/>
                  <a:gd name="T65" fmla="*/ 99 h 99"/>
                  <a:gd name="T66" fmla="*/ 151 w 179"/>
                  <a:gd name="T67" fmla="*/ 71 h 99"/>
                  <a:gd name="T68" fmla="*/ 152 w 179"/>
                  <a:gd name="T69" fmla="*/ 66 h 99"/>
                  <a:gd name="T70" fmla="*/ 163 w 179"/>
                  <a:gd name="T71" fmla="*/ 66 h 99"/>
                  <a:gd name="T72" fmla="*/ 178 w 179"/>
                  <a:gd name="T73" fmla="*/ 60 h 99"/>
                  <a:gd name="T74" fmla="*/ 179 w 179"/>
                  <a:gd name="T75" fmla="*/ 52 h 99"/>
                  <a:gd name="T76" fmla="*/ 172 w 179"/>
                  <a:gd name="T77" fmla="*/ 44 h 99"/>
                  <a:gd name="T78" fmla="*/ 155 w 179"/>
                  <a:gd name="T79" fmla="*/ 39 h 99"/>
                  <a:gd name="T80" fmla="*/ 139 w 179"/>
                  <a:gd name="T81" fmla="*/ 28 h 99"/>
                  <a:gd name="T82" fmla="*/ 123 w 179"/>
                  <a:gd name="T83" fmla="*/ 3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9" h="99">
                    <a:moveTo>
                      <a:pt x="121" y="20"/>
                    </a:moveTo>
                    <a:cubicBezTo>
                      <a:pt x="133" y="19"/>
                      <a:pt x="133" y="19"/>
                      <a:pt x="133" y="19"/>
                    </a:cubicBezTo>
                    <a:cubicBezTo>
                      <a:pt x="121" y="17"/>
                      <a:pt x="121" y="17"/>
                      <a:pt x="121" y="17"/>
                    </a:cubicBezTo>
                    <a:cubicBezTo>
                      <a:pt x="114" y="13"/>
                      <a:pt x="114" y="13"/>
                      <a:pt x="114" y="13"/>
                    </a:cubicBezTo>
                    <a:cubicBezTo>
                      <a:pt x="106" y="10"/>
                      <a:pt x="106" y="10"/>
                      <a:pt x="106" y="10"/>
                    </a:cubicBezTo>
                    <a:cubicBezTo>
                      <a:pt x="95" y="5"/>
                      <a:pt x="95" y="5"/>
                      <a:pt x="95" y="5"/>
                    </a:cubicBezTo>
                    <a:cubicBezTo>
                      <a:pt x="89" y="0"/>
                      <a:pt x="89" y="0"/>
                      <a:pt x="89" y="0"/>
                    </a:cubicBezTo>
                    <a:cubicBezTo>
                      <a:pt x="79" y="2"/>
                      <a:pt x="79" y="2"/>
                      <a:pt x="79" y="2"/>
                    </a:cubicBezTo>
                    <a:cubicBezTo>
                      <a:pt x="72" y="2"/>
                      <a:pt x="72" y="2"/>
                      <a:pt x="72" y="2"/>
                    </a:cubicBezTo>
                    <a:cubicBezTo>
                      <a:pt x="72" y="6"/>
                      <a:pt x="72" y="6"/>
                      <a:pt x="72" y="6"/>
                    </a:cubicBezTo>
                    <a:cubicBezTo>
                      <a:pt x="68" y="9"/>
                      <a:pt x="68" y="9"/>
                      <a:pt x="68" y="9"/>
                    </a:cubicBezTo>
                    <a:cubicBezTo>
                      <a:pt x="65" y="9"/>
                      <a:pt x="65" y="9"/>
                      <a:pt x="65" y="9"/>
                    </a:cubicBezTo>
                    <a:cubicBezTo>
                      <a:pt x="65" y="6"/>
                      <a:pt x="65" y="6"/>
                      <a:pt x="65" y="6"/>
                    </a:cubicBezTo>
                    <a:cubicBezTo>
                      <a:pt x="62" y="2"/>
                      <a:pt x="62" y="2"/>
                      <a:pt x="62" y="2"/>
                    </a:cubicBezTo>
                    <a:cubicBezTo>
                      <a:pt x="55" y="6"/>
                      <a:pt x="55" y="6"/>
                      <a:pt x="55" y="6"/>
                    </a:cubicBezTo>
                    <a:cubicBezTo>
                      <a:pt x="51" y="9"/>
                      <a:pt x="51" y="9"/>
                      <a:pt x="51" y="9"/>
                    </a:cubicBezTo>
                    <a:cubicBezTo>
                      <a:pt x="48" y="13"/>
                      <a:pt x="48" y="13"/>
                      <a:pt x="48" y="13"/>
                    </a:cubicBezTo>
                    <a:cubicBezTo>
                      <a:pt x="37" y="19"/>
                      <a:pt x="37" y="19"/>
                      <a:pt x="37" y="19"/>
                    </a:cubicBezTo>
                    <a:cubicBezTo>
                      <a:pt x="34" y="19"/>
                      <a:pt x="34" y="19"/>
                      <a:pt x="34" y="19"/>
                    </a:cubicBezTo>
                    <a:cubicBezTo>
                      <a:pt x="30" y="23"/>
                      <a:pt x="30" y="23"/>
                      <a:pt x="30" y="23"/>
                    </a:cubicBezTo>
                    <a:cubicBezTo>
                      <a:pt x="27" y="23"/>
                      <a:pt x="27" y="23"/>
                      <a:pt x="27" y="23"/>
                    </a:cubicBezTo>
                    <a:cubicBezTo>
                      <a:pt x="20" y="26"/>
                      <a:pt x="20" y="26"/>
                      <a:pt x="20" y="26"/>
                    </a:cubicBezTo>
                    <a:cubicBezTo>
                      <a:pt x="13" y="26"/>
                      <a:pt x="13" y="26"/>
                      <a:pt x="13" y="26"/>
                    </a:cubicBezTo>
                    <a:cubicBezTo>
                      <a:pt x="10" y="23"/>
                      <a:pt x="10" y="23"/>
                      <a:pt x="10" y="23"/>
                    </a:cubicBezTo>
                    <a:cubicBezTo>
                      <a:pt x="3" y="26"/>
                      <a:pt x="3" y="26"/>
                      <a:pt x="3" y="26"/>
                    </a:cubicBezTo>
                    <a:cubicBezTo>
                      <a:pt x="3" y="23"/>
                      <a:pt x="3" y="23"/>
                      <a:pt x="3" y="23"/>
                    </a:cubicBezTo>
                    <a:cubicBezTo>
                      <a:pt x="0" y="19"/>
                      <a:pt x="0" y="19"/>
                      <a:pt x="0" y="19"/>
                    </a:cubicBezTo>
                    <a:cubicBezTo>
                      <a:pt x="0" y="26"/>
                      <a:pt x="0" y="26"/>
                      <a:pt x="0" y="26"/>
                    </a:cubicBezTo>
                    <a:cubicBezTo>
                      <a:pt x="3" y="33"/>
                      <a:pt x="3" y="33"/>
                      <a:pt x="3" y="33"/>
                    </a:cubicBezTo>
                    <a:cubicBezTo>
                      <a:pt x="7" y="33"/>
                      <a:pt x="7" y="33"/>
                      <a:pt x="7" y="33"/>
                    </a:cubicBezTo>
                    <a:cubicBezTo>
                      <a:pt x="7" y="40"/>
                      <a:pt x="7" y="40"/>
                      <a:pt x="7" y="40"/>
                    </a:cubicBezTo>
                    <a:cubicBezTo>
                      <a:pt x="10" y="43"/>
                      <a:pt x="10" y="43"/>
                      <a:pt x="10" y="43"/>
                    </a:cubicBezTo>
                    <a:cubicBezTo>
                      <a:pt x="13" y="47"/>
                      <a:pt x="13" y="47"/>
                      <a:pt x="13" y="47"/>
                    </a:cubicBezTo>
                    <a:cubicBezTo>
                      <a:pt x="13" y="54"/>
                      <a:pt x="13" y="54"/>
                      <a:pt x="13" y="54"/>
                    </a:cubicBezTo>
                    <a:cubicBezTo>
                      <a:pt x="13" y="57"/>
                      <a:pt x="13" y="57"/>
                      <a:pt x="13" y="57"/>
                    </a:cubicBezTo>
                    <a:cubicBezTo>
                      <a:pt x="17" y="60"/>
                      <a:pt x="17" y="60"/>
                      <a:pt x="17" y="60"/>
                    </a:cubicBezTo>
                    <a:cubicBezTo>
                      <a:pt x="20" y="67"/>
                      <a:pt x="20" y="67"/>
                      <a:pt x="20" y="67"/>
                    </a:cubicBezTo>
                    <a:cubicBezTo>
                      <a:pt x="24" y="74"/>
                      <a:pt x="24" y="74"/>
                      <a:pt x="24" y="74"/>
                    </a:cubicBezTo>
                    <a:cubicBezTo>
                      <a:pt x="27" y="78"/>
                      <a:pt x="27" y="78"/>
                      <a:pt x="27" y="78"/>
                    </a:cubicBezTo>
                    <a:cubicBezTo>
                      <a:pt x="30" y="78"/>
                      <a:pt x="30" y="78"/>
                      <a:pt x="30" y="78"/>
                    </a:cubicBezTo>
                    <a:cubicBezTo>
                      <a:pt x="33" y="81"/>
                      <a:pt x="33" y="81"/>
                      <a:pt x="33" y="81"/>
                    </a:cubicBezTo>
                    <a:cubicBezTo>
                      <a:pt x="36" y="84"/>
                      <a:pt x="36" y="84"/>
                      <a:pt x="36" y="84"/>
                    </a:cubicBezTo>
                    <a:cubicBezTo>
                      <a:pt x="39" y="88"/>
                      <a:pt x="39" y="88"/>
                      <a:pt x="39" y="88"/>
                    </a:cubicBezTo>
                    <a:cubicBezTo>
                      <a:pt x="41" y="91"/>
                      <a:pt x="41" y="91"/>
                      <a:pt x="41" y="91"/>
                    </a:cubicBezTo>
                    <a:cubicBezTo>
                      <a:pt x="44" y="91"/>
                      <a:pt x="44" y="91"/>
                      <a:pt x="44" y="91"/>
                    </a:cubicBezTo>
                    <a:cubicBezTo>
                      <a:pt x="48" y="95"/>
                      <a:pt x="48" y="95"/>
                      <a:pt x="48" y="95"/>
                    </a:cubicBezTo>
                    <a:cubicBezTo>
                      <a:pt x="55" y="95"/>
                      <a:pt x="55" y="95"/>
                      <a:pt x="55" y="95"/>
                    </a:cubicBezTo>
                    <a:cubicBezTo>
                      <a:pt x="62" y="95"/>
                      <a:pt x="62" y="95"/>
                      <a:pt x="62" y="95"/>
                    </a:cubicBezTo>
                    <a:cubicBezTo>
                      <a:pt x="65" y="91"/>
                      <a:pt x="65" y="91"/>
                      <a:pt x="65" y="91"/>
                    </a:cubicBezTo>
                    <a:cubicBezTo>
                      <a:pt x="65" y="88"/>
                      <a:pt x="65" y="88"/>
                      <a:pt x="65" y="88"/>
                    </a:cubicBezTo>
                    <a:cubicBezTo>
                      <a:pt x="66" y="86"/>
                      <a:pt x="66" y="86"/>
                      <a:pt x="66" y="86"/>
                    </a:cubicBezTo>
                    <a:cubicBezTo>
                      <a:pt x="68" y="84"/>
                      <a:pt x="68" y="84"/>
                      <a:pt x="68" y="84"/>
                    </a:cubicBezTo>
                    <a:cubicBezTo>
                      <a:pt x="75" y="84"/>
                      <a:pt x="75" y="84"/>
                      <a:pt x="75" y="84"/>
                    </a:cubicBezTo>
                    <a:cubicBezTo>
                      <a:pt x="79" y="84"/>
                      <a:pt x="79" y="84"/>
                      <a:pt x="79" y="84"/>
                    </a:cubicBezTo>
                    <a:cubicBezTo>
                      <a:pt x="82" y="84"/>
                      <a:pt x="82" y="84"/>
                      <a:pt x="82" y="84"/>
                    </a:cubicBezTo>
                    <a:cubicBezTo>
                      <a:pt x="86" y="88"/>
                      <a:pt x="86" y="88"/>
                      <a:pt x="86" y="88"/>
                    </a:cubicBezTo>
                    <a:cubicBezTo>
                      <a:pt x="89" y="88"/>
                      <a:pt x="89" y="88"/>
                      <a:pt x="89" y="88"/>
                    </a:cubicBezTo>
                    <a:cubicBezTo>
                      <a:pt x="96" y="88"/>
                      <a:pt x="96" y="88"/>
                      <a:pt x="96" y="88"/>
                    </a:cubicBezTo>
                    <a:cubicBezTo>
                      <a:pt x="97" y="91"/>
                      <a:pt x="97" y="91"/>
                      <a:pt x="97" y="91"/>
                    </a:cubicBezTo>
                    <a:cubicBezTo>
                      <a:pt x="100" y="93"/>
                      <a:pt x="100" y="93"/>
                      <a:pt x="100" y="93"/>
                    </a:cubicBezTo>
                    <a:cubicBezTo>
                      <a:pt x="101" y="95"/>
                      <a:pt x="101" y="95"/>
                      <a:pt x="101" y="95"/>
                    </a:cubicBezTo>
                    <a:cubicBezTo>
                      <a:pt x="106" y="98"/>
                      <a:pt x="106" y="98"/>
                      <a:pt x="106" y="98"/>
                    </a:cubicBezTo>
                    <a:cubicBezTo>
                      <a:pt x="109" y="99"/>
                      <a:pt x="109" y="99"/>
                      <a:pt x="109" y="99"/>
                    </a:cubicBezTo>
                    <a:cubicBezTo>
                      <a:pt x="110" y="99"/>
                      <a:pt x="110" y="99"/>
                      <a:pt x="110" y="99"/>
                    </a:cubicBezTo>
                    <a:cubicBezTo>
                      <a:pt x="110" y="98"/>
                      <a:pt x="110" y="98"/>
                      <a:pt x="110" y="98"/>
                    </a:cubicBezTo>
                    <a:cubicBezTo>
                      <a:pt x="110" y="98"/>
                      <a:pt x="111" y="99"/>
                      <a:pt x="113" y="99"/>
                    </a:cubicBezTo>
                    <a:cubicBezTo>
                      <a:pt x="121" y="95"/>
                      <a:pt x="140" y="93"/>
                      <a:pt x="145" y="77"/>
                    </a:cubicBezTo>
                    <a:cubicBezTo>
                      <a:pt x="147" y="75"/>
                      <a:pt x="148" y="73"/>
                      <a:pt x="151" y="71"/>
                    </a:cubicBezTo>
                    <a:cubicBezTo>
                      <a:pt x="152" y="67"/>
                      <a:pt x="150" y="69"/>
                      <a:pt x="152" y="66"/>
                    </a:cubicBezTo>
                    <a:cubicBezTo>
                      <a:pt x="152" y="64"/>
                      <a:pt x="152" y="66"/>
                      <a:pt x="152" y="66"/>
                    </a:cubicBezTo>
                    <a:cubicBezTo>
                      <a:pt x="154" y="66"/>
                      <a:pt x="154" y="66"/>
                      <a:pt x="156" y="66"/>
                    </a:cubicBezTo>
                    <a:cubicBezTo>
                      <a:pt x="158" y="66"/>
                      <a:pt x="162" y="66"/>
                      <a:pt x="163" y="66"/>
                    </a:cubicBezTo>
                    <a:cubicBezTo>
                      <a:pt x="163" y="62"/>
                      <a:pt x="165" y="60"/>
                      <a:pt x="167" y="60"/>
                    </a:cubicBezTo>
                    <a:cubicBezTo>
                      <a:pt x="169" y="60"/>
                      <a:pt x="177" y="60"/>
                      <a:pt x="178" y="60"/>
                    </a:cubicBezTo>
                    <a:cubicBezTo>
                      <a:pt x="176" y="56"/>
                      <a:pt x="176" y="56"/>
                      <a:pt x="176" y="56"/>
                    </a:cubicBezTo>
                    <a:cubicBezTo>
                      <a:pt x="179" y="52"/>
                      <a:pt x="179" y="52"/>
                      <a:pt x="179" y="52"/>
                    </a:cubicBezTo>
                    <a:cubicBezTo>
                      <a:pt x="170" y="50"/>
                      <a:pt x="170" y="50"/>
                      <a:pt x="170" y="50"/>
                    </a:cubicBezTo>
                    <a:cubicBezTo>
                      <a:pt x="172" y="44"/>
                      <a:pt x="172" y="44"/>
                      <a:pt x="172" y="44"/>
                    </a:cubicBezTo>
                    <a:cubicBezTo>
                      <a:pt x="165" y="40"/>
                      <a:pt x="165" y="40"/>
                      <a:pt x="165" y="40"/>
                    </a:cubicBezTo>
                    <a:cubicBezTo>
                      <a:pt x="155" y="39"/>
                      <a:pt x="155" y="39"/>
                      <a:pt x="155" y="39"/>
                    </a:cubicBezTo>
                    <a:cubicBezTo>
                      <a:pt x="146" y="29"/>
                      <a:pt x="146" y="29"/>
                      <a:pt x="146" y="29"/>
                    </a:cubicBezTo>
                    <a:cubicBezTo>
                      <a:pt x="139" y="28"/>
                      <a:pt x="139" y="28"/>
                      <a:pt x="139" y="28"/>
                    </a:cubicBezTo>
                    <a:cubicBezTo>
                      <a:pt x="135" y="26"/>
                      <a:pt x="135" y="26"/>
                      <a:pt x="135" y="26"/>
                    </a:cubicBezTo>
                    <a:cubicBezTo>
                      <a:pt x="123" y="33"/>
                      <a:pt x="123" y="33"/>
                      <a:pt x="123" y="33"/>
                    </a:cubicBezTo>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8" name="Freeform 74"/>
              <p:cNvSpPr>
                <a:spLocks/>
              </p:cNvSpPr>
              <p:nvPr/>
            </p:nvSpPr>
            <p:spPr bwMode="gray">
              <a:xfrm>
                <a:off x="5281230" y="2666690"/>
                <a:ext cx="247705" cy="114326"/>
              </a:xfrm>
              <a:custGeom>
                <a:avLst/>
                <a:gdLst>
                  <a:gd name="T0" fmla="*/ 152 w 156"/>
                  <a:gd name="T1" fmla="*/ 30 h 72"/>
                  <a:gd name="T2" fmla="*/ 150 w 156"/>
                  <a:gd name="T3" fmla="*/ 26 h 72"/>
                  <a:gd name="T4" fmla="*/ 146 w 156"/>
                  <a:gd name="T5" fmla="*/ 26 h 72"/>
                  <a:gd name="T6" fmla="*/ 144 w 156"/>
                  <a:gd name="T7" fmla="*/ 20 h 72"/>
                  <a:gd name="T8" fmla="*/ 142 w 156"/>
                  <a:gd name="T9" fmla="*/ 16 h 72"/>
                  <a:gd name="T10" fmla="*/ 122 w 156"/>
                  <a:gd name="T11" fmla="*/ 18 h 72"/>
                  <a:gd name="T12" fmla="*/ 120 w 156"/>
                  <a:gd name="T13" fmla="*/ 20 h 72"/>
                  <a:gd name="T14" fmla="*/ 116 w 156"/>
                  <a:gd name="T15" fmla="*/ 16 h 72"/>
                  <a:gd name="T16" fmla="*/ 114 w 156"/>
                  <a:gd name="T17" fmla="*/ 16 h 72"/>
                  <a:gd name="T18" fmla="*/ 110 w 156"/>
                  <a:gd name="T19" fmla="*/ 14 h 72"/>
                  <a:gd name="T20" fmla="*/ 102 w 156"/>
                  <a:gd name="T21" fmla="*/ 12 h 72"/>
                  <a:gd name="T22" fmla="*/ 92 w 156"/>
                  <a:gd name="T23" fmla="*/ 8 h 72"/>
                  <a:gd name="T24" fmla="*/ 84 w 156"/>
                  <a:gd name="T25" fmla="*/ 0 h 72"/>
                  <a:gd name="T26" fmla="*/ 80 w 156"/>
                  <a:gd name="T27" fmla="*/ 4 h 72"/>
                  <a:gd name="T28" fmla="*/ 78 w 156"/>
                  <a:gd name="T29" fmla="*/ 6 h 72"/>
                  <a:gd name="T30" fmla="*/ 78 w 156"/>
                  <a:gd name="T31" fmla="*/ 6 h 72"/>
                  <a:gd name="T32" fmla="*/ 76 w 156"/>
                  <a:gd name="T33" fmla="*/ 8 h 72"/>
                  <a:gd name="T34" fmla="*/ 76 w 156"/>
                  <a:gd name="T35" fmla="*/ 12 h 72"/>
                  <a:gd name="T36" fmla="*/ 78 w 156"/>
                  <a:gd name="T37" fmla="*/ 26 h 72"/>
                  <a:gd name="T38" fmla="*/ 72 w 156"/>
                  <a:gd name="T39" fmla="*/ 30 h 72"/>
                  <a:gd name="T40" fmla="*/ 70 w 156"/>
                  <a:gd name="T41" fmla="*/ 30 h 72"/>
                  <a:gd name="T42" fmla="*/ 66 w 156"/>
                  <a:gd name="T43" fmla="*/ 30 h 72"/>
                  <a:gd name="T44" fmla="*/ 48 w 156"/>
                  <a:gd name="T45" fmla="*/ 26 h 72"/>
                  <a:gd name="T46" fmla="*/ 44 w 156"/>
                  <a:gd name="T47" fmla="*/ 26 h 72"/>
                  <a:gd name="T48" fmla="*/ 46 w 156"/>
                  <a:gd name="T49" fmla="*/ 24 h 72"/>
                  <a:gd name="T50" fmla="*/ 58 w 156"/>
                  <a:gd name="T51" fmla="*/ 10 h 72"/>
                  <a:gd name="T52" fmla="*/ 62 w 156"/>
                  <a:gd name="T53" fmla="*/ 8 h 72"/>
                  <a:gd name="T54" fmla="*/ 62 w 156"/>
                  <a:gd name="T55" fmla="*/ 6 h 72"/>
                  <a:gd name="T56" fmla="*/ 64 w 156"/>
                  <a:gd name="T57" fmla="*/ 4 h 72"/>
                  <a:gd name="T58" fmla="*/ 66 w 156"/>
                  <a:gd name="T59" fmla="*/ 2 h 72"/>
                  <a:gd name="T60" fmla="*/ 64 w 156"/>
                  <a:gd name="T61" fmla="*/ 0 h 72"/>
                  <a:gd name="T62" fmla="*/ 42 w 156"/>
                  <a:gd name="T63" fmla="*/ 24 h 72"/>
                  <a:gd name="T64" fmla="*/ 26 w 156"/>
                  <a:gd name="T65" fmla="*/ 26 h 72"/>
                  <a:gd name="T66" fmla="*/ 20 w 156"/>
                  <a:gd name="T67" fmla="*/ 24 h 72"/>
                  <a:gd name="T68" fmla="*/ 16 w 156"/>
                  <a:gd name="T69" fmla="*/ 28 h 72"/>
                  <a:gd name="T70" fmla="*/ 18 w 156"/>
                  <a:gd name="T71" fmla="*/ 36 h 72"/>
                  <a:gd name="T72" fmla="*/ 16 w 156"/>
                  <a:gd name="T73" fmla="*/ 44 h 72"/>
                  <a:gd name="T74" fmla="*/ 14 w 156"/>
                  <a:gd name="T75" fmla="*/ 46 h 72"/>
                  <a:gd name="T76" fmla="*/ 14 w 156"/>
                  <a:gd name="T77" fmla="*/ 48 h 72"/>
                  <a:gd name="T78" fmla="*/ 6 w 156"/>
                  <a:gd name="T79" fmla="*/ 60 h 72"/>
                  <a:gd name="T80" fmla="*/ 0 w 156"/>
                  <a:gd name="T81" fmla="*/ 64 h 72"/>
                  <a:gd name="T82" fmla="*/ 18 w 156"/>
                  <a:gd name="T83" fmla="*/ 66 h 72"/>
                  <a:gd name="T84" fmla="*/ 102 w 156"/>
                  <a:gd name="T85" fmla="*/ 70 h 72"/>
                  <a:gd name="T86" fmla="*/ 152 w 156"/>
                  <a:gd name="T87" fmla="*/ 72 h 72"/>
                  <a:gd name="T88" fmla="*/ 148 w 156"/>
                  <a:gd name="T89" fmla="*/ 56 h 72"/>
                  <a:gd name="T90" fmla="*/ 150 w 156"/>
                  <a:gd name="T91" fmla="*/ 48 h 72"/>
                  <a:gd name="T92" fmla="*/ 150 w 156"/>
                  <a:gd name="T93" fmla="*/ 44 h 72"/>
                  <a:gd name="T94" fmla="*/ 150 w 156"/>
                  <a:gd name="T95" fmla="*/ 44 h 72"/>
                  <a:gd name="T96" fmla="*/ 152 w 156"/>
                  <a:gd name="T97" fmla="*/ 42 h 72"/>
                  <a:gd name="T98" fmla="*/ 156 w 156"/>
                  <a:gd name="T99" fmla="*/ 38 h 72"/>
                  <a:gd name="T100" fmla="*/ 156 w 156"/>
                  <a:gd name="T101" fmla="*/ 3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6" h="72">
                    <a:moveTo>
                      <a:pt x="156" y="32"/>
                    </a:moveTo>
                    <a:lnTo>
                      <a:pt x="156" y="32"/>
                    </a:lnTo>
                    <a:lnTo>
                      <a:pt x="154" y="30"/>
                    </a:lnTo>
                    <a:lnTo>
                      <a:pt x="152" y="30"/>
                    </a:lnTo>
                    <a:lnTo>
                      <a:pt x="152" y="28"/>
                    </a:lnTo>
                    <a:lnTo>
                      <a:pt x="152" y="28"/>
                    </a:lnTo>
                    <a:lnTo>
                      <a:pt x="152" y="28"/>
                    </a:lnTo>
                    <a:lnTo>
                      <a:pt x="150" y="26"/>
                    </a:lnTo>
                    <a:lnTo>
                      <a:pt x="150" y="26"/>
                    </a:lnTo>
                    <a:lnTo>
                      <a:pt x="150" y="26"/>
                    </a:lnTo>
                    <a:lnTo>
                      <a:pt x="150" y="26"/>
                    </a:lnTo>
                    <a:lnTo>
                      <a:pt x="146" y="26"/>
                    </a:lnTo>
                    <a:lnTo>
                      <a:pt x="146" y="26"/>
                    </a:lnTo>
                    <a:lnTo>
                      <a:pt x="146" y="24"/>
                    </a:lnTo>
                    <a:lnTo>
                      <a:pt x="144" y="22"/>
                    </a:lnTo>
                    <a:lnTo>
                      <a:pt x="144" y="20"/>
                    </a:lnTo>
                    <a:lnTo>
                      <a:pt x="144" y="18"/>
                    </a:lnTo>
                    <a:lnTo>
                      <a:pt x="144" y="18"/>
                    </a:lnTo>
                    <a:lnTo>
                      <a:pt x="142" y="16"/>
                    </a:lnTo>
                    <a:lnTo>
                      <a:pt x="142" y="16"/>
                    </a:lnTo>
                    <a:lnTo>
                      <a:pt x="136" y="18"/>
                    </a:lnTo>
                    <a:lnTo>
                      <a:pt x="128" y="16"/>
                    </a:lnTo>
                    <a:lnTo>
                      <a:pt x="128" y="16"/>
                    </a:lnTo>
                    <a:lnTo>
                      <a:pt x="122" y="18"/>
                    </a:lnTo>
                    <a:lnTo>
                      <a:pt x="122" y="18"/>
                    </a:lnTo>
                    <a:lnTo>
                      <a:pt x="122" y="20"/>
                    </a:lnTo>
                    <a:lnTo>
                      <a:pt x="120" y="20"/>
                    </a:lnTo>
                    <a:lnTo>
                      <a:pt x="120" y="20"/>
                    </a:lnTo>
                    <a:lnTo>
                      <a:pt x="118" y="20"/>
                    </a:lnTo>
                    <a:lnTo>
                      <a:pt x="116" y="18"/>
                    </a:lnTo>
                    <a:lnTo>
                      <a:pt x="116" y="18"/>
                    </a:lnTo>
                    <a:lnTo>
                      <a:pt x="116" y="16"/>
                    </a:lnTo>
                    <a:lnTo>
                      <a:pt x="116" y="16"/>
                    </a:lnTo>
                    <a:lnTo>
                      <a:pt x="116" y="14"/>
                    </a:lnTo>
                    <a:lnTo>
                      <a:pt x="114" y="14"/>
                    </a:lnTo>
                    <a:lnTo>
                      <a:pt x="114" y="16"/>
                    </a:lnTo>
                    <a:lnTo>
                      <a:pt x="112" y="16"/>
                    </a:lnTo>
                    <a:lnTo>
                      <a:pt x="112" y="16"/>
                    </a:lnTo>
                    <a:lnTo>
                      <a:pt x="112" y="16"/>
                    </a:lnTo>
                    <a:lnTo>
                      <a:pt x="110" y="14"/>
                    </a:lnTo>
                    <a:lnTo>
                      <a:pt x="108" y="14"/>
                    </a:lnTo>
                    <a:lnTo>
                      <a:pt x="106" y="12"/>
                    </a:lnTo>
                    <a:lnTo>
                      <a:pt x="104" y="12"/>
                    </a:lnTo>
                    <a:lnTo>
                      <a:pt x="102" y="12"/>
                    </a:lnTo>
                    <a:lnTo>
                      <a:pt x="102" y="10"/>
                    </a:lnTo>
                    <a:lnTo>
                      <a:pt x="98" y="8"/>
                    </a:lnTo>
                    <a:lnTo>
                      <a:pt x="96" y="8"/>
                    </a:lnTo>
                    <a:lnTo>
                      <a:pt x="92" y="8"/>
                    </a:lnTo>
                    <a:lnTo>
                      <a:pt x="90" y="6"/>
                    </a:lnTo>
                    <a:lnTo>
                      <a:pt x="86" y="0"/>
                    </a:lnTo>
                    <a:lnTo>
                      <a:pt x="86" y="0"/>
                    </a:lnTo>
                    <a:lnTo>
                      <a:pt x="84" y="0"/>
                    </a:lnTo>
                    <a:lnTo>
                      <a:pt x="80" y="2"/>
                    </a:lnTo>
                    <a:lnTo>
                      <a:pt x="80" y="4"/>
                    </a:lnTo>
                    <a:lnTo>
                      <a:pt x="80" y="4"/>
                    </a:lnTo>
                    <a:lnTo>
                      <a:pt x="80" y="4"/>
                    </a:lnTo>
                    <a:lnTo>
                      <a:pt x="80" y="6"/>
                    </a:lnTo>
                    <a:lnTo>
                      <a:pt x="80" y="6"/>
                    </a:lnTo>
                    <a:lnTo>
                      <a:pt x="80" y="6"/>
                    </a:lnTo>
                    <a:lnTo>
                      <a:pt x="78" y="6"/>
                    </a:lnTo>
                    <a:lnTo>
                      <a:pt x="78" y="6"/>
                    </a:lnTo>
                    <a:lnTo>
                      <a:pt x="78" y="6"/>
                    </a:lnTo>
                    <a:lnTo>
                      <a:pt x="78" y="6"/>
                    </a:lnTo>
                    <a:lnTo>
                      <a:pt x="78" y="6"/>
                    </a:lnTo>
                    <a:lnTo>
                      <a:pt x="76" y="6"/>
                    </a:lnTo>
                    <a:lnTo>
                      <a:pt x="76" y="6"/>
                    </a:lnTo>
                    <a:lnTo>
                      <a:pt x="76" y="8"/>
                    </a:lnTo>
                    <a:lnTo>
                      <a:pt x="76" y="8"/>
                    </a:lnTo>
                    <a:lnTo>
                      <a:pt x="76" y="8"/>
                    </a:lnTo>
                    <a:lnTo>
                      <a:pt x="76" y="10"/>
                    </a:lnTo>
                    <a:lnTo>
                      <a:pt x="76" y="10"/>
                    </a:lnTo>
                    <a:lnTo>
                      <a:pt x="76" y="12"/>
                    </a:lnTo>
                    <a:lnTo>
                      <a:pt x="78" y="22"/>
                    </a:lnTo>
                    <a:lnTo>
                      <a:pt x="78" y="24"/>
                    </a:lnTo>
                    <a:lnTo>
                      <a:pt x="80" y="26"/>
                    </a:lnTo>
                    <a:lnTo>
                      <a:pt x="78" y="26"/>
                    </a:lnTo>
                    <a:lnTo>
                      <a:pt x="76" y="28"/>
                    </a:lnTo>
                    <a:lnTo>
                      <a:pt x="72" y="28"/>
                    </a:lnTo>
                    <a:lnTo>
                      <a:pt x="72" y="30"/>
                    </a:lnTo>
                    <a:lnTo>
                      <a:pt x="72" y="30"/>
                    </a:lnTo>
                    <a:lnTo>
                      <a:pt x="72" y="30"/>
                    </a:lnTo>
                    <a:lnTo>
                      <a:pt x="72" y="30"/>
                    </a:lnTo>
                    <a:lnTo>
                      <a:pt x="72" y="30"/>
                    </a:lnTo>
                    <a:lnTo>
                      <a:pt x="70" y="30"/>
                    </a:lnTo>
                    <a:lnTo>
                      <a:pt x="70" y="28"/>
                    </a:lnTo>
                    <a:lnTo>
                      <a:pt x="70" y="30"/>
                    </a:lnTo>
                    <a:lnTo>
                      <a:pt x="70" y="30"/>
                    </a:lnTo>
                    <a:lnTo>
                      <a:pt x="66" y="30"/>
                    </a:lnTo>
                    <a:lnTo>
                      <a:pt x="60" y="30"/>
                    </a:lnTo>
                    <a:lnTo>
                      <a:pt x="58" y="26"/>
                    </a:lnTo>
                    <a:lnTo>
                      <a:pt x="56" y="26"/>
                    </a:lnTo>
                    <a:lnTo>
                      <a:pt x="48" y="26"/>
                    </a:lnTo>
                    <a:lnTo>
                      <a:pt x="46" y="26"/>
                    </a:lnTo>
                    <a:lnTo>
                      <a:pt x="46" y="26"/>
                    </a:lnTo>
                    <a:lnTo>
                      <a:pt x="46" y="26"/>
                    </a:lnTo>
                    <a:lnTo>
                      <a:pt x="44" y="26"/>
                    </a:lnTo>
                    <a:lnTo>
                      <a:pt x="44" y="24"/>
                    </a:lnTo>
                    <a:lnTo>
                      <a:pt x="44" y="24"/>
                    </a:lnTo>
                    <a:lnTo>
                      <a:pt x="46" y="24"/>
                    </a:lnTo>
                    <a:lnTo>
                      <a:pt x="46" y="24"/>
                    </a:lnTo>
                    <a:lnTo>
                      <a:pt x="46" y="24"/>
                    </a:lnTo>
                    <a:lnTo>
                      <a:pt x="52" y="18"/>
                    </a:lnTo>
                    <a:lnTo>
                      <a:pt x="56" y="14"/>
                    </a:lnTo>
                    <a:lnTo>
                      <a:pt x="58" y="10"/>
                    </a:lnTo>
                    <a:lnTo>
                      <a:pt x="60" y="10"/>
                    </a:lnTo>
                    <a:lnTo>
                      <a:pt x="60" y="8"/>
                    </a:lnTo>
                    <a:lnTo>
                      <a:pt x="60" y="8"/>
                    </a:lnTo>
                    <a:lnTo>
                      <a:pt x="62" y="8"/>
                    </a:lnTo>
                    <a:lnTo>
                      <a:pt x="62" y="6"/>
                    </a:lnTo>
                    <a:lnTo>
                      <a:pt x="62" y="6"/>
                    </a:lnTo>
                    <a:lnTo>
                      <a:pt x="62" y="6"/>
                    </a:lnTo>
                    <a:lnTo>
                      <a:pt x="62" y="6"/>
                    </a:lnTo>
                    <a:lnTo>
                      <a:pt x="62" y="6"/>
                    </a:lnTo>
                    <a:lnTo>
                      <a:pt x="62" y="4"/>
                    </a:lnTo>
                    <a:lnTo>
                      <a:pt x="64" y="4"/>
                    </a:lnTo>
                    <a:lnTo>
                      <a:pt x="64" y="4"/>
                    </a:lnTo>
                    <a:lnTo>
                      <a:pt x="64" y="4"/>
                    </a:lnTo>
                    <a:lnTo>
                      <a:pt x="64" y="4"/>
                    </a:lnTo>
                    <a:lnTo>
                      <a:pt x="64" y="2"/>
                    </a:lnTo>
                    <a:lnTo>
                      <a:pt x="66" y="2"/>
                    </a:lnTo>
                    <a:lnTo>
                      <a:pt x="66" y="0"/>
                    </a:lnTo>
                    <a:lnTo>
                      <a:pt x="66" y="0"/>
                    </a:lnTo>
                    <a:lnTo>
                      <a:pt x="66" y="0"/>
                    </a:lnTo>
                    <a:lnTo>
                      <a:pt x="64" y="0"/>
                    </a:lnTo>
                    <a:lnTo>
                      <a:pt x="58" y="8"/>
                    </a:lnTo>
                    <a:lnTo>
                      <a:pt x="58" y="8"/>
                    </a:lnTo>
                    <a:lnTo>
                      <a:pt x="50" y="18"/>
                    </a:lnTo>
                    <a:lnTo>
                      <a:pt x="42" y="24"/>
                    </a:lnTo>
                    <a:lnTo>
                      <a:pt x="38" y="26"/>
                    </a:lnTo>
                    <a:lnTo>
                      <a:pt x="36" y="26"/>
                    </a:lnTo>
                    <a:lnTo>
                      <a:pt x="30" y="26"/>
                    </a:lnTo>
                    <a:lnTo>
                      <a:pt x="26" y="26"/>
                    </a:lnTo>
                    <a:lnTo>
                      <a:pt x="22" y="26"/>
                    </a:lnTo>
                    <a:lnTo>
                      <a:pt x="22" y="26"/>
                    </a:lnTo>
                    <a:lnTo>
                      <a:pt x="20" y="26"/>
                    </a:lnTo>
                    <a:lnTo>
                      <a:pt x="20" y="24"/>
                    </a:lnTo>
                    <a:lnTo>
                      <a:pt x="18" y="24"/>
                    </a:lnTo>
                    <a:lnTo>
                      <a:pt x="18" y="26"/>
                    </a:lnTo>
                    <a:lnTo>
                      <a:pt x="16" y="28"/>
                    </a:lnTo>
                    <a:lnTo>
                      <a:pt x="16" y="28"/>
                    </a:lnTo>
                    <a:lnTo>
                      <a:pt x="16" y="30"/>
                    </a:lnTo>
                    <a:lnTo>
                      <a:pt x="16" y="32"/>
                    </a:lnTo>
                    <a:lnTo>
                      <a:pt x="16" y="32"/>
                    </a:lnTo>
                    <a:lnTo>
                      <a:pt x="18" y="36"/>
                    </a:lnTo>
                    <a:lnTo>
                      <a:pt x="18" y="38"/>
                    </a:lnTo>
                    <a:lnTo>
                      <a:pt x="18" y="40"/>
                    </a:lnTo>
                    <a:lnTo>
                      <a:pt x="18" y="40"/>
                    </a:lnTo>
                    <a:lnTo>
                      <a:pt x="16" y="44"/>
                    </a:lnTo>
                    <a:lnTo>
                      <a:pt x="16" y="46"/>
                    </a:lnTo>
                    <a:lnTo>
                      <a:pt x="14" y="46"/>
                    </a:lnTo>
                    <a:lnTo>
                      <a:pt x="14" y="46"/>
                    </a:lnTo>
                    <a:lnTo>
                      <a:pt x="14" y="46"/>
                    </a:lnTo>
                    <a:lnTo>
                      <a:pt x="14" y="48"/>
                    </a:lnTo>
                    <a:lnTo>
                      <a:pt x="14" y="48"/>
                    </a:lnTo>
                    <a:lnTo>
                      <a:pt x="14" y="48"/>
                    </a:lnTo>
                    <a:lnTo>
                      <a:pt x="14" y="48"/>
                    </a:lnTo>
                    <a:lnTo>
                      <a:pt x="14" y="48"/>
                    </a:lnTo>
                    <a:lnTo>
                      <a:pt x="14" y="48"/>
                    </a:lnTo>
                    <a:lnTo>
                      <a:pt x="12" y="54"/>
                    </a:lnTo>
                    <a:lnTo>
                      <a:pt x="6" y="60"/>
                    </a:lnTo>
                    <a:lnTo>
                      <a:pt x="2" y="64"/>
                    </a:lnTo>
                    <a:lnTo>
                      <a:pt x="2" y="64"/>
                    </a:lnTo>
                    <a:lnTo>
                      <a:pt x="0" y="64"/>
                    </a:lnTo>
                    <a:lnTo>
                      <a:pt x="0" y="64"/>
                    </a:lnTo>
                    <a:lnTo>
                      <a:pt x="2" y="64"/>
                    </a:lnTo>
                    <a:lnTo>
                      <a:pt x="4" y="66"/>
                    </a:lnTo>
                    <a:lnTo>
                      <a:pt x="8" y="66"/>
                    </a:lnTo>
                    <a:lnTo>
                      <a:pt x="18" y="66"/>
                    </a:lnTo>
                    <a:lnTo>
                      <a:pt x="36" y="68"/>
                    </a:lnTo>
                    <a:lnTo>
                      <a:pt x="64" y="68"/>
                    </a:lnTo>
                    <a:lnTo>
                      <a:pt x="82" y="70"/>
                    </a:lnTo>
                    <a:lnTo>
                      <a:pt x="102" y="70"/>
                    </a:lnTo>
                    <a:lnTo>
                      <a:pt x="128" y="72"/>
                    </a:lnTo>
                    <a:lnTo>
                      <a:pt x="140" y="72"/>
                    </a:lnTo>
                    <a:lnTo>
                      <a:pt x="150" y="72"/>
                    </a:lnTo>
                    <a:lnTo>
                      <a:pt x="152" y="72"/>
                    </a:lnTo>
                    <a:lnTo>
                      <a:pt x="150" y="68"/>
                    </a:lnTo>
                    <a:lnTo>
                      <a:pt x="148" y="64"/>
                    </a:lnTo>
                    <a:lnTo>
                      <a:pt x="148" y="62"/>
                    </a:lnTo>
                    <a:lnTo>
                      <a:pt x="148" y="56"/>
                    </a:lnTo>
                    <a:lnTo>
                      <a:pt x="150" y="52"/>
                    </a:lnTo>
                    <a:lnTo>
                      <a:pt x="150" y="50"/>
                    </a:lnTo>
                    <a:lnTo>
                      <a:pt x="150" y="50"/>
                    </a:lnTo>
                    <a:lnTo>
                      <a:pt x="150" y="48"/>
                    </a:lnTo>
                    <a:lnTo>
                      <a:pt x="150" y="48"/>
                    </a:lnTo>
                    <a:lnTo>
                      <a:pt x="150" y="46"/>
                    </a:lnTo>
                    <a:lnTo>
                      <a:pt x="150" y="44"/>
                    </a:lnTo>
                    <a:lnTo>
                      <a:pt x="150" y="44"/>
                    </a:lnTo>
                    <a:lnTo>
                      <a:pt x="150" y="44"/>
                    </a:lnTo>
                    <a:lnTo>
                      <a:pt x="150" y="44"/>
                    </a:lnTo>
                    <a:lnTo>
                      <a:pt x="150" y="44"/>
                    </a:lnTo>
                    <a:lnTo>
                      <a:pt x="150" y="44"/>
                    </a:lnTo>
                    <a:lnTo>
                      <a:pt x="152" y="44"/>
                    </a:lnTo>
                    <a:lnTo>
                      <a:pt x="152" y="42"/>
                    </a:lnTo>
                    <a:lnTo>
                      <a:pt x="152" y="42"/>
                    </a:lnTo>
                    <a:lnTo>
                      <a:pt x="152" y="42"/>
                    </a:lnTo>
                    <a:lnTo>
                      <a:pt x="154" y="42"/>
                    </a:lnTo>
                    <a:lnTo>
                      <a:pt x="156" y="40"/>
                    </a:lnTo>
                    <a:lnTo>
                      <a:pt x="156" y="40"/>
                    </a:lnTo>
                    <a:lnTo>
                      <a:pt x="156" y="38"/>
                    </a:lnTo>
                    <a:lnTo>
                      <a:pt x="156" y="36"/>
                    </a:lnTo>
                    <a:lnTo>
                      <a:pt x="156" y="36"/>
                    </a:lnTo>
                    <a:lnTo>
                      <a:pt x="156" y="32"/>
                    </a:lnTo>
                    <a:lnTo>
                      <a:pt x="156" y="32"/>
                    </a:lnTo>
                    <a:lnTo>
                      <a:pt x="156" y="32"/>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9" name="Freeform 75"/>
              <p:cNvSpPr>
                <a:spLocks/>
              </p:cNvSpPr>
              <p:nvPr>
                <p:custDataLst>
                  <p:tags r:id="rId151"/>
                </p:custDataLst>
              </p:nvPr>
            </p:nvSpPr>
            <p:spPr bwMode="gray">
              <a:xfrm>
                <a:off x="4860450" y="2720678"/>
                <a:ext cx="766933" cy="676425"/>
              </a:xfrm>
              <a:custGeom>
                <a:avLst/>
                <a:gdLst>
                  <a:gd name="T0" fmla="*/ 473 w 483"/>
                  <a:gd name="T1" fmla="*/ 284 h 426"/>
                  <a:gd name="T2" fmla="*/ 461 w 483"/>
                  <a:gd name="T3" fmla="*/ 258 h 426"/>
                  <a:gd name="T4" fmla="*/ 455 w 483"/>
                  <a:gd name="T5" fmla="*/ 240 h 426"/>
                  <a:gd name="T6" fmla="*/ 459 w 483"/>
                  <a:gd name="T7" fmla="*/ 228 h 426"/>
                  <a:gd name="T8" fmla="*/ 459 w 483"/>
                  <a:gd name="T9" fmla="*/ 208 h 426"/>
                  <a:gd name="T10" fmla="*/ 447 w 483"/>
                  <a:gd name="T11" fmla="*/ 200 h 426"/>
                  <a:gd name="T12" fmla="*/ 473 w 483"/>
                  <a:gd name="T13" fmla="*/ 162 h 426"/>
                  <a:gd name="T14" fmla="*/ 471 w 483"/>
                  <a:gd name="T15" fmla="*/ 132 h 426"/>
                  <a:gd name="T16" fmla="*/ 453 w 483"/>
                  <a:gd name="T17" fmla="*/ 74 h 426"/>
                  <a:gd name="T18" fmla="*/ 449 w 483"/>
                  <a:gd name="T19" fmla="*/ 52 h 426"/>
                  <a:gd name="T20" fmla="*/ 429 w 483"/>
                  <a:gd name="T21" fmla="*/ 38 h 426"/>
                  <a:gd name="T22" fmla="*/ 273 w 483"/>
                  <a:gd name="T23" fmla="*/ 32 h 426"/>
                  <a:gd name="T24" fmla="*/ 219 w 483"/>
                  <a:gd name="T25" fmla="*/ 34 h 426"/>
                  <a:gd name="T26" fmla="*/ 209 w 483"/>
                  <a:gd name="T27" fmla="*/ 10 h 426"/>
                  <a:gd name="T28" fmla="*/ 225 w 483"/>
                  <a:gd name="T29" fmla="*/ 18 h 426"/>
                  <a:gd name="T30" fmla="*/ 135 w 483"/>
                  <a:gd name="T31" fmla="*/ 20 h 426"/>
                  <a:gd name="T32" fmla="*/ 109 w 483"/>
                  <a:gd name="T33" fmla="*/ 38 h 426"/>
                  <a:gd name="T34" fmla="*/ 101 w 483"/>
                  <a:gd name="T35" fmla="*/ 46 h 426"/>
                  <a:gd name="T36" fmla="*/ 4 w 483"/>
                  <a:gd name="T37" fmla="*/ 72 h 426"/>
                  <a:gd name="T38" fmla="*/ 14 w 483"/>
                  <a:gd name="T39" fmla="*/ 76 h 426"/>
                  <a:gd name="T40" fmla="*/ 23 w 483"/>
                  <a:gd name="T41" fmla="*/ 78 h 426"/>
                  <a:gd name="T42" fmla="*/ 25 w 483"/>
                  <a:gd name="T43" fmla="*/ 92 h 426"/>
                  <a:gd name="T44" fmla="*/ 10 w 483"/>
                  <a:gd name="T45" fmla="*/ 84 h 426"/>
                  <a:gd name="T46" fmla="*/ 10 w 483"/>
                  <a:gd name="T47" fmla="*/ 104 h 426"/>
                  <a:gd name="T48" fmla="*/ 14 w 483"/>
                  <a:gd name="T49" fmla="*/ 130 h 426"/>
                  <a:gd name="T50" fmla="*/ 8 w 483"/>
                  <a:gd name="T51" fmla="*/ 156 h 426"/>
                  <a:gd name="T52" fmla="*/ 23 w 483"/>
                  <a:gd name="T53" fmla="*/ 192 h 426"/>
                  <a:gd name="T54" fmla="*/ 29 w 483"/>
                  <a:gd name="T55" fmla="*/ 214 h 426"/>
                  <a:gd name="T56" fmla="*/ 29 w 483"/>
                  <a:gd name="T57" fmla="*/ 248 h 426"/>
                  <a:gd name="T58" fmla="*/ 45 w 483"/>
                  <a:gd name="T59" fmla="*/ 268 h 426"/>
                  <a:gd name="T60" fmla="*/ 43 w 483"/>
                  <a:gd name="T61" fmla="*/ 292 h 426"/>
                  <a:gd name="T62" fmla="*/ 49 w 483"/>
                  <a:gd name="T63" fmla="*/ 288 h 426"/>
                  <a:gd name="T64" fmla="*/ 61 w 483"/>
                  <a:gd name="T65" fmla="*/ 300 h 426"/>
                  <a:gd name="T66" fmla="*/ 87 w 483"/>
                  <a:gd name="T67" fmla="*/ 310 h 426"/>
                  <a:gd name="T68" fmla="*/ 103 w 483"/>
                  <a:gd name="T69" fmla="*/ 310 h 426"/>
                  <a:gd name="T70" fmla="*/ 105 w 483"/>
                  <a:gd name="T71" fmla="*/ 324 h 426"/>
                  <a:gd name="T72" fmla="*/ 109 w 483"/>
                  <a:gd name="T73" fmla="*/ 332 h 426"/>
                  <a:gd name="T74" fmla="*/ 129 w 483"/>
                  <a:gd name="T75" fmla="*/ 346 h 426"/>
                  <a:gd name="T76" fmla="*/ 141 w 483"/>
                  <a:gd name="T77" fmla="*/ 340 h 426"/>
                  <a:gd name="T78" fmla="*/ 147 w 483"/>
                  <a:gd name="T79" fmla="*/ 330 h 426"/>
                  <a:gd name="T80" fmla="*/ 157 w 483"/>
                  <a:gd name="T81" fmla="*/ 338 h 426"/>
                  <a:gd name="T82" fmla="*/ 175 w 483"/>
                  <a:gd name="T83" fmla="*/ 336 h 426"/>
                  <a:gd name="T84" fmla="*/ 173 w 483"/>
                  <a:gd name="T85" fmla="*/ 348 h 426"/>
                  <a:gd name="T86" fmla="*/ 189 w 483"/>
                  <a:gd name="T87" fmla="*/ 354 h 426"/>
                  <a:gd name="T88" fmla="*/ 203 w 483"/>
                  <a:gd name="T89" fmla="*/ 362 h 426"/>
                  <a:gd name="T90" fmla="*/ 221 w 483"/>
                  <a:gd name="T91" fmla="*/ 378 h 426"/>
                  <a:gd name="T92" fmla="*/ 235 w 483"/>
                  <a:gd name="T93" fmla="*/ 396 h 426"/>
                  <a:gd name="T94" fmla="*/ 245 w 483"/>
                  <a:gd name="T95" fmla="*/ 394 h 426"/>
                  <a:gd name="T96" fmla="*/ 263 w 483"/>
                  <a:gd name="T97" fmla="*/ 394 h 426"/>
                  <a:gd name="T98" fmla="*/ 275 w 483"/>
                  <a:gd name="T99" fmla="*/ 406 h 426"/>
                  <a:gd name="T100" fmla="*/ 289 w 483"/>
                  <a:gd name="T101" fmla="*/ 410 h 426"/>
                  <a:gd name="T102" fmla="*/ 305 w 483"/>
                  <a:gd name="T103" fmla="*/ 398 h 426"/>
                  <a:gd name="T104" fmla="*/ 329 w 483"/>
                  <a:gd name="T105" fmla="*/ 404 h 426"/>
                  <a:gd name="T106" fmla="*/ 345 w 483"/>
                  <a:gd name="T107" fmla="*/ 394 h 426"/>
                  <a:gd name="T108" fmla="*/ 371 w 483"/>
                  <a:gd name="T109" fmla="*/ 400 h 426"/>
                  <a:gd name="T110" fmla="*/ 391 w 483"/>
                  <a:gd name="T111" fmla="*/ 416 h 426"/>
                  <a:gd name="T112" fmla="*/ 421 w 483"/>
                  <a:gd name="T113" fmla="*/ 426 h 426"/>
                  <a:gd name="T114" fmla="*/ 415 w 483"/>
                  <a:gd name="T115" fmla="*/ 408 h 426"/>
                  <a:gd name="T116" fmla="*/ 423 w 483"/>
                  <a:gd name="T117" fmla="*/ 372 h 426"/>
                  <a:gd name="T118" fmla="*/ 463 w 483"/>
                  <a:gd name="T119" fmla="*/ 330 h 426"/>
                  <a:gd name="T120" fmla="*/ 479 w 483"/>
                  <a:gd name="T121" fmla="*/ 30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3" h="426">
                    <a:moveTo>
                      <a:pt x="475" y="298"/>
                    </a:moveTo>
                    <a:lnTo>
                      <a:pt x="477" y="298"/>
                    </a:lnTo>
                    <a:lnTo>
                      <a:pt x="477" y="298"/>
                    </a:lnTo>
                    <a:lnTo>
                      <a:pt x="479" y="298"/>
                    </a:lnTo>
                    <a:lnTo>
                      <a:pt x="481" y="298"/>
                    </a:lnTo>
                    <a:lnTo>
                      <a:pt x="481" y="298"/>
                    </a:lnTo>
                    <a:lnTo>
                      <a:pt x="483" y="298"/>
                    </a:lnTo>
                    <a:lnTo>
                      <a:pt x="483" y="296"/>
                    </a:lnTo>
                    <a:lnTo>
                      <a:pt x="483" y="296"/>
                    </a:lnTo>
                    <a:lnTo>
                      <a:pt x="479" y="292"/>
                    </a:lnTo>
                    <a:lnTo>
                      <a:pt x="475" y="290"/>
                    </a:lnTo>
                    <a:lnTo>
                      <a:pt x="475" y="290"/>
                    </a:lnTo>
                    <a:lnTo>
                      <a:pt x="475" y="288"/>
                    </a:lnTo>
                    <a:lnTo>
                      <a:pt x="475" y="288"/>
                    </a:lnTo>
                    <a:lnTo>
                      <a:pt x="475" y="286"/>
                    </a:lnTo>
                    <a:lnTo>
                      <a:pt x="475" y="286"/>
                    </a:lnTo>
                    <a:lnTo>
                      <a:pt x="473" y="286"/>
                    </a:lnTo>
                    <a:lnTo>
                      <a:pt x="473" y="286"/>
                    </a:lnTo>
                    <a:lnTo>
                      <a:pt x="473" y="286"/>
                    </a:lnTo>
                    <a:lnTo>
                      <a:pt x="473" y="284"/>
                    </a:lnTo>
                    <a:lnTo>
                      <a:pt x="473" y="284"/>
                    </a:lnTo>
                    <a:lnTo>
                      <a:pt x="473" y="282"/>
                    </a:lnTo>
                    <a:lnTo>
                      <a:pt x="471" y="280"/>
                    </a:lnTo>
                    <a:lnTo>
                      <a:pt x="471" y="278"/>
                    </a:lnTo>
                    <a:lnTo>
                      <a:pt x="469" y="278"/>
                    </a:lnTo>
                    <a:lnTo>
                      <a:pt x="471" y="276"/>
                    </a:lnTo>
                    <a:lnTo>
                      <a:pt x="471" y="276"/>
                    </a:lnTo>
                    <a:lnTo>
                      <a:pt x="471" y="276"/>
                    </a:lnTo>
                    <a:lnTo>
                      <a:pt x="467" y="274"/>
                    </a:lnTo>
                    <a:lnTo>
                      <a:pt x="465" y="272"/>
                    </a:lnTo>
                    <a:lnTo>
                      <a:pt x="465" y="270"/>
                    </a:lnTo>
                    <a:lnTo>
                      <a:pt x="461" y="264"/>
                    </a:lnTo>
                    <a:lnTo>
                      <a:pt x="461" y="264"/>
                    </a:lnTo>
                    <a:lnTo>
                      <a:pt x="461" y="264"/>
                    </a:lnTo>
                    <a:lnTo>
                      <a:pt x="459" y="264"/>
                    </a:lnTo>
                    <a:lnTo>
                      <a:pt x="459" y="262"/>
                    </a:lnTo>
                    <a:lnTo>
                      <a:pt x="459" y="262"/>
                    </a:lnTo>
                    <a:lnTo>
                      <a:pt x="459" y="260"/>
                    </a:lnTo>
                    <a:lnTo>
                      <a:pt x="461" y="260"/>
                    </a:lnTo>
                    <a:lnTo>
                      <a:pt x="461" y="260"/>
                    </a:lnTo>
                    <a:lnTo>
                      <a:pt x="461" y="258"/>
                    </a:lnTo>
                    <a:lnTo>
                      <a:pt x="461" y="258"/>
                    </a:lnTo>
                    <a:lnTo>
                      <a:pt x="461" y="258"/>
                    </a:lnTo>
                    <a:lnTo>
                      <a:pt x="463" y="258"/>
                    </a:lnTo>
                    <a:lnTo>
                      <a:pt x="461" y="256"/>
                    </a:lnTo>
                    <a:lnTo>
                      <a:pt x="461" y="254"/>
                    </a:lnTo>
                    <a:lnTo>
                      <a:pt x="459" y="254"/>
                    </a:lnTo>
                    <a:lnTo>
                      <a:pt x="461" y="252"/>
                    </a:lnTo>
                    <a:lnTo>
                      <a:pt x="461" y="252"/>
                    </a:lnTo>
                    <a:lnTo>
                      <a:pt x="459" y="250"/>
                    </a:lnTo>
                    <a:lnTo>
                      <a:pt x="459" y="250"/>
                    </a:lnTo>
                    <a:lnTo>
                      <a:pt x="457" y="250"/>
                    </a:lnTo>
                    <a:lnTo>
                      <a:pt x="457" y="248"/>
                    </a:lnTo>
                    <a:lnTo>
                      <a:pt x="457" y="248"/>
                    </a:lnTo>
                    <a:lnTo>
                      <a:pt x="457" y="248"/>
                    </a:lnTo>
                    <a:lnTo>
                      <a:pt x="457" y="248"/>
                    </a:lnTo>
                    <a:lnTo>
                      <a:pt x="455" y="246"/>
                    </a:lnTo>
                    <a:lnTo>
                      <a:pt x="455" y="246"/>
                    </a:lnTo>
                    <a:lnTo>
                      <a:pt x="457" y="246"/>
                    </a:lnTo>
                    <a:lnTo>
                      <a:pt x="455" y="244"/>
                    </a:lnTo>
                    <a:lnTo>
                      <a:pt x="455" y="244"/>
                    </a:lnTo>
                    <a:lnTo>
                      <a:pt x="455" y="242"/>
                    </a:lnTo>
                    <a:lnTo>
                      <a:pt x="455" y="240"/>
                    </a:lnTo>
                    <a:lnTo>
                      <a:pt x="455" y="240"/>
                    </a:lnTo>
                    <a:lnTo>
                      <a:pt x="455" y="240"/>
                    </a:lnTo>
                    <a:lnTo>
                      <a:pt x="455" y="238"/>
                    </a:lnTo>
                    <a:lnTo>
                      <a:pt x="455" y="238"/>
                    </a:lnTo>
                    <a:lnTo>
                      <a:pt x="455" y="238"/>
                    </a:lnTo>
                    <a:lnTo>
                      <a:pt x="455" y="238"/>
                    </a:lnTo>
                    <a:lnTo>
                      <a:pt x="455" y="238"/>
                    </a:lnTo>
                    <a:lnTo>
                      <a:pt x="455" y="236"/>
                    </a:lnTo>
                    <a:lnTo>
                      <a:pt x="455" y="236"/>
                    </a:lnTo>
                    <a:lnTo>
                      <a:pt x="455" y="236"/>
                    </a:lnTo>
                    <a:lnTo>
                      <a:pt x="455" y="236"/>
                    </a:lnTo>
                    <a:lnTo>
                      <a:pt x="455" y="236"/>
                    </a:lnTo>
                    <a:lnTo>
                      <a:pt x="455" y="234"/>
                    </a:lnTo>
                    <a:lnTo>
                      <a:pt x="455" y="234"/>
                    </a:lnTo>
                    <a:lnTo>
                      <a:pt x="455" y="234"/>
                    </a:lnTo>
                    <a:lnTo>
                      <a:pt x="455" y="232"/>
                    </a:lnTo>
                    <a:lnTo>
                      <a:pt x="455" y="232"/>
                    </a:lnTo>
                    <a:lnTo>
                      <a:pt x="457" y="230"/>
                    </a:lnTo>
                    <a:lnTo>
                      <a:pt x="457" y="230"/>
                    </a:lnTo>
                    <a:lnTo>
                      <a:pt x="459" y="230"/>
                    </a:lnTo>
                    <a:lnTo>
                      <a:pt x="459" y="228"/>
                    </a:lnTo>
                    <a:lnTo>
                      <a:pt x="457" y="226"/>
                    </a:lnTo>
                    <a:lnTo>
                      <a:pt x="457" y="226"/>
                    </a:lnTo>
                    <a:lnTo>
                      <a:pt x="457" y="224"/>
                    </a:lnTo>
                    <a:lnTo>
                      <a:pt x="457" y="224"/>
                    </a:lnTo>
                    <a:lnTo>
                      <a:pt x="459" y="222"/>
                    </a:lnTo>
                    <a:lnTo>
                      <a:pt x="459" y="222"/>
                    </a:lnTo>
                    <a:lnTo>
                      <a:pt x="459" y="222"/>
                    </a:lnTo>
                    <a:lnTo>
                      <a:pt x="459" y="222"/>
                    </a:lnTo>
                    <a:lnTo>
                      <a:pt x="459" y="222"/>
                    </a:lnTo>
                    <a:lnTo>
                      <a:pt x="459" y="220"/>
                    </a:lnTo>
                    <a:lnTo>
                      <a:pt x="459" y="218"/>
                    </a:lnTo>
                    <a:lnTo>
                      <a:pt x="459" y="216"/>
                    </a:lnTo>
                    <a:lnTo>
                      <a:pt x="461" y="214"/>
                    </a:lnTo>
                    <a:lnTo>
                      <a:pt x="461" y="214"/>
                    </a:lnTo>
                    <a:lnTo>
                      <a:pt x="461" y="214"/>
                    </a:lnTo>
                    <a:lnTo>
                      <a:pt x="461" y="210"/>
                    </a:lnTo>
                    <a:lnTo>
                      <a:pt x="459" y="210"/>
                    </a:lnTo>
                    <a:lnTo>
                      <a:pt x="459" y="208"/>
                    </a:lnTo>
                    <a:lnTo>
                      <a:pt x="459" y="208"/>
                    </a:lnTo>
                    <a:lnTo>
                      <a:pt x="459" y="208"/>
                    </a:lnTo>
                    <a:lnTo>
                      <a:pt x="459" y="208"/>
                    </a:lnTo>
                    <a:lnTo>
                      <a:pt x="457" y="206"/>
                    </a:lnTo>
                    <a:lnTo>
                      <a:pt x="457" y="206"/>
                    </a:lnTo>
                    <a:lnTo>
                      <a:pt x="457" y="206"/>
                    </a:lnTo>
                    <a:lnTo>
                      <a:pt x="457" y="206"/>
                    </a:lnTo>
                    <a:lnTo>
                      <a:pt x="455" y="206"/>
                    </a:lnTo>
                    <a:lnTo>
                      <a:pt x="453" y="206"/>
                    </a:lnTo>
                    <a:lnTo>
                      <a:pt x="451" y="202"/>
                    </a:lnTo>
                    <a:lnTo>
                      <a:pt x="453" y="202"/>
                    </a:lnTo>
                    <a:lnTo>
                      <a:pt x="453" y="202"/>
                    </a:lnTo>
                    <a:lnTo>
                      <a:pt x="453" y="200"/>
                    </a:lnTo>
                    <a:lnTo>
                      <a:pt x="451" y="202"/>
                    </a:lnTo>
                    <a:lnTo>
                      <a:pt x="451" y="202"/>
                    </a:lnTo>
                    <a:lnTo>
                      <a:pt x="451" y="200"/>
                    </a:lnTo>
                    <a:lnTo>
                      <a:pt x="451" y="200"/>
                    </a:lnTo>
                    <a:lnTo>
                      <a:pt x="449" y="202"/>
                    </a:lnTo>
                    <a:lnTo>
                      <a:pt x="449" y="202"/>
                    </a:lnTo>
                    <a:lnTo>
                      <a:pt x="449" y="200"/>
                    </a:lnTo>
                    <a:lnTo>
                      <a:pt x="449" y="200"/>
                    </a:lnTo>
                    <a:lnTo>
                      <a:pt x="447" y="200"/>
                    </a:lnTo>
                    <a:lnTo>
                      <a:pt x="447" y="200"/>
                    </a:lnTo>
                    <a:lnTo>
                      <a:pt x="447" y="200"/>
                    </a:lnTo>
                    <a:lnTo>
                      <a:pt x="447" y="200"/>
                    </a:lnTo>
                    <a:lnTo>
                      <a:pt x="447" y="200"/>
                    </a:lnTo>
                    <a:lnTo>
                      <a:pt x="443" y="198"/>
                    </a:lnTo>
                    <a:lnTo>
                      <a:pt x="443" y="198"/>
                    </a:lnTo>
                    <a:lnTo>
                      <a:pt x="443" y="198"/>
                    </a:lnTo>
                    <a:lnTo>
                      <a:pt x="439" y="198"/>
                    </a:lnTo>
                    <a:lnTo>
                      <a:pt x="437" y="196"/>
                    </a:lnTo>
                    <a:lnTo>
                      <a:pt x="439" y="196"/>
                    </a:lnTo>
                    <a:lnTo>
                      <a:pt x="437" y="194"/>
                    </a:lnTo>
                    <a:lnTo>
                      <a:pt x="437" y="194"/>
                    </a:lnTo>
                    <a:lnTo>
                      <a:pt x="437" y="194"/>
                    </a:lnTo>
                    <a:lnTo>
                      <a:pt x="437" y="192"/>
                    </a:lnTo>
                    <a:lnTo>
                      <a:pt x="439" y="188"/>
                    </a:lnTo>
                    <a:lnTo>
                      <a:pt x="439" y="188"/>
                    </a:lnTo>
                    <a:lnTo>
                      <a:pt x="441" y="184"/>
                    </a:lnTo>
                    <a:lnTo>
                      <a:pt x="447" y="176"/>
                    </a:lnTo>
                    <a:lnTo>
                      <a:pt x="451" y="174"/>
                    </a:lnTo>
                    <a:lnTo>
                      <a:pt x="457" y="172"/>
                    </a:lnTo>
                    <a:lnTo>
                      <a:pt x="465" y="168"/>
                    </a:lnTo>
                    <a:lnTo>
                      <a:pt x="471" y="164"/>
                    </a:lnTo>
                    <a:lnTo>
                      <a:pt x="473" y="162"/>
                    </a:lnTo>
                    <a:lnTo>
                      <a:pt x="473" y="160"/>
                    </a:lnTo>
                    <a:lnTo>
                      <a:pt x="473" y="158"/>
                    </a:lnTo>
                    <a:lnTo>
                      <a:pt x="473" y="148"/>
                    </a:lnTo>
                    <a:lnTo>
                      <a:pt x="473" y="148"/>
                    </a:lnTo>
                    <a:lnTo>
                      <a:pt x="473" y="148"/>
                    </a:lnTo>
                    <a:lnTo>
                      <a:pt x="473" y="146"/>
                    </a:lnTo>
                    <a:lnTo>
                      <a:pt x="471" y="146"/>
                    </a:lnTo>
                    <a:lnTo>
                      <a:pt x="473" y="146"/>
                    </a:lnTo>
                    <a:lnTo>
                      <a:pt x="473" y="144"/>
                    </a:lnTo>
                    <a:lnTo>
                      <a:pt x="473" y="144"/>
                    </a:lnTo>
                    <a:lnTo>
                      <a:pt x="473" y="144"/>
                    </a:lnTo>
                    <a:lnTo>
                      <a:pt x="473" y="142"/>
                    </a:lnTo>
                    <a:lnTo>
                      <a:pt x="473" y="140"/>
                    </a:lnTo>
                    <a:lnTo>
                      <a:pt x="473" y="140"/>
                    </a:lnTo>
                    <a:lnTo>
                      <a:pt x="473" y="140"/>
                    </a:lnTo>
                    <a:lnTo>
                      <a:pt x="471" y="138"/>
                    </a:lnTo>
                    <a:lnTo>
                      <a:pt x="471" y="136"/>
                    </a:lnTo>
                    <a:lnTo>
                      <a:pt x="471" y="136"/>
                    </a:lnTo>
                    <a:lnTo>
                      <a:pt x="471" y="134"/>
                    </a:lnTo>
                    <a:lnTo>
                      <a:pt x="471" y="132"/>
                    </a:lnTo>
                    <a:lnTo>
                      <a:pt x="471" y="132"/>
                    </a:lnTo>
                    <a:lnTo>
                      <a:pt x="471" y="130"/>
                    </a:lnTo>
                    <a:lnTo>
                      <a:pt x="471" y="130"/>
                    </a:lnTo>
                    <a:lnTo>
                      <a:pt x="471" y="128"/>
                    </a:lnTo>
                    <a:lnTo>
                      <a:pt x="471" y="128"/>
                    </a:lnTo>
                    <a:lnTo>
                      <a:pt x="469" y="126"/>
                    </a:lnTo>
                    <a:lnTo>
                      <a:pt x="469" y="126"/>
                    </a:lnTo>
                    <a:lnTo>
                      <a:pt x="469" y="124"/>
                    </a:lnTo>
                    <a:lnTo>
                      <a:pt x="467" y="124"/>
                    </a:lnTo>
                    <a:lnTo>
                      <a:pt x="467" y="122"/>
                    </a:lnTo>
                    <a:lnTo>
                      <a:pt x="467" y="120"/>
                    </a:lnTo>
                    <a:lnTo>
                      <a:pt x="465" y="114"/>
                    </a:lnTo>
                    <a:lnTo>
                      <a:pt x="463" y="110"/>
                    </a:lnTo>
                    <a:lnTo>
                      <a:pt x="461" y="106"/>
                    </a:lnTo>
                    <a:lnTo>
                      <a:pt x="457" y="94"/>
                    </a:lnTo>
                    <a:lnTo>
                      <a:pt x="455" y="90"/>
                    </a:lnTo>
                    <a:lnTo>
                      <a:pt x="455" y="84"/>
                    </a:lnTo>
                    <a:lnTo>
                      <a:pt x="455" y="84"/>
                    </a:lnTo>
                    <a:lnTo>
                      <a:pt x="455" y="82"/>
                    </a:lnTo>
                    <a:lnTo>
                      <a:pt x="453" y="78"/>
                    </a:lnTo>
                    <a:lnTo>
                      <a:pt x="453" y="76"/>
                    </a:lnTo>
                    <a:lnTo>
                      <a:pt x="453" y="74"/>
                    </a:lnTo>
                    <a:lnTo>
                      <a:pt x="453" y="72"/>
                    </a:lnTo>
                    <a:lnTo>
                      <a:pt x="453" y="70"/>
                    </a:lnTo>
                    <a:lnTo>
                      <a:pt x="453" y="70"/>
                    </a:lnTo>
                    <a:lnTo>
                      <a:pt x="453" y="68"/>
                    </a:lnTo>
                    <a:lnTo>
                      <a:pt x="453" y="68"/>
                    </a:lnTo>
                    <a:lnTo>
                      <a:pt x="451" y="68"/>
                    </a:lnTo>
                    <a:lnTo>
                      <a:pt x="451" y="68"/>
                    </a:lnTo>
                    <a:lnTo>
                      <a:pt x="451" y="68"/>
                    </a:lnTo>
                    <a:lnTo>
                      <a:pt x="451" y="66"/>
                    </a:lnTo>
                    <a:lnTo>
                      <a:pt x="451" y="66"/>
                    </a:lnTo>
                    <a:lnTo>
                      <a:pt x="451" y="66"/>
                    </a:lnTo>
                    <a:lnTo>
                      <a:pt x="451" y="66"/>
                    </a:lnTo>
                    <a:lnTo>
                      <a:pt x="451" y="64"/>
                    </a:lnTo>
                    <a:lnTo>
                      <a:pt x="453" y="64"/>
                    </a:lnTo>
                    <a:lnTo>
                      <a:pt x="453" y="62"/>
                    </a:lnTo>
                    <a:lnTo>
                      <a:pt x="451" y="58"/>
                    </a:lnTo>
                    <a:lnTo>
                      <a:pt x="451" y="56"/>
                    </a:lnTo>
                    <a:lnTo>
                      <a:pt x="451" y="54"/>
                    </a:lnTo>
                    <a:lnTo>
                      <a:pt x="451" y="54"/>
                    </a:lnTo>
                    <a:lnTo>
                      <a:pt x="449" y="52"/>
                    </a:lnTo>
                    <a:lnTo>
                      <a:pt x="449" y="52"/>
                    </a:lnTo>
                    <a:lnTo>
                      <a:pt x="447" y="52"/>
                    </a:lnTo>
                    <a:lnTo>
                      <a:pt x="447" y="52"/>
                    </a:lnTo>
                    <a:lnTo>
                      <a:pt x="447" y="50"/>
                    </a:lnTo>
                    <a:lnTo>
                      <a:pt x="447" y="50"/>
                    </a:lnTo>
                    <a:lnTo>
                      <a:pt x="445" y="48"/>
                    </a:lnTo>
                    <a:lnTo>
                      <a:pt x="445" y="48"/>
                    </a:lnTo>
                    <a:lnTo>
                      <a:pt x="445" y="48"/>
                    </a:lnTo>
                    <a:lnTo>
                      <a:pt x="441" y="46"/>
                    </a:lnTo>
                    <a:lnTo>
                      <a:pt x="439" y="44"/>
                    </a:lnTo>
                    <a:lnTo>
                      <a:pt x="435" y="42"/>
                    </a:lnTo>
                    <a:lnTo>
                      <a:pt x="435" y="42"/>
                    </a:lnTo>
                    <a:lnTo>
                      <a:pt x="433" y="42"/>
                    </a:lnTo>
                    <a:lnTo>
                      <a:pt x="433" y="42"/>
                    </a:lnTo>
                    <a:lnTo>
                      <a:pt x="431" y="42"/>
                    </a:lnTo>
                    <a:lnTo>
                      <a:pt x="431" y="42"/>
                    </a:lnTo>
                    <a:lnTo>
                      <a:pt x="431" y="40"/>
                    </a:lnTo>
                    <a:lnTo>
                      <a:pt x="431" y="40"/>
                    </a:lnTo>
                    <a:lnTo>
                      <a:pt x="431" y="40"/>
                    </a:lnTo>
                    <a:lnTo>
                      <a:pt x="431" y="38"/>
                    </a:lnTo>
                    <a:lnTo>
                      <a:pt x="429" y="38"/>
                    </a:lnTo>
                    <a:lnTo>
                      <a:pt x="429" y="38"/>
                    </a:lnTo>
                    <a:lnTo>
                      <a:pt x="427" y="38"/>
                    </a:lnTo>
                    <a:lnTo>
                      <a:pt x="427" y="38"/>
                    </a:lnTo>
                    <a:lnTo>
                      <a:pt x="427" y="36"/>
                    </a:lnTo>
                    <a:lnTo>
                      <a:pt x="427" y="36"/>
                    </a:lnTo>
                    <a:lnTo>
                      <a:pt x="427" y="36"/>
                    </a:lnTo>
                    <a:lnTo>
                      <a:pt x="425" y="36"/>
                    </a:lnTo>
                    <a:lnTo>
                      <a:pt x="425" y="36"/>
                    </a:lnTo>
                    <a:lnTo>
                      <a:pt x="421" y="34"/>
                    </a:lnTo>
                    <a:lnTo>
                      <a:pt x="421" y="34"/>
                    </a:lnTo>
                    <a:lnTo>
                      <a:pt x="419" y="36"/>
                    </a:lnTo>
                    <a:lnTo>
                      <a:pt x="419" y="38"/>
                    </a:lnTo>
                    <a:lnTo>
                      <a:pt x="417" y="38"/>
                    </a:lnTo>
                    <a:lnTo>
                      <a:pt x="415" y="38"/>
                    </a:lnTo>
                    <a:lnTo>
                      <a:pt x="405" y="38"/>
                    </a:lnTo>
                    <a:lnTo>
                      <a:pt x="393" y="38"/>
                    </a:lnTo>
                    <a:lnTo>
                      <a:pt x="367" y="36"/>
                    </a:lnTo>
                    <a:lnTo>
                      <a:pt x="347" y="36"/>
                    </a:lnTo>
                    <a:lnTo>
                      <a:pt x="329" y="34"/>
                    </a:lnTo>
                    <a:lnTo>
                      <a:pt x="301" y="34"/>
                    </a:lnTo>
                    <a:lnTo>
                      <a:pt x="283" y="32"/>
                    </a:lnTo>
                    <a:lnTo>
                      <a:pt x="273" y="32"/>
                    </a:lnTo>
                    <a:lnTo>
                      <a:pt x="269" y="32"/>
                    </a:lnTo>
                    <a:lnTo>
                      <a:pt x="267" y="30"/>
                    </a:lnTo>
                    <a:lnTo>
                      <a:pt x="265" y="30"/>
                    </a:lnTo>
                    <a:lnTo>
                      <a:pt x="265" y="30"/>
                    </a:lnTo>
                    <a:lnTo>
                      <a:pt x="261" y="34"/>
                    </a:lnTo>
                    <a:lnTo>
                      <a:pt x="261" y="34"/>
                    </a:lnTo>
                    <a:lnTo>
                      <a:pt x="259" y="34"/>
                    </a:lnTo>
                    <a:lnTo>
                      <a:pt x="255" y="36"/>
                    </a:lnTo>
                    <a:lnTo>
                      <a:pt x="237" y="38"/>
                    </a:lnTo>
                    <a:lnTo>
                      <a:pt x="235" y="38"/>
                    </a:lnTo>
                    <a:lnTo>
                      <a:pt x="235" y="38"/>
                    </a:lnTo>
                    <a:lnTo>
                      <a:pt x="233" y="38"/>
                    </a:lnTo>
                    <a:lnTo>
                      <a:pt x="233" y="38"/>
                    </a:lnTo>
                    <a:lnTo>
                      <a:pt x="231" y="38"/>
                    </a:lnTo>
                    <a:lnTo>
                      <a:pt x="223" y="36"/>
                    </a:lnTo>
                    <a:lnTo>
                      <a:pt x="221" y="34"/>
                    </a:lnTo>
                    <a:lnTo>
                      <a:pt x="221" y="34"/>
                    </a:lnTo>
                    <a:lnTo>
                      <a:pt x="221" y="34"/>
                    </a:lnTo>
                    <a:lnTo>
                      <a:pt x="219" y="34"/>
                    </a:lnTo>
                    <a:lnTo>
                      <a:pt x="219" y="34"/>
                    </a:lnTo>
                    <a:lnTo>
                      <a:pt x="219" y="34"/>
                    </a:lnTo>
                    <a:lnTo>
                      <a:pt x="217" y="32"/>
                    </a:lnTo>
                    <a:lnTo>
                      <a:pt x="217" y="32"/>
                    </a:lnTo>
                    <a:lnTo>
                      <a:pt x="215" y="30"/>
                    </a:lnTo>
                    <a:lnTo>
                      <a:pt x="215" y="28"/>
                    </a:lnTo>
                    <a:lnTo>
                      <a:pt x="215" y="24"/>
                    </a:lnTo>
                    <a:lnTo>
                      <a:pt x="215" y="24"/>
                    </a:lnTo>
                    <a:lnTo>
                      <a:pt x="215" y="22"/>
                    </a:lnTo>
                    <a:lnTo>
                      <a:pt x="213" y="18"/>
                    </a:lnTo>
                    <a:lnTo>
                      <a:pt x="213" y="18"/>
                    </a:lnTo>
                    <a:lnTo>
                      <a:pt x="213" y="16"/>
                    </a:lnTo>
                    <a:lnTo>
                      <a:pt x="213" y="16"/>
                    </a:lnTo>
                    <a:lnTo>
                      <a:pt x="213" y="16"/>
                    </a:lnTo>
                    <a:lnTo>
                      <a:pt x="211" y="16"/>
                    </a:lnTo>
                    <a:lnTo>
                      <a:pt x="211" y="16"/>
                    </a:lnTo>
                    <a:lnTo>
                      <a:pt x="211" y="14"/>
                    </a:lnTo>
                    <a:lnTo>
                      <a:pt x="211" y="14"/>
                    </a:lnTo>
                    <a:lnTo>
                      <a:pt x="211" y="14"/>
                    </a:lnTo>
                    <a:lnTo>
                      <a:pt x="211" y="14"/>
                    </a:lnTo>
                    <a:lnTo>
                      <a:pt x="211" y="12"/>
                    </a:lnTo>
                    <a:lnTo>
                      <a:pt x="211" y="10"/>
                    </a:lnTo>
                    <a:lnTo>
                      <a:pt x="209" y="10"/>
                    </a:lnTo>
                    <a:lnTo>
                      <a:pt x="209" y="10"/>
                    </a:lnTo>
                    <a:lnTo>
                      <a:pt x="209" y="10"/>
                    </a:lnTo>
                    <a:lnTo>
                      <a:pt x="209" y="8"/>
                    </a:lnTo>
                    <a:lnTo>
                      <a:pt x="209" y="8"/>
                    </a:lnTo>
                    <a:lnTo>
                      <a:pt x="209" y="8"/>
                    </a:lnTo>
                    <a:lnTo>
                      <a:pt x="209" y="6"/>
                    </a:lnTo>
                    <a:lnTo>
                      <a:pt x="209" y="4"/>
                    </a:lnTo>
                    <a:lnTo>
                      <a:pt x="209" y="4"/>
                    </a:lnTo>
                    <a:lnTo>
                      <a:pt x="209" y="4"/>
                    </a:lnTo>
                    <a:lnTo>
                      <a:pt x="211" y="6"/>
                    </a:lnTo>
                    <a:lnTo>
                      <a:pt x="213" y="6"/>
                    </a:lnTo>
                    <a:lnTo>
                      <a:pt x="215" y="8"/>
                    </a:lnTo>
                    <a:lnTo>
                      <a:pt x="217" y="10"/>
                    </a:lnTo>
                    <a:lnTo>
                      <a:pt x="219" y="10"/>
                    </a:lnTo>
                    <a:lnTo>
                      <a:pt x="219" y="10"/>
                    </a:lnTo>
                    <a:lnTo>
                      <a:pt x="219" y="10"/>
                    </a:lnTo>
                    <a:lnTo>
                      <a:pt x="221" y="12"/>
                    </a:lnTo>
                    <a:lnTo>
                      <a:pt x="223" y="12"/>
                    </a:lnTo>
                    <a:lnTo>
                      <a:pt x="225" y="14"/>
                    </a:lnTo>
                    <a:lnTo>
                      <a:pt x="225" y="16"/>
                    </a:lnTo>
                    <a:lnTo>
                      <a:pt x="225" y="18"/>
                    </a:lnTo>
                    <a:lnTo>
                      <a:pt x="227" y="18"/>
                    </a:lnTo>
                    <a:lnTo>
                      <a:pt x="227" y="18"/>
                    </a:lnTo>
                    <a:lnTo>
                      <a:pt x="227" y="20"/>
                    </a:lnTo>
                    <a:lnTo>
                      <a:pt x="227" y="20"/>
                    </a:lnTo>
                    <a:lnTo>
                      <a:pt x="229" y="20"/>
                    </a:lnTo>
                    <a:lnTo>
                      <a:pt x="229" y="18"/>
                    </a:lnTo>
                    <a:lnTo>
                      <a:pt x="227" y="16"/>
                    </a:lnTo>
                    <a:lnTo>
                      <a:pt x="227" y="16"/>
                    </a:lnTo>
                    <a:lnTo>
                      <a:pt x="225" y="12"/>
                    </a:lnTo>
                    <a:lnTo>
                      <a:pt x="207" y="2"/>
                    </a:lnTo>
                    <a:lnTo>
                      <a:pt x="207" y="2"/>
                    </a:lnTo>
                    <a:lnTo>
                      <a:pt x="207" y="2"/>
                    </a:lnTo>
                    <a:lnTo>
                      <a:pt x="205" y="0"/>
                    </a:lnTo>
                    <a:lnTo>
                      <a:pt x="203" y="0"/>
                    </a:lnTo>
                    <a:lnTo>
                      <a:pt x="195" y="0"/>
                    </a:lnTo>
                    <a:lnTo>
                      <a:pt x="183" y="2"/>
                    </a:lnTo>
                    <a:lnTo>
                      <a:pt x="175" y="4"/>
                    </a:lnTo>
                    <a:lnTo>
                      <a:pt x="157" y="8"/>
                    </a:lnTo>
                    <a:lnTo>
                      <a:pt x="141" y="14"/>
                    </a:lnTo>
                    <a:lnTo>
                      <a:pt x="137" y="18"/>
                    </a:lnTo>
                    <a:lnTo>
                      <a:pt x="135" y="20"/>
                    </a:lnTo>
                    <a:lnTo>
                      <a:pt x="133" y="20"/>
                    </a:lnTo>
                    <a:lnTo>
                      <a:pt x="129" y="22"/>
                    </a:lnTo>
                    <a:lnTo>
                      <a:pt x="119" y="22"/>
                    </a:lnTo>
                    <a:lnTo>
                      <a:pt x="115" y="24"/>
                    </a:lnTo>
                    <a:lnTo>
                      <a:pt x="115" y="26"/>
                    </a:lnTo>
                    <a:lnTo>
                      <a:pt x="113" y="28"/>
                    </a:lnTo>
                    <a:lnTo>
                      <a:pt x="115" y="28"/>
                    </a:lnTo>
                    <a:lnTo>
                      <a:pt x="115" y="26"/>
                    </a:lnTo>
                    <a:lnTo>
                      <a:pt x="115" y="28"/>
                    </a:lnTo>
                    <a:lnTo>
                      <a:pt x="115" y="28"/>
                    </a:lnTo>
                    <a:lnTo>
                      <a:pt x="113" y="28"/>
                    </a:lnTo>
                    <a:lnTo>
                      <a:pt x="113" y="30"/>
                    </a:lnTo>
                    <a:lnTo>
                      <a:pt x="113" y="28"/>
                    </a:lnTo>
                    <a:lnTo>
                      <a:pt x="113" y="28"/>
                    </a:lnTo>
                    <a:lnTo>
                      <a:pt x="113" y="28"/>
                    </a:lnTo>
                    <a:lnTo>
                      <a:pt x="107" y="34"/>
                    </a:lnTo>
                    <a:lnTo>
                      <a:pt x="105" y="38"/>
                    </a:lnTo>
                    <a:lnTo>
                      <a:pt x="105" y="38"/>
                    </a:lnTo>
                    <a:lnTo>
                      <a:pt x="107" y="36"/>
                    </a:lnTo>
                    <a:lnTo>
                      <a:pt x="107" y="36"/>
                    </a:lnTo>
                    <a:lnTo>
                      <a:pt x="109" y="38"/>
                    </a:lnTo>
                    <a:lnTo>
                      <a:pt x="107" y="38"/>
                    </a:lnTo>
                    <a:lnTo>
                      <a:pt x="105" y="40"/>
                    </a:lnTo>
                    <a:lnTo>
                      <a:pt x="105" y="40"/>
                    </a:lnTo>
                    <a:lnTo>
                      <a:pt x="105" y="40"/>
                    </a:lnTo>
                    <a:lnTo>
                      <a:pt x="103" y="40"/>
                    </a:lnTo>
                    <a:lnTo>
                      <a:pt x="103" y="40"/>
                    </a:lnTo>
                    <a:lnTo>
                      <a:pt x="103" y="40"/>
                    </a:lnTo>
                    <a:lnTo>
                      <a:pt x="105" y="38"/>
                    </a:lnTo>
                    <a:lnTo>
                      <a:pt x="105" y="38"/>
                    </a:lnTo>
                    <a:lnTo>
                      <a:pt x="101" y="42"/>
                    </a:lnTo>
                    <a:lnTo>
                      <a:pt x="101" y="42"/>
                    </a:lnTo>
                    <a:lnTo>
                      <a:pt x="99" y="44"/>
                    </a:lnTo>
                    <a:lnTo>
                      <a:pt x="101" y="42"/>
                    </a:lnTo>
                    <a:lnTo>
                      <a:pt x="103" y="42"/>
                    </a:lnTo>
                    <a:lnTo>
                      <a:pt x="101" y="44"/>
                    </a:lnTo>
                    <a:lnTo>
                      <a:pt x="103" y="44"/>
                    </a:lnTo>
                    <a:lnTo>
                      <a:pt x="103" y="44"/>
                    </a:lnTo>
                    <a:lnTo>
                      <a:pt x="101" y="44"/>
                    </a:lnTo>
                    <a:lnTo>
                      <a:pt x="101" y="44"/>
                    </a:lnTo>
                    <a:lnTo>
                      <a:pt x="101" y="44"/>
                    </a:lnTo>
                    <a:lnTo>
                      <a:pt x="101" y="46"/>
                    </a:lnTo>
                    <a:lnTo>
                      <a:pt x="97" y="46"/>
                    </a:lnTo>
                    <a:lnTo>
                      <a:pt x="95" y="46"/>
                    </a:lnTo>
                    <a:lnTo>
                      <a:pt x="97" y="44"/>
                    </a:lnTo>
                    <a:lnTo>
                      <a:pt x="99" y="44"/>
                    </a:lnTo>
                    <a:lnTo>
                      <a:pt x="93" y="46"/>
                    </a:lnTo>
                    <a:lnTo>
                      <a:pt x="85" y="46"/>
                    </a:lnTo>
                    <a:lnTo>
                      <a:pt x="75" y="50"/>
                    </a:lnTo>
                    <a:lnTo>
                      <a:pt x="67" y="52"/>
                    </a:lnTo>
                    <a:lnTo>
                      <a:pt x="57" y="54"/>
                    </a:lnTo>
                    <a:lnTo>
                      <a:pt x="45" y="60"/>
                    </a:lnTo>
                    <a:lnTo>
                      <a:pt x="33" y="62"/>
                    </a:lnTo>
                    <a:lnTo>
                      <a:pt x="20" y="68"/>
                    </a:lnTo>
                    <a:lnTo>
                      <a:pt x="16" y="70"/>
                    </a:lnTo>
                    <a:lnTo>
                      <a:pt x="14" y="72"/>
                    </a:lnTo>
                    <a:lnTo>
                      <a:pt x="12" y="72"/>
                    </a:lnTo>
                    <a:lnTo>
                      <a:pt x="8" y="72"/>
                    </a:lnTo>
                    <a:lnTo>
                      <a:pt x="6" y="70"/>
                    </a:lnTo>
                    <a:lnTo>
                      <a:pt x="6" y="70"/>
                    </a:lnTo>
                    <a:lnTo>
                      <a:pt x="4" y="70"/>
                    </a:lnTo>
                    <a:lnTo>
                      <a:pt x="4" y="72"/>
                    </a:lnTo>
                    <a:lnTo>
                      <a:pt x="4" y="72"/>
                    </a:lnTo>
                    <a:lnTo>
                      <a:pt x="2" y="72"/>
                    </a:lnTo>
                    <a:lnTo>
                      <a:pt x="4" y="74"/>
                    </a:lnTo>
                    <a:lnTo>
                      <a:pt x="4" y="74"/>
                    </a:lnTo>
                    <a:lnTo>
                      <a:pt x="6" y="76"/>
                    </a:lnTo>
                    <a:lnTo>
                      <a:pt x="8" y="78"/>
                    </a:lnTo>
                    <a:lnTo>
                      <a:pt x="8" y="78"/>
                    </a:lnTo>
                    <a:lnTo>
                      <a:pt x="10" y="78"/>
                    </a:lnTo>
                    <a:lnTo>
                      <a:pt x="10" y="78"/>
                    </a:lnTo>
                    <a:lnTo>
                      <a:pt x="10" y="78"/>
                    </a:lnTo>
                    <a:lnTo>
                      <a:pt x="10" y="78"/>
                    </a:lnTo>
                    <a:lnTo>
                      <a:pt x="10" y="78"/>
                    </a:lnTo>
                    <a:lnTo>
                      <a:pt x="10" y="78"/>
                    </a:lnTo>
                    <a:lnTo>
                      <a:pt x="10" y="78"/>
                    </a:lnTo>
                    <a:lnTo>
                      <a:pt x="10" y="78"/>
                    </a:lnTo>
                    <a:lnTo>
                      <a:pt x="12" y="78"/>
                    </a:lnTo>
                    <a:lnTo>
                      <a:pt x="14" y="78"/>
                    </a:lnTo>
                    <a:lnTo>
                      <a:pt x="14" y="78"/>
                    </a:lnTo>
                    <a:lnTo>
                      <a:pt x="14" y="78"/>
                    </a:lnTo>
                    <a:lnTo>
                      <a:pt x="14" y="76"/>
                    </a:lnTo>
                    <a:lnTo>
                      <a:pt x="14" y="76"/>
                    </a:lnTo>
                    <a:lnTo>
                      <a:pt x="14" y="76"/>
                    </a:lnTo>
                    <a:lnTo>
                      <a:pt x="14" y="74"/>
                    </a:lnTo>
                    <a:lnTo>
                      <a:pt x="12" y="74"/>
                    </a:lnTo>
                    <a:lnTo>
                      <a:pt x="12" y="74"/>
                    </a:lnTo>
                    <a:lnTo>
                      <a:pt x="12" y="74"/>
                    </a:lnTo>
                    <a:lnTo>
                      <a:pt x="14" y="74"/>
                    </a:lnTo>
                    <a:lnTo>
                      <a:pt x="14" y="72"/>
                    </a:lnTo>
                    <a:lnTo>
                      <a:pt x="14" y="74"/>
                    </a:lnTo>
                    <a:lnTo>
                      <a:pt x="14" y="74"/>
                    </a:lnTo>
                    <a:lnTo>
                      <a:pt x="14" y="74"/>
                    </a:lnTo>
                    <a:lnTo>
                      <a:pt x="16" y="72"/>
                    </a:lnTo>
                    <a:lnTo>
                      <a:pt x="16" y="72"/>
                    </a:lnTo>
                    <a:lnTo>
                      <a:pt x="16" y="72"/>
                    </a:lnTo>
                    <a:lnTo>
                      <a:pt x="14" y="74"/>
                    </a:lnTo>
                    <a:lnTo>
                      <a:pt x="16" y="76"/>
                    </a:lnTo>
                    <a:lnTo>
                      <a:pt x="23" y="76"/>
                    </a:lnTo>
                    <a:lnTo>
                      <a:pt x="23" y="76"/>
                    </a:lnTo>
                    <a:lnTo>
                      <a:pt x="25" y="78"/>
                    </a:lnTo>
                    <a:lnTo>
                      <a:pt x="23" y="78"/>
                    </a:lnTo>
                    <a:lnTo>
                      <a:pt x="23" y="78"/>
                    </a:lnTo>
                    <a:lnTo>
                      <a:pt x="23" y="78"/>
                    </a:lnTo>
                    <a:lnTo>
                      <a:pt x="23" y="78"/>
                    </a:lnTo>
                    <a:lnTo>
                      <a:pt x="23" y="80"/>
                    </a:lnTo>
                    <a:lnTo>
                      <a:pt x="23" y="80"/>
                    </a:lnTo>
                    <a:lnTo>
                      <a:pt x="25" y="80"/>
                    </a:lnTo>
                    <a:lnTo>
                      <a:pt x="25" y="78"/>
                    </a:lnTo>
                    <a:lnTo>
                      <a:pt x="25" y="78"/>
                    </a:lnTo>
                    <a:lnTo>
                      <a:pt x="25" y="78"/>
                    </a:lnTo>
                    <a:lnTo>
                      <a:pt x="25" y="76"/>
                    </a:lnTo>
                    <a:lnTo>
                      <a:pt x="25" y="76"/>
                    </a:lnTo>
                    <a:lnTo>
                      <a:pt x="25" y="78"/>
                    </a:lnTo>
                    <a:lnTo>
                      <a:pt x="25" y="80"/>
                    </a:lnTo>
                    <a:lnTo>
                      <a:pt x="25" y="80"/>
                    </a:lnTo>
                    <a:lnTo>
                      <a:pt x="25" y="82"/>
                    </a:lnTo>
                    <a:lnTo>
                      <a:pt x="25" y="82"/>
                    </a:lnTo>
                    <a:lnTo>
                      <a:pt x="25" y="82"/>
                    </a:lnTo>
                    <a:lnTo>
                      <a:pt x="23" y="84"/>
                    </a:lnTo>
                    <a:lnTo>
                      <a:pt x="23" y="82"/>
                    </a:lnTo>
                    <a:lnTo>
                      <a:pt x="20" y="86"/>
                    </a:lnTo>
                    <a:lnTo>
                      <a:pt x="20" y="88"/>
                    </a:lnTo>
                    <a:lnTo>
                      <a:pt x="23" y="90"/>
                    </a:lnTo>
                    <a:lnTo>
                      <a:pt x="23" y="92"/>
                    </a:lnTo>
                    <a:lnTo>
                      <a:pt x="25" y="92"/>
                    </a:lnTo>
                    <a:lnTo>
                      <a:pt x="25" y="92"/>
                    </a:lnTo>
                    <a:lnTo>
                      <a:pt x="25" y="92"/>
                    </a:lnTo>
                    <a:lnTo>
                      <a:pt x="25" y="92"/>
                    </a:lnTo>
                    <a:lnTo>
                      <a:pt x="25" y="92"/>
                    </a:lnTo>
                    <a:lnTo>
                      <a:pt x="25" y="94"/>
                    </a:lnTo>
                    <a:lnTo>
                      <a:pt x="25" y="94"/>
                    </a:lnTo>
                    <a:lnTo>
                      <a:pt x="25" y="94"/>
                    </a:lnTo>
                    <a:lnTo>
                      <a:pt x="25" y="96"/>
                    </a:lnTo>
                    <a:lnTo>
                      <a:pt x="25" y="96"/>
                    </a:lnTo>
                    <a:lnTo>
                      <a:pt x="23" y="96"/>
                    </a:lnTo>
                    <a:lnTo>
                      <a:pt x="20" y="92"/>
                    </a:lnTo>
                    <a:lnTo>
                      <a:pt x="20" y="92"/>
                    </a:lnTo>
                    <a:lnTo>
                      <a:pt x="20" y="90"/>
                    </a:lnTo>
                    <a:lnTo>
                      <a:pt x="16" y="90"/>
                    </a:lnTo>
                    <a:lnTo>
                      <a:pt x="14" y="90"/>
                    </a:lnTo>
                    <a:lnTo>
                      <a:pt x="14" y="88"/>
                    </a:lnTo>
                    <a:lnTo>
                      <a:pt x="14" y="88"/>
                    </a:lnTo>
                    <a:lnTo>
                      <a:pt x="12" y="88"/>
                    </a:lnTo>
                    <a:lnTo>
                      <a:pt x="10" y="86"/>
                    </a:lnTo>
                    <a:lnTo>
                      <a:pt x="10" y="86"/>
                    </a:lnTo>
                    <a:lnTo>
                      <a:pt x="10" y="84"/>
                    </a:lnTo>
                    <a:lnTo>
                      <a:pt x="10" y="84"/>
                    </a:lnTo>
                    <a:lnTo>
                      <a:pt x="8" y="84"/>
                    </a:lnTo>
                    <a:lnTo>
                      <a:pt x="8" y="84"/>
                    </a:lnTo>
                    <a:lnTo>
                      <a:pt x="8" y="86"/>
                    </a:lnTo>
                    <a:lnTo>
                      <a:pt x="10" y="86"/>
                    </a:lnTo>
                    <a:lnTo>
                      <a:pt x="8" y="86"/>
                    </a:lnTo>
                    <a:lnTo>
                      <a:pt x="8" y="86"/>
                    </a:lnTo>
                    <a:lnTo>
                      <a:pt x="10" y="86"/>
                    </a:lnTo>
                    <a:lnTo>
                      <a:pt x="10" y="86"/>
                    </a:lnTo>
                    <a:lnTo>
                      <a:pt x="8" y="88"/>
                    </a:lnTo>
                    <a:lnTo>
                      <a:pt x="8" y="88"/>
                    </a:lnTo>
                    <a:lnTo>
                      <a:pt x="8" y="88"/>
                    </a:lnTo>
                    <a:lnTo>
                      <a:pt x="8" y="90"/>
                    </a:lnTo>
                    <a:lnTo>
                      <a:pt x="6" y="92"/>
                    </a:lnTo>
                    <a:lnTo>
                      <a:pt x="8" y="92"/>
                    </a:lnTo>
                    <a:lnTo>
                      <a:pt x="8" y="96"/>
                    </a:lnTo>
                    <a:lnTo>
                      <a:pt x="8" y="96"/>
                    </a:lnTo>
                    <a:lnTo>
                      <a:pt x="8" y="100"/>
                    </a:lnTo>
                    <a:lnTo>
                      <a:pt x="8" y="100"/>
                    </a:lnTo>
                    <a:lnTo>
                      <a:pt x="10" y="102"/>
                    </a:lnTo>
                    <a:lnTo>
                      <a:pt x="10" y="104"/>
                    </a:lnTo>
                    <a:lnTo>
                      <a:pt x="10" y="106"/>
                    </a:lnTo>
                    <a:lnTo>
                      <a:pt x="12" y="108"/>
                    </a:lnTo>
                    <a:lnTo>
                      <a:pt x="12" y="112"/>
                    </a:lnTo>
                    <a:lnTo>
                      <a:pt x="14" y="116"/>
                    </a:lnTo>
                    <a:lnTo>
                      <a:pt x="14" y="116"/>
                    </a:lnTo>
                    <a:lnTo>
                      <a:pt x="14" y="118"/>
                    </a:lnTo>
                    <a:lnTo>
                      <a:pt x="14" y="118"/>
                    </a:lnTo>
                    <a:lnTo>
                      <a:pt x="14" y="120"/>
                    </a:lnTo>
                    <a:lnTo>
                      <a:pt x="14" y="120"/>
                    </a:lnTo>
                    <a:lnTo>
                      <a:pt x="14" y="120"/>
                    </a:lnTo>
                    <a:lnTo>
                      <a:pt x="16" y="122"/>
                    </a:lnTo>
                    <a:lnTo>
                      <a:pt x="16" y="122"/>
                    </a:lnTo>
                    <a:lnTo>
                      <a:pt x="14" y="124"/>
                    </a:lnTo>
                    <a:lnTo>
                      <a:pt x="14" y="124"/>
                    </a:lnTo>
                    <a:lnTo>
                      <a:pt x="14" y="124"/>
                    </a:lnTo>
                    <a:lnTo>
                      <a:pt x="14" y="126"/>
                    </a:lnTo>
                    <a:lnTo>
                      <a:pt x="12" y="126"/>
                    </a:lnTo>
                    <a:lnTo>
                      <a:pt x="12" y="128"/>
                    </a:lnTo>
                    <a:lnTo>
                      <a:pt x="14" y="128"/>
                    </a:lnTo>
                    <a:lnTo>
                      <a:pt x="14" y="130"/>
                    </a:lnTo>
                    <a:lnTo>
                      <a:pt x="14" y="130"/>
                    </a:lnTo>
                    <a:lnTo>
                      <a:pt x="12" y="134"/>
                    </a:lnTo>
                    <a:lnTo>
                      <a:pt x="12" y="136"/>
                    </a:lnTo>
                    <a:lnTo>
                      <a:pt x="10" y="136"/>
                    </a:lnTo>
                    <a:lnTo>
                      <a:pt x="10" y="138"/>
                    </a:lnTo>
                    <a:lnTo>
                      <a:pt x="6" y="140"/>
                    </a:lnTo>
                    <a:lnTo>
                      <a:pt x="4" y="142"/>
                    </a:lnTo>
                    <a:lnTo>
                      <a:pt x="2" y="144"/>
                    </a:lnTo>
                    <a:lnTo>
                      <a:pt x="2" y="144"/>
                    </a:lnTo>
                    <a:lnTo>
                      <a:pt x="2" y="144"/>
                    </a:lnTo>
                    <a:lnTo>
                      <a:pt x="2" y="148"/>
                    </a:lnTo>
                    <a:lnTo>
                      <a:pt x="2" y="148"/>
                    </a:lnTo>
                    <a:lnTo>
                      <a:pt x="2" y="150"/>
                    </a:lnTo>
                    <a:lnTo>
                      <a:pt x="2" y="150"/>
                    </a:lnTo>
                    <a:lnTo>
                      <a:pt x="0" y="152"/>
                    </a:lnTo>
                    <a:lnTo>
                      <a:pt x="2" y="152"/>
                    </a:lnTo>
                    <a:lnTo>
                      <a:pt x="2" y="154"/>
                    </a:lnTo>
                    <a:lnTo>
                      <a:pt x="2" y="154"/>
                    </a:lnTo>
                    <a:lnTo>
                      <a:pt x="4" y="154"/>
                    </a:lnTo>
                    <a:lnTo>
                      <a:pt x="4" y="154"/>
                    </a:lnTo>
                    <a:lnTo>
                      <a:pt x="6" y="156"/>
                    </a:lnTo>
                    <a:lnTo>
                      <a:pt x="8" y="156"/>
                    </a:lnTo>
                    <a:lnTo>
                      <a:pt x="14" y="160"/>
                    </a:lnTo>
                    <a:lnTo>
                      <a:pt x="14" y="160"/>
                    </a:lnTo>
                    <a:lnTo>
                      <a:pt x="16" y="164"/>
                    </a:lnTo>
                    <a:lnTo>
                      <a:pt x="16" y="164"/>
                    </a:lnTo>
                    <a:lnTo>
                      <a:pt x="16" y="164"/>
                    </a:lnTo>
                    <a:lnTo>
                      <a:pt x="18" y="166"/>
                    </a:lnTo>
                    <a:lnTo>
                      <a:pt x="20" y="168"/>
                    </a:lnTo>
                    <a:lnTo>
                      <a:pt x="25" y="170"/>
                    </a:lnTo>
                    <a:lnTo>
                      <a:pt x="25" y="170"/>
                    </a:lnTo>
                    <a:lnTo>
                      <a:pt x="27" y="172"/>
                    </a:lnTo>
                    <a:lnTo>
                      <a:pt x="25" y="174"/>
                    </a:lnTo>
                    <a:lnTo>
                      <a:pt x="25" y="176"/>
                    </a:lnTo>
                    <a:lnTo>
                      <a:pt x="25" y="176"/>
                    </a:lnTo>
                    <a:lnTo>
                      <a:pt x="25" y="178"/>
                    </a:lnTo>
                    <a:lnTo>
                      <a:pt x="25" y="180"/>
                    </a:lnTo>
                    <a:lnTo>
                      <a:pt x="25" y="182"/>
                    </a:lnTo>
                    <a:lnTo>
                      <a:pt x="20" y="184"/>
                    </a:lnTo>
                    <a:lnTo>
                      <a:pt x="20" y="186"/>
                    </a:lnTo>
                    <a:lnTo>
                      <a:pt x="23" y="190"/>
                    </a:lnTo>
                    <a:lnTo>
                      <a:pt x="25" y="192"/>
                    </a:lnTo>
                    <a:lnTo>
                      <a:pt x="23" y="192"/>
                    </a:lnTo>
                    <a:lnTo>
                      <a:pt x="25" y="194"/>
                    </a:lnTo>
                    <a:lnTo>
                      <a:pt x="27" y="194"/>
                    </a:lnTo>
                    <a:lnTo>
                      <a:pt x="27" y="194"/>
                    </a:lnTo>
                    <a:lnTo>
                      <a:pt x="29" y="196"/>
                    </a:lnTo>
                    <a:lnTo>
                      <a:pt x="29" y="196"/>
                    </a:lnTo>
                    <a:lnTo>
                      <a:pt x="29" y="198"/>
                    </a:lnTo>
                    <a:lnTo>
                      <a:pt x="29" y="200"/>
                    </a:lnTo>
                    <a:lnTo>
                      <a:pt x="29" y="200"/>
                    </a:lnTo>
                    <a:lnTo>
                      <a:pt x="29" y="200"/>
                    </a:lnTo>
                    <a:lnTo>
                      <a:pt x="29" y="202"/>
                    </a:lnTo>
                    <a:lnTo>
                      <a:pt x="29" y="204"/>
                    </a:lnTo>
                    <a:lnTo>
                      <a:pt x="29" y="206"/>
                    </a:lnTo>
                    <a:lnTo>
                      <a:pt x="29" y="206"/>
                    </a:lnTo>
                    <a:lnTo>
                      <a:pt x="33" y="208"/>
                    </a:lnTo>
                    <a:lnTo>
                      <a:pt x="31" y="210"/>
                    </a:lnTo>
                    <a:lnTo>
                      <a:pt x="31" y="210"/>
                    </a:lnTo>
                    <a:lnTo>
                      <a:pt x="31" y="210"/>
                    </a:lnTo>
                    <a:lnTo>
                      <a:pt x="31" y="212"/>
                    </a:lnTo>
                    <a:lnTo>
                      <a:pt x="31" y="212"/>
                    </a:lnTo>
                    <a:lnTo>
                      <a:pt x="29" y="214"/>
                    </a:lnTo>
                    <a:lnTo>
                      <a:pt x="29" y="214"/>
                    </a:lnTo>
                    <a:lnTo>
                      <a:pt x="29" y="218"/>
                    </a:lnTo>
                    <a:lnTo>
                      <a:pt x="29" y="220"/>
                    </a:lnTo>
                    <a:lnTo>
                      <a:pt x="27" y="222"/>
                    </a:lnTo>
                    <a:lnTo>
                      <a:pt x="27" y="222"/>
                    </a:lnTo>
                    <a:lnTo>
                      <a:pt x="25" y="226"/>
                    </a:lnTo>
                    <a:lnTo>
                      <a:pt x="23" y="226"/>
                    </a:lnTo>
                    <a:lnTo>
                      <a:pt x="23" y="228"/>
                    </a:lnTo>
                    <a:lnTo>
                      <a:pt x="25" y="230"/>
                    </a:lnTo>
                    <a:lnTo>
                      <a:pt x="25" y="230"/>
                    </a:lnTo>
                    <a:lnTo>
                      <a:pt x="25" y="230"/>
                    </a:lnTo>
                    <a:lnTo>
                      <a:pt x="27" y="232"/>
                    </a:lnTo>
                    <a:lnTo>
                      <a:pt x="27" y="234"/>
                    </a:lnTo>
                    <a:lnTo>
                      <a:pt x="27" y="236"/>
                    </a:lnTo>
                    <a:lnTo>
                      <a:pt x="31" y="238"/>
                    </a:lnTo>
                    <a:lnTo>
                      <a:pt x="31" y="238"/>
                    </a:lnTo>
                    <a:lnTo>
                      <a:pt x="31" y="240"/>
                    </a:lnTo>
                    <a:lnTo>
                      <a:pt x="31" y="242"/>
                    </a:lnTo>
                    <a:lnTo>
                      <a:pt x="31" y="244"/>
                    </a:lnTo>
                    <a:lnTo>
                      <a:pt x="29" y="246"/>
                    </a:lnTo>
                    <a:lnTo>
                      <a:pt x="29" y="246"/>
                    </a:lnTo>
                    <a:lnTo>
                      <a:pt x="29" y="248"/>
                    </a:lnTo>
                    <a:lnTo>
                      <a:pt x="29" y="248"/>
                    </a:lnTo>
                    <a:lnTo>
                      <a:pt x="31" y="248"/>
                    </a:lnTo>
                    <a:lnTo>
                      <a:pt x="33" y="250"/>
                    </a:lnTo>
                    <a:lnTo>
                      <a:pt x="35" y="250"/>
                    </a:lnTo>
                    <a:lnTo>
                      <a:pt x="37" y="252"/>
                    </a:lnTo>
                    <a:lnTo>
                      <a:pt x="39" y="252"/>
                    </a:lnTo>
                    <a:lnTo>
                      <a:pt x="39" y="252"/>
                    </a:lnTo>
                    <a:lnTo>
                      <a:pt x="41" y="252"/>
                    </a:lnTo>
                    <a:lnTo>
                      <a:pt x="41" y="254"/>
                    </a:lnTo>
                    <a:lnTo>
                      <a:pt x="41" y="254"/>
                    </a:lnTo>
                    <a:lnTo>
                      <a:pt x="41" y="256"/>
                    </a:lnTo>
                    <a:lnTo>
                      <a:pt x="41" y="258"/>
                    </a:lnTo>
                    <a:lnTo>
                      <a:pt x="41" y="260"/>
                    </a:lnTo>
                    <a:lnTo>
                      <a:pt x="41" y="262"/>
                    </a:lnTo>
                    <a:lnTo>
                      <a:pt x="41" y="262"/>
                    </a:lnTo>
                    <a:lnTo>
                      <a:pt x="43" y="264"/>
                    </a:lnTo>
                    <a:lnTo>
                      <a:pt x="43" y="264"/>
                    </a:lnTo>
                    <a:lnTo>
                      <a:pt x="45" y="266"/>
                    </a:lnTo>
                    <a:lnTo>
                      <a:pt x="45" y="268"/>
                    </a:lnTo>
                    <a:lnTo>
                      <a:pt x="45" y="268"/>
                    </a:lnTo>
                    <a:lnTo>
                      <a:pt x="45" y="268"/>
                    </a:lnTo>
                    <a:lnTo>
                      <a:pt x="43" y="270"/>
                    </a:lnTo>
                    <a:lnTo>
                      <a:pt x="43" y="272"/>
                    </a:lnTo>
                    <a:lnTo>
                      <a:pt x="43" y="274"/>
                    </a:lnTo>
                    <a:lnTo>
                      <a:pt x="43" y="276"/>
                    </a:lnTo>
                    <a:lnTo>
                      <a:pt x="43" y="278"/>
                    </a:lnTo>
                    <a:lnTo>
                      <a:pt x="43" y="278"/>
                    </a:lnTo>
                    <a:lnTo>
                      <a:pt x="41" y="278"/>
                    </a:lnTo>
                    <a:lnTo>
                      <a:pt x="41" y="278"/>
                    </a:lnTo>
                    <a:lnTo>
                      <a:pt x="41" y="280"/>
                    </a:lnTo>
                    <a:lnTo>
                      <a:pt x="41" y="280"/>
                    </a:lnTo>
                    <a:lnTo>
                      <a:pt x="41" y="282"/>
                    </a:lnTo>
                    <a:lnTo>
                      <a:pt x="39" y="286"/>
                    </a:lnTo>
                    <a:lnTo>
                      <a:pt x="37" y="292"/>
                    </a:lnTo>
                    <a:lnTo>
                      <a:pt x="35" y="294"/>
                    </a:lnTo>
                    <a:lnTo>
                      <a:pt x="35" y="294"/>
                    </a:lnTo>
                    <a:lnTo>
                      <a:pt x="35" y="296"/>
                    </a:lnTo>
                    <a:lnTo>
                      <a:pt x="35" y="296"/>
                    </a:lnTo>
                    <a:lnTo>
                      <a:pt x="37" y="296"/>
                    </a:lnTo>
                    <a:lnTo>
                      <a:pt x="43" y="296"/>
                    </a:lnTo>
                    <a:lnTo>
                      <a:pt x="43" y="296"/>
                    </a:lnTo>
                    <a:lnTo>
                      <a:pt x="43" y="292"/>
                    </a:lnTo>
                    <a:lnTo>
                      <a:pt x="43" y="292"/>
                    </a:lnTo>
                    <a:lnTo>
                      <a:pt x="43" y="292"/>
                    </a:lnTo>
                    <a:lnTo>
                      <a:pt x="43" y="292"/>
                    </a:lnTo>
                    <a:lnTo>
                      <a:pt x="43" y="292"/>
                    </a:lnTo>
                    <a:lnTo>
                      <a:pt x="43" y="290"/>
                    </a:lnTo>
                    <a:lnTo>
                      <a:pt x="43" y="288"/>
                    </a:lnTo>
                    <a:lnTo>
                      <a:pt x="43" y="288"/>
                    </a:lnTo>
                    <a:lnTo>
                      <a:pt x="41" y="286"/>
                    </a:lnTo>
                    <a:lnTo>
                      <a:pt x="41" y="286"/>
                    </a:lnTo>
                    <a:lnTo>
                      <a:pt x="41" y="286"/>
                    </a:lnTo>
                    <a:lnTo>
                      <a:pt x="43" y="286"/>
                    </a:lnTo>
                    <a:lnTo>
                      <a:pt x="43" y="286"/>
                    </a:lnTo>
                    <a:lnTo>
                      <a:pt x="43" y="286"/>
                    </a:lnTo>
                    <a:lnTo>
                      <a:pt x="43" y="286"/>
                    </a:lnTo>
                    <a:lnTo>
                      <a:pt x="43" y="284"/>
                    </a:lnTo>
                    <a:lnTo>
                      <a:pt x="43" y="284"/>
                    </a:lnTo>
                    <a:lnTo>
                      <a:pt x="45" y="286"/>
                    </a:lnTo>
                    <a:lnTo>
                      <a:pt x="47" y="286"/>
                    </a:lnTo>
                    <a:lnTo>
                      <a:pt x="47" y="286"/>
                    </a:lnTo>
                    <a:lnTo>
                      <a:pt x="47" y="286"/>
                    </a:lnTo>
                    <a:lnTo>
                      <a:pt x="49" y="288"/>
                    </a:lnTo>
                    <a:lnTo>
                      <a:pt x="49" y="286"/>
                    </a:lnTo>
                    <a:lnTo>
                      <a:pt x="49" y="286"/>
                    </a:lnTo>
                    <a:lnTo>
                      <a:pt x="49" y="286"/>
                    </a:lnTo>
                    <a:lnTo>
                      <a:pt x="51" y="284"/>
                    </a:lnTo>
                    <a:lnTo>
                      <a:pt x="51" y="286"/>
                    </a:lnTo>
                    <a:lnTo>
                      <a:pt x="51" y="286"/>
                    </a:lnTo>
                    <a:lnTo>
                      <a:pt x="51" y="288"/>
                    </a:lnTo>
                    <a:lnTo>
                      <a:pt x="55" y="288"/>
                    </a:lnTo>
                    <a:lnTo>
                      <a:pt x="55" y="288"/>
                    </a:lnTo>
                    <a:lnTo>
                      <a:pt x="57" y="290"/>
                    </a:lnTo>
                    <a:lnTo>
                      <a:pt x="57" y="290"/>
                    </a:lnTo>
                    <a:lnTo>
                      <a:pt x="57" y="290"/>
                    </a:lnTo>
                    <a:lnTo>
                      <a:pt x="55" y="292"/>
                    </a:lnTo>
                    <a:lnTo>
                      <a:pt x="55" y="292"/>
                    </a:lnTo>
                    <a:lnTo>
                      <a:pt x="57" y="294"/>
                    </a:lnTo>
                    <a:lnTo>
                      <a:pt x="57" y="296"/>
                    </a:lnTo>
                    <a:lnTo>
                      <a:pt x="57" y="296"/>
                    </a:lnTo>
                    <a:lnTo>
                      <a:pt x="59" y="296"/>
                    </a:lnTo>
                    <a:lnTo>
                      <a:pt x="59" y="298"/>
                    </a:lnTo>
                    <a:lnTo>
                      <a:pt x="61" y="298"/>
                    </a:lnTo>
                    <a:lnTo>
                      <a:pt x="61" y="300"/>
                    </a:lnTo>
                    <a:lnTo>
                      <a:pt x="61" y="300"/>
                    </a:lnTo>
                    <a:lnTo>
                      <a:pt x="61" y="300"/>
                    </a:lnTo>
                    <a:lnTo>
                      <a:pt x="61" y="302"/>
                    </a:lnTo>
                    <a:lnTo>
                      <a:pt x="61" y="302"/>
                    </a:lnTo>
                    <a:lnTo>
                      <a:pt x="61" y="302"/>
                    </a:lnTo>
                    <a:lnTo>
                      <a:pt x="61" y="302"/>
                    </a:lnTo>
                    <a:lnTo>
                      <a:pt x="63" y="300"/>
                    </a:lnTo>
                    <a:lnTo>
                      <a:pt x="63" y="300"/>
                    </a:lnTo>
                    <a:lnTo>
                      <a:pt x="65" y="300"/>
                    </a:lnTo>
                    <a:lnTo>
                      <a:pt x="75" y="304"/>
                    </a:lnTo>
                    <a:lnTo>
                      <a:pt x="75" y="304"/>
                    </a:lnTo>
                    <a:lnTo>
                      <a:pt x="75" y="304"/>
                    </a:lnTo>
                    <a:lnTo>
                      <a:pt x="77" y="304"/>
                    </a:lnTo>
                    <a:lnTo>
                      <a:pt x="77" y="304"/>
                    </a:lnTo>
                    <a:lnTo>
                      <a:pt x="81" y="304"/>
                    </a:lnTo>
                    <a:lnTo>
                      <a:pt x="81" y="304"/>
                    </a:lnTo>
                    <a:lnTo>
                      <a:pt x="81" y="304"/>
                    </a:lnTo>
                    <a:lnTo>
                      <a:pt x="81" y="306"/>
                    </a:lnTo>
                    <a:lnTo>
                      <a:pt x="85" y="308"/>
                    </a:lnTo>
                    <a:lnTo>
                      <a:pt x="85" y="310"/>
                    </a:lnTo>
                    <a:lnTo>
                      <a:pt x="87" y="310"/>
                    </a:lnTo>
                    <a:lnTo>
                      <a:pt x="89" y="308"/>
                    </a:lnTo>
                    <a:lnTo>
                      <a:pt x="89" y="308"/>
                    </a:lnTo>
                    <a:lnTo>
                      <a:pt x="91" y="308"/>
                    </a:lnTo>
                    <a:lnTo>
                      <a:pt x="91" y="310"/>
                    </a:lnTo>
                    <a:lnTo>
                      <a:pt x="91" y="310"/>
                    </a:lnTo>
                    <a:lnTo>
                      <a:pt x="91" y="312"/>
                    </a:lnTo>
                    <a:lnTo>
                      <a:pt x="91" y="312"/>
                    </a:lnTo>
                    <a:lnTo>
                      <a:pt x="91" y="312"/>
                    </a:lnTo>
                    <a:lnTo>
                      <a:pt x="91" y="314"/>
                    </a:lnTo>
                    <a:lnTo>
                      <a:pt x="91" y="314"/>
                    </a:lnTo>
                    <a:lnTo>
                      <a:pt x="91" y="314"/>
                    </a:lnTo>
                    <a:lnTo>
                      <a:pt x="93" y="314"/>
                    </a:lnTo>
                    <a:lnTo>
                      <a:pt x="95" y="310"/>
                    </a:lnTo>
                    <a:lnTo>
                      <a:pt x="99" y="312"/>
                    </a:lnTo>
                    <a:lnTo>
                      <a:pt x="99" y="312"/>
                    </a:lnTo>
                    <a:lnTo>
                      <a:pt x="101" y="312"/>
                    </a:lnTo>
                    <a:lnTo>
                      <a:pt x="101" y="312"/>
                    </a:lnTo>
                    <a:lnTo>
                      <a:pt x="101" y="312"/>
                    </a:lnTo>
                    <a:lnTo>
                      <a:pt x="101" y="310"/>
                    </a:lnTo>
                    <a:lnTo>
                      <a:pt x="103" y="310"/>
                    </a:lnTo>
                    <a:lnTo>
                      <a:pt x="103" y="310"/>
                    </a:lnTo>
                    <a:lnTo>
                      <a:pt x="105" y="310"/>
                    </a:lnTo>
                    <a:lnTo>
                      <a:pt x="107" y="310"/>
                    </a:lnTo>
                    <a:lnTo>
                      <a:pt x="107" y="312"/>
                    </a:lnTo>
                    <a:lnTo>
                      <a:pt x="111" y="314"/>
                    </a:lnTo>
                    <a:lnTo>
                      <a:pt x="113" y="316"/>
                    </a:lnTo>
                    <a:lnTo>
                      <a:pt x="111" y="316"/>
                    </a:lnTo>
                    <a:lnTo>
                      <a:pt x="111" y="318"/>
                    </a:lnTo>
                    <a:lnTo>
                      <a:pt x="111" y="318"/>
                    </a:lnTo>
                    <a:lnTo>
                      <a:pt x="111" y="318"/>
                    </a:lnTo>
                    <a:lnTo>
                      <a:pt x="111" y="318"/>
                    </a:lnTo>
                    <a:lnTo>
                      <a:pt x="111" y="318"/>
                    </a:lnTo>
                    <a:lnTo>
                      <a:pt x="111" y="320"/>
                    </a:lnTo>
                    <a:lnTo>
                      <a:pt x="111" y="320"/>
                    </a:lnTo>
                    <a:lnTo>
                      <a:pt x="111" y="320"/>
                    </a:lnTo>
                    <a:lnTo>
                      <a:pt x="109" y="322"/>
                    </a:lnTo>
                    <a:lnTo>
                      <a:pt x="109" y="322"/>
                    </a:lnTo>
                    <a:lnTo>
                      <a:pt x="109" y="322"/>
                    </a:lnTo>
                    <a:lnTo>
                      <a:pt x="107" y="322"/>
                    </a:lnTo>
                    <a:lnTo>
                      <a:pt x="105" y="322"/>
                    </a:lnTo>
                    <a:lnTo>
                      <a:pt x="105" y="322"/>
                    </a:lnTo>
                    <a:lnTo>
                      <a:pt x="105" y="324"/>
                    </a:lnTo>
                    <a:lnTo>
                      <a:pt x="103" y="324"/>
                    </a:lnTo>
                    <a:lnTo>
                      <a:pt x="103" y="324"/>
                    </a:lnTo>
                    <a:lnTo>
                      <a:pt x="103" y="324"/>
                    </a:lnTo>
                    <a:lnTo>
                      <a:pt x="103" y="324"/>
                    </a:lnTo>
                    <a:lnTo>
                      <a:pt x="101" y="324"/>
                    </a:lnTo>
                    <a:lnTo>
                      <a:pt x="103" y="326"/>
                    </a:lnTo>
                    <a:lnTo>
                      <a:pt x="103" y="326"/>
                    </a:lnTo>
                    <a:lnTo>
                      <a:pt x="101" y="326"/>
                    </a:lnTo>
                    <a:lnTo>
                      <a:pt x="101" y="326"/>
                    </a:lnTo>
                    <a:lnTo>
                      <a:pt x="101" y="328"/>
                    </a:lnTo>
                    <a:lnTo>
                      <a:pt x="103" y="328"/>
                    </a:lnTo>
                    <a:lnTo>
                      <a:pt x="103" y="330"/>
                    </a:lnTo>
                    <a:lnTo>
                      <a:pt x="103" y="330"/>
                    </a:lnTo>
                    <a:lnTo>
                      <a:pt x="105" y="330"/>
                    </a:lnTo>
                    <a:lnTo>
                      <a:pt x="105" y="330"/>
                    </a:lnTo>
                    <a:lnTo>
                      <a:pt x="105" y="330"/>
                    </a:lnTo>
                    <a:lnTo>
                      <a:pt x="105" y="330"/>
                    </a:lnTo>
                    <a:lnTo>
                      <a:pt x="107" y="330"/>
                    </a:lnTo>
                    <a:lnTo>
                      <a:pt x="109" y="330"/>
                    </a:lnTo>
                    <a:lnTo>
                      <a:pt x="109" y="332"/>
                    </a:lnTo>
                    <a:lnTo>
                      <a:pt x="109" y="332"/>
                    </a:lnTo>
                    <a:lnTo>
                      <a:pt x="109" y="332"/>
                    </a:lnTo>
                    <a:lnTo>
                      <a:pt x="109" y="332"/>
                    </a:lnTo>
                    <a:lnTo>
                      <a:pt x="109" y="334"/>
                    </a:lnTo>
                    <a:lnTo>
                      <a:pt x="111" y="334"/>
                    </a:lnTo>
                    <a:lnTo>
                      <a:pt x="113" y="336"/>
                    </a:lnTo>
                    <a:lnTo>
                      <a:pt x="113" y="336"/>
                    </a:lnTo>
                    <a:lnTo>
                      <a:pt x="115" y="338"/>
                    </a:lnTo>
                    <a:lnTo>
                      <a:pt x="115" y="340"/>
                    </a:lnTo>
                    <a:lnTo>
                      <a:pt x="117" y="340"/>
                    </a:lnTo>
                    <a:lnTo>
                      <a:pt x="117" y="342"/>
                    </a:lnTo>
                    <a:lnTo>
                      <a:pt x="119" y="342"/>
                    </a:lnTo>
                    <a:lnTo>
                      <a:pt x="119" y="346"/>
                    </a:lnTo>
                    <a:lnTo>
                      <a:pt x="119" y="346"/>
                    </a:lnTo>
                    <a:lnTo>
                      <a:pt x="119" y="348"/>
                    </a:lnTo>
                    <a:lnTo>
                      <a:pt x="121" y="348"/>
                    </a:lnTo>
                    <a:lnTo>
                      <a:pt x="123" y="350"/>
                    </a:lnTo>
                    <a:lnTo>
                      <a:pt x="125" y="350"/>
                    </a:lnTo>
                    <a:lnTo>
                      <a:pt x="127" y="348"/>
                    </a:lnTo>
                    <a:lnTo>
                      <a:pt x="129" y="346"/>
                    </a:lnTo>
                    <a:lnTo>
                      <a:pt x="129" y="346"/>
                    </a:lnTo>
                    <a:lnTo>
                      <a:pt x="129" y="346"/>
                    </a:lnTo>
                    <a:lnTo>
                      <a:pt x="131" y="344"/>
                    </a:lnTo>
                    <a:lnTo>
                      <a:pt x="131" y="344"/>
                    </a:lnTo>
                    <a:lnTo>
                      <a:pt x="131" y="342"/>
                    </a:lnTo>
                    <a:lnTo>
                      <a:pt x="133" y="342"/>
                    </a:lnTo>
                    <a:lnTo>
                      <a:pt x="133" y="342"/>
                    </a:lnTo>
                    <a:lnTo>
                      <a:pt x="135" y="342"/>
                    </a:lnTo>
                    <a:lnTo>
                      <a:pt x="135" y="342"/>
                    </a:lnTo>
                    <a:lnTo>
                      <a:pt x="135" y="342"/>
                    </a:lnTo>
                    <a:lnTo>
                      <a:pt x="135" y="340"/>
                    </a:lnTo>
                    <a:lnTo>
                      <a:pt x="137" y="340"/>
                    </a:lnTo>
                    <a:lnTo>
                      <a:pt x="137" y="342"/>
                    </a:lnTo>
                    <a:lnTo>
                      <a:pt x="137" y="342"/>
                    </a:lnTo>
                    <a:lnTo>
                      <a:pt x="137" y="340"/>
                    </a:lnTo>
                    <a:lnTo>
                      <a:pt x="137" y="340"/>
                    </a:lnTo>
                    <a:lnTo>
                      <a:pt x="139" y="340"/>
                    </a:lnTo>
                    <a:lnTo>
                      <a:pt x="139" y="340"/>
                    </a:lnTo>
                    <a:lnTo>
                      <a:pt x="139" y="340"/>
                    </a:lnTo>
                    <a:lnTo>
                      <a:pt x="139" y="340"/>
                    </a:lnTo>
                    <a:lnTo>
                      <a:pt x="139" y="342"/>
                    </a:lnTo>
                    <a:lnTo>
                      <a:pt x="141" y="342"/>
                    </a:lnTo>
                    <a:lnTo>
                      <a:pt x="141" y="340"/>
                    </a:lnTo>
                    <a:lnTo>
                      <a:pt x="141" y="340"/>
                    </a:lnTo>
                    <a:lnTo>
                      <a:pt x="139" y="340"/>
                    </a:lnTo>
                    <a:lnTo>
                      <a:pt x="139" y="338"/>
                    </a:lnTo>
                    <a:lnTo>
                      <a:pt x="139" y="336"/>
                    </a:lnTo>
                    <a:lnTo>
                      <a:pt x="139" y="336"/>
                    </a:lnTo>
                    <a:lnTo>
                      <a:pt x="137" y="334"/>
                    </a:lnTo>
                    <a:lnTo>
                      <a:pt x="137" y="334"/>
                    </a:lnTo>
                    <a:lnTo>
                      <a:pt x="135" y="332"/>
                    </a:lnTo>
                    <a:lnTo>
                      <a:pt x="135" y="332"/>
                    </a:lnTo>
                    <a:lnTo>
                      <a:pt x="135" y="330"/>
                    </a:lnTo>
                    <a:lnTo>
                      <a:pt x="133" y="328"/>
                    </a:lnTo>
                    <a:lnTo>
                      <a:pt x="133" y="326"/>
                    </a:lnTo>
                    <a:lnTo>
                      <a:pt x="135" y="326"/>
                    </a:lnTo>
                    <a:lnTo>
                      <a:pt x="135" y="326"/>
                    </a:lnTo>
                    <a:lnTo>
                      <a:pt x="137" y="326"/>
                    </a:lnTo>
                    <a:lnTo>
                      <a:pt x="139" y="328"/>
                    </a:lnTo>
                    <a:lnTo>
                      <a:pt x="139" y="328"/>
                    </a:lnTo>
                    <a:lnTo>
                      <a:pt x="145" y="328"/>
                    </a:lnTo>
                    <a:lnTo>
                      <a:pt x="145" y="328"/>
                    </a:lnTo>
                    <a:lnTo>
                      <a:pt x="145" y="330"/>
                    </a:lnTo>
                    <a:lnTo>
                      <a:pt x="147" y="330"/>
                    </a:lnTo>
                    <a:lnTo>
                      <a:pt x="147" y="330"/>
                    </a:lnTo>
                    <a:lnTo>
                      <a:pt x="149" y="330"/>
                    </a:lnTo>
                    <a:lnTo>
                      <a:pt x="149" y="330"/>
                    </a:lnTo>
                    <a:lnTo>
                      <a:pt x="149" y="330"/>
                    </a:lnTo>
                    <a:lnTo>
                      <a:pt x="149" y="330"/>
                    </a:lnTo>
                    <a:lnTo>
                      <a:pt x="149" y="332"/>
                    </a:lnTo>
                    <a:lnTo>
                      <a:pt x="149" y="332"/>
                    </a:lnTo>
                    <a:lnTo>
                      <a:pt x="151" y="332"/>
                    </a:lnTo>
                    <a:lnTo>
                      <a:pt x="151" y="334"/>
                    </a:lnTo>
                    <a:lnTo>
                      <a:pt x="153" y="334"/>
                    </a:lnTo>
                    <a:lnTo>
                      <a:pt x="155" y="334"/>
                    </a:lnTo>
                    <a:lnTo>
                      <a:pt x="157" y="334"/>
                    </a:lnTo>
                    <a:lnTo>
                      <a:pt x="155" y="334"/>
                    </a:lnTo>
                    <a:lnTo>
                      <a:pt x="155" y="336"/>
                    </a:lnTo>
                    <a:lnTo>
                      <a:pt x="155" y="336"/>
                    </a:lnTo>
                    <a:lnTo>
                      <a:pt x="155" y="336"/>
                    </a:lnTo>
                    <a:lnTo>
                      <a:pt x="155" y="336"/>
                    </a:lnTo>
                    <a:lnTo>
                      <a:pt x="155" y="338"/>
                    </a:lnTo>
                    <a:lnTo>
                      <a:pt x="157" y="338"/>
                    </a:lnTo>
                    <a:lnTo>
                      <a:pt x="157" y="338"/>
                    </a:lnTo>
                    <a:lnTo>
                      <a:pt x="157" y="338"/>
                    </a:lnTo>
                    <a:lnTo>
                      <a:pt x="159" y="338"/>
                    </a:lnTo>
                    <a:lnTo>
                      <a:pt x="159" y="338"/>
                    </a:lnTo>
                    <a:lnTo>
                      <a:pt x="161" y="340"/>
                    </a:lnTo>
                    <a:lnTo>
                      <a:pt x="161" y="340"/>
                    </a:lnTo>
                    <a:lnTo>
                      <a:pt x="161" y="340"/>
                    </a:lnTo>
                    <a:lnTo>
                      <a:pt x="161" y="340"/>
                    </a:lnTo>
                    <a:lnTo>
                      <a:pt x="161" y="340"/>
                    </a:lnTo>
                    <a:lnTo>
                      <a:pt x="163" y="338"/>
                    </a:lnTo>
                    <a:lnTo>
                      <a:pt x="165" y="338"/>
                    </a:lnTo>
                    <a:lnTo>
                      <a:pt x="169" y="338"/>
                    </a:lnTo>
                    <a:lnTo>
                      <a:pt x="171" y="338"/>
                    </a:lnTo>
                    <a:lnTo>
                      <a:pt x="171" y="338"/>
                    </a:lnTo>
                    <a:lnTo>
                      <a:pt x="173" y="336"/>
                    </a:lnTo>
                    <a:lnTo>
                      <a:pt x="173" y="334"/>
                    </a:lnTo>
                    <a:lnTo>
                      <a:pt x="173" y="334"/>
                    </a:lnTo>
                    <a:lnTo>
                      <a:pt x="173" y="334"/>
                    </a:lnTo>
                    <a:lnTo>
                      <a:pt x="175" y="334"/>
                    </a:lnTo>
                    <a:lnTo>
                      <a:pt x="175" y="334"/>
                    </a:lnTo>
                    <a:lnTo>
                      <a:pt x="175" y="336"/>
                    </a:lnTo>
                    <a:lnTo>
                      <a:pt x="175" y="336"/>
                    </a:lnTo>
                    <a:lnTo>
                      <a:pt x="175" y="336"/>
                    </a:lnTo>
                    <a:lnTo>
                      <a:pt x="175" y="336"/>
                    </a:lnTo>
                    <a:lnTo>
                      <a:pt x="175" y="336"/>
                    </a:lnTo>
                    <a:lnTo>
                      <a:pt x="175" y="338"/>
                    </a:lnTo>
                    <a:lnTo>
                      <a:pt x="175" y="338"/>
                    </a:lnTo>
                    <a:lnTo>
                      <a:pt x="175" y="340"/>
                    </a:lnTo>
                    <a:lnTo>
                      <a:pt x="175" y="340"/>
                    </a:lnTo>
                    <a:lnTo>
                      <a:pt x="175" y="340"/>
                    </a:lnTo>
                    <a:lnTo>
                      <a:pt x="175" y="342"/>
                    </a:lnTo>
                    <a:lnTo>
                      <a:pt x="175" y="342"/>
                    </a:lnTo>
                    <a:lnTo>
                      <a:pt x="173" y="344"/>
                    </a:lnTo>
                    <a:lnTo>
                      <a:pt x="171" y="344"/>
                    </a:lnTo>
                    <a:lnTo>
                      <a:pt x="169" y="344"/>
                    </a:lnTo>
                    <a:lnTo>
                      <a:pt x="169" y="344"/>
                    </a:lnTo>
                    <a:lnTo>
                      <a:pt x="169" y="346"/>
                    </a:lnTo>
                    <a:lnTo>
                      <a:pt x="169" y="346"/>
                    </a:lnTo>
                    <a:lnTo>
                      <a:pt x="171" y="348"/>
                    </a:lnTo>
                    <a:lnTo>
                      <a:pt x="171" y="350"/>
                    </a:lnTo>
                    <a:lnTo>
                      <a:pt x="171" y="350"/>
                    </a:lnTo>
                    <a:lnTo>
                      <a:pt x="173" y="348"/>
                    </a:lnTo>
                    <a:lnTo>
                      <a:pt x="173" y="348"/>
                    </a:lnTo>
                    <a:lnTo>
                      <a:pt x="173" y="348"/>
                    </a:lnTo>
                    <a:lnTo>
                      <a:pt x="175" y="350"/>
                    </a:lnTo>
                    <a:lnTo>
                      <a:pt x="175" y="350"/>
                    </a:lnTo>
                    <a:lnTo>
                      <a:pt x="175" y="350"/>
                    </a:lnTo>
                    <a:lnTo>
                      <a:pt x="175" y="350"/>
                    </a:lnTo>
                    <a:lnTo>
                      <a:pt x="175" y="350"/>
                    </a:lnTo>
                    <a:lnTo>
                      <a:pt x="175" y="350"/>
                    </a:lnTo>
                    <a:lnTo>
                      <a:pt x="175" y="352"/>
                    </a:lnTo>
                    <a:lnTo>
                      <a:pt x="175" y="352"/>
                    </a:lnTo>
                    <a:lnTo>
                      <a:pt x="175" y="352"/>
                    </a:lnTo>
                    <a:lnTo>
                      <a:pt x="177" y="354"/>
                    </a:lnTo>
                    <a:lnTo>
                      <a:pt x="177" y="354"/>
                    </a:lnTo>
                    <a:lnTo>
                      <a:pt x="177" y="356"/>
                    </a:lnTo>
                    <a:lnTo>
                      <a:pt x="181" y="358"/>
                    </a:lnTo>
                    <a:lnTo>
                      <a:pt x="183" y="358"/>
                    </a:lnTo>
                    <a:lnTo>
                      <a:pt x="183" y="358"/>
                    </a:lnTo>
                    <a:lnTo>
                      <a:pt x="185" y="356"/>
                    </a:lnTo>
                    <a:lnTo>
                      <a:pt x="185" y="356"/>
                    </a:lnTo>
                    <a:lnTo>
                      <a:pt x="189" y="356"/>
                    </a:lnTo>
                    <a:lnTo>
                      <a:pt x="189" y="356"/>
                    </a:lnTo>
                    <a:lnTo>
                      <a:pt x="189" y="356"/>
                    </a:lnTo>
                    <a:lnTo>
                      <a:pt x="189" y="354"/>
                    </a:lnTo>
                    <a:lnTo>
                      <a:pt x="189" y="354"/>
                    </a:lnTo>
                    <a:lnTo>
                      <a:pt x="189" y="354"/>
                    </a:lnTo>
                    <a:lnTo>
                      <a:pt x="189" y="354"/>
                    </a:lnTo>
                    <a:lnTo>
                      <a:pt x="189" y="354"/>
                    </a:lnTo>
                    <a:lnTo>
                      <a:pt x="189" y="352"/>
                    </a:lnTo>
                    <a:lnTo>
                      <a:pt x="189" y="354"/>
                    </a:lnTo>
                    <a:lnTo>
                      <a:pt x="189" y="354"/>
                    </a:lnTo>
                    <a:lnTo>
                      <a:pt x="193" y="354"/>
                    </a:lnTo>
                    <a:lnTo>
                      <a:pt x="193" y="356"/>
                    </a:lnTo>
                    <a:lnTo>
                      <a:pt x="193" y="358"/>
                    </a:lnTo>
                    <a:lnTo>
                      <a:pt x="195" y="358"/>
                    </a:lnTo>
                    <a:lnTo>
                      <a:pt x="197" y="358"/>
                    </a:lnTo>
                    <a:lnTo>
                      <a:pt x="199" y="360"/>
                    </a:lnTo>
                    <a:lnTo>
                      <a:pt x="199" y="360"/>
                    </a:lnTo>
                    <a:lnTo>
                      <a:pt x="199" y="360"/>
                    </a:lnTo>
                    <a:lnTo>
                      <a:pt x="201" y="360"/>
                    </a:lnTo>
                    <a:lnTo>
                      <a:pt x="201" y="360"/>
                    </a:lnTo>
                    <a:lnTo>
                      <a:pt x="201" y="362"/>
                    </a:lnTo>
                    <a:lnTo>
                      <a:pt x="201" y="362"/>
                    </a:lnTo>
                    <a:lnTo>
                      <a:pt x="203" y="362"/>
                    </a:lnTo>
                    <a:lnTo>
                      <a:pt x="203" y="362"/>
                    </a:lnTo>
                    <a:lnTo>
                      <a:pt x="205" y="362"/>
                    </a:lnTo>
                    <a:lnTo>
                      <a:pt x="203" y="362"/>
                    </a:lnTo>
                    <a:lnTo>
                      <a:pt x="205" y="362"/>
                    </a:lnTo>
                    <a:lnTo>
                      <a:pt x="207" y="362"/>
                    </a:lnTo>
                    <a:lnTo>
                      <a:pt x="211" y="364"/>
                    </a:lnTo>
                    <a:lnTo>
                      <a:pt x="213" y="364"/>
                    </a:lnTo>
                    <a:lnTo>
                      <a:pt x="215" y="362"/>
                    </a:lnTo>
                    <a:lnTo>
                      <a:pt x="215" y="362"/>
                    </a:lnTo>
                    <a:lnTo>
                      <a:pt x="215" y="364"/>
                    </a:lnTo>
                    <a:lnTo>
                      <a:pt x="215" y="364"/>
                    </a:lnTo>
                    <a:lnTo>
                      <a:pt x="215" y="366"/>
                    </a:lnTo>
                    <a:lnTo>
                      <a:pt x="217" y="366"/>
                    </a:lnTo>
                    <a:lnTo>
                      <a:pt x="215" y="368"/>
                    </a:lnTo>
                    <a:lnTo>
                      <a:pt x="215" y="370"/>
                    </a:lnTo>
                    <a:lnTo>
                      <a:pt x="217" y="372"/>
                    </a:lnTo>
                    <a:lnTo>
                      <a:pt x="217" y="374"/>
                    </a:lnTo>
                    <a:lnTo>
                      <a:pt x="217" y="376"/>
                    </a:lnTo>
                    <a:lnTo>
                      <a:pt x="219" y="376"/>
                    </a:lnTo>
                    <a:lnTo>
                      <a:pt x="219" y="376"/>
                    </a:lnTo>
                    <a:lnTo>
                      <a:pt x="221" y="378"/>
                    </a:lnTo>
                    <a:lnTo>
                      <a:pt x="221" y="378"/>
                    </a:lnTo>
                    <a:lnTo>
                      <a:pt x="221" y="378"/>
                    </a:lnTo>
                    <a:lnTo>
                      <a:pt x="223" y="378"/>
                    </a:lnTo>
                    <a:lnTo>
                      <a:pt x="223" y="380"/>
                    </a:lnTo>
                    <a:lnTo>
                      <a:pt x="223" y="380"/>
                    </a:lnTo>
                    <a:lnTo>
                      <a:pt x="225" y="378"/>
                    </a:lnTo>
                    <a:lnTo>
                      <a:pt x="225" y="378"/>
                    </a:lnTo>
                    <a:lnTo>
                      <a:pt x="225" y="380"/>
                    </a:lnTo>
                    <a:lnTo>
                      <a:pt x="227" y="380"/>
                    </a:lnTo>
                    <a:lnTo>
                      <a:pt x="227" y="382"/>
                    </a:lnTo>
                    <a:lnTo>
                      <a:pt x="227" y="382"/>
                    </a:lnTo>
                    <a:lnTo>
                      <a:pt x="227" y="384"/>
                    </a:lnTo>
                    <a:lnTo>
                      <a:pt x="227" y="384"/>
                    </a:lnTo>
                    <a:lnTo>
                      <a:pt x="229" y="388"/>
                    </a:lnTo>
                    <a:lnTo>
                      <a:pt x="229" y="390"/>
                    </a:lnTo>
                    <a:lnTo>
                      <a:pt x="229" y="390"/>
                    </a:lnTo>
                    <a:lnTo>
                      <a:pt x="233" y="390"/>
                    </a:lnTo>
                    <a:lnTo>
                      <a:pt x="235" y="392"/>
                    </a:lnTo>
                    <a:lnTo>
                      <a:pt x="233" y="392"/>
                    </a:lnTo>
                    <a:lnTo>
                      <a:pt x="233" y="394"/>
                    </a:lnTo>
                    <a:lnTo>
                      <a:pt x="235" y="394"/>
                    </a:lnTo>
                    <a:lnTo>
                      <a:pt x="235" y="396"/>
                    </a:lnTo>
                    <a:lnTo>
                      <a:pt x="235" y="398"/>
                    </a:lnTo>
                    <a:lnTo>
                      <a:pt x="235" y="398"/>
                    </a:lnTo>
                    <a:lnTo>
                      <a:pt x="235" y="398"/>
                    </a:lnTo>
                    <a:lnTo>
                      <a:pt x="237" y="398"/>
                    </a:lnTo>
                    <a:lnTo>
                      <a:pt x="239" y="398"/>
                    </a:lnTo>
                    <a:lnTo>
                      <a:pt x="239" y="398"/>
                    </a:lnTo>
                    <a:lnTo>
                      <a:pt x="239" y="398"/>
                    </a:lnTo>
                    <a:lnTo>
                      <a:pt x="241" y="398"/>
                    </a:lnTo>
                    <a:lnTo>
                      <a:pt x="241" y="398"/>
                    </a:lnTo>
                    <a:lnTo>
                      <a:pt x="241" y="398"/>
                    </a:lnTo>
                    <a:lnTo>
                      <a:pt x="243" y="398"/>
                    </a:lnTo>
                    <a:lnTo>
                      <a:pt x="245" y="398"/>
                    </a:lnTo>
                    <a:lnTo>
                      <a:pt x="245" y="396"/>
                    </a:lnTo>
                    <a:lnTo>
                      <a:pt x="245" y="396"/>
                    </a:lnTo>
                    <a:lnTo>
                      <a:pt x="245" y="394"/>
                    </a:lnTo>
                    <a:lnTo>
                      <a:pt x="245" y="394"/>
                    </a:lnTo>
                    <a:lnTo>
                      <a:pt x="245" y="394"/>
                    </a:lnTo>
                    <a:lnTo>
                      <a:pt x="247" y="394"/>
                    </a:lnTo>
                    <a:lnTo>
                      <a:pt x="247" y="394"/>
                    </a:lnTo>
                    <a:lnTo>
                      <a:pt x="247" y="394"/>
                    </a:lnTo>
                    <a:lnTo>
                      <a:pt x="245" y="394"/>
                    </a:lnTo>
                    <a:lnTo>
                      <a:pt x="247" y="392"/>
                    </a:lnTo>
                    <a:lnTo>
                      <a:pt x="247" y="390"/>
                    </a:lnTo>
                    <a:lnTo>
                      <a:pt x="249" y="390"/>
                    </a:lnTo>
                    <a:lnTo>
                      <a:pt x="249" y="390"/>
                    </a:lnTo>
                    <a:lnTo>
                      <a:pt x="249" y="390"/>
                    </a:lnTo>
                    <a:lnTo>
                      <a:pt x="251" y="390"/>
                    </a:lnTo>
                    <a:lnTo>
                      <a:pt x="251" y="390"/>
                    </a:lnTo>
                    <a:lnTo>
                      <a:pt x="253" y="388"/>
                    </a:lnTo>
                    <a:lnTo>
                      <a:pt x="253" y="388"/>
                    </a:lnTo>
                    <a:lnTo>
                      <a:pt x="257" y="384"/>
                    </a:lnTo>
                    <a:lnTo>
                      <a:pt x="257" y="384"/>
                    </a:lnTo>
                    <a:lnTo>
                      <a:pt x="257" y="384"/>
                    </a:lnTo>
                    <a:lnTo>
                      <a:pt x="257" y="384"/>
                    </a:lnTo>
                    <a:lnTo>
                      <a:pt x="259" y="384"/>
                    </a:lnTo>
                    <a:lnTo>
                      <a:pt x="259" y="386"/>
                    </a:lnTo>
                    <a:lnTo>
                      <a:pt x="259" y="386"/>
                    </a:lnTo>
                    <a:lnTo>
                      <a:pt x="261" y="386"/>
                    </a:lnTo>
                    <a:lnTo>
                      <a:pt x="261" y="388"/>
                    </a:lnTo>
                    <a:lnTo>
                      <a:pt x="261" y="392"/>
                    </a:lnTo>
                    <a:lnTo>
                      <a:pt x="263" y="394"/>
                    </a:lnTo>
                    <a:lnTo>
                      <a:pt x="263" y="394"/>
                    </a:lnTo>
                    <a:lnTo>
                      <a:pt x="263" y="394"/>
                    </a:lnTo>
                    <a:lnTo>
                      <a:pt x="265" y="394"/>
                    </a:lnTo>
                    <a:lnTo>
                      <a:pt x="267" y="394"/>
                    </a:lnTo>
                    <a:lnTo>
                      <a:pt x="267" y="396"/>
                    </a:lnTo>
                    <a:lnTo>
                      <a:pt x="267" y="396"/>
                    </a:lnTo>
                    <a:lnTo>
                      <a:pt x="267" y="396"/>
                    </a:lnTo>
                    <a:lnTo>
                      <a:pt x="267" y="398"/>
                    </a:lnTo>
                    <a:lnTo>
                      <a:pt x="269" y="398"/>
                    </a:lnTo>
                    <a:lnTo>
                      <a:pt x="271" y="398"/>
                    </a:lnTo>
                    <a:lnTo>
                      <a:pt x="271" y="398"/>
                    </a:lnTo>
                    <a:lnTo>
                      <a:pt x="273" y="398"/>
                    </a:lnTo>
                    <a:lnTo>
                      <a:pt x="273" y="398"/>
                    </a:lnTo>
                    <a:lnTo>
                      <a:pt x="273" y="400"/>
                    </a:lnTo>
                    <a:lnTo>
                      <a:pt x="273" y="400"/>
                    </a:lnTo>
                    <a:lnTo>
                      <a:pt x="275" y="404"/>
                    </a:lnTo>
                    <a:lnTo>
                      <a:pt x="275" y="404"/>
                    </a:lnTo>
                    <a:lnTo>
                      <a:pt x="273" y="404"/>
                    </a:lnTo>
                    <a:lnTo>
                      <a:pt x="273" y="404"/>
                    </a:lnTo>
                    <a:lnTo>
                      <a:pt x="273" y="406"/>
                    </a:lnTo>
                    <a:lnTo>
                      <a:pt x="273" y="406"/>
                    </a:lnTo>
                    <a:lnTo>
                      <a:pt x="275" y="406"/>
                    </a:lnTo>
                    <a:lnTo>
                      <a:pt x="275" y="406"/>
                    </a:lnTo>
                    <a:lnTo>
                      <a:pt x="275" y="406"/>
                    </a:lnTo>
                    <a:lnTo>
                      <a:pt x="275" y="406"/>
                    </a:lnTo>
                    <a:lnTo>
                      <a:pt x="275" y="408"/>
                    </a:lnTo>
                    <a:lnTo>
                      <a:pt x="275" y="408"/>
                    </a:lnTo>
                    <a:lnTo>
                      <a:pt x="275" y="408"/>
                    </a:lnTo>
                    <a:lnTo>
                      <a:pt x="273" y="410"/>
                    </a:lnTo>
                    <a:lnTo>
                      <a:pt x="273" y="412"/>
                    </a:lnTo>
                    <a:lnTo>
                      <a:pt x="273" y="412"/>
                    </a:lnTo>
                    <a:lnTo>
                      <a:pt x="273" y="412"/>
                    </a:lnTo>
                    <a:lnTo>
                      <a:pt x="277" y="412"/>
                    </a:lnTo>
                    <a:lnTo>
                      <a:pt x="277" y="412"/>
                    </a:lnTo>
                    <a:lnTo>
                      <a:pt x="277" y="412"/>
                    </a:lnTo>
                    <a:lnTo>
                      <a:pt x="279" y="410"/>
                    </a:lnTo>
                    <a:lnTo>
                      <a:pt x="279" y="410"/>
                    </a:lnTo>
                    <a:lnTo>
                      <a:pt x="281" y="410"/>
                    </a:lnTo>
                    <a:lnTo>
                      <a:pt x="283" y="410"/>
                    </a:lnTo>
                    <a:lnTo>
                      <a:pt x="285" y="412"/>
                    </a:lnTo>
                    <a:lnTo>
                      <a:pt x="287" y="414"/>
                    </a:lnTo>
                    <a:lnTo>
                      <a:pt x="287" y="412"/>
                    </a:lnTo>
                    <a:lnTo>
                      <a:pt x="289" y="410"/>
                    </a:lnTo>
                    <a:lnTo>
                      <a:pt x="289" y="408"/>
                    </a:lnTo>
                    <a:lnTo>
                      <a:pt x="289" y="408"/>
                    </a:lnTo>
                    <a:lnTo>
                      <a:pt x="289" y="408"/>
                    </a:lnTo>
                    <a:lnTo>
                      <a:pt x="289" y="406"/>
                    </a:lnTo>
                    <a:lnTo>
                      <a:pt x="291" y="404"/>
                    </a:lnTo>
                    <a:lnTo>
                      <a:pt x="291" y="404"/>
                    </a:lnTo>
                    <a:lnTo>
                      <a:pt x="293" y="404"/>
                    </a:lnTo>
                    <a:lnTo>
                      <a:pt x="293" y="404"/>
                    </a:lnTo>
                    <a:lnTo>
                      <a:pt x="293" y="402"/>
                    </a:lnTo>
                    <a:lnTo>
                      <a:pt x="295" y="402"/>
                    </a:lnTo>
                    <a:lnTo>
                      <a:pt x="297" y="402"/>
                    </a:lnTo>
                    <a:lnTo>
                      <a:pt x="299" y="402"/>
                    </a:lnTo>
                    <a:lnTo>
                      <a:pt x="299" y="400"/>
                    </a:lnTo>
                    <a:lnTo>
                      <a:pt x="299" y="400"/>
                    </a:lnTo>
                    <a:lnTo>
                      <a:pt x="299" y="398"/>
                    </a:lnTo>
                    <a:lnTo>
                      <a:pt x="299" y="398"/>
                    </a:lnTo>
                    <a:lnTo>
                      <a:pt x="299" y="398"/>
                    </a:lnTo>
                    <a:lnTo>
                      <a:pt x="299" y="398"/>
                    </a:lnTo>
                    <a:lnTo>
                      <a:pt x="303" y="398"/>
                    </a:lnTo>
                    <a:lnTo>
                      <a:pt x="305" y="398"/>
                    </a:lnTo>
                    <a:lnTo>
                      <a:pt x="305" y="398"/>
                    </a:lnTo>
                    <a:lnTo>
                      <a:pt x="305" y="398"/>
                    </a:lnTo>
                    <a:lnTo>
                      <a:pt x="309" y="400"/>
                    </a:lnTo>
                    <a:lnTo>
                      <a:pt x="311" y="400"/>
                    </a:lnTo>
                    <a:lnTo>
                      <a:pt x="311" y="400"/>
                    </a:lnTo>
                    <a:lnTo>
                      <a:pt x="313" y="398"/>
                    </a:lnTo>
                    <a:lnTo>
                      <a:pt x="313" y="398"/>
                    </a:lnTo>
                    <a:lnTo>
                      <a:pt x="313" y="398"/>
                    </a:lnTo>
                    <a:lnTo>
                      <a:pt x="313" y="398"/>
                    </a:lnTo>
                    <a:lnTo>
                      <a:pt x="315" y="398"/>
                    </a:lnTo>
                    <a:lnTo>
                      <a:pt x="317" y="398"/>
                    </a:lnTo>
                    <a:lnTo>
                      <a:pt x="317" y="398"/>
                    </a:lnTo>
                    <a:lnTo>
                      <a:pt x="321" y="402"/>
                    </a:lnTo>
                    <a:lnTo>
                      <a:pt x="323" y="402"/>
                    </a:lnTo>
                    <a:lnTo>
                      <a:pt x="323" y="404"/>
                    </a:lnTo>
                    <a:lnTo>
                      <a:pt x="325" y="404"/>
                    </a:lnTo>
                    <a:lnTo>
                      <a:pt x="325" y="404"/>
                    </a:lnTo>
                    <a:lnTo>
                      <a:pt x="327" y="404"/>
                    </a:lnTo>
                    <a:lnTo>
                      <a:pt x="327" y="404"/>
                    </a:lnTo>
                    <a:lnTo>
                      <a:pt x="327" y="406"/>
                    </a:lnTo>
                    <a:lnTo>
                      <a:pt x="329" y="406"/>
                    </a:lnTo>
                    <a:lnTo>
                      <a:pt x="329" y="404"/>
                    </a:lnTo>
                    <a:lnTo>
                      <a:pt x="331" y="404"/>
                    </a:lnTo>
                    <a:lnTo>
                      <a:pt x="333" y="402"/>
                    </a:lnTo>
                    <a:lnTo>
                      <a:pt x="333" y="400"/>
                    </a:lnTo>
                    <a:lnTo>
                      <a:pt x="333" y="400"/>
                    </a:lnTo>
                    <a:lnTo>
                      <a:pt x="335" y="400"/>
                    </a:lnTo>
                    <a:lnTo>
                      <a:pt x="335" y="400"/>
                    </a:lnTo>
                    <a:lnTo>
                      <a:pt x="337" y="400"/>
                    </a:lnTo>
                    <a:lnTo>
                      <a:pt x="335" y="398"/>
                    </a:lnTo>
                    <a:lnTo>
                      <a:pt x="335" y="398"/>
                    </a:lnTo>
                    <a:lnTo>
                      <a:pt x="333" y="398"/>
                    </a:lnTo>
                    <a:lnTo>
                      <a:pt x="335" y="396"/>
                    </a:lnTo>
                    <a:lnTo>
                      <a:pt x="335" y="396"/>
                    </a:lnTo>
                    <a:lnTo>
                      <a:pt x="337" y="396"/>
                    </a:lnTo>
                    <a:lnTo>
                      <a:pt x="339" y="396"/>
                    </a:lnTo>
                    <a:lnTo>
                      <a:pt x="339" y="396"/>
                    </a:lnTo>
                    <a:lnTo>
                      <a:pt x="341" y="398"/>
                    </a:lnTo>
                    <a:lnTo>
                      <a:pt x="341" y="398"/>
                    </a:lnTo>
                    <a:lnTo>
                      <a:pt x="341" y="398"/>
                    </a:lnTo>
                    <a:lnTo>
                      <a:pt x="343" y="396"/>
                    </a:lnTo>
                    <a:lnTo>
                      <a:pt x="345" y="394"/>
                    </a:lnTo>
                    <a:lnTo>
                      <a:pt x="345" y="394"/>
                    </a:lnTo>
                    <a:lnTo>
                      <a:pt x="345" y="394"/>
                    </a:lnTo>
                    <a:lnTo>
                      <a:pt x="349" y="396"/>
                    </a:lnTo>
                    <a:lnTo>
                      <a:pt x="353" y="396"/>
                    </a:lnTo>
                    <a:lnTo>
                      <a:pt x="353" y="396"/>
                    </a:lnTo>
                    <a:lnTo>
                      <a:pt x="355" y="396"/>
                    </a:lnTo>
                    <a:lnTo>
                      <a:pt x="357" y="396"/>
                    </a:lnTo>
                    <a:lnTo>
                      <a:pt x="357" y="396"/>
                    </a:lnTo>
                    <a:lnTo>
                      <a:pt x="357" y="396"/>
                    </a:lnTo>
                    <a:lnTo>
                      <a:pt x="361" y="396"/>
                    </a:lnTo>
                    <a:lnTo>
                      <a:pt x="363" y="396"/>
                    </a:lnTo>
                    <a:lnTo>
                      <a:pt x="363" y="396"/>
                    </a:lnTo>
                    <a:lnTo>
                      <a:pt x="363" y="398"/>
                    </a:lnTo>
                    <a:lnTo>
                      <a:pt x="365" y="398"/>
                    </a:lnTo>
                    <a:lnTo>
                      <a:pt x="365" y="398"/>
                    </a:lnTo>
                    <a:lnTo>
                      <a:pt x="365" y="398"/>
                    </a:lnTo>
                    <a:lnTo>
                      <a:pt x="365" y="398"/>
                    </a:lnTo>
                    <a:lnTo>
                      <a:pt x="367" y="398"/>
                    </a:lnTo>
                    <a:lnTo>
                      <a:pt x="369" y="400"/>
                    </a:lnTo>
                    <a:lnTo>
                      <a:pt x="369" y="402"/>
                    </a:lnTo>
                    <a:lnTo>
                      <a:pt x="369" y="400"/>
                    </a:lnTo>
                    <a:lnTo>
                      <a:pt x="371" y="400"/>
                    </a:lnTo>
                    <a:lnTo>
                      <a:pt x="371" y="400"/>
                    </a:lnTo>
                    <a:lnTo>
                      <a:pt x="371" y="400"/>
                    </a:lnTo>
                    <a:lnTo>
                      <a:pt x="373" y="400"/>
                    </a:lnTo>
                    <a:lnTo>
                      <a:pt x="375" y="402"/>
                    </a:lnTo>
                    <a:lnTo>
                      <a:pt x="377" y="402"/>
                    </a:lnTo>
                    <a:lnTo>
                      <a:pt x="379" y="404"/>
                    </a:lnTo>
                    <a:lnTo>
                      <a:pt x="381" y="406"/>
                    </a:lnTo>
                    <a:lnTo>
                      <a:pt x="381" y="408"/>
                    </a:lnTo>
                    <a:lnTo>
                      <a:pt x="381" y="410"/>
                    </a:lnTo>
                    <a:lnTo>
                      <a:pt x="383" y="412"/>
                    </a:lnTo>
                    <a:lnTo>
                      <a:pt x="385" y="412"/>
                    </a:lnTo>
                    <a:lnTo>
                      <a:pt x="387" y="414"/>
                    </a:lnTo>
                    <a:lnTo>
                      <a:pt x="387" y="414"/>
                    </a:lnTo>
                    <a:lnTo>
                      <a:pt x="389" y="414"/>
                    </a:lnTo>
                    <a:lnTo>
                      <a:pt x="389" y="414"/>
                    </a:lnTo>
                    <a:lnTo>
                      <a:pt x="391" y="414"/>
                    </a:lnTo>
                    <a:lnTo>
                      <a:pt x="391" y="414"/>
                    </a:lnTo>
                    <a:lnTo>
                      <a:pt x="391" y="414"/>
                    </a:lnTo>
                    <a:lnTo>
                      <a:pt x="391" y="414"/>
                    </a:lnTo>
                    <a:lnTo>
                      <a:pt x="391" y="416"/>
                    </a:lnTo>
                    <a:lnTo>
                      <a:pt x="391" y="416"/>
                    </a:lnTo>
                    <a:lnTo>
                      <a:pt x="393" y="416"/>
                    </a:lnTo>
                    <a:lnTo>
                      <a:pt x="395" y="416"/>
                    </a:lnTo>
                    <a:lnTo>
                      <a:pt x="397" y="416"/>
                    </a:lnTo>
                    <a:lnTo>
                      <a:pt x="399" y="418"/>
                    </a:lnTo>
                    <a:lnTo>
                      <a:pt x="401" y="420"/>
                    </a:lnTo>
                    <a:lnTo>
                      <a:pt x="405" y="420"/>
                    </a:lnTo>
                    <a:lnTo>
                      <a:pt x="407" y="420"/>
                    </a:lnTo>
                    <a:lnTo>
                      <a:pt x="407" y="420"/>
                    </a:lnTo>
                    <a:lnTo>
                      <a:pt x="409" y="420"/>
                    </a:lnTo>
                    <a:lnTo>
                      <a:pt x="411" y="422"/>
                    </a:lnTo>
                    <a:lnTo>
                      <a:pt x="411" y="422"/>
                    </a:lnTo>
                    <a:lnTo>
                      <a:pt x="413" y="422"/>
                    </a:lnTo>
                    <a:lnTo>
                      <a:pt x="413" y="422"/>
                    </a:lnTo>
                    <a:lnTo>
                      <a:pt x="415" y="422"/>
                    </a:lnTo>
                    <a:lnTo>
                      <a:pt x="417" y="422"/>
                    </a:lnTo>
                    <a:lnTo>
                      <a:pt x="417" y="422"/>
                    </a:lnTo>
                    <a:lnTo>
                      <a:pt x="417" y="422"/>
                    </a:lnTo>
                    <a:lnTo>
                      <a:pt x="419" y="424"/>
                    </a:lnTo>
                    <a:lnTo>
                      <a:pt x="419" y="424"/>
                    </a:lnTo>
                    <a:lnTo>
                      <a:pt x="419" y="424"/>
                    </a:lnTo>
                    <a:lnTo>
                      <a:pt x="421" y="426"/>
                    </a:lnTo>
                    <a:lnTo>
                      <a:pt x="421" y="426"/>
                    </a:lnTo>
                    <a:lnTo>
                      <a:pt x="423" y="424"/>
                    </a:lnTo>
                    <a:lnTo>
                      <a:pt x="423" y="424"/>
                    </a:lnTo>
                    <a:lnTo>
                      <a:pt x="421" y="422"/>
                    </a:lnTo>
                    <a:lnTo>
                      <a:pt x="421" y="422"/>
                    </a:lnTo>
                    <a:lnTo>
                      <a:pt x="421" y="422"/>
                    </a:lnTo>
                    <a:lnTo>
                      <a:pt x="421" y="420"/>
                    </a:lnTo>
                    <a:lnTo>
                      <a:pt x="421" y="420"/>
                    </a:lnTo>
                    <a:lnTo>
                      <a:pt x="421" y="418"/>
                    </a:lnTo>
                    <a:lnTo>
                      <a:pt x="419" y="418"/>
                    </a:lnTo>
                    <a:lnTo>
                      <a:pt x="417" y="416"/>
                    </a:lnTo>
                    <a:lnTo>
                      <a:pt x="417" y="416"/>
                    </a:lnTo>
                    <a:lnTo>
                      <a:pt x="415" y="414"/>
                    </a:lnTo>
                    <a:lnTo>
                      <a:pt x="415" y="414"/>
                    </a:lnTo>
                    <a:lnTo>
                      <a:pt x="415" y="414"/>
                    </a:lnTo>
                    <a:lnTo>
                      <a:pt x="413" y="414"/>
                    </a:lnTo>
                    <a:lnTo>
                      <a:pt x="413" y="414"/>
                    </a:lnTo>
                    <a:lnTo>
                      <a:pt x="413" y="414"/>
                    </a:lnTo>
                    <a:lnTo>
                      <a:pt x="415" y="412"/>
                    </a:lnTo>
                    <a:lnTo>
                      <a:pt x="415" y="410"/>
                    </a:lnTo>
                    <a:lnTo>
                      <a:pt x="415" y="408"/>
                    </a:lnTo>
                    <a:lnTo>
                      <a:pt x="417" y="406"/>
                    </a:lnTo>
                    <a:lnTo>
                      <a:pt x="415" y="400"/>
                    </a:lnTo>
                    <a:lnTo>
                      <a:pt x="415" y="398"/>
                    </a:lnTo>
                    <a:lnTo>
                      <a:pt x="415" y="398"/>
                    </a:lnTo>
                    <a:lnTo>
                      <a:pt x="415" y="398"/>
                    </a:lnTo>
                    <a:lnTo>
                      <a:pt x="413" y="396"/>
                    </a:lnTo>
                    <a:lnTo>
                      <a:pt x="413" y="396"/>
                    </a:lnTo>
                    <a:lnTo>
                      <a:pt x="413" y="396"/>
                    </a:lnTo>
                    <a:lnTo>
                      <a:pt x="413" y="392"/>
                    </a:lnTo>
                    <a:lnTo>
                      <a:pt x="413" y="392"/>
                    </a:lnTo>
                    <a:lnTo>
                      <a:pt x="411" y="388"/>
                    </a:lnTo>
                    <a:lnTo>
                      <a:pt x="413" y="386"/>
                    </a:lnTo>
                    <a:lnTo>
                      <a:pt x="417" y="382"/>
                    </a:lnTo>
                    <a:lnTo>
                      <a:pt x="417" y="380"/>
                    </a:lnTo>
                    <a:lnTo>
                      <a:pt x="417" y="378"/>
                    </a:lnTo>
                    <a:lnTo>
                      <a:pt x="417" y="378"/>
                    </a:lnTo>
                    <a:lnTo>
                      <a:pt x="419" y="378"/>
                    </a:lnTo>
                    <a:lnTo>
                      <a:pt x="419" y="378"/>
                    </a:lnTo>
                    <a:lnTo>
                      <a:pt x="421" y="378"/>
                    </a:lnTo>
                    <a:lnTo>
                      <a:pt x="423" y="372"/>
                    </a:lnTo>
                    <a:lnTo>
                      <a:pt x="423" y="372"/>
                    </a:lnTo>
                    <a:lnTo>
                      <a:pt x="425" y="372"/>
                    </a:lnTo>
                    <a:lnTo>
                      <a:pt x="425" y="372"/>
                    </a:lnTo>
                    <a:lnTo>
                      <a:pt x="425" y="370"/>
                    </a:lnTo>
                    <a:lnTo>
                      <a:pt x="425" y="370"/>
                    </a:lnTo>
                    <a:lnTo>
                      <a:pt x="427" y="368"/>
                    </a:lnTo>
                    <a:lnTo>
                      <a:pt x="427" y="368"/>
                    </a:lnTo>
                    <a:lnTo>
                      <a:pt x="429" y="366"/>
                    </a:lnTo>
                    <a:lnTo>
                      <a:pt x="433" y="360"/>
                    </a:lnTo>
                    <a:lnTo>
                      <a:pt x="435" y="358"/>
                    </a:lnTo>
                    <a:lnTo>
                      <a:pt x="437" y="356"/>
                    </a:lnTo>
                    <a:lnTo>
                      <a:pt x="439" y="354"/>
                    </a:lnTo>
                    <a:lnTo>
                      <a:pt x="449" y="342"/>
                    </a:lnTo>
                    <a:lnTo>
                      <a:pt x="451" y="340"/>
                    </a:lnTo>
                    <a:lnTo>
                      <a:pt x="455" y="340"/>
                    </a:lnTo>
                    <a:lnTo>
                      <a:pt x="455" y="340"/>
                    </a:lnTo>
                    <a:lnTo>
                      <a:pt x="455" y="338"/>
                    </a:lnTo>
                    <a:lnTo>
                      <a:pt x="459" y="334"/>
                    </a:lnTo>
                    <a:lnTo>
                      <a:pt x="461" y="334"/>
                    </a:lnTo>
                    <a:lnTo>
                      <a:pt x="461" y="332"/>
                    </a:lnTo>
                    <a:lnTo>
                      <a:pt x="461" y="330"/>
                    </a:lnTo>
                    <a:lnTo>
                      <a:pt x="463" y="330"/>
                    </a:lnTo>
                    <a:lnTo>
                      <a:pt x="463" y="330"/>
                    </a:lnTo>
                    <a:lnTo>
                      <a:pt x="465" y="328"/>
                    </a:lnTo>
                    <a:lnTo>
                      <a:pt x="473" y="328"/>
                    </a:lnTo>
                    <a:lnTo>
                      <a:pt x="475" y="328"/>
                    </a:lnTo>
                    <a:lnTo>
                      <a:pt x="477" y="326"/>
                    </a:lnTo>
                    <a:lnTo>
                      <a:pt x="477" y="324"/>
                    </a:lnTo>
                    <a:lnTo>
                      <a:pt x="477" y="324"/>
                    </a:lnTo>
                    <a:lnTo>
                      <a:pt x="477" y="322"/>
                    </a:lnTo>
                    <a:lnTo>
                      <a:pt x="477" y="322"/>
                    </a:lnTo>
                    <a:lnTo>
                      <a:pt x="481" y="320"/>
                    </a:lnTo>
                    <a:lnTo>
                      <a:pt x="481" y="320"/>
                    </a:lnTo>
                    <a:lnTo>
                      <a:pt x="481" y="318"/>
                    </a:lnTo>
                    <a:lnTo>
                      <a:pt x="481" y="318"/>
                    </a:lnTo>
                    <a:lnTo>
                      <a:pt x="481" y="318"/>
                    </a:lnTo>
                    <a:lnTo>
                      <a:pt x="481" y="314"/>
                    </a:lnTo>
                    <a:lnTo>
                      <a:pt x="483" y="312"/>
                    </a:lnTo>
                    <a:lnTo>
                      <a:pt x="481" y="312"/>
                    </a:lnTo>
                    <a:lnTo>
                      <a:pt x="481" y="310"/>
                    </a:lnTo>
                    <a:lnTo>
                      <a:pt x="481" y="308"/>
                    </a:lnTo>
                    <a:lnTo>
                      <a:pt x="481" y="306"/>
                    </a:lnTo>
                    <a:lnTo>
                      <a:pt x="479" y="306"/>
                    </a:lnTo>
                    <a:lnTo>
                      <a:pt x="477" y="306"/>
                    </a:lnTo>
                    <a:lnTo>
                      <a:pt x="477" y="304"/>
                    </a:lnTo>
                    <a:lnTo>
                      <a:pt x="477" y="302"/>
                    </a:lnTo>
                    <a:lnTo>
                      <a:pt x="477" y="302"/>
                    </a:lnTo>
                    <a:lnTo>
                      <a:pt x="477" y="302"/>
                    </a:lnTo>
                    <a:lnTo>
                      <a:pt x="475" y="302"/>
                    </a:lnTo>
                    <a:lnTo>
                      <a:pt x="475" y="300"/>
                    </a:lnTo>
                    <a:lnTo>
                      <a:pt x="475" y="300"/>
                    </a:lnTo>
                    <a:lnTo>
                      <a:pt x="475" y="298"/>
                    </a:lnTo>
                    <a:close/>
                  </a:path>
                </a:pathLst>
              </a:custGeom>
              <a:solidFill>
                <a:srgbClr val="73C37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30" name="Freeform 76"/>
              <p:cNvSpPr>
                <a:spLocks/>
              </p:cNvSpPr>
              <p:nvPr>
                <p:custDataLst>
                  <p:tags r:id="rId152"/>
                </p:custDataLst>
              </p:nvPr>
            </p:nvSpPr>
            <p:spPr bwMode="gray">
              <a:xfrm>
                <a:off x="5030349" y="3330413"/>
                <a:ext cx="476356" cy="241353"/>
              </a:xfrm>
              <a:custGeom>
                <a:avLst/>
                <a:gdLst>
                  <a:gd name="T0" fmla="*/ 149 w 150"/>
                  <a:gd name="T1" fmla="*/ 20 h 76"/>
                  <a:gd name="T2" fmla="*/ 144 w 150"/>
                  <a:gd name="T3" fmla="*/ 16 h 76"/>
                  <a:gd name="T4" fmla="*/ 138 w 150"/>
                  <a:gd name="T5" fmla="*/ 14 h 76"/>
                  <a:gd name="T6" fmla="*/ 130 w 150"/>
                  <a:gd name="T7" fmla="*/ 7 h 76"/>
                  <a:gd name="T8" fmla="*/ 119 w 150"/>
                  <a:gd name="T9" fmla="*/ 6 h 76"/>
                  <a:gd name="T10" fmla="*/ 113 w 150"/>
                  <a:gd name="T11" fmla="*/ 10 h 76"/>
                  <a:gd name="T12" fmla="*/ 105 w 150"/>
                  <a:gd name="T13" fmla="*/ 6 h 76"/>
                  <a:gd name="T14" fmla="*/ 99 w 150"/>
                  <a:gd name="T15" fmla="*/ 5 h 76"/>
                  <a:gd name="T16" fmla="*/ 92 w 150"/>
                  <a:gd name="T17" fmla="*/ 3 h 76"/>
                  <a:gd name="T18" fmla="*/ 85 w 150"/>
                  <a:gd name="T19" fmla="*/ 10 h 76"/>
                  <a:gd name="T20" fmla="*/ 82 w 150"/>
                  <a:gd name="T21" fmla="*/ 6 h 76"/>
                  <a:gd name="T22" fmla="*/ 76 w 150"/>
                  <a:gd name="T23" fmla="*/ 0 h 76"/>
                  <a:gd name="T24" fmla="*/ 67 w 150"/>
                  <a:gd name="T25" fmla="*/ 7 h 76"/>
                  <a:gd name="T26" fmla="*/ 58 w 150"/>
                  <a:gd name="T27" fmla="*/ 6 h 76"/>
                  <a:gd name="T28" fmla="*/ 54 w 150"/>
                  <a:gd name="T29" fmla="*/ 6 h 76"/>
                  <a:gd name="T30" fmla="*/ 50 w 150"/>
                  <a:gd name="T31" fmla="*/ 12 h 76"/>
                  <a:gd name="T32" fmla="*/ 41 w 150"/>
                  <a:gd name="T33" fmla="*/ 12 h 76"/>
                  <a:gd name="T34" fmla="*/ 35 w 150"/>
                  <a:gd name="T35" fmla="*/ 19 h 76"/>
                  <a:gd name="T36" fmla="*/ 0 w 150"/>
                  <a:gd name="T37" fmla="*/ 45 h 76"/>
                  <a:gd name="T38" fmla="*/ 1 w 150"/>
                  <a:gd name="T39" fmla="*/ 51 h 76"/>
                  <a:gd name="T40" fmla="*/ 0 w 150"/>
                  <a:gd name="T41" fmla="*/ 58 h 76"/>
                  <a:gd name="T42" fmla="*/ 10 w 150"/>
                  <a:gd name="T43" fmla="*/ 65 h 76"/>
                  <a:gd name="T44" fmla="*/ 17 w 150"/>
                  <a:gd name="T45" fmla="*/ 71 h 76"/>
                  <a:gd name="T46" fmla="*/ 23 w 150"/>
                  <a:gd name="T47" fmla="*/ 75 h 76"/>
                  <a:gd name="T48" fmla="*/ 34 w 150"/>
                  <a:gd name="T49" fmla="*/ 75 h 76"/>
                  <a:gd name="T50" fmla="*/ 38 w 150"/>
                  <a:gd name="T51" fmla="*/ 75 h 76"/>
                  <a:gd name="T52" fmla="*/ 47 w 150"/>
                  <a:gd name="T53" fmla="*/ 72 h 76"/>
                  <a:gd name="T54" fmla="*/ 51 w 150"/>
                  <a:gd name="T55" fmla="*/ 68 h 76"/>
                  <a:gd name="T56" fmla="*/ 54 w 150"/>
                  <a:gd name="T57" fmla="*/ 65 h 76"/>
                  <a:gd name="T58" fmla="*/ 65 w 150"/>
                  <a:gd name="T59" fmla="*/ 65 h 76"/>
                  <a:gd name="T60" fmla="*/ 75 w 150"/>
                  <a:gd name="T61" fmla="*/ 61 h 76"/>
                  <a:gd name="T62" fmla="*/ 85 w 150"/>
                  <a:gd name="T63" fmla="*/ 54 h 76"/>
                  <a:gd name="T64" fmla="*/ 92 w 150"/>
                  <a:gd name="T65" fmla="*/ 47 h 76"/>
                  <a:gd name="T66" fmla="*/ 96 w 150"/>
                  <a:gd name="T67" fmla="*/ 41 h 76"/>
                  <a:gd name="T68" fmla="*/ 102 w 150"/>
                  <a:gd name="T69" fmla="*/ 41 h 76"/>
                  <a:gd name="T70" fmla="*/ 113 w 150"/>
                  <a:gd name="T71" fmla="*/ 41 h 76"/>
                  <a:gd name="T72" fmla="*/ 119 w 150"/>
                  <a:gd name="T73" fmla="*/ 41 h 76"/>
                  <a:gd name="T74" fmla="*/ 124 w 150"/>
                  <a:gd name="T75" fmla="*/ 45 h 76"/>
                  <a:gd name="T76" fmla="*/ 134 w 150"/>
                  <a:gd name="T77" fmla="*/ 45 h 76"/>
                  <a:gd name="T78" fmla="*/ 140 w 150"/>
                  <a:gd name="T79" fmla="*/ 44 h 76"/>
                  <a:gd name="T80" fmla="*/ 140 w 150"/>
                  <a:gd name="T81" fmla="*/ 37 h 76"/>
                  <a:gd name="T82" fmla="*/ 145 w 150"/>
                  <a:gd name="T83" fmla="*/ 34 h 76"/>
                  <a:gd name="T84" fmla="*/ 146 w 150"/>
                  <a:gd name="T85" fmla="*/ 2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76">
                    <a:moveTo>
                      <a:pt x="150" y="25"/>
                    </a:moveTo>
                    <a:cubicBezTo>
                      <a:pt x="149" y="20"/>
                      <a:pt x="149" y="20"/>
                      <a:pt x="149" y="20"/>
                    </a:cubicBezTo>
                    <a:cubicBezTo>
                      <a:pt x="146" y="17"/>
                      <a:pt x="146" y="17"/>
                      <a:pt x="146" y="17"/>
                    </a:cubicBezTo>
                    <a:cubicBezTo>
                      <a:pt x="144" y="16"/>
                      <a:pt x="144" y="16"/>
                      <a:pt x="144" y="16"/>
                    </a:cubicBezTo>
                    <a:cubicBezTo>
                      <a:pt x="142" y="16"/>
                      <a:pt x="142" y="16"/>
                      <a:pt x="142" y="16"/>
                    </a:cubicBezTo>
                    <a:cubicBezTo>
                      <a:pt x="138" y="14"/>
                      <a:pt x="138" y="14"/>
                      <a:pt x="138" y="14"/>
                    </a:cubicBezTo>
                    <a:cubicBezTo>
                      <a:pt x="135" y="9"/>
                      <a:pt x="135" y="9"/>
                      <a:pt x="135" y="9"/>
                    </a:cubicBezTo>
                    <a:cubicBezTo>
                      <a:pt x="130" y="7"/>
                      <a:pt x="130" y="7"/>
                      <a:pt x="130" y="7"/>
                    </a:cubicBezTo>
                    <a:cubicBezTo>
                      <a:pt x="124" y="6"/>
                      <a:pt x="124" y="6"/>
                      <a:pt x="124" y="6"/>
                    </a:cubicBezTo>
                    <a:cubicBezTo>
                      <a:pt x="119" y="6"/>
                      <a:pt x="119" y="6"/>
                      <a:pt x="119" y="6"/>
                    </a:cubicBezTo>
                    <a:cubicBezTo>
                      <a:pt x="115" y="7"/>
                      <a:pt x="115" y="7"/>
                      <a:pt x="115" y="7"/>
                    </a:cubicBezTo>
                    <a:cubicBezTo>
                      <a:pt x="113" y="10"/>
                      <a:pt x="113" y="10"/>
                      <a:pt x="113" y="10"/>
                    </a:cubicBezTo>
                    <a:cubicBezTo>
                      <a:pt x="107" y="8"/>
                      <a:pt x="107" y="8"/>
                      <a:pt x="107" y="8"/>
                    </a:cubicBezTo>
                    <a:cubicBezTo>
                      <a:pt x="105" y="6"/>
                      <a:pt x="105" y="6"/>
                      <a:pt x="105" y="6"/>
                    </a:cubicBezTo>
                    <a:cubicBezTo>
                      <a:pt x="102" y="2"/>
                      <a:pt x="102" y="2"/>
                      <a:pt x="102" y="2"/>
                    </a:cubicBezTo>
                    <a:cubicBezTo>
                      <a:pt x="99" y="5"/>
                      <a:pt x="99" y="5"/>
                      <a:pt x="99" y="5"/>
                    </a:cubicBezTo>
                    <a:cubicBezTo>
                      <a:pt x="96" y="6"/>
                      <a:pt x="96" y="6"/>
                      <a:pt x="96" y="6"/>
                    </a:cubicBezTo>
                    <a:cubicBezTo>
                      <a:pt x="92" y="3"/>
                      <a:pt x="92" y="3"/>
                      <a:pt x="92" y="3"/>
                    </a:cubicBezTo>
                    <a:cubicBezTo>
                      <a:pt x="85" y="6"/>
                      <a:pt x="85" y="6"/>
                      <a:pt x="85" y="6"/>
                    </a:cubicBezTo>
                    <a:cubicBezTo>
                      <a:pt x="85" y="10"/>
                      <a:pt x="85" y="10"/>
                      <a:pt x="85" y="10"/>
                    </a:cubicBezTo>
                    <a:cubicBezTo>
                      <a:pt x="83" y="7"/>
                      <a:pt x="83" y="7"/>
                      <a:pt x="83" y="7"/>
                    </a:cubicBezTo>
                    <a:cubicBezTo>
                      <a:pt x="82" y="6"/>
                      <a:pt x="82" y="6"/>
                      <a:pt x="82" y="6"/>
                    </a:cubicBezTo>
                    <a:cubicBezTo>
                      <a:pt x="78" y="3"/>
                      <a:pt x="78" y="3"/>
                      <a:pt x="78" y="3"/>
                    </a:cubicBezTo>
                    <a:cubicBezTo>
                      <a:pt x="76" y="0"/>
                      <a:pt x="76" y="0"/>
                      <a:pt x="76" y="0"/>
                    </a:cubicBezTo>
                    <a:cubicBezTo>
                      <a:pt x="70" y="4"/>
                      <a:pt x="70" y="4"/>
                      <a:pt x="70" y="4"/>
                    </a:cubicBezTo>
                    <a:cubicBezTo>
                      <a:pt x="67" y="7"/>
                      <a:pt x="67" y="7"/>
                      <a:pt x="67" y="7"/>
                    </a:cubicBezTo>
                    <a:cubicBezTo>
                      <a:pt x="65" y="6"/>
                      <a:pt x="65" y="6"/>
                      <a:pt x="65" y="6"/>
                    </a:cubicBezTo>
                    <a:cubicBezTo>
                      <a:pt x="58" y="6"/>
                      <a:pt x="58" y="6"/>
                      <a:pt x="58" y="6"/>
                    </a:cubicBezTo>
                    <a:cubicBezTo>
                      <a:pt x="57" y="6"/>
                      <a:pt x="57" y="6"/>
                      <a:pt x="57" y="6"/>
                    </a:cubicBezTo>
                    <a:cubicBezTo>
                      <a:pt x="56" y="6"/>
                      <a:pt x="54" y="6"/>
                      <a:pt x="54" y="6"/>
                    </a:cubicBezTo>
                    <a:cubicBezTo>
                      <a:pt x="52" y="6"/>
                      <a:pt x="50" y="8"/>
                      <a:pt x="50" y="10"/>
                    </a:cubicBezTo>
                    <a:cubicBezTo>
                      <a:pt x="50" y="12"/>
                      <a:pt x="50" y="12"/>
                      <a:pt x="50" y="12"/>
                    </a:cubicBezTo>
                    <a:cubicBezTo>
                      <a:pt x="50" y="12"/>
                      <a:pt x="50" y="12"/>
                      <a:pt x="49" y="12"/>
                    </a:cubicBezTo>
                    <a:cubicBezTo>
                      <a:pt x="47" y="12"/>
                      <a:pt x="45" y="12"/>
                      <a:pt x="41" y="12"/>
                    </a:cubicBezTo>
                    <a:cubicBezTo>
                      <a:pt x="39" y="12"/>
                      <a:pt x="39" y="12"/>
                      <a:pt x="39" y="12"/>
                    </a:cubicBezTo>
                    <a:cubicBezTo>
                      <a:pt x="37" y="17"/>
                      <a:pt x="35" y="19"/>
                      <a:pt x="35" y="19"/>
                    </a:cubicBezTo>
                    <a:cubicBezTo>
                      <a:pt x="34" y="21"/>
                      <a:pt x="34" y="21"/>
                      <a:pt x="32" y="23"/>
                    </a:cubicBezTo>
                    <a:cubicBezTo>
                      <a:pt x="30" y="37"/>
                      <a:pt x="9" y="42"/>
                      <a:pt x="0" y="45"/>
                    </a:cubicBezTo>
                    <a:cubicBezTo>
                      <a:pt x="2" y="48"/>
                      <a:pt x="2" y="48"/>
                      <a:pt x="2" y="48"/>
                    </a:cubicBezTo>
                    <a:cubicBezTo>
                      <a:pt x="1" y="51"/>
                      <a:pt x="1" y="51"/>
                      <a:pt x="1" y="51"/>
                    </a:cubicBezTo>
                    <a:cubicBezTo>
                      <a:pt x="5" y="56"/>
                      <a:pt x="5" y="56"/>
                      <a:pt x="5" y="56"/>
                    </a:cubicBezTo>
                    <a:cubicBezTo>
                      <a:pt x="0" y="58"/>
                      <a:pt x="0" y="58"/>
                      <a:pt x="0" y="58"/>
                    </a:cubicBezTo>
                    <a:cubicBezTo>
                      <a:pt x="4" y="65"/>
                      <a:pt x="4" y="65"/>
                      <a:pt x="4" y="65"/>
                    </a:cubicBezTo>
                    <a:cubicBezTo>
                      <a:pt x="10" y="65"/>
                      <a:pt x="10" y="65"/>
                      <a:pt x="10" y="65"/>
                    </a:cubicBezTo>
                    <a:cubicBezTo>
                      <a:pt x="13" y="68"/>
                      <a:pt x="13" y="68"/>
                      <a:pt x="13" y="68"/>
                    </a:cubicBezTo>
                    <a:cubicBezTo>
                      <a:pt x="17" y="71"/>
                      <a:pt x="17" y="71"/>
                      <a:pt x="17" y="71"/>
                    </a:cubicBezTo>
                    <a:cubicBezTo>
                      <a:pt x="20" y="73"/>
                      <a:pt x="20" y="73"/>
                      <a:pt x="20" y="73"/>
                    </a:cubicBezTo>
                    <a:cubicBezTo>
                      <a:pt x="23" y="75"/>
                      <a:pt x="23" y="75"/>
                      <a:pt x="23" y="75"/>
                    </a:cubicBezTo>
                    <a:cubicBezTo>
                      <a:pt x="30" y="76"/>
                      <a:pt x="30" y="76"/>
                      <a:pt x="30" y="76"/>
                    </a:cubicBezTo>
                    <a:cubicBezTo>
                      <a:pt x="34" y="75"/>
                      <a:pt x="34" y="75"/>
                      <a:pt x="34" y="75"/>
                    </a:cubicBezTo>
                    <a:cubicBezTo>
                      <a:pt x="37" y="75"/>
                      <a:pt x="37" y="75"/>
                      <a:pt x="37" y="75"/>
                    </a:cubicBezTo>
                    <a:cubicBezTo>
                      <a:pt x="38" y="75"/>
                      <a:pt x="38" y="75"/>
                      <a:pt x="38" y="75"/>
                    </a:cubicBezTo>
                    <a:cubicBezTo>
                      <a:pt x="44" y="72"/>
                      <a:pt x="44" y="72"/>
                      <a:pt x="44" y="72"/>
                    </a:cubicBezTo>
                    <a:cubicBezTo>
                      <a:pt x="47" y="72"/>
                      <a:pt x="47" y="72"/>
                      <a:pt x="47" y="72"/>
                    </a:cubicBezTo>
                    <a:cubicBezTo>
                      <a:pt x="50" y="71"/>
                      <a:pt x="50" y="71"/>
                      <a:pt x="50" y="71"/>
                    </a:cubicBezTo>
                    <a:cubicBezTo>
                      <a:pt x="51" y="68"/>
                      <a:pt x="51" y="68"/>
                      <a:pt x="51" y="68"/>
                    </a:cubicBezTo>
                    <a:cubicBezTo>
                      <a:pt x="53" y="65"/>
                      <a:pt x="53" y="65"/>
                      <a:pt x="53" y="65"/>
                    </a:cubicBezTo>
                    <a:cubicBezTo>
                      <a:pt x="54" y="65"/>
                      <a:pt x="54" y="65"/>
                      <a:pt x="54" y="65"/>
                    </a:cubicBezTo>
                    <a:cubicBezTo>
                      <a:pt x="61" y="65"/>
                      <a:pt x="61" y="65"/>
                      <a:pt x="61" y="65"/>
                    </a:cubicBezTo>
                    <a:cubicBezTo>
                      <a:pt x="65" y="65"/>
                      <a:pt x="65" y="65"/>
                      <a:pt x="65" y="65"/>
                    </a:cubicBezTo>
                    <a:cubicBezTo>
                      <a:pt x="68" y="65"/>
                      <a:pt x="68" y="65"/>
                      <a:pt x="68" y="65"/>
                    </a:cubicBezTo>
                    <a:cubicBezTo>
                      <a:pt x="75" y="61"/>
                      <a:pt x="75" y="61"/>
                      <a:pt x="75" y="61"/>
                    </a:cubicBezTo>
                    <a:cubicBezTo>
                      <a:pt x="78" y="58"/>
                      <a:pt x="78" y="58"/>
                      <a:pt x="78" y="58"/>
                    </a:cubicBezTo>
                    <a:cubicBezTo>
                      <a:pt x="85" y="54"/>
                      <a:pt x="85" y="54"/>
                      <a:pt x="85" y="54"/>
                    </a:cubicBezTo>
                    <a:cubicBezTo>
                      <a:pt x="89" y="51"/>
                      <a:pt x="89" y="51"/>
                      <a:pt x="89" y="51"/>
                    </a:cubicBezTo>
                    <a:cubicBezTo>
                      <a:pt x="92" y="47"/>
                      <a:pt x="92" y="47"/>
                      <a:pt x="92" y="47"/>
                    </a:cubicBezTo>
                    <a:cubicBezTo>
                      <a:pt x="92" y="44"/>
                      <a:pt x="92" y="44"/>
                      <a:pt x="92" y="44"/>
                    </a:cubicBezTo>
                    <a:cubicBezTo>
                      <a:pt x="96" y="41"/>
                      <a:pt x="96" y="41"/>
                      <a:pt x="96" y="41"/>
                    </a:cubicBezTo>
                    <a:cubicBezTo>
                      <a:pt x="99" y="41"/>
                      <a:pt x="99" y="41"/>
                      <a:pt x="99" y="41"/>
                    </a:cubicBezTo>
                    <a:cubicBezTo>
                      <a:pt x="102" y="41"/>
                      <a:pt x="102" y="41"/>
                      <a:pt x="102" y="41"/>
                    </a:cubicBezTo>
                    <a:cubicBezTo>
                      <a:pt x="109" y="41"/>
                      <a:pt x="109" y="41"/>
                      <a:pt x="109" y="41"/>
                    </a:cubicBezTo>
                    <a:cubicBezTo>
                      <a:pt x="113" y="41"/>
                      <a:pt x="113" y="41"/>
                      <a:pt x="113" y="41"/>
                    </a:cubicBezTo>
                    <a:cubicBezTo>
                      <a:pt x="114" y="41"/>
                      <a:pt x="114" y="41"/>
                      <a:pt x="114" y="41"/>
                    </a:cubicBezTo>
                    <a:cubicBezTo>
                      <a:pt x="119" y="41"/>
                      <a:pt x="119" y="41"/>
                      <a:pt x="119" y="41"/>
                    </a:cubicBezTo>
                    <a:cubicBezTo>
                      <a:pt x="119" y="46"/>
                      <a:pt x="119" y="46"/>
                      <a:pt x="119" y="46"/>
                    </a:cubicBezTo>
                    <a:cubicBezTo>
                      <a:pt x="124" y="45"/>
                      <a:pt x="124" y="45"/>
                      <a:pt x="124" y="45"/>
                    </a:cubicBezTo>
                    <a:cubicBezTo>
                      <a:pt x="128" y="49"/>
                      <a:pt x="128" y="49"/>
                      <a:pt x="128" y="49"/>
                    </a:cubicBezTo>
                    <a:cubicBezTo>
                      <a:pt x="134" y="45"/>
                      <a:pt x="134" y="45"/>
                      <a:pt x="134" y="45"/>
                    </a:cubicBezTo>
                    <a:cubicBezTo>
                      <a:pt x="140" y="48"/>
                      <a:pt x="140" y="48"/>
                      <a:pt x="140" y="48"/>
                    </a:cubicBezTo>
                    <a:cubicBezTo>
                      <a:pt x="140" y="44"/>
                      <a:pt x="140" y="44"/>
                      <a:pt x="140" y="44"/>
                    </a:cubicBezTo>
                    <a:cubicBezTo>
                      <a:pt x="139" y="41"/>
                      <a:pt x="139" y="41"/>
                      <a:pt x="139" y="41"/>
                    </a:cubicBezTo>
                    <a:cubicBezTo>
                      <a:pt x="140" y="37"/>
                      <a:pt x="140" y="37"/>
                      <a:pt x="140" y="37"/>
                    </a:cubicBezTo>
                    <a:cubicBezTo>
                      <a:pt x="142" y="34"/>
                      <a:pt x="142" y="34"/>
                      <a:pt x="142" y="34"/>
                    </a:cubicBezTo>
                    <a:cubicBezTo>
                      <a:pt x="145" y="34"/>
                      <a:pt x="145" y="34"/>
                      <a:pt x="145" y="34"/>
                    </a:cubicBezTo>
                    <a:cubicBezTo>
                      <a:pt x="144" y="30"/>
                      <a:pt x="144" y="30"/>
                      <a:pt x="144" y="30"/>
                    </a:cubicBezTo>
                    <a:cubicBezTo>
                      <a:pt x="146" y="28"/>
                      <a:pt x="146" y="28"/>
                      <a:pt x="146" y="28"/>
                    </a:cubicBezTo>
                    <a:lnTo>
                      <a:pt x="150" y="25"/>
                    </a:lnTo>
                    <a:close/>
                  </a:path>
                </a:pathLst>
              </a:custGeom>
              <a:solidFill>
                <a:srgbClr val="73C37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grpSp>
        <p:sp>
          <p:nvSpPr>
            <p:cNvPr id="910" name="Rechteck 909"/>
            <p:cNvSpPr/>
            <p:nvPr>
              <p:custDataLst>
                <p:tags r:id="rId84"/>
              </p:custDataLst>
            </p:nvPr>
          </p:nvSpPr>
          <p:spPr bwMode="gray">
            <a:xfrm>
              <a:off x="2915820" y="397590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3</a:t>
              </a:r>
            </a:p>
          </p:txBody>
        </p:sp>
        <p:sp>
          <p:nvSpPr>
            <p:cNvPr id="911" name="Rechteck 910"/>
            <p:cNvSpPr/>
            <p:nvPr>
              <p:custDataLst>
                <p:tags r:id="rId85"/>
              </p:custDataLst>
            </p:nvPr>
          </p:nvSpPr>
          <p:spPr bwMode="gray">
            <a:xfrm>
              <a:off x="2876836" y="4119938"/>
              <a:ext cx="182964"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0</a:t>
              </a:r>
            </a:p>
          </p:txBody>
        </p:sp>
        <p:sp>
          <p:nvSpPr>
            <p:cNvPr id="916" name="Rechteck 915"/>
            <p:cNvSpPr/>
            <p:nvPr>
              <p:custDataLst>
                <p:tags r:id="rId86"/>
              </p:custDataLst>
            </p:nvPr>
          </p:nvSpPr>
          <p:spPr bwMode="gray">
            <a:xfrm>
              <a:off x="2303752" y="368787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8</a:t>
              </a:r>
            </a:p>
          </p:txBody>
        </p:sp>
        <p:sp>
          <p:nvSpPr>
            <p:cNvPr id="917" name="Rechteck 916"/>
            <p:cNvSpPr/>
            <p:nvPr>
              <p:custDataLst>
                <p:tags r:id="rId87"/>
              </p:custDataLst>
            </p:nvPr>
          </p:nvSpPr>
          <p:spPr bwMode="gray">
            <a:xfrm>
              <a:off x="2159732" y="383190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3</a:t>
              </a:r>
            </a:p>
          </p:txBody>
        </p:sp>
        <p:sp>
          <p:nvSpPr>
            <p:cNvPr id="919" name="Ellipse 918"/>
            <p:cNvSpPr/>
            <p:nvPr>
              <p:custDataLst>
                <p:tags r:id="rId88"/>
              </p:custDataLst>
            </p:nvPr>
          </p:nvSpPr>
          <p:spPr bwMode="gray">
            <a:xfrm rot="10800000">
              <a:off x="2483752" y="3831906"/>
              <a:ext cx="108000" cy="108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endParaRPr lang="en-US" sz="1067" dirty="0">
                <a:solidFill>
                  <a:schemeClr val="bg1"/>
                </a:solidFill>
              </a:endParaRPr>
            </a:p>
          </p:txBody>
        </p:sp>
        <p:sp>
          <p:nvSpPr>
            <p:cNvPr id="921" name="Rechteck 920"/>
            <p:cNvSpPr/>
            <p:nvPr>
              <p:custDataLst>
                <p:tags r:id="rId89"/>
              </p:custDataLst>
            </p:nvPr>
          </p:nvSpPr>
          <p:spPr bwMode="gray">
            <a:xfrm>
              <a:off x="3671932" y="3399838"/>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1</a:t>
              </a:r>
            </a:p>
          </p:txBody>
        </p:sp>
        <p:sp>
          <p:nvSpPr>
            <p:cNvPr id="922" name="Rechteck 921"/>
            <p:cNvSpPr/>
            <p:nvPr>
              <p:custDataLst>
                <p:tags r:id="rId90"/>
              </p:custDataLst>
            </p:nvPr>
          </p:nvSpPr>
          <p:spPr bwMode="gray">
            <a:xfrm>
              <a:off x="3527912" y="3543870"/>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de-DE" sz="1200" dirty="0">
                  <a:solidFill>
                    <a:schemeClr val="tx1"/>
                  </a:solidFill>
                </a:rPr>
                <a:t>+15</a:t>
              </a:r>
              <a:endParaRPr lang="en-US" sz="1200" dirty="0">
                <a:solidFill>
                  <a:schemeClr val="tx1"/>
                </a:solidFill>
              </a:endParaRPr>
            </a:p>
          </p:txBody>
        </p:sp>
        <p:sp>
          <p:nvSpPr>
            <p:cNvPr id="932" name="Rechteck 931"/>
            <p:cNvSpPr/>
            <p:nvPr>
              <p:custDataLst>
                <p:tags r:id="rId91"/>
              </p:custDataLst>
            </p:nvPr>
          </p:nvSpPr>
          <p:spPr bwMode="gray">
            <a:xfrm>
              <a:off x="2627816" y="2823790"/>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2</a:t>
              </a:r>
            </a:p>
          </p:txBody>
        </p:sp>
        <p:sp>
          <p:nvSpPr>
            <p:cNvPr id="933" name="Rechteck 932"/>
            <p:cNvSpPr/>
            <p:nvPr>
              <p:custDataLst>
                <p:tags r:id="rId92"/>
              </p:custDataLst>
            </p:nvPr>
          </p:nvSpPr>
          <p:spPr bwMode="gray">
            <a:xfrm>
              <a:off x="2483796" y="295293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2</a:t>
              </a:r>
            </a:p>
          </p:txBody>
        </p:sp>
        <p:sp>
          <p:nvSpPr>
            <p:cNvPr id="935" name="Ellipse 934"/>
            <p:cNvSpPr/>
            <p:nvPr>
              <p:custDataLst>
                <p:tags r:id="rId93"/>
              </p:custDataLst>
            </p:nvPr>
          </p:nvSpPr>
          <p:spPr bwMode="gray">
            <a:xfrm>
              <a:off x="2807816" y="2952928"/>
              <a:ext cx="108000" cy="108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endParaRPr lang="en-US" sz="1067" dirty="0">
                <a:solidFill>
                  <a:schemeClr val="bg1"/>
                </a:solidFill>
              </a:endParaRPr>
            </a:p>
          </p:txBody>
        </p:sp>
        <p:sp>
          <p:nvSpPr>
            <p:cNvPr id="937" name="Rechteck 936"/>
            <p:cNvSpPr/>
            <p:nvPr>
              <p:custDataLst>
                <p:tags r:id="rId94"/>
              </p:custDataLst>
            </p:nvPr>
          </p:nvSpPr>
          <p:spPr bwMode="gray">
            <a:xfrm>
              <a:off x="4031972" y="2643758"/>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0</a:t>
              </a:r>
            </a:p>
          </p:txBody>
        </p:sp>
        <p:sp>
          <p:nvSpPr>
            <p:cNvPr id="938" name="Rechteck 937"/>
            <p:cNvSpPr/>
            <p:nvPr>
              <p:custDataLst>
                <p:tags r:id="rId95"/>
              </p:custDataLst>
            </p:nvPr>
          </p:nvSpPr>
          <p:spPr bwMode="gray">
            <a:xfrm>
              <a:off x="3887952" y="2787790"/>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7</a:t>
              </a:r>
            </a:p>
          </p:txBody>
        </p:sp>
        <p:sp>
          <p:nvSpPr>
            <p:cNvPr id="942" name="Rechteck 941"/>
            <p:cNvSpPr/>
            <p:nvPr>
              <p:custDataLst>
                <p:tags r:id="rId96"/>
              </p:custDataLst>
            </p:nvPr>
          </p:nvSpPr>
          <p:spPr bwMode="gray">
            <a:xfrm>
              <a:off x="4309140" y="3008338"/>
              <a:ext cx="288000" cy="7461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7</a:t>
              </a:r>
            </a:p>
          </p:txBody>
        </p:sp>
        <p:sp>
          <p:nvSpPr>
            <p:cNvPr id="943" name="Rechteck 942"/>
            <p:cNvSpPr/>
            <p:nvPr>
              <p:custDataLst>
                <p:tags r:id="rId97"/>
              </p:custDataLst>
            </p:nvPr>
          </p:nvSpPr>
          <p:spPr bwMode="gray">
            <a:xfrm>
              <a:off x="4177705" y="3146078"/>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1</a:t>
              </a:r>
            </a:p>
          </p:txBody>
        </p:sp>
        <p:sp>
          <p:nvSpPr>
            <p:cNvPr id="947" name="Rechteck 946"/>
            <p:cNvSpPr/>
            <p:nvPr>
              <p:custDataLst>
                <p:tags r:id="rId98"/>
              </p:custDataLst>
            </p:nvPr>
          </p:nvSpPr>
          <p:spPr bwMode="gray">
            <a:xfrm>
              <a:off x="5112064" y="289578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0</a:t>
              </a:r>
            </a:p>
          </p:txBody>
        </p:sp>
        <p:sp>
          <p:nvSpPr>
            <p:cNvPr id="948" name="Rechteck 947"/>
            <p:cNvSpPr/>
            <p:nvPr>
              <p:custDataLst>
                <p:tags r:id="rId99"/>
              </p:custDataLst>
            </p:nvPr>
          </p:nvSpPr>
          <p:spPr bwMode="gray">
            <a:xfrm>
              <a:off x="4968044" y="303981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9</a:t>
              </a:r>
            </a:p>
          </p:txBody>
        </p:sp>
        <p:sp>
          <p:nvSpPr>
            <p:cNvPr id="957" name="Rechteck 956"/>
            <p:cNvSpPr/>
            <p:nvPr>
              <p:custDataLst>
                <p:tags r:id="rId100"/>
              </p:custDataLst>
            </p:nvPr>
          </p:nvSpPr>
          <p:spPr bwMode="gray">
            <a:xfrm>
              <a:off x="6146773" y="301357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3</a:t>
              </a:r>
            </a:p>
          </p:txBody>
        </p:sp>
        <p:sp>
          <p:nvSpPr>
            <p:cNvPr id="958" name="Rechteck 957"/>
            <p:cNvSpPr/>
            <p:nvPr>
              <p:custDataLst>
                <p:tags r:id="rId101"/>
              </p:custDataLst>
            </p:nvPr>
          </p:nvSpPr>
          <p:spPr bwMode="gray">
            <a:xfrm>
              <a:off x="6002755" y="3157609"/>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13</a:t>
              </a:r>
            </a:p>
          </p:txBody>
        </p:sp>
        <p:sp>
          <p:nvSpPr>
            <p:cNvPr id="963" name="Rechteck 962"/>
            <p:cNvSpPr/>
            <p:nvPr>
              <p:custDataLst>
                <p:tags r:id="rId102"/>
              </p:custDataLst>
            </p:nvPr>
          </p:nvSpPr>
          <p:spPr bwMode="gray">
            <a:xfrm>
              <a:off x="5485885" y="3703811"/>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err="1">
                  <a:solidFill>
                    <a:schemeClr val="tx1"/>
                  </a:solidFill>
                </a:rPr>
                <a:t>na</a:t>
              </a:r>
              <a:endParaRPr lang="en-US" sz="1200" b="1" dirty="0">
                <a:solidFill>
                  <a:schemeClr val="tx1"/>
                </a:solidFill>
              </a:endParaRPr>
            </a:p>
          </p:txBody>
        </p:sp>
        <p:sp>
          <p:nvSpPr>
            <p:cNvPr id="968" name="Rechteck 967"/>
            <p:cNvSpPr/>
            <p:nvPr>
              <p:custDataLst>
                <p:tags r:id="rId103"/>
              </p:custDataLst>
            </p:nvPr>
          </p:nvSpPr>
          <p:spPr bwMode="gray">
            <a:xfrm>
              <a:off x="5686146" y="4008857"/>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0</a:t>
              </a:r>
            </a:p>
          </p:txBody>
        </p:sp>
        <p:sp>
          <p:nvSpPr>
            <p:cNvPr id="969" name="Rechteck 968"/>
            <p:cNvSpPr/>
            <p:nvPr>
              <p:custDataLst>
                <p:tags r:id="rId104"/>
              </p:custDataLst>
            </p:nvPr>
          </p:nvSpPr>
          <p:spPr bwMode="gray">
            <a:xfrm>
              <a:off x="5542125" y="4134011"/>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GB" sz="1200" dirty="0">
                  <a:solidFill>
                    <a:schemeClr val="tx1"/>
                  </a:solidFill>
                </a:rPr>
                <a:t>-1</a:t>
              </a:r>
              <a:endParaRPr lang="en-US" sz="1200" dirty="0">
                <a:solidFill>
                  <a:schemeClr val="tx1"/>
                </a:solidFill>
              </a:endParaRPr>
            </a:p>
          </p:txBody>
        </p:sp>
        <p:sp>
          <p:nvSpPr>
            <p:cNvPr id="971" name="Ellipse 970"/>
            <p:cNvSpPr/>
            <p:nvPr>
              <p:custDataLst>
                <p:tags r:id="rId105"/>
              </p:custDataLst>
            </p:nvPr>
          </p:nvSpPr>
          <p:spPr bwMode="gray">
            <a:xfrm>
              <a:off x="6660244" y="3953550"/>
              <a:ext cx="108000" cy="108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endParaRPr lang="en-US" sz="1067" dirty="0">
                <a:solidFill>
                  <a:schemeClr val="bg1"/>
                </a:solidFill>
              </a:endParaRPr>
            </a:p>
          </p:txBody>
        </p:sp>
        <p:grpSp>
          <p:nvGrpSpPr>
            <p:cNvPr id="979" name="Gruppieren 978"/>
            <p:cNvGrpSpPr/>
            <p:nvPr/>
          </p:nvGrpSpPr>
          <p:grpSpPr bwMode="gray">
            <a:xfrm>
              <a:off x="2627944" y="3075806"/>
              <a:ext cx="1440000" cy="0"/>
              <a:chOff x="2627944" y="3075806"/>
              <a:chExt cx="1440000" cy="0"/>
            </a:xfrm>
          </p:grpSpPr>
          <p:cxnSp>
            <p:nvCxnSpPr>
              <p:cNvPr id="931" name="Gerade Verbindung 930"/>
              <p:cNvCxnSpPr/>
              <p:nvPr>
                <p:custDataLst>
                  <p:tags r:id="rId120"/>
                </p:custDataLst>
              </p:nvPr>
            </p:nvCxnSpPr>
            <p:spPr bwMode="gray">
              <a:xfrm>
                <a:off x="2627944" y="3075806"/>
                <a:ext cx="1440000" cy="0"/>
              </a:xfrm>
              <a:prstGeom prst="line">
                <a:avLst/>
              </a:prstGeom>
              <a:ln w="38100" cap="rnd">
                <a:solidFill>
                  <a:schemeClr val="bg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978" name="Gerade Verbindung 977"/>
              <p:cNvCxnSpPr/>
              <p:nvPr>
                <p:custDataLst>
                  <p:tags r:id="rId121"/>
                </p:custDataLst>
              </p:nvPr>
            </p:nvCxnSpPr>
            <p:spPr bwMode="gray">
              <a:xfrm>
                <a:off x="2627944" y="3075806"/>
                <a:ext cx="1440000" cy="0"/>
              </a:xfrm>
              <a:prstGeom prst="line">
                <a:avLst/>
              </a:prstGeom>
              <a:ln cap="rnd">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grpSp>
        <p:sp>
          <p:nvSpPr>
            <p:cNvPr id="980" name="Rechteck 979"/>
            <p:cNvSpPr/>
            <p:nvPr>
              <p:custDataLst>
                <p:tags r:id="rId106"/>
              </p:custDataLst>
            </p:nvPr>
          </p:nvSpPr>
          <p:spPr bwMode="gray">
            <a:xfrm>
              <a:off x="5704198" y="441601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9</a:t>
              </a:r>
            </a:p>
          </p:txBody>
        </p:sp>
        <p:sp>
          <p:nvSpPr>
            <p:cNvPr id="981" name="Rechteck 980"/>
            <p:cNvSpPr/>
            <p:nvPr>
              <p:custDataLst>
                <p:tags r:id="rId107"/>
              </p:custDataLst>
            </p:nvPr>
          </p:nvSpPr>
          <p:spPr bwMode="gray">
            <a:xfrm>
              <a:off x="5560177" y="456004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1</a:t>
              </a:r>
            </a:p>
          </p:txBody>
        </p:sp>
        <p:sp>
          <p:nvSpPr>
            <p:cNvPr id="989" name="Freihandform 988"/>
            <p:cNvSpPr/>
            <p:nvPr>
              <p:custDataLst>
                <p:tags r:id="rId108"/>
              </p:custDataLst>
            </p:nvPr>
          </p:nvSpPr>
          <p:spPr bwMode="gray">
            <a:xfrm flipV="1">
              <a:off x="4853758" y="3777134"/>
              <a:ext cx="1908002" cy="1152000"/>
            </a:xfrm>
            <a:custGeom>
              <a:avLst/>
              <a:gdLst>
                <a:gd name="connsiteX0" fmla="*/ 0 w 1574800"/>
                <a:gd name="connsiteY0" fmla="*/ 654050 h 654050"/>
                <a:gd name="connsiteX1" fmla="*/ 0 w 1574800"/>
                <a:gd name="connsiteY1" fmla="*/ 0 h 654050"/>
                <a:gd name="connsiteX2" fmla="*/ 1574800 w 1574800"/>
                <a:gd name="connsiteY2" fmla="*/ 0 h 654050"/>
              </a:gdLst>
              <a:ahLst/>
              <a:cxnLst>
                <a:cxn ang="0">
                  <a:pos x="connsiteX0" y="connsiteY0"/>
                </a:cxn>
                <a:cxn ang="0">
                  <a:pos x="connsiteX1" y="connsiteY1"/>
                </a:cxn>
                <a:cxn ang="0">
                  <a:pos x="connsiteX2" y="connsiteY2"/>
                </a:cxn>
              </a:cxnLst>
              <a:rect l="l" t="t" r="r" b="b"/>
              <a:pathLst>
                <a:path w="1574800" h="654050">
                  <a:moveTo>
                    <a:pt x="0" y="654050"/>
                  </a:moveTo>
                  <a:lnTo>
                    <a:pt x="0" y="0"/>
                  </a:lnTo>
                  <a:lnTo>
                    <a:pt x="1574800" y="0"/>
                  </a:lnTo>
                </a:path>
              </a:pathLst>
            </a:custGeom>
            <a:noFill/>
            <a:ln w="9525" cap="rnd">
              <a:solidFill>
                <a:schemeClr val="tx1"/>
              </a:solidFill>
              <a:head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991" name="Rechteck 990"/>
            <p:cNvSpPr/>
            <p:nvPr>
              <p:custDataLst>
                <p:tags r:id="rId109"/>
              </p:custDataLst>
            </p:nvPr>
          </p:nvSpPr>
          <p:spPr bwMode="gray">
            <a:xfrm>
              <a:off x="6939532" y="313872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7</a:t>
              </a:r>
            </a:p>
          </p:txBody>
        </p:sp>
        <p:sp>
          <p:nvSpPr>
            <p:cNvPr id="992" name="Rechteck 991"/>
            <p:cNvSpPr/>
            <p:nvPr>
              <p:custDataLst>
                <p:tags r:id="rId110"/>
              </p:custDataLst>
            </p:nvPr>
          </p:nvSpPr>
          <p:spPr bwMode="gray">
            <a:xfrm>
              <a:off x="6795511" y="328275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GB" sz="1200" dirty="0">
                  <a:solidFill>
                    <a:schemeClr val="tx1"/>
                  </a:solidFill>
                </a:rPr>
                <a:t>+1</a:t>
              </a:r>
              <a:endParaRPr lang="en-US" sz="1200" dirty="0">
                <a:solidFill>
                  <a:schemeClr val="tx1"/>
                </a:solidFill>
              </a:endParaRPr>
            </a:p>
          </p:txBody>
        </p:sp>
        <p:sp>
          <p:nvSpPr>
            <p:cNvPr id="994" name="Ellipse 993"/>
            <p:cNvSpPr/>
            <p:nvPr>
              <p:custDataLst>
                <p:tags r:id="rId111"/>
              </p:custDataLst>
            </p:nvPr>
          </p:nvSpPr>
          <p:spPr bwMode="gray">
            <a:xfrm>
              <a:off x="7695737" y="2977892"/>
              <a:ext cx="108000" cy="108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endParaRPr lang="en-US" sz="1067" dirty="0">
                <a:solidFill>
                  <a:schemeClr val="bg1"/>
                </a:solidFill>
              </a:endParaRPr>
            </a:p>
          </p:txBody>
        </p:sp>
        <p:cxnSp>
          <p:nvCxnSpPr>
            <p:cNvPr id="998" name="Gerade Verbindung 997"/>
            <p:cNvCxnSpPr/>
            <p:nvPr>
              <p:custDataLst>
                <p:tags r:id="rId112"/>
              </p:custDataLst>
            </p:nvPr>
          </p:nvCxnSpPr>
          <p:spPr bwMode="gray">
            <a:xfrm>
              <a:off x="5266211" y="3399842"/>
              <a:ext cx="1980005" cy="0"/>
            </a:xfrm>
            <a:prstGeom prst="line">
              <a:avLst/>
            </a:prstGeom>
            <a:ln cap="rnd">
              <a:solidFill>
                <a:schemeClr val="tx1"/>
              </a:solidFill>
              <a:headEnd type="oval" w="sm" len="sm"/>
              <a:tailEnd type="none"/>
            </a:ln>
            <a:effectLst/>
          </p:spPr>
          <p:style>
            <a:lnRef idx="1">
              <a:schemeClr val="accent1"/>
            </a:lnRef>
            <a:fillRef idx="0">
              <a:schemeClr val="accent1"/>
            </a:fillRef>
            <a:effectRef idx="0">
              <a:schemeClr val="accent1"/>
            </a:effectRef>
            <a:fontRef idx="minor">
              <a:schemeClr val="tx1"/>
            </a:fontRef>
          </p:style>
        </p:cxnSp>
        <p:sp>
          <p:nvSpPr>
            <p:cNvPr id="1016" name="Rechteck 1015"/>
            <p:cNvSpPr/>
            <p:nvPr>
              <p:custDataLst>
                <p:tags r:id="rId113"/>
              </p:custDataLst>
            </p:nvPr>
          </p:nvSpPr>
          <p:spPr bwMode="gray">
            <a:xfrm>
              <a:off x="6480244" y="467361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28</a:t>
              </a:r>
            </a:p>
          </p:txBody>
        </p:sp>
        <p:sp>
          <p:nvSpPr>
            <p:cNvPr id="1017" name="Rechteck 1016"/>
            <p:cNvSpPr/>
            <p:nvPr>
              <p:custDataLst>
                <p:tags r:id="rId114"/>
              </p:custDataLst>
            </p:nvPr>
          </p:nvSpPr>
          <p:spPr bwMode="gray">
            <a:xfrm>
              <a:off x="6336224" y="481764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4</a:t>
              </a:r>
            </a:p>
          </p:txBody>
        </p:sp>
        <p:sp>
          <p:nvSpPr>
            <p:cNvPr id="1025" name="Rechteck 1024"/>
            <p:cNvSpPr/>
            <p:nvPr>
              <p:custDataLst>
                <p:tags r:id="rId115"/>
              </p:custDataLst>
            </p:nvPr>
          </p:nvSpPr>
          <p:spPr bwMode="gray">
            <a:xfrm>
              <a:off x="4717543" y="3456873"/>
              <a:ext cx="288000" cy="14200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1</a:t>
              </a:r>
            </a:p>
          </p:txBody>
        </p:sp>
        <p:sp>
          <p:nvSpPr>
            <p:cNvPr id="1026" name="Rechteck 1025"/>
            <p:cNvSpPr/>
            <p:nvPr>
              <p:custDataLst>
                <p:tags r:id="rId116"/>
              </p:custDataLst>
            </p:nvPr>
          </p:nvSpPr>
          <p:spPr bwMode="gray">
            <a:xfrm>
              <a:off x="4572028" y="357987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11</a:t>
              </a:r>
            </a:p>
          </p:txBody>
        </p:sp>
        <p:sp>
          <p:nvSpPr>
            <p:cNvPr id="1034" name="Rechteck 1033"/>
            <p:cNvSpPr/>
            <p:nvPr>
              <p:custDataLst>
                <p:tags r:id="rId117"/>
              </p:custDataLst>
            </p:nvPr>
          </p:nvSpPr>
          <p:spPr bwMode="gray">
            <a:xfrm>
              <a:off x="4391984" y="433594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20</a:t>
              </a:r>
            </a:p>
          </p:txBody>
        </p:sp>
        <p:sp>
          <p:nvSpPr>
            <p:cNvPr id="1035" name="Rechteck 1034"/>
            <p:cNvSpPr/>
            <p:nvPr>
              <p:custDataLst>
                <p:tags r:id="rId118"/>
              </p:custDataLst>
            </p:nvPr>
          </p:nvSpPr>
          <p:spPr bwMode="gray">
            <a:xfrm>
              <a:off x="4273157" y="447368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de-DE" sz="1200" dirty="0">
                  <a:solidFill>
                    <a:schemeClr val="tx1"/>
                  </a:solidFill>
                </a:rPr>
                <a:t>+10</a:t>
              </a:r>
              <a:endParaRPr lang="en-US" sz="1200" dirty="0">
                <a:solidFill>
                  <a:schemeClr val="tx1"/>
                </a:solidFill>
              </a:endParaRPr>
            </a:p>
          </p:txBody>
        </p:sp>
        <p:cxnSp>
          <p:nvCxnSpPr>
            <p:cNvPr id="974" name="Gerade Verbindung 973"/>
            <p:cNvCxnSpPr>
              <a:cxnSpLocks/>
            </p:cNvCxnSpPr>
            <p:nvPr>
              <p:custDataLst>
                <p:tags r:id="rId119"/>
              </p:custDataLst>
            </p:nvPr>
          </p:nvCxnSpPr>
          <p:spPr bwMode="gray">
            <a:xfrm>
              <a:off x="4924012" y="3299863"/>
              <a:ext cx="1527078" cy="0"/>
            </a:xfrm>
            <a:prstGeom prst="line">
              <a:avLst/>
            </a:prstGeom>
            <a:ln cap="rnd">
              <a:solidFill>
                <a:schemeClr val="tx1"/>
              </a:solidFill>
              <a:headEnd type="oval" w="sm" len="sm"/>
              <a:tailEnd type="none"/>
            </a:ln>
          </p:spPr>
          <p:style>
            <a:lnRef idx="1">
              <a:schemeClr val="accent1"/>
            </a:lnRef>
            <a:fillRef idx="0">
              <a:schemeClr val="accent1"/>
            </a:fillRef>
            <a:effectRef idx="0">
              <a:schemeClr val="accent1"/>
            </a:effectRef>
            <a:fontRef idx="minor">
              <a:schemeClr val="tx1"/>
            </a:fontRef>
          </p:style>
        </p:cxnSp>
      </p:grpSp>
      <p:sp>
        <p:nvSpPr>
          <p:cNvPr id="192" name="Rechteck 191">
            <a:extLst>
              <a:ext uri="{FF2B5EF4-FFF2-40B4-BE49-F238E27FC236}">
                <a16:creationId xmlns:a16="http://schemas.microsoft.com/office/drawing/2014/main" id="{8CDEF71B-AD69-46E5-A52F-6DA82D02DF0F}"/>
              </a:ext>
            </a:extLst>
          </p:cNvPr>
          <p:cNvSpPr/>
          <p:nvPr>
            <p:custDataLst>
              <p:tags r:id="rId4"/>
            </p:custDataLst>
          </p:nvPr>
        </p:nvSpPr>
        <p:spPr bwMode="gray">
          <a:xfrm>
            <a:off x="6420808" y="2674706"/>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bg1"/>
                </a:solidFill>
              </a:rPr>
              <a:t>-25</a:t>
            </a:r>
          </a:p>
        </p:txBody>
      </p:sp>
      <p:sp>
        <p:nvSpPr>
          <p:cNvPr id="198" name="Rechteck 197">
            <a:extLst>
              <a:ext uri="{FF2B5EF4-FFF2-40B4-BE49-F238E27FC236}">
                <a16:creationId xmlns:a16="http://schemas.microsoft.com/office/drawing/2014/main" id="{364FA076-8CFE-44C3-BE26-B8E411532D31}"/>
              </a:ext>
            </a:extLst>
          </p:cNvPr>
          <p:cNvSpPr/>
          <p:nvPr>
            <p:custDataLst>
              <p:tags r:id="rId5"/>
            </p:custDataLst>
          </p:nvPr>
        </p:nvSpPr>
        <p:spPr bwMode="gray">
          <a:xfrm>
            <a:off x="6246979" y="2866749"/>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de-DE" sz="1200" dirty="0">
                <a:solidFill>
                  <a:schemeClr val="bg1"/>
                </a:solidFill>
              </a:rPr>
              <a:t>+13</a:t>
            </a:r>
            <a:endParaRPr lang="en-US" sz="1200" dirty="0">
              <a:solidFill>
                <a:schemeClr val="bg1"/>
              </a:solidFill>
            </a:endParaRPr>
          </a:p>
        </p:txBody>
      </p:sp>
      <p:sp>
        <p:nvSpPr>
          <p:cNvPr id="206" name="Rechteck 205">
            <a:extLst>
              <a:ext uri="{FF2B5EF4-FFF2-40B4-BE49-F238E27FC236}">
                <a16:creationId xmlns:a16="http://schemas.microsoft.com/office/drawing/2014/main" id="{1C8E8956-A32F-4F91-A6EF-7B6C5D7CE4B5}"/>
              </a:ext>
            </a:extLst>
          </p:cNvPr>
          <p:cNvSpPr/>
          <p:nvPr>
            <p:custDataLst>
              <p:tags r:id="rId6"/>
            </p:custDataLst>
          </p:nvPr>
        </p:nvSpPr>
        <p:spPr bwMode="gray">
          <a:xfrm>
            <a:off x="7277884" y="2214709"/>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9</a:t>
            </a:r>
          </a:p>
        </p:txBody>
      </p:sp>
      <p:sp>
        <p:nvSpPr>
          <p:cNvPr id="216" name="Rechteck 215">
            <a:extLst>
              <a:ext uri="{FF2B5EF4-FFF2-40B4-BE49-F238E27FC236}">
                <a16:creationId xmlns:a16="http://schemas.microsoft.com/office/drawing/2014/main" id="{367D58A3-BB20-46FD-93D5-54C5192760E8}"/>
              </a:ext>
            </a:extLst>
          </p:cNvPr>
          <p:cNvSpPr/>
          <p:nvPr>
            <p:custDataLst>
              <p:tags r:id="rId7"/>
            </p:custDataLst>
          </p:nvPr>
        </p:nvSpPr>
        <p:spPr bwMode="gray">
          <a:xfrm>
            <a:off x="7104055" y="2406752"/>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de-DE" sz="1200" dirty="0">
                <a:solidFill>
                  <a:schemeClr val="tx1"/>
                </a:solidFill>
              </a:rPr>
              <a:t>+11</a:t>
            </a:r>
            <a:endParaRPr lang="en-US" sz="1200" dirty="0">
              <a:solidFill>
                <a:schemeClr val="tx1"/>
              </a:solidFill>
            </a:endParaRPr>
          </a:p>
        </p:txBody>
      </p:sp>
      <p:sp>
        <p:nvSpPr>
          <p:cNvPr id="225" name="Rechteck 224">
            <a:extLst>
              <a:ext uri="{FF2B5EF4-FFF2-40B4-BE49-F238E27FC236}">
                <a16:creationId xmlns:a16="http://schemas.microsoft.com/office/drawing/2014/main" id="{09F6619A-2C01-4531-8440-206D08DE91FD}"/>
              </a:ext>
            </a:extLst>
          </p:cNvPr>
          <p:cNvSpPr/>
          <p:nvPr>
            <p:custDataLst>
              <p:tags r:id="rId8"/>
            </p:custDataLst>
          </p:nvPr>
        </p:nvSpPr>
        <p:spPr bwMode="gray">
          <a:xfrm>
            <a:off x="7779826" y="2691484"/>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38</a:t>
            </a:r>
          </a:p>
        </p:txBody>
      </p:sp>
      <p:sp>
        <p:nvSpPr>
          <p:cNvPr id="226" name="Rechteck 225">
            <a:extLst>
              <a:ext uri="{FF2B5EF4-FFF2-40B4-BE49-F238E27FC236}">
                <a16:creationId xmlns:a16="http://schemas.microsoft.com/office/drawing/2014/main" id="{4175E6EE-B99F-418B-87E4-73DBB925D2FA}"/>
              </a:ext>
            </a:extLst>
          </p:cNvPr>
          <p:cNvSpPr/>
          <p:nvPr>
            <p:custDataLst>
              <p:tags r:id="rId9"/>
            </p:custDataLst>
          </p:nvPr>
        </p:nvSpPr>
        <p:spPr bwMode="gray">
          <a:xfrm>
            <a:off x="7719464" y="2849971"/>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1</a:t>
            </a:r>
          </a:p>
        </p:txBody>
      </p:sp>
      <p:sp>
        <p:nvSpPr>
          <p:cNvPr id="228" name="Rechteck 227">
            <a:extLst>
              <a:ext uri="{FF2B5EF4-FFF2-40B4-BE49-F238E27FC236}">
                <a16:creationId xmlns:a16="http://schemas.microsoft.com/office/drawing/2014/main" id="{DE748FB1-2376-429B-A6BD-F786DAB5C008}"/>
              </a:ext>
            </a:extLst>
          </p:cNvPr>
          <p:cNvSpPr/>
          <p:nvPr>
            <p:custDataLst>
              <p:tags r:id="rId10"/>
            </p:custDataLst>
          </p:nvPr>
        </p:nvSpPr>
        <p:spPr bwMode="gray">
          <a:xfrm>
            <a:off x="8922128" y="3313668"/>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7</a:t>
            </a:r>
          </a:p>
        </p:txBody>
      </p:sp>
      <p:sp>
        <p:nvSpPr>
          <p:cNvPr id="229" name="Rechteck 228">
            <a:extLst>
              <a:ext uri="{FF2B5EF4-FFF2-40B4-BE49-F238E27FC236}">
                <a16:creationId xmlns:a16="http://schemas.microsoft.com/office/drawing/2014/main" id="{CFB87258-F801-48BA-B193-4053837C75F3}"/>
              </a:ext>
            </a:extLst>
          </p:cNvPr>
          <p:cNvSpPr/>
          <p:nvPr>
            <p:custDataLst>
              <p:tags r:id="rId11"/>
            </p:custDataLst>
          </p:nvPr>
        </p:nvSpPr>
        <p:spPr bwMode="gray">
          <a:xfrm>
            <a:off x="8748299" y="348893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3</a:t>
            </a:r>
          </a:p>
        </p:txBody>
      </p:sp>
      <p:sp>
        <p:nvSpPr>
          <p:cNvPr id="231" name="Rechteck 230">
            <a:extLst>
              <a:ext uri="{FF2B5EF4-FFF2-40B4-BE49-F238E27FC236}">
                <a16:creationId xmlns:a16="http://schemas.microsoft.com/office/drawing/2014/main" id="{4A824B33-3B0E-4E11-AD9A-B602B283BBF1}"/>
              </a:ext>
            </a:extLst>
          </p:cNvPr>
          <p:cNvSpPr/>
          <p:nvPr>
            <p:custDataLst>
              <p:tags r:id="rId12"/>
            </p:custDataLst>
          </p:nvPr>
        </p:nvSpPr>
        <p:spPr bwMode="gray">
          <a:xfrm>
            <a:off x="8251008" y="3045220"/>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21</a:t>
            </a:r>
          </a:p>
        </p:txBody>
      </p:sp>
      <p:sp>
        <p:nvSpPr>
          <p:cNvPr id="232" name="Rechteck 231">
            <a:extLst>
              <a:ext uri="{FF2B5EF4-FFF2-40B4-BE49-F238E27FC236}">
                <a16:creationId xmlns:a16="http://schemas.microsoft.com/office/drawing/2014/main" id="{2C697118-C9F2-4B6C-A7E4-EBA18D078C0B}"/>
              </a:ext>
            </a:extLst>
          </p:cNvPr>
          <p:cNvSpPr/>
          <p:nvPr>
            <p:custDataLst>
              <p:tags r:id="rId13"/>
            </p:custDataLst>
          </p:nvPr>
        </p:nvSpPr>
        <p:spPr bwMode="gray">
          <a:xfrm>
            <a:off x="8077179" y="3203707"/>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de-DE" sz="1200" dirty="0">
                <a:solidFill>
                  <a:schemeClr val="tx1"/>
                </a:solidFill>
              </a:rPr>
              <a:t>-14</a:t>
            </a:r>
            <a:endParaRPr lang="en-US" sz="1200" dirty="0">
              <a:solidFill>
                <a:schemeClr val="tx1"/>
              </a:solidFill>
            </a:endParaRPr>
          </a:p>
        </p:txBody>
      </p:sp>
      <p:cxnSp>
        <p:nvCxnSpPr>
          <p:cNvPr id="234" name="Gerade Verbindung 997">
            <a:extLst>
              <a:ext uri="{FF2B5EF4-FFF2-40B4-BE49-F238E27FC236}">
                <a16:creationId xmlns:a16="http://schemas.microsoft.com/office/drawing/2014/main" id="{8EE88C56-6909-49FC-BBED-DB298FDD9DAE}"/>
              </a:ext>
            </a:extLst>
          </p:cNvPr>
          <p:cNvCxnSpPr>
            <a:cxnSpLocks/>
          </p:cNvCxnSpPr>
          <p:nvPr>
            <p:custDataLst>
              <p:tags r:id="rId14"/>
            </p:custDataLst>
          </p:nvPr>
        </p:nvCxnSpPr>
        <p:spPr bwMode="gray">
          <a:xfrm flipV="1">
            <a:off x="7661884" y="3011687"/>
            <a:ext cx="501800" cy="6148"/>
          </a:xfrm>
          <a:prstGeom prst="line">
            <a:avLst/>
          </a:prstGeom>
          <a:ln cap="rnd">
            <a:solidFill>
              <a:schemeClr val="tx1"/>
            </a:solidFill>
            <a:headEnd type="oval" w="sm" len="sm"/>
            <a:tailEnd type="none"/>
          </a:ln>
        </p:spPr>
        <p:style>
          <a:lnRef idx="1">
            <a:schemeClr val="accent1"/>
          </a:lnRef>
          <a:fillRef idx="0">
            <a:schemeClr val="accent1"/>
          </a:fillRef>
          <a:effectRef idx="0">
            <a:schemeClr val="accent1"/>
          </a:effectRef>
          <a:fontRef idx="minor">
            <a:schemeClr val="tx1"/>
          </a:fontRef>
        </p:style>
      </p:cxnSp>
      <p:cxnSp>
        <p:nvCxnSpPr>
          <p:cNvPr id="236" name="Gerade Verbindung 997">
            <a:extLst>
              <a:ext uri="{FF2B5EF4-FFF2-40B4-BE49-F238E27FC236}">
                <a16:creationId xmlns:a16="http://schemas.microsoft.com/office/drawing/2014/main" id="{C6C32F3A-6671-4349-A6A1-CC38BECDC670}"/>
              </a:ext>
            </a:extLst>
          </p:cNvPr>
          <p:cNvCxnSpPr>
            <a:cxnSpLocks/>
          </p:cNvCxnSpPr>
          <p:nvPr>
            <p:custDataLst>
              <p:tags r:id="rId15"/>
            </p:custDataLst>
          </p:nvPr>
        </p:nvCxnSpPr>
        <p:spPr bwMode="gray">
          <a:xfrm>
            <a:off x="7570665" y="3624157"/>
            <a:ext cx="1734013" cy="21582"/>
          </a:xfrm>
          <a:prstGeom prst="line">
            <a:avLst/>
          </a:prstGeom>
          <a:ln cap="rnd">
            <a:solidFill>
              <a:schemeClr val="tx1"/>
            </a:solidFill>
            <a:headEnd type="oval" w="sm" len="sm"/>
            <a:tailEnd type="none"/>
          </a:ln>
        </p:spPr>
        <p:style>
          <a:lnRef idx="1">
            <a:schemeClr val="accent1"/>
          </a:lnRef>
          <a:fillRef idx="0">
            <a:schemeClr val="accent1"/>
          </a:fillRef>
          <a:effectRef idx="0">
            <a:schemeClr val="accent1"/>
          </a:effectRef>
          <a:fontRef idx="minor">
            <a:schemeClr val="tx1"/>
          </a:fontRef>
        </p:style>
      </p:cxnSp>
      <p:cxnSp>
        <p:nvCxnSpPr>
          <p:cNvPr id="237" name="Gerade Verbindung 997">
            <a:extLst>
              <a:ext uri="{FF2B5EF4-FFF2-40B4-BE49-F238E27FC236}">
                <a16:creationId xmlns:a16="http://schemas.microsoft.com/office/drawing/2014/main" id="{CD2B5108-3EF0-4A96-B43A-7F85682C3B3E}"/>
              </a:ext>
            </a:extLst>
          </p:cNvPr>
          <p:cNvCxnSpPr>
            <a:cxnSpLocks/>
          </p:cNvCxnSpPr>
          <p:nvPr>
            <p:custDataLst>
              <p:tags r:id="rId16"/>
            </p:custDataLst>
          </p:nvPr>
        </p:nvCxnSpPr>
        <p:spPr bwMode="gray">
          <a:xfrm>
            <a:off x="7688405" y="3355417"/>
            <a:ext cx="932277" cy="10593"/>
          </a:xfrm>
          <a:prstGeom prst="line">
            <a:avLst/>
          </a:prstGeom>
          <a:ln cap="rnd">
            <a:solidFill>
              <a:schemeClr val="tx1"/>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238" name="Rechteck 237">
            <a:extLst>
              <a:ext uri="{FF2B5EF4-FFF2-40B4-BE49-F238E27FC236}">
                <a16:creationId xmlns:a16="http://schemas.microsoft.com/office/drawing/2014/main" id="{A3D78A8D-084A-433B-BE49-0148CE372A67}"/>
              </a:ext>
            </a:extLst>
          </p:cNvPr>
          <p:cNvSpPr/>
          <p:nvPr>
            <p:custDataLst>
              <p:tags r:id="rId17"/>
            </p:custDataLst>
          </p:nvPr>
        </p:nvSpPr>
        <p:spPr bwMode="gray">
          <a:xfrm>
            <a:off x="5802818" y="2962728"/>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9</a:t>
            </a:r>
          </a:p>
        </p:txBody>
      </p:sp>
      <p:sp>
        <p:nvSpPr>
          <p:cNvPr id="239" name="Rechteck 238">
            <a:extLst>
              <a:ext uri="{FF2B5EF4-FFF2-40B4-BE49-F238E27FC236}">
                <a16:creationId xmlns:a16="http://schemas.microsoft.com/office/drawing/2014/main" id="{3A57E9E1-33CA-4D58-B82D-FC112D49872B}"/>
              </a:ext>
            </a:extLst>
          </p:cNvPr>
          <p:cNvSpPr/>
          <p:nvPr>
            <p:custDataLst>
              <p:tags r:id="rId18"/>
            </p:custDataLst>
          </p:nvPr>
        </p:nvSpPr>
        <p:spPr bwMode="gray">
          <a:xfrm>
            <a:off x="5628989" y="313799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6</a:t>
            </a:r>
          </a:p>
        </p:txBody>
      </p:sp>
      <p:sp>
        <p:nvSpPr>
          <p:cNvPr id="241" name="Rechteck 240">
            <a:extLst>
              <a:ext uri="{FF2B5EF4-FFF2-40B4-BE49-F238E27FC236}">
                <a16:creationId xmlns:a16="http://schemas.microsoft.com/office/drawing/2014/main" id="{78886C40-9725-46FE-A31F-00AC3D709778}"/>
              </a:ext>
            </a:extLst>
          </p:cNvPr>
          <p:cNvSpPr/>
          <p:nvPr>
            <p:custDataLst>
              <p:tags r:id="rId19"/>
            </p:custDataLst>
          </p:nvPr>
        </p:nvSpPr>
        <p:spPr bwMode="gray">
          <a:xfrm>
            <a:off x="11015885" y="557937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32</a:t>
            </a:r>
          </a:p>
        </p:txBody>
      </p:sp>
      <p:sp>
        <p:nvSpPr>
          <p:cNvPr id="242" name="Rechteck 241">
            <a:extLst>
              <a:ext uri="{FF2B5EF4-FFF2-40B4-BE49-F238E27FC236}">
                <a16:creationId xmlns:a16="http://schemas.microsoft.com/office/drawing/2014/main" id="{EE1671ED-38D7-475B-B5F3-473E3CE3A83B}"/>
              </a:ext>
            </a:extLst>
          </p:cNvPr>
          <p:cNvSpPr/>
          <p:nvPr>
            <p:custDataLst>
              <p:tags r:id="rId20"/>
            </p:custDataLst>
          </p:nvPr>
        </p:nvSpPr>
        <p:spPr bwMode="gray">
          <a:xfrm>
            <a:off x="10823857" y="577141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3</a:t>
            </a:r>
          </a:p>
        </p:txBody>
      </p:sp>
      <p:sp>
        <p:nvSpPr>
          <p:cNvPr id="244" name="Rechteck 243">
            <a:extLst>
              <a:ext uri="{FF2B5EF4-FFF2-40B4-BE49-F238E27FC236}">
                <a16:creationId xmlns:a16="http://schemas.microsoft.com/office/drawing/2014/main" id="{F9061F18-33CD-4043-9AC6-AD32872EF77B}"/>
              </a:ext>
            </a:extLst>
          </p:cNvPr>
          <p:cNvSpPr/>
          <p:nvPr>
            <p:custDataLst>
              <p:tags r:id="rId21"/>
            </p:custDataLst>
          </p:nvPr>
        </p:nvSpPr>
        <p:spPr bwMode="gray">
          <a:xfrm>
            <a:off x="6509571" y="5181015"/>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24</a:t>
            </a:r>
          </a:p>
        </p:txBody>
      </p:sp>
      <p:sp>
        <p:nvSpPr>
          <p:cNvPr id="245" name="Rechteck 244">
            <a:extLst>
              <a:ext uri="{FF2B5EF4-FFF2-40B4-BE49-F238E27FC236}">
                <a16:creationId xmlns:a16="http://schemas.microsoft.com/office/drawing/2014/main" id="{4BFA3DBF-115D-4292-8D6D-0967618A0F6E}"/>
              </a:ext>
            </a:extLst>
          </p:cNvPr>
          <p:cNvSpPr/>
          <p:nvPr>
            <p:custDataLst>
              <p:tags r:id="rId22"/>
            </p:custDataLst>
          </p:nvPr>
        </p:nvSpPr>
        <p:spPr bwMode="gray">
          <a:xfrm>
            <a:off x="6340718" y="5345016"/>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7</a:t>
            </a:r>
          </a:p>
        </p:txBody>
      </p:sp>
      <p:sp>
        <p:nvSpPr>
          <p:cNvPr id="251" name="Rechteck 250">
            <a:extLst>
              <a:ext uri="{FF2B5EF4-FFF2-40B4-BE49-F238E27FC236}">
                <a16:creationId xmlns:a16="http://schemas.microsoft.com/office/drawing/2014/main" id="{7C3D59A1-522F-4956-BEA3-9984F9522922}"/>
              </a:ext>
            </a:extLst>
          </p:cNvPr>
          <p:cNvSpPr/>
          <p:nvPr>
            <p:custDataLst>
              <p:tags r:id="rId23"/>
            </p:custDataLst>
          </p:nvPr>
        </p:nvSpPr>
        <p:spPr bwMode="gray">
          <a:xfrm>
            <a:off x="6779355" y="4688628"/>
            <a:ext cx="384000" cy="21113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5</a:t>
            </a:r>
          </a:p>
        </p:txBody>
      </p:sp>
      <p:sp>
        <p:nvSpPr>
          <p:cNvPr id="252" name="Rechteck 251">
            <a:extLst>
              <a:ext uri="{FF2B5EF4-FFF2-40B4-BE49-F238E27FC236}">
                <a16:creationId xmlns:a16="http://schemas.microsoft.com/office/drawing/2014/main" id="{018A02F7-8F7F-4EB1-9726-499D82D3F751}"/>
              </a:ext>
            </a:extLst>
          </p:cNvPr>
          <p:cNvSpPr/>
          <p:nvPr>
            <p:custDataLst>
              <p:tags r:id="rId24"/>
            </p:custDataLst>
          </p:nvPr>
        </p:nvSpPr>
        <p:spPr bwMode="gray">
          <a:xfrm>
            <a:off x="6587331" y="4865886"/>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GB" sz="1200" dirty="0">
                <a:solidFill>
                  <a:schemeClr val="tx1"/>
                </a:solidFill>
              </a:rPr>
              <a:t>+4</a:t>
            </a:r>
            <a:endParaRPr lang="en-US" sz="1200" dirty="0">
              <a:solidFill>
                <a:schemeClr val="tx1"/>
              </a:solidFill>
            </a:endParaRPr>
          </a:p>
        </p:txBody>
      </p:sp>
      <p:sp>
        <p:nvSpPr>
          <p:cNvPr id="253" name="Ellipse 252">
            <a:extLst>
              <a:ext uri="{FF2B5EF4-FFF2-40B4-BE49-F238E27FC236}">
                <a16:creationId xmlns:a16="http://schemas.microsoft.com/office/drawing/2014/main" id="{F4F91C04-4371-4E05-BA26-03D5721D752E}"/>
              </a:ext>
            </a:extLst>
          </p:cNvPr>
          <p:cNvSpPr/>
          <p:nvPr>
            <p:custDataLst>
              <p:tags r:id="rId25"/>
            </p:custDataLst>
          </p:nvPr>
        </p:nvSpPr>
        <p:spPr bwMode="gray">
          <a:xfrm>
            <a:off x="6111732" y="5985513"/>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75" name="Ellipse 1037">
            <a:extLst>
              <a:ext uri="{FF2B5EF4-FFF2-40B4-BE49-F238E27FC236}">
                <a16:creationId xmlns:a16="http://schemas.microsoft.com/office/drawing/2014/main" id="{D34A905F-B3B6-4069-A0BE-6C197E4D512E}"/>
              </a:ext>
            </a:extLst>
          </p:cNvPr>
          <p:cNvSpPr/>
          <p:nvPr>
            <p:custDataLst>
              <p:tags r:id="rId26"/>
            </p:custDataLst>
          </p:nvPr>
        </p:nvSpPr>
        <p:spPr bwMode="gray">
          <a:xfrm rot="10627972">
            <a:off x="5119840" y="4705394"/>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54" name="Ellipse 983">
            <a:extLst>
              <a:ext uri="{FF2B5EF4-FFF2-40B4-BE49-F238E27FC236}">
                <a16:creationId xmlns:a16="http://schemas.microsoft.com/office/drawing/2014/main" id="{59373F5E-AA02-413D-BB45-4AF3B94EDECF}"/>
              </a:ext>
            </a:extLst>
          </p:cNvPr>
          <p:cNvSpPr/>
          <p:nvPr>
            <p:custDataLst>
              <p:tags r:id="rId27"/>
            </p:custDataLst>
          </p:nvPr>
        </p:nvSpPr>
        <p:spPr bwMode="gray">
          <a:xfrm rot="10511843">
            <a:off x="7530689" y="2402379"/>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80" name="Ellipse 1037">
            <a:extLst>
              <a:ext uri="{FF2B5EF4-FFF2-40B4-BE49-F238E27FC236}">
                <a16:creationId xmlns:a16="http://schemas.microsoft.com/office/drawing/2014/main" id="{933BDD1C-5632-499C-9A76-79C67B9C2EB8}"/>
              </a:ext>
            </a:extLst>
          </p:cNvPr>
          <p:cNvSpPr/>
          <p:nvPr>
            <p:custDataLst>
              <p:tags r:id="rId28"/>
            </p:custDataLst>
          </p:nvPr>
        </p:nvSpPr>
        <p:spPr bwMode="gray">
          <a:xfrm>
            <a:off x="8485311" y="3208358"/>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83" name="Ellipse 1037">
            <a:extLst>
              <a:ext uri="{FF2B5EF4-FFF2-40B4-BE49-F238E27FC236}">
                <a16:creationId xmlns:a16="http://schemas.microsoft.com/office/drawing/2014/main" id="{F4CB7C4C-C0F7-4A2B-8682-F65EF7996F09}"/>
              </a:ext>
            </a:extLst>
          </p:cNvPr>
          <p:cNvSpPr/>
          <p:nvPr>
            <p:custDataLst>
              <p:tags r:id="rId29"/>
            </p:custDataLst>
          </p:nvPr>
        </p:nvSpPr>
        <p:spPr bwMode="gray">
          <a:xfrm rot="13713695">
            <a:off x="11246932" y="5774523"/>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89" name="Ellipse 1037">
            <a:extLst>
              <a:ext uri="{FF2B5EF4-FFF2-40B4-BE49-F238E27FC236}">
                <a16:creationId xmlns:a16="http://schemas.microsoft.com/office/drawing/2014/main" id="{D8190AF7-3C6B-4C6E-80B9-3631C63DC718}"/>
              </a:ext>
            </a:extLst>
          </p:cNvPr>
          <p:cNvSpPr/>
          <p:nvPr>
            <p:custDataLst>
              <p:tags r:id="rId30"/>
            </p:custDataLst>
          </p:nvPr>
        </p:nvSpPr>
        <p:spPr bwMode="gray">
          <a:xfrm rot="10800000">
            <a:off x="2423592" y="3326359"/>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15" name="Ellipse 983">
            <a:extLst>
              <a:ext uri="{FF2B5EF4-FFF2-40B4-BE49-F238E27FC236}">
                <a16:creationId xmlns:a16="http://schemas.microsoft.com/office/drawing/2014/main" id="{18A568CA-28D4-4B11-912F-9F671F078D77}"/>
              </a:ext>
            </a:extLst>
          </p:cNvPr>
          <p:cNvSpPr/>
          <p:nvPr>
            <p:custDataLst>
              <p:tags r:id="rId31"/>
            </p:custDataLst>
          </p:nvPr>
        </p:nvSpPr>
        <p:spPr bwMode="gray">
          <a:xfrm rot="18492364">
            <a:off x="3301187" y="5119124"/>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18" name="Ellipse 983">
            <a:extLst>
              <a:ext uri="{FF2B5EF4-FFF2-40B4-BE49-F238E27FC236}">
                <a16:creationId xmlns:a16="http://schemas.microsoft.com/office/drawing/2014/main" id="{A1F7EA38-8AEA-43F8-8697-698C2364307D}"/>
              </a:ext>
            </a:extLst>
          </p:cNvPr>
          <p:cNvSpPr/>
          <p:nvPr>
            <p:custDataLst>
              <p:tags r:id="rId32"/>
            </p:custDataLst>
          </p:nvPr>
        </p:nvSpPr>
        <p:spPr bwMode="gray">
          <a:xfrm rot="16200000">
            <a:off x="6002091" y="4192846"/>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19" name="Ellipse 929">
            <a:extLst>
              <a:ext uri="{FF2B5EF4-FFF2-40B4-BE49-F238E27FC236}">
                <a16:creationId xmlns:a16="http://schemas.microsoft.com/office/drawing/2014/main" id="{D85BBADC-349C-4512-9905-BB0352B5DC59}"/>
              </a:ext>
            </a:extLst>
          </p:cNvPr>
          <p:cNvSpPr/>
          <p:nvPr>
            <p:custDataLst>
              <p:tags r:id="rId33"/>
            </p:custDataLst>
          </p:nvPr>
        </p:nvSpPr>
        <p:spPr bwMode="gray">
          <a:xfrm rot="16628263">
            <a:off x="3766433" y="3940800"/>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23" name="Ellipse 929">
            <a:extLst>
              <a:ext uri="{FF2B5EF4-FFF2-40B4-BE49-F238E27FC236}">
                <a16:creationId xmlns:a16="http://schemas.microsoft.com/office/drawing/2014/main" id="{8C30560A-F717-4E29-B9AF-45C6B212C6A4}"/>
              </a:ext>
            </a:extLst>
          </p:cNvPr>
          <p:cNvSpPr/>
          <p:nvPr>
            <p:custDataLst>
              <p:tags r:id="rId34"/>
            </p:custDataLst>
          </p:nvPr>
        </p:nvSpPr>
        <p:spPr bwMode="gray">
          <a:xfrm rot="13350721">
            <a:off x="6511517" y="4793792"/>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48" name="Ellipse 247">
            <a:extLst>
              <a:ext uri="{FF2B5EF4-FFF2-40B4-BE49-F238E27FC236}">
                <a16:creationId xmlns:a16="http://schemas.microsoft.com/office/drawing/2014/main" id="{EFFA6147-A84E-4F5F-96F1-DE33E8AEE851}"/>
              </a:ext>
            </a:extLst>
          </p:cNvPr>
          <p:cNvSpPr/>
          <p:nvPr>
            <p:custDataLst>
              <p:tags r:id="rId35"/>
            </p:custDataLst>
          </p:nvPr>
        </p:nvSpPr>
        <p:spPr bwMode="gray">
          <a:xfrm rot="16200000">
            <a:off x="7806535" y="5530443"/>
            <a:ext cx="143999"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59" name="Ellipse 1037">
            <a:extLst>
              <a:ext uri="{FF2B5EF4-FFF2-40B4-BE49-F238E27FC236}">
                <a16:creationId xmlns:a16="http://schemas.microsoft.com/office/drawing/2014/main" id="{560E1B6C-B3DA-4FA0-967A-F7A428F5C7BD}"/>
              </a:ext>
            </a:extLst>
          </p:cNvPr>
          <p:cNvSpPr/>
          <p:nvPr>
            <p:custDataLst>
              <p:tags r:id="rId36"/>
            </p:custDataLst>
          </p:nvPr>
        </p:nvSpPr>
        <p:spPr bwMode="gray">
          <a:xfrm rot="16200000">
            <a:off x="9468469" y="4369980"/>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4" name="Ellipse 263">
            <a:extLst>
              <a:ext uri="{FF2B5EF4-FFF2-40B4-BE49-F238E27FC236}">
                <a16:creationId xmlns:a16="http://schemas.microsoft.com/office/drawing/2014/main" id="{AFB13DC7-46B1-4E0C-B14B-5BBCE210F649}"/>
              </a:ext>
            </a:extLst>
          </p:cNvPr>
          <p:cNvSpPr/>
          <p:nvPr>
            <p:custDataLst>
              <p:tags r:id="rId37"/>
            </p:custDataLst>
          </p:nvPr>
        </p:nvSpPr>
        <p:spPr bwMode="gray">
          <a:xfrm>
            <a:off x="6748457" y="5331906"/>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6" name="Ellipse 265">
            <a:extLst>
              <a:ext uri="{FF2B5EF4-FFF2-40B4-BE49-F238E27FC236}">
                <a16:creationId xmlns:a16="http://schemas.microsoft.com/office/drawing/2014/main" id="{B7382FE1-DF90-4CB9-812A-5843E63FDAFE}"/>
              </a:ext>
            </a:extLst>
          </p:cNvPr>
          <p:cNvSpPr/>
          <p:nvPr>
            <p:custDataLst>
              <p:tags r:id="rId38"/>
            </p:custDataLst>
          </p:nvPr>
        </p:nvSpPr>
        <p:spPr bwMode="gray">
          <a:xfrm rot="5585018">
            <a:off x="4132165" y="5490606"/>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84" name="Ellipse 929">
            <a:extLst>
              <a:ext uri="{FF2B5EF4-FFF2-40B4-BE49-F238E27FC236}">
                <a16:creationId xmlns:a16="http://schemas.microsoft.com/office/drawing/2014/main" id="{53AA3BDA-6014-4041-A759-DC4BABD36684}"/>
              </a:ext>
            </a:extLst>
          </p:cNvPr>
          <p:cNvSpPr/>
          <p:nvPr>
            <p:custDataLst>
              <p:tags r:id="rId39"/>
            </p:custDataLst>
          </p:nvPr>
        </p:nvSpPr>
        <p:spPr bwMode="gray">
          <a:xfrm rot="2841992">
            <a:off x="8420111" y="4233015"/>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194" name="Ellipse 983">
            <a:extLst>
              <a:ext uri="{FF2B5EF4-FFF2-40B4-BE49-F238E27FC236}">
                <a16:creationId xmlns:a16="http://schemas.microsoft.com/office/drawing/2014/main" id="{0D6E7686-9A31-4E0A-8DA0-5AB3D79767A6}"/>
              </a:ext>
            </a:extLst>
          </p:cNvPr>
          <p:cNvSpPr/>
          <p:nvPr>
            <p:custDataLst>
              <p:tags r:id="rId40"/>
            </p:custDataLst>
          </p:nvPr>
        </p:nvSpPr>
        <p:spPr bwMode="gray">
          <a:xfrm rot="18318382">
            <a:off x="8884882" y="6419480"/>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00" name="Ellipse 199">
            <a:extLst>
              <a:ext uri="{FF2B5EF4-FFF2-40B4-BE49-F238E27FC236}">
                <a16:creationId xmlns:a16="http://schemas.microsoft.com/office/drawing/2014/main" id="{78CE1C28-9E48-491D-A6DF-FF81A59B7F6E}"/>
              </a:ext>
            </a:extLst>
          </p:cNvPr>
          <p:cNvSpPr/>
          <p:nvPr>
            <p:custDataLst>
              <p:tags r:id="rId41"/>
            </p:custDataLst>
          </p:nvPr>
        </p:nvSpPr>
        <p:spPr bwMode="gray">
          <a:xfrm rot="5400000">
            <a:off x="7819791" y="6074023"/>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02" name="Ellipse 201">
            <a:extLst>
              <a:ext uri="{FF2B5EF4-FFF2-40B4-BE49-F238E27FC236}">
                <a16:creationId xmlns:a16="http://schemas.microsoft.com/office/drawing/2014/main" id="{D90A99EB-9963-4385-B4C6-22B26D54FF85}"/>
              </a:ext>
            </a:extLst>
          </p:cNvPr>
          <p:cNvSpPr/>
          <p:nvPr>
            <p:custDataLst>
              <p:tags r:id="rId42"/>
            </p:custDataLst>
          </p:nvPr>
        </p:nvSpPr>
        <p:spPr bwMode="gray">
          <a:xfrm rot="7889736">
            <a:off x="9165515" y="3487421"/>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03" name="Ellipse 202">
            <a:extLst>
              <a:ext uri="{FF2B5EF4-FFF2-40B4-BE49-F238E27FC236}">
                <a16:creationId xmlns:a16="http://schemas.microsoft.com/office/drawing/2014/main" id="{9FFC51E1-A019-49AF-91CA-E0AAADC52F85}"/>
              </a:ext>
            </a:extLst>
          </p:cNvPr>
          <p:cNvSpPr/>
          <p:nvPr>
            <p:custDataLst>
              <p:tags r:id="rId43"/>
            </p:custDataLst>
          </p:nvPr>
        </p:nvSpPr>
        <p:spPr bwMode="gray">
          <a:xfrm rot="21438938">
            <a:off x="5618377" y="3704381"/>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33" name="Ellipse 232">
            <a:extLst>
              <a:ext uri="{FF2B5EF4-FFF2-40B4-BE49-F238E27FC236}">
                <a16:creationId xmlns:a16="http://schemas.microsoft.com/office/drawing/2014/main" id="{AC49F3A4-FC90-4C60-8B12-6D88402BA052}"/>
              </a:ext>
            </a:extLst>
          </p:cNvPr>
          <p:cNvSpPr/>
          <p:nvPr>
            <p:custDataLst>
              <p:tags r:id="rId44"/>
            </p:custDataLst>
          </p:nvPr>
        </p:nvSpPr>
        <p:spPr bwMode="gray">
          <a:xfrm rot="19138221">
            <a:off x="7015831" y="4871226"/>
            <a:ext cx="143999"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47" name="Ellipse 983">
            <a:extLst>
              <a:ext uri="{FF2B5EF4-FFF2-40B4-BE49-F238E27FC236}">
                <a16:creationId xmlns:a16="http://schemas.microsoft.com/office/drawing/2014/main" id="{1C175489-E46E-41DD-8179-592B0DC602C1}"/>
              </a:ext>
            </a:extLst>
          </p:cNvPr>
          <p:cNvSpPr/>
          <p:nvPr>
            <p:custDataLst>
              <p:tags r:id="rId45"/>
            </p:custDataLst>
          </p:nvPr>
        </p:nvSpPr>
        <p:spPr bwMode="gray">
          <a:xfrm rot="10800000">
            <a:off x="7031277" y="4045899"/>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96" name="Ellipse 295">
            <a:extLst>
              <a:ext uri="{FF2B5EF4-FFF2-40B4-BE49-F238E27FC236}">
                <a16:creationId xmlns:a16="http://schemas.microsoft.com/office/drawing/2014/main" id="{72A2A59C-3FE1-47B8-B5ED-045CE05191E1}"/>
              </a:ext>
            </a:extLst>
          </p:cNvPr>
          <p:cNvSpPr/>
          <p:nvPr>
            <p:custDataLst>
              <p:tags r:id="rId46"/>
            </p:custDataLst>
          </p:nvPr>
        </p:nvSpPr>
        <p:spPr bwMode="gray">
          <a:xfrm rot="16200000">
            <a:off x="6663513" y="2875843"/>
            <a:ext cx="143999"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97" name="Ellipse 296">
            <a:extLst>
              <a:ext uri="{FF2B5EF4-FFF2-40B4-BE49-F238E27FC236}">
                <a16:creationId xmlns:a16="http://schemas.microsoft.com/office/drawing/2014/main" id="{8B9B7FC3-1C80-4762-B789-91830B8B65F0}"/>
              </a:ext>
            </a:extLst>
          </p:cNvPr>
          <p:cNvSpPr/>
          <p:nvPr>
            <p:custDataLst>
              <p:tags r:id="rId47"/>
            </p:custDataLst>
          </p:nvPr>
        </p:nvSpPr>
        <p:spPr bwMode="gray">
          <a:xfrm rot="16553921">
            <a:off x="6065351" y="3135496"/>
            <a:ext cx="143999"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300" name="Ellipse 299">
            <a:extLst>
              <a:ext uri="{FF2B5EF4-FFF2-40B4-BE49-F238E27FC236}">
                <a16:creationId xmlns:a16="http://schemas.microsoft.com/office/drawing/2014/main" id="{A5D0D770-55B4-4341-B6B0-43E1E695AAD7}"/>
              </a:ext>
            </a:extLst>
          </p:cNvPr>
          <p:cNvSpPr/>
          <p:nvPr>
            <p:custDataLst>
              <p:tags r:id="rId48"/>
            </p:custDataLst>
          </p:nvPr>
        </p:nvSpPr>
        <p:spPr bwMode="gray">
          <a:xfrm rot="21436086">
            <a:off x="8107076" y="2839199"/>
            <a:ext cx="143999"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304" name="Rechteck 303">
            <a:extLst>
              <a:ext uri="{FF2B5EF4-FFF2-40B4-BE49-F238E27FC236}">
                <a16:creationId xmlns:a16="http://schemas.microsoft.com/office/drawing/2014/main" id="{B0D6FBFF-3BA4-411A-9B21-F1C9727D2FB8}"/>
              </a:ext>
            </a:extLst>
          </p:cNvPr>
          <p:cNvSpPr/>
          <p:nvPr>
            <p:custDataLst>
              <p:tags r:id="rId49"/>
            </p:custDataLst>
          </p:nvPr>
        </p:nvSpPr>
        <p:spPr bwMode="gray">
          <a:xfrm>
            <a:off x="8844185" y="493167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2</a:t>
            </a:r>
          </a:p>
        </p:txBody>
      </p:sp>
      <p:sp>
        <p:nvSpPr>
          <p:cNvPr id="305" name="Rechteck 304">
            <a:extLst>
              <a:ext uri="{FF2B5EF4-FFF2-40B4-BE49-F238E27FC236}">
                <a16:creationId xmlns:a16="http://schemas.microsoft.com/office/drawing/2014/main" id="{CBAB3C64-2E25-468C-BA98-2D6D7A6AC8E7}"/>
              </a:ext>
            </a:extLst>
          </p:cNvPr>
          <p:cNvSpPr/>
          <p:nvPr>
            <p:custDataLst>
              <p:tags r:id="rId50"/>
            </p:custDataLst>
          </p:nvPr>
        </p:nvSpPr>
        <p:spPr bwMode="gray">
          <a:xfrm>
            <a:off x="8652157" y="512371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19</a:t>
            </a:r>
          </a:p>
        </p:txBody>
      </p:sp>
      <p:sp>
        <p:nvSpPr>
          <p:cNvPr id="306" name="Ellipse 983">
            <a:extLst>
              <a:ext uri="{FF2B5EF4-FFF2-40B4-BE49-F238E27FC236}">
                <a16:creationId xmlns:a16="http://schemas.microsoft.com/office/drawing/2014/main" id="{EE66F744-5A57-40C7-A8B5-061BCAD54925}"/>
              </a:ext>
            </a:extLst>
          </p:cNvPr>
          <p:cNvSpPr/>
          <p:nvPr>
            <p:custDataLst>
              <p:tags r:id="rId51"/>
            </p:custDataLst>
          </p:nvPr>
        </p:nvSpPr>
        <p:spPr bwMode="gray">
          <a:xfrm rot="11043712">
            <a:off x="9084185" y="5134974"/>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cxnSp>
        <p:nvCxnSpPr>
          <p:cNvPr id="308" name="Gerade Verbindung 997">
            <a:extLst>
              <a:ext uri="{FF2B5EF4-FFF2-40B4-BE49-F238E27FC236}">
                <a16:creationId xmlns:a16="http://schemas.microsoft.com/office/drawing/2014/main" id="{99FF05E1-1372-440E-81B7-E1A634BC3EAE}"/>
              </a:ext>
            </a:extLst>
          </p:cNvPr>
          <p:cNvCxnSpPr>
            <a:cxnSpLocks/>
          </p:cNvCxnSpPr>
          <p:nvPr>
            <p:custDataLst>
              <p:tags r:id="rId52"/>
            </p:custDataLst>
          </p:nvPr>
        </p:nvCxnSpPr>
        <p:spPr bwMode="gray">
          <a:xfrm>
            <a:off x="7161154" y="5300433"/>
            <a:ext cx="2091556" cy="20847"/>
          </a:xfrm>
          <a:prstGeom prst="line">
            <a:avLst/>
          </a:prstGeom>
          <a:ln cap="rnd">
            <a:solidFill>
              <a:schemeClr val="tx1"/>
            </a:solidFill>
            <a:headEnd type="oval" w="sm" len="sm"/>
            <a:tailEnd type="none"/>
          </a:ln>
          <a:effectLst/>
        </p:spPr>
        <p:style>
          <a:lnRef idx="1">
            <a:schemeClr val="accent1"/>
          </a:lnRef>
          <a:fillRef idx="0">
            <a:schemeClr val="accent1"/>
          </a:fillRef>
          <a:effectRef idx="0">
            <a:schemeClr val="accent1"/>
          </a:effectRef>
          <a:fontRef idx="minor">
            <a:schemeClr val="tx1"/>
          </a:fontRef>
        </p:style>
      </p:cxnSp>
      <p:sp>
        <p:nvSpPr>
          <p:cNvPr id="199" name="Rechteck 198">
            <a:extLst>
              <a:ext uri="{FF2B5EF4-FFF2-40B4-BE49-F238E27FC236}">
                <a16:creationId xmlns:a16="http://schemas.microsoft.com/office/drawing/2014/main" id="{0AC29673-137D-4CEA-9463-1DC961D443DF}"/>
              </a:ext>
            </a:extLst>
          </p:cNvPr>
          <p:cNvSpPr/>
          <p:nvPr>
            <p:custDataLst>
              <p:tags r:id="rId53"/>
            </p:custDataLst>
          </p:nvPr>
        </p:nvSpPr>
        <p:spPr bwMode="gray">
          <a:xfrm>
            <a:off x="4748963" y="3517489"/>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6</a:t>
            </a:r>
          </a:p>
        </p:txBody>
      </p:sp>
      <p:sp>
        <p:nvSpPr>
          <p:cNvPr id="204" name="Rechteck 203">
            <a:extLst>
              <a:ext uri="{FF2B5EF4-FFF2-40B4-BE49-F238E27FC236}">
                <a16:creationId xmlns:a16="http://schemas.microsoft.com/office/drawing/2014/main" id="{3A6B48CE-9A84-45BD-A5D5-03F4897847A8}"/>
              </a:ext>
            </a:extLst>
          </p:cNvPr>
          <p:cNvSpPr/>
          <p:nvPr>
            <p:custDataLst>
              <p:tags r:id="rId54"/>
            </p:custDataLst>
          </p:nvPr>
        </p:nvSpPr>
        <p:spPr bwMode="gray">
          <a:xfrm>
            <a:off x="4575134" y="3709532"/>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9</a:t>
            </a:r>
          </a:p>
        </p:txBody>
      </p:sp>
      <p:sp>
        <p:nvSpPr>
          <p:cNvPr id="205" name="Ellipse 204">
            <a:extLst>
              <a:ext uri="{FF2B5EF4-FFF2-40B4-BE49-F238E27FC236}">
                <a16:creationId xmlns:a16="http://schemas.microsoft.com/office/drawing/2014/main" id="{AAD017F5-3E96-4D9D-AAF2-A6CE4F41982D}"/>
              </a:ext>
            </a:extLst>
          </p:cNvPr>
          <p:cNvSpPr/>
          <p:nvPr>
            <p:custDataLst>
              <p:tags r:id="rId55"/>
            </p:custDataLst>
          </p:nvPr>
        </p:nvSpPr>
        <p:spPr bwMode="gray">
          <a:xfrm>
            <a:off x="4976071" y="3695924"/>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20" name="Freihandform: Form 219">
            <a:extLst>
              <a:ext uri="{FF2B5EF4-FFF2-40B4-BE49-F238E27FC236}">
                <a16:creationId xmlns:a16="http://schemas.microsoft.com/office/drawing/2014/main" id="{F85EA5AC-AEEE-4642-97CC-16E0D34B9340}"/>
              </a:ext>
            </a:extLst>
          </p:cNvPr>
          <p:cNvSpPr/>
          <p:nvPr/>
        </p:nvSpPr>
        <p:spPr>
          <a:xfrm>
            <a:off x="8018304" y="4848334"/>
            <a:ext cx="196724" cy="128042"/>
          </a:xfrm>
          <a:custGeom>
            <a:avLst/>
            <a:gdLst>
              <a:gd name="connsiteX0" fmla="*/ 0 w 196724"/>
              <a:gd name="connsiteY0" fmla="*/ 128042 h 128042"/>
              <a:gd name="connsiteX1" fmla="*/ 3643 w 196724"/>
              <a:gd name="connsiteY1" fmla="*/ 109827 h 128042"/>
              <a:gd name="connsiteX2" fmla="*/ 14572 w 196724"/>
              <a:gd name="connsiteY2" fmla="*/ 102541 h 128042"/>
              <a:gd name="connsiteX3" fmla="*/ 21859 w 196724"/>
              <a:gd name="connsiteY3" fmla="*/ 91612 h 128042"/>
              <a:gd name="connsiteX4" fmla="*/ 32788 w 196724"/>
              <a:gd name="connsiteY4" fmla="*/ 87969 h 128042"/>
              <a:gd name="connsiteX5" fmla="*/ 76504 w 196724"/>
              <a:gd name="connsiteY5" fmla="*/ 84326 h 128042"/>
              <a:gd name="connsiteX6" fmla="*/ 54646 w 196724"/>
              <a:gd name="connsiteY6" fmla="*/ 51539 h 128042"/>
              <a:gd name="connsiteX7" fmla="*/ 58289 w 196724"/>
              <a:gd name="connsiteY7" fmla="*/ 26037 h 128042"/>
              <a:gd name="connsiteX8" fmla="*/ 69218 w 196724"/>
              <a:gd name="connsiteY8" fmla="*/ 22394 h 128042"/>
              <a:gd name="connsiteX9" fmla="*/ 80147 w 196724"/>
              <a:gd name="connsiteY9" fmla="*/ 11465 h 128042"/>
              <a:gd name="connsiteX10" fmla="*/ 87433 w 196724"/>
              <a:gd name="connsiteY10" fmla="*/ 536 h 128042"/>
              <a:gd name="connsiteX11" fmla="*/ 131149 w 196724"/>
              <a:gd name="connsiteY11" fmla="*/ 4179 h 128042"/>
              <a:gd name="connsiteX12" fmla="*/ 196724 w 196724"/>
              <a:gd name="connsiteY12" fmla="*/ 11465 h 12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24" h="128042">
                <a:moveTo>
                  <a:pt x="0" y="128042"/>
                </a:moveTo>
                <a:cubicBezTo>
                  <a:pt x="1214" y="121970"/>
                  <a:pt x="571" y="115203"/>
                  <a:pt x="3643" y="109827"/>
                </a:cubicBezTo>
                <a:cubicBezTo>
                  <a:pt x="5815" y="106026"/>
                  <a:pt x="11476" y="105637"/>
                  <a:pt x="14572" y="102541"/>
                </a:cubicBezTo>
                <a:cubicBezTo>
                  <a:pt x="17668" y="99445"/>
                  <a:pt x="18440" y="94347"/>
                  <a:pt x="21859" y="91612"/>
                </a:cubicBezTo>
                <a:cubicBezTo>
                  <a:pt x="24858" y="89213"/>
                  <a:pt x="28982" y="88477"/>
                  <a:pt x="32788" y="87969"/>
                </a:cubicBezTo>
                <a:cubicBezTo>
                  <a:pt x="47282" y="86036"/>
                  <a:pt x="61932" y="85540"/>
                  <a:pt x="76504" y="84326"/>
                </a:cubicBezTo>
                <a:cubicBezTo>
                  <a:pt x="72765" y="79652"/>
                  <a:pt x="55474" y="60646"/>
                  <a:pt x="54646" y="51539"/>
                </a:cubicBezTo>
                <a:cubicBezTo>
                  <a:pt x="53869" y="42987"/>
                  <a:pt x="54449" y="33717"/>
                  <a:pt x="58289" y="26037"/>
                </a:cubicBezTo>
                <a:cubicBezTo>
                  <a:pt x="60006" y="22602"/>
                  <a:pt x="65575" y="23608"/>
                  <a:pt x="69218" y="22394"/>
                </a:cubicBezTo>
                <a:cubicBezTo>
                  <a:pt x="72861" y="18751"/>
                  <a:pt x="76849" y="15423"/>
                  <a:pt x="80147" y="11465"/>
                </a:cubicBezTo>
                <a:cubicBezTo>
                  <a:pt x="82950" y="8101"/>
                  <a:pt x="83099" y="1155"/>
                  <a:pt x="87433" y="536"/>
                </a:cubicBezTo>
                <a:cubicBezTo>
                  <a:pt x="101909" y="-1532"/>
                  <a:pt x="116577" y="2965"/>
                  <a:pt x="131149" y="4179"/>
                </a:cubicBezTo>
                <a:cubicBezTo>
                  <a:pt x="172075" y="14410"/>
                  <a:pt x="150280" y="11465"/>
                  <a:pt x="196724" y="11465"/>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feld 13">
            <a:extLst>
              <a:ext uri="{FF2B5EF4-FFF2-40B4-BE49-F238E27FC236}">
                <a16:creationId xmlns:a16="http://schemas.microsoft.com/office/drawing/2014/main" id="{8497155A-9445-1A7E-856D-23CEBE920D3F}"/>
              </a:ext>
            </a:extLst>
          </p:cNvPr>
          <p:cNvSpPr txBox="1"/>
          <p:nvPr/>
        </p:nvSpPr>
        <p:spPr>
          <a:xfrm>
            <a:off x="10183395" y="5553128"/>
            <a:ext cx="712855" cy="328418"/>
          </a:xfrm>
          <a:prstGeom prst="rect">
            <a:avLst/>
          </a:prstGeom>
          <a:solidFill>
            <a:srgbClr val="9B0009"/>
          </a:solidFill>
        </p:spPr>
        <p:txBody>
          <a:bodyPr wrap="none" lIns="0" tIns="0" rIns="0" bIns="0" rtlCol="0">
            <a:noAutofit/>
          </a:bodyPr>
          <a:lstStyle/>
          <a:p>
            <a:pPr>
              <a:lnSpc>
                <a:spcPct val="125000"/>
              </a:lnSpc>
              <a:buClr>
                <a:schemeClr val="tx2"/>
              </a:buClr>
            </a:pPr>
            <a:r>
              <a:rPr lang="es-ES_tradnl" sz="1600" dirty="0">
                <a:solidFill>
                  <a:schemeClr val="bg1"/>
                </a:solidFill>
              </a:rPr>
              <a:t>Turquía</a:t>
            </a:r>
          </a:p>
        </p:txBody>
      </p:sp>
      <p:sp>
        <p:nvSpPr>
          <p:cNvPr id="7" name="Subtitle 19">
            <a:extLst>
              <a:ext uri="{FF2B5EF4-FFF2-40B4-BE49-F238E27FC236}">
                <a16:creationId xmlns:a16="http://schemas.microsoft.com/office/drawing/2014/main" id="{3EC34D4D-4F42-AB67-27BE-A4E424005B4C}"/>
              </a:ext>
            </a:extLst>
          </p:cNvPr>
          <p:cNvSpPr txBox="1">
            <a:spLocks/>
          </p:cNvSpPr>
          <p:nvPr/>
        </p:nvSpPr>
        <p:spPr>
          <a:xfrm>
            <a:off x="280771" y="980728"/>
            <a:ext cx="8641357" cy="360040"/>
          </a:xfrm>
          <a:prstGeom prst="rect">
            <a:avLst/>
          </a:prstGeom>
        </p:spPr>
        <p:txBody>
          <a:bodyPr/>
          <a:lstStyle>
            <a:lvl1pPr marL="266700" indent="-266700" algn="l" defTabSz="914400" rtl="0" eaLnBrk="1" latinLnBrk="0" hangingPunct="1">
              <a:lnSpc>
                <a:spcPct val="100000"/>
              </a:lnSpc>
              <a:spcBef>
                <a:spcPts val="1000"/>
              </a:spcBef>
              <a:buClrTx/>
              <a:buSzPct val="80000"/>
              <a:buFont typeface="Wingdings" panose="05000000000000000000" pitchFamily="2" charset="2"/>
              <a:buChar char="n"/>
              <a:defRPr sz="1600" kern="1200">
                <a:solidFill>
                  <a:schemeClr val="tx1"/>
                </a:solidFill>
                <a:latin typeface="+mn-lt"/>
                <a:ea typeface="+mn-ea"/>
                <a:cs typeface="+mn-cs"/>
              </a:defRPr>
            </a:lvl1pPr>
            <a:lvl2pPr marL="542925" indent="-276225" algn="l" defTabSz="914400" rtl="0" eaLnBrk="1" latinLnBrk="0" hangingPunct="1">
              <a:lnSpc>
                <a:spcPct val="100000"/>
              </a:lnSpc>
              <a:spcBef>
                <a:spcPts val="1000"/>
              </a:spcBef>
              <a:buClrTx/>
              <a:buSzPct val="80000"/>
              <a:buFont typeface="Wingdings" panose="05000000000000000000" pitchFamily="2" charset="2"/>
              <a:buChar char=""/>
              <a:defRPr sz="1600" kern="1200">
                <a:solidFill>
                  <a:schemeClr val="tx1"/>
                </a:solidFill>
                <a:latin typeface="+mn-lt"/>
                <a:ea typeface="+mn-ea"/>
                <a:cs typeface="+mn-cs"/>
              </a:defRPr>
            </a:lvl2pPr>
            <a:lvl3pPr marL="809625" indent="-266700" algn="l" defTabSz="914400" rtl="0" eaLnBrk="1" latinLnBrk="0" hangingPunct="1">
              <a:lnSpc>
                <a:spcPct val="100000"/>
              </a:lnSpc>
              <a:spcBef>
                <a:spcPts val="1000"/>
              </a:spcBef>
              <a:buClrTx/>
              <a:buSzPct val="100000"/>
              <a:buFont typeface="Courier New" panose="02070309020205020404" pitchFamily="49" charset="0"/>
              <a:buChar char="o"/>
              <a:defRPr sz="1600" kern="1200">
                <a:solidFill>
                  <a:schemeClr val="tx1"/>
                </a:solidFill>
                <a:latin typeface="+mn-lt"/>
                <a:ea typeface="+mn-ea"/>
                <a:cs typeface="+mn-cs"/>
              </a:defRPr>
            </a:lvl3pPr>
            <a:lvl4pPr marL="0" indent="0" algn="l" defTabSz="914400" rtl="0" eaLnBrk="1" latinLnBrk="0" hangingPunct="1">
              <a:lnSpc>
                <a:spcPct val="100000"/>
              </a:lnSpc>
              <a:spcBef>
                <a:spcPts val="1000"/>
              </a:spcBef>
              <a:buClrTx/>
              <a:buSzPct val="80000"/>
              <a:buFont typeface="Wingdings" panose="05000000000000000000" pitchFamily="2" charset="2"/>
              <a:buNone/>
              <a:defRPr sz="1600" kern="1200">
                <a:solidFill>
                  <a:schemeClr val="tx1"/>
                </a:solidFill>
                <a:latin typeface="+mn-lt"/>
                <a:ea typeface="+mn-ea"/>
                <a:cs typeface="+mn-cs"/>
              </a:defRPr>
            </a:lvl4pPr>
            <a:lvl5pPr marL="0" indent="0" algn="l" defTabSz="914400" rtl="0" eaLnBrk="1" latinLnBrk="0" hangingPunct="1">
              <a:lnSpc>
                <a:spcPct val="100000"/>
              </a:lnSpc>
              <a:spcBef>
                <a:spcPts val="1000"/>
              </a:spcBef>
              <a:buClrTx/>
              <a:buFont typeface="Wingdings 2" panose="05020102010507070707" pitchFamily="18" charset="2"/>
              <a:buNone/>
              <a:defRPr sz="1200" b="0" kern="1200">
                <a:solidFill>
                  <a:schemeClr val="tx1"/>
                </a:solidFill>
                <a:latin typeface="+mn-lt"/>
                <a:ea typeface="+mn-ea"/>
                <a:cs typeface="+mn-cs"/>
              </a:defRPr>
            </a:lvl5pPr>
            <a:lvl6pPr marL="266700" indent="-266700" algn="l" defTabSz="914400" rtl="0" eaLnBrk="1" latinLnBrk="0" hangingPunct="1">
              <a:lnSpc>
                <a:spcPct val="100000"/>
              </a:lnSpc>
              <a:spcBef>
                <a:spcPts val="600"/>
              </a:spcBef>
              <a:buClrTx/>
              <a:buSzPct val="80000"/>
              <a:buFont typeface="Wingdings" panose="05000000000000000000" pitchFamily="2" charset="2"/>
              <a:buChar char="n"/>
              <a:defRPr sz="1200" b="0" kern="1200">
                <a:solidFill>
                  <a:schemeClr val="tx1"/>
                </a:solidFill>
                <a:latin typeface="+mn-lt"/>
                <a:ea typeface="+mn-ea"/>
                <a:cs typeface="+mn-cs"/>
              </a:defRPr>
            </a:lvl6pPr>
            <a:lvl7pPr marL="542925" indent="-276225" algn="l" defTabSz="914400" rtl="0" eaLnBrk="1" latinLnBrk="0" hangingPunct="1">
              <a:lnSpc>
                <a:spcPct val="100000"/>
              </a:lnSpc>
              <a:spcBef>
                <a:spcPts val="600"/>
              </a:spcBef>
              <a:buClrTx/>
              <a:buSzPct val="80000"/>
              <a:buFont typeface="Wingdings" panose="05000000000000000000" pitchFamily="2" charset="2"/>
              <a:buChar char="o"/>
              <a:defRPr sz="1200" b="0" kern="1200">
                <a:solidFill>
                  <a:schemeClr val="tx1"/>
                </a:solidFill>
                <a:latin typeface="+mn-lt"/>
                <a:ea typeface="+mn-ea"/>
                <a:cs typeface="+mn-cs"/>
              </a:defRPr>
            </a:lvl7pPr>
            <a:lvl8pPr marL="809625" indent="-266700" algn="l" defTabSz="914400" rtl="0" eaLnBrk="1" latinLnBrk="0" hangingPunct="1">
              <a:lnSpc>
                <a:spcPct val="100000"/>
              </a:lnSpc>
              <a:spcBef>
                <a:spcPts val="600"/>
              </a:spcBef>
              <a:buClrTx/>
              <a:buSzPct val="100000"/>
              <a:buFont typeface="Courier New" panose="02070309020205020404" pitchFamily="49" charset="0"/>
              <a:buChar char="o"/>
              <a:defRPr sz="1200" b="0" kern="1200">
                <a:solidFill>
                  <a:schemeClr val="tx1"/>
                </a:solidFill>
                <a:latin typeface="+mn-lt"/>
                <a:ea typeface="+mn-ea"/>
                <a:cs typeface="+mn-cs"/>
              </a:defRPr>
            </a:lvl8pPr>
            <a:lvl9pPr marL="803275" indent="-268288" algn="l" defTabSz="914400" rtl="0" eaLnBrk="1" latinLnBrk="0" hangingPunct="1">
              <a:lnSpc>
                <a:spcPct val="100000"/>
              </a:lnSpc>
              <a:spcBef>
                <a:spcPts val="600"/>
              </a:spcBef>
              <a:buClrTx/>
              <a:buSzPct val="100000"/>
              <a:buFont typeface="Courier New" panose="02070309020205020404" pitchFamily="49" charset="0"/>
              <a:buChar char="o"/>
              <a:defRPr sz="1200" b="0" kern="1200">
                <a:solidFill>
                  <a:schemeClr val="tx1"/>
                </a:solidFill>
                <a:latin typeface="+mn-lt"/>
                <a:ea typeface="+mn-ea"/>
                <a:cs typeface="+mn-cs"/>
              </a:defRPr>
            </a:lvl9pPr>
          </a:lstStyle>
          <a:p>
            <a:pPr marL="0" indent="0">
              <a:buNone/>
            </a:pPr>
            <a:r>
              <a:rPr lang="es-ES_tradnl" sz="2000">
                <a:latin typeface="Lato Light" panose="020F0502020204030203" pitchFamily="34" charset="0"/>
                <a:ea typeface="Lato Light" panose="020F0502020204030203" pitchFamily="34" charset="0"/>
                <a:cs typeface="Lato Light" panose="020F0502020204030203" pitchFamily="34" charset="0"/>
              </a:rPr>
              <a:t>Noviembre 2023</a:t>
            </a:r>
          </a:p>
        </p:txBody>
      </p:sp>
      <p:sp>
        <p:nvSpPr>
          <p:cNvPr id="8" name="Titel 1">
            <a:extLst>
              <a:ext uri="{FF2B5EF4-FFF2-40B4-BE49-F238E27FC236}">
                <a16:creationId xmlns:a16="http://schemas.microsoft.com/office/drawing/2014/main" id="{85D92B2B-B8FB-197D-C854-565E5168D85C}"/>
              </a:ext>
            </a:extLst>
          </p:cNvPr>
          <p:cNvSpPr>
            <a:spLocks noGrp="1"/>
          </p:cNvSpPr>
          <p:nvPr>
            <p:ph type="title"/>
            <p:custDataLst>
              <p:tags r:id="rId56"/>
            </p:custDataLst>
          </p:nvPr>
        </p:nvSpPr>
        <p:spPr bwMode="gray">
          <a:xfrm>
            <a:off x="304800" y="247650"/>
            <a:ext cx="9104313" cy="368300"/>
          </a:xfrm>
        </p:spPr>
        <p:txBody>
          <a:bodyPr/>
          <a:lstStyle/>
          <a:p>
            <a:r>
              <a:rPr lang="es-ES_tradnl" b="1" dirty="0"/>
              <a:t>Expectativas de ingresos | Frena su crecimiento</a:t>
            </a:r>
          </a:p>
        </p:txBody>
      </p:sp>
      <p:sp>
        <p:nvSpPr>
          <p:cNvPr id="9" name="Rechteck 388">
            <a:extLst>
              <a:ext uri="{FF2B5EF4-FFF2-40B4-BE49-F238E27FC236}">
                <a16:creationId xmlns:a16="http://schemas.microsoft.com/office/drawing/2014/main" id="{9DED7678-424B-36AF-1CC2-4D6D32742D16}"/>
              </a:ext>
            </a:extLst>
          </p:cNvPr>
          <p:cNvSpPr/>
          <p:nvPr>
            <p:custDataLst>
              <p:tags r:id="rId57"/>
            </p:custDataLst>
          </p:nvPr>
        </p:nvSpPr>
        <p:spPr bwMode="gray">
          <a:xfrm>
            <a:off x="1313127" y="4677133"/>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en-US" sz="1100" dirty="0">
                <a:solidFill>
                  <a:schemeClr val="tx1">
                    <a:lumMod val="65000"/>
                    <a:lumOff val="35000"/>
                  </a:schemeClr>
                </a:solidFill>
                <a:cs typeface="Arial" pitchFamily="34" charset="0"/>
                <a:sym typeface="Wingdings"/>
              </a:rPr>
              <a:t>&gt; +5</a:t>
            </a:r>
            <a:endParaRPr lang="en-US" sz="1100" dirty="0">
              <a:solidFill>
                <a:schemeClr val="tx1">
                  <a:lumMod val="65000"/>
                  <a:lumOff val="35000"/>
                </a:schemeClr>
              </a:solidFill>
              <a:cs typeface="Arial" pitchFamily="34" charset="0"/>
            </a:endParaRPr>
          </a:p>
        </p:txBody>
      </p:sp>
      <p:sp>
        <p:nvSpPr>
          <p:cNvPr id="10" name="Rechteck 176">
            <a:extLst>
              <a:ext uri="{FF2B5EF4-FFF2-40B4-BE49-F238E27FC236}">
                <a16:creationId xmlns:a16="http://schemas.microsoft.com/office/drawing/2014/main" id="{36A9C1F6-08EF-1F42-4836-73863260CB3B}"/>
              </a:ext>
            </a:extLst>
          </p:cNvPr>
          <p:cNvSpPr/>
          <p:nvPr>
            <p:custDataLst>
              <p:tags r:id="rId58"/>
            </p:custDataLst>
          </p:nvPr>
        </p:nvSpPr>
        <p:spPr bwMode="gray">
          <a:xfrm>
            <a:off x="1313127" y="4965165"/>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de-DE" sz="1100" dirty="0">
                <a:solidFill>
                  <a:schemeClr val="tx1">
                    <a:lumMod val="65000"/>
                    <a:lumOff val="35000"/>
                  </a:schemeClr>
                </a:solidFill>
                <a:cs typeface="Arial" pitchFamily="34" charset="0"/>
                <a:sym typeface="Wingdings"/>
              </a:rPr>
              <a:t>+1 a +5</a:t>
            </a:r>
            <a:endParaRPr lang="de-DE" sz="1100" dirty="0">
              <a:solidFill>
                <a:schemeClr val="tx1">
                  <a:lumMod val="65000"/>
                  <a:lumOff val="35000"/>
                </a:schemeClr>
              </a:solidFill>
              <a:cs typeface="Arial" pitchFamily="34" charset="0"/>
            </a:endParaRPr>
          </a:p>
        </p:txBody>
      </p:sp>
      <p:sp>
        <p:nvSpPr>
          <p:cNvPr id="11" name="Rechteck 177">
            <a:extLst>
              <a:ext uri="{FF2B5EF4-FFF2-40B4-BE49-F238E27FC236}">
                <a16:creationId xmlns:a16="http://schemas.microsoft.com/office/drawing/2014/main" id="{9B5ADE99-D2B0-A5AE-A987-F75F440BBFB7}"/>
              </a:ext>
            </a:extLst>
          </p:cNvPr>
          <p:cNvSpPr/>
          <p:nvPr>
            <p:custDataLst>
              <p:tags r:id="rId59"/>
            </p:custDataLst>
          </p:nvPr>
        </p:nvSpPr>
        <p:spPr bwMode="gray">
          <a:xfrm>
            <a:off x="1313127" y="5253229"/>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de-DE" sz="1100" dirty="0">
                <a:solidFill>
                  <a:schemeClr val="tx1">
                    <a:lumMod val="65000"/>
                    <a:lumOff val="35000"/>
                  </a:schemeClr>
                </a:solidFill>
                <a:cs typeface="Arial" pitchFamily="34" charset="0"/>
                <a:sym typeface="Wingdings"/>
              </a:rPr>
              <a:t>-1 a +1</a:t>
            </a:r>
            <a:endParaRPr lang="de-DE" sz="1100" dirty="0">
              <a:solidFill>
                <a:schemeClr val="tx1">
                  <a:lumMod val="65000"/>
                  <a:lumOff val="35000"/>
                </a:schemeClr>
              </a:solidFill>
              <a:cs typeface="Arial" pitchFamily="34" charset="0"/>
            </a:endParaRPr>
          </a:p>
        </p:txBody>
      </p:sp>
      <p:sp>
        <p:nvSpPr>
          <p:cNvPr id="12" name="Rechteck 178">
            <a:extLst>
              <a:ext uri="{FF2B5EF4-FFF2-40B4-BE49-F238E27FC236}">
                <a16:creationId xmlns:a16="http://schemas.microsoft.com/office/drawing/2014/main" id="{AA139CD1-651B-A9FB-D3F9-AE0BC7EBF202}"/>
              </a:ext>
            </a:extLst>
          </p:cNvPr>
          <p:cNvSpPr/>
          <p:nvPr>
            <p:custDataLst>
              <p:tags r:id="rId60"/>
            </p:custDataLst>
          </p:nvPr>
        </p:nvSpPr>
        <p:spPr bwMode="gray">
          <a:xfrm>
            <a:off x="1313127" y="5541229"/>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de-DE" sz="1100" dirty="0">
                <a:solidFill>
                  <a:schemeClr val="tx1">
                    <a:lumMod val="65000"/>
                    <a:lumOff val="35000"/>
                  </a:schemeClr>
                </a:solidFill>
                <a:cs typeface="Arial" pitchFamily="34" charset="0"/>
                <a:sym typeface="Wingdings"/>
              </a:rPr>
              <a:t>-5 a -1</a:t>
            </a:r>
            <a:endParaRPr lang="de-DE" sz="1100" dirty="0">
              <a:solidFill>
                <a:schemeClr val="tx1">
                  <a:lumMod val="65000"/>
                  <a:lumOff val="35000"/>
                </a:schemeClr>
              </a:solidFill>
              <a:cs typeface="Arial" pitchFamily="34" charset="0"/>
            </a:endParaRPr>
          </a:p>
        </p:txBody>
      </p:sp>
      <p:sp>
        <p:nvSpPr>
          <p:cNvPr id="13" name="Rechteck 179">
            <a:extLst>
              <a:ext uri="{FF2B5EF4-FFF2-40B4-BE49-F238E27FC236}">
                <a16:creationId xmlns:a16="http://schemas.microsoft.com/office/drawing/2014/main" id="{B5FF77A6-C123-62CC-D982-47F029F9C5F2}"/>
              </a:ext>
            </a:extLst>
          </p:cNvPr>
          <p:cNvSpPr/>
          <p:nvPr>
            <p:custDataLst>
              <p:tags r:id="rId61"/>
            </p:custDataLst>
          </p:nvPr>
        </p:nvSpPr>
        <p:spPr bwMode="gray">
          <a:xfrm>
            <a:off x="1313127" y="5829261"/>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en-US" sz="1100" dirty="0">
                <a:solidFill>
                  <a:schemeClr val="tx1">
                    <a:lumMod val="65000"/>
                    <a:lumOff val="35000"/>
                  </a:schemeClr>
                </a:solidFill>
                <a:cs typeface="Arial" pitchFamily="34" charset="0"/>
                <a:sym typeface="Wingdings"/>
              </a:rPr>
              <a:t>&lt; -5</a:t>
            </a:r>
            <a:endParaRPr lang="en-US" sz="1100" dirty="0">
              <a:solidFill>
                <a:schemeClr val="tx1">
                  <a:lumMod val="65000"/>
                  <a:lumOff val="35000"/>
                </a:schemeClr>
              </a:solidFill>
              <a:cs typeface="Arial" pitchFamily="34" charset="0"/>
            </a:endParaRPr>
          </a:p>
        </p:txBody>
      </p:sp>
      <p:grpSp>
        <p:nvGrpSpPr>
          <p:cNvPr id="15" name="Gruppieren 184">
            <a:extLst>
              <a:ext uri="{FF2B5EF4-FFF2-40B4-BE49-F238E27FC236}">
                <a16:creationId xmlns:a16="http://schemas.microsoft.com/office/drawing/2014/main" id="{99DFB509-A175-1F5D-150E-55581A8A037B}"/>
              </a:ext>
            </a:extLst>
          </p:cNvPr>
          <p:cNvGrpSpPr/>
          <p:nvPr>
            <p:custDataLst>
              <p:tags r:id="rId62"/>
            </p:custDataLst>
          </p:nvPr>
        </p:nvGrpSpPr>
        <p:grpSpPr bwMode="gray">
          <a:xfrm>
            <a:off x="1037417" y="4694964"/>
            <a:ext cx="144000" cy="144000"/>
            <a:chOff x="323548" y="3507850"/>
            <a:chExt cx="144000" cy="144000"/>
          </a:xfrm>
          <a:solidFill>
            <a:schemeClr val="bg2">
              <a:lumMod val="90000"/>
            </a:schemeClr>
          </a:solidFill>
        </p:grpSpPr>
        <p:sp>
          <p:nvSpPr>
            <p:cNvPr id="16" name="Ellipse 188">
              <a:extLst>
                <a:ext uri="{FF2B5EF4-FFF2-40B4-BE49-F238E27FC236}">
                  <a16:creationId xmlns:a16="http://schemas.microsoft.com/office/drawing/2014/main" id="{C6536843-49CD-C374-4ED9-AD99497B52AE}"/>
                </a:ext>
              </a:extLst>
            </p:cNvPr>
            <p:cNvSpPr/>
            <p:nvPr>
              <p:custDataLst>
                <p:tags r:id="rId81"/>
              </p:custDataLst>
            </p:nvPr>
          </p:nvSpPr>
          <p:spPr bwMode="gray">
            <a:xfrm>
              <a:off x="323548" y="3507850"/>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17" name="Ellipse 189">
              <a:extLst>
                <a:ext uri="{FF2B5EF4-FFF2-40B4-BE49-F238E27FC236}">
                  <a16:creationId xmlns:a16="http://schemas.microsoft.com/office/drawing/2014/main" id="{4280208D-085C-423C-6ADF-0A5CB11AE54E}"/>
                </a:ext>
              </a:extLst>
            </p:cNvPr>
            <p:cNvSpPr/>
            <p:nvPr>
              <p:custDataLst>
                <p:tags r:id="rId82"/>
              </p:custDataLst>
            </p:nvPr>
          </p:nvSpPr>
          <p:spPr bwMode="gray">
            <a:xfrm>
              <a:off x="323548" y="3507850"/>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grpSp>
        <p:nvGrpSpPr>
          <p:cNvPr id="18" name="Gruppieren 190">
            <a:extLst>
              <a:ext uri="{FF2B5EF4-FFF2-40B4-BE49-F238E27FC236}">
                <a16:creationId xmlns:a16="http://schemas.microsoft.com/office/drawing/2014/main" id="{B305DEA7-DF48-B0C3-1B93-B3AFAC3F34DA}"/>
              </a:ext>
            </a:extLst>
          </p:cNvPr>
          <p:cNvGrpSpPr/>
          <p:nvPr>
            <p:custDataLst>
              <p:tags r:id="rId63"/>
            </p:custDataLst>
          </p:nvPr>
        </p:nvGrpSpPr>
        <p:grpSpPr bwMode="gray">
          <a:xfrm>
            <a:off x="1037417" y="5855837"/>
            <a:ext cx="144000" cy="144000"/>
            <a:chOff x="323548" y="4371946"/>
            <a:chExt cx="144000" cy="144000"/>
          </a:xfrm>
          <a:solidFill>
            <a:schemeClr val="bg2">
              <a:lumMod val="90000"/>
            </a:schemeClr>
          </a:solidFill>
        </p:grpSpPr>
        <p:sp>
          <p:nvSpPr>
            <p:cNvPr id="19" name="Ellipse 192">
              <a:extLst>
                <a:ext uri="{FF2B5EF4-FFF2-40B4-BE49-F238E27FC236}">
                  <a16:creationId xmlns:a16="http://schemas.microsoft.com/office/drawing/2014/main" id="{FA46E50D-16EB-719D-7D75-D036D79A9584}"/>
                </a:ext>
              </a:extLst>
            </p:cNvPr>
            <p:cNvSpPr/>
            <p:nvPr>
              <p:custDataLst>
                <p:tags r:id="rId79"/>
              </p:custDataLst>
            </p:nvPr>
          </p:nvSpPr>
          <p:spPr bwMode="gray">
            <a:xfrm>
              <a:off x="323548" y="4371946"/>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20" name="Ellipse 194">
              <a:extLst>
                <a:ext uri="{FF2B5EF4-FFF2-40B4-BE49-F238E27FC236}">
                  <a16:creationId xmlns:a16="http://schemas.microsoft.com/office/drawing/2014/main" id="{D438464E-0F2A-A0A2-9F03-9D9DEAADF974}"/>
                </a:ext>
              </a:extLst>
            </p:cNvPr>
            <p:cNvSpPr/>
            <p:nvPr>
              <p:custDataLst>
                <p:tags r:id="rId80"/>
              </p:custDataLst>
            </p:nvPr>
          </p:nvSpPr>
          <p:spPr bwMode="gray">
            <a:xfrm>
              <a:off x="323548" y="4371946"/>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grpSp>
        <p:nvGrpSpPr>
          <p:cNvPr id="21" name="Gruppieren 195">
            <a:extLst>
              <a:ext uri="{FF2B5EF4-FFF2-40B4-BE49-F238E27FC236}">
                <a16:creationId xmlns:a16="http://schemas.microsoft.com/office/drawing/2014/main" id="{3E6864A6-AA63-CA27-22C7-001DEE8E927B}"/>
              </a:ext>
            </a:extLst>
          </p:cNvPr>
          <p:cNvGrpSpPr/>
          <p:nvPr>
            <p:custDataLst>
              <p:tags r:id="rId64"/>
            </p:custDataLst>
          </p:nvPr>
        </p:nvGrpSpPr>
        <p:grpSpPr bwMode="gray">
          <a:xfrm>
            <a:off x="1037417" y="5565618"/>
            <a:ext cx="144000" cy="144000"/>
            <a:chOff x="323548" y="4155922"/>
            <a:chExt cx="144000" cy="144000"/>
          </a:xfrm>
          <a:solidFill>
            <a:schemeClr val="bg2">
              <a:lumMod val="90000"/>
            </a:schemeClr>
          </a:solidFill>
        </p:grpSpPr>
        <p:sp>
          <p:nvSpPr>
            <p:cNvPr id="22" name="Ellipse 206">
              <a:extLst>
                <a:ext uri="{FF2B5EF4-FFF2-40B4-BE49-F238E27FC236}">
                  <a16:creationId xmlns:a16="http://schemas.microsoft.com/office/drawing/2014/main" id="{A046E114-4198-F1D2-AF61-D8E29A5AF3EA}"/>
                </a:ext>
              </a:extLst>
            </p:cNvPr>
            <p:cNvSpPr/>
            <p:nvPr>
              <p:custDataLst>
                <p:tags r:id="rId77"/>
              </p:custDataLst>
            </p:nvPr>
          </p:nvSpPr>
          <p:spPr bwMode="gray">
            <a:xfrm>
              <a:off x="323548" y="4155922"/>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23" name="Ellipse 207">
              <a:extLst>
                <a:ext uri="{FF2B5EF4-FFF2-40B4-BE49-F238E27FC236}">
                  <a16:creationId xmlns:a16="http://schemas.microsoft.com/office/drawing/2014/main" id="{0A37E6C1-D169-0F34-675C-C50A7240BE9D}"/>
                </a:ext>
              </a:extLst>
            </p:cNvPr>
            <p:cNvSpPr/>
            <p:nvPr>
              <p:custDataLst>
                <p:tags r:id="rId78"/>
              </p:custDataLst>
            </p:nvPr>
          </p:nvSpPr>
          <p:spPr bwMode="gray">
            <a:xfrm>
              <a:off x="323548" y="4155922"/>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grpSp>
        <p:nvGrpSpPr>
          <p:cNvPr id="24" name="Gruppieren 208">
            <a:extLst>
              <a:ext uri="{FF2B5EF4-FFF2-40B4-BE49-F238E27FC236}">
                <a16:creationId xmlns:a16="http://schemas.microsoft.com/office/drawing/2014/main" id="{B9BF1D4D-B247-F518-8226-7F390E044B75}"/>
              </a:ext>
            </a:extLst>
          </p:cNvPr>
          <p:cNvGrpSpPr/>
          <p:nvPr>
            <p:custDataLst>
              <p:tags r:id="rId65"/>
            </p:custDataLst>
          </p:nvPr>
        </p:nvGrpSpPr>
        <p:grpSpPr bwMode="gray">
          <a:xfrm>
            <a:off x="1037417" y="5275400"/>
            <a:ext cx="144000" cy="144000"/>
            <a:chOff x="323548" y="3939922"/>
            <a:chExt cx="144000" cy="144000"/>
          </a:xfrm>
          <a:solidFill>
            <a:schemeClr val="bg2">
              <a:lumMod val="90000"/>
            </a:schemeClr>
          </a:solidFill>
        </p:grpSpPr>
        <p:sp>
          <p:nvSpPr>
            <p:cNvPr id="25" name="Ellipse 209">
              <a:extLst>
                <a:ext uri="{FF2B5EF4-FFF2-40B4-BE49-F238E27FC236}">
                  <a16:creationId xmlns:a16="http://schemas.microsoft.com/office/drawing/2014/main" id="{EBE55482-F6DF-CC09-E07D-84AB50788E97}"/>
                </a:ext>
              </a:extLst>
            </p:cNvPr>
            <p:cNvSpPr/>
            <p:nvPr>
              <p:custDataLst>
                <p:tags r:id="rId75"/>
              </p:custDataLst>
            </p:nvPr>
          </p:nvSpPr>
          <p:spPr bwMode="gray">
            <a:xfrm>
              <a:off x="323548" y="3939922"/>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26" name="Ellipse 210">
              <a:extLst>
                <a:ext uri="{FF2B5EF4-FFF2-40B4-BE49-F238E27FC236}">
                  <a16:creationId xmlns:a16="http://schemas.microsoft.com/office/drawing/2014/main" id="{8AAB1F99-9265-E33C-F21B-CAD7545FD00E}"/>
                </a:ext>
              </a:extLst>
            </p:cNvPr>
            <p:cNvSpPr/>
            <p:nvPr>
              <p:custDataLst>
                <p:tags r:id="rId76"/>
              </p:custDataLst>
            </p:nvPr>
          </p:nvSpPr>
          <p:spPr bwMode="gray">
            <a:xfrm>
              <a:off x="323548" y="3939922"/>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grpSp>
        <p:nvGrpSpPr>
          <p:cNvPr id="27" name="Gruppieren 211">
            <a:extLst>
              <a:ext uri="{FF2B5EF4-FFF2-40B4-BE49-F238E27FC236}">
                <a16:creationId xmlns:a16="http://schemas.microsoft.com/office/drawing/2014/main" id="{A67D410E-C4A7-1211-C3C2-25F1895359C9}"/>
              </a:ext>
            </a:extLst>
          </p:cNvPr>
          <p:cNvGrpSpPr/>
          <p:nvPr>
            <p:custDataLst>
              <p:tags r:id="rId66"/>
            </p:custDataLst>
          </p:nvPr>
        </p:nvGrpSpPr>
        <p:grpSpPr bwMode="gray">
          <a:xfrm>
            <a:off x="1037417" y="4985182"/>
            <a:ext cx="144000" cy="144000"/>
            <a:chOff x="323548" y="3723874"/>
            <a:chExt cx="144000" cy="144000"/>
          </a:xfrm>
          <a:solidFill>
            <a:schemeClr val="bg2">
              <a:lumMod val="90000"/>
            </a:schemeClr>
          </a:solidFill>
        </p:grpSpPr>
        <p:sp>
          <p:nvSpPr>
            <p:cNvPr id="28" name="Ellipse 212">
              <a:extLst>
                <a:ext uri="{FF2B5EF4-FFF2-40B4-BE49-F238E27FC236}">
                  <a16:creationId xmlns:a16="http://schemas.microsoft.com/office/drawing/2014/main" id="{34E74281-9BEF-1BC1-5EF1-E1930100F849}"/>
                </a:ext>
              </a:extLst>
            </p:cNvPr>
            <p:cNvSpPr/>
            <p:nvPr>
              <p:custDataLst>
                <p:tags r:id="rId73"/>
              </p:custDataLst>
            </p:nvPr>
          </p:nvSpPr>
          <p:spPr bwMode="gray">
            <a:xfrm>
              <a:off x="323548" y="3723874"/>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29" name="Ellipse 213">
              <a:extLst>
                <a:ext uri="{FF2B5EF4-FFF2-40B4-BE49-F238E27FC236}">
                  <a16:creationId xmlns:a16="http://schemas.microsoft.com/office/drawing/2014/main" id="{57C0240F-5F64-6DB5-E728-028E6D764398}"/>
                </a:ext>
              </a:extLst>
            </p:cNvPr>
            <p:cNvSpPr/>
            <p:nvPr>
              <p:custDataLst>
                <p:tags r:id="rId74"/>
              </p:custDataLst>
            </p:nvPr>
          </p:nvSpPr>
          <p:spPr bwMode="gray">
            <a:xfrm>
              <a:off x="323548" y="3723874"/>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sp>
        <p:nvSpPr>
          <p:cNvPr id="30" name="Rechteck 236">
            <a:extLst>
              <a:ext uri="{FF2B5EF4-FFF2-40B4-BE49-F238E27FC236}">
                <a16:creationId xmlns:a16="http://schemas.microsoft.com/office/drawing/2014/main" id="{0DB86667-6067-CE10-8EE3-52B716C9337B}"/>
              </a:ext>
            </a:extLst>
          </p:cNvPr>
          <p:cNvSpPr/>
          <p:nvPr>
            <p:custDataLst>
              <p:tags r:id="rId67"/>
            </p:custDataLst>
          </p:nvPr>
        </p:nvSpPr>
        <p:spPr bwMode="gray">
          <a:xfrm>
            <a:off x="984612" y="4118266"/>
            <a:ext cx="1759701" cy="4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s-ES_tradnl" sz="1100" dirty="0">
                <a:solidFill>
                  <a:schemeClr val="tx1"/>
                </a:solidFill>
                <a:cs typeface="Arial" pitchFamily="34" charset="0"/>
                <a:sym typeface="Wingdings"/>
              </a:rPr>
              <a:t>Variación:</a:t>
            </a:r>
          </a:p>
          <a:p>
            <a:r>
              <a:rPr lang="es-ES_tradnl" sz="1100" dirty="0">
                <a:solidFill>
                  <a:schemeClr val="tx1"/>
                </a:solidFill>
                <a:cs typeface="Arial" pitchFamily="34" charset="0"/>
                <a:sym typeface="Wingdings"/>
              </a:rPr>
              <a:t>Noviembre 2023 vs. Octubre 2023  </a:t>
            </a:r>
            <a:endParaRPr lang="es-ES_tradnl" sz="1100" dirty="0">
              <a:solidFill>
                <a:schemeClr val="tx1"/>
              </a:solidFill>
              <a:cs typeface="Arial" pitchFamily="34" charset="0"/>
            </a:endParaRPr>
          </a:p>
        </p:txBody>
      </p:sp>
      <p:cxnSp>
        <p:nvCxnSpPr>
          <p:cNvPr id="31" name="Gerade Verbindung 907">
            <a:extLst>
              <a:ext uri="{FF2B5EF4-FFF2-40B4-BE49-F238E27FC236}">
                <a16:creationId xmlns:a16="http://schemas.microsoft.com/office/drawing/2014/main" id="{FEFDE798-146D-BA6A-F13A-CF6BABA7099B}"/>
              </a:ext>
            </a:extLst>
          </p:cNvPr>
          <p:cNvCxnSpPr>
            <a:cxnSpLocks/>
          </p:cNvCxnSpPr>
          <p:nvPr>
            <p:custDataLst>
              <p:tags r:id="rId68"/>
            </p:custDataLst>
          </p:nvPr>
        </p:nvCxnSpPr>
        <p:spPr bwMode="gray">
          <a:xfrm>
            <a:off x="1025138" y="3140968"/>
            <a:ext cx="1486335"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32" name="Rechteck 465">
            <a:extLst>
              <a:ext uri="{FF2B5EF4-FFF2-40B4-BE49-F238E27FC236}">
                <a16:creationId xmlns:a16="http://schemas.microsoft.com/office/drawing/2014/main" id="{286FF368-8E11-F541-9B33-59BCBFDE6F07}"/>
              </a:ext>
            </a:extLst>
          </p:cNvPr>
          <p:cNvSpPr/>
          <p:nvPr>
            <p:custDataLst>
              <p:tags r:id="rId69"/>
            </p:custDataLst>
          </p:nvPr>
        </p:nvSpPr>
        <p:spPr bwMode="gray">
          <a:xfrm>
            <a:off x="1024935" y="2180872"/>
            <a:ext cx="74317" cy="96000"/>
          </a:xfrm>
          <a:prstGeom prst="rect">
            <a:avLst/>
          </a:prstGeom>
          <a:solidFill>
            <a:srgbClr val="24892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88000" tIns="60960" rIns="0" bIns="60960" numCol="1" spcCol="0" rtlCol="0" fromWordArt="0" anchor="ctr" anchorCtr="0" forceAA="0" compatLnSpc="1">
            <a:prstTxWarp prst="textNoShape">
              <a:avLst/>
            </a:prstTxWarp>
            <a:noAutofit/>
          </a:bodyPr>
          <a:lstStyle/>
          <a:p>
            <a:pPr>
              <a:spcBef>
                <a:spcPts val="400"/>
              </a:spcBef>
            </a:pPr>
            <a:r>
              <a:rPr lang="es-ES_tradnl" sz="1100" dirty="0">
                <a:solidFill>
                  <a:schemeClr val="tx1"/>
                </a:solidFill>
                <a:cs typeface="Arial" pitchFamily="34" charset="0"/>
              </a:rPr>
              <a:t>Indicador &gt; +20</a:t>
            </a:r>
          </a:p>
        </p:txBody>
      </p:sp>
      <p:sp>
        <p:nvSpPr>
          <p:cNvPr id="33" name="Rechteck 466">
            <a:extLst>
              <a:ext uri="{FF2B5EF4-FFF2-40B4-BE49-F238E27FC236}">
                <a16:creationId xmlns:a16="http://schemas.microsoft.com/office/drawing/2014/main" id="{C53EFA89-5A53-4162-8894-57661509E9BA}"/>
              </a:ext>
            </a:extLst>
          </p:cNvPr>
          <p:cNvSpPr/>
          <p:nvPr>
            <p:custDataLst>
              <p:tags r:id="rId70"/>
            </p:custDataLst>
          </p:nvPr>
        </p:nvSpPr>
        <p:spPr bwMode="gray">
          <a:xfrm>
            <a:off x="1024935" y="2420899"/>
            <a:ext cx="74317" cy="96000"/>
          </a:xfrm>
          <a:prstGeom prst="rect">
            <a:avLst/>
          </a:prstGeom>
          <a:solidFill>
            <a:srgbClr val="73C37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88000" tIns="60960" rIns="0" bIns="60960" numCol="1" spcCol="0" rtlCol="0" fromWordArt="0" anchor="ctr" anchorCtr="0" forceAA="0" compatLnSpc="1">
            <a:prstTxWarp prst="textNoShape">
              <a:avLst/>
            </a:prstTxWarp>
            <a:noAutofit/>
          </a:bodyPr>
          <a:lstStyle/>
          <a:p>
            <a:pPr>
              <a:spcBef>
                <a:spcPts val="400"/>
              </a:spcBef>
            </a:pPr>
            <a:r>
              <a:rPr lang="es-ES_tradnl" sz="1100" dirty="0">
                <a:solidFill>
                  <a:schemeClr val="tx1"/>
                </a:solidFill>
                <a:cs typeface="Arial" pitchFamily="34" charset="0"/>
              </a:rPr>
              <a:t>Indicador 0 a +20</a:t>
            </a:r>
          </a:p>
        </p:txBody>
      </p:sp>
      <p:sp>
        <p:nvSpPr>
          <p:cNvPr id="34" name="Rechteck 467">
            <a:extLst>
              <a:ext uri="{FF2B5EF4-FFF2-40B4-BE49-F238E27FC236}">
                <a16:creationId xmlns:a16="http://schemas.microsoft.com/office/drawing/2014/main" id="{2A3A04BB-E0AC-C5DC-7EF2-3F2D75B40F0E}"/>
              </a:ext>
            </a:extLst>
          </p:cNvPr>
          <p:cNvSpPr/>
          <p:nvPr>
            <p:custDataLst>
              <p:tags r:id="rId71"/>
            </p:custDataLst>
          </p:nvPr>
        </p:nvSpPr>
        <p:spPr bwMode="gray">
          <a:xfrm>
            <a:off x="1024935" y="2660925"/>
            <a:ext cx="74317" cy="96000"/>
          </a:xfrm>
          <a:prstGeom prst="rect">
            <a:avLst/>
          </a:prstGeom>
          <a:solidFill>
            <a:srgbClr val="CBA6A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88000" tIns="60960" rIns="0" bIns="60960" numCol="1" spcCol="0" rtlCol="0" fromWordArt="0" anchor="ctr" anchorCtr="0" forceAA="0" compatLnSpc="1">
            <a:prstTxWarp prst="textNoShape">
              <a:avLst/>
            </a:prstTxWarp>
            <a:noAutofit/>
          </a:bodyPr>
          <a:lstStyle/>
          <a:p>
            <a:pPr>
              <a:spcBef>
                <a:spcPts val="400"/>
              </a:spcBef>
            </a:pPr>
            <a:r>
              <a:rPr lang="es-ES_tradnl" sz="1100">
                <a:solidFill>
                  <a:schemeClr val="tx1"/>
                </a:solidFill>
                <a:cs typeface="Arial" pitchFamily="34" charset="0"/>
              </a:rPr>
              <a:t>Indicador 0 a -20</a:t>
            </a:r>
          </a:p>
        </p:txBody>
      </p:sp>
      <p:sp>
        <p:nvSpPr>
          <p:cNvPr id="35" name="Rechteck 468">
            <a:extLst>
              <a:ext uri="{FF2B5EF4-FFF2-40B4-BE49-F238E27FC236}">
                <a16:creationId xmlns:a16="http://schemas.microsoft.com/office/drawing/2014/main" id="{1BD2C808-2368-CAD7-F4CF-8D1839E32573}"/>
              </a:ext>
            </a:extLst>
          </p:cNvPr>
          <p:cNvSpPr/>
          <p:nvPr>
            <p:custDataLst>
              <p:tags r:id="rId72"/>
            </p:custDataLst>
          </p:nvPr>
        </p:nvSpPr>
        <p:spPr bwMode="gray">
          <a:xfrm>
            <a:off x="1025229" y="2900941"/>
            <a:ext cx="74317" cy="96000"/>
          </a:xfrm>
          <a:prstGeom prst="rect">
            <a:avLst/>
          </a:prstGeom>
          <a:solidFill>
            <a:srgbClr val="9B000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88000" tIns="60960" rIns="0" bIns="60960" numCol="1" spcCol="0" rtlCol="0" fromWordArt="0" anchor="ctr" anchorCtr="0" forceAA="0" compatLnSpc="1">
            <a:prstTxWarp prst="textNoShape">
              <a:avLst/>
            </a:prstTxWarp>
            <a:noAutofit/>
          </a:bodyPr>
          <a:lstStyle/>
          <a:p>
            <a:pPr>
              <a:spcBef>
                <a:spcPts val="400"/>
              </a:spcBef>
            </a:pPr>
            <a:r>
              <a:rPr lang="es-ES_tradnl" sz="1100">
                <a:solidFill>
                  <a:schemeClr val="tx1"/>
                </a:solidFill>
                <a:cs typeface="Arial" pitchFamily="34" charset="0"/>
              </a:rPr>
              <a:t>Indicador &lt; -20</a:t>
            </a:r>
          </a:p>
        </p:txBody>
      </p:sp>
      <p:sp>
        <p:nvSpPr>
          <p:cNvPr id="36" name="Textfeld 201">
            <a:extLst>
              <a:ext uri="{FF2B5EF4-FFF2-40B4-BE49-F238E27FC236}">
                <a16:creationId xmlns:a16="http://schemas.microsoft.com/office/drawing/2014/main" id="{8F08D2CE-DC93-C833-6CDB-7EF2F402C4CC}"/>
              </a:ext>
            </a:extLst>
          </p:cNvPr>
          <p:cNvSpPr txBox="1"/>
          <p:nvPr/>
        </p:nvSpPr>
        <p:spPr>
          <a:xfrm>
            <a:off x="1022457" y="1810352"/>
            <a:ext cx="914400" cy="284281"/>
          </a:xfrm>
          <a:prstGeom prst="rect">
            <a:avLst/>
          </a:prstGeom>
          <a:noFill/>
        </p:spPr>
        <p:txBody>
          <a:bodyPr wrap="none" lIns="0" tIns="0" rIns="0" bIns="0" rtlCol="0">
            <a:noAutofit/>
          </a:bodyPr>
          <a:lstStyle/>
          <a:p>
            <a:pPr>
              <a:lnSpc>
                <a:spcPct val="125000"/>
              </a:lnSpc>
              <a:buClr>
                <a:schemeClr val="tx2"/>
              </a:buClr>
            </a:pPr>
            <a:r>
              <a:rPr lang="es-ES_tradnl" sz="1100" dirty="0"/>
              <a:t>Nivel del indicador:</a:t>
            </a:r>
          </a:p>
        </p:txBody>
      </p:sp>
      <p:sp>
        <p:nvSpPr>
          <p:cNvPr id="37" name="Rechteck 13">
            <a:extLst>
              <a:ext uri="{FF2B5EF4-FFF2-40B4-BE49-F238E27FC236}">
                <a16:creationId xmlns:a16="http://schemas.microsoft.com/office/drawing/2014/main" id="{294B4AAB-0B4B-7B90-5191-C827B2E7B510}"/>
              </a:ext>
            </a:extLst>
          </p:cNvPr>
          <p:cNvSpPr/>
          <p:nvPr/>
        </p:nvSpPr>
        <p:spPr bwMode="gray">
          <a:xfrm>
            <a:off x="1023888" y="6597368"/>
            <a:ext cx="7056000" cy="144000"/>
          </a:xfrm>
          <a:prstGeom prst="rect">
            <a:avLst/>
          </a:prstGeom>
          <a:no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s-ES_tradnl" sz="800" dirty="0">
                <a:solidFill>
                  <a:srgbClr val="8E8581"/>
                </a:solidFill>
                <a:latin typeface="Arial" pitchFamily="34" charset="0"/>
                <a:cs typeface="Arial" pitchFamily="34" charset="0"/>
              </a:rPr>
              <a:t>Fuente</a:t>
            </a:r>
            <a:r>
              <a:rPr kumimoji="0" lang="es-ES_tradnl" sz="800" b="0" i="0" u="none" strike="noStrike" kern="1200" cap="none" spc="0" normalizeH="0" baseline="0" noProof="0" dirty="0">
                <a:ln>
                  <a:noFill/>
                </a:ln>
                <a:solidFill>
                  <a:srgbClr val="8E8581"/>
                </a:solidFill>
                <a:effectLst/>
                <a:uLnTx/>
                <a:uFillTx/>
                <a:latin typeface="Arial" pitchFamily="34" charset="0"/>
                <a:ea typeface="+mn-ea"/>
                <a:cs typeface="Arial" pitchFamily="34" charset="0"/>
              </a:rPr>
              <a:t>: GfK Euro Clima </a:t>
            </a:r>
            <a:r>
              <a:rPr kumimoji="0" lang="es-ES_tradnl" sz="800" b="0" i="1" u="none" strike="noStrike" kern="1200" cap="none" spc="0" normalizeH="0" baseline="0" noProof="0" dirty="0" err="1">
                <a:ln>
                  <a:noFill/>
                </a:ln>
                <a:solidFill>
                  <a:srgbClr val="8E8581"/>
                </a:solidFill>
                <a:effectLst/>
                <a:uLnTx/>
                <a:uFillTx/>
                <a:latin typeface="Arial" pitchFamily="34" charset="0"/>
                <a:ea typeface="+mn-ea"/>
                <a:cs typeface="Arial" pitchFamily="34" charset="0"/>
              </a:rPr>
              <a:t>powered</a:t>
            </a:r>
            <a:r>
              <a:rPr kumimoji="0" lang="es-ES_tradnl" sz="800" b="0" i="1" u="none" strike="noStrike" kern="1200" cap="none" spc="0" normalizeH="0" baseline="0" noProof="0" dirty="0">
                <a:ln>
                  <a:noFill/>
                </a:ln>
                <a:solidFill>
                  <a:srgbClr val="8E8581"/>
                </a:solidFill>
                <a:effectLst/>
                <a:uLnTx/>
                <a:uFillTx/>
                <a:latin typeface="Arial" pitchFamily="34" charset="0"/>
                <a:ea typeface="+mn-ea"/>
                <a:cs typeface="Arial" pitchFamily="34" charset="0"/>
              </a:rPr>
              <a:t> </a:t>
            </a:r>
            <a:r>
              <a:rPr kumimoji="0" lang="es-ES_tradnl" sz="800" b="0" i="1" u="none" strike="noStrike" kern="1200" cap="none" spc="0" normalizeH="0" baseline="0" noProof="0" dirty="0" err="1">
                <a:ln>
                  <a:noFill/>
                </a:ln>
                <a:solidFill>
                  <a:srgbClr val="8E8581"/>
                </a:solidFill>
                <a:effectLst/>
                <a:uLnTx/>
                <a:uFillTx/>
                <a:latin typeface="Arial" pitchFamily="34" charset="0"/>
                <a:ea typeface="+mn-ea"/>
                <a:cs typeface="Arial" pitchFamily="34" charset="0"/>
              </a:rPr>
              <a:t>by</a:t>
            </a:r>
            <a:r>
              <a:rPr kumimoji="0" lang="es-ES_tradnl" sz="800" b="0" i="0" u="none" strike="noStrike" kern="1200" cap="none" spc="0" normalizeH="0" baseline="0" noProof="0" dirty="0">
                <a:ln>
                  <a:noFill/>
                </a:ln>
                <a:solidFill>
                  <a:srgbClr val="8E8581"/>
                </a:solidFill>
                <a:effectLst/>
                <a:uLnTx/>
                <a:uFillTx/>
                <a:latin typeface="Arial" pitchFamily="34" charset="0"/>
                <a:ea typeface="+mn-ea"/>
                <a:cs typeface="Arial" pitchFamily="34" charset="0"/>
              </a:rPr>
              <a:t> NIM, estudio por encargo de la Comisión EU | Diciembre 2023 | valores redondeados</a:t>
            </a:r>
          </a:p>
        </p:txBody>
      </p:sp>
    </p:spTree>
    <p:custDataLst>
      <p:tags r:id="rId1"/>
    </p:custDataLst>
    <p:extLst>
      <p:ext uri="{BB962C8B-B14F-4D97-AF65-F5344CB8AC3E}">
        <p14:creationId xmlns:p14="http://schemas.microsoft.com/office/powerpoint/2010/main" val="12944758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7" name="Objekt 216"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Folie" r:id="rId154" imgW="270" imgH="270" progId="TCLayout.ActiveDocument.1">
                  <p:embed/>
                </p:oleObj>
              </mc:Choice>
              <mc:Fallback>
                <p:oleObj name="think-cell Folie" r:id="rId154" imgW="270" imgH="270" progId="TCLayout.ActiveDocument.1">
                  <p:embed/>
                  <p:pic>
                    <p:nvPicPr>
                      <p:cNvPr id="217" name="Objekt 216" hidden="1"/>
                      <p:cNvPicPr/>
                      <p:nvPr/>
                    </p:nvPicPr>
                    <p:blipFill>
                      <a:blip r:embed="rId155"/>
                      <a:stretch>
                        <a:fillRect/>
                      </a:stretch>
                    </p:blipFill>
                    <p:spPr>
                      <a:xfrm>
                        <a:off x="2118" y="2118"/>
                        <a:ext cx="2116" cy="2116"/>
                      </a:xfrm>
                      <a:prstGeom prst="rect">
                        <a:avLst/>
                      </a:prstGeom>
                    </p:spPr>
                  </p:pic>
                </p:oleObj>
              </mc:Fallback>
            </mc:AlternateContent>
          </a:graphicData>
        </a:graphic>
      </p:graphicFrame>
      <p:sp>
        <p:nvSpPr>
          <p:cNvPr id="475" name="Rechteck 474"/>
          <p:cNvSpPr/>
          <p:nvPr>
            <p:custDataLst>
              <p:tags r:id="rId3"/>
            </p:custDataLst>
          </p:nvPr>
        </p:nvSpPr>
        <p:spPr bwMode="gray">
          <a:xfrm>
            <a:off x="1025322" y="3140968"/>
            <a:ext cx="1820823" cy="48005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0960" rIns="0" bIns="60960" numCol="1" spcCol="0" rtlCol="0" fromWordArt="0" anchor="ctr" anchorCtr="0" forceAA="0" compatLnSpc="1">
            <a:prstTxWarp prst="textNoShape">
              <a:avLst/>
            </a:prstTxWarp>
            <a:noAutofit/>
          </a:bodyPr>
          <a:lstStyle/>
          <a:p>
            <a:pPr>
              <a:spcBef>
                <a:spcPts val="400"/>
              </a:spcBef>
            </a:pPr>
            <a:r>
              <a:rPr lang="de-DE" sz="1400" b="1" dirty="0">
                <a:solidFill>
                  <a:schemeClr val="tx1"/>
                </a:solidFill>
                <a:cs typeface="Arial" pitchFamily="34" charset="0"/>
              </a:rPr>
              <a:t>Total UE: </a:t>
            </a:r>
            <a:r>
              <a:rPr lang="de-DE" sz="1400" b="1" dirty="0">
                <a:solidFill>
                  <a:srgbClr val="9B0009"/>
                </a:solidFill>
                <a:cs typeface="Arial" pitchFamily="34" charset="0"/>
              </a:rPr>
              <a:t>-25 </a:t>
            </a:r>
            <a:r>
              <a:rPr lang="de-DE" sz="1400" b="1" dirty="0">
                <a:solidFill>
                  <a:schemeClr val="tx1"/>
                </a:solidFill>
                <a:cs typeface="Arial" pitchFamily="34" charset="0"/>
              </a:rPr>
              <a:t>(+5</a:t>
            </a:r>
            <a:r>
              <a:rPr lang="de-DE" sz="1400" b="1" dirty="0">
                <a:solidFill>
                  <a:schemeClr val="accent2"/>
                </a:solidFill>
                <a:cs typeface="Arial" pitchFamily="34" charset="0"/>
              </a:rPr>
              <a:t> </a:t>
            </a:r>
            <a:r>
              <a:rPr lang="de-DE" sz="1400" b="1" dirty="0">
                <a:solidFill>
                  <a:schemeClr val="tx1"/>
                </a:solidFill>
                <a:cs typeface="Arial" pitchFamily="34" charset="0"/>
              </a:rPr>
              <a:t>    )</a:t>
            </a:r>
          </a:p>
        </p:txBody>
      </p:sp>
      <p:grpSp>
        <p:nvGrpSpPr>
          <p:cNvPr id="5" name="Group 4"/>
          <p:cNvGrpSpPr/>
          <p:nvPr/>
        </p:nvGrpSpPr>
        <p:grpSpPr>
          <a:xfrm>
            <a:off x="2907989" y="643540"/>
            <a:ext cx="8258657" cy="5925538"/>
            <a:chOff x="2159732" y="484981"/>
            <a:chExt cx="6193993" cy="4444153"/>
          </a:xfrm>
        </p:grpSpPr>
        <p:grpSp>
          <p:nvGrpSpPr>
            <p:cNvPr id="906" name="Gruppieren 905"/>
            <p:cNvGrpSpPr/>
            <p:nvPr>
              <p:custDataLst>
                <p:tags r:id="rId83"/>
              </p:custDataLst>
            </p:nvPr>
          </p:nvGrpSpPr>
          <p:grpSpPr bwMode="gray">
            <a:xfrm>
              <a:off x="2475495" y="484981"/>
              <a:ext cx="5878230" cy="4392000"/>
              <a:chOff x="2475495" y="484981"/>
              <a:chExt cx="5878230" cy="4392000"/>
            </a:xfrm>
          </p:grpSpPr>
          <p:sp>
            <p:nvSpPr>
              <p:cNvPr id="757" name="Freeform 65"/>
              <p:cNvSpPr>
                <a:spLocks/>
              </p:cNvSpPr>
              <p:nvPr>
                <p:custDataLst>
                  <p:tags r:id="rId121"/>
                </p:custDataLst>
              </p:nvPr>
            </p:nvSpPr>
            <p:spPr bwMode="gray">
              <a:xfrm>
                <a:off x="5352957" y="4203300"/>
                <a:ext cx="219644" cy="183710"/>
              </a:xfrm>
              <a:custGeom>
                <a:avLst/>
                <a:gdLst>
                  <a:gd name="T0" fmla="*/ 36 w 47"/>
                  <a:gd name="T1" fmla="*/ 2 h 40"/>
                  <a:gd name="T2" fmla="*/ 34 w 47"/>
                  <a:gd name="T3" fmla="*/ 0 h 40"/>
                  <a:gd name="T4" fmla="*/ 30 w 47"/>
                  <a:gd name="T5" fmla="*/ 1 h 40"/>
                  <a:gd name="T6" fmla="*/ 28 w 47"/>
                  <a:gd name="T7" fmla="*/ 1 h 40"/>
                  <a:gd name="T8" fmla="*/ 23 w 47"/>
                  <a:gd name="T9" fmla="*/ 2 h 40"/>
                  <a:gd name="T10" fmla="*/ 20 w 47"/>
                  <a:gd name="T11" fmla="*/ 3 h 40"/>
                  <a:gd name="T12" fmla="*/ 16 w 47"/>
                  <a:gd name="T13" fmla="*/ 5 h 40"/>
                  <a:gd name="T14" fmla="*/ 14 w 47"/>
                  <a:gd name="T15" fmla="*/ 6 h 40"/>
                  <a:gd name="T16" fmla="*/ 11 w 47"/>
                  <a:gd name="T17" fmla="*/ 5 h 40"/>
                  <a:gd name="T18" fmla="*/ 7 w 47"/>
                  <a:gd name="T19" fmla="*/ 8 h 40"/>
                  <a:gd name="T20" fmla="*/ 5 w 47"/>
                  <a:gd name="T21" fmla="*/ 13 h 40"/>
                  <a:gd name="T22" fmla="*/ 2 w 47"/>
                  <a:gd name="T23" fmla="*/ 17 h 40"/>
                  <a:gd name="T24" fmla="*/ 3 w 47"/>
                  <a:gd name="T25" fmla="*/ 21 h 40"/>
                  <a:gd name="T26" fmla="*/ 1 w 47"/>
                  <a:gd name="T27" fmla="*/ 24 h 40"/>
                  <a:gd name="T28" fmla="*/ 3 w 47"/>
                  <a:gd name="T29" fmla="*/ 28 h 40"/>
                  <a:gd name="T30" fmla="*/ 4 w 47"/>
                  <a:gd name="T31" fmla="*/ 32 h 40"/>
                  <a:gd name="T32" fmla="*/ 6 w 47"/>
                  <a:gd name="T33" fmla="*/ 36 h 40"/>
                  <a:gd name="T34" fmla="*/ 8 w 47"/>
                  <a:gd name="T35" fmla="*/ 39 h 40"/>
                  <a:gd name="T36" fmla="*/ 14 w 47"/>
                  <a:gd name="T37" fmla="*/ 40 h 40"/>
                  <a:gd name="T38" fmla="*/ 22 w 47"/>
                  <a:gd name="T39" fmla="*/ 39 h 40"/>
                  <a:gd name="T40" fmla="*/ 27 w 47"/>
                  <a:gd name="T41" fmla="*/ 36 h 40"/>
                  <a:gd name="T42" fmla="*/ 33 w 47"/>
                  <a:gd name="T43" fmla="*/ 33 h 40"/>
                  <a:gd name="T44" fmla="*/ 38 w 47"/>
                  <a:gd name="T45" fmla="*/ 32 h 40"/>
                  <a:gd name="T46" fmla="*/ 44 w 47"/>
                  <a:gd name="T47" fmla="*/ 30 h 40"/>
                  <a:gd name="T48" fmla="*/ 47 w 47"/>
                  <a:gd name="T49" fmla="*/ 26 h 40"/>
                  <a:gd name="T50" fmla="*/ 47 w 47"/>
                  <a:gd name="T51" fmla="*/ 17 h 40"/>
                  <a:gd name="T52" fmla="*/ 46 w 47"/>
                  <a:gd name="T53" fmla="*/ 10 h 40"/>
                  <a:gd name="T54" fmla="*/ 41 w 47"/>
                  <a:gd name="T55" fmla="*/ 8 h 40"/>
                  <a:gd name="T56" fmla="*/ 36 w 47"/>
                  <a:gd name="T57"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7" h="40">
                    <a:moveTo>
                      <a:pt x="36" y="2"/>
                    </a:moveTo>
                    <a:cubicBezTo>
                      <a:pt x="36" y="2"/>
                      <a:pt x="36" y="0"/>
                      <a:pt x="34" y="0"/>
                    </a:cubicBezTo>
                    <a:cubicBezTo>
                      <a:pt x="33" y="0"/>
                      <a:pt x="32" y="0"/>
                      <a:pt x="30" y="1"/>
                    </a:cubicBezTo>
                    <a:cubicBezTo>
                      <a:pt x="29" y="2"/>
                      <a:pt x="29" y="1"/>
                      <a:pt x="28" y="1"/>
                    </a:cubicBezTo>
                    <a:cubicBezTo>
                      <a:pt x="27" y="0"/>
                      <a:pt x="24" y="1"/>
                      <a:pt x="23" y="2"/>
                    </a:cubicBezTo>
                    <a:cubicBezTo>
                      <a:pt x="22" y="3"/>
                      <a:pt x="21" y="3"/>
                      <a:pt x="20" y="3"/>
                    </a:cubicBezTo>
                    <a:cubicBezTo>
                      <a:pt x="19" y="2"/>
                      <a:pt x="17" y="3"/>
                      <a:pt x="16" y="5"/>
                    </a:cubicBezTo>
                    <a:cubicBezTo>
                      <a:pt x="15" y="6"/>
                      <a:pt x="14" y="8"/>
                      <a:pt x="14" y="6"/>
                    </a:cubicBezTo>
                    <a:cubicBezTo>
                      <a:pt x="13" y="5"/>
                      <a:pt x="12" y="4"/>
                      <a:pt x="11" y="5"/>
                    </a:cubicBezTo>
                    <a:cubicBezTo>
                      <a:pt x="10" y="6"/>
                      <a:pt x="8" y="8"/>
                      <a:pt x="7" y="8"/>
                    </a:cubicBezTo>
                    <a:cubicBezTo>
                      <a:pt x="6" y="8"/>
                      <a:pt x="6" y="11"/>
                      <a:pt x="5" y="13"/>
                    </a:cubicBezTo>
                    <a:cubicBezTo>
                      <a:pt x="4" y="15"/>
                      <a:pt x="2" y="16"/>
                      <a:pt x="2" y="17"/>
                    </a:cubicBezTo>
                    <a:cubicBezTo>
                      <a:pt x="1" y="19"/>
                      <a:pt x="3" y="20"/>
                      <a:pt x="3" y="21"/>
                    </a:cubicBezTo>
                    <a:cubicBezTo>
                      <a:pt x="2" y="22"/>
                      <a:pt x="0" y="23"/>
                      <a:pt x="1" y="24"/>
                    </a:cubicBezTo>
                    <a:cubicBezTo>
                      <a:pt x="2" y="25"/>
                      <a:pt x="4" y="26"/>
                      <a:pt x="3" y="28"/>
                    </a:cubicBezTo>
                    <a:cubicBezTo>
                      <a:pt x="2" y="29"/>
                      <a:pt x="3" y="31"/>
                      <a:pt x="4" y="32"/>
                    </a:cubicBezTo>
                    <a:cubicBezTo>
                      <a:pt x="5" y="33"/>
                      <a:pt x="6" y="35"/>
                      <a:pt x="6" y="36"/>
                    </a:cubicBezTo>
                    <a:cubicBezTo>
                      <a:pt x="6" y="38"/>
                      <a:pt x="6" y="40"/>
                      <a:pt x="8" y="39"/>
                    </a:cubicBezTo>
                    <a:cubicBezTo>
                      <a:pt x="9" y="39"/>
                      <a:pt x="13" y="40"/>
                      <a:pt x="14" y="40"/>
                    </a:cubicBezTo>
                    <a:cubicBezTo>
                      <a:pt x="15" y="40"/>
                      <a:pt x="20" y="39"/>
                      <a:pt x="22" y="39"/>
                    </a:cubicBezTo>
                    <a:cubicBezTo>
                      <a:pt x="24" y="39"/>
                      <a:pt x="26" y="38"/>
                      <a:pt x="27" y="36"/>
                    </a:cubicBezTo>
                    <a:cubicBezTo>
                      <a:pt x="29" y="34"/>
                      <a:pt x="31" y="33"/>
                      <a:pt x="33" y="33"/>
                    </a:cubicBezTo>
                    <a:cubicBezTo>
                      <a:pt x="34" y="33"/>
                      <a:pt x="36" y="33"/>
                      <a:pt x="38" y="32"/>
                    </a:cubicBezTo>
                    <a:cubicBezTo>
                      <a:pt x="40" y="32"/>
                      <a:pt x="44" y="32"/>
                      <a:pt x="44" y="30"/>
                    </a:cubicBezTo>
                    <a:cubicBezTo>
                      <a:pt x="45" y="28"/>
                      <a:pt x="47" y="26"/>
                      <a:pt x="47" y="26"/>
                    </a:cubicBezTo>
                    <a:cubicBezTo>
                      <a:pt x="47" y="26"/>
                      <a:pt x="47" y="19"/>
                      <a:pt x="47" y="17"/>
                    </a:cubicBezTo>
                    <a:cubicBezTo>
                      <a:pt x="47" y="14"/>
                      <a:pt x="46" y="12"/>
                      <a:pt x="46" y="10"/>
                    </a:cubicBezTo>
                    <a:cubicBezTo>
                      <a:pt x="45" y="7"/>
                      <a:pt x="43" y="9"/>
                      <a:pt x="41" y="8"/>
                    </a:cubicBezTo>
                    <a:cubicBezTo>
                      <a:pt x="39" y="6"/>
                      <a:pt x="36" y="2"/>
                      <a:pt x="36" y="2"/>
                    </a:cubicBez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58" name="Freeform 66"/>
              <p:cNvSpPr>
                <a:spLocks/>
              </p:cNvSpPr>
              <p:nvPr>
                <p:custDataLst>
                  <p:tags r:id="rId122"/>
                </p:custDataLst>
              </p:nvPr>
            </p:nvSpPr>
            <p:spPr bwMode="gray">
              <a:xfrm>
                <a:off x="5258104" y="4162702"/>
                <a:ext cx="163122" cy="357609"/>
              </a:xfrm>
              <a:custGeom>
                <a:avLst/>
                <a:gdLst>
                  <a:gd name="T0" fmla="*/ 1 w 34"/>
                  <a:gd name="T1" fmla="*/ 23 h 86"/>
                  <a:gd name="T2" fmla="*/ 2 w 34"/>
                  <a:gd name="T3" fmla="*/ 24 h 86"/>
                  <a:gd name="T4" fmla="*/ 5 w 34"/>
                  <a:gd name="T5" fmla="*/ 27 h 86"/>
                  <a:gd name="T6" fmla="*/ 4 w 34"/>
                  <a:gd name="T7" fmla="*/ 33 h 86"/>
                  <a:gd name="T8" fmla="*/ 3 w 34"/>
                  <a:gd name="T9" fmla="*/ 37 h 86"/>
                  <a:gd name="T10" fmla="*/ 4 w 34"/>
                  <a:gd name="T11" fmla="*/ 39 h 86"/>
                  <a:gd name="T12" fmla="*/ 3 w 34"/>
                  <a:gd name="T13" fmla="*/ 44 h 86"/>
                  <a:gd name="T14" fmla="*/ 5 w 34"/>
                  <a:gd name="T15" fmla="*/ 47 h 86"/>
                  <a:gd name="T16" fmla="*/ 3 w 34"/>
                  <a:gd name="T17" fmla="*/ 49 h 86"/>
                  <a:gd name="T18" fmla="*/ 1 w 34"/>
                  <a:gd name="T19" fmla="*/ 54 h 86"/>
                  <a:gd name="T20" fmla="*/ 1 w 34"/>
                  <a:gd name="T21" fmla="*/ 57 h 86"/>
                  <a:gd name="T22" fmla="*/ 4 w 34"/>
                  <a:gd name="T23" fmla="*/ 61 h 86"/>
                  <a:gd name="T24" fmla="*/ 4 w 34"/>
                  <a:gd name="T25" fmla="*/ 63 h 86"/>
                  <a:gd name="T26" fmla="*/ 2 w 34"/>
                  <a:gd name="T27" fmla="*/ 63 h 86"/>
                  <a:gd name="T28" fmla="*/ 3 w 34"/>
                  <a:gd name="T29" fmla="*/ 67 h 86"/>
                  <a:gd name="T30" fmla="*/ 7 w 34"/>
                  <a:gd name="T31" fmla="*/ 70 h 86"/>
                  <a:gd name="T32" fmla="*/ 11 w 34"/>
                  <a:gd name="T33" fmla="*/ 72 h 86"/>
                  <a:gd name="T34" fmla="*/ 15 w 34"/>
                  <a:gd name="T35" fmla="*/ 79 h 86"/>
                  <a:gd name="T36" fmla="*/ 16 w 34"/>
                  <a:gd name="T37" fmla="*/ 84 h 86"/>
                  <a:gd name="T38" fmla="*/ 20 w 34"/>
                  <a:gd name="T39" fmla="*/ 83 h 86"/>
                  <a:gd name="T40" fmla="*/ 21 w 34"/>
                  <a:gd name="T41" fmla="*/ 77 h 86"/>
                  <a:gd name="T42" fmla="*/ 23 w 34"/>
                  <a:gd name="T43" fmla="*/ 72 h 86"/>
                  <a:gd name="T44" fmla="*/ 27 w 34"/>
                  <a:gd name="T45" fmla="*/ 71 h 86"/>
                  <a:gd name="T46" fmla="*/ 29 w 34"/>
                  <a:gd name="T47" fmla="*/ 64 h 86"/>
                  <a:gd name="T48" fmla="*/ 33 w 34"/>
                  <a:gd name="T49" fmla="*/ 59 h 86"/>
                  <a:gd name="T50" fmla="*/ 33 w 34"/>
                  <a:gd name="T51" fmla="*/ 52 h 86"/>
                  <a:gd name="T52" fmla="*/ 32 w 34"/>
                  <a:gd name="T53" fmla="*/ 50 h 86"/>
                  <a:gd name="T54" fmla="*/ 32 w 34"/>
                  <a:gd name="T55" fmla="*/ 50 h 86"/>
                  <a:gd name="T56" fmla="*/ 32 w 34"/>
                  <a:gd name="T57" fmla="*/ 50 h 86"/>
                  <a:gd name="T58" fmla="*/ 29 w 34"/>
                  <a:gd name="T59" fmla="*/ 49 h 86"/>
                  <a:gd name="T60" fmla="*/ 27 w 34"/>
                  <a:gd name="T61" fmla="*/ 46 h 86"/>
                  <a:gd name="T62" fmla="*/ 25 w 34"/>
                  <a:gd name="T63" fmla="*/ 42 h 86"/>
                  <a:gd name="T64" fmla="*/ 24 w 34"/>
                  <a:gd name="T65" fmla="*/ 38 h 86"/>
                  <a:gd name="T66" fmla="*/ 22 w 34"/>
                  <a:gd name="T67" fmla="*/ 34 h 86"/>
                  <a:gd name="T68" fmla="*/ 24 w 34"/>
                  <a:gd name="T69" fmla="*/ 31 h 86"/>
                  <a:gd name="T70" fmla="*/ 23 w 34"/>
                  <a:gd name="T71" fmla="*/ 27 h 86"/>
                  <a:gd name="T72" fmla="*/ 24 w 34"/>
                  <a:gd name="T73" fmla="*/ 25 h 86"/>
                  <a:gd name="T74" fmla="*/ 23 w 34"/>
                  <a:gd name="T75" fmla="*/ 16 h 86"/>
                  <a:gd name="T76" fmla="*/ 19 w 34"/>
                  <a:gd name="T77" fmla="*/ 12 h 86"/>
                  <a:gd name="T78" fmla="*/ 17 w 34"/>
                  <a:gd name="T79" fmla="*/ 9 h 86"/>
                  <a:gd name="T80" fmla="*/ 15 w 34"/>
                  <a:gd name="T81" fmla="*/ 5 h 86"/>
                  <a:gd name="T82" fmla="*/ 14 w 34"/>
                  <a:gd name="T83" fmla="*/ 2 h 86"/>
                  <a:gd name="T84" fmla="*/ 12 w 34"/>
                  <a:gd name="T85" fmla="*/ 6 h 86"/>
                  <a:gd name="T86" fmla="*/ 8 w 34"/>
                  <a:gd name="T87" fmla="*/ 4 h 86"/>
                  <a:gd name="T88" fmla="*/ 5 w 34"/>
                  <a:gd name="T89" fmla="*/ 3 h 86"/>
                  <a:gd name="T90" fmla="*/ 2 w 34"/>
                  <a:gd name="T91" fmla="*/ 10 h 86"/>
                  <a:gd name="T92" fmla="*/ 1 w 34"/>
                  <a:gd name="T93" fmla="*/ 19 h 86"/>
                  <a:gd name="T94" fmla="*/ 1 w 34"/>
                  <a:gd name="T95" fmla="*/ 23 h 86"/>
                  <a:gd name="connsiteX0" fmla="*/ 131 w 9673"/>
                  <a:gd name="connsiteY0" fmla="*/ 2506 h 9486"/>
                  <a:gd name="connsiteX1" fmla="*/ 425 w 9673"/>
                  <a:gd name="connsiteY1" fmla="*/ 2623 h 9486"/>
                  <a:gd name="connsiteX2" fmla="*/ 1308 w 9673"/>
                  <a:gd name="connsiteY2" fmla="*/ 2972 h 9486"/>
                  <a:gd name="connsiteX3" fmla="*/ 1013 w 9673"/>
                  <a:gd name="connsiteY3" fmla="*/ 3669 h 9486"/>
                  <a:gd name="connsiteX4" fmla="*/ 719 w 9673"/>
                  <a:gd name="connsiteY4" fmla="*/ 4134 h 9486"/>
                  <a:gd name="connsiteX5" fmla="*/ 1013 w 9673"/>
                  <a:gd name="connsiteY5" fmla="*/ 4367 h 9486"/>
                  <a:gd name="connsiteX6" fmla="*/ 719 w 9673"/>
                  <a:gd name="connsiteY6" fmla="*/ 4948 h 9486"/>
                  <a:gd name="connsiteX7" fmla="*/ 1308 w 9673"/>
                  <a:gd name="connsiteY7" fmla="*/ 5297 h 9486"/>
                  <a:gd name="connsiteX8" fmla="*/ 719 w 9673"/>
                  <a:gd name="connsiteY8" fmla="*/ 5530 h 9486"/>
                  <a:gd name="connsiteX9" fmla="*/ 131 w 9673"/>
                  <a:gd name="connsiteY9" fmla="*/ 6111 h 9486"/>
                  <a:gd name="connsiteX10" fmla="*/ 131 w 9673"/>
                  <a:gd name="connsiteY10" fmla="*/ 6460 h 9486"/>
                  <a:gd name="connsiteX11" fmla="*/ 1013 w 9673"/>
                  <a:gd name="connsiteY11" fmla="*/ 6925 h 9486"/>
                  <a:gd name="connsiteX12" fmla="*/ 1013 w 9673"/>
                  <a:gd name="connsiteY12" fmla="*/ 7158 h 9486"/>
                  <a:gd name="connsiteX13" fmla="*/ 425 w 9673"/>
                  <a:gd name="connsiteY13" fmla="*/ 7158 h 9486"/>
                  <a:gd name="connsiteX14" fmla="*/ 719 w 9673"/>
                  <a:gd name="connsiteY14" fmla="*/ 7623 h 9486"/>
                  <a:gd name="connsiteX15" fmla="*/ 1896 w 9673"/>
                  <a:gd name="connsiteY15" fmla="*/ 7972 h 9486"/>
                  <a:gd name="connsiteX16" fmla="*/ 3072 w 9673"/>
                  <a:gd name="connsiteY16" fmla="*/ 8204 h 9486"/>
                  <a:gd name="connsiteX17" fmla="*/ 4249 w 9673"/>
                  <a:gd name="connsiteY17" fmla="*/ 9018 h 9486"/>
                  <a:gd name="connsiteX18" fmla="*/ 5719 w 9673"/>
                  <a:gd name="connsiteY18" fmla="*/ 9483 h 9486"/>
                  <a:gd name="connsiteX19" fmla="*/ 6013 w 9673"/>
                  <a:gd name="connsiteY19" fmla="*/ 8785 h 9486"/>
                  <a:gd name="connsiteX20" fmla="*/ 6602 w 9673"/>
                  <a:gd name="connsiteY20" fmla="*/ 8204 h 9486"/>
                  <a:gd name="connsiteX21" fmla="*/ 7778 w 9673"/>
                  <a:gd name="connsiteY21" fmla="*/ 8088 h 9486"/>
                  <a:gd name="connsiteX22" fmla="*/ 8366 w 9673"/>
                  <a:gd name="connsiteY22" fmla="*/ 7274 h 9486"/>
                  <a:gd name="connsiteX23" fmla="*/ 9543 w 9673"/>
                  <a:gd name="connsiteY23" fmla="*/ 6692 h 9486"/>
                  <a:gd name="connsiteX24" fmla="*/ 9543 w 9673"/>
                  <a:gd name="connsiteY24" fmla="*/ 5879 h 9486"/>
                  <a:gd name="connsiteX25" fmla="*/ 9249 w 9673"/>
                  <a:gd name="connsiteY25" fmla="*/ 5646 h 9486"/>
                  <a:gd name="connsiteX26" fmla="*/ 9249 w 9673"/>
                  <a:gd name="connsiteY26" fmla="*/ 5646 h 9486"/>
                  <a:gd name="connsiteX27" fmla="*/ 9249 w 9673"/>
                  <a:gd name="connsiteY27" fmla="*/ 5646 h 9486"/>
                  <a:gd name="connsiteX28" fmla="*/ 8366 w 9673"/>
                  <a:gd name="connsiteY28" fmla="*/ 5530 h 9486"/>
                  <a:gd name="connsiteX29" fmla="*/ 7778 w 9673"/>
                  <a:gd name="connsiteY29" fmla="*/ 5181 h 9486"/>
                  <a:gd name="connsiteX30" fmla="*/ 7190 w 9673"/>
                  <a:gd name="connsiteY30" fmla="*/ 4716 h 9486"/>
                  <a:gd name="connsiteX31" fmla="*/ 6896 w 9673"/>
                  <a:gd name="connsiteY31" fmla="*/ 4251 h 9486"/>
                  <a:gd name="connsiteX32" fmla="*/ 6308 w 9673"/>
                  <a:gd name="connsiteY32" fmla="*/ 3785 h 9486"/>
                  <a:gd name="connsiteX33" fmla="*/ 6896 w 9673"/>
                  <a:gd name="connsiteY33" fmla="*/ 3437 h 9486"/>
                  <a:gd name="connsiteX34" fmla="*/ 6602 w 9673"/>
                  <a:gd name="connsiteY34" fmla="*/ 2972 h 9486"/>
                  <a:gd name="connsiteX35" fmla="*/ 6896 w 9673"/>
                  <a:gd name="connsiteY35" fmla="*/ 2739 h 9486"/>
                  <a:gd name="connsiteX36" fmla="*/ 6602 w 9673"/>
                  <a:gd name="connsiteY36" fmla="*/ 1692 h 9486"/>
                  <a:gd name="connsiteX37" fmla="*/ 5425 w 9673"/>
                  <a:gd name="connsiteY37" fmla="*/ 1227 h 9486"/>
                  <a:gd name="connsiteX38" fmla="*/ 4837 w 9673"/>
                  <a:gd name="connsiteY38" fmla="*/ 879 h 9486"/>
                  <a:gd name="connsiteX39" fmla="*/ 4249 w 9673"/>
                  <a:gd name="connsiteY39" fmla="*/ 413 h 9486"/>
                  <a:gd name="connsiteX40" fmla="*/ 3955 w 9673"/>
                  <a:gd name="connsiteY40" fmla="*/ 65 h 9486"/>
                  <a:gd name="connsiteX41" fmla="*/ 3366 w 9673"/>
                  <a:gd name="connsiteY41" fmla="*/ 530 h 9486"/>
                  <a:gd name="connsiteX42" fmla="*/ 2190 w 9673"/>
                  <a:gd name="connsiteY42" fmla="*/ 297 h 9486"/>
                  <a:gd name="connsiteX43" fmla="*/ 1308 w 9673"/>
                  <a:gd name="connsiteY43" fmla="*/ 181 h 9486"/>
                  <a:gd name="connsiteX44" fmla="*/ 425 w 9673"/>
                  <a:gd name="connsiteY44" fmla="*/ 995 h 9486"/>
                  <a:gd name="connsiteX45" fmla="*/ 131 w 9673"/>
                  <a:gd name="connsiteY45" fmla="*/ 2041 h 9486"/>
                  <a:gd name="connsiteX46" fmla="*/ 131 w 9673"/>
                  <a:gd name="connsiteY46" fmla="*/ 2506 h 9486"/>
                  <a:gd name="connsiteX0" fmla="*/ 135 w 10001"/>
                  <a:gd name="connsiteY0" fmla="*/ 2642 h 9534"/>
                  <a:gd name="connsiteX1" fmla="*/ 439 w 10001"/>
                  <a:gd name="connsiteY1" fmla="*/ 2765 h 9534"/>
                  <a:gd name="connsiteX2" fmla="*/ 1352 w 10001"/>
                  <a:gd name="connsiteY2" fmla="*/ 3133 h 9534"/>
                  <a:gd name="connsiteX3" fmla="*/ 1047 w 10001"/>
                  <a:gd name="connsiteY3" fmla="*/ 3868 h 9534"/>
                  <a:gd name="connsiteX4" fmla="*/ 743 w 10001"/>
                  <a:gd name="connsiteY4" fmla="*/ 4358 h 9534"/>
                  <a:gd name="connsiteX5" fmla="*/ 1047 w 10001"/>
                  <a:gd name="connsiteY5" fmla="*/ 4604 h 9534"/>
                  <a:gd name="connsiteX6" fmla="*/ 743 w 10001"/>
                  <a:gd name="connsiteY6" fmla="*/ 5216 h 9534"/>
                  <a:gd name="connsiteX7" fmla="*/ 1352 w 10001"/>
                  <a:gd name="connsiteY7" fmla="*/ 5584 h 9534"/>
                  <a:gd name="connsiteX8" fmla="*/ 743 w 10001"/>
                  <a:gd name="connsiteY8" fmla="*/ 5830 h 9534"/>
                  <a:gd name="connsiteX9" fmla="*/ 135 w 10001"/>
                  <a:gd name="connsiteY9" fmla="*/ 6442 h 9534"/>
                  <a:gd name="connsiteX10" fmla="*/ 135 w 10001"/>
                  <a:gd name="connsiteY10" fmla="*/ 6810 h 9534"/>
                  <a:gd name="connsiteX11" fmla="*/ 1047 w 10001"/>
                  <a:gd name="connsiteY11" fmla="*/ 7300 h 9534"/>
                  <a:gd name="connsiteX12" fmla="*/ 1047 w 10001"/>
                  <a:gd name="connsiteY12" fmla="*/ 7546 h 9534"/>
                  <a:gd name="connsiteX13" fmla="*/ 439 w 10001"/>
                  <a:gd name="connsiteY13" fmla="*/ 7546 h 9534"/>
                  <a:gd name="connsiteX14" fmla="*/ 743 w 10001"/>
                  <a:gd name="connsiteY14" fmla="*/ 8036 h 9534"/>
                  <a:gd name="connsiteX15" fmla="*/ 1960 w 10001"/>
                  <a:gd name="connsiteY15" fmla="*/ 8404 h 9534"/>
                  <a:gd name="connsiteX16" fmla="*/ 3176 w 10001"/>
                  <a:gd name="connsiteY16" fmla="*/ 8649 h 9534"/>
                  <a:gd name="connsiteX17" fmla="*/ 4393 w 10001"/>
                  <a:gd name="connsiteY17" fmla="*/ 9507 h 9534"/>
                  <a:gd name="connsiteX18" fmla="*/ 6216 w 10001"/>
                  <a:gd name="connsiteY18" fmla="*/ 9261 h 9534"/>
                  <a:gd name="connsiteX19" fmla="*/ 6825 w 10001"/>
                  <a:gd name="connsiteY19" fmla="*/ 8649 h 9534"/>
                  <a:gd name="connsiteX20" fmla="*/ 8041 w 10001"/>
                  <a:gd name="connsiteY20" fmla="*/ 8526 h 9534"/>
                  <a:gd name="connsiteX21" fmla="*/ 8649 w 10001"/>
                  <a:gd name="connsiteY21" fmla="*/ 7668 h 9534"/>
                  <a:gd name="connsiteX22" fmla="*/ 9866 w 10001"/>
                  <a:gd name="connsiteY22" fmla="*/ 7055 h 9534"/>
                  <a:gd name="connsiteX23" fmla="*/ 9866 w 10001"/>
                  <a:gd name="connsiteY23" fmla="*/ 6198 h 9534"/>
                  <a:gd name="connsiteX24" fmla="*/ 9562 w 10001"/>
                  <a:gd name="connsiteY24" fmla="*/ 5952 h 9534"/>
                  <a:gd name="connsiteX25" fmla="*/ 9562 w 10001"/>
                  <a:gd name="connsiteY25" fmla="*/ 5952 h 9534"/>
                  <a:gd name="connsiteX26" fmla="*/ 9562 w 10001"/>
                  <a:gd name="connsiteY26" fmla="*/ 5952 h 9534"/>
                  <a:gd name="connsiteX27" fmla="*/ 8649 w 10001"/>
                  <a:gd name="connsiteY27" fmla="*/ 5830 h 9534"/>
                  <a:gd name="connsiteX28" fmla="*/ 8041 w 10001"/>
                  <a:gd name="connsiteY28" fmla="*/ 5462 h 9534"/>
                  <a:gd name="connsiteX29" fmla="*/ 7433 w 10001"/>
                  <a:gd name="connsiteY29" fmla="*/ 4972 h 9534"/>
                  <a:gd name="connsiteX30" fmla="*/ 7129 w 10001"/>
                  <a:gd name="connsiteY30" fmla="*/ 4481 h 9534"/>
                  <a:gd name="connsiteX31" fmla="*/ 6521 w 10001"/>
                  <a:gd name="connsiteY31" fmla="*/ 3990 h 9534"/>
                  <a:gd name="connsiteX32" fmla="*/ 7129 w 10001"/>
                  <a:gd name="connsiteY32" fmla="*/ 3623 h 9534"/>
                  <a:gd name="connsiteX33" fmla="*/ 6825 w 10001"/>
                  <a:gd name="connsiteY33" fmla="*/ 3133 h 9534"/>
                  <a:gd name="connsiteX34" fmla="*/ 7129 w 10001"/>
                  <a:gd name="connsiteY34" fmla="*/ 2887 h 9534"/>
                  <a:gd name="connsiteX35" fmla="*/ 6825 w 10001"/>
                  <a:gd name="connsiteY35" fmla="*/ 1784 h 9534"/>
                  <a:gd name="connsiteX36" fmla="*/ 5608 w 10001"/>
                  <a:gd name="connsiteY36" fmla="*/ 1293 h 9534"/>
                  <a:gd name="connsiteX37" fmla="*/ 5001 w 10001"/>
                  <a:gd name="connsiteY37" fmla="*/ 927 h 9534"/>
                  <a:gd name="connsiteX38" fmla="*/ 4393 w 10001"/>
                  <a:gd name="connsiteY38" fmla="*/ 435 h 9534"/>
                  <a:gd name="connsiteX39" fmla="*/ 4089 w 10001"/>
                  <a:gd name="connsiteY39" fmla="*/ 69 h 9534"/>
                  <a:gd name="connsiteX40" fmla="*/ 3480 w 10001"/>
                  <a:gd name="connsiteY40" fmla="*/ 559 h 9534"/>
                  <a:gd name="connsiteX41" fmla="*/ 2264 w 10001"/>
                  <a:gd name="connsiteY41" fmla="*/ 313 h 9534"/>
                  <a:gd name="connsiteX42" fmla="*/ 1352 w 10001"/>
                  <a:gd name="connsiteY42" fmla="*/ 191 h 9534"/>
                  <a:gd name="connsiteX43" fmla="*/ 439 w 10001"/>
                  <a:gd name="connsiteY43" fmla="*/ 1049 h 9534"/>
                  <a:gd name="connsiteX44" fmla="*/ 135 w 10001"/>
                  <a:gd name="connsiteY44" fmla="*/ 2152 h 9534"/>
                  <a:gd name="connsiteX45" fmla="*/ 135 w 10001"/>
                  <a:gd name="connsiteY45" fmla="*/ 2642 h 9534"/>
                  <a:gd name="connsiteX0" fmla="*/ 135 w 10696"/>
                  <a:gd name="connsiteY0" fmla="*/ 2771 h 10000"/>
                  <a:gd name="connsiteX1" fmla="*/ 439 w 10696"/>
                  <a:gd name="connsiteY1" fmla="*/ 2900 h 10000"/>
                  <a:gd name="connsiteX2" fmla="*/ 1352 w 10696"/>
                  <a:gd name="connsiteY2" fmla="*/ 3286 h 10000"/>
                  <a:gd name="connsiteX3" fmla="*/ 1047 w 10696"/>
                  <a:gd name="connsiteY3" fmla="*/ 4057 h 10000"/>
                  <a:gd name="connsiteX4" fmla="*/ 743 w 10696"/>
                  <a:gd name="connsiteY4" fmla="*/ 4571 h 10000"/>
                  <a:gd name="connsiteX5" fmla="*/ 1047 w 10696"/>
                  <a:gd name="connsiteY5" fmla="*/ 4829 h 10000"/>
                  <a:gd name="connsiteX6" fmla="*/ 743 w 10696"/>
                  <a:gd name="connsiteY6" fmla="*/ 5471 h 10000"/>
                  <a:gd name="connsiteX7" fmla="*/ 1352 w 10696"/>
                  <a:gd name="connsiteY7" fmla="*/ 5857 h 10000"/>
                  <a:gd name="connsiteX8" fmla="*/ 743 w 10696"/>
                  <a:gd name="connsiteY8" fmla="*/ 6115 h 10000"/>
                  <a:gd name="connsiteX9" fmla="*/ 135 w 10696"/>
                  <a:gd name="connsiteY9" fmla="*/ 6757 h 10000"/>
                  <a:gd name="connsiteX10" fmla="*/ 135 w 10696"/>
                  <a:gd name="connsiteY10" fmla="*/ 7143 h 10000"/>
                  <a:gd name="connsiteX11" fmla="*/ 1047 w 10696"/>
                  <a:gd name="connsiteY11" fmla="*/ 7657 h 10000"/>
                  <a:gd name="connsiteX12" fmla="*/ 1047 w 10696"/>
                  <a:gd name="connsiteY12" fmla="*/ 7915 h 10000"/>
                  <a:gd name="connsiteX13" fmla="*/ 439 w 10696"/>
                  <a:gd name="connsiteY13" fmla="*/ 7915 h 10000"/>
                  <a:gd name="connsiteX14" fmla="*/ 743 w 10696"/>
                  <a:gd name="connsiteY14" fmla="*/ 8429 h 10000"/>
                  <a:gd name="connsiteX15" fmla="*/ 1960 w 10696"/>
                  <a:gd name="connsiteY15" fmla="*/ 8815 h 10000"/>
                  <a:gd name="connsiteX16" fmla="*/ 3176 w 10696"/>
                  <a:gd name="connsiteY16" fmla="*/ 9072 h 10000"/>
                  <a:gd name="connsiteX17" fmla="*/ 4393 w 10696"/>
                  <a:gd name="connsiteY17" fmla="*/ 9972 h 10000"/>
                  <a:gd name="connsiteX18" fmla="*/ 6215 w 10696"/>
                  <a:gd name="connsiteY18" fmla="*/ 9714 h 10000"/>
                  <a:gd name="connsiteX19" fmla="*/ 6824 w 10696"/>
                  <a:gd name="connsiteY19" fmla="*/ 9072 h 10000"/>
                  <a:gd name="connsiteX20" fmla="*/ 8040 w 10696"/>
                  <a:gd name="connsiteY20" fmla="*/ 8943 h 10000"/>
                  <a:gd name="connsiteX21" fmla="*/ 8648 w 10696"/>
                  <a:gd name="connsiteY21" fmla="*/ 8043 h 10000"/>
                  <a:gd name="connsiteX22" fmla="*/ 9865 w 10696"/>
                  <a:gd name="connsiteY22" fmla="*/ 7400 h 10000"/>
                  <a:gd name="connsiteX23" fmla="*/ 9865 w 10696"/>
                  <a:gd name="connsiteY23" fmla="*/ 6501 h 10000"/>
                  <a:gd name="connsiteX24" fmla="*/ 9561 w 10696"/>
                  <a:gd name="connsiteY24" fmla="*/ 6243 h 10000"/>
                  <a:gd name="connsiteX25" fmla="*/ 9561 w 10696"/>
                  <a:gd name="connsiteY25" fmla="*/ 6243 h 10000"/>
                  <a:gd name="connsiteX26" fmla="*/ 9561 w 10696"/>
                  <a:gd name="connsiteY26" fmla="*/ 6243 h 10000"/>
                  <a:gd name="connsiteX27" fmla="*/ 10647 w 10696"/>
                  <a:gd name="connsiteY27" fmla="*/ 5871 h 10000"/>
                  <a:gd name="connsiteX28" fmla="*/ 8040 w 10696"/>
                  <a:gd name="connsiteY28" fmla="*/ 5729 h 10000"/>
                  <a:gd name="connsiteX29" fmla="*/ 7432 w 10696"/>
                  <a:gd name="connsiteY29" fmla="*/ 5215 h 10000"/>
                  <a:gd name="connsiteX30" fmla="*/ 7128 w 10696"/>
                  <a:gd name="connsiteY30" fmla="*/ 4700 h 10000"/>
                  <a:gd name="connsiteX31" fmla="*/ 6520 w 10696"/>
                  <a:gd name="connsiteY31" fmla="*/ 4185 h 10000"/>
                  <a:gd name="connsiteX32" fmla="*/ 7128 w 10696"/>
                  <a:gd name="connsiteY32" fmla="*/ 3800 h 10000"/>
                  <a:gd name="connsiteX33" fmla="*/ 6824 w 10696"/>
                  <a:gd name="connsiteY33" fmla="*/ 3286 h 10000"/>
                  <a:gd name="connsiteX34" fmla="*/ 7128 w 10696"/>
                  <a:gd name="connsiteY34" fmla="*/ 3028 h 10000"/>
                  <a:gd name="connsiteX35" fmla="*/ 6824 w 10696"/>
                  <a:gd name="connsiteY35" fmla="*/ 1871 h 10000"/>
                  <a:gd name="connsiteX36" fmla="*/ 5607 w 10696"/>
                  <a:gd name="connsiteY36" fmla="*/ 1356 h 10000"/>
                  <a:gd name="connsiteX37" fmla="*/ 5000 w 10696"/>
                  <a:gd name="connsiteY37" fmla="*/ 972 h 10000"/>
                  <a:gd name="connsiteX38" fmla="*/ 4393 w 10696"/>
                  <a:gd name="connsiteY38" fmla="*/ 456 h 10000"/>
                  <a:gd name="connsiteX39" fmla="*/ 4089 w 10696"/>
                  <a:gd name="connsiteY39" fmla="*/ 72 h 10000"/>
                  <a:gd name="connsiteX40" fmla="*/ 3480 w 10696"/>
                  <a:gd name="connsiteY40" fmla="*/ 586 h 10000"/>
                  <a:gd name="connsiteX41" fmla="*/ 2264 w 10696"/>
                  <a:gd name="connsiteY41" fmla="*/ 328 h 10000"/>
                  <a:gd name="connsiteX42" fmla="*/ 1352 w 10696"/>
                  <a:gd name="connsiteY42" fmla="*/ 200 h 10000"/>
                  <a:gd name="connsiteX43" fmla="*/ 439 w 10696"/>
                  <a:gd name="connsiteY43" fmla="*/ 1100 h 10000"/>
                  <a:gd name="connsiteX44" fmla="*/ 135 w 10696"/>
                  <a:gd name="connsiteY44" fmla="*/ 2257 h 10000"/>
                  <a:gd name="connsiteX45" fmla="*/ 135 w 10696"/>
                  <a:gd name="connsiteY45" fmla="*/ 2771 h 10000"/>
                  <a:gd name="connsiteX0" fmla="*/ 135 w 10696"/>
                  <a:gd name="connsiteY0" fmla="*/ 2771 h 10000"/>
                  <a:gd name="connsiteX1" fmla="*/ 439 w 10696"/>
                  <a:gd name="connsiteY1" fmla="*/ 2900 h 10000"/>
                  <a:gd name="connsiteX2" fmla="*/ 1352 w 10696"/>
                  <a:gd name="connsiteY2" fmla="*/ 3286 h 10000"/>
                  <a:gd name="connsiteX3" fmla="*/ 1047 w 10696"/>
                  <a:gd name="connsiteY3" fmla="*/ 4057 h 10000"/>
                  <a:gd name="connsiteX4" fmla="*/ 743 w 10696"/>
                  <a:gd name="connsiteY4" fmla="*/ 4571 h 10000"/>
                  <a:gd name="connsiteX5" fmla="*/ 1047 w 10696"/>
                  <a:gd name="connsiteY5" fmla="*/ 4829 h 10000"/>
                  <a:gd name="connsiteX6" fmla="*/ 743 w 10696"/>
                  <a:gd name="connsiteY6" fmla="*/ 5471 h 10000"/>
                  <a:gd name="connsiteX7" fmla="*/ 1352 w 10696"/>
                  <a:gd name="connsiteY7" fmla="*/ 5857 h 10000"/>
                  <a:gd name="connsiteX8" fmla="*/ 743 w 10696"/>
                  <a:gd name="connsiteY8" fmla="*/ 6115 h 10000"/>
                  <a:gd name="connsiteX9" fmla="*/ 135 w 10696"/>
                  <a:gd name="connsiteY9" fmla="*/ 6757 h 10000"/>
                  <a:gd name="connsiteX10" fmla="*/ 135 w 10696"/>
                  <a:gd name="connsiteY10" fmla="*/ 7143 h 10000"/>
                  <a:gd name="connsiteX11" fmla="*/ 1047 w 10696"/>
                  <a:gd name="connsiteY11" fmla="*/ 7657 h 10000"/>
                  <a:gd name="connsiteX12" fmla="*/ 1047 w 10696"/>
                  <a:gd name="connsiteY12" fmla="*/ 7915 h 10000"/>
                  <a:gd name="connsiteX13" fmla="*/ 439 w 10696"/>
                  <a:gd name="connsiteY13" fmla="*/ 7915 h 10000"/>
                  <a:gd name="connsiteX14" fmla="*/ 743 w 10696"/>
                  <a:gd name="connsiteY14" fmla="*/ 8429 h 10000"/>
                  <a:gd name="connsiteX15" fmla="*/ 1960 w 10696"/>
                  <a:gd name="connsiteY15" fmla="*/ 8815 h 10000"/>
                  <a:gd name="connsiteX16" fmla="*/ 3176 w 10696"/>
                  <a:gd name="connsiteY16" fmla="*/ 9072 h 10000"/>
                  <a:gd name="connsiteX17" fmla="*/ 4393 w 10696"/>
                  <a:gd name="connsiteY17" fmla="*/ 9972 h 10000"/>
                  <a:gd name="connsiteX18" fmla="*/ 6215 w 10696"/>
                  <a:gd name="connsiteY18" fmla="*/ 9714 h 10000"/>
                  <a:gd name="connsiteX19" fmla="*/ 6824 w 10696"/>
                  <a:gd name="connsiteY19" fmla="*/ 9072 h 10000"/>
                  <a:gd name="connsiteX20" fmla="*/ 8040 w 10696"/>
                  <a:gd name="connsiteY20" fmla="*/ 8943 h 10000"/>
                  <a:gd name="connsiteX21" fmla="*/ 8648 w 10696"/>
                  <a:gd name="connsiteY21" fmla="*/ 8043 h 10000"/>
                  <a:gd name="connsiteX22" fmla="*/ 9865 w 10696"/>
                  <a:gd name="connsiteY22" fmla="*/ 7400 h 10000"/>
                  <a:gd name="connsiteX23" fmla="*/ 9865 w 10696"/>
                  <a:gd name="connsiteY23" fmla="*/ 6501 h 10000"/>
                  <a:gd name="connsiteX24" fmla="*/ 9561 w 10696"/>
                  <a:gd name="connsiteY24" fmla="*/ 6243 h 10000"/>
                  <a:gd name="connsiteX25" fmla="*/ 9561 w 10696"/>
                  <a:gd name="connsiteY25" fmla="*/ 6243 h 10000"/>
                  <a:gd name="connsiteX26" fmla="*/ 9561 w 10696"/>
                  <a:gd name="connsiteY26" fmla="*/ 6243 h 10000"/>
                  <a:gd name="connsiteX27" fmla="*/ 10647 w 10696"/>
                  <a:gd name="connsiteY27" fmla="*/ 5871 h 10000"/>
                  <a:gd name="connsiteX28" fmla="*/ 9183 w 10696"/>
                  <a:gd name="connsiteY28" fmla="*/ 5485 h 10000"/>
                  <a:gd name="connsiteX29" fmla="*/ 7432 w 10696"/>
                  <a:gd name="connsiteY29" fmla="*/ 5215 h 10000"/>
                  <a:gd name="connsiteX30" fmla="*/ 7128 w 10696"/>
                  <a:gd name="connsiteY30" fmla="*/ 4700 h 10000"/>
                  <a:gd name="connsiteX31" fmla="*/ 6520 w 10696"/>
                  <a:gd name="connsiteY31" fmla="*/ 4185 h 10000"/>
                  <a:gd name="connsiteX32" fmla="*/ 7128 w 10696"/>
                  <a:gd name="connsiteY32" fmla="*/ 3800 h 10000"/>
                  <a:gd name="connsiteX33" fmla="*/ 6824 w 10696"/>
                  <a:gd name="connsiteY33" fmla="*/ 3286 h 10000"/>
                  <a:gd name="connsiteX34" fmla="*/ 7128 w 10696"/>
                  <a:gd name="connsiteY34" fmla="*/ 3028 h 10000"/>
                  <a:gd name="connsiteX35" fmla="*/ 6824 w 10696"/>
                  <a:gd name="connsiteY35" fmla="*/ 1871 h 10000"/>
                  <a:gd name="connsiteX36" fmla="*/ 5607 w 10696"/>
                  <a:gd name="connsiteY36" fmla="*/ 1356 h 10000"/>
                  <a:gd name="connsiteX37" fmla="*/ 5000 w 10696"/>
                  <a:gd name="connsiteY37" fmla="*/ 972 h 10000"/>
                  <a:gd name="connsiteX38" fmla="*/ 4393 w 10696"/>
                  <a:gd name="connsiteY38" fmla="*/ 456 h 10000"/>
                  <a:gd name="connsiteX39" fmla="*/ 4089 w 10696"/>
                  <a:gd name="connsiteY39" fmla="*/ 72 h 10000"/>
                  <a:gd name="connsiteX40" fmla="*/ 3480 w 10696"/>
                  <a:gd name="connsiteY40" fmla="*/ 586 h 10000"/>
                  <a:gd name="connsiteX41" fmla="*/ 2264 w 10696"/>
                  <a:gd name="connsiteY41" fmla="*/ 328 h 10000"/>
                  <a:gd name="connsiteX42" fmla="*/ 1352 w 10696"/>
                  <a:gd name="connsiteY42" fmla="*/ 200 h 10000"/>
                  <a:gd name="connsiteX43" fmla="*/ 439 w 10696"/>
                  <a:gd name="connsiteY43" fmla="*/ 1100 h 10000"/>
                  <a:gd name="connsiteX44" fmla="*/ 135 w 10696"/>
                  <a:gd name="connsiteY44" fmla="*/ 2257 h 10000"/>
                  <a:gd name="connsiteX45" fmla="*/ 135 w 10696"/>
                  <a:gd name="connsiteY45" fmla="*/ 2771 h 10000"/>
                  <a:gd name="connsiteX0" fmla="*/ 135 w 10696"/>
                  <a:gd name="connsiteY0" fmla="*/ 2771 h 10000"/>
                  <a:gd name="connsiteX1" fmla="*/ 439 w 10696"/>
                  <a:gd name="connsiteY1" fmla="*/ 2900 h 10000"/>
                  <a:gd name="connsiteX2" fmla="*/ 1352 w 10696"/>
                  <a:gd name="connsiteY2" fmla="*/ 3286 h 10000"/>
                  <a:gd name="connsiteX3" fmla="*/ 1047 w 10696"/>
                  <a:gd name="connsiteY3" fmla="*/ 4057 h 10000"/>
                  <a:gd name="connsiteX4" fmla="*/ 743 w 10696"/>
                  <a:gd name="connsiteY4" fmla="*/ 4571 h 10000"/>
                  <a:gd name="connsiteX5" fmla="*/ 1047 w 10696"/>
                  <a:gd name="connsiteY5" fmla="*/ 4829 h 10000"/>
                  <a:gd name="connsiteX6" fmla="*/ 743 w 10696"/>
                  <a:gd name="connsiteY6" fmla="*/ 5471 h 10000"/>
                  <a:gd name="connsiteX7" fmla="*/ 1352 w 10696"/>
                  <a:gd name="connsiteY7" fmla="*/ 5857 h 10000"/>
                  <a:gd name="connsiteX8" fmla="*/ 743 w 10696"/>
                  <a:gd name="connsiteY8" fmla="*/ 6115 h 10000"/>
                  <a:gd name="connsiteX9" fmla="*/ 135 w 10696"/>
                  <a:gd name="connsiteY9" fmla="*/ 6757 h 10000"/>
                  <a:gd name="connsiteX10" fmla="*/ 135 w 10696"/>
                  <a:gd name="connsiteY10" fmla="*/ 7143 h 10000"/>
                  <a:gd name="connsiteX11" fmla="*/ 1047 w 10696"/>
                  <a:gd name="connsiteY11" fmla="*/ 7657 h 10000"/>
                  <a:gd name="connsiteX12" fmla="*/ 1047 w 10696"/>
                  <a:gd name="connsiteY12" fmla="*/ 7915 h 10000"/>
                  <a:gd name="connsiteX13" fmla="*/ 439 w 10696"/>
                  <a:gd name="connsiteY13" fmla="*/ 7915 h 10000"/>
                  <a:gd name="connsiteX14" fmla="*/ 743 w 10696"/>
                  <a:gd name="connsiteY14" fmla="*/ 8429 h 10000"/>
                  <a:gd name="connsiteX15" fmla="*/ 1960 w 10696"/>
                  <a:gd name="connsiteY15" fmla="*/ 8815 h 10000"/>
                  <a:gd name="connsiteX16" fmla="*/ 3176 w 10696"/>
                  <a:gd name="connsiteY16" fmla="*/ 9072 h 10000"/>
                  <a:gd name="connsiteX17" fmla="*/ 4393 w 10696"/>
                  <a:gd name="connsiteY17" fmla="*/ 9972 h 10000"/>
                  <a:gd name="connsiteX18" fmla="*/ 6215 w 10696"/>
                  <a:gd name="connsiteY18" fmla="*/ 9714 h 10000"/>
                  <a:gd name="connsiteX19" fmla="*/ 6824 w 10696"/>
                  <a:gd name="connsiteY19" fmla="*/ 9072 h 10000"/>
                  <a:gd name="connsiteX20" fmla="*/ 8040 w 10696"/>
                  <a:gd name="connsiteY20" fmla="*/ 8943 h 10000"/>
                  <a:gd name="connsiteX21" fmla="*/ 8648 w 10696"/>
                  <a:gd name="connsiteY21" fmla="*/ 8043 h 10000"/>
                  <a:gd name="connsiteX22" fmla="*/ 9865 w 10696"/>
                  <a:gd name="connsiteY22" fmla="*/ 7400 h 10000"/>
                  <a:gd name="connsiteX23" fmla="*/ 9865 w 10696"/>
                  <a:gd name="connsiteY23" fmla="*/ 6501 h 10000"/>
                  <a:gd name="connsiteX24" fmla="*/ 9561 w 10696"/>
                  <a:gd name="connsiteY24" fmla="*/ 6243 h 10000"/>
                  <a:gd name="connsiteX25" fmla="*/ 9561 w 10696"/>
                  <a:gd name="connsiteY25" fmla="*/ 6243 h 10000"/>
                  <a:gd name="connsiteX26" fmla="*/ 9561 w 10696"/>
                  <a:gd name="connsiteY26" fmla="*/ 6243 h 10000"/>
                  <a:gd name="connsiteX27" fmla="*/ 10647 w 10696"/>
                  <a:gd name="connsiteY27" fmla="*/ 5871 h 10000"/>
                  <a:gd name="connsiteX28" fmla="*/ 9183 w 10696"/>
                  <a:gd name="connsiteY28" fmla="*/ 5485 h 10000"/>
                  <a:gd name="connsiteX29" fmla="*/ 8717 w 10696"/>
                  <a:gd name="connsiteY29" fmla="*/ 5154 h 10000"/>
                  <a:gd name="connsiteX30" fmla="*/ 7128 w 10696"/>
                  <a:gd name="connsiteY30" fmla="*/ 4700 h 10000"/>
                  <a:gd name="connsiteX31" fmla="*/ 6520 w 10696"/>
                  <a:gd name="connsiteY31" fmla="*/ 4185 h 10000"/>
                  <a:gd name="connsiteX32" fmla="*/ 7128 w 10696"/>
                  <a:gd name="connsiteY32" fmla="*/ 3800 h 10000"/>
                  <a:gd name="connsiteX33" fmla="*/ 6824 w 10696"/>
                  <a:gd name="connsiteY33" fmla="*/ 3286 h 10000"/>
                  <a:gd name="connsiteX34" fmla="*/ 7128 w 10696"/>
                  <a:gd name="connsiteY34" fmla="*/ 3028 h 10000"/>
                  <a:gd name="connsiteX35" fmla="*/ 6824 w 10696"/>
                  <a:gd name="connsiteY35" fmla="*/ 1871 h 10000"/>
                  <a:gd name="connsiteX36" fmla="*/ 5607 w 10696"/>
                  <a:gd name="connsiteY36" fmla="*/ 1356 h 10000"/>
                  <a:gd name="connsiteX37" fmla="*/ 5000 w 10696"/>
                  <a:gd name="connsiteY37" fmla="*/ 972 h 10000"/>
                  <a:gd name="connsiteX38" fmla="*/ 4393 w 10696"/>
                  <a:gd name="connsiteY38" fmla="*/ 456 h 10000"/>
                  <a:gd name="connsiteX39" fmla="*/ 4089 w 10696"/>
                  <a:gd name="connsiteY39" fmla="*/ 72 h 10000"/>
                  <a:gd name="connsiteX40" fmla="*/ 3480 w 10696"/>
                  <a:gd name="connsiteY40" fmla="*/ 586 h 10000"/>
                  <a:gd name="connsiteX41" fmla="*/ 2264 w 10696"/>
                  <a:gd name="connsiteY41" fmla="*/ 328 h 10000"/>
                  <a:gd name="connsiteX42" fmla="*/ 1352 w 10696"/>
                  <a:gd name="connsiteY42" fmla="*/ 200 h 10000"/>
                  <a:gd name="connsiteX43" fmla="*/ 439 w 10696"/>
                  <a:gd name="connsiteY43" fmla="*/ 1100 h 10000"/>
                  <a:gd name="connsiteX44" fmla="*/ 135 w 10696"/>
                  <a:gd name="connsiteY44" fmla="*/ 2257 h 10000"/>
                  <a:gd name="connsiteX45" fmla="*/ 135 w 10696"/>
                  <a:gd name="connsiteY45" fmla="*/ 277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0696" h="10000">
                    <a:moveTo>
                      <a:pt x="135" y="2771"/>
                    </a:moveTo>
                    <a:cubicBezTo>
                      <a:pt x="135" y="2771"/>
                      <a:pt x="135" y="3028"/>
                      <a:pt x="439" y="2900"/>
                    </a:cubicBezTo>
                    <a:cubicBezTo>
                      <a:pt x="1047" y="2900"/>
                      <a:pt x="1352" y="3028"/>
                      <a:pt x="1352" y="3286"/>
                    </a:cubicBezTo>
                    <a:cubicBezTo>
                      <a:pt x="1352" y="3543"/>
                      <a:pt x="1352" y="3800"/>
                      <a:pt x="1047" y="4057"/>
                    </a:cubicBezTo>
                    <a:cubicBezTo>
                      <a:pt x="1047" y="4185"/>
                      <a:pt x="439" y="4314"/>
                      <a:pt x="743" y="4571"/>
                    </a:cubicBezTo>
                    <a:cubicBezTo>
                      <a:pt x="743" y="4700"/>
                      <a:pt x="1047" y="4571"/>
                      <a:pt x="1047" y="4829"/>
                    </a:cubicBezTo>
                    <a:cubicBezTo>
                      <a:pt x="1047" y="5085"/>
                      <a:pt x="743" y="5215"/>
                      <a:pt x="743" y="5471"/>
                    </a:cubicBezTo>
                    <a:cubicBezTo>
                      <a:pt x="743" y="5729"/>
                      <a:pt x="1352" y="5857"/>
                      <a:pt x="1352" y="5857"/>
                    </a:cubicBezTo>
                    <a:cubicBezTo>
                      <a:pt x="1352" y="5985"/>
                      <a:pt x="1047" y="6115"/>
                      <a:pt x="743" y="6115"/>
                    </a:cubicBezTo>
                    <a:cubicBezTo>
                      <a:pt x="743" y="6115"/>
                      <a:pt x="135" y="6501"/>
                      <a:pt x="135" y="6757"/>
                    </a:cubicBezTo>
                    <a:cubicBezTo>
                      <a:pt x="135" y="7015"/>
                      <a:pt x="-169" y="6885"/>
                      <a:pt x="135" y="7143"/>
                    </a:cubicBezTo>
                    <a:cubicBezTo>
                      <a:pt x="743" y="7400"/>
                      <a:pt x="1047" y="7400"/>
                      <a:pt x="1047" y="7657"/>
                    </a:cubicBezTo>
                    <a:cubicBezTo>
                      <a:pt x="1047" y="7915"/>
                      <a:pt x="1352" y="7786"/>
                      <a:pt x="1047" y="7915"/>
                    </a:cubicBezTo>
                    <a:cubicBezTo>
                      <a:pt x="743" y="8043"/>
                      <a:pt x="743" y="7786"/>
                      <a:pt x="439" y="7915"/>
                    </a:cubicBezTo>
                    <a:cubicBezTo>
                      <a:pt x="135" y="8043"/>
                      <a:pt x="135" y="8043"/>
                      <a:pt x="743" y="8429"/>
                    </a:cubicBezTo>
                    <a:cubicBezTo>
                      <a:pt x="1047" y="8815"/>
                      <a:pt x="1352" y="8429"/>
                      <a:pt x="1960" y="8815"/>
                    </a:cubicBezTo>
                    <a:cubicBezTo>
                      <a:pt x="2872" y="9072"/>
                      <a:pt x="2872" y="8815"/>
                      <a:pt x="3176" y="9072"/>
                    </a:cubicBezTo>
                    <a:cubicBezTo>
                      <a:pt x="3785" y="9329"/>
                      <a:pt x="4089" y="9714"/>
                      <a:pt x="4393" y="9972"/>
                    </a:cubicBezTo>
                    <a:cubicBezTo>
                      <a:pt x="4900" y="10079"/>
                      <a:pt x="5810" y="9864"/>
                      <a:pt x="6215" y="9714"/>
                    </a:cubicBezTo>
                    <a:cubicBezTo>
                      <a:pt x="6620" y="9564"/>
                      <a:pt x="6215" y="9200"/>
                      <a:pt x="6824" y="9072"/>
                    </a:cubicBezTo>
                    <a:cubicBezTo>
                      <a:pt x="7432" y="8943"/>
                      <a:pt x="7736" y="9200"/>
                      <a:pt x="8040" y="8943"/>
                    </a:cubicBezTo>
                    <a:cubicBezTo>
                      <a:pt x="8344" y="8815"/>
                      <a:pt x="8040" y="8429"/>
                      <a:pt x="8648" y="8043"/>
                    </a:cubicBezTo>
                    <a:cubicBezTo>
                      <a:pt x="8953" y="7786"/>
                      <a:pt x="9561" y="7657"/>
                      <a:pt x="9865" y="7400"/>
                    </a:cubicBezTo>
                    <a:cubicBezTo>
                      <a:pt x="10169" y="7015"/>
                      <a:pt x="9865" y="6757"/>
                      <a:pt x="9865" y="6501"/>
                    </a:cubicBezTo>
                    <a:cubicBezTo>
                      <a:pt x="9865" y="6243"/>
                      <a:pt x="9561" y="6243"/>
                      <a:pt x="9561" y="6243"/>
                    </a:cubicBezTo>
                    <a:lnTo>
                      <a:pt x="9561" y="6243"/>
                    </a:lnTo>
                    <a:lnTo>
                      <a:pt x="9561" y="6243"/>
                    </a:lnTo>
                    <a:cubicBezTo>
                      <a:pt x="9742" y="6181"/>
                      <a:pt x="10952" y="5871"/>
                      <a:pt x="10647" y="5871"/>
                    </a:cubicBezTo>
                    <a:cubicBezTo>
                      <a:pt x="10039" y="5999"/>
                      <a:pt x="9505" y="5604"/>
                      <a:pt x="9183" y="5485"/>
                    </a:cubicBezTo>
                    <a:cubicBezTo>
                      <a:pt x="8861" y="5366"/>
                      <a:pt x="9060" y="5285"/>
                      <a:pt x="8717" y="5154"/>
                    </a:cubicBezTo>
                    <a:cubicBezTo>
                      <a:pt x="8374" y="5023"/>
                      <a:pt x="6824" y="4829"/>
                      <a:pt x="7128" y="4700"/>
                    </a:cubicBezTo>
                    <a:cubicBezTo>
                      <a:pt x="7432" y="4443"/>
                      <a:pt x="6824" y="4314"/>
                      <a:pt x="6520" y="4185"/>
                    </a:cubicBezTo>
                    <a:cubicBezTo>
                      <a:pt x="6215" y="4057"/>
                      <a:pt x="6824" y="3929"/>
                      <a:pt x="7128" y="3800"/>
                    </a:cubicBezTo>
                    <a:cubicBezTo>
                      <a:pt x="7128" y="3671"/>
                      <a:pt x="6520" y="3543"/>
                      <a:pt x="6824" y="3286"/>
                    </a:cubicBezTo>
                    <a:cubicBezTo>
                      <a:pt x="6824" y="3286"/>
                      <a:pt x="7128" y="3157"/>
                      <a:pt x="7128" y="3028"/>
                    </a:cubicBezTo>
                    <a:cubicBezTo>
                      <a:pt x="7128" y="3028"/>
                      <a:pt x="7128" y="2128"/>
                      <a:pt x="6824" y="1871"/>
                    </a:cubicBezTo>
                    <a:cubicBezTo>
                      <a:pt x="6824" y="1614"/>
                      <a:pt x="6215" y="1486"/>
                      <a:pt x="5607" y="1356"/>
                    </a:cubicBezTo>
                    <a:cubicBezTo>
                      <a:pt x="5303" y="1228"/>
                      <a:pt x="5000" y="1228"/>
                      <a:pt x="5000" y="972"/>
                    </a:cubicBezTo>
                    <a:cubicBezTo>
                      <a:pt x="5000" y="714"/>
                      <a:pt x="4697" y="714"/>
                      <a:pt x="4393" y="456"/>
                    </a:cubicBezTo>
                    <a:cubicBezTo>
                      <a:pt x="4089" y="328"/>
                      <a:pt x="4393" y="-186"/>
                      <a:pt x="4089" y="72"/>
                    </a:cubicBezTo>
                    <a:cubicBezTo>
                      <a:pt x="3785" y="328"/>
                      <a:pt x="4089" y="456"/>
                      <a:pt x="3480" y="586"/>
                    </a:cubicBezTo>
                    <a:cubicBezTo>
                      <a:pt x="2568" y="586"/>
                      <a:pt x="2264" y="714"/>
                      <a:pt x="2264" y="328"/>
                    </a:cubicBezTo>
                    <a:cubicBezTo>
                      <a:pt x="1960" y="72"/>
                      <a:pt x="1960" y="-58"/>
                      <a:pt x="1352" y="200"/>
                    </a:cubicBezTo>
                    <a:cubicBezTo>
                      <a:pt x="1047" y="586"/>
                      <a:pt x="1047" y="714"/>
                      <a:pt x="439" y="1100"/>
                    </a:cubicBezTo>
                    <a:cubicBezTo>
                      <a:pt x="135" y="1356"/>
                      <a:pt x="135" y="2000"/>
                      <a:pt x="135" y="2257"/>
                    </a:cubicBezTo>
                    <a:lnTo>
                      <a:pt x="135" y="2771"/>
                    </a:ln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59" name="Freeform 67"/>
              <p:cNvSpPr>
                <a:spLocks/>
              </p:cNvSpPr>
              <p:nvPr/>
            </p:nvSpPr>
            <p:spPr bwMode="gray">
              <a:xfrm>
                <a:off x="4938467" y="3839379"/>
                <a:ext cx="336551" cy="353422"/>
              </a:xfrm>
              <a:custGeom>
                <a:avLst/>
                <a:gdLst>
                  <a:gd name="T0" fmla="*/ 52 w 72"/>
                  <a:gd name="T1" fmla="*/ 76 h 77"/>
                  <a:gd name="T2" fmla="*/ 50 w 72"/>
                  <a:gd name="T3" fmla="*/ 75 h 77"/>
                  <a:gd name="T4" fmla="*/ 46 w 72"/>
                  <a:gd name="T5" fmla="*/ 71 h 77"/>
                  <a:gd name="T6" fmla="*/ 39 w 72"/>
                  <a:gd name="T7" fmla="*/ 66 h 77"/>
                  <a:gd name="T8" fmla="*/ 36 w 72"/>
                  <a:gd name="T9" fmla="*/ 59 h 77"/>
                  <a:gd name="T10" fmla="*/ 30 w 72"/>
                  <a:gd name="T11" fmla="*/ 55 h 77"/>
                  <a:gd name="T12" fmla="*/ 23 w 72"/>
                  <a:gd name="T13" fmla="*/ 45 h 77"/>
                  <a:gd name="T14" fmla="*/ 17 w 72"/>
                  <a:gd name="T15" fmla="*/ 38 h 77"/>
                  <a:gd name="T16" fmla="*/ 10 w 72"/>
                  <a:gd name="T17" fmla="*/ 31 h 77"/>
                  <a:gd name="T18" fmla="*/ 5 w 72"/>
                  <a:gd name="T19" fmla="*/ 19 h 77"/>
                  <a:gd name="T20" fmla="*/ 1 w 72"/>
                  <a:gd name="T21" fmla="*/ 13 h 77"/>
                  <a:gd name="T22" fmla="*/ 0 w 72"/>
                  <a:gd name="T23" fmla="*/ 5 h 77"/>
                  <a:gd name="T24" fmla="*/ 4 w 72"/>
                  <a:gd name="T25" fmla="*/ 3 h 77"/>
                  <a:gd name="T26" fmla="*/ 10 w 72"/>
                  <a:gd name="T27" fmla="*/ 9 h 77"/>
                  <a:gd name="T28" fmla="*/ 15 w 72"/>
                  <a:gd name="T29" fmla="*/ 3 h 77"/>
                  <a:gd name="T30" fmla="*/ 20 w 72"/>
                  <a:gd name="T31" fmla="*/ 3 h 77"/>
                  <a:gd name="T32" fmla="*/ 22 w 72"/>
                  <a:gd name="T33" fmla="*/ 2 h 77"/>
                  <a:gd name="T34" fmla="*/ 28 w 72"/>
                  <a:gd name="T35" fmla="*/ 4 h 77"/>
                  <a:gd name="T36" fmla="*/ 35 w 72"/>
                  <a:gd name="T37" fmla="*/ 6 h 77"/>
                  <a:gd name="T38" fmla="*/ 39 w 72"/>
                  <a:gd name="T39" fmla="*/ 7 h 77"/>
                  <a:gd name="T40" fmla="*/ 43 w 72"/>
                  <a:gd name="T41" fmla="*/ 6 h 77"/>
                  <a:gd name="T42" fmla="*/ 47 w 72"/>
                  <a:gd name="T43" fmla="*/ 7 h 77"/>
                  <a:gd name="T44" fmla="*/ 51 w 72"/>
                  <a:gd name="T45" fmla="*/ 7 h 77"/>
                  <a:gd name="T46" fmla="*/ 55 w 72"/>
                  <a:gd name="T47" fmla="*/ 9 h 77"/>
                  <a:gd name="T48" fmla="*/ 59 w 72"/>
                  <a:gd name="T49" fmla="*/ 12 h 77"/>
                  <a:gd name="T50" fmla="*/ 61 w 72"/>
                  <a:gd name="T51" fmla="*/ 11 h 77"/>
                  <a:gd name="T52" fmla="*/ 61 w 72"/>
                  <a:gd name="T53" fmla="*/ 11 h 77"/>
                  <a:gd name="T54" fmla="*/ 61 w 72"/>
                  <a:gd name="T55" fmla="*/ 11 h 77"/>
                  <a:gd name="T56" fmla="*/ 63 w 72"/>
                  <a:gd name="T57" fmla="*/ 11 h 77"/>
                  <a:gd name="T58" fmla="*/ 65 w 72"/>
                  <a:gd name="T59" fmla="*/ 14 h 77"/>
                  <a:gd name="T60" fmla="*/ 62 w 72"/>
                  <a:gd name="T61" fmla="*/ 24 h 77"/>
                  <a:gd name="T62" fmla="*/ 65 w 72"/>
                  <a:gd name="T63" fmla="*/ 28 h 77"/>
                  <a:gd name="T64" fmla="*/ 68 w 72"/>
                  <a:gd name="T65" fmla="*/ 31 h 77"/>
                  <a:gd name="T66" fmla="*/ 71 w 72"/>
                  <a:gd name="T67" fmla="*/ 35 h 77"/>
                  <a:gd name="T68" fmla="*/ 67 w 72"/>
                  <a:gd name="T69" fmla="*/ 35 h 77"/>
                  <a:gd name="T70" fmla="*/ 66 w 72"/>
                  <a:gd name="T71" fmla="*/ 38 h 77"/>
                  <a:gd name="T72" fmla="*/ 69 w 72"/>
                  <a:gd name="T73" fmla="*/ 43 h 77"/>
                  <a:gd name="T74" fmla="*/ 67 w 72"/>
                  <a:gd name="T75" fmla="*/ 46 h 77"/>
                  <a:gd name="T76" fmla="*/ 63 w 72"/>
                  <a:gd name="T77" fmla="*/ 48 h 77"/>
                  <a:gd name="T78" fmla="*/ 60 w 72"/>
                  <a:gd name="T79" fmla="*/ 49 h 77"/>
                  <a:gd name="T80" fmla="*/ 61 w 72"/>
                  <a:gd name="T81" fmla="*/ 54 h 77"/>
                  <a:gd name="T82" fmla="*/ 58 w 72"/>
                  <a:gd name="T83" fmla="*/ 53 h 77"/>
                  <a:gd name="T84" fmla="*/ 55 w 72"/>
                  <a:gd name="T85" fmla="*/ 58 h 77"/>
                  <a:gd name="T86" fmla="*/ 52 w 72"/>
                  <a:gd name="T87" fmla="*/ 61 h 77"/>
                  <a:gd name="T88" fmla="*/ 51 w 72"/>
                  <a:gd name="T89" fmla="*/ 66 h 77"/>
                  <a:gd name="T90" fmla="*/ 53 w 72"/>
                  <a:gd name="T91" fmla="*/ 71 h 77"/>
                  <a:gd name="T92" fmla="*/ 52 w 72"/>
                  <a:gd name="T93" fmla="*/ 74 h 77"/>
                  <a:gd name="T94" fmla="*/ 52 w 72"/>
                  <a:gd name="T95" fmla="*/ 7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2" h="77">
                    <a:moveTo>
                      <a:pt x="52" y="76"/>
                    </a:moveTo>
                    <a:cubicBezTo>
                      <a:pt x="52" y="76"/>
                      <a:pt x="51" y="77"/>
                      <a:pt x="50" y="75"/>
                    </a:cubicBezTo>
                    <a:cubicBezTo>
                      <a:pt x="48" y="74"/>
                      <a:pt x="47" y="72"/>
                      <a:pt x="46" y="71"/>
                    </a:cubicBezTo>
                    <a:cubicBezTo>
                      <a:pt x="44" y="70"/>
                      <a:pt x="41" y="68"/>
                      <a:pt x="39" y="66"/>
                    </a:cubicBezTo>
                    <a:cubicBezTo>
                      <a:pt x="38" y="65"/>
                      <a:pt x="38" y="61"/>
                      <a:pt x="36" y="59"/>
                    </a:cubicBezTo>
                    <a:cubicBezTo>
                      <a:pt x="34" y="57"/>
                      <a:pt x="32" y="57"/>
                      <a:pt x="30" y="55"/>
                    </a:cubicBezTo>
                    <a:cubicBezTo>
                      <a:pt x="29" y="52"/>
                      <a:pt x="25" y="47"/>
                      <a:pt x="23" y="45"/>
                    </a:cubicBezTo>
                    <a:cubicBezTo>
                      <a:pt x="21" y="43"/>
                      <a:pt x="19" y="40"/>
                      <a:pt x="17" y="38"/>
                    </a:cubicBezTo>
                    <a:cubicBezTo>
                      <a:pt x="15" y="36"/>
                      <a:pt x="12" y="34"/>
                      <a:pt x="10" y="31"/>
                    </a:cubicBezTo>
                    <a:cubicBezTo>
                      <a:pt x="9" y="28"/>
                      <a:pt x="8" y="21"/>
                      <a:pt x="5" y="19"/>
                    </a:cubicBezTo>
                    <a:cubicBezTo>
                      <a:pt x="3" y="17"/>
                      <a:pt x="2" y="17"/>
                      <a:pt x="1" y="13"/>
                    </a:cubicBezTo>
                    <a:cubicBezTo>
                      <a:pt x="0" y="9"/>
                      <a:pt x="1" y="8"/>
                      <a:pt x="0" y="5"/>
                    </a:cubicBezTo>
                    <a:cubicBezTo>
                      <a:pt x="0" y="3"/>
                      <a:pt x="2" y="0"/>
                      <a:pt x="4" y="3"/>
                    </a:cubicBezTo>
                    <a:cubicBezTo>
                      <a:pt x="6" y="5"/>
                      <a:pt x="9" y="11"/>
                      <a:pt x="10" y="9"/>
                    </a:cubicBezTo>
                    <a:cubicBezTo>
                      <a:pt x="12" y="7"/>
                      <a:pt x="13" y="2"/>
                      <a:pt x="15" y="3"/>
                    </a:cubicBezTo>
                    <a:cubicBezTo>
                      <a:pt x="16" y="4"/>
                      <a:pt x="19" y="5"/>
                      <a:pt x="20" y="3"/>
                    </a:cubicBezTo>
                    <a:cubicBezTo>
                      <a:pt x="20" y="1"/>
                      <a:pt x="21" y="1"/>
                      <a:pt x="22" y="2"/>
                    </a:cubicBezTo>
                    <a:cubicBezTo>
                      <a:pt x="24" y="4"/>
                      <a:pt x="26" y="4"/>
                      <a:pt x="28" y="4"/>
                    </a:cubicBezTo>
                    <a:cubicBezTo>
                      <a:pt x="30" y="5"/>
                      <a:pt x="33" y="5"/>
                      <a:pt x="35" y="6"/>
                    </a:cubicBezTo>
                    <a:cubicBezTo>
                      <a:pt x="36" y="7"/>
                      <a:pt x="37" y="8"/>
                      <a:pt x="39" y="7"/>
                    </a:cubicBezTo>
                    <a:cubicBezTo>
                      <a:pt x="41" y="6"/>
                      <a:pt x="41" y="5"/>
                      <a:pt x="43" y="6"/>
                    </a:cubicBezTo>
                    <a:cubicBezTo>
                      <a:pt x="44" y="7"/>
                      <a:pt x="46" y="7"/>
                      <a:pt x="47" y="7"/>
                    </a:cubicBezTo>
                    <a:cubicBezTo>
                      <a:pt x="49" y="6"/>
                      <a:pt x="50" y="6"/>
                      <a:pt x="51" y="7"/>
                    </a:cubicBezTo>
                    <a:cubicBezTo>
                      <a:pt x="53" y="8"/>
                      <a:pt x="54" y="7"/>
                      <a:pt x="55" y="9"/>
                    </a:cubicBezTo>
                    <a:cubicBezTo>
                      <a:pt x="56" y="12"/>
                      <a:pt x="57" y="14"/>
                      <a:pt x="59" y="12"/>
                    </a:cubicBezTo>
                    <a:cubicBezTo>
                      <a:pt x="60" y="11"/>
                      <a:pt x="61" y="11"/>
                      <a:pt x="61" y="11"/>
                    </a:cubicBezTo>
                    <a:cubicBezTo>
                      <a:pt x="61" y="11"/>
                      <a:pt x="61" y="11"/>
                      <a:pt x="61" y="11"/>
                    </a:cubicBezTo>
                    <a:cubicBezTo>
                      <a:pt x="61" y="11"/>
                      <a:pt x="61" y="11"/>
                      <a:pt x="61" y="11"/>
                    </a:cubicBezTo>
                    <a:cubicBezTo>
                      <a:pt x="61" y="11"/>
                      <a:pt x="62" y="10"/>
                      <a:pt x="63" y="11"/>
                    </a:cubicBezTo>
                    <a:cubicBezTo>
                      <a:pt x="64" y="11"/>
                      <a:pt x="65" y="10"/>
                      <a:pt x="65" y="14"/>
                    </a:cubicBezTo>
                    <a:cubicBezTo>
                      <a:pt x="65" y="17"/>
                      <a:pt x="63" y="21"/>
                      <a:pt x="62" y="24"/>
                    </a:cubicBezTo>
                    <a:cubicBezTo>
                      <a:pt x="61" y="26"/>
                      <a:pt x="62" y="27"/>
                      <a:pt x="65" y="28"/>
                    </a:cubicBezTo>
                    <a:cubicBezTo>
                      <a:pt x="67" y="30"/>
                      <a:pt x="67" y="29"/>
                      <a:pt x="68" y="31"/>
                    </a:cubicBezTo>
                    <a:cubicBezTo>
                      <a:pt x="70" y="34"/>
                      <a:pt x="71" y="33"/>
                      <a:pt x="71" y="35"/>
                    </a:cubicBezTo>
                    <a:cubicBezTo>
                      <a:pt x="72" y="37"/>
                      <a:pt x="69" y="36"/>
                      <a:pt x="67" y="35"/>
                    </a:cubicBezTo>
                    <a:cubicBezTo>
                      <a:pt x="65" y="35"/>
                      <a:pt x="66" y="36"/>
                      <a:pt x="66" y="38"/>
                    </a:cubicBezTo>
                    <a:cubicBezTo>
                      <a:pt x="66" y="39"/>
                      <a:pt x="69" y="41"/>
                      <a:pt x="69" y="43"/>
                    </a:cubicBezTo>
                    <a:cubicBezTo>
                      <a:pt x="70" y="44"/>
                      <a:pt x="69" y="46"/>
                      <a:pt x="67" y="46"/>
                    </a:cubicBezTo>
                    <a:cubicBezTo>
                      <a:pt x="65" y="47"/>
                      <a:pt x="65" y="48"/>
                      <a:pt x="63" y="48"/>
                    </a:cubicBezTo>
                    <a:cubicBezTo>
                      <a:pt x="62" y="48"/>
                      <a:pt x="60" y="47"/>
                      <a:pt x="60" y="49"/>
                    </a:cubicBezTo>
                    <a:cubicBezTo>
                      <a:pt x="60" y="50"/>
                      <a:pt x="61" y="52"/>
                      <a:pt x="61" y="54"/>
                    </a:cubicBezTo>
                    <a:cubicBezTo>
                      <a:pt x="61" y="56"/>
                      <a:pt x="59" y="53"/>
                      <a:pt x="58" y="53"/>
                    </a:cubicBezTo>
                    <a:cubicBezTo>
                      <a:pt x="57" y="54"/>
                      <a:pt x="55" y="55"/>
                      <a:pt x="55" y="58"/>
                    </a:cubicBezTo>
                    <a:cubicBezTo>
                      <a:pt x="54" y="61"/>
                      <a:pt x="54" y="62"/>
                      <a:pt x="52" y="61"/>
                    </a:cubicBezTo>
                    <a:cubicBezTo>
                      <a:pt x="51" y="61"/>
                      <a:pt x="51" y="64"/>
                      <a:pt x="51" y="66"/>
                    </a:cubicBezTo>
                    <a:cubicBezTo>
                      <a:pt x="52" y="68"/>
                      <a:pt x="54" y="70"/>
                      <a:pt x="53" y="71"/>
                    </a:cubicBezTo>
                    <a:cubicBezTo>
                      <a:pt x="53" y="72"/>
                      <a:pt x="52" y="73"/>
                      <a:pt x="52" y="74"/>
                    </a:cubicBezTo>
                    <a:cubicBezTo>
                      <a:pt x="52" y="75"/>
                      <a:pt x="52" y="75"/>
                      <a:pt x="52" y="76"/>
                    </a:cubicBez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0" name="Freeform 68"/>
              <p:cNvSpPr>
                <a:spLocks/>
              </p:cNvSpPr>
              <p:nvPr>
                <p:custDataLst>
                  <p:tags r:id="rId123"/>
                </p:custDataLst>
              </p:nvPr>
            </p:nvSpPr>
            <p:spPr bwMode="gray">
              <a:xfrm>
                <a:off x="4743622" y="3695911"/>
                <a:ext cx="503056" cy="451400"/>
              </a:xfrm>
              <a:custGeom>
                <a:avLst/>
                <a:gdLst>
                  <a:gd name="T0" fmla="*/ 77 w 108"/>
                  <a:gd name="T1" fmla="*/ 97 h 98"/>
                  <a:gd name="T2" fmla="*/ 65 w 108"/>
                  <a:gd name="T3" fmla="*/ 96 h 98"/>
                  <a:gd name="T4" fmla="*/ 65 w 108"/>
                  <a:gd name="T5" fmla="*/ 94 h 98"/>
                  <a:gd name="T6" fmla="*/ 75 w 108"/>
                  <a:gd name="T7" fmla="*/ 94 h 98"/>
                  <a:gd name="T8" fmla="*/ 67 w 108"/>
                  <a:gd name="T9" fmla="*/ 85 h 98"/>
                  <a:gd name="T10" fmla="*/ 55 w 108"/>
                  <a:gd name="T11" fmla="*/ 78 h 98"/>
                  <a:gd name="T12" fmla="*/ 46 w 108"/>
                  <a:gd name="T13" fmla="*/ 78 h 98"/>
                  <a:gd name="T14" fmla="*/ 39 w 108"/>
                  <a:gd name="T15" fmla="*/ 69 h 98"/>
                  <a:gd name="T16" fmla="*/ 33 w 108"/>
                  <a:gd name="T17" fmla="*/ 64 h 98"/>
                  <a:gd name="T18" fmla="*/ 31 w 108"/>
                  <a:gd name="T19" fmla="*/ 60 h 98"/>
                  <a:gd name="T20" fmla="*/ 37 w 108"/>
                  <a:gd name="T21" fmla="*/ 58 h 98"/>
                  <a:gd name="T22" fmla="*/ 27 w 108"/>
                  <a:gd name="T23" fmla="*/ 46 h 98"/>
                  <a:gd name="T24" fmla="*/ 21 w 108"/>
                  <a:gd name="T25" fmla="*/ 33 h 98"/>
                  <a:gd name="T26" fmla="*/ 14 w 108"/>
                  <a:gd name="T27" fmla="*/ 37 h 98"/>
                  <a:gd name="T28" fmla="*/ 10 w 108"/>
                  <a:gd name="T29" fmla="*/ 44 h 98"/>
                  <a:gd name="T30" fmla="*/ 3 w 108"/>
                  <a:gd name="T31" fmla="*/ 37 h 98"/>
                  <a:gd name="T32" fmla="*/ 2 w 108"/>
                  <a:gd name="T33" fmla="*/ 28 h 98"/>
                  <a:gd name="T34" fmla="*/ 15 w 108"/>
                  <a:gd name="T35" fmla="*/ 27 h 98"/>
                  <a:gd name="T36" fmla="*/ 22 w 108"/>
                  <a:gd name="T37" fmla="*/ 25 h 98"/>
                  <a:gd name="T38" fmla="*/ 33 w 108"/>
                  <a:gd name="T39" fmla="*/ 29 h 98"/>
                  <a:gd name="T40" fmla="*/ 38 w 108"/>
                  <a:gd name="T41" fmla="*/ 19 h 98"/>
                  <a:gd name="T42" fmla="*/ 39 w 108"/>
                  <a:gd name="T43" fmla="*/ 8 h 98"/>
                  <a:gd name="T44" fmla="*/ 50 w 108"/>
                  <a:gd name="T45" fmla="*/ 4 h 98"/>
                  <a:gd name="T46" fmla="*/ 58 w 108"/>
                  <a:gd name="T47" fmla="*/ 2 h 98"/>
                  <a:gd name="T48" fmla="*/ 67 w 108"/>
                  <a:gd name="T49" fmla="*/ 11 h 98"/>
                  <a:gd name="T50" fmla="*/ 76 w 108"/>
                  <a:gd name="T51" fmla="*/ 17 h 98"/>
                  <a:gd name="T52" fmla="*/ 89 w 108"/>
                  <a:gd name="T53" fmla="*/ 20 h 98"/>
                  <a:gd name="T54" fmla="*/ 97 w 108"/>
                  <a:gd name="T55" fmla="*/ 16 h 98"/>
                  <a:gd name="T56" fmla="*/ 99 w 108"/>
                  <a:gd name="T57" fmla="*/ 25 h 98"/>
                  <a:gd name="T58" fmla="*/ 104 w 108"/>
                  <a:gd name="T59" fmla="*/ 33 h 98"/>
                  <a:gd name="T60" fmla="*/ 103 w 108"/>
                  <a:gd name="T61" fmla="*/ 37 h 98"/>
                  <a:gd name="T62" fmla="*/ 101 w 108"/>
                  <a:gd name="T63" fmla="*/ 43 h 98"/>
                  <a:gd name="T64" fmla="*/ 93 w 108"/>
                  <a:gd name="T65" fmla="*/ 38 h 98"/>
                  <a:gd name="T66" fmla="*/ 85 w 108"/>
                  <a:gd name="T67" fmla="*/ 37 h 98"/>
                  <a:gd name="T68" fmla="*/ 77 w 108"/>
                  <a:gd name="T69" fmla="*/ 37 h 98"/>
                  <a:gd name="T70" fmla="*/ 64 w 108"/>
                  <a:gd name="T71" fmla="*/ 33 h 98"/>
                  <a:gd name="T72" fmla="*/ 57 w 108"/>
                  <a:gd name="T73" fmla="*/ 34 h 98"/>
                  <a:gd name="T74" fmla="*/ 46 w 108"/>
                  <a:gd name="T75" fmla="*/ 34 h 98"/>
                  <a:gd name="T76" fmla="*/ 43 w 108"/>
                  <a:gd name="T77" fmla="*/ 44 h 98"/>
                  <a:gd name="T78" fmla="*/ 52 w 108"/>
                  <a:gd name="T79" fmla="*/ 62 h 98"/>
                  <a:gd name="T80" fmla="*/ 65 w 108"/>
                  <a:gd name="T81" fmla="*/ 76 h 98"/>
                  <a:gd name="T82" fmla="*/ 78 w 108"/>
                  <a:gd name="T83"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8" h="98">
                    <a:moveTo>
                      <a:pt x="81" y="97"/>
                    </a:moveTo>
                    <a:cubicBezTo>
                      <a:pt x="81" y="97"/>
                      <a:pt x="79" y="98"/>
                      <a:pt x="77" y="97"/>
                    </a:cubicBezTo>
                    <a:cubicBezTo>
                      <a:pt x="75" y="96"/>
                      <a:pt x="73" y="93"/>
                      <a:pt x="71" y="94"/>
                    </a:cubicBezTo>
                    <a:cubicBezTo>
                      <a:pt x="69" y="95"/>
                      <a:pt x="66" y="95"/>
                      <a:pt x="65" y="96"/>
                    </a:cubicBezTo>
                    <a:cubicBezTo>
                      <a:pt x="63" y="96"/>
                      <a:pt x="60" y="96"/>
                      <a:pt x="61" y="95"/>
                    </a:cubicBezTo>
                    <a:cubicBezTo>
                      <a:pt x="61" y="93"/>
                      <a:pt x="64" y="94"/>
                      <a:pt x="65" y="94"/>
                    </a:cubicBezTo>
                    <a:cubicBezTo>
                      <a:pt x="67" y="93"/>
                      <a:pt x="70" y="92"/>
                      <a:pt x="71" y="92"/>
                    </a:cubicBezTo>
                    <a:cubicBezTo>
                      <a:pt x="72" y="92"/>
                      <a:pt x="75" y="94"/>
                      <a:pt x="75" y="94"/>
                    </a:cubicBezTo>
                    <a:cubicBezTo>
                      <a:pt x="76" y="93"/>
                      <a:pt x="73" y="91"/>
                      <a:pt x="72" y="89"/>
                    </a:cubicBezTo>
                    <a:cubicBezTo>
                      <a:pt x="71" y="87"/>
                      <a:pt x="68" y="88"/>
                      <a:pt x="67" y="85"/>
                    </a:cubicBezTo>
                    <a:cubicBezTo>
                      <a:pt x="65" y="83"/>
                      <a:pt x="63" y="80"/>
                      <a:pt x="61" y="80"/>
                    </a:cubicBezTo>
                    <a:cubicBezTo>
                      <a:pt x="58" y="80"/>
                      <a:pt x="56" y="78"/>
                      <a:pt x="55" y="78"/>
                    </a:cubicBezTo>
                    <a:cubicBezTo>
                      <a:pt x="54" y="77"/>
                      <a:pt x="52" y="79"/>
                      <a:pt x="51" y="79"/>
                    </a:cubicBezTo>
                    <a:cubicBezTo>
                      <a:pt x="50" y="79"/>
                      <a:pt x="46" y="79"/>
                      <a:pt x="46" y="78"/>
                    </a:cubicBezTo>
                    <a:cubicBezTo>
                      <a:pt x="46" y="76"/>
                      <a:pt x="46" y="74"/>
                      <a:pt x="45" y="73"/>
                    </a:cubicBezTo>
                    <a:cubicBezTo>
                      <a:pt x="43" y="73"/>
                      <a:pt x="40" y="70"/>
                      <a:pt x="39" y="69"/>
                    </a:cubicBezTo>
                    <a:cubicBezTo>
                      <a:pt x="37" y="68"/>
                      <a:pt x="36" y="67"/>
                      <a:pt x="34" y="66"/>
                    </a:cubicBezTo>
                    <a:cubicBezTo>
                      <a:pt x="31" y="65"/>
                      <a:pt x="32" y="64"/>
                      <a:pt x="33" y="64"/>
                    </a:cubicBezTo>
                    <a:cubicBezTo>
                      <a:pt x="34" y="65"/>
                      <a:pt x="36" y="67"/>
                      <a:pt x="36" y="66"/>
                    </a:cubicBezTo>
                    <a:cubicBezTo>
                      <a:pt x="35" y="64"/>
                      <a:pt x="31" y="62"/>
                      <a:pt x="31" y="60"/>
                    </a:cubicBezTo>
                    <a:cubicBezTo>
                      <a:pt x="30" y="58"/>
                      <a:pt x="33" y="58"/>
                      <a:pt x="35" y="59"/>
                    </a:cubicBezTo>
                    <a:cubicBezTo>
                      <a:pt x="36" y="59"/>
                      <a:pt x="39" y="59"/>
                      <a:pt x="37" y="58"/>
                    </a:cubicBezTo>
                    <a:cubicBezTo>
                      <a:pt x="36" y="57"/>
                      <a:pt x="31" y="54"/>
                      <a:pt x="30" y="53"/>
                    </a:cubicBezTo>
                    <a:cubicBezTo>
                      <a:pt x="29" y="52"/>
                      <a:pt x="27" y="48"/>
                      <a:pt x="27" y="46"/>
                    </a:cubicBezTo>
                    <a:cubicBezTo>
                      <a:pt x="27" y="45"/>
                      <a:pt x="26" y="41"/>
                      <a:pt x="25" y="39"/>
                    </a:cubicBezTo>
                    <a:cubicBezTo>
                      <a:pt x="25" y="38"/>
                      <a:pt x="23" y="35"/>
                      <a:pt x="21" y="33"/>
                    </a:cubicBezTo>
                    <a:cubicBezTo>
                      <a:pt x="19" y="32"/>
                      <a:pt x="17" y="30"/>
                      <a:pt x="16" y="32"/>
                    </a:cubicBezTo>
                    <a:cubicBezTo>
                      <a:pt x="16" y="33"/>
                      <a:pt x="14" y="35"/>
                      <a:pt x="14" y="37"/>
                    </a:cubicBezTo>
                    <a:cubicBezTo>
                      <a:pt x="13" y="39"/>
                      <a:pt x="12" y="40"/>
                      <a:pt x="11" y="40"/>
                    </a:cubicBezTo>
                    <a:cubicBezTo>
                      <a:pt x="10" y="40"/>
                      <a:pt x="10" y="42"/>
                      <a:pt x="10" y="44"/>
                    </a:cubicBezTo>
                    <a:cubicBezTo>
                      <a:pt x="10" y="46"/>
                      <a:pt x="8" y="46"/>
                      <a:pt x="7" y="44"/>
                    </a:cubicBezTo>
                    <a:cubicBezTo>
                      <a:pt x="6" y="43"/>
                      <a:pt x="3" y="39"/>
                      <a:pt x="3" y="37"/>
                    </a:cubicBezTo>
                    <a:cubicBezTo>
                      <a:pt x="3" y="36"/>
                      <a:pt x="2" y="36"/>
                      <a:pt x="2" y="33"/>
                    </a:cubicBezTo>
                    <a:cubicBezTo>
                      <a:pt x="2" y="31"/>
                      <a:pt x="0" y="28"/>
                      <a:pt x="2" y="28"/>
                    </a:cubicBezTo>
                    <a:cubicBezTo>
                      <a:pt x="4" y="28"/>
                      <a:pt x="8" y="29"/>
                      <a:pt x="9" y="28"/>
                    </a:cubicBezTo>
                    <a:cubicBezTo>
                      <a:pt x="11" y="27"/>
                      <a:pt x="13" y="27"/>
                      <a:pt x="15" y="27"/>
                    </a:cubicBezTo>
                    <a:cubicBezTo>
                      <a:pt x="16" y="27"/>
                      <a:pt x="20" y="25"/>
                      <a:pt x="20" y="24"/>
                    </a:cubicBezTo>
                    <a:cubicBezTo>
                      <a:pt x="20" y="22"/>
                      <a:pt x="21" y="23"/>
                      <a:pt x="22" y="25"/>
                    </a:cubicBezTo>
                    <a:cubicBezTo>
                      <a:pt x="23" y="27"/>
                      <a:pt x="26" y="27"/>
                      <a:pt x="27" y="27"/>
                    </a:cubicBezTo>
                    <a:cubicBezTo>
                      <a:pt x="29" y="27"/>
                      <a:pt x="32" y="31"/>
                      <a:pt x="33" y="29"/>
                    </a:cubicBezTo>
                    <a:cubicBezTo>
                      <a:pt x="33" y="27"/>
                      <a:pt x="35" y="24"/>
                      <a:pt x="34" y="22"/>
                    </a:cubicBezTo>
                    <a:cubicBezTo>
                      <a:pt x="33" y="20"/>
                      <a:pt x="36" y="20"/>
                      <a:pt x="38" y="19"/>
                    </a:cubicBezTo>
                    <a:cubicBezTo>
                      <a:pt x="39" y="18"/>
                      <a:pt x="40" y="17"/>
                      <a:pt x="40" y="15"/>
                    </a:cubicBezTo>
                    <a:cubicBezTo>
                      <a:pt x="39" y="13"/>
                      <a:pt x="38" y="9"/>
                      <a:pt x="39" y="8"/>
                    </a:cubicBezTo>
                    <a:cubicBezTo>
                      <a:pt x="40" y="8"/>
                      <a:pt x="43" y="8"/>
                      <a:pt x="44" y="7"/>
                    </a:cubicBezTo>
                    <a:cubicBezTo>
                      <a:pt x="46" y="5"/>
                      <a:pt x="49" y="5"/>
                      <a:pt x="50" y="4"/>
                    </a:cubicBezTo>
                    <a:cubicBezTo>
                      <a:pt x="50" y="4"/>
                      <a:pt x="50" y="0"/>
                      <a:pt x="52" y="0"/>
                    </a:cubicBezTo>
                    <a:cubicBezTo>
                      <a:pt x="54" y="0"/>
                      <a:pt x="56" y="1"/>
                      <a:pt x="58" y="2"/>
                    </a:cubicBezTo>
                    <a:cubicBezTo>
                      <a:pt x="60" y="4"/>
                      <a:pt x="61" y="5"/>
                      <a:pt x="62" y="7"/>
                    </a:cubicBezTo>
                    <a:cubicBezTo>
                      <a:pt x="63" y="9"/>
                      <a:pt x="65" y="9"/>
                      <a:pt x="67" y="11"/>
                    </a:cubicBezTo>
                    <a:cubicBezTo>
                      <a:pt x="69" y="12"/>
                      <a:pt x="69" y="15"/>
                      <a:pt x="71" y="15"/>
                    </a:cubicBezTo>
                    <a:cubicBezTo>
                      <a:pt x="72" y="15"/>
                      <a:pt x="74" y="15"/>
                      <a:pt x="76" y="17"/>
                    </a:cubicBezTo>
                    <a:cubicBezTo>
                      <a:pt x="77" y="19"/>
                      <a:pt x="77" y="19"/>
                      <a:pt x="81" y="19"/>
                    </a:cubicBezTo>
                    <a:cubicBezTo>
                      <a:pt x="85" y="18"/>
                      <a:pt x="87" y="19"/>
                      <a:pt x="89" y="20"/>
                    </a:cubicBezTo>
                    <a:cubicBezTo>
                      <a:pt x="91" y="21"/>
                      <a:pt x="93" y="19"/>
                      <a:pt x="94" y="18"/>
                    </a:cubicBezTo>
                    <a:cubicBezTo>
                      <a:pt x="95" y="16"/>
                      <a:pt x="95" y="16"/>
                      <a:pt x="97" y="16"/>
                    </a:cubicBezTo>
                    <a:cubicBezTo>
                      <a:pt x="97" y="16"/>
                      <a:pt x="98" y="18"/>
                      <a:pt x="99" y="21"/>
                    </a:cubicBezTo>
                    <a:cubicBezTo>
                      <a:pt x="100" y="24"/>
                      <a:pt x="99" y="24"/>
                      <a:pt x="99" y="25"/>
                    </a:cubicBezTo>
                    <a:cubicBezTo>
                      <a:pt x="100" y="26"/>
                      <a:pt x="102" y="26"/>
                      <a:pt x="101" y="27"/>
                    </a:cubicBezTo>
                    <a:cubicBezTo>
                      <a:pt x="100" y="29"/>
                      <a:pt x="102" y="31"/>
                      <a:pt x="104" y="33"/>
                    </a:cubicBezTo>
                    <a:cubicBezTo>
                      <a:pt x="105" y="34"/>
                      <a:pt x="108" y="35"/>
                      <a:pt x="107" y="35"/>
                    </a:cubicBezTo>
                    <a:cubicBezTo>
                      <a:pt x="106" y="36"/>
                      <a:pt x="102" y="35"/>
                      <a:pt x="103" y="37"/>
                    </a:cubicBezTo>
                    <a:cubicBezTo>
                      <a:pt x="104" y="39"/>
                      <a:pt x="103" y="42"/>
                      <a:pt x="103" y="42"/>
                    </a:cubicBezTo>
                    <a:cubicBezTo>
                      <a:pt x="103" y="42"/>
                      <a:pt x="102" y="42"/>
                      <a:pt x="101" y="43"/>
                    </a:cubicBezTo>
                    <a:cubicBezTo>
                      <a:pt x="99" y="45"/>
                      <a:pt x="98" y="43"/>
                      <a:pt x="97" y="40"/>
                    </a:cubicBezTo>
                    <a:cubicBezTo>
                      <a:pt x="96" y="38"/>
                      <a:pt x="95" y="39"/>
                      <a:pt x="93" y="38"/>
                    </a:cubicBezTo>
                    <a:cubicBezTo>
                      <a:pt x="92" y="37"/>
                      <a:pt x="91" y="37"/>
                      <a:pt x="89" y="38"/>
                    </a:cubicBezTo>
                    <a:cubicBezTo>
                      <a:pt x="88" y="38"/>
                      <a:pt x="86" y="38"/>
                      <a:pt x="85" y="37"/>
                    </a:cubicBezTo>
                    <a:cubicBezTo>
                      <a:pt x="83" y="36"/>
                      <a:pt x="83" y="37"/>
                      <a:pt x="81" y="38"/>
                    </a:cubicBezTo>
                    <a:cubicBezTo>
                      <a:pt x="79" y="39"/>
                      <a:pt x="78" y="38"/>
                      <a:pt x="77" y="37"/>
                    </a:cubicBezTo>
                    <a:cubicBezTo>
                      <a:pt x="75" y="36"/>
                      <a:pt x="72" y="36"/>
                      <a:pt x="70" y="35"/>
                    </a:cubicBezTo>
                    <a:cubicBezTo>
                      <a:pt x="68" y="35"/>
                      <a:pt x="66" y="35"/>
                      <a:pt x="64" y="33"/>
                    </a:cubicBezTo>
                    <a:cubicBezTo>
                      <a:pt x="63" y="32"/>
                      <a:pt x="62" y="32"/>
                      <a:pt x="62" y="34"/>
                    </a:cubicBezTo>
                    <a:cubicBezTo>
                      <a:pt x="61" y="36"/>
                      <a:pt x="58" y="35"/>
                      <a:pt x="57" y="34"/>
                    </a:cubicBezTo>
                    <a:cubicBezTo>
                      <a:pt x="55" y="33"/>
                      <a:pt x="54" y="38"/>
                      <a:pt x="52" y="40"/>
                    </a:cubicBezTo>
                    <a:cubicBezTo>
                      <a:pt x="51" y="42"/>
                      <a:pt x="48" y="36"/>
                      <a:pt x="46" y="34"/>
                    </a:cubicBezTo>
                    <a:cubicBezTo>
                      <a:pt x="44" y="31"/>
                      <a:pt x="42" y="34"/>
                      <a:pt x="42" y="36"/>
                    </a:cubicBezTo>
                    <a:cubicBezTo>
                      <a:pt x="43" y="39"/>
                      <a:pt x="42" y="40"/>
                      <a:pt x="43" y="44"/>
                    </a:cubicBezTo>
                    <a:cubicBezTo>
                      <a:pt x="44" y="48"/>
                      <a:pt x="45" y="48"/>
                      <a:pt x="47" y="50"/>
                    </a:cubicBezTo>
                    <a:cubicBezTo>
                      <a:pt x="50" y="52"/>
                      <a:pt x="51" y="59"/>
                      <a:pt x="52" y="62"/>
                    </a:cubicBezTo>
                    <a:cubicBezTo>
                      <a:pt x="54" y="65"/>
                      <a:pt x="57" y="67"/>
                      <a:pt x="59" y="69"/>
                    </a:cubicBezTo>
                    <a:cubicBezTo>
                      <a:pt x="61" y="71"/>
                      <a:pt x="63" y="74"/>
                      <a:pt x="65" y="76"/>
                    </a:cubicBezTo>
                    <a:cubicBezTo>
                      <a:pt x="67" y="78"/>
                      <a:pt x="71" y="83"/>
                      <a:pt x="72" y="86"/>
                    </a:cubicBezTo>
                    <a:cubicBezTo>
                      <a:pt x="74" y="88"/>
                      <a:pt x="76" y="88"/>
                      <a:pt x="78" y="90"/>
                    </a:cubicBezTo>
                    <a:cubicBezTo>
                      <a:pt x="80" y="92"/>
                      <a:pt x="80" y="96"/>
                      <a:pt x="81" y="97"/>
                    </a:cubicBezTo>
                    <a:close/>
                  </a:path>
                </a:pathLst>
              </a:custGeom>
              <a:solidFill>
                <a:srgbClr val="CBA6AB"/>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1" name="Freeform 208"/>
              <p:cNvSpPr>
                <a:spLocks/>
              </p:cNvSpPr>
              <p:nvPr>
                <p:custDataLst>
                  <p:tags r:id="rId124"/>
                </p:custDataLst>
              </p:nvPr>
            </p:nvSpPr>
            <p:spPr bwMode="gray">
              <a:xfrm>
                <a:off x="4721936" y="3655670"/>
                <a:ext cx="273214" cy="177077"/>
              </a:xfrm>
              <a:custGeom>
                <a:avLst/>
                <a:gdLst>
                  <a:gd name="T0" fmla="*/ 57 w 57"/>
                  <a:gd name="T1" fmla="*/ 10 h 40"/>
                  <a:gd name="T2" fmla="*/ 55 w 57"/>
                  <a:gd name="T3" fmla="*/ 4 h 40"/>
                  <a:gd name="T4" fmla="*/ 52 w 57"/>
                  <a:gd name="T5" fmla="*/ 0 h 40"/>
                  <a:gd name="T6" fmla="*/ 49 w 57"/>
                  <a:gd name="T7" fmla="*/ 1 h 40"/>
                  <a:gd name="T8" fmla="*/ 50 w 57"/>
                  <a:gd name="T9" fmla="*/ 7 h 40"/>
                  <a:gd name="T10" fmla="*/ 45 w 57"/>
                  <a:gd name="T11" fmla="*/ 4 h 40"/>
                  <a:gd name="T12" fmla="*/ 41 w 57"/>
                  <a:gd name="T13" fmla="*/ 6 h 40"/>
                  <a:gd name="T14" fmla="*/ 37 w 57"/>
                  <a:gd name="T15" fmla="*/ 7 h 40"/>
                  <a:gd name="T16" fmla="*/ 31 w 57"/>
                  <a:gd name="T17" fmla="*/ 7 h 40"/>
                  <a:gd name="T18" fmla="*/ 26 w 57"/>
                  <a:gd name="T19" fmla="*/ 10 h 40"/>
                  <a:gd name="T20" fmla="*/ 22 w 57"/>
                  <a:gd name="T21" fmla="*/ 13 h 40"/>
                  <a:gd name="T22" fmla="*/ 14 w 57"/>
                  <a:gd name="T23" fmla="*/ 11 h 40"/>
                  <a:gd name="T24" fmla="*/ 8 w 57"/>
                  <a:gd name="T25" fmla="*/ 10 h 40"/>
                  <a:gd name="T26" fmla="*/ 2 w 57"/>
                  <a:gd name="T27" fmla="*/ 14 h 40"/>
                  <a:gd name="T28" fmla="*/ 4 w 57"/>
                  <a:gd name="T29" fmla="*/ 17 h 40"/>
                  <a:gd name="T30" fmla="*/ 7 w 57"/>
                  <a:gd name="T31" fmla="*/ 19 h 40"/>
                  <a:gd name="T32" fmla="*/ 4 w 57"/>
                  <a:gd name="T33" fmla="*/ 22 h 40"/>
                  <a:gd name="T34" fmla="*/ 5 w 57"/>
                  <a:gd name="T35" fmla="*/ 27 h 40"/>
                  <a:gd name="T36" fmla="*/ 7 w 57"/>
                  <a:gd name="T37" fmla="*/ 30 h 40"/>
                  <a:gd name="T38" fmla="*/ 8 w 57"/>
                  <a:gd name="T39" fmla="*/ 34 h 40"/>
                  <a:gd name="T40" fmla="*/ 4 w 57"/>
                  <a:gd name="T41" fmla="*/ 37 h 40"/>
                  <a:gd name="T42" fmla="*/ 5 w 57"/>
                  <a:gd name="T43" fmla="*/ 37 h 40"/>
                  <a:gd name="T44" fmla="*/ 12 w 57"/>
                  <a:gd name="T45" fmla="*/ 37 h 40"/>
                  <a:gd name="T46" fmla="*/ 18 w 57"/>
                  <a:gd name="T47" fmla="*/ 36 h 40"/>
                  <a:gd name="T48" fmla="*/ 23 w 57"/>
                  <a:gd name="T49" fmla="*/ 33 h 40"/>
                  <a:gd name="T50" fmla="*/ 25 w 57"/>
                  <a:gd name="T51" fmla="*/ 34 h 40"/>
                  <a:gd name="T52" fmla="*/ 30 w 57"/>
                  <a:gd name="T53" fmla="*/ 36 h 40"/>
                  <a:gd name="T54" fmla="*/ 36 w 57"/>
                  <a:gd name="T55" fmla="*/ 38 h 40"/>
                  <a:gd name="T56" fmla="*/ 37 w 57"/>
                  <a:gd name="T57" fmla="*/ 31 h 40"/>
                  <a:gd name="T58" fmla="*/ 41 w 57"/>
                  <a:gd name="T59" fmla="*/ 28 h 40"/>
                  <a:gd name="T60" fmla="*/ 43 w 57"/>
                  <a:gd name="T61" fmla="*/ 24 h 40"/>
                  <a:gd name="T62" fmla="*/ 42 w 57"/>
                  <a:gd name="T63" fmla="*/ 17 h 40"/>
                  <a:gd name="T64" fmla="*/ 47 w 57"/>
                  <a:gd name="T65" fmla="*/ 16 h 40"/>
                  <a:gd name="T66" fmla="*/ 53 w 57"/>
                  <a:gd name="T67" fmla="*/ 13 h 40"/>
                  <a:gd name="T68" fmla="*/ 55 w 57"/>
                  <a:gd name="T69" fmla="*/ 9 h 40"/>
                  <a:gd name="T70" fmla="*/ 57 w 57"/>
                  <a:gd name="T71" fmla="*/ 10 h 40"/>
                  <a:gd name="T72" fmla="*/ 57 w 57"/>
                  <a:gd name="T73" fmla="*/ 10 h 40"/>
                  <a:gd name="connsiteX0" fmla="*/ 10036 w 10036"/>
                  <a:gd name="connsiteY0" fmla="*/ 2500 h 9640"/>
                  <a:gd name="connsiteX1" fmla="*/ 9685 w 10036"/>
                  <a:gd name="connsiteY1" fmla="*/ 1000 h 9640"/>
                  <a:gd name="connsiteX2" fmla="*/ 9159 w 10036"/>
                  <a:gd name="connsiteY2" fmla="*/ 0 h 9640"/>
                  <a:gd name="connsiteX3" fmla="*/ 8632 w 10036"/>
                  <a:gd name="connsiteY3" fmla="*/ 250 h 9640"/>
                  <a:gd name="connsiteX4" fmla="*/ 8808 w 10036"/>
                  <a:gd name="connsiteY4" fmla="*/ 1750 h 9640"/>
                  <a:gd name="connsiteX5" fmla="*/ 7931 w 10036"/>
                  <a:gd name="connsiteY5" fmla="*/ 1000 h 9640"/>
                  <a:gd name="connsiteX6" fmla="*/ 7229 w 10036"/>
                  <a:gd name="connsiteY6" fmla="*/ 1500 h 9640"/>
                  <a:gd name="connsiteX7" fmla="*/ 6527 w 10036"/>
                  <a:gd name="connsiteY7" fmla="*/ 1750 h 9640"/>
                  <a:gd name="connsiteX8" fmla="*/ 5475 w 10036"/>
                  <a:gd name="connsiteY8" fmla="*/ 1750 h 9640"/>
                  <a:gd name="connsiteX9" fmla="*/ 4597 w 10036"/>
                  <a:gd name="connsiteY9" fmla="*/ 2500 h 9640"/>
                  <a:gd name="connsiteX10" fmla="*/ 3896 w 10036"/>
                  <a:gd name="connsiteY10" fmla="*/ 3250 h 9640"/>
                  <a:gd name="connsiteX11" fmla="*/ 2492 w 10036"/>
                  <a:gd name="connsiteY11" fmla="*/ 2750 h 9640"/>
                  <a:gd name="connsiteX12" fmla="*/ 1440 w 10036"/>
                  <a:gd name="connsiteY12" fmla="*/ 2500 h 9640"/>
                  <a:gd name="connsiteX13" fmla="*/ 387 w 10036"/>
                  <a:gd name="connsiteY13" fmla="*/ 3500 h 9640"/>
                  <a:gd name="connsiteX14" fmla="*/ 738 w 10036"/>
                  <a:gd name="connsiteY14" fmla="*/ 4250 h 9640"/>
                  <a:gd name="connsiteX15" fmla="*/ 1264 w 10036"/>
                  <a:gd name="connsiteY15" fmla="*/ 4750 h 9640"/>
                  <a:gd name="connsiteX16" fmla="*/ 0 w 10036"/>
                  <a:gd name="connsiteY16" fmla="*/ 5500 h 9640"/>
                  <a:gd name="connsiteX17" fmla="*/ 913 w 10036"/>
                  <a:gd name="connsiteY17" fmla="*/ 6750 h 9640"/>
                  <a:gd name="connsiteX18" fmla="*/ 1264 w 10036"/>
                  <a:gd name="connsiteY18" fmla="*/ 7500 h 9640"/>
                  <a:gd name="connsiteX19" fmla="*/ 1440 w 10036"/>
                  <a:gd name="connsiteY19" fmla="*/ 8500 h 9640"/>
                  <a:gd name="connsiteX20" fmla="*/ 738 w 10036"/>
                  <a:gd name="connsiteY20" fmla="*/ 9250 h 9640"/>
                  <a:gd name="connsiteX21" fmla="*/ 913 w 10036"/>
                  <a:gd name="connsiteY21" fmla="*/ 9250 h 9640"/>
                  <a:gd name="connsiteX22" fmla="*/ 2141 w 10036"/>
                  <a:gd name="connsiteY22" fmla="*/ 9250 h 9640"/>
                  <a:gd name="connsiteX23" fmla="*/ 3194 w 10036"/>
                  <a:gd name="connsiteY23" fmla="*/ 9000 h 9640"/>
                  <a:gd name="connsiteX24" fmla="*/ 4071 w 10036"/>
                  <a:gd name="connsiteY24" fmla="*/ 8250 h 9640"/>
                  <a:gd name="connsiteX25" fmla="*/ 4422 w 10036"/>
                  <a:gd name="connsiteY25" fmla="*/ 8500 h 9640"/>
                  <a:gd name="connsiteX26" fmla="*/ 5299 w 10036"/>
                  <a:gd name="connsiteY26" fmla="*/ 9000 h 9640"/>
                  <a:gd name="connsiteX27" fmla="*/ 6352 w 10036"/>
                  <a:gd name="connsiteY27" fmla="*/ 9500 h 9640"/>
                  <a:gd name="connsiteX28" fmla="*/ 6527 w 10036"/>
                  <a:gd name="connsiteY28" fmla="*/ 7750 h 9640"/>
                  <a:gd name="connsiteX29" fmla="*/ 7229 w 10036"/>
                  <a:gd name="connsiteY29" fmla="*/ 7000 h 9640"/>
                  <a:gd name="connsiteX30" fmla="*/ 7580 w 10036"/>
                  <a:gd name="connsiteY30" fmla="*/ 6000 h 9640"/>
                  <a:gd name="connsiteX31" fmla="*/ 7404 w 10036"/>
                  <a:gd name="connsiteY31" fmla="*/ 4250 h 9640"/>
                  <a:gd name="connsiteX32" fmla="*/ 8282 w 10036"/>
                  <a:gd name="connsiteY32" fmla="*/ 4000 h 9640"/>
                  <a:gd name="connsiteX33" fmla="*/ 9334 w 10036"/>
                  <a:gd name="connsiteY33" fmla="*/ 3250 h 9640"/>
                  <a:gd name="connsiteX34" fmla="*/ 9685 w 10036"/>
                  <a:gd name="connsiteY34" fmla="*/ 2250 h 9640"/>
                  <a:gd name="connsiteX35" fmla="*/ 10036 w 10036"/>
                  <a:gd name="connsiteY35" fmla="*/ 2500 h 9640"/>
                  <a:gd name="connsiteX36" fmla="*/ 10036 w 10036"/>
                  <a:gd name="connsiteY36" fmla="*/ 2500 h 9640"/>
                  <a:gd name="connsiteX0" fmla="*/ 10246 w 10246"/>
                  <a:gd name="connsiteY0" fmla="*/ 2593 h 9999"/>
                  <a:gd name="connsiteX1" fmla="*/ 9896 w 10246"/>
                  <a:gd name="connsiteY1" fmla="*/ 1037 h 9999"/>
                  <a:gd name="connsiteX2" fmla="*/ 9372 w 10246"/>
                  <a:gd name="connsiteY2" fmla="*/ 0 h 9999"/>
                  <a:gd name="connsiteX3" fmla="*/ 8847 w 10246"/>
                  <a:gd name="connsiteY3" fmla="*/ 259 h 9999"/>
                  <a:gd name="connsiteX4" fmla="*/ 9022 w 10246"/>
                  <a:gd name="connsiteY4" fmla="*/ 1815 h 9999"/>
                  <a:gd name="connsiteX5" fmla="*/ 8149 w 10246"/>
                  <a:gd name="connsiteY5" fmla="*/ 1037 h 9999"/>
                  <a:gd name="connsiteX6" fmla="*/ 7449 w 10246"/>
                  <a:gd name="connsiteY6" fmla="*/ 1556 h 9999"/>
                  <a:gd name="connsiteX7" fmla="*/ 6750 w 10246"/>
                  <a:gd name="connsiteY7" fmla="*/ 1815 h 9999"/>
                  <a:gd name="connsiteX8" fmla="*/ 5701 w 10246"/>
                  <a:gd name="connsiteY8" fmla="*/ 1815 h 9999"/>
                  <a:gd name="connsiteX9" fmla="*/ 4827 w 10246"/>
                  <a:gd name="connsiteY9" fmla="*/ 2593 h 9999"/>
                  <a:gd name="connsiteX10" fmla="*/ 4128 w 10246"/>
                  <a:gd name="connsiteY10" fmla="*/ 3371 h 9999"/>
                  <a:gd name="connsiteX11" fmla="*/ 2729 w 10246"/>
                  <a:gd name="connsiteY11" fmla="*/ 2853 h 9999"/>
                  <a:gd name="connsiteX12" fmla="*/ 1681 w 10246"/>
                  <a:gd name="connsiteY12" fmla="*/ 2593 h 9999"/>
                  <a:gd name="connsiteX13" fmla="*/ 632 w 10246"/>
                  <a:gd name="connsiteY13" fmla="*/ 3631 h 9999"/>
                  <a:gd name="connsiteX14" fmla="*/ 981 w 10246"/>
                  <a:gd name="connsiteY14" fmla="*/ 4409 h 9999"/>
                  <a:gd name="connsiteX15" fmla="*/ 1505 w 10246"/>
                  <a:gd name="connsiteY15" fmla="*/ 4927 h 9999"/>
                  <a:gd name="connsiteX16" fmla="*/ 63 w 10246"/>
                  <a:gd name="connsiteY16" fmla="*/ 5063 h 9999"/>
                  <a:gd name="connsiteX17" fmla="*/ 246 w 10246"/>
                  <a:gd name="connsiteY17" fmla="*/ 5705 h 9999"/>
                  <a:gd name="connsiteX18" fmla="*/ 1156 w 10246"/>
                  <a:gd name="connsiteY18" fmla="*/ 7002 h 9999"/>
                  <a:gd name="connsiteX19" fmla="*/ 1505 w 10246"/>
                  <a:gd name="connsiteY19" fmla="*/ 7780 h 9999"/>
                  <a:gd name="connsiteX20" fmla="*/ 1681 w 10246"/>
                  <a:gd name="connsiteY20" fmla="*/ 8817 h 9999"/>
                  <a:gd name="connsiteX21" fmla="*/ 981 w 10246"/>
                  <a:gd name="connsiteY21" fmla="*/ 9595 h 9999"/>
                  <a:gd name="connsiteX22" fmla="*/ 1156 w 10246"/>
                  <a:gd name="connsiteY22" fmla="*/ 9595 h 9999"/>
                  <a:gd name="connsiteX23" fmla="*/ 2379 w 10246"/>
                  <a:gd name="connsiteY23" fmla="*/ 9595 h 9999"/>
                  <a:gd name="connsiteX24" fmla="*/ 3429 w 10246"/>
                  <a:gd name="connsiteY24" fmla="*/ 9336 h 9999"/>
                  <a:gd name="connsiteX25" fmla="*/ 4302 w 10246"/>
                  <a:gd name="connsiteY25" fmla="*/ 8558 h 9999"/>
                  <a:gd name="connsiteX26" fmla="*/ 4652 w 10246"/>
                  <a:gd name="connsiteY26" fmla="*/ 8817 h 9999"/>
                  <a:gd name="connsiteX27" fmla="*/ 5526 w 10246"/>
                  <a:gd name="connsiteY27" fmla="*/ 9336 h 9999"/>
                  <a:gd name="connsiteX28" fmla="*/ 6575 w 10246"/>
                  <a:gd name="connsiteY28" fmla="*/ 9855 h 9999"/>
                  <a:gd name="connsiteX29" fmla="*/ 6750 w 10246"/>
                  <a:gd name="connsiteY29" fmla="*/ 8039 h 9999"/>
                  <a:gd name="connsiteX30" fmla="*/ 7449 w 10246"/>
                  <a:gd name="connsiteY30" fmla="*/ 7261 h 9999"/>
                  <a:gd name="connsiteX31" fmla="*/ 7799 w 10246"/>
                  <a:gd name="connsiteY31" fmla="*/ 6224 h 9999"/>
                  <a:gd name="connsiteX32" fmla="*/ 7623 w 10246"/>
                  <a:gd name="connsiteY32" fmla="*/ 4409 h 9999"/>
                  <a:gd name="connsiteX33" fmla="*/ 8498 w 10246"/>
                  <a:gd name="connsiteY33" fmla="*/ 4149 h 9999"/>
                  <a:gd name="connsiteX34" fmla="*/ 9547 w 10246"/>
                  <a:gd name="connsiteY34" fmla="*/ 3371 h 9999"/>
                  <a:gd name="connsiteX35" fmla="*/ 9896 w 10246"/>
                  <a:gd name="connsiteY35" fmla="*/ 2334 h 9999"/>
                  <a:gd name="connsiteX36" fmla="*/ 10246 w 10246"/>
                  <a:gd name="connsiteY36" fmla="*/ 2593 h 9999"/>
                  <a:gd name="connsiteX37" fmla="*/ 10246 w 10246"/>
                  <a:gd name="connsiteY37" fmla="*/ 2593 h 9999"/>
                  <a:gd name="connsiteX0" fmla="*/ 10000 w 10000"/>
                  <a:gd name="connsiteY0" fmla="*/ 2593 h 10000"/>
                  <a:gd name="connsiteX1" fmla="*/ 9658 w 10000"/>
                  <a:gd name="connsiteY1" fmla="*/ 1037 h 10000"/>
                  <a:gd name="connsiteX2" fmla="*/ 9147 w 10000"/>
                  <a:gd name="connsiteY2" fmla="*/ 0 h 10000"/>
                  <a:gd name="connsiteX3" fmla="*/ 8635 w 10000"/>
                  <a:gd name="connsiteY3" fmla="*/ 259 h 10000"/>
                  <a:gd name="connsiteX4" fmla="*/ 8805 w 10000"/>
                  <a:gd name="connsiteY4" fmla="*/ 1815 h 10000"/>
                  <a:gd name="connsiteX5" fmla="*/ 7953 w 10000"/>
                  <a:gd name="connsiteY5" fmla="*/ 1037 h 10000"/>
                  <a:gd name="connsiteX6" fmla="*/ 7270 w 10000"/>
                  <a:gd name="connsiteY6" fmla="*/ 1556 h 10000"/>
                  <a:gd name="connsiteX7" fmla="*/ 6588 w 10000"/>
                  <a:gd name="connsiteY7" fmla="*/ 1815 h 10000"/>
                  <a:gd name="connsiteX8" fmla="*/ 5564 w 10000"/>
                  <a:gd name="connsiteY8" fmla="*/ 1815 h 10000"/>
                  <a:gd name="connsiteX9" fmla="*/ 4711 w 10000"/>
                  <a:gd name="connsiteY9" fmla="*/ 2593 h 10000"/>
                  <a:gd name="connsiteX10" fmla="*/ 4029 w 10000"/>
                  <a:gd name="connsiteY10" fmla="*/ 3371 h 10000"/>
                  <a:gd name="connsiteX11" fmla="*/ 2663 w 10000"/>
                  <a:gd name="connsiteY11" fmla="*/ 2853 h 10000"/>
                  <a:gd name="connsiteX12" fmla="*/ 1641 w 10000"/>
                  <a:gd name="connsiteY12" fmla="*/ 2593 h 10000"/>
                  <a:gd name="connsiteX13" fmla="*/ 617 w 10000"/>
                  <a:gd name="connsiteY13" fmla="*/ 3631 h 10000"/>
                  <a:gd name="connsiteX14" fmla="*/ 479 w 10000"/>
                  <a:gd name="connsiteY14" fmla="*/ 4409 h 10000"/>
                  <a:gd name="connsiteX15" fmla="*/ 1469 w 10000"/>
                  <a:gd name="connsiteY15" fmla="*/ 4927 h 10000"/>
                  <a:gd name="connsiteX16" fmla="*/ 61 w 10000"/>
                  <a:gd name="connsiteY16" fmla="*/ 5064 h 10000"/>
                  <a:gd name="connsiteX17" fmla="*/ 240 w 10000"/>
                  <a:gd name="connsiteY17" fmla="*/ 5706 h 10000"/>
                  <a:gd name="connsiteX18" fmla="*/ 1128 w 10000"/>
                  <a:gd name="connsiteY18" fmla="*/ 7003 h 10000"/>
                  <a:gd name="connsiteX19" fmla="*/ 1469 w 10000"/>
                  <a:gd name="connsiteY19" fmla="*/ 7781 h 10000"/>
                  <a:gd name="connsiteX20" fmla="*/ 1641 w 10000"/>
                  <a:gd name="connsiteY20" fmla="*/ 8818 h 10000"/>
                  <a:gd name="connsiteX21" fmla="*/ 957 w 10000"/>
                  <a:gd name="connsiteY21" fmla="*/ 9596 h 10000"/>
                  <a:gd name="connsiteX22" fmla="*/ 1128 w 10000"/>
                  <a:gd name="connsiteY22" fmla="*/ 9596 h 10000"/>
                  <a:gd name="connsiteX23" fmla="*/ 2322 w 10000"/>
                  <a:gd name="connsiteY23" fmla="*/ 9596 h 10000"/>
                  <a:gd name="connsiteX24" fmla="*/ 3347 w 10000"/>
                  <a:gd name="connsiteY24" fmla="*/ 9337 h 10000"/>
                  <a:gd name="connsiteX25" fmla="*/ 4199 w 10000"/>
                  <a:gd name="connsiteY25" fmla="*/ 8559 h 10000"/>
                  <a:gd name="connsiteX26" fmla="*/ 4540 w 10000"/>
                  <a:gd name="connsiteY26" fmla="*/ 8818 h 10000"/>
                  <a:gd name="connsiteX27" fmla="*/ 5393 w 10000"/>
                  <a:gd name="connsiteY27" fmla="*/ 9337 h 10000"/>
                  <a:gd name="connsiteX28" fmla="*/ 6417 w 10000"/>
                  <a:gd name="connsiteY28" fmla="*/ 9856 h 10000"/>
                  <a:gd name="connsiteX29" fmla="*/ 6588 w 10000"/>
                  <a:gd name="connsiteY29" fmla="*/ 8040 h 10000"/>
                  <a:gd name="connsiteX30" fmla="*/ 7270 w 10000"/>
                  <a:gd name="connsiteY30" fmla="*/ 7262 h 10000"/>
                  <a:gd name="connsiteX31" fmla="*/ 7612 w 10000"/>
                  <a:gd name="connsiteY31" fmla="*/ 6225 h 10000"/>
                  <a:gd name="connsiteX32" fmla="*/ 7440 w 10000"/>
                  <a:gd name="connsiteY32" fmla="*/ 4409 h 10000"/>
                  <a:gd name="connsiteX33" fmla="*/ 8294 w 10000"/>
                  <a:gd name="connsiteY33" fmla="*/ 4149 h 10000"/>
                  <a:gd name="connsiteX34" fmla="*/ 9318 w 10000"/>
                  <a:gd name="connsiteY34" fmla="*/ 3371 h 10000"/>
                  <a:gd name="connsiteX35" fmla="*/ 9658 w 10000"/>
                  <a:gd name="connsiteY35" fmla="*/ 2334 h 10000"/>
                  <a:gd name="connsiteX36" fmla="*/ 10000 w 10000"/>
                  <a:gd name="connsiteY36" fmla="*/ 2593 h 10000"/>
                  <a:gd name="connsiteX37" fmla="*/ 10000 w 10000"/>
                  <a:gd name="connsiteY37" fmla="*/ 2593 h 10000"/>
                  <a:gd name="connsiteX0" fmla="*/ 10000 w 10000"/>
                  <a:gd name="connsiteY0" fmla="*/ 2593 h 10000"/>
                  <a:gd name="connsiteX1" fmla="*/ 9658 w 10000"/>
                  <a:gd name="connsiteY1" fmla="*/ 1037 h 10000"/>
                  <a:gd name="connsiteX2" fmla="*/ 9147 w 10000"/>
                  <a:gd name="connsiteY2" fmla="*/ 0 h 10000"/>
                  <a:gd name="connsiteX3" fmla="*/ 8635 w 10000"/>
                  <a:gd name="connsiteY3" fmla="*/ 259 h 10000"/>
                  <a:gd name="connsiteX4" fmla="*/ 8805 w 10000"/>
                  <a:gd name="connsiteY4" fmla="*/ 1815 h 10000"/>
                  <a:gd name="connsiteX5" fmla="*/ 7953 w 10000"/>
                  <a:gd name="connsiteY5" fmla="*/ 1037 h 10000"/>
                  <a:gd name="connsiteX6" fmla="*/ 7270 w 10000"/>
                  <a:gd name="connsiteY6" fmla="*/ 1556 h 10000"/>
                  <a:gd name="connsiteX7" fmla="*/ 6588 w 10000"/>
                  <a:gd name="connsiteY7" fmla="*/ 1815 h 10000"/>
                  <a:gd name="connsiteX8" fmla="*/ 5564 w 10000"/>
                  <a:gd name="connsiteY8" fmla="*/ 1815 h 10000"/>
                  <a:gd name="connsiteX9" fmla="*/ 4711 w 10000"/>
                  <a:gd name="connsiteY9" fmla="*/ 2593 h 10000"/>
                  <a:gd name="connsiteX10" fmla="*/ 4029 w 10000"/>
                  <a:gd name="connsiteY10" fmla="*/ 3371 h 10000"/>
                  <a:gd name="connsiteX11" fmla="*/ 2663 w 10000"/>
                  <a:gd name="connsiteY11" fmla="*/ 2853 h 10000"/>
                  <a:gd name="connsiteX12" fmla="*/ 1641 w 10000"/>
                  <a:gd name="connsiteY12" fmla="*/ 2593 h 10000"/>
                  <a:gd name="connsiteX13" fmla="*/ 617 w 10000"/>
                  <a:gd name="connsiteY13" fmla="*/ 3631 h 10000"/>
                  <a:gd name="connsiteX14" fmla="*/ 479 w 10000"/>
                  <a:gd name="connsiteY14" fmla="*/ 4409 h 10000"/>
                  <a:gd name="connsiteX15" fmla="*/ 61 w 10000"/>
                  <a:gd name="connsiteY15" fmla="*/ 5064 h 10000"/>
                  <a:gd name="connsiteX16" fmla="*/ 240 w 10000"/>
                  <a:gd name="connsiteY16" fmla="*/ 5706 h 10000"/>
                  <a:gd name="connsiteX17" fmla="*/ 1128 w 10000"/>
                  <a:gd name="connsiteY17" fmla="*/ 7003 h 10000"/>
                  <a:gd name="connsiteX18" fmla="*/ 1469 w 10000"/>
                  <a:gd name="connsiteY18" fmla="*/ 7781 h 10000"/>
                  <a:gd name="connsiteX19" fmla="*/ 1641 w 10000"/>
                  <a:gd name="connsiteY19" fmla="*/ 8818 h 10000"/>
                  <a:gd name="connsiteX20" fmla="*/ 957 w 10000"/>
                  <a:gd name="connsiteY20" fmla="*/ 9596 h 10000"/>
                  <a:gd name="connsiteX21" fmla="*/ 1128 w 10000"/>
                  <a:gd name="connsiteY21" fmla="*/ 9596 h 10000"/>
                  <a:gd name="connsiteX22" fmla="*/ 2322 w 10000"/>
                  <a:gd name="connsiteY22" fmla="*/ 9596 h 10000"/>
                  <a:gd name="connsiteX23" fmla="*/ 3347 w 10000"/>
                  <a:gd name="connsiteY23" fmla="*/ 9337 h 10000"/>
                  <a:gd name="connsiteX24" fmla="*/ 4199 w 10000"/>
                  <a:gd name="connsiteY24" fmla="*/ 8559 h 10000"/>
                  <a:gd name="connsiteX25" fmla="*/ 4540 w 10000"/>
                  <a:gd name="connsiteY25" fmla="*/ 8818 h 10000"/>
                  <a:gd name="connsiteX26" fmla="*/ 5393 w 10000"/>
                  <a:gd name="connsiteY26" fmla="*/ 9337 h 10000"/>
                  <a:gd name="connsiteX27" fmla="*/ 6417 w 10000"/>
                  <a:gd name="connsiteY27" fmla="*/ 9856 h 10000"/>
                  <a:gd name="connsiteX28" fmla="*/ 6588 w 10000"/>
                  <a:gd name="connsiteY28" fmla="*/ 8040 h 10000"/>
                  <a:gd name="connsiteX29" fmla="*/ 7270 w 10000"/>
                  <a:gd name="connsiteY29" fmla="*/ 7262 h 10000"/>
                  <a:gd name="connsiteX30" fmla="*/ 7612 w 10000"/>
                  <a:gd name="connsiteY30" fmla="*/ 6225 h 10000"/>
                  <a:gd name="connsiteX31" fmla="*/ 7440 w 10000"/>
                  <a:gd name="connsiteY31" fmla="*/ 4409 h 10000"/>
                  <a:gd name="connsiteX32" fmla="*/ 8294 w 10000"/>
                  <a:gd name="connsiteY32" fmla="*/ 4149 h 10000"/>
                  <a:gd name="connsiteX33" fmla="*/ 9318 w 10000"/>
                  <a:gd name="connsiteY33" fmla="*/ 3371 h 10000"/>
                  <a:gd name="connsiteX34" fmla="*/ 9658 w 10000"/>
                  <a:gd name="connsiteY34" fmla="*/ 2334 h 10000"/>
                  <a:gd name="connsiteX35" fmla="*/ 10000 w 10000"/>
                  <a:gd name="connsiteY35" fmla="*/ 2593 h 10000"/>
                  <a:gd name="connsiteX36" fmla="*/ 10000 w 10000"/>
                  <a:gd name="connsiteY36" fmla="*/ 259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0000" h="10000">
                    <a:moveTo>
                      <a:pt x="10000" y="2593"/>
                    </a:moveTo>
                    <a:cubicBezTo>
                      <a:pt x="9830" y="2334"/>
                      <a:pt x="9830" y="1556"/>
                      <a:pt x="9658" y="1037"/>
                    </a:cubicBezTo>
                    <a:cubicBezTo>
                      <a:pt x="9489" y="519"/>
                      <a:pt x="9318" y="259"/>
                      <a:pt x="9147" y="0"/>
                    </a:cubicBezTo>
                    <a:cubicBezTo>
                      <a:pt x="9147" y="0"/>
                      <a:pt x="8635" y="0"/>
                      <a:pt x="8635" y="259"/>
                    </a:cubicBezTo>
                    <a:cubicBezTo>
                      <a:pt x="8465" y="778"/>
                      <a:pt x="8976" y="1815"/>
                      <a:pt x="8805" y="1815"/>
                    </a:cubicBezTo>
                    <a:cubicBezTo>
                      <a:pt x="8465" y="1556"/>
                      <a:pt x="8123" y="1037"/>
                      <a:pt x="7953" y="1037"/>
                    </a:cubicBezTo>
                    <a:cubicBezTo>
                      <a:pt x="7612" y="1037"/>
                      <a:pt x="7440" y="1297"/>
                      <a:pt x="7270" y="1556"/>
                    </a:cubicBezTo>
                    <a:cubicBezTo>
                      <a:pt x="7100" y="1815"/>
                      <a:pt x="6759" y="1815"/>
                      <a:pt x="6588" y="1815"/>
                    </a:cubicBezTo>
                    <a:cubicBezTo>
                      <a:pt x="6417" y="1556"/>
                      <a:pt x="5735" y="1556"/>
                      <a:pt x="5564" y="1815"/>
                    </a:cubicBezTo>
                    <a:cubicBezTo>
                      <a:pt x="5224" y="2075"/>
                      <a:pt x="4882" y="2334"/>
                      <a:pt x="4711" y="2593"/>
                    </a:cubicBezTo>
                    <a:cubicBezTo>
                      <a:pt x="4540" y="2853"/>
                      <a:pt x="4370" y="3371"/>
                      <a:pt x="4029" y="3371"/>
                    </a:cubicBezTo>
                    <a:cubicBezTo>
                      <a:pt x="3687" y="3371"/>
                      <a:pt x="3005" y="3112"/>
                      <a:pt x="2663" y="2853"/>
                    </a:cubicBezTo>
                    <a:cubicBezTo>
                      <a:pt x="2322" y="2593"/>
                      <a:pt x="1981" y="2593"/>
                      <a:pt x="1641" y="2593"/>
                    </a:cubicBezTo>
                    <a:cubicBezTo>
                      <a:pt x="1299" y="2853"/>
                      <a:pt x="811" y="3328"/>
                      <a:pt x="617" y="3631"/>
                    </a:cubicBezTo>
                    <a:cubicBezTo>
                      <a:pt x="423" y="3934"/>
                      <a:pt x="139" y="4409"/>
                      <a:pt x="479" y="4409"/>
                    </a:cubicBezTo>
                    <a:cubicBezTo>
                      <a:pt x="386" y="4648"/>
                      <a:pt x="101" y="4848"/>
                      <a:pt x="61" y="5064"/>
                    </a:cubicBezTo>
                    <a:cubicBezTo>
                      <a:pt x="-143" y="5194"/>
                      <a:pt x="222" y="5403"/>
                      <a:pt x="240" y="5706"/>
                    </a:cubicBezTo>
                    <a:cubicBezTo>
                      <a:pt x="410" y="6225"/>
                      <a:pt x="1128" y="6744"/>
                      <a:pt x="1128" y="7003"/>
                    </a:cubicBezTo>
                    <a:cubicBezTo>
                      <a:pt x="1299" y="7262"/>
                      <a:pt x="1299" y="7781"/>
                      <a:pt x="1469" y="7781"/>
                    </a:cubicBezTo>
                    <a:cubicBezTo>
                      <a:pt x="1810" y="8040"/>
                      <a:pt x="1810" y="8559"/>
                      <a:pt x="1641" y="8818"/>
                    </a:cubicBezTo>
                    <a:cubicBezTo>
                      <a:pt x="1299" y="8818"/>
                      <a:pt x="957" y="9596"/>
                      <a:pt x="957" y="9596"/>
                    </a:cubicBezTo>
                    <a:lnTo>
                      <a:pt x="1128" y="9596"/>
                    </a:lnTo>
                    <a:cubicBezTo>
                      <a:pt x="1299" y="9596"/>
                      <a:pt x="2152" y="9856"/>
                      <a:pt x="2322" y="9596"/>
                    </a:cubicBezTo>
                    <a:cubicBezTo>
                      <a:pt x="2663" y="9337"/>
                      <a:pt x="3005" y="9337"/>
                      <a:pt x="3347" y="9337"/>
                    </a:cubicBezTo>
                    <a:cubicBezTo>
                      <a:pt x="3516" y="9337"/>
                      <a:pt x="4199" y="8818"/>
                      <a:pt x="4199" y="8559"/>
                    </a:cubicBezTo>
                    <a:cubicBezTo>
                      <a:pt x="4199" y="8040"/>
                      <a:pt x="4370" y="8300"/>
                      <a:pt x="4540" y="8818"/>
                    </a:cubicBezTo>
                    <a:cubicBezTo>
                      <a:pt x="4711" y="9337"/>
                      <a:pt x="5224" y="9337"/>
                      <a:pt x="5393" y="9337"/>
                    </a:cubicBezTo>
                    <a:cubicBezTo>
                      <a:pt x="5735" y="9337"/>
                      <a:pt x="6246" y="10374"/>
                      <a:pt x="6417" y="9856"/>
                    </a:cubicBezTo>
                    <a:cubicBezTo>
                      <a:pt x="6417" y="9337"/>
                      <a:pt x="6759" y="8559"/>
                      <a:pt x="6588" y="8040"/>
                    </a:cubicBezTo>
                    <a:cubicBezTo>
                      <a:pt x="6417" y="7522"/>
                      <a:pt x="6929" y="7522"/>
                      <a:pt x="7270" y="7262"/>
                    </a:cubicBezTo>
                    <a:cubicBezTo>
                      <a:pt x="7440" y="7003"/>
                      <a:pt x="7612" y="6744"/>
                      <a:pt x="7612" y="6225"/>
                    </a:cubicBezTo>
                    <a:cubicBezTo>
                      <a:pt x="7440" y="5706"/>
                      <a:pt x="7270" y="4668"/>
                      <a:pt x="7440" y="4409"/>
                    </a:cubicBezTo>
                    <a:cubicBezTo>
                      <a:pt x="7612" y="4409"/>
                      <a:pt x="8123" y="4409"/>
                      <a:pt x="8294" y="4149"/>
                    </a:cubicBezTo>
                    <a:cubicBezTo>
                      <a:pt x="8635" y="3631"/>
                      <a:pt x="9147" y="3631"/>
                      <a:pt x="9318" y="3371"/>
                    </a:cubicBezTo>
                    <a:cubicBezTo>
                      <a:pt x="9318" y="3371"/>
                      <a:pt x="9318" y="2334"/>
                      <a:pt x="9658" y="2334"/>
                    </a:cubicBezTo>
                    <a:cubicBezTo>
                      <a:pt x="9830" y="2334"/>
                      <a:pt x="10000" y="2593"/>
                      <a:pt x="10000" y="2593"/>
                    </a:cubicBezTo>
                    <a:lnTo>
                      <a:pt x="10000" y="2593"/>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2" name="Freeform 211"/>
              <p:cNvSpPr>
                <a:spLocks/>
              </p:cNvSpPr>
              <p:nvPr>
                <p:custDataLst>
                  <p:tags r:id="rId125"/>
                </p:custDataLst>
              </p:nvPr>
            </p:nvSpPr>
            <p:spPr bwMode="gray">
              <a:xfrm>
                <a:off x="5175825" y="4054582"/>
                <a:ext cx="145249" cy="208203"/>
              </a:xfrm>
              <a:custGeom>
                <a:avLst/>
                <a:gdLst>
                  <a:gd name="T0" fmla="*/ 28 w 31"/>
                  <a:gd name="T1" fmla="*/ 19 h 45"/>
                  <a:gd name="T2" fmla="*/ 31 w 31"/>
                  <a:gd name="T3" fmla="*/ 16 h 45"/>
                  <a:gd name="T4" fmla="*/ 31 w 31"/>
                  <a:gd name="T5" fmla="*/ 13 h 45"/>
                  <a:gd name="T6" fmla="*/ 18 w 31"/>
                  <a:gd name="T7" fmla="*/ 5 h 45"/>
                  <a:gd name="T8" fmla="*/ 12 w 31"/>
                  <a:gd name="T9" fmla="*/ 1 h 45"/>
                  <a:gd name="T10" fmla="*/ 9 w 31"/>
                  <a:gd name="T11" fmla="*/ 2 h 45"/>
                  <a:gd name="T12" fmla="*/ 10 w 31"/>
                  <a:gd name="T13" fmla="*/ 7 h 45"/>
                  <a:gd name="T14" fmla="*/ 7 w 31"/>
                  <a:gd name="T15" fmla="*/ 6 h 45"/>
                  <a:gd name="T16" fmla="*/ 4 w 31"/>
                  <a:gd name="T17" fmla="*/ 11 h 45"/>
                  <a:gd name="T18" fmla="*/ 1 w 31"/>
                  <a:gd name="T19" fmla="*/ 14 h 45"/>
                  <a:gd name="T20" fmla="*/ 0 w 31"/>
                  <a:gd name="T21" fmla="*/ 19 h 45"/>
                  <a:gd name="T22" fmla="*/ 2 w 31"/>
                  <a:gd name="T23" fmla="*/ 24 h 45"/>
                  <a:gd name="T24" fmla="*/ 1 w 31"/>
                  <a:gd name="T25" fmla="*/ 27 h 45"/>
                  <a:gd name="T26" fmla="*/ 2 w 31"/>
                  <a:gd name="T27" fmla="*/ 30 h 45"/>
                  <a:gd name="T28" fmla="*/ 6 w 31"/>
                  <a:gd name="T29" fmla="*/ 30 h 45"/>
                  <a:gd name="T30" fmla="*/ 5 w 31"/>
                  <a:gd name="T31" fmla="*/ 31 h 45"/>
                  <a:gd name="T32" fmla="*/ 6 w 31"/>
                  <a:gd name="T33" fmla="*/ 33 h 45"/>
                  <a:gd name="T34" fmla="*/ 9 w 31"/>
                  <a:gd name="T35" fmla="*/ 35 h 45"/>
                  <a:gd name="T36" fmla="*/ 13 w 31"/>
                  <a:gd name="T37" fmla="*/ 39 h 45"/>
                  <a:gd name="T38" fmla="*/ 15 w 31"/>
                  <a:gd name="T39" fmla="*/ 43 h 45"/>
                  <a:gd name="T40" fmla="*/ 18 w 31"/>
                  <a:gd name="T41" fmla="*/ 45 h 45"/>
                  <a:gd name="T42" fmla="*/ 18 w 31"/>
                  <a:gd name="T43" fmla="*/ 41 h 45"/>
                  <a:gd name="T44" fmla="*/ 19 w 31"/>
                  <a:gd name="T45" fmla="*/ 32 h 45"/>
                  <a:gd name="T46" fmla="*/ 22 w 31"/>
                  <a:gd name="T47" fmla="*/ 25 h 45"/>
                  <a:gd name="T48" fmla="*/ 25 w 31"/>
                  <a:gd name="T49" fmla="*/ 26 h 45"/>
                  <a:gd name="T50" fmla="*/ 29 w 31"/>
                  <a:gd name="T51" fmla="*/ 28 h 45"/>
                  <a:gd name="T52" fmla="*/ 31 w 31"/>
                  <a:gd name="T53" fmla="*/ 24 h 45"/>
                  <a:gd name="T54" fmla="*/ 31 w 31"/>
                  <a:gd name="T55" fmla="*/ 21 h 45"/>
                  <a:gd name="T56" fmla="*/ 28 w 31"/>
                  <a:gd name="T57" fmla="*/ 1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1" h="45">
                    <a:moveTo>
                      <a:pt x="28" y="19"/>
                    </a:moveTo>
                    <a:cubicBezTo>
                      <a:pt x="31" y="16"/>
                      <a:pt x="31" y="16"/>
                      <a:pt x="31" y="16"/>
                    </a:cubicBezTo>
                    <a:cubicBezTo>
                      <a:pt x="31" y="13"/>
                      <a:pt x="31" y="13"/>
                      <a:pt x="31" y="13"/>
                    </a:cubicBezTo>
                    <a:cubicBezTo>
                      <a:pt x="18" y="5"/>
                      <a:pt x="18" y="5"/>
                      <a:pt x="18" y="5"/>
                    </a:cubicBezTo>
                    <a:cubicBezTo>
                      <a:pt x="12" y="1"/>
                      <a:pt x="12" y="1"/>
                      <a:pt x="12" y="1"/>
                    </a:cubicBezTo>
                    <a:cubicBezTo>
                      <a:pt x="11" y="1"/>
                      <a:pt x="9" y="0"/>
                      <a:pt x="9" y="2"/>
                    </a:cubicBezTo>
                    <a:cubicBezTo>
                      <a:pt x="9" y="3"/>
                      <a:pt x="10" y="5"/>
                      <a:pt x="10" y="7"/>
                    </a:cubicBezTo>
                    <a:cubicBezTo>
                      <a:pt x="10" y="9"/>
                      <a:pt x="8" y="6"/>
                      <a:pt x="7" y="6"/>
                    </a:cubicBezTo>
                    <a:cubicBezTo>
                      <a:pt x="6" y="7"/>
                      <a:pt x="4" y="8"/>
                      <a:pt x="4" y="11"/>
                    </a:cubicBezTo>
                    <a:cubicBezTo>
                      <a:pt x="3" y="14"/>
                      <a:pt x="3" y="15"/>
                      <a:pt x="1" y="14"/>
                    </a:cubicBezTo>
                    <a:cubicBezTo>
                      <a:pt x="0" y="14"/>
                      <a:pt x="0" y="17"/>
                      <a:pt x="0" y="19"/>
                    </a:cubicBezTo>
                    <a:cubicBezTo>
                      <a:pt x="1" y="21"/>
                      <a:pt x="3" y="23"/>
                      <a:pt x="2" y="24"/>
                    </a:cubicBezTo>
                    <a:cubicBezTo>
                      <a:pt x="2" y="25"/>
                      <a:pt x="1" y="26"/>
                      <a:pt x="1" y="27"/>
                    </a:cubicBezTo>
                    <a:cubicBezTo>
                      <a:pt x="1" y="28"/>
                      <a:pt x="1" y="29"/>
                      <a:pt x="2" y="30"/>
                    </a:cubicBezTo>
                    <a:cubicBezTo>
                      <a:pt x="3" y="30"/>
                      <a:pt x="5" y="29"/>
                      <a:pt x="6" y="30"/>
                    </a:cubicBezTo>
                    <a:cubicBezTo>
                      <a:pt x="8" y="30"/>
                      <a:pt x="6" y="30"/>
                      <a:pt x="5" y="31"/>
                    </a:cubicBezTo>
                    <a:cubicBezTo>
                      <a:pt x="3" y="32"/>
                      <a:pt x="6" y="33"/>
                      <a:pt x="6" y="33"/>
                    </a:cubicBezTo>
                    <a:cubicBezTo>
                      <a:pt x="7" y="34"/>
                      <a:pt x="8" y="34"/>
                      <a:pt x="9" y="35"/>
                    </a:cubicBezTo>
                    <a:cubicBezTo>
                      <a:pt x="11" y="36"/>
                      <a:pt x="12" y="37"/>
                      <a:pt x="13" y="39"/>
                    </a:cubicBezTo>
                    <a:cubicBezTo>
                      <a:pt x="14" y="40"/>
                      <a:pt x="14" y="42"/>
                      <a:pt x="15" y="43"/>
                    </a:cubicBezTo>
                    <a:cubicBezTo>
                      <a:pt x="16" y="44"/>
                      <a:pt x="18" y="45"/>
                      <a:pt x="18" y="45"/>
                    </a:cubicBezTo>
                    <a:cubicBezTo>
                      <a:pt x="18" y="45"/>
                      <a:pt x="18" y="44"/>
                      <a:pt x="18" y="41"/>
                    </a:cubicBezTo>
                    <a:cubicBezTo>
                      <a:pt x="18" y="39"/>
                      <a:pt x="18" y="34"/>
                      <a:pt x="19" y="32"/>
                    </a:cubicBezTo>
                    <a:cubicBezTo>
                      <a:pt x="21" y="29"/>
                      <a:pt x="21" y="28"/>
                      <a:pt x="22" y="25"/>
                    </a:cubicBezTo>
                    <a:cubicBezTo>
                      <a:pt x="24" y="23"/>
                      <a:pt x="24" y="24"/>
                      <a:pt x="25" y="26"/>
                    </a:cubicBezTo>
                    <a:cubicBezTo>
                      <a:pt x="25" y="29"/>
                      <a:pt x="26" y="28"/>
                      <a:pt x="29" y="28"/>
                    </a:cubicBezTo>
                    <a:cubicBezTo>
                      <a:pt x="31" y="27"/>
                      <a:pt x="30" y="26"/>
                      <a:pt x="31" y="24"/>
                    </a:cubicBezTo>
                    <a:cubicBezTo>
                      <a:pt x="31" y="21"/>
                      <a:pt x="31" y="21"/>
                      <a:pt x="31" y="21"/>
                    </a:cubicBezTo>
                    <a:lnTo>
                      <a:pt x="28" y="19"/>
                    </a:ln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3" name="Freeform 212"/>
              <p:cNvSpPr>
                <a:spLocks/>
              </p:cNvSpPr>
              <p:nvPr>
                <p:custDataLst>
                  <p:tags r:id="rId126"/>
                </p:custDataLst>
              </p:nvPr>
            </p:nvSpPr>
            <p:spPr bwMode="gray">
              <a:xfrm>
                <a:off x="5195308" y="3721704"/>
                <a:ext cx="371935" cy="493842"/>
              </a:xfrm>
              <a:custGeom>
                <a:avLst/>
                <a:gdLst>
                  <a:gd name="T0" fmla="*/ 74 w 81"/>
                  <a:gd name="T1" fmla="*/ 72 h 103"/>
                  <a:gd name="T2" fmla="*/ 68 w 81"/>
                  <a:gd name="T3" fmla="*/ 61 h 103"/>
                  <a:gd name="T4" fmla="*/ 72 w 81"/>
                  <a:gd name="T5" fmla="*/ 50 h 103"/>
                  <a:gd name="T6" fmla="*/ 73 w 81"/>
                  <a:gd name="T7" fmla="*/ 41 h 103"/>
                  <a:gd name="T8" fmla="*/ 63 w 81"/>
                  <a:gd name="T9" fmla="*/ 43 h 103"/>
                  <a:gd name="T10" fmla="*/ 55 w 81"/>
                  <a:gd name="T11" fmla="*/ 40 h 103"/>
                  <a:gd name="T12" fmla="*/ 49 w 81"/>
                  <a:gd name="T13" fmla="*/ 34 h 103"/>
                  <a:gd name="T14" fmla="*/ 48 w 81"/>
                  <a:gd name="T15" fmla="*/ 27 h 103"/>
                  <a:gd name="T16" fmla="*/ 38 w 81"/>
                  <a:gd name="T17" fmla="*/ 18 h 103"/>
                  <a:gd name="T18" fmla="*/ 35 w 81"/>
                  <a:gd name="T19" fmla="*/ 9 h 103"/>
                  <a:gd name="T20" fmla="*/ 27 w 81"/>
                  <a:gd name="T21" fmla="*/ 2 h 103"/>
                  <a:gd name="T22" fmla="*/ 15 w 81"/>
                  <a:gd name="T23" fmla="*/ 0 h 103"/>
                  <a:gd name="T24" fmla="*/ 5 w 81"/>
                  <a:gd name="T25" fmla="*/ 4 h 103"/>
                  <a:gd name="T26" fmla="*/ 2 w 81"/>
                  <a:gd name="T27" fmla="*/ 11 h 103"/>
                  <a:gd name="T28" fmla="*/ 4 w 81"/>
                  <a:gd name="T29" fmla="*/ 17 h 103"/>
                  <a:gd name="T30" fmla="*/ 10 w 81"/>
                  <a:gd name="T31" fmla="*/ 25 h 103"/>
                  <a:gd name="T32" fmla="*/ 6 w 81"/>
                  <a:gd name="T33" fmla="*/ 32 h 103"/>
                  <a:gd name="T34" fmla="*/ 10 w 81"/>
                  <a:gd name="T35" fmla="*/ 35 h 103"/>
                  <a:gd name="T36" fmla="*/ 10 w 81"/>
                  <a:gd name="T37" fmla="*/ 49 h 103"/>
                  <a:gd name="T38" fmla="*/ 16 w 81"/>
                  <a:gd name="T39" fmla="*/ 56 h 103"/>
                  <a:gd name="T40" fmla="*/ 11 w 81"/>
                  <a:gd name="T41" fmla="*/ 59 h 103"/>
                  <a:gd name="T42" fmla="*/ 12 w 81"/>
                  <a:gd name="T43" fmla="*/ 67 h 103"/>
                  <a:gd name="T44" fmla="*/ 14 w 81"/>
                  <a:gd name="T45" fmla="*/ 73 h 103"/>
                  <a:gd name="T46" fmla="*/ 27 w 81"/>
                  <a:gd name="T47" fmla="*/ 84 h 103"/>
                  <a:gd name="T48" fmla="*/ 30 w 81"/>
                  <a:gd name="T49" fmla="*/ 81 h 103"/>
                  <a:gd name="T50" fmla="*/ 31 w 81"/>
                  <a:gd name="T51" fmla="*/ 75 h 103"/>
                  <a:gd name="T52" fmla="*/ 34 w 81"/>
                  <a:gd name="T53" fmla="*/ 74 h 103"/>
                  <a:gd name="T54" fmla="*/ 34 w 81"/>
                  <a:gd name="T55" fmla="*/ 76 h 103"/>
                  <a:gd name="T56" fmla="*/ 38 w 81"/>
                  <a:gd name="T57" fmla="*/ 75 h 103"/>
                  <a:gd name="T58" fmla="*/ 43 w 81"/>
                  <a:gd name="T59" fmla="*/ 79 h 103"/>
                  <a:gd name="T60" fmla="*/ 45 w 81"/>
                  <a:gd name="T61" fmla="*/ 82 h 103"/>
                  <a:gd name="T62" fmla="*/ 48 w 81"/>
                  <a:gd name="T63" fmla="*/ 84 h 103"/>
                  <a:gd name="T64" fmla="*/ 51 w 81"/>
                  <a:gd name="T65" fmla="*/ 91 h 103"/>
                  <a:gd name="T66" fmla="*/ 54 w 81"/>
                  <a:gd name="T67" fmla="*/ 94 h 103"/>
                  <a:gd name="T68" fmla="*/ 52 w 81"/>
                  <a:gd name="T69" fmla="*/ 97 h 103"/>
                  <a:gd name="T70" fmla="*/ 53 w 81"/>
                  <a:gd name="T71" fmla="*/ 100 h 103"/>
                  <a:gd name="T72" fmla="*/ 57 w 81"/>
                  <a:gd name="T73" fmla="*/ 102 h 103"/>
                  <a:gd name="T74" fmla="*/ 64 w 81"/>
                  <a:gd name="T75" fmla="*/ 101 h 103"/>
                  <a:gd name="T76" fmla="*/ 70 w 81"/>
                  <a:gd name="T77" fmla="*/ 102 h 103"/>
                  <a:gd name="T78" fmla="*/ 71 w 81"/>
                  <a:gd name="T79" fmla="*/ 95 h 103"/>
                  <a:gd name="T80" fmla="*/ 75 w 81"/>
                  <a:gd name="T81" fmla="*/ 86 h 103"/>
                  <a:gd name="T82" fmla="*/ 78 w 81"/>
                  <a:gd name="T83" fmla="*/ 76 h 103"/>
                  <a:gd name="connsiteX0" fmla="*/ 9630 w 9858"/>
                  <a:gd name="connsiteY0" fmla="*/ 7379 h 10000"/>
                  <a:gd name="connsiteX1" fmla="*/ 9136 w 9858"/>
                  <a:gd name="connsiteY1" fmla="*/ 6990 h 10000"/>
                  <a:gd name="connsiteX2" fmla="*/ 8642 w 9858"/>
                  <a:gd name="connsiteY2" fmla="*/ 6699 h 10000"/>
                  <a:gd name="connsiteX3" fmla="*/ 8395 w 9858"/>
                  <a:gd name="connsiteY3" fmla="*/ 5922 h 10000"/>
                  <a:gd name="connsiteX4" fmla="*/ 8765 w 9858"/>
                  <a:gd name="connsiteY4" fmla="*/ 5340 h 10000"/>
                  <a:gd name="connsiteX5" fmla="*/ 8889 w 9858"/>
                  <a:gd name="connsiteY5" fmla="*/ 4854 h 10000"/>
                  <a:gd name="connsiteX6" fmla="*/ 8519 w 9858"/>
                  <a:gd name="connsiteY6" fmla="*/ 4272 h 10000"/>
                  <a:gd name="connsiteX7" fmla="*/ 9012 w 9858"/>
                  <a:gd name="connsiteY7" fmla="*/ 3981 h 10000"/>
                  <a:gd name="connsiteX8" fmla="*/ 8519 w 9858"/>
                  <a:gd name="connsiteY8" fmla="*/ 3689 h 10000"/>
                  <a:gd name="connsiteX9" fmla="*/ 7778 w 9858"/>
                  <a:gd name="connsiteY9" fmla="*/ 4175 h 10000"/>
                  <a:gd name="connsiteX10" fmla="*/ 7531 w 9858"/>
                  <a:gd name="connsiteY10" fmla="*/ 3883 h 10000"/>
                  <a:gd name="connsiteX11" fmla="*/ 6790 w 9858"/>
                  <a:gd name="connsiteY11" fmla="*/ 3883 h 10000"/>
                  <a:gd name="connsiteX12" fmla="*/ 6173 w 9858"/>
                  <a:gd name="connsiteY12" fmla="*/ 3495 h 10000"/>
                  <a:gd name="connsiteX13" fmla="*/ 6049 w 9858"/>
                  <a:gd name="connsiteY13" fmla="*/ 3301 h 10000"/>
                  <a:gd name="connsiteX14" fmla="*/ 6049 w 9858"/>
                  <a:gd name="connsiteY14" fmla="*/ 3010 h 10000"/>
                  <a:gd name="connsiteX15" fmla="*/ 5926 w 9858"/>
                  <a:gd name="connsiteY15" fmla="*/ 2621 h 10000"/>
                  <a:gd name="connsiteX16" fmla="*/ 5432 w 9858"/>
                  <a:gd name="connsiteY16" fmla="*/ 2427 h 10000"/>
                  <a:gd name="connsiteX17" fmla="*/ 4691 w 9858"/>
                  <a:gd name="connsiteY17" fmla="*/ 1748 h 10000"/>
                  <a:gd name="connsiteX18" fmla="*/ 4444 w 9858"/>
                  <a:gd name="connsiteY18" fmla="*/ 1165 h 10000"/>
                  <a:gd name="connsiteX19" fmla="*/ 4321 w 9858"/>
                  <a:gd name="connsiteY19" fmla="*/ 874 h 10000"/>
                  <a:gd name="connsiteX20" fmla="*/ 4397 w 9858"/>
                  <a:gd name="connsiteY20" fmla="*/ 260 h 10000"/>
                  <a:gd name="connsiteX21" fmla="*/ 3333 w 9858"/>
                  <a:gd name="connsiteY21" fmla="*/ 194 h 10000"/>
                  <a:gd name="connsiteX22" fmla="*/ 2593 w 9858"/>
                  <a:gd name="connsiteY22" fmla="*/ 0 h 10000"/>
                  <a:gd name="connsiteX23" fmla="*/ 1852 w 9858"/>
                  <a:gd name="connsiteY23" fmla="*/ 0 h 10000"/>
                  <a:gd name="connsiteX24" fmla="*/ 1235 w 9858"/>
                  <a:gd name="connsiteY24" fmla="*/ 291 h 10000"/>
                  <a:gd name="connsiteX25" fmla="*/ 617 w 9858"/>
                  <a:gd name="connsiteY25" fmla="*/ 388 h 10000"/>
                  <a:gd name="connsiteX26" fmla="*/ 0 w 9858"/>
                  <a:gd name="connsiteY26" fmla="*/ 583 h 10000"/>
                  <a:gd name="connsiteX27" fmla="*/ 247 w 9858"/>
                  <a:gd name="connsiteY27" fmla="*/ 1068 h 10000"/>
                  <a:gd name="connsiteX28" fmla="*/ 247 w 9858"/>
                  <a:gd name="connsiteY28" fmla="*/ 1456 h 10000"/>
                  <a:gd name="connsiteX29" fmla="*/ 494 w 9858"/>
                  <a:gd name="connsiteY29" fmla="*/ 1650 h 10000"/>
                  <a:gd name="connsiteX30" fmla="*/ 864 w 9858"/>
                  <a:gd name="connsiteY30" fmla="*/ 2233 h 10000"/>
                  <a:gd name="connsiteX31" fmla="*/ 1235 w 9858"/>
                  <a:gd name="connsiteY31" fmla="*/ 2427 h 10000"/>
                  <a:gd name="connsiteX32" fmla="*/ 741 w 9858"/>
                  <a:gd name="connsiteY32" fmla="*/ 2621 h 10000"/>
                  <a:gd name="connsiteX33" fmla="*/ 741 w 9858"/>
                  <a:gd name="connsiteY33" fmla="*/ 3107 h 10000"/>
                  <a:gd name="connsiteX34" fmla="*/ 988 w 9858"/>
                  <a:gd name="connsiteY34" fmla="*/ 3107 h 10000"/>
                  <a:gd name="connsiteX35" fmla="*/ 1235 w 9858"/>
                  <a:gd name="connsiteY35" fmla="*/ 3398 h 10000"/>
                  <a:gd name="connsiteX36" fmla="*/ 864 w 9858"/>
                  <a:gd name="connsiteY36" fmla="*/ 4369 h 10000"/>
                  <a:gd name="connsiteX37" fmla="*/ 1235 w 9858"/>
                  <a:gd name="connsiteY37" fmla="*/ 4757 h 10000"/>
                  <a:gd name="connsiteX38" fmla="*/ 1605 w 9858"/>
                  <a:gd name="connsiteY38" fmla="*/ 5049 h 10000"/>
                  <a:gd name="connsiteX39" fmla="*/ 1975 w 9858"/>
                  <a:gd name="connsiteY39" fmla="*/ 5437 h 10000"/>
                  <a:gd name="connsiteX40" fmla="*/ 1481 w 9858"/>
                  <a:gd name="connsiteY40" fmla="*/ 5437 h 10000"/>
                  <a:gd name="connsiteX41" fmla="*/ 1358 w 9858"/>
                  <a:gd name="connsiteY41" fmla="*/ 5728 h 10000"/>
                  <a:gd name="connsiteX42" fmla="*/ 1728 w 9858"/>
                  <a:gd name="connsiteY42" fmla="*/ 6214 h 10000"/>
                  <a:gd name="connsiteX43" fmla="*/ 1481 w 9858"/>
                  <a:gd name="connsiteY43" fmla="*/ 6505 h 10000"/>
                  <a:gd name="connsiteX44" fmla="*/ 988 w 9858"/>
                  <a:gd name="connsiteY44" fmla="*/ 6699 h 10000"/>
                  <a:gd name="connsiteX45" fmla="*/ 1728 w 9858"/>
                  <a:gd name="connsiteY45" fmla="*/ 7087 h 10000"/>
                  <a:gd name="connsiteX46" fmla="*/ 3333 w 9858"/>
                  <a:gd name="connsiteY46" fmla="*/ 7864 h 10000"/>
                  <a:gd name="connsiteX47" fmla="*/ 3333 w 9858"/>
                  <a:gd name="connsiteY47" fmla="*/ 8155 h 10000"/>
                  <a:gd name="connsiteX48" fmla="*/ 3827 w 9858"/>
                  <a:gd name="connsiteY48" fmla="*/ 8058 h 10000"/>
                  <a:gd name="connsiteX49" fmla="*/ 3704 w 9858"/>
                  <a:gd name="connsiteY49" fmla="*/ 7864 h 10000"/>
                  <a:gd name="connsiteX50" fmla="*/ 4074 w 9858"/>
                  <a:gd name="connsiteY50" fmla="*/ 7670 h 10000"/>
                  <a:gd name="connsiteX51" fmla="*/ 3827 w 9858"/>
                  <a:gd name="connsiteY51" fmla="*/ 7282 h 10000"/>
                  <a:gd name="connsiteX52" fmla="*/ 4074 w 9858"/>
                  <a:gd name="connsiteY52" fmla="*/ 7087 h 10000"/>
                  <a:gd name="connsiteX53" fmla="*/ 4198 w 9858"/>
                  <a:gd name="connsiteY53" fmla="*/ 7184 h 10000"/>
                  <a:gd name="connsiteX54" fmla="*/ 4321 w 9858"/>
                  <a:gd name="connsiteY54" fmla="*/ 7184 h 10000"/>
                  <a:gd name="connsiteX55" fmla="*/ 4198 w 9858"/>
                  <a:gd name="connsiteY55" fmla="*/ 7379 h 10000"/>
                  <a:gd name="connsiteX56" fmla="*/ 4444 w 9858"/>
                  <a:gd name="connsiteY56" fmla="*/ 7476 h 10000"/>
                  <a:gd name="connsiteX57" fmla="*/ 4691 w 9858"/>
                  <a:gd name="connsiteY57" fmla="*/ 7282 h 10000"/>
                  <a:gd name="connsiteX58" fmla="*/ 5062 w 9858"/>
                  <a:gd name="connsiteY58" fmla="*/ 7379 h 10000"/>
                  <a:gd name="connsiteX59" fmla="*/ 5309 w 9858"/>
                  <a:gd name="connsiteY59" fmla="*/ 7670 h 10000"/>
                  <a:gd name="connsiteX60" fmla="*/ 5556 w 9858"/>
                  <a:gd name="connsiteY60" fmla="*/ 7670 h 10000"/>
                  <a:gd name="connsiteX61" fmla="*/ 5556 w 9858"/>
                  <a:gd name="connsiteY61" fmla="*/ 7961 h 10000"/>
                  <a:gd name="connsiteX62" fmla="*/ 5802 w 9858"/>
                  <a:gd name="connsiteY62" fmla="*/ 8155 h 10000"/>
                  <a:gd name="connsiteX63" fmla="*/ 5926 w 9858"/>
                  <a:gd name="connsiteY63" fmla="*/ 8155 h 10000"/>
                  <a:gd name="connsiteX64" fmla="*/ 5926 w 9858"/>
                  <a:gd name="connsiteY64" fmla="*/ 8544 h 10000"/>
                  <a:gd name="connsiteX65" fmla="*/ 6296 w 9858"/>
                  <a:gd name="connsiteY65" fmla="*/ 8835 h 10000"/>
                  <a:gd name="connsiteX66" fmla="*/ 6667 w 9858"/>
                  <a:gd name="connsiteY66" fmla="*/ 8932 h 10000"/>
                  <a:gd name="connsiteX67" fmla="*/ 6667 w 9858"/>
                  <a:gd name="connsiteY67" fmla="*/ 9126 h 10000"/>
                  <a:gd name="connsiteX68" fmla="*/ 6543 w 9858"/>
                  <a:gd name="connsiteY68" fmla="*/ 9223 h 10000"/>
                  <a:gd name="connsiteX69" fmla="*/ 6420 w 9858"/>
                  <a:gd name="connsiteY69" fmla="*/ 9417 h 10000"/>
                  <a:gd name="connsiteX70" fmla="*/ 6420 w 9858"/>
                  <a:gd name="connsiteY70" fmla="*/ 9612 h 10000"/>
                  <a:gd name="connsiteX71" fmla="*/ 6543 w 9858"/>
                  <a:gd name="connsiteY71" fmla="*/ 9709 h 10000"/>
                  <a:gd name="connsiteX72" fmla="*/ 6667 w 9858"/>
                  <a:gd name="connsiteY72" fmla="*/ 10000 h 10000"/>
                  <a:gd name="connsiteX73" fmla="*/ 7037 w 9858"/>
                  <a:gd name="connsiteY73" fmla="*/ 9903 h 10000"/>
                  <a:gd name="connsiteX74" fmla="*/ 7654 w 9858"/>
                  <a:gd name="connsiteY74" fmla="*/ 9806 h 10000"/>
                  <a:gd name="connsiteX75" fmla="*/ 7901 w 9858"/>
                  <a:gd name="connsiteY75" fmla="*/ 9806 h 10000"/>
                  <a:gd name="connsiteX76" fmla="*/ 8395 w 9858"/>
                  <a:gd name="connsiteY76" fmla="*/ 9709 h 10000"/>
                  <a:gd name="connsiteX77" fmla="*/ 8642 w 9858"/>
                  <a:gd name="connsiteY77" fmla="*/ 9903 h 10000"/>
                  <a:gd name="connsiteX78" fmla="*/ 8889 w 9858"/>
                  <a:gd name="connsiteY78" fmla="*/ 9515 h 10000"/>
                  <a:gd name="connsiteX79" fmla="*/ 8765 w 9858"/>
                  <a:gd name="connsiteY79" fmla="*/ 9223 h 10000"/>
                  <a:gd name="connsiteX80" fmla="*/ 8642 w 9858"/>
                  <a:gd name="connsiteY80" fmla="*/ 8447 h 10000"/>
                  <a:gd name="connsiteX81" fmla="*/ 9259 w 9858"/>
                  <a:gd name="connsiteY81" fmla="*/ 8350 h 10000"/>
                  <a:gd name="connsiteX82" fmla="*/ 9753 w 9858"/>
                  <a:gd name="connsiteY82" fmla="*/ 7864 h 10000"/>
                  <a:gd name="connsiteX83" fmla="*/ 9630 w 9858"/>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017 w 10000"/>
                  <a:gd name="connsiteY5" fmla="*/ 4854 h 10000"/>
                  <a:gd name="connsiteX6" fmla="*/ 8642 w 10000"/>
                  <a:gd name="connsiteY6" fmla="*/ 4272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6888 w 10000"/>
                  <a:gd name="connsiteY11" fmla="*/ 3883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4759 w 10000"/>
                  <a:gd name="connsiteY17" fmla="*/ 1748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017 w 10000"/>
                  <a:gd name="connsiteY5" fmla="*/ 4854 h 10000"/>
                  <a:gd name="connsiteX6" fmla="*/ 8642 w 10000"/>
                  <a:gd name="connsiteY6" fmla="*/ 4272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6888 w 10000"/>
                  <a:gd name="connsiteY11" fmla="*/ 3883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017 w 10000"/>
                  <a:gd name="connsiteY5" fmla="*/ 4854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6888 w 10000"/>
                  <a:gd name="connsiteY11" fmla="*/ 3883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544 w 10000"/>
                  <a:gd name="connsiteY5" fmla="*/ 4900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6888 w 10000"/>
                  <a:gd name="connsiteY11" fmla="*/ 3883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544 w 10000"/>
                  <a:gd name="connsiteY5" fmla="*/ 4900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7005 w 10000"/>
                  <a:gd name="connsiteY11" fmla="*/ 3560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508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544 w 10000"/>
                  <a:gd name="connsiteY5" fmla="*/ 4900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7005 w 10000"/>
                  <a:gd name="connsiteY11" fmla="*/ 3560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976 w 10000"/>
                  <a:gd name="connsiteY18" fmla="*/ 1165 h 10000"/>
                  <a:gd name="connsiteX19" fmla="*/ 4383 w 10000"/>
                  <a:gd name="connsiteY19" fmla="*/ 874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379 h 10000"/>
                  <a:gd name="connsiteX1" fmla="*/ 9268 w 10000"/>
                  <a:gd name="connsiteY1" fmla="*/ 6990 h 10000"/>
                  <a:gd name="connsiteX2" fmla="*/ 8766 w 10000"/>
                  <a:gd name="connsiteY2" fmla="*/ 6699 h 10000"/>
                  <a:gd name="connsiteX3" fmla="*/ 8516 w 10000"/>
                  <a:gd name="connsiteY3" fmla="*/ 5922 h 10000"/>
                  <a:gd name="connsiteX4" fmla="*/ 8891 w 10000"/>
                  <a:gd name="connsiteY4" fmla="*/ 5340 h 10000"/>
                  <a:gd name="connsiteX5" fmla="*/ 9544 w 10000"/>
                  <a:gd name="connsiteY5" fmla="*/ 4900 h 10000"/>
                  <a:gd name="connsiteX6" fmla="*/ 9228 w 10000"/>
                  <a:gd name="connsiteY6" fmla="*/ 4456 h 10000"/>
                  <a:gd name="connsiteX7" fmla="*/ 9142 w 10000"/>
                  <a:gd name="connsiteY7" fmla="*/ 3981 h 10000"/>
                  <a:gd name="connsiteX8" fmla="*/ 8642 w 10000"/>
                  <a:gd name="connsiteY8" fmla="*/ 3689 h 10000"/>
                  <a:gd name="connsiteX9" fmla="*/ 7890 w 10000"/>
                  <a:gd name="connsiteY9" fmla="*/ 4175 h 10000"/>
                  <a:gd name="connsiteX10" fmla="*/ 7639 w 10000"/>
                  <a:gd name="connsiteY10" fmla="*/ 3883 h 10000"/>
                  <a:gd name="connsiteX11" fmla="*/ 7005 w 10000"/>
                  <a:gd name="connsiteY11" fmla="*/ 3560 h 10000"/>
                  <a:gd name="connsiteX12" fmla="*/ 6262 w 10000"/>
                  <a:gd name="connsiteY12" fmla="*/ 3495 h 10000"/>
                  <a:gd name="connsiteX13" fmla="*/ 6136 w 10000"/>
                  <a:gd name="connsiteY13" fmla="*/ 3301 h 10000"/>
                  <a:gd name="connsiteX14" fmla="*/ 6136 w 10000"/>
                  <a:gd name="connsiteY14" fmla="*/ 3010 h 10000"/>
                  <a:gd name="connsiteX15" fmla="*/ 6011 w 10000"/>
                  <a:gd name="connsiteY15" fmla="*/ 2621 h 10000"/>
                  <a:gd name="connsiteX16" fmla="*/ 5686 w 10000"/>
                  <a:gd name="connsiteY16" fmla="*/ 2196 h 10000"/>
                  <a:gd name="connsiteX17" fmla="*/ 5227 w 10000"/>
                  <a:gd name="connsiteY17" fmla="*/ 1702 h 10000"/>
                  <a:gd name="connsiteX18" fmla="*/ 4976 w 10000"/>
                  <a:gd name="connsiteY18" fmla="*/ 1165 h 10000"/>
                  <a:gd name="connsiteX19" fmla="*/ 5086 w 10000"/>
                  <a:gd name="connsiteY19" fmla="*/ 551 h 10000"/>
                  <a:gd name="connsiteX20" fmla="*/ 4460 w 10000"/>
                  <a:gd name="connsiteY20" fmla="*/ 260 h 10000"/>
                  <a:gd name="connsiteX21" fmla="*/ 3381 w 10000"/>
                  <a:gd name="connsiteY21" fmla="*/ 194 h 10000"/>
                  <a:gd name="connsiteX22" fmla="*/ 2630 w 10000"/>
                  <a:gd name="connsiteY22" fmla="*/ 0 h 10000"/>
                  <a:gd name="connsiteX23" fmla="*/ 1879 w 10000"/>
                  <a:gd name="connsiteY23" fmla="*/ 0 h 10000"/>
                  <a:gd name="connsiteX24" fmla="*/ 1253 w 10000"/>
                  <a:gd name="connsiteY24" fmla="*/ 291 h 10000"/>
                  <a:gd name="connsiteX25" fmla="*/ 626 w 10000"/>
                  <a:gd name="connsiteY25" fmla="*/ 388 h 10000"/>
                  <a:gd name="connsiteX26" fmla="*/ 0 w 10000"/>
                  <a:gd name="connsiteY26" fmla="*/ 583 h 10000"/>
                  <a:gd name="connsiteX27" fmla="*/ 251 w 10000"/>
                  <a:gd name="connsiteY27" fmla="*/ 1068 h 10000"/>
                  <a:gd name="connsiteX28" fmla="*/ 251 w 10000"/>
                  <a:gd name="connsiteY28" fmla="*/ 1456 h 10000"/>
                  <a:gd name="connsiteX29" fmla="*/ 501 w 10000"/>
                  <a:gd name="connsiteY29" fmla="*/ 1650 h 10000"/>
                  <a:gd name="connsiteX30" fmla="*/ 876 w 10000"/>
                  <a:gd name="connsiteY30" fmla="*/ 2233 h 10000"/>
                  <a:gd name="connsiteX31" fmla="*/ 1253 w 10000"/>
                  <a:gd name="connsiteY31" fmla="*/ 2427 h 10000"/>
                  <a:gd name="connsiteX32" fmla="*/ 752 w 10000"/>
                  <a:gd name="connsiteY32" fmla="*/ 2621 h 10000"/>
                  <a:gd name="connsiteX33" fmla="*/ 752 w 10000"/>
                  <a:gd name="connsiteY33" fmla="*/ 3107 h 10000"/>
                  <a:gd name="connsiteX34" fmla="*/ 1002 w 10000"/>
                  <a:gd name="connsiteY34" fmla="*/ 3107 h 10000"/>
                  <a:gd name="connsiteX35" fmla="*/ 1253 w 10000"/>
                  <a:gd name="connsiteY35" fmla="*/ 3398 h 10000"/>
                  <a:gd name="connsiteX36" fmla="*/ 876 w 10000"/>
                  <a:gd name="connsiteY36" fmla="*/ 4369 h 10000"/>
                  <a:gd name="connsiteX37" fmla="*/ 1253 w 10000"/>
                  <a:gd name="connsiteY37" fmla="*/ 4757 h 10000"/>
                  <a:gd name="connsiteX38" fmla="*/ 1628 w 10000"/>
                  <a:gd name="connsiteY38" fmla="*/ 5049 h 10000"/>
                  <a:gd name="connsiteX39" fmla="*/ 2003 w 10000"/>
                  <a:gd name="connsiteY39" fmla="*/ 5437 h 10000"/>
                  <a:gd name="connsiteX40" fmla="*/ 1502 w 10000"/>
                  <a:gd name="connsiteY40" fmla="*/ 5437 h 10000"/>
                  <a:gd name="connsiteX41" fmla="*/ 1378 w 10000"/>
                  <a:gd name="connsiteY41" fmla="*/ 5728 h 10000"/>
                  <a:gd name="connsiteX42" fmla="*/ 1753 w 10000"/>
                  <a:gd name="connsiteY42" fmla="*/ 6214 h 10000"/>
                  <a:gd name="connsiteX43" fmla="*/ 1502 w 10000"/>
                  <a:gd name="connsiteY43" fmla="*/ 6505 h 10000"/>
                  <a:gd name="connsiteX44" fmla="*/ 1002 w 10000"/>
                  <a:gd name="connsiteY44" fmla="*/ 6699 h 10000"/>
                  <a:gd name="connsiteX45" fmla="*/ 1753 w 10000"/>
                  <a:gd name="connsiteY45" fmla="*/ 7087 h 10000"/>
                  <a:gd name="connsiteX46" fmla="*/ 3381 w 10000"/>
                  <a:gd name="connsiteY46" fmla="*/ 7864 h 10000"/>
                  <a:gd name="connsiteX47" fmla="*/ 3381 w 10000"/>
                  <a:gd name="connsiteY47" fmla="*/ 8155 h 10000"/>
                  <a:gd name="connsiteX48" fmla="*/ 3882 w 10000"/>
                  <a:gd name="connsiteY48" fmla="*/ 8058 h 10000"/>
                  <a:gd name="connsiteX49" fmla="*/ 3757 w 10000"/>
                  <a:gd name="connsiteY49" fmla="*/ 7864 h 10000"/>
                  <a:gd name="connsiteX50" fmla="*/ 4133 w 10000"/>
                  <a:gd name="connsiteY50" fmla="*/ 7670 h 10000"/>
                  <a:gd name="connsiteX51" fmla="*/ 3882 w 10000"/>
                  <a:gd name="connsiteY51" fmla="*/ 7282 h 10000"/>
                  <a:gd name="connsiteX52" fmla="*/ 4133 w 10000"/>
                  <a:gd name="connsiteY52" fmla="*/ 7087 h 10000"/>
                  <a:gd name="connsiteX53" fmla="*/ 4258 w 10000"/>
                  <a:gd name="connsiteY53" fmla="*/ 7184 h 10000"/>
                  <a:gd name="connsiteX54" fmla="*/ 4383 w 10000"/>
                  <a:gd name="connsiteY54" fmla="*/ 7184 h 10000"/>
                  <a:gd name="connsiteX55" fmla="*/ 4258 w 10000"/>
                  <a:gd name="connsiteY55" fmla="*/ 7379 h 10000"/>
                  <a:gd name="connsiteX56" fmla="*/ 4508 w 10000"/>
                  <a:gd name="connsiteY56" fmla="*/ 7476 h 10000"/>
                  <a:gd name="connsiteX57" fmla="*/ 4759 w 10000"/>
                  <a:gd name="connsiteY57" fmla="*/ 7282 h 10000"/>
                  <a:gd name="connsiteX58" fmla="*/ 5135 w 10000"/>
                  <a:gd name="connsiteY58" fmla="*/ 7379 h 10000"/>
                  <a:gd name="connsiteX59" fmla="*/ 5385 w 10000"/>
                  <a:gd name="connsiteY59" fmla="*/ 7670 h 10000"/>
                  <a:gd name="connsiteX60" fmla="*/ 5636 w 10000"/>
                  <a:gd name="connsiteY60" fmla="*/ 7670 h 10000"/>
                  <a:gd name="connsiteX61" fmla="*/ 5636 w 10000"/>
                  <a:gd name="connsiteY61" fmla="*/ 7961 h 10000"/>
                  <a:gd name="connsiteX62" fmla="*/ 5886 w 10000"/>
                  <a:gd name="connsiteY62" fmla="*/ 8155 h 10000"/>
                  <a:gd name="connsiteX63" fmla="*/ 6011 w 10000"/>
                  <a:gd name="connsiteY63" fmla="*/ 8155 h 10000"/>
                  <a:gd name="connsiteX64" fmla="*/ 6011 w 10000"/>
                  <a:gd name="connsiteY64" fmla="*/ 8544 h 10000"/>
                  <a:gd name="connsiteX65" fmla="*/ 6387 w 10000"/>
                  <a:gd name="connsiteY65" fmla="*/ 8835 h 10000"/>
                  <a:gd name="connsiteX66" fmla="*/ 6763 w 10000"/>
                  <a:gd name="connsiteY66" fmla="*/ 8932 h 10000"/>
                  <a:gd name="connsiteX67" fmla="*/ 6763 w 10000"/>
                  <a:gd name="connsiteY67" fmla="*/ 9126 h 10000"/>
                  <a:gd name="connsiteX68" fmla="*/ 6637 w 10000"/>
                  <a:gd name="connsiteY68" fmla="*/ 9223 h 10000"/>
                  <a:gd name="connsiteX69" fmla="*/ 6512 w 10000"/>
                  <a:gd name="connsiteY69" fmla="*/ 9417 h 10000"/>
                  <a:gd name="connsiteX70" fmla="*/ 6512 w 10000"/>
                  <a:gd name="connsiteY70" fmla="*/ 9612 h 10000"/>
                  <a:gd name="connsiteX71" fmla="*/ 6637 w 10000"/>
                  <a:gd name="connsiteY71" fmla="*/ 9709 h 10000"/>
                  <a:gd name="connsiteX72" fmla="*/ 6763 w 10000"/>
                  <a:gd name="connsiteY72" fmla="*/ 10000 h 10000"/>
                  <a:gd name="connsiteX73" fmla="*/ 7138 w 10000"/>
                  <a:gd name="connsiteY73" fmla="*/ 9903 h 10000"/>
                  <a:gd name="connsiteX74" fmla="*/ 7764 w 10000"/>
                  <a:gd name="connsiteY74" fmla="*/ 9806 h 10000"/>
                  <a:gd name="connsiteX75" fmla="*/ 8015 w 10000"/>
                  <a:gd name="connsiteY75" fmla="*/ 9806 h 10000"/>
                  <a:gd name="connsiteX76" fmla="*/ 8516 w 10000"/>
                  <a:gd name="connsiteY76" fmla="*/ 9709 h 10000"/>
                  <a:gd name="connsiteX77" fmla="*/ 8766 w 10000"/>
                  <a:gd name="connsiteY77" fmla="*/ 9903 h 10000"/>
                  <a:gd name="connsiteX78" fmla="*/ 9017 w 10000"/>
                  <a:gd name="connsiteY78" fmla="*/ 9515 h 10000"/>
                  <a:gd name="connsiteX79" fmla="*/ 8891 w 10000"/>
                  <a:gd name="connsiteY79" fmla="*/ 9223 h 10000"/>
                  <a:gd name="connsiteX80" fmla="*/ 8766 w 10000"/>
                  <a:gd name="connsiteY80" fmla="*/ 8447 h 10000"/>
                  <a:gd name="connsiteX81" fmla="*/ 9392 w 10000"/>
                  <a:gd name="connsiteY81" fmla="*/ 8350 h 10000"/>
                  <a:gd name="connsiteX82" fmla="*/ 9893 w 10000"/>
                  <a:gd name="connsiteY82" fmla="*/ 7864 h 10000"/>
                  <a:gd name="connsiteX83" fmla="*/ 9769 w 10000"/>
                  <a:gd name="connsiteY83" fmla="*/ 7379 h 10000"/>
                  <a:gd name="connsiteX0" fmla="*/ 9769 w 10000"/>
                  <a:gd name="connsiteY0" fmla="*/ 7428 h 10049"/>
                  <a:gd name="connsiteX1" fmla="*/ 9268 w 10000"/>
                  <a:gd name="connsiteY1" fmla="*/ 7039 h 10049"/>
                  <a:gd name="connsiteX2" fmla="*/ 8766 w 10000"/>
                  <a:gd name="connsiteY2" fmla="*/ 6748 h 10049"/>
                  <a:gd name="connsiteX3" fmla="*/ 8516 w 10000"/>
                  <a:gd name="connsiteY3" fmla="*/ 5971 h 10049"/>
                  <a:gd name="connsiteX4" fmla="*/ 8891 w 10000"/>
                  <a:gd name="connsiteY4" fmla="*/ 5389 h 10049"/>
                  <a:gd name="connsiteX5" fmla="*/ 9544 w 10000"/>
                  <a:gd name="connsiteY5" fmla="*/ 4949 h 10049"/>
                  <a:gd name="connsiteX6" fmla="*/ 9228 w 10000"/>
                  <a:gd name="connsiteY6" fmla="*/ 4505 h 10049"/>
                  <a:gd name="connsiteX7" fmla="*/ 9142 w 10000"/>
                  <a:gd name="connsiteY7" fmla="*/ 4030 h 10049"/>
                  <a:gd name="connsiteX8" fmla="*/ 8642 w 10000"/>
                  <a:gd name="connsiteY8" fmla="*/ 3738 h 10049"/>
                  <a:gd name="connsiteX9" fmla="*/ 7890 w 10000"/>
                  <a:gd name="connsiteY9" fmla="*/ 4224 h 10049"/>
                  <a:gd name="connsiteX10" fmla="*/ 7639 w 10000"/>
                  <a:gd name="connsiteY10" fmla="*/ 3932 h 10049"/>
                  <a:gd name="connsiteX11" fmla="*/ 7005 w 10000"/>
                  <a:gd name="connsiteY11" fmla="*/ 3609 h 10049"/>
                  <a:gd name="connsiteX12" fmla="*/ 6262 w 10000"/>
                  <a:gd name="connsiteY12" fmla="*/ 3544 h 10049"/>
                  <a:gd name="connsiteX13" fmla="*/ 6136 w 10000"/>
                  <a:gd name="connsiteY13" fmla="*/ 3350 h 10049"/>
                  <a:gd name="connsiteX14" fmla="*/ 6136 w 10000"/>
                  <a:gd name="connsiteY14" fmla="*/ 3059 h 10049"/>
                  <a:gd name="connsiteX15" fmla="*/ 6011 w 10000"/>
                  <a:gd name="connsiteY15" fmla="*/ 2670 h 10049"/>
                  <a:gd name="connsiteX16" fmla="*/ 5686 w 10000"/>
                  <a:gd name="connsiteY16" fmla="*/ 2245 h 10049"/>
                  <a:gd name="connsiteX17" fmla="*/ 5227 w 10000"/>
                  <a:gd name="connsiteY17" fmla="*/ 1751 h 10049"/>
                  <a:gd name="connsiteX18" fmla="*/ 4976 w 10000"/>
                  <a:gd name="connsiteY18" fmla="*/ 1214 h 10049"/>
                  <a:gd name="connsiteX19" fmla="*/ 5086 w 10000"/>
                  <a:gd name="connsiteY19" fmla="*/ 600 h 10049"/>
                  <a:gd name="connsiteX20" fmla="*/ 4460 w 10000"/>
                  <a:gd name="connsiteY20" fmla="*/ 309 h 10049"/>
                  <a:gd name="connsiteX21" fmla="*/ 3498 w 10000"/>
                  <a:gd name="connsiteY21" fmla="*/ 12 h 10049"/>
                  <a:gd name="connsiteX22" fmla="*/ 2630 w 10000"/>
                  <a:gd name="connsiteY22" fmla="*/ 49 h 10049"/>
                  <a:gd name="connsiteX23" fmla="*/ 1879 w 10000"/>
                  <a:gd name="connsiteY23" fmla="*/ 49 h 10049"/>
                  <a:gd name="connsiteX24" fmla="*/ 1253 w 10000"/>
                  <a:gd name="connsiteY24" fmla="*/ 340 h 10049"/>
                  <a:gd name="connsiteX25" fmla="*/ 626 w 10000"/>
                  <a:gd name="connsiteY25" fmla="*/ 437 h 10049"/>
                  <a:gd name="connsiteX26" fmla="*/ 0 w 10000"/>
                  <a:gd name="connsiteY26" fmla="*/ 632 h 10049"/>
                  <a:gd name="connsiteX27" fmla="*/ 251 w 10000"/>
                  <a:gd name="connsiteY27" fmla="*/ 1117 h 10049"/>
                  <a:gd name="connsiteX28" fmla="*/ 251 w 10000"/>
                  <a:gd name="connsiteY28" fmla="*/ 1505 h 10049"/>
                  <a:gd name="connsiteX29" fmla="*/ 501 w 10000"/>
                  <a:gd name="connsiteY29" fmla="*/ 1699 h 10049"/>
                  <a:gd name="connsiteX30" fmla="*/ 876 w 10000"/>
                  <a:gd name="connsiteY30" fmla="*/ 2282 h 10049"/>
                  <a:gd name="connsiteX31" fmla="*/ 1253 w 10000"/>
                  <a:gd name="connsiteY31" fmla="*/ 2476 h 10049"/>
                  <a:gd name="connsiteX32" fmla="*/ 752 w 10000"/>
                  <a:gd name="connsiteY32" fmla="*/ 2670 h 10049"/>
                  <a:gd name="connsiteX33" fmla="*/ 752 w 10000"/>
                  <a:gd name="connsiteY33" fmla="*/ 3156 h 10049"/>
                  <a:gd name="connsiteX34" fmla="*/ 1002 w 10000"/>
                  <a:gd name="connsiteY34" fmla="*/ 3156 h 10049"/>
                  <a:gd name="connsiteX35" fmla="*/ 1253 w 10000"/>
                  <a:gd name="connsiteY35" fmla="*/ 3447 h 10049"/>
                  <a:gd name="connsiteX36" fmla="*/ 876 w 10000"/>
                  <a:gd name="connsiteY36" fmla="*/ 4418 h 10049"/>
                  <a:gd name="connsiteX37" fmla="*/ 1253 w 10000"/>
                  <a:gd name="connsiteY37" fmla="*/ 4806 h 10049"/>
                  <a:gd name="connsiteX38" fmla="*/ 1628 w 10000"/>
                  <a:gd name="connsiteY38" fmla="*/ 5098 h 10049"/>
                  <a:gd name="connsiteX39" fmla="*/ 2003 w 10000"/>
                  <a:gd name="connsiteY39" fmla="*/ 5486 h 10049"/>
                  <a:gd name="connsiteX40" fmla="*/ 1502 w 10000"/>
                  <a:gd name="connsiteY40" fmla="*/ 5486 h 10049"/>
                  <a:gd name="connsiteX41" fmla="*/ 1378 w 10000"/>
                  <a:gd name="connsiteY41" fmla="*/ 5777 h 10049"/>
                  <a:gd name="connsiteX42" fmla="*/ 1753 w 10000"/>
                  <a:gd name="connsiteY42" fmla="*/ 6263 h 10049"/>
                  <a:gd name="connsiteX43" fmla="*/ 1502 w 10000"/>
                  <a:gd name="connsiteY43" fmla="*/ 6554 h 10049"/>
                  <a:gd name="connsiteX44" fmla="*/ 1002 w 10000"/>
                  <a:gd name="connsiteY44" fmla="*/ 6748 h 10049"/>
                  <a:gd name="connsiteX45" fmla="*/ 1753 w 10000"/>
                  <a:gd name="connsiteY45" fmla="*/ 7136 h 10049"/>
                  <a:gd name="connsiteX46" fmla="*/ 3381 w 10000"/>
                  <a:gd name="connsiteY46" fmla="*/ 7913 h 10049"/>
                  <a:gd name="connsiteX47" fmla="*/ 3381 w 10000"/>
                  <a:gd name="connsiteY47" fmla="*/ 8204 h 10049"/>
                  <a:gd name="connsiteX48" fmla="*/ 3882 w 10000"/>
                  <a:gd name="connsiteY48" fmla="*/ 8107 h 10049"/>
                  <a:gd name="connsiteX49" fmla="*/ 3757 w 10000"/>
                  <a:gd name="connsiteY49" fmla="*/ 7913 h 10049"/>
                  <a:gd name="connsiteX50" fmla="*/ 4133 w 10000"/>
                  <a:gd name="connsiteY50" fmla="*/ 7719 h 10049"/>
                  <a:gd name="connsiteX51" fmla="*/ 3882 w 10000"/>
                  <a:gd name="connsiteY51" fmla="*/ 7331 h 10049"/>
                  <a:gd name="connsiteX52" fmla="*/ 4133 w 10000"/>
                  <a:gd name="connsiteY52" fmla="*/ 7136 h 10049"/>
                  <a:gd name="connsiteX53" fmla="*/ 4258 w 10000"/>
                  <a:gd name="connsiteY53" fmla="*/ 7233 h 10049"/>
                  <a:gd name="connsiteX54" fmla="*/ 4383 w 10000"/>
                  <a:gd name="connsiteY54" fmla="*/ 7233 h 10049"/>
                  <a:gd name="connsiteX55" fmla="*/ 4258 w 10000"/>
                  <a:gd name="connsiteY55" fmla="*/ 7428 h 10049"/>
                  <a:gd name="connsiteX56" fmla="*/ 4508 w 10000"/>
                  <a:gd name="connsiteY56" fmla="*/ 7525 h 10049"/>
                  <a:gd name="connsiteX57" fmla="*/ 4759 w 10000"/>
                  <a:gd name="connsiteY57" fmla="*/ 7331 h 10049"/>
                  <a:gd name="connsiteX58" fmla="*/ 5135 w 10000"/>
                  <a:gd name="connsiteY58" fmla="*/ 7428 h 10049"/>
                  <a:gd name="connsiteX59" fmla="*/ 5385 w 10000"/>
                  <a:gd name="connsiteY59" fmla="*/ 7719 h 10049"/>
                  <a:gd name="connsiteX60" fmla="*/ 5636 w 10000"/>
                  <a:gd name="connsiteY60" fmla="*/ 7719 h 10049"/>
                  <a:gd name="connsiteX61" fmla="*/ 5636 w 10000"/>
                  <a:gd name="connsiteY61" fmla="*/ 8010 h 10049"/>
                  <a:gd name="connsiteX62" fmla="*/ 5886 w 10000"/>
                  <a:gd name="connsiteY62" fmla="*/ 8204 h 10049"/>
                  <a:gd name="connsiteX63" fmla="*/ 6011 w 10000"/>
                  <a:gd name="connsiteY63" fmla="*/ 8204 h 10049"/>
                  <a:gd name="connsiteX64" fmla="*/ 6011 w 10000"/>
                  <a:gd name="connsiteY64" fmla="*/ 8593 h 10049"/>
                  <a:gd name="connsiteX65" fmla="*/ 6387 w 10000"/>
                  <a:gd name="connsiteY65" fmla="*/ 8884 h 10049"/>
                  <a:gd name="connsiteX66" fmla="*/ 6763 w 10000"/>
                  <a:gd name="connsiteY66" fmla="*/ 8981 h 10049"/>
                  <a:gd name="connsiteX67" fmla="*/ 6763 w 10000"/>
                  <a:gd name="connsiteY67" fmla="*/ 9175 h 10049"/>
                  <a:gd name="connsiteX68" fmla="*/ 6637 w 10000"/>
                  <a:gd name="connsiteY68" fmla="*/ 9272 h 10049"/>
                  <a:gd name="connsiteX69" fmla="*/ 6512 w 10000"/>
                  <a:gd name="connsiteY69" fmla="*/ 9466 h 10049"/>
                  <a:gd name="connsiteX70" fmla="*/ 6512 w 10000"/>
                  <a:gd name="connsiteY70" fmla="*/ 9661 h 10049"/>
                  <a:gd name="connsiteX71" fmla="*/ 6637 w 10000"/>
                  <a:gd name="connsiteY71" fmla="*/ 9758 h 10049"/>
                  <a:gd name="connsiteX72" fmla="*/ 6763 w 10000"/>
                  <a:gd name="connsiteY72" fmla="*/ 10049 h 10049"/>
                  <a:gd name="connsiteX73" fmla="*/ 7138 w 10000"/>
                  <a:gd name="connsiteY73" fmla="*/ 9952 h 10049"/>
                  <a:gd name="connsiteX74" fmla="*/ 7764 w 10000"/>
                  <a:gd name="connsiteY74" fmla="*/ 9855 h 10049"/>
                  <a:gd name="connsiteX75" fmla="*/ 8015 w 10000"/>
                  <a:gd name="connsiteY75" fmla="*/ 9855 h 10049"/>
                  <a:gd name="connsiteX76" fmla="*/ 8516 w 10000"/>
                  <a:gd name="connsiteY76" fmla="*/ 9758 h 10049"/>
                  <a:gd name="connsiteX77" fmla="*/ 8766 w 10000"/>
                  <a:gd name="connsiteY77" fmla="*/ 9952 h 10049"/>
                  <a:gd name="connsiteX78" fmla="*/ 9017 w 10000"/>
                  <a:gd name="connsiteY78" fmla="*/ 9564 h 10049"/>
                  <a:gd name="connsiteX79" fmla="*/ 8891 w 10000"/>
                  <a:gd name="connsiteY79" fmla="*/ 9272 h 10049"/>
                  <a:gd name="connsiteX80" fmla="*/ 8766 w 10000"/>
                  <a:gd name="connsiteY80" fmla="*/ 8496 h 10049"/>
                  <a:gd name="connsiteX81" fmla="*/ 9392 w 10000"/>
                  <a:gd name="connsiteY81" fmla="*/ 8399 h 10049"/>
                  <a:gd name="connsiteX82" fmla="*/ 9893 w 10000"/>
                  <a:gd name="connsiteY82" fmla="*/ 7913 h 10049"/>
                  <a:gd name="connsiteX83" fmla="*/ 9769 w 10000"/>
                  <a:gd name="connsiteY83" fmla="*/ 7428 h 10049"/>
                  <a:gd name="connsiteX0" fmla="*/ 9769 w 10000"/>
                  <a:gd name="connsiteY0" fmla="*/ 7767 h 10388"/>
                  <a:gd name="connsiteX1" fmla="*/ 9268 w 10000"/>
                  <a:gd name="connsiteY1" fmla="*/ 7378 h 10388"/>
                  <a:gd name="connsiteX2" fmla="*/ 8766 w 10000"/>
                  <a:gd name="connsiteY2" fmla="*/ 7087 h 10388"/>
                  <a:gd name="connsiteX3" fmla="*/ 8516 w 10000"/>
                  <a:gd name="connsiteY3" fmla="*/ 6310 h 10388"/>
                  <a:gd name="connsiteX4" fmla="*/ 8891 w 10000"/>
                  <a:gd name="connsiteY4" fmla="*/ 5728 h 10388"/>
                  <a:gd name="connsiteX5" fmla="*/ 9544 w 10000"/>
                  <a:gd name="connsiteY5" fmla="*/ 5288 h 10388"/>
                  <a:gd name="connsiteX6" fmla="*/ 9228 w 10000"/>
                  <a:gd name="connsiteY6" fmla="*/ 4844 h 10388"/>
                  <a:gd name="connsiteX7" fmla="*/ 9142 w 10000"/>
                  <a:gd name="connsiteY7" fmla="*/ 4369 h 10388"/>
                  <a:gd name="connsiteX8" fmla="*/ 8642 w 10000"/>
                  <a:gd name="connsiteY8" fmla="*/ 4077 h 10388"/>
                  <a:gd name="connsiteX9" fmla="*/ 7890 w 10000"/>
                  <a:gd name="connsiteY9" fmla="*/ 4563 h 10388"/>
                  <a:gd name="connsiteX10" fmla="*/ 7639 w 10000"/>
                  <a:gd name="connsiteY10" fmla="*/ 4271 h 10388"/>
                  <a:gd name="connsiteX11" fmla="*/ 7005 w 10000"/>
                  <a:gd name="connsiteY11" fmla="*/ 3948 h 10388"/>
                  <a:gd name="connsiteX12" fmla="*/ 6262 w 10000"/>
                  <a:gd name="connsiteY12" fmla="*/ 3883 h 10388"/>
                  <a:gd name="connsiteX13" fmla="*/ 6136 w 10000"/>
                  <a:gd name="connsiteY13" fmla="*/ 3689 h 10388"/>
                  <a:gd name="connsiteX14" fmla="*/ 6136 w 10000"/>
                  <a:gd name="connsiteY14" fmla="*/ 3398 h 10388"/>
                  <a:gd name="connsiteX15" fmla="*/ 6011 w 10000"/>
                  <a:gd name="connsiteY15" fmla="*/ 3009 h 10388"/>
                  <a:gd name="connsiteX16" fmla="*/ 5686 w 10000"/>
                  <a:gd name="connsiteY16" fmla="*/ 2584 h 10388"/>
                  <a:gd name="connsiteX17" fmla="*/ 5227 w 10000"/>
                  <a:gd name="connsiteY17" fmla="*/ 2090 h 10388"/>
                  <a:gd name="connsiteX18" fmla="*/ 4976 w 10000"/>
                  <a:gd name="connsiteY18" fmla="*/ 1553 h 10388"/>
                  <a:gd name="connsiteX19" fmla="*/ 5086 w 10000"/>
                  <a:gd name="connsiteY19" fmla="*/ 939 h 10388"/>
                  <a:gd name="connsiteX20" fmla="*/ 4401 w 10000"/>
                  <a:gd name="connsiteY20" fmla="*/ 49 h 10388"/>
                  <a:gd name="connsiteX21" fmla="*/ 3498 w 10000"/>
                  <a:gd name="connsiteY21" fmla="*/ 351 h 10388"/>
                  <a:gd name="connsiteX22" fmla="*/ 2630 w 10000"/>
                  <a:gd name="connsiteY22" fmla="*/ 388 h 10388"/>
                  <a:gd name="connsiteX23" fmla="*/ 1879 w 10000"/>
                  <a:gd name="connsiteY23" fmla="*/ 388 h 10388"/>
                  <a:gd name="connsiteX24" fmla="*/ 1253 w 10000"/>
                  <a:gd name="connsiteY24" fmla="*/ 679 h 10388"/>
                  <a:gd name="connsiteX25" fmla="*/ 626 w 10000"/>
                  <a:gd name="connsiteY25" fmla="*/ 776 h 10388"/>
                  <a:gd name="connsiteX26" fmla="*/ 0 w 10000"/>
                  <a:gd name="connsiteY26" fmla="*/ 971 h 10388"/>
                  <a:gd name="connsiteX27" fmla="*/ 251 w 10000"/>
                  <a:gd name="connsiteY27" fmla="*/ 1456 h 10388"/>
                  <a:gd name="connsiteX28" fmla="*/ 251 w 10000"/>
                  <a:gd name="connsiteY28" fmla="*/ 1844 h 10388"/>
                  <a:gd name="connsiteX29" fmla="*/ 501 w 10000"/>
                  <a:gd name="connsiteY29" fmla="*/ 2038 h 10388"/>
                  <a:gd name="connsiteX30" fmla="*/ 876 w 10000"/>
                  <a:gd name="connsiteY30" fmla="*/ 2621 h 10388"/>
                  <a:gd name="connsiteX31" fmla="*/ 1253 w 10000"/>
                  <a:gd name="connsiteY31" fmla="*/ 2815 h 10388"/>
                  <a:gd name="connsiteX32" fmla="*/ 752 w 10000"/>
                  <a:gd name="connsiteY32" fmla="*/ 3009 h 10388"/>
                  <a:gd name="connsiteX33" fmla="*/ 752 w 10000"/>
                  <a:gd name="connsiteY33" fmla="*/ 3495 h 10388"/>
                  <a:gd name="connsiteX34" fmla="*/ 1002 w 10000"/>
                  <a:gd name="connsiteY34" fmla="*/ 3495 h 10388"/>
                  <a:gd name="connsiteX35" fmla="*/ 1253 w 10000"/>
                  <a:gd name="connsiteY35" fmla="*/ 3786 h 10388"/>
                  <a:gd name="connsiteX36" fmla="*/ 876 w 10000"/>
                  <a:gd name="connsiteY36" fmla="*/ 4757 h 10388"/>
                  <a:gd name="connsiteX37" fmla="*/ 1253 w 10000"/>
                  <a:gd name="connsiteY37" fmla="*/ 5145 h 10388"/>
                  <a:gd name="connsiteX38" fmla="*/ 1628 w 10000"/>
                  <a:gd name="connsiteY38" fmla="*/ 5437 h 10388"/>
                  <a:gd name="connsiteX39" fmla="*/ 2003 w 10000"/>
                  <a:gd name="connsiteY39" fmla="*/ 5825 h 10388"/>
                  <a:gd name="connsiteX40" fmla="*/ 1502 w 10000"/>
                  <a:gd name="connsiteY40" fmla="*/ 5825 h 10388"/>
                  <a:gd name="connsiteX41" fmla="*/ 1378 w 10000"/>
                  <a:gd name="connsiteY41" fmla="*/ 6116 h 10388"/>
                  <a:gd name="connsiteX42" fmla="*/ 1753 w 10000"/>
                  <a:gd name="connsiteY42" fmla="*/ 6602 h 10388"/>
                  <a:gd name="connsiteX43" fmla="*/ 1502 w 10000"/>
                  <a:gd name="connsiteY43" fmla="*/ 6893 h 10388"/>
                  <a:gd name="connsiteX44" fmla="*/ 1002 w 10000"/>
                  <a:gd name="connsiteY44" fmla="*/ 7087 h 10388"/>
                  <a:gd name="connsiteX45" fmla="*/ 1753 w 10000"/>
                  <a:gd name="connsiteY45" fmla="*/ 7475 h 10388"/>
                  <a:gd name="connsiteX46" fmla="*/ 3381 w 10000"/>
                  <a:gd name="connsiteY46" fmla="*/ 8252 h 10388"/>
                  <a:gd name="connsiteX47" fmla="*/ 3381 w 10000"/>
                  <a:gd name="connsiteY47" fmla="*/ 8543 h 10388"/>
                  <a:gd name="connsiteX48" fmla="*/ 3882 w 10000"/>
                  <a:gd name="connsiteY48" fmla="*/ 8446 h 10388"/>
                  <a:gd name="connsiteX49" fmla="*/ 3757 w 10000"/>
                  <a:gd name="connsiteY49" fmla="*/ 8252 h 10388"/>
                  <a:gd name="connsiteX50" fmla="*/ 4133 w 10000"/>
                  <a:gd name="connsiteY50" fmla="*/ 8058 h 10388"/>
                  <a:gd name="connsiteX51" fmla="*/ 3882 w 10000"/>
                  <a:gd name="connsiteY51" fmla="*/ 7670 h 10388"/>
                  <a:gd name="connsiteX52" fmla="*/ 4133 w 10000"/>
                  <a:gd name="connsiteY52" fmla="*/ 7475 h 10388"/>
                  <a:gd name="connsiteX53" fmla="*/ 4258 w 10000"/>
                  <a:gd name="connsiteY53" fmla="*/ 7572 h 10388"/>
                  <a:gd name="connsiteX54" fmla="*/ 4383 w 10000"/>
                  <a:gd name="connsiteY54" fmla="*/ 7572 h 10388"/>
                  <a:gd name="connsiteX55" fmla="*/ 4258 w 10000"/>
                  <a:gd name="connsiteY55" fmla="*/ 7767 h 10388"/>
                  <a:gd name="connsiteX56" fmla="*/ 4508 w 10000"/>
                  <a:gd name="connsiteY56" fmla="*/ 7864 h 10388"/>
                  <a:gd name="connsiteX57" fmla="*/ 4759 w 10000"/>
                  <a:gd name="connsiteY57" fmla="*/ 7670 h 10388"/>
                  <a:gd name="connsiteX58" fmla="*/ 5135 w 10000"/>
                  <a:gd name="connsiteY58" fmla="*/ 7767 h 10388"/>
                  <a:gd name="connsiteX59" fmla="*/ 5385 w 10000"/>
                  <a:gd name="connsiteY59" fmla="*/ 8058 h 10388"/>
                  <a:gd name="connsiteX60" fmla="*/ 5636 w 10000"/>
                  <a:gd name="connsiteY60" fmla="*/ 8058 h 10388"/>
                  <a:gd name="connsiteX61" fmla="*/ 5636 w 10000"/>
                  <a:gd name="connsiteY61" fmla="*/ 8349 h 10388"/>
                  <a:gd name="connsiteX62" fmla="*/ 5886 w 10000"/>
                  <a:gd name="connsiteY62" fmla="*/ 8543 h 10388"/>
                  <a:gd name="connsiteX63" fmla="*/ 6011 w 10000"/>
                  <a:gd name="connsiteY63" fmla="*/ 8543 h 10388"/>
                  <a:gd name="connsiteX64" fmla="*/ 6011 w 10000"/>
                  <a:gd name="connsiteY64" fmla="*/ 8932 h 10388"/>
                  <a:gd name="connsiteX65" fmla="*/ 6387 w 10000"/>
                  <a:gd name="connsiteY65" fmla="*/ 9223 h 10388"/>
                  <a:gd name="connsiteX66" fmla="*/ 6763 w 10000"/>
                  <a:gd name="connsiteY66" fmla="*/ 9320 h 10388"/>
                  <a:gd name="connsiteX67" fmla="*/ 6763 w 10000"/>
                  <a:gd name="connsiteY67" fmla="*/ 9514 h 10388"/>
                  <a:gd name="connsiteX68" fmla="*/ 6637 w 10000"/>
                  <a:gd name="connsiteY68" fmla="*/ 9611 h 10388"/>
                  <a:gd name="connsiteX69" fmla="*/ 6512 w 10000"/>
                  <a:gd name="connsiteY69" fmla="*/ 9805 h 10388"/>
                  <a:gd name="connsiteX70" fmla="*/ 6512 w 10000"/>
                  <a:gd name="connsiteY70" fmla="*/ 10000 h 10388"/>
                  <a:gd name="connsiteX71" fmla="*/ 6637 w 10000"/>
                  <a:gd name="connsiteY71" fmla="*/ 10097 h 10388"/>
                  <a:gd name="connsiteX72" fmla="*/ 6763 w 10000"/>
                  <a:gd name="connsiteY72" fmla="*/ 10388 h 10388"/>
                  <a:gd name="connsiteX73" fmla="*/ 7138 w 10000"/>
                  <a:gd name="connsiteY73" fmla="*/ 10291 h 10388"/>
                  <a:gd name="connsiteX74" fmla="*/ 7764 w 10000"/>
                  <a:gd name="connsiteY74" fmla="*/ 10194 h 10388"/>
                  <a:gd name="connsiteX75" fmla="*/ 8015 w 10000"/>
                  <a:gd name="connsiteY75" fmla="*/ 10194 h 10388"/>
                  <a:gd name="connsiteX76" fmla="*/ 8516 w 10000"/>
                  <a:gd name="connsiteY76" fmla="*/ 10097 h 10388"/>
                  <a:gd name="connsiteX77" fmla="*/ 8766 w 10000"/>
                  <a:gd name="connsiteY77" fmla="*/ 10291 h 10388"/>
                  <a:gd name="connsiteX78" fmla="*/ 9017 w 10000"/>
                  <a:gd name="connsiteY78" fmla="*/ 9903 h 10388"/>
                  <a:gd name="connsiteX79" fmla="*/ 8891 w 10000"/>
                  <a:gd name="connsiteY79" fmla="*/ 9611 h 10388"/>
                  <a:gd name="connsiteX80" fmla="*/ 8766 w 10000"/>
                  <a:gd name="connsiteY80" fmla="*/ 8835 h 10388"/>
                  <a:gd name="connsiteX81" fmla="*/ 9392 w 10000"/>
                  <a:gd name="connsiteY81" fmla="*/ 8738 h 10388"/>
                  <a:gd name="connsiteX82" fmla="*/ 9893 w 10000"/>
                  <a:gd name="connsiteY82" fmla="*/ 8252 h 10388"/>
                  <a:gd name="connsiteX83" fmla="*/ 9769 w 10000"/>
                  <a:gd name="connsiteY83" fmla="*/ 7767 h 10388"/>
                  <a:gd name="connsiteX0" fmla="*/ 9769 w 10000"/>
                  <a:gd name="connsiteY0" fmla="*/ 7846 h 10467"/>
                  <a:gd name="connsiteX1" fmla="*/ 9268 w 10000"/>
                  <a:gd name="connsiteY1" fmla="*/ 7457 h 10467"/>
                  <a:gd name="connsiteX2" fmla="*/ 8766 w 10000"/>
                  <a:gd name="connsiteY2" fmla="*/ 7166 h 10467"/>
                  <a:gd name="connsiteX3" fmla="*/ 8516 w 10000"/>
                  <a:gd name="connsiteY3" fmla="*/ 6389 h 10467"/>
                  <a:gd name="connsiteX4" fmla="*/ 8891 w 10000"/>
                  <a:gd name="connsiteY4" fmla="*/ 5807 h 10467"/>
                  <a:gd name="connsiteX5" fmla="*/ 9544 w 10000"/>
                  <a:gd name="connsiteY5" fmla="*/ 5367 h 10467"/>
                  <a:gd name="connsiteX6" fmla="*/ 9228 w 10000"/>
                  <a:gd name="connsiteY6" fmla="*/ 4923 h 10467"/>
                  <a:gd name="connsiteX7" fmla="*/ 9142 w 10000"/>
                  <a:gd name="connsiteY7" fmla="*/ 4448 h 10467"/>
                  <a:gd name="connsiteX8" fmla="*/ 8642 w 10000"/>
                  <a:gd name="connsiteY8" fmla="*/ 4156 h 10467"/>
                  <a:gd name="connsiteX9" fmla="*/ 7890 w 10000"/>
                  <a:gd name="connsiteY9" fmla="*/ 4642 h 10467"/>
                  <a:gd name="connsiteX10" fmla="*/ 7639 w 10000"/>
                  <a:gd name="connsiteY10" fmla="*/ 4350 h 10467"/>
                  <a:gd name="connsiteX11" fmla="*/ 7005 w 10000"/>
                  <a:gd name="connsiteY11" fmla="*/ 4027 h 10467"/>
                  <a:gd name="connsiteX12" fmla="*/ 6262 w 10000"/>
                  <a:gd name="connsiteY12" fmla="*/ 3962 h 10467"/>
                  <a:gd name="connsiteX13" fmla="*/ 6136 w 10000"/>
                  <a:gd name="connsiteY13" fmla="*/ 3768 h 10467"/>
                  <a:gd name="connsiteX14" fmla="*/ 6136 w 10000"/>
                  <a:gd name="connsiteY14" fmla="*/ 3477 h 10467"/>
                  <a:gd name="connsiteX15" fmla="*/ 6011 w 10000"/>
                  <a:gd name="connsiteY15" fmla="*/ 3088 h 10467"/>
                  <a:gd name="connsiteX16" fmla="*/ 5686 w 10000"/>
                  <a:gd name="connsiteY16" fmla="*/ 2663 h 10467"/>
                  <a:gd name="connsiteX17" fmla="*/ 5227 w 10000"/>
                  <a:gd name="connsiteY17" fmla="*/ 2169 h 10467"/>
                  <a:gd name="connsiteX18" fmla="*/ 4976 w 10000"/>
                  <a:gd name="connsiteY18" fmla="*/ 1632 h 10467"/>
                  <a:gd name="connsiteX19" fmla="*/ 5086 w 10000"/>
                  <a:gd name="connsiteY19" fmla="*/ 1018 h 10467"/>
                  <a:gd name="connsiteX20" fmla="*/ 4401 w 10000"/>
                  <a:gd name="connsiteY20" fmla="*/ 128 h 10467"/>
                  <a:gd name="connsiteX21" fmla="*/ 3498 w 10000"/>
                  <a:gd name="connsiteY21" fmla="*/ 61 h 10467"/>
                  <a:gd name="connsiteX22" fmla="*/ 2630 w 10000"/>
                  <a:gd name="connsiteY22" fmla="*/ 467 h 10467"/>
                  <a:gd name="connsiteX23" fmla="*/ 1879 w 10000"/>
                  <a:gd name="connsiteY23" fmla="*/ 467 h 10467"/>
                  <a:gd name="connsiteX24" fmla="*/ 1253 w 10000"/>
                  <a:gd name="connsiteY24" fmla="*/ 758 h 10467"/>
                  <a:gd name="connsiteX25" fmla="*/ 626 w 10000"/>
                  <a:gd name="connsiteY25" fmla="*/ 855 h 10467"/>
                  <a:gd name="connsiteX26" fmla="*/ 0 w 10000"/>
                  <a:gd name="connsiteY26" fmla="*/ 1050 h 10467"/>
                  <a:gd name="connsiteX27" fmla="*/ 251 w 10000"/>
                  <a:gd name="connsiteY27" fmla="*/ 1535 h 10467"/>
                  <a:gd name="connsiteX28" fmla="*/ 251 w 10000"/>
                  <a:gd name="connsiteY28" fmla="*/ 1923 h 10467"/>
                  <a:gd name="connsiteX29" fmla="*/ 501 w 10000"/>
                  <a:gd name="connsiteY29" fmla="*/ 2117 h 10467"/>
                  <a:gd name="connsiteX30" fmla="*/ 876 w 10000"/>
                  <a:gd name="connsiteY30" fmla="*/ 2700 h 10467"/>
                  <a:gd name="connsiteX31" fmla="*/ 1253 w 10000"/>
                  <a:gd name="connsiteY31" fmla="*/ 2894 h 10467"/>
                  <a:gd name="connsiteX32" fmla="*/ 752 w 10000"/>
                  <a:gd name="connsiteY32" fmla="*/ 3088 h 10467"/>
                  <a:gd name="connsiteX33" fmla="*/ 752 w 10000"/>
                  <a:gd name="connsiteY33" fmla="*/ 3574 h 10467"/>
                  <a:gd name="connsiteX34" fmla="*/ 1002 w 10000"/>
                  <a:gd name="connsiteY34" fmla="*/ 3574 h 10467"/>
                  <a:gd name="connsiteX35" fmla="*/ 1253 w 10000"/>
                  <a:gd name="connsiteY35" fmla="*/ 3865 h 10467"/>
                  <a:gd name="connsiteX36" fmla="*/ 876 w 10000"/>
                  <a:gd name="connsiteY36" fmla="*/ 4836 h 10467"/>
                  <a:gd name="connsiteX37" fmla="*/ 1253 w 10000"/>
                  <a:gd name="connsiteY37" fmla="*/ 5224 h 10467"/>
                  <a:gd name="connsiteX38" fmla="*/ 1628 w 10000"/>
                  <a:gd name="connsiteY38" fmla="*/ 5516 h 10467"/>
                  <a:gd name="connsiteX39" fmla="*/ 2003 w 10000"/>
                  <a:gd name="connsiteY39" fmla="*/ 5904 h 10467"/>
                  <a:gd name="connsiteX40" fmla="*/ 1502 w 10000"/>
                  <a:gd name="connsiteY40" fmla="*/ 5904 h 10467"/>
                  <a:gd name="connsiteX41" fmla="*/ 1378 w 10000"/>
                  <a:gd name="connsiteY41" fmla="*/ 6195 h 10467"/>
                  <a:gd name="connsiteX42" fmla="*/ 1753 w 10000"/>
                  <a:gd name="connsiteY42" fmla="*/ 6681 h 10467"/>
                  <a:gd name="connsiteX43" fmla="*/ 1502 w 10000"/>
                  <a:gd name="connsiteY43" fmla="*/ 6972 h 10467"/>
                  <a:gd name="connsiteX44" fmla="*/ 1002 w 10000"/>
                  <a:gd name="connsiteY44" fmla="*/ 7166 h 10467"/>
                  <a:gd name="connsiteX45" fmla="*/ 1753 w 10000"/>
                  <a:gd name="connsiteY45" fmla="*/ 7554 h 10467"/>
                  <a:gd name="connsiteX46" fmla="*/ 3381 w 10000"/>
                  <a:gd name="connsiteY46" fmla="*/ 8331 h 10467"/>
                  <a:gd name="connsiteX47" fmla="*/ 3381 w 10000"/>
                  <a:gd name="connsiteY47" fmla="*/ 8622 h 10467"/>
                  <a:gd name="connsiteX48" fmla="*/ 3882 w 10000"/>
                  <a:gd name="connsiteY48" fmla="*/ 8525 h 10467"/>
                  <a:gd name="connsiteX49" fmla="*/ 3757 w 10000"/>
                  <a:gd name="connsiteY49" fmla="*/ 8331 h 10467"/>
                  <a:gd name="connsiteX50" fmla="*/ 4133 w 10000"/>
                  <a:gd name="connsiteY50" fmla="*/ 8137 h 10467"/>
                  <a:gd name="connsiteX51" fmla="*/ 3882 w 10000"/>
                  <a:gd name="connsiteY51" fmla="*/ 7749 h 10467"/>
                  <a:gd name="connsiteX52" fmla="*/ 4133 w 10000"/>
                  <a:gd name="connsiteY52" fmla="*/ 7554 h 10467"/>
                  <a:gd name="connsiteX53" fmla="*/ 4258 w 10000"/>
                  <a:gd name="connsiteY53" fmla="*/ 7651 h 10467"/>
                  <a:gd name="connsiteX54" fmla="*/ 4383 w 10000"/>
                  <a:gd name="connsiteY54" fmla="*/ 7651 h 10467"/>
                  <a:gd name="connsiteX55" fmla="*/ 4258 w 10000"/>
                  <a:gd name="connsiteY55" fmla="*/ 7846 h 10467"/>
                  <a:gd name="connsiteX56" fmla="*/ 4508 w 10000"/>
                  <a:gd name="connsiteY56" fmla="*/ 7943 h 10467"/>
                  <a:gd name="connsiteX57" fmla="*/ 4759 w 10000"/>
                  <a:gd name="connsiteY57" fmla="*/ 7749 h 10467"/>
                  <a:gd name="connsiteX58" fmla="*/ 5135 w 10000"/>
                  <a:gd name="connsiteY58" fmla="*/ 7846 h 10467"/>
                  <a:gd name="connsiteX59" fmla="*/ 5385 w 10000"/>
                  <a:gd name="connsiteY59" fmla="*/ 8137 h 10467"/>
                  <a:gd name="connsiteX60" fmla="*/ 5636 w 10000"/>
                  <a:gd name="connsiteY60" fmla="*/ 8137 h 10467"/>
                  <a:gd name="connsiteX61" fmla="*/ 5636 w 10000"/>
                  <a:gd name="connsiteY61" fmla="*/ 8428 h 10467"/>
                  <a:gd name="connsiteX62" fmla="*/ 5886 w 10000"/>
                  <a:gd name="connsiteY62" fmla="*/ 8622 h 10467"/>
                  <a:gd name="connsiteX63" fmla="*/ 6011 w 10000"/>
                  <a:gd name="connsiteY63" fmla="*/ 8622 h 10467"/>
                  <a:gd name="connsiteX64" fmla="*/ 6011 w 10000"/>
                  <a:gd name="connsiteY64" fmla="*/ 9011 h 10467"/>
                  <a:gd name="connsiteX65" fmla="*/ 6387 w 10000"/>
                  <a:gd name="connsiteY65" fmla="*/ 9302 h 10467"/>
                  <a:gd name="connsiteX66" fmla="*/ 6763 w 10000"/>
                  <a:gd name="connsiteY66" fmla="*/ 9399 h 10467"/>
                  <a:gd name="connsiteX67" fmla="*/ 6763 w 10000"/>
                  <a:gd name="connsiteY67" fmla="*/ 9593 h 10467"/>
                  <a:gd name="connsiteX68" fmla="*/ 6637 w 10000"/>
                  <a:gd name="connsiteY68" fmla="*/ 9690 h 10467"/>
                  <a:gd name="connsiteX69" fmla="*/ 6512 w 10000"/>
                  <a:gd name="connsiteY69" fmla="*/ 9884 h 10467"/>
                  <a:gd name="connsiteX70" fmla="*/ 6512 w 10000"/>
                  <a:gd name="connsiteY70" fmla="*/ 10079 h 10467"/>
                  <a:gd name="connsiteX71" fmla="*/ 6637 w 10000"/>
                  <a:gd name="connsiteY71" fmla="*/ 10176 h 10467"/>
                  <a:gd name="connsiteX72" fmla="*/ 6763 w 10000"/>
                  <a:gd name="connsiteY72" fmla="*/ 10467 h 10467"/>
                  <a:gd name="connsiteX73" fmla="*/ 7138 w 10000"/>
                  <a:gd name="connsiteY73" fmla="*/ 10370 h 10467"/>
                  <a:gd name="connsiteX74" fmla="*/ 7764 w 10000"/>
                  <a:gd name="connsiteY74" fmla="*/ 10273 h 10467"/>
                  <a:gd name="connsiteX75" fmla="*/ 8015 w 10000"/>
                  <a:gd name="connsiteY75" fmla="*/ 10273 h 10467"/>
                  <a:gd name="connsiteX76" fmla="*/ 8516 w 10000"/>
                  <a:gd name="connsiteY76" fmla="*/ 10176 h 10467"/>
                  <a:gd name="connsiteX77" fmla="*/ 8766 w 10000"/>
                  <a:gd name="connsiteY77" fmla="*/ 10370 h 10467"/>
                  <a:gd name="connsiteX78" fmla="*/ 9017 w 10000"/>
                  <a:gd name="connsiteY78" fmla="*/ 9982 h 10467"/>
                  <a:gd name="connsiteX79" fmla="*/ 8891 w 10000"/>
                  <a:gd name="connsiteY79" fmla="*/ 9690 h 10467"/>
                  <a:gd name="connsiteX80" fmla="*/ 8766 w 10000"/>
                  <a:gd name="connsiteY80" fmla="*/ 8914 h 10467"/>
                  <a:gd name="connsiteX81" fmla="*/ 9392 w 10000"/>
                  <a:gd name="connsiteY81" fmla="*/ 8817 h 10467"/>
                  <a:gd name="connsiteX82" fmla="*/ 9893 w 10000"/>
                  <a:gd name="connsiteY82" fmla="*/ 8331 h 10467"/>
                  <a:gd name="connsiteX83" fmla="*/ 9769 w 10000"/>
                  <a:gd name="connsiteY83" fmla="*/ 7846 h 10467"/>
                  <a:gd name="connsiteX0" fmla="*/ 9769 w 10000"/>
                  <a:gd name="connsiteY0" fmla="*/ 7833 h 10454"/>
                  <a:gd name="connsiteX1" fmla="*/ 9268 w 10000"/>
                  <a:gd name="connsiteY1" fmla="*/ 7444 h 10454"/>
                  <a:gd name="connsiteX2" fmla="*/ 8766 w 10000"/>
                  <a:gd name="connsiteY2" fmla="*/ 7153 h 10454"/>
                  <a:gd name="connsiteX3" fmla="*/ 8516 w 10000"/>
                  <a:gd name="connsiteY3" fmla="*/ 6376 h 10454"/>
                  <a:gd name="connsiteX4" fmla="*/ 8891 w 10000"/>
                  <a:gd name="connsiteY4" fmla="*/ 5794 h 10454"/>
                  <a:gd name="connsiteX5" fmla="*/ 9544 w 10000"/>
                  <a:gd name="connsiteY5" fmla="*/ 5354 h 10454"/>
                  <a:gd name="connsiteX6" fmla="*/ 9228 w 10000"/>
                  <a:gd name="connsiteY6" fmla="*/ 4910 h 10454"/>
                  <a:gd name="connsiteX7" fmla="*/ 9142 w 10000"/>
                  <a:gd name="connsiteY7" fmla="*/ 4435 h 10454"/>
                  <a:gd name="connsiteX8" fmla="*/ 8642 w 10000"/>
                  <a:gd name="connsiteY8" fmla="*/ 4143 h 10454"/>
                  <a:gd name="connsiteX9" fmla="*/ 7890 w 10000"/>
                  <a:gd name="connsiteY9" fmla="*/ 4629 h 10454"/>
                  <a:gd name="connsiteX10" fmla="*/ 7639 w 10000"/>
                  <a:gd name="connsiteY10" fmla="*/ 4337 h 10454"/>
                  <a:gd name="connsiteX11" fmla="*/ 7005 w 10000"/>
                  <a:gd name="connsiteY11" fmla="*/ 4014 h 10454"/>
                  <a:gd name="connsiteX12" fmla="*/ 6262 w 10000"/>
                  <a:gd name="connsiteY12" fmla="*/ 3949 h 10454"/>
                  <a:gd name="connsiteX13" fmla="*/ 6136 w 10000"/>
                  <a:gd name="connsiteY13" fmla="*/ 3755 h 10454"/>
                  <a:gd name="connsiteX14" fmla="*/ 6136 w 10000"/>
                  <a:gd name="connsiteY14" fmla="*/ 3464 h 10454"/>
                  <a:gd name="connsiteX15" fmla="*/ 6011 w 10000"/>
                  <a:gd name="connsiteY15" fmla="*/ 3075 h 10454"/>
                  <a:gd name="connsiteX16" fmla="*/ 5686 w 10000"/>
                  <a:gd name="connsiteY16" fmla="*/ 2650 h 10454"/>
                  <a:gd name="connsiteX17" fmla="*/ 5227 w 10000"/>
                  <a:gd name="connsiteY17" fmla="*/ 2156 h 10454"/>
                  <a:gd name="connsiteX18" fmla="*/ 4976 w 10000"/>
                  <a:gd name="connsiteY18" fmla="*/ 1619 h 10454"/>
                  <a:gd name="connsiteX19" fmla="*/ 5086 w 10000"/>
                  <a:gd name="connsiteY19" fmla="*/ 1005 h 10454"/>
                  <a:gd name="connsiteX20" fmla="*/ 4401 w 10000"/>
                  <a:gd name="connsiteY20" fmla="*/ 115 h 10454"/>
                  <a:gd name="connsiteX21" fmla="*/ 3498 w 10000"/>
                  <a:gd name="connsiteY21" fmla="*/ 48 h 10454"/>
                  <a:gd name="connsiteX22" fmla="*/ 2630 w 10000"/>
                  <a:gd name="connsiteY22" fmla="*/ 223 h 10454"/>
                  <a:gd name="connsiteX23" fmla="*/ 1879 w 10000"/>
                  <a:gd name="connsiteY23" fmla="*/ 454 h 10454"/>
                  <a:gd name="connsiteX24" fmla="*/ 1253 w 10000"/>
                  <a:gd name="connsiteY24" fmla="*/ 745 h 10454"/>
                  <a:gd name="connsiteX25" fmla="*/ 626 w 10000"/>
                  <a:gd name="connsiteY25" fmla="*/ 842 h 10454"/>
                  <a:gd name="connsiteX26" fmla="*/ 0 w 10000"/>
                  <a:gd name="connsiteY26" fmla="*/ 1037 h 10454"/>
                  <a:gd name="connsiteX27" fmla="*/ 251 w 10000"/>
                  <a:gd name="connsiteY27" fmla="*/ 1522 h 10454"/>
                  <a:gd name="connsiteX28" fmla="*/ 251 w 10000"/>
                  <a:gd name="connsiteY28" fmla="*/ 1910 h 10454"/>
                  <a:gd name="connsiteX29" fmla="*/ 501 w 10000"/>
                  <a:gd name="connsiteY29" fmla="*/ 2104 h 10454"/>
                  <a:gd name="connsiteX30" fmla="*/ 876 w 10000"/>
                  <a:gd name="connsiteY30" fmla="*/ 2687 h 10454"/>
                  <a:gd name="connsiteX31" fmla="*/ 1253 w 10000"/>
                  <a:gd name="connsiteY31" fmla="*/ 2881 h 10454"/>
                  <a:gd name="connsiteX32" fmla="*/ 752 w 10000"/>
                  <a:gd name="connsiteY32" fmla="*/ 3075 h 10454"/>
                  <a:gd name="connsiteX33" fmla="*/ 752 w 10000"/>
                  <a:gd name="connsiteY33" fmla="*/ 3561 h 10454"/>
                  <a:gd name="connsiteX34" fmla="*/ 1002 w 10000"/>
                  <a:gd name="connsiteY34" fmla="*/ 3561 h 10454"/>
                  <a:gd name="connsiteX35" fmla="*/ 1253 w 10000"/>
                  <a:gd name="connsiteY35" fmla="*/ 3852 h 10454"/>
                  <a:gd name="connsiteX36" fmla="*/ 876 w 10000"/>
                  <a:gd name="connsiteY36" fmla="*/ 4823 h 10454"/>
                  <a:gd name="connsiteX37" fmla="*/ 1253 w 10000"/>
                  <a:gd name="connsiteY37" fmla="*/ 5211 h 10454"/>
                  <a:gd name="connsiteX38" fmla="*/ 1628 w 10000"/>
                  <a:gd name="connsiteY38" fmla="*/ 5503 h 10454"/>
                  <a:gd name="connsiteX39" fmla="*/ 2003 w 10000"/>
                  <a:gd name="connsiteY39" fmla="*/ 5891 h 10454"/>
                  <a:gd name="connsiteX40" fmla="*/ 1502 w 10000"/>
                  <a:gd name="connsiteY40" fmla="*/ 5891 h 10454"/>
                  <a:gd name="connsiteX41" fmla="*/ 1378 w 10000"/>
                  <a:gd name="connsiteY41" fmla="*/ 6182 h 10454"/>
                  <a:gd name="connsiteX42" fmla="*/ 1753 w 10000"/>
                  <a:gd name="connsiteY42" fmla="*/ 6668 h 10454"/>
                  <a:gd name="connsiteX43" fmla="*/ 1502 w 10000"/>
                  <a:gd name="connsiteY43" fmla="*/ 6959 h 10454"/>
                  <a:gd name="connsiteX44" fmla="*/ 1002 w 10000"/>
                  <a:gd name="connsiteY44" fmla="*/ 7153 h 10454"/>
                  <a:gd name="connsiteX45" fmla="*/ 1753 w 10000"/>
                  <a:gd name="connsiteY45" fmla="*/ 7541 h 10454"/>
                  <a:gd name="connsiteX46" fmla="*/ 3381 w 10000"/>
                  <a:gd name="connsiteY46" fmla="*/ 8318 h 10454"/>
                  <a:gd name="connsiteX47" fmla="*/ 3381 w 10000"/>
                  <a:gd name="connsiteY47" fmla="*/ 8609 h 10454"/>
                  <a:gd name="connsiteX48" fmla="*/ 3882 w 10000"/>
                  <a:gd name="connsiteY48" fmla="*/ 8512 h 10454"/>
                  <a:gd name="connsiteX49" fmla="*/ 3757 w 10000"/>
                  <a:gd name="connsiteY49" fmla="*/ 8318 h 10454"/>
                  <a:gd name="connsiteX50" fmla="*/ 4133 w 10000"/>
                  <a:gd name="connsiteY50" fmla="*/ 8124 h 10454"/>
                  <a:gd name="connsiteX51" fmla="*/ 3882 w 10000"/>
                  <a:gd name="connsiteY51" fmla="*/ 7736 h 10454"/>
                  <a:gd name="connsiteX52" fmla="*/ 4133 w 10000"/>
                  <a:gd name="connsiteY52" fmla="*/ 7541 h 10454"/>
                  <a:gd name="connsiteX53" fmla="*/ 4258 w 10000"/>
                  <a:gd name="connsiteY53" fmla="*/ 7638 h 10454"/>
                  <a:gd name="connsiteX54" fmla="*/ 4383 w 10000"/>
                  <a:gd name="connsiteY54" fmla="*/ 7638 h 10454"/>
                  <a:gd name="connsiteX55" fmla="*/ 4258 w 10000"/>
                  <a:gd name="connsiteY55" fmla="*/ 7833 h 10454"/>
                  <a:gd name="connsiteX56" fmla="*/ 4508 w 10000"/>
                  <a:gd name="connsiteY56" fmla="*/ 7930 h 10454"/>
                  <a:gd name="connsiteX57" fmla="*/ 4759 w 10000"/>
                  <a:gd name="connsiteY57" fmla="*/ 7736 h 10454"/>
                  <a:gd name="connsiteX58" fmla="*/ 5135 w 10000"/>
                  <a:gd name="connsiteY58" fmla="*/ 7833 h 10454"/>
                  <a:gd name="connsiteX59" fmla="*/ 5385 w 10000"/>
                  <a:gd name="connsiteY59" fmla="*/ 8124 h 10454"/>
                  <a:gd name="connsiteX60" fmla="*/ 5636 w 10000"/>
                  <a:gd name="connsiteY60" fmla="*/ 8124 h 10454"/>
                  <a:gd name="connsiteX61" fmla="*/ 5636 w 10000"/>
                  <a:gd name="connsiteY61" fmla="*/ 8415 h 10454"/>
                  <a:gd name="connsiteX62" fmla="*/ 5886 w 10000"/>
                  <a:gd name="connsiteY62" fmla="*/ 8609 h 10454"/>
                  <a:gd name="connsiteX63" fmla="*/ 6011 w 10000"/>
                  <a:gd name="connsiteY63" fmla="*/ 8609 h 10454"/>
                  <a:gd name="connsiteX64" fmla="*/ 6011 w 10000"/>
                  <a:gd name="connsiteY64" fmla="*/ 8998 h 10454"/>
                  <a:gd name="connsiteX65" fmla="*/ 6387 w 10000"/>
                  <a:gd name="connsiteY65" fmla="*/ 9289 h 10454"/>
                  <a:gd name="connsiteX66" fmla="*/ 6763 w 10000"/>
                  <a:gd name="connsiteY66" fmla="*/ 9386 h 10454"/>
                  <a:gd name="connsiteX67" fmla="*/ 6763 w 10000"/>
                  <a:gd name="connsiteY67" fmla="*/ 9580 h 10454"/>
                  <a:gd name="connsiteX68" fmla="*/ 6637 w 10000"/>
                  <a:gd name="connsiteY68" fmla="*/ 9677 h 10454"/>
                  <a:gd name="connsiteX69" fmla="*/ 6512 w 10000"/>
                  <a:gd name="connsiteY69" fmla="*/ 9871 h 10454"/>
                  <a:gd name="connsiteX70" fmla="*/ 6512 w 10000"/>
                  <a:gd name="connsiteY70" fmla="*/ 10066 h 10454"/>
                  <a:gd name="connsiteX71" fmla="*/ 6637 w 10000"/>
                  <a:gd name="connsiteY71" fmla="*/ 10163 h 10454"/>
                  <a:gd name="connsiteX72" fmla="*/ 6763 w 10000"/>
                  <a:gd name="connsiteY72" fmla="*/ 10454 h 10454"/>
                  <a:gd name="connsiteX73" fmla="*/ 7138 w 10000"/>
                  <a:gd name="connsiteY73" fmla="*/ 10357 h 10454"/>
                  <a:gd name="connsiteX74" fmla="*/ 7764 w 10000"/>
                  <a:gd name="connsiteY74" fmla="*/ 10260 h 10454"/>
                  <a:gd name="connsiteX75" fmla="*/ 8015 w 10000"/>
                  <a:gd name="connsiteY75" fmla="*/ 10260 h 10454"/>
                  <a:gd name="connsiteX76" fmla="*/ 8516 w 10000"/>
                  <a:gd name="connsiteY76" fmla="*/ 10163 h 10454"/>
                  <a:gd name="connsiteX77" fmla="*/ 8766 w 10000"/>
                  <a:gd name="connsiteY77" fmla="*/ 10357 h 10454"/>
                  <a:gd name="connsiteX78" fmla="*/ 9017 w 10000"/>
                  <a:gd name="connsiteY78" fmla="*/ 9969 h 10454"/>
                  <a:gd name="connsiteX79" fmla="*/ 8891 w 10000"/>
                  <a:gd name="connsiteY79" fmla="*/ 9677 h 10454"/>
                  <a:gd name="connsiteX80" fmla="*/ 8766 w 10000"/>
                  <a:gd name="connsiteY80" fmla="*/ 8901 h 10454"/>
                  <a:gd name="connsiteX81" fmla="*/ 9392 w 10000"/>
                  <a:gd name="connsiteY81" fmla="*/ 8804 h 10454"/>
                  <a:gd name="connsiteX82" fmla="*/ 9893 w 10000"/>
                  <a:gd name="connsiteY82" fmla="*/ 8318 h 10454"/>
                  <a:gd name="connsiteX83" fmla="*/ 9769 w 10000"/>
                  <a:gd name="connsiteY83" fmla="*/ 7833 h 10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0000" h="10454">
                    <a:moveTo>
                      <a:pt x="9769" y="7833"/>
                    </a:moveTo>
                    <a:cubicBezTo>
                      <a:pt x="9643" y="7638"/>
                      <a:pt x="9518" y="7444"/>
                      <a:pt x="9268" y="7444"/>
                    </a:cubicBezTo>
                    <a:cubicBezTo>
                      <a:pt x="9017" y="7347"/>
                      <a:pt x="9017" y="7347"/>
                      <a:pt x="8766" y="7153"/>
                    </a:cubicBezTo>
                    <a:cubicBezTo>
                      <a:pt x="8642" y="6862"/>
                      <a:pt x="8516" y="6862"/>
                      <a:pt x="8516" y="6376"/>
                    </a:cubicBezTo>
                    <a:cubicBezTo>
                      <a:pt x="8516" y="5988"/>
                      <a:pt x="8642" y="5988"/>
                      <a:pt x="8891" y="5794"/>
                    </a:cubicBezTo>
                    <a:cubicBezTo>
                      <a:pt x="9142" y="5503"/>
                      <a:pt x="9488" y="5501"/>
                      <a:pt x="9544" y="5354"/>
                    </a:cubicBezTo>
                    <a:cubicBezTo>
                      <a:pt x="9600" y="5207"/>
                      <a:pt x="9295" y="5063"/>
                      <a:pt x="9228" y="4910"/>
                    </a:cubicBezTo>
                    <a:cubicBezTo>
                      <a:pt x="9161" y="4757"/>
                      <a:pt x="9240" y="4563"/>
                      <a:pt x="9142" y="4435"/>
                    </a:cubicBezTo>
                    <a:cubicBezTo>
                      <a:pt x="9044" y="4307"/>
                      <a:pt x="8891" y="4240"/>
                      <a:pt x="8642" y="4143"/>
                    </a:cubicBezTo>
                    <a:cubicBezTo>
                      <a:pt x="8391" y="4143"/>
                      <a:pt x="8015" y="4435"/>
                      <a:pt x="7890" y="4629"/>
                    </a:cubicBezTo>
                    <a:cubicBezTo>
                      <a:pt x="7764" y="4823"/>
                      <a:pt x="7764" y="4629"/>
                      <a:pt x="7639" y="4337"/>
                    </a:cubicBezTo>
                    <a:cubicBezTo>
                      <a:pt x="7389" y="4046"/>
                      <a:pt x="7380" y="3917"/>
                      <a:pt x="7005" y="4014"/>
                    </a:cubicBezTo>
                    <a:cubicBezTo>
                      <a:pt x="6754" y="4112"/>
                      <a:pt x="6637" y="4046"/>
                      <a:pt x="6262" y="3949"/>
                    </a:cubicBezTo>
                    <a:cubicBezTo>
                      <a:pt x="6011" y="3755"/>
                      <a:pt x="6011" y="3852"/>
                      <a:pt x="6136" y="3755"/>
                    </a:cubicBezTo>
                    <a:cubicBezTo>
                      <a:pt x="6262" y="3658"/>
                      <a:pt x="6262" y="3561"/>
                      <a:pt x="6136" y="3464"/>
                    </a:cubicBezTo>
                    <a:cubicBezTo>
                      <a:pt x="5886" y="3270"/>
                      <a:pt x="6136" y="3367"/>
                      <a:pt x="6011" y="3075"/>
                    </a:cubicBezTo>
                    <a:cubicBezTo>
                      <a:pt x="6011" y="2784"/>
                      <a:pt x="6062" y="2747"/>
                      <a:pt x="5686" y="2650"/>
                    </a:cubicBezTo>
                    <a:cubicBezTo>
                      <a:pt x="5436" y="2456"/>
                      <a:pt x="5345" y="2328"/>
                      <a:pt x="5227" y="2156"/>
                    </a:cubicBezTo>
                    <a:cubicBezTo>
                      <a:pt x="5109" y="1984"/>
                      <a:pt x="5102" y="1716"/>
                      <a:pt x="4976" y="1619"/>
                    </a:cubicBezTo>
                    <a:cubicBezTo>
                      <a:pt x="4976" y="1425"/>
                      <a:pt x="5211" y="1102"/>
                      <a:pt x="5086" y="1005"/>
                    </a:cubicBezTo>
                    <a:cubicBezTo>
                      <a:pt x="4961" y="1005"/>
                      <a:pt x="4652" y="212"/>
                      <a:pt x="4401" y="115"/>
                    </a:cubicBezTo>
                    <a:cubicBezTo>
                      <a:pt x="4151" y="-80"/>
                      <a:pt x="3793" y="30"/>
                      <a:pt x="3498" y="48"/>
                    </a:cubicBezTo>
                    <a:cubicBezTo>
                      <a:pt x="3203" y="66"/>
                      <a:pt x="2755" y="223"/>
                      <a:pt x="2630" y="223"/>
                    </a:cubicBezTo>
                    <a:cubicBezTo>
                      <a:pt x="2380" y="320"/>
                      <a:pt x="2109" y="367"/>
                      <a:pt x="1879" y="454"/>
                    </a:cubicBezTo>
                    <a:cubicBezTo>
                      <a:pt x="1650" y="541"/>
                      <a:pt x="1502" y="551"/>
                      <a:pt x="1253" y="745"/>
                    </a:cubicBezTo>
                    <a:cubicBezTo>
                      <a:pt x="1002" y="939"/>
                      <a:pt x="752" y="842"/>
                      <a:pt x="626" y="842"/>
                    </a:cubicBezTo>
                    <a:cubicBezTo>
                      <a:pt x="375" y="939"/>
                      <a:pt x="0" y="1037"/>
                      <a:pt x="0" y="1037"/>
                    </a:cubicBezTo>
                    <a:cubicBezTo>
                      <a:pt x="0" y="1037"/>
                      <a:pt x="125" y="1231"/>
                      <a:pt x="251" y="1522"/>
                    </a:cubicBezTo>
                    <a:cubicBezTo>
                      <a:pt x="375" y="1813"/>
                      <a:pt x="251" y="1813"/>
                      <a:pt x="251" y="1910"/>
                    </a:cubicBezTo>
                    <a:cubicBezTo>
                      <a:pt x="375" y="2007"/>
                      <a:pt x="626" y="2007"/>
                      <a:pt x="501" y="2104"/>
                    </a:cubicBezTo>
                    <a:cubicBezTo>
                      <a:pt x="375" y="2299"/>
                      <a:pt x="626" y="2493"/>
                      <a:pt x="876" y="2687"/>
                    </a:cubicBezTo>
                    <a:cubicBezTo>
                      <a:pt x="1002" y="2784"/>
                      <a:pt x="1378" y="2881"/>
                      <a:pt x="1253" y="2881"/>
                    </a:cubicBezTo>
                    <a:cubicBezTo>
                      <a:pt x="1127" y="2978"/>
                      <a:pt x="626" y="2881"/>
                      <a:pt x="752" y="3075"/>
                    </a:cubicBezTo>
                    <a:cubicBezTo>
                      <a:pt x="876" y="3270"/>
                      <a:pt x="752" y="3561"/>
                      <a:pt x="752" y="3561"/>
                    </a:cubicBezTo>
                    <a:cubicBezTo>
                      <a:pt x="752" y="3561"/>
                      <a:pt x="752" y="3464"/>
                      <a:pt x="1002" y="3561"/>
                    </a:cubicBezTo>
                    <a:cubicBezTo>
                      <a:pt x="1127" y="3561"/>
                      <a:pt x="1253" y="3464"/>
                      <a:pt x="1253" y="3852"/>
                    </a:cubicBezTo>
                    <a:cubicBezTo>
                      <a:pt x="1253" y="4143"/>
                      <a:pt x="1002" y="4532"/>
                      <a:pt x="876" y="4823"/>
                    </a:cubicBezTo>
                    <a:cubicBezTo>
                      <a:pt x="752" y="5017"/>
                      <a:pt x="876" y="5114"/>
                      <a:pt x="1253" y="5211"/>
                    </a:cubicBezTo>
                    <a:cubicBezTo>
                      <a:pt x="1502" y="5405"/>
                      <a:pt x="1502" y="5308"/>
                      <a:pt x="1628" y="5503"/>
                    </a:cubicBezTo>
                    <a:cubicBezTo>
                      <a:pt x="1879" y="5794"/>
                      <a:pt x="2003" y="5697"/>
                      <a:pt x="2003" y="5891"/>
                    </a:cubicBezTo>
                    <a:cubicBezTo>
                      <a:pt x="2129" y="6085"/>
                      <a:pt x="1753" y="5988"/>
                      <a:pt x="1502" y="5891"/>
                    </a:cubicBezTo>
                    <a:cubicBezTo>
                      <a:pt x="1253" y="5891"/>
                      <a:pt x="1378" y="5988"/>
                      <a:pt x="1378" y="6182"/>
                    </a:cubicBezTo>
                    <a:cubicBezTo>
                      <a:pt x="1378" y="6279"/>
                      <a:pt x="1753" y="6473"/>
                      <a:pt x="1753" y="6668"/>
                    </a:cubicBezTo>
                    <a:cubicBezTo>
                      <a:pt x="1879" y="6765"/>
                      <a:pt x="1753" y="6959"/>
                      <a:pt x="1502" y="6959"/>
                    </a:cubicBezTo>
                    <a:cubicBezTo>
                      <a:pt x="1253" y="7056"/>
                      <a:pt x="1253" y="7153"/>
                      <a:pt x="1002" y="7153"/>
                    </a:cubicBezTo>
                    <a:lnTo>
                      <a:pt x="1753" y="7541"/>
                    </a:lnTo>
                    <a:lnTo>
                      <a:pt x="3381" y="8318"/>
                    </a:lnTo>
                    <a:lnTo>
                      <a:pt x="3381" y="8609"/>
                    </a:lnTo>
                    <a:lnTo>
                      <a:pt x="3882" y="8512"/>
                    </a:lnTo>
                    <a:lnTo>
                      <a:pt x="3757" y="8318"/>
                    </a:lnTo>
                    <a:lnTo>
                      <a:pt x="4133" y="8124"/>
                    </a:lnTo>
                    <a:cubicBezTo>
                      <a:pt x="4049" y="7995"/>
                      <a:pt x="3966" y="7865"/>
                      <a:pt x="3882" y="7736"/>
                    </a:cubicBezTo>
                    <a:lnTo>
                      <a:pt x="4133" y="7541"/>
                    </a:lnTo>
                    <a:cubicBezTo>
                      <a:pt x="4175" y="7573"/>
                      <a:pt x="4216" y="7606"/>
                      <a:pt x="4258" y="7638"/>
                    </a:cubicBezTo>
                    <a:lnTo>
                      <a:pt x="4383" y="7638"/>
                    </a:lnTo>
                    <a:cubicBezTo>
                      <a:pt x="4341" y="7703"/>
                      <a:pt x="4300" y="7768"/>
                      <a:pt x="4258" y="7833"/>
                    </a:cubicBezTo>
                    <a:lnTo>
                      <a:pt x="4508" y="7930"/>
                    </a:lnTo>
                    <a:lnTo>
                      <a:pt x="4759" y="7736"/>
                    </a:lnTo>
                    <a:lnTo>
                      <a:pt x="5135" y="7833"/>
                    </a:lnTo>
                    <a:lnTo>
                      <a:pt x="5385" y="8124"/>
                    </a:lnTo>
                    <a:lnTo>
                      <a:pt x="5636" y="8124"/>
                    </a:lnTo>
                    <a:lnTo>
                      <a:pt x="5636" y="8415"/>
                    </a:lnTo>
                    <a:lnTo>
                      <a:pt x="5886" y="8609"/>
                    </a:lnTo>
                    <a:lnTo>
                      <a:pt x="6011" y="8609"/>
                    </a:lnTo>
                    <a:lnTo>
                      <a:pt x="6011" y="8998"/>
                    </a:lnTo>
                    <a:lnTo>
                      <a:pt x="6387" y="9289"/>
                    </a:lnTo>
                    <a:lnTo>
                      <a:pt x="6763" y="9386"/>
                    </a:lnTo>
                    <a:lnTo>
                      <a:pt x="6763" y="9580"/>
                    </a:lnTo>
                    <a:lnTo>
                      <a:pt x="6637" y="9677"/>
                    </a:lnTo>
                    <a:lnTo>
                      <a:pt x="6512" y="9871"/>
                    </a:lnTo>
                    <a:lnTo>
                      <a:pt x="6512" y="10066"/>
                    </a:lnTo>
                    <a:cubicBezTo>
                      <a:pt x="6554" y="10098"/>
                      <a:pt x="6595" y="10131"/>
                      <a:pt x="6637" y="10163"/>
                    </a:cubicBezTo>
                    <a:lnTo>
                      <a:pt x="6763" y="10454"/>
                    </a:lnTo>
                    <a:cubicBezTo>
                      <a:pt x="6888" y="10454"/>
                      <a:pt x="7014" y="10454"/>
                      <a:pt x="7138" y="10357"/>
                    </a:cubicBezTo>
                    <a:cubicBezTo>
                      <a:pt x="7263" y="10260"/>
                      <a:pt x="7639" y="10163"/>
                      <a:pt x="7764" y="10260"/>
                    </a:cubicBezTo>
                    <a:cubicBezTo>
                      <a:pt x="7890" y="10260"/>
                      <a:pt x="7890" y="10357"/>
                      <a:pt x="8015" y="10260"/>
                    </a:cubicBezTo>
                    <a:cubicBezTo>
                      <a:pt x="8265" y="10163"/>
                      <a:pt x="8391" y="10163"/>
                      <a:pt x="8516" y="10163"/>
                    </a:cubicBezTo>
                    <a:cubicBezTo>
                      <a:pt x="8766" y="10163"/>
                      <a:pt x="8766" y="10357"/>
                      <a:pt x="8766" y="10357"/>
                    </a:cubicBezTo>
                    <a:cubicBezTo>
                      <a:pt x="8766" y="10357"/>
                      <a:pt x="9017" y="10163"/>
                      <a:pt x="9017" y="9969"/>
                    </a:cubicBezTo>
                    <a:cubicBezTo>
                      <a:pt x="9142" y="9871"/>
                      <a:pt x="9017" y="9871"/>
                      <a:pt x="8891" y="9677"/>
                    </a:cubicBezTo>
                    <a:cubicBezTo>
                      <a:pt x="8766" y="9580"/>
                      <a:pt x="8766" y="9289"/>
                      <a:pt x="8766" y="8901"/>
                    </a:cubicBezTo>
                    <a:cubicBezTo>
                      <a:pt x="8891" y="8512"/>
                      <a:pt x="9268" y="8901"/>
                      <a:pt x="9392" y="8804"/>
                    </a:cubicBezTo>
                    <a:cubicBezTo>
                      <a:pt x="9518" y="8706"/>
                      <a:pt x="9769" y="8512"/>
                      <a:pt x="9893" y="8318"/>
                    </a:cubicBezTo>
                    <a:cubicBezTo>
                      <a:pt x="10144" y="8124"/>
                      <a:pt x="9893" y="8027"/>
                      <a:pt x="9769" y="7833"/>
                    </a:cubicBezTo>
                    <a:close/>
                  </a:path>
                </a:pathLst>
              </a:custGeom>
              <a:solidFill>
                <a:srgbClr val="73C375"/>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4" name="Freeform 213"/>
              <p:cNvSpPr>
                <a:spLocks/>
              </p:cNvSpPr>
              <p:nvPr/>
            </p:nvSpPr>
            <p:spPr bwMode="gray">
              <a:xfrm>
                <a:off x="5306903" y="4079077"/>
                <a:ext cx="139935" cy="192457"/>
              </a:xfrm>
              <a:custGeom>
                <a:avLst/>
                <a:gdLst>
                  <a:gd name="T0" fmla="*/ 28 w 30"/>
                  <a:gd name="T1" fmla="*/ 26 h 42"/>
                  <a:gd name="T2" fmla="*/ 28 w 30"/>
                  <a:gd name="T3" fmla="*/ 24 h 42"/>
                  <a:gd name="T4" fmla="*/ 29 w 30"/>
                  <a:gd name="T5" fmla="*/ 22 h 42"/>
                  <a:gd name="T6" fmla="*/ 30 w 30"/>
                  <a:gd name="T7" fmla="*/ 21 h 42"/>
                  <a:gd name="T8" fmla="*/ 30 w 30"/>
                  <a:gd name="T9" fmla="*/ 19 h 42"/>
                  <a:gd name="T10" fmla="*/ 27 w 30"/>
                  <a:gd name="T11" fmla="*/ 18 h 42"/>
                  <a:gd name="T12" fmla="*/ 24 w 30"/>
                  <a:gd name="T13" fmla="*/ 15 h 42"/>
                  <a:gd name="T14" fmla="*/ 24 w 30"/>
                  <a:gd name="T15" fmla="*/ 11 h 42"/>
                  <a:gd name="T16" fmla="*/ 23 w 30"/>
                  <a:gd name="T17" fmla="*/ 11 h 42"/>
                  <a:gd name="T18" fmla="*/ 21 w 30"/>
                  <a:gd name="T19" fmla="*/ 9 h 42"/>
                  <a:gd name="T20" fmla="*/ 21 w 30"/>
                  <a:gd name="T21" fmla="*/ 6 h 42"/>
                  <a:gd name="T22" fmla="*/ 19 w 30"/>
                  <a:gd name="T23" fmla="*/ 6 h 42"/>
                  <a:gd name="T24" fmla="*/ 17 w 30"/>
                  <a:gd name="T25" fmla="*/ 3 h 42"/>
                  <a:gd name="T26" fmla="*/ 14 w 30"/>
                  <a:gd name="T27" fmla="*/ 2 h 42"/>
                  <a:gd name="T28" fmla="*/ 12 w 30"/>
                  <a:gd name="T29" fmla="*/ 4 h 42"/>
                  <a:gd name="T30" fmla="*/ 10 w 30"/>
                  <a:gd name="T31" fmla="*/ 3 h 42"/>
                  <a:gd name="T32" fmla="*/ 11 w 30"/>
                  <a:gd name="T33" fmla="*/ 1 h 42"/>
                  <a:gd name="T34" fmla="*/ 10 w 30"/>
                  <a:gd name="T35" fmla="*/ 1 h 42"/>
                  <a:gd name="T36" fmla="*/ 9 w 30"/>
                  <a:gd name="T37" fmla="*/ 0 h 42"/>
                  <a:gd name="T38" fmla="*/ 7 w 30"/>
                  <a:gd name="T39" fmla="*/ 2 h 42"/>
                  <a:gd name="T40" fmla="*/ 9 w 30"/>
                  <a:gd name="T41" fmla="*/ 6 h 42"/>
                  <a:gd name="T42" fmla="*/ 6 w 30"/>
                  <a:gd name="T43" fmla="*/ 8 h 42"/>
                  <a:gd name="T44" fmla="*/ 7 w 30"/>
                  <a:gd name="T45" fmla="*/ 10 h 42"/>
                  <a:gd name="T46" fmla="*/ 3 w 30"/>
                  <a:gd name="T47" fmla="*/ 11 h 42"/>
                  <a:gd name="T48" fmla="*/ 0 w 30"/>
                  <a:gd name="T49" fmla="*/ 14 h 42"/>
                  <a:gd name="T50" fmla="*/ 3 w 30"/>
                  <a:gd name="T51" fmla="*/ 16 h 42"/>
                  <a:gd name="T52" fmla="*/ 3 w 30"/>
                  <a:gd name="T53" fmla="*/ 19 h 42"/>
                  <a:gd name="T54" fmla="*/ 4 w 30"/>
                  <a:gd name="T55" fmla="*/ 22 h 42"/>
                  <a:gd name="T56" fmla="*/ 6 w 30"/>
                  <a:gd name="T57" fmla="*/ 26 h 42"/>
                  <a:gd name="T58" fmla="*/ 8 w 30"/>
                  <a:gd name="T59" fmla="*/ 29 h 42"/>
                  <a:gd name="T60" fmla="*/ 12 w 30"/>
                  <a:gd name="T61" fmla="*/ 33 h 42"/>
                  <a:gd name="T62" fmla="*/ 13 w 30"/>
                  <a:gd name="T63" fmla="*/ 42 h 42"/>
                  <a:gd name="T64" fmla="*/ 15 w 30"/>
                  <a:gd name="T65" fmla="*/ 40 h 42"/>
                  <a:gd name="T66" fmla="*/ 17 w 30"/>
                  <a:gd name="T67" fmla="*/ 35 h 42"/>
                  <a:gd name="T68" fmla="*/ 21 w 30"/>
                  <a:gd name="T69" fmla="*/ 32 h 42"/>
                  <a:gd name="T70" fmla="*/ 24 w 30"/>
                  <a:gd name="T71" fmla="*/ 33 h 42"/>
                  <a:gd name="T72" fmla="*/ 26 w 30"/>
                  <a:gd name="T73" fmla="*/ 32 h 42"/>
                  <a:gd name="T74" fmla="*/ 30 w 30"/>
                  <a:gd name="T75" fmla="*/ 30 h 42"/>
                  <a:gd name="T76" fmla="*/ 29 w 30"/>
                  <a:gd name="T77" fmla="*/ 27 h 42"/>
                  <a:gd name="T78" fmla="*/ 28 w 30"/>
                  <a:gd name="T79" fmla="*/ 2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 h="42">
                    <a:moveTo>
                      <a:pt x="28" y="26"/>
                    </a:moveTo>
                    <a:cubicBezTo>
                      <a:pt x="28" y="24"/>
                      <a:pt x="28" y="24"/>
                      <a:pt x="28" y="24"/>
                    </a:cubicBezTo>
                    <a:cubicBezTo>
                      <a:pt x="29" y="22"/>
                      <a:pt x="29" y="22"/>
                      <a:pt x="29" y="22"/>
                    </a:cubicBezTo>
                    <a:cubicBezTo>
                      <a:pt x="30" y="21"/>
                      <a:pt x="30" y="21"/>
                      <a:pt x="30" y="21"/>
                    </a:cubicBezTo>
                    <a:cubicBezTo>
                      <a:pt x="30" y="19"/>
                      <a:pt x="30" y="19"/>
                      <a:pt x="30" y="19"/>
                    </a:cubicBezTo>
                    <a:cubicBezTo>
                      <a:pt x="27" y="18"/>
                      <a:pt x="27" y="18"/>
                      <a:pt x="27" y="18"/>
                    </a:cubicBezTo>
                    <a:cubicBezTo>
                      <a:pt x="24" y="15"/>
                      <a:pt x="24" y="15"/>
                      <a:pt x="24" y="15"/>
                    </a:cubicBezTo>
                    <a:cubicBezTo>
                      <a:pt x="24" y="11"/>
                      <a:pt x="24" y="11"/>
                      <a:pt x="24" y="11"/>
                    </a:cubicBezTo>
                    <a:cubicBezTo>
                      <a:pt x="23" y="11"/>
                      <a:pt x="23" y="11"/>
                      <a:pt x="23" y="11"/>
                    </a:cubicBezTo>
                    <a:cubicBezTo>
                      <a:pt x="21" y="9"/>
                      <a:pt x="21" y="9"/>
                      <a:pt x="21" y="9"/>
                    </a:cubicBezTo>
                    <a:cubicBezTo>
                      <a:pt x="21" y="6"/>
                      <a:pt x="21" y="6"/>
                      <a:pt x="21" y="6"/>
                    </a:cubicBezTo>
                    <a:cubicBezTo>
                      <a:pt x="19" y="6"/>
                      <a:pt x="19" y="6"/>
                      <a:pt x="19" y="6"/>
                    </a:cubicBezTo>
                    <a:cubicBezTo>
                      <a:pt x="17" y="3"/>
                      <a:pt x="17" y="3"/>
                      <a:pt x="17" y="3"/>
                    </a:cubicBezTo>
                    <a:cubicBezTo>
                      <a:pt x="14" y="2"/>
                      <a:pt x="14" y="2"/>
                      <a:pt x="14" y="2"/>
                    </a:cubicBezTo>
                    <a:cubicBezTo>
                      <a:pt x="12" y="4"/>
                      <a:pt x="12" y="4"/>
                      <a:pt x="12" y="4"/>
                    </a:cubicBezTo>
                    <a:cubicBezTo>
                      <a:pt x="10" y="3"/>
                      <a:pt x="10" y="3"/>
                      <a:pt x="10" y="3"/>
                    </a:cubicBezTo>
                    <a:cubicBezTo>
                      <a:pt x="11" y="1"/>
                      <a:pt x="11" y="1"/>
                      <a:pt x="11" y="1"/>
                    </a:cubicBezTo>
                    <a:cubicBezTo>
                      <a:pt x="10" y="1"/>
                      <a:pt x="10" y="1"/>
                      <a:pt x="10" y="1"/>
                    </a:cubicBezTo>
                    <a:cubicBezTo>
                      <a:pt x="9" y="0"/>
                      <a:pt x="9" y="0"/>
                      <a:pt x="9" y="0"/>
                    </a:cubicBezTo>
                    <a:cubicBezTo>
                      <a:pt x="7" y="2"/>
                      <a:pt x="7" y="2"/>
                      <a:pt x="7" y="2"/>
                    </a:cubicBezTo>
                    <a:cubicBezTo>
                      <a:pt x="9" y="6"/>
                      <a:pt x="9" y="6"/>
                      <a:pt x="9" y="6"/>
                    </a:cubicBezTo>
                    <a:cubicBezTo>
                      <a:pt x="6" y="8"/>
                      <a:pt x="6" y="8"/>
                      <a:pt x="6" y="8"/>
                    </a:cubicBezTo>
                    <a:cubicBezTo>
                      <a:pt x="7" y="10"/>
                      <a:pt x="7" y="10"/>
                      <a:pt x="7" y="10"/>
                    </a:cubicBezTo>
                    <a:cubicBezTo>
                      <a:pt x="3" y="11"/>
                      <a:pt x="3" y="11"/>
                      <a:pt x="3" y="11"/>
                    </a:cubicBezTo>
                    <a:cubicBezTo>
                      <a:pt x="0" y="14"/>
                      <a:pt x="0" y="14"/>
                      <a:pt x="0" y="14"/>
                    </a:cubicBezTo>
                    <a:cubicBezTo>
                      <a:pt x="3" y="16"/>
                      <a:pt x="3" y="16"/>
                      <a:pt x="3" y="16"/>
                    </a:cubicBezTo>
                    <a:cubicBezTo>
                      <a:pt x="3" y="19"/>
                      <a:pt x="3" y="19"/>
                      <a:pt x="3" y="19"/>
                    </a:cubicBezTo>
                    <a:cubicBezTo>
                      <a:pt x="4" y="17"/>
                      <a:pt x="3" y="21"/>
                      <a:pt x="4" y="22"/>
                    </a:cubicBezTo>
                    <a:cubicBezTo>
                      <a:pt x="5" y="24"/>
                      <a:pt x="6" y="24"/>
                      <a:pt x="6" y="26"/>
                    </a:cubicBezTo>
                    <a:cubicBezTo>
                      <a:pt x="6" y="28"/>
                      <a:pt x="7" y="28"/>
                      <a:pt x="8" y="29"/>
                    </a:cubicBezTo>
                    <a:cubicBezTo>
                      <a:pt x="10" y="30"/>
                      <a:pt x="12" y="31"/>
                      <a:pt x="12" y="33"/>
                    </a:cubicBezTo>
                    <a:cubicBezTo>
                      <a:pt x="13" y="35"/>
                      <a:pt x="13" y="42"/>
                      <a:pt x="13" y="42"/>
                    </a:cubicBezTo>
                    <a:cubicBezTo>
                      <a:pt x="14" y="41"/>
                      <a:pt x="14" y="40"/>
                      <a:pt x="15" y="40"/>
                    </a:cubicBezTo>
                    <a:cubicBezTo>
                      <a:pt x="16" y="38"/>
                      <a:pt x="16" y="35"/>
                      <a:pt x="17" y="35"/>
                    </a:cubicBezTo>
                    <a:cubicBezTo>
                      <a:pt x="18" y="35"/>
                      <a:pt x="20" y="33"/>
                      <a:pt x="21" y="32"/>
                    </a:cubicBezTo>
                    <a:cubicBezTo>
                      <a:pt x="22" y="31"/>
                      <a:pt x="23" y="32"/>
                      <a:pt x="24" y="33"/>
                    </a:cubicBezTo>
                    <a:cubicBezTo>
                      <a:pt x="24" y="35"/>
                      <a:pt x="25" y="33"/>
                      <a:pt x="26" y="32"/>
                    </a:cubicBezTo>
                    <a:cubicBezTo>
                      <a:pt x="27" y="30"/>
                      <a:pt x="29" y="29"/>
                      <a:pt x="30" y="30"/>
                    </a:cubicBezTo>
                    <a:cubicBezTo>
                      <a:pt x="29" y="27"/>
                      <a:pt x="29" y="27"/>
                      <a:pt x="29" y="27"/>
                    </a:cubicBezTo>
                    <a:lnTo>
                      <a:pt x="28" y="26"/>
                    </a:lnTo>
                    <a:close/>
                  </a:path>
                </a:pathLst>
              </a:custGeom>
              <a:solidFill>
                <a:schemeClr val="accent1">
                  <a:lumMod val="20000"/>
                  <a:lumOff val="80000"/>
                </a:schemeClr>
              </a:solidFill>
              <a:ln w="9525" cap="flat">
                <a:solidFill>
                  <a:schemeClr val="bg1"/>
                </a:solidFill>
                <a:prstDash val="solid"/>
                <a:miter lim="800000"/>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765" name="Freeform 9"/>
              <p:cNvSpPr>
                <a:spLocks/>
              </p:cNvSpPr>
              <p:nvPr/>
            </p:nvSpPr>
            <p:spPr bwMode="gray">
              <a:xfrm>
                <a:off x="6372085" y="3641632"/>
                <a:ext cx="349328" cy="203245"/>
              </a:xfrm>
              <a:custGeom>
                <a:avLst/>
                <a:gdLst>
                  <a:gd name="T0" fmla="*/ 0 w 220"/>
                  <a:gd name="T1" fmla="*/ 60 h 128"/>
                  <a:gd name="T2" fmla="*/ 14 w 220"/>
                  <a:gd name="T3" fmla="*/ 46 h 128"/>
                  <a:gd name="T4" fmla="*/ 34 w 220"/>
                  <a:gd name="T5" fmla="*/ 40 h 128"/>
                  <a:gd name="T6" fmla="*/ 48 w 220"/>
                  <a:gd name="T7" fmla="*/ 26 h 128"/>
                  <a:gd name="T8" fmla="*/ 56 w 220"/>
                  <a:gd name="T9" fmla="*/ 14 h 128"/>
                  <a:gd name="T10" fmla="*/ 62 w 220"/>
                  <a:gd name="T11" fmla="*/ 0 h 128"/>
                  <a:gd name="T12" fmla="*/ 70 w 220"/>
                  <a:gd name="T13" fmla="*/ 6 h 128"/>
                  <a:gd name="T14" fmla="*/ 76 w 220"/>
                  <a:gd name="T15" fmla="*/ 20 h 128"/>
                  <a:gd name="T16" fmla="*/ 88 w 220"/>
                  <a:gd name="T17" fmla="*/ 0 h 128"/>
                  <a:gd name="T18" fmla="*/ 104 w 220"/>
                  <a:gd name="T19" fmla="*/ 14 h 128"/>
                  <a:gd name="T20" fmla="*/ 104 w 220"/>
                  <a:gd name="T21" fmla="*/ 26 h 128"/>
                  <a:gd name="T22" fmla="*/ 116 w 220"/>
                  <a:gd name="T23" fmla="*/ 26 h 128"/>
                  <a:gd name="T24" fmla="*/ 122 w 220"/>
                  <a:gd name="T25" fmla="*/ 40 h 128"/>
                  <a:gd name="T26" fmla="*/ 144 w 220"/>
                  <a:gd name="T27" fmla="*/ 40 h 128"/>
                  <a:gd name="T28" fmla="*/ 172 w 220"/>
                  <a:gd name="T29" fmla="*/ 46 h 128"/>
                  <a:gd name="T30" fmla="*/ 184 w 220"/>
                  <a:gd name="T31" fmla="*/ 34 h 128"/>
                  <a:gd name="T32" fmla="*/ 212 w 220"/>
                  <a:gd name="T33" fmla="*/ 26 h 128"/>
                  <a:gd name="T34" fmla="*/ 220 w 220"/>
                  <a:gd name="T35" fmla="*/ 34 h 128"/>
                  <a:gd name="T36" fmla="*/ 212 w 220"/>
                  <a:gd name="T37" fmla="*/ 40 h 128"/>
                  <a:gd name="T38" fmla="*/ 220 w 220"/>
                  <a:gd name="T39" fmla="*/ 54 h 128"/>
                  <a:gd name="T40" fmla="*/ 192 w 220"/>
                  <a:gd name="T41" fmla="*/ 60 h 128"/>
                  <a:gd name="T42" fmla="*/ 178 w 220"/>
                  <a:gd name="T43" fmla="*/ 54 h 128"/>
                  <a:gd name="T44" fmla="*/ 150 w 220"/>
                  <a:gd name="T45" fmla="*/ 68 h 128"/>
                  <a:gd name="T46" fmla="*/ 144 w 220"/>
                  <a:gd name="T47" fmla="*/ 94 h 128"/>
                  <a:gd name="T48" fmla="*/ 136 w 220"/>
                  <a:gd name="T49" fmla="*/ 80 h 128"/>
                  <a:gd name="T50" fmla="*/ 116 w 220"/>
                  <a:gd name="T51" fmla="*/ 94 h 128"/>
                  <a:gd name="T52" fmla="*/ 104 w 220"/>
                  <a:gd name="T53" fmla="*/ 122 h 128"/>
                  <a:gd name="T54" fmla="*/ 76 w 220"/>
                  <a:gd name="T55" fmla="*/ 122 h 128"/>
                  <a:gd name="T56" fmla="*/ 56 w 220"/>
                  <a:gd name="T57" fmla="*/ 116 h 128"/>
                  <a:gd name="T58" fmla="*/ 56 w 220"/>
                  <a:gd name="T59" fmla="*/ 94 h 128"/>
                  <a:gd name="T60" fmla="*/ 56 w 220"/>
                  <a:gd name="T61" fmla="*/ 74 h 128"/>
                  <a:gd name="T62" fmla="*/ 48 w 220"/>
                  <a:gd name="T63" fmla="*/ 74 h 128"/>
                  <a:gd name="T64" fmla="*/ 28 w 220"/>
                  <a:gd name="T65" fmla="*/ 60 h 128"/>
                  <a:gd name="T66" fmla="*/ 14 w 220"/>
                  <a:gd name="T67" fmla="*/ 60 h 128"/>
                  <a:gd name="T68" fmla="*/ 0 w 220"/>
                  <a:gd name="T69" fmla="*/ 6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0" h="128">
                    <a:moveTo>
                      <a:pt x="0" y="68"/>
                    </a:moveTo>
                    <a:lnTo>
                      <a:pt x="0" y="60"/>
                    </a:lnTo>
                    <a:lnTo>
                      <a:pt x="14" y="54"/>
                    </a:lnTo>
                    <a:lnTo>
                      <a:pt x="14" y="46"/>
                    </a:lnTo>
                    <a:lnTo>
                      <a:pt x="20" y="40"/>
                    </a:lnTo>
                    <a:lnTo>
                      <a:pt x="34" y="40"/>
                    </a:lnTo>
                    <a:lnTo>
                      <a:pt x="34" y="34"/>
                    </a:lnTo>
                    <a:lnTo>
                      <a:pt x="48" y="26"/>
                    </a:lnTo>
                    <a:lnTo>
                      <a:pt x="56" y="20"/>
                    </a:lnTo>
                    <a:lnTo>
                      <a:pt x="56" y="14"/>
                    </a:lnTo>
                    <a:lnTo>
                      <a:pt x="56" y="0"/>
                    </a:lnTo>
                    <a:lnTo>
                      <a:pt x="62" y="0"/>
                    </a:lnTo>
                    <a:lnTo>
                      <a:pt x="62" y="6"/>
                    </a:lnTo>
                    <a:lnTo>
                      <a:pt x="70" y="6"/>
                    </a:lnTo>
                    <a:lnTo>
                      <a:pt x="76" y="14"/>
                    </a:lnTo>
                    <a:lnTo>
                      <a:pt x="76" y="20"/>
                    </a:lnTo>
                    <a:lnTo>
                      <a:pt x="82" y="14"/>
                    </a:lnTo>
                    <a:lnTo>
                      <a:pt x="88" y="0"/>
                    </a:lnTo>
                    <a:lnTo>
                      <a:pt x="96" y="6"/>
                    </a:lnTo>
                    <a:lnTo>
                      <a:pt x="104" y="14"/>
                    </a:lnTo>
                    <a:lnTo>
                      <a:pt x="104" y="20"/>
                    </a:lnTo>
                    <a:lnTo>
                      <a:pt x="104" y="26"/>
                    </a:lnTo>
                    <a:lnTo>
                      <a:pt x="110" y="26"/>
                    </a:lnTo>
                    <a:lnTo>
                      <a:pt x="116" y="26"/>
                    </a:lnTo>
                    <a:lnTo>
                      <a:pt x="116" y="34"/>
                    </a:lnTo>
                    <a:lnTo>
                      <a:pt x="122" y="40"/>
                    </a:lnTo>
                    <a:lnTo>
                      <a:pt x="136" y="34"/>
                    </a:lnTo>
                    <a:lnTo>
                      <a:pt x="144" y="40"/>
                    </a:lnTo>
                    <a:lnTo>
                      <a:pt x="144" y="46"/>
                    </a:lnTo>
                    <a:lnTo>
                      <a:pt x="172" y="46"/>
                    </a:lnTo>
                    <a:lnTo>
                      <a:pt x="178" y="40"/>
                    </a:lnTo>
                    <a:lnTo>
                      <a:pt x="184" y="34"/>
                    </a:lnTo>
                    <a:lnTo>
                      <a:pt x="198" y="26"/>
                    </a:lnTo>
                    <a:lnTo>
                      <a:pt x="212" y="26"/>
                    </a:lnTo>
                    <a:lnTo>
                      <a:pt x="220" y="26"/>
                    </a:lnTo>
                    <a:lnTo>
                      <a:pt x="220" y="34"/>
                    </a:lnTo>
                    <a:lnTo>
                      <a:pt x="212" y="34"/>
                    </a:lnTo>
                    <a:lnTo>
                      <a:pt x="212" y="40"/>
                    </a:lnTo>
                    <a:lnTo>
                      <a:pt x="220" y="46"/>
                    </a:lnTo>
                    <a:lnTo>
                      <a:pt x="220" y="54"/>
                    </a:lnTo>
                    <a:lnTo>
                      <a:pt x="206" y="60"/>
                    </a:lnTo>
                    <a:lnTo>
                      <a:pt x="192" y="60"/>
                    </a:lnTo>
                    <a:lnTo>
                      <a:pt x="178" y="60"/>
                    </a:lnTo>
                    <a:lnTo>
                      <a:pt x="178" y="54"/>
                    </a:lnTo>
                    <a:lnTo>
                      <a:pt x="164" y="54"/>
                    </a:lnTo>
                    <a:lnTo>
                      <a:pt x="150" y="68"/>
                    </a:lnTo>
                    <a:lnTo>
                      <a:pt x="150" y="74"/>
                    </a:lnTo>
                    <a:lnTo>
                      <a:pt x="144" y="94"/>
                    </a:lnTo>
                    <a:lnTo>
                      <a:pt x="136" y="88"/>
                    </a:lnTo>
                    <a:lnTo>
                      <a:pt x="136" y="80"/>
                    </a:lnTo>
                    <a:lnTo>
                      <a:pt x="122" y="88"/>
                    </a:lnTo>
                    <a:lnTo>
                      <a:pt x="116" y="94"/>
                    </a:lnTo>
                    <a:lnTo>
                      <a:pt x="110" y="102"/>
                    </a:lnTo>
                    <a:lnTo>
                      <a:pt x="104" y="122"/>
                    </a:lnTo>
                    <a:lnTo>
                      <a:pt x="82" y="128"/>
                    </a:lnTo>
                    <a:lnTo>
                      <a:pt x="76" y="122"/>
                    </a:lnTo>
                    <a:lnTo>
                      <a:pt x="56" y="122"/>
                    </a:lnTo>
                    <a:lnTo>
                      <a:pt x="56" y="116"/>
                    </a:lnTo>
                    <a:lnTo>
                      <a:pt x="62" y="108"/>
                    </a:lnTo>
                    <a:lnTo>
                      <a:pt x="56" y="94"/>
                    </a:lnTo>
                    <a:lnTo>
                      <a:pt x="62" y="88"/>
                    </a:lnTo>
                    <a:lnTo>
                      <a:pt x="56" y="74"/>
                    </a:lnTo>
                    <a:lnTo>
                      <a:pt x="56" y="68"/>
                    </a:lnTo>
                    <a:lnTo>
                      <a:pt x="48" y="74"/>
                    </a:lnTo>
                    <a:lnTo>
                      <a:pt x="34" y="68"/>
                    </a:lnTo>
                    <a:lnTo>
                      <a:pt x="28" y="60"/>
                    </a:lnTo>
                    <a:lnTo>
                      <a:pt x="20" y="60"/>
                    </a:lnTo>
                    <a:lnTo>
                      <a:pt x="14" y="60"/>
                    </a:lnTo>
                    <a:lnTo>
                      <a:pt x="0" y="68"/>
                    </a:lnTo>
                    <a:lnTo>
                      <a:pt x="0" y="68"/>
                    </a:lnTo>
                    <a:lnTo>
                      <a:pt x="0" y="68"/>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6" name="Freeform 10"/>
              <p:cNvSpPr>
                <a:spLocks/>
              </p:cNvSpPr>
              <p:nvPr/>
            </p:nvSpPr>
            <p:spPr bwMode="gray">
              <a:xfrm>
                <a:off x="5424137" y="2276078"/>
                <a:ext cx="101622" cy="63514"/>
              </a:xfrm>
              <a:custGeom>
                <a:avLst/>
                <a:gdLst>
                  <a:gd name="T0" fmla="*/ 22 w 64"/>
                  <a:gd name="T1" fmla="*/ 40 h 40"/>
                  <a:gd name="T2" fmla="*/ 28 w 64"/>
                  <a:gd name="T3" fmla="*/ 34 h 40"/>
                  <a:gd name="T4" fmla="*/ 28 w 64"/>
                  <a:gd name="T5" fmla="*/ 26 h 40"/>
                  <a:gd name="T6" fmla="*/ 42 w 64"/>
                  <a:gd name="T7" fmla="*/ 26 h 40"/>
                  <a:gd name="T8" fmla="*/ 50 w 64"/>
                  <a:gd name="T9" fmla="*/ 26 h 40"/>
                  <a:gd name="T10" fmla="*/ 50 w 64"/>
                  <a:gd name="T11" fmla="*/ 20 h 40"/>
                  <a:gd name="T12" fmla="*/ 56 w 64"/>
                  <a:gd name="T13" fmla="*/ 14 h 40"/>
                  <a:gd name="T14" fmla="*/ 64 w 64"/>
                  <a:gd name="T15" fmla="*/ 6 h 40"/>
                  <a:gd name="T16" fmla="*/ 50 w 64"/>
                  <a:gd name="T17" fmla="*/ 0 h 40"/>
                  <a:gd name="T18" fmla="*/ 28 w 64"/>
                  <a:gd name="T19" fmla="*/ 14 h 40"/>
                  <a:gd name="T20" fmla="*/ 22 w 64"/>
                  <a:gd name="T21" fmla="*/ 0 h 40"/>
                  <a:gd name="T22" fmla="*/ 14 w 64"/>
                  <a:gd name="T23" fmla="*/ 6 h 40"/>
                  <a:gd name="T24" fmla="*/ 14 w 64"/>
                  <a:gd name="T25" fmla="*/ 14 h 40"/>
                  <a:gd name="T26" fmla="*/ 14 w 64"/>
                  <a:gd name="T27" fmla="*/ 20 h 40"/>
                  <a:gd name="T28" fmla="*/ 0 w 64"/>
                  <a:gd name="T29" fmla="*/ 26 h 40"/>
                  <a:gd name="T30" fmla="*/ 6 w 64"/>
                  <a:gd name="T31" fmla="*/ 26 h 40"/>
                  <a:gd name="T32" fmla="*/ 14 w 64"/>
                  <a:gd name="T33" fmla="*/ 26 h 40"/>
                  <a:gd name="T34" fmla="*/ 22 w 64"/>
                  <a:gd name="T35" fmla="*/ 34 h 40"/>
                  <a:gd name="T36" fmla="*/ 22 w 64"/>
                  <a:gd name="T37" fmla="*/ 40 h 40"/>
                  <a:gd name="T38" fmla="*/ 22 w 64"/>
                  <a:gd name="T39" fmla="*/ 40 h 40"/>
                  <a:gd name="T40" fmla="*/ 22 w 64"/>
                  <a:gd name="T4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40">
                    <a:moveTo>
                      <a:pt x="22" y="40"/>
                    </a:moveTo>
                    <a:lnTo>
                      <a:pt x="28" y="34"/>
                    </a:lnTo>
                    <a:lnTo>
                      <a:pt x="28" y="26"/>
                    </a:lnTo>
                    <a:lnTo>
                      <a:pt x="42" y="26"/>
                    </a:lnTo>
                    <a:lnTo>
                      <a:pt x="50" y="26"/>
                    </a:lnTo>
                    <a:lnTo>
                      <a:pt x="50" y="20"/>
                    </a:lnTo>
                    <a:lnTo>
                      <a:pt x="56" y="14"/>
                    </a:lnTo>
                    <a:lnTo>
                      <a:pt x="64" y="6"/>
                    </a:lnTo>
                    <a:lnTo>
                      <a:pt x="50" y="0"/>
                    </a:lnTo>
                    <a:lnTo>
                      <a:pt x="28" y="14"/>
                    </a:lnTo>
                    <a:lnTo>
                      <a:pt x="22" y="0"/>
                    </a:lnTo>
                    <a:lnTo>
                      <a:pt x="14" y="6"/>
                    </a:lnTo>
                    <a:lnTo>
                      <a:pt x="14" y="14"/>
                    </a:lnTo>
                    <a:lnTo>
                      <a:pt x="14" y="20"/>
                    </a:lnTo>
                    <a:lnTo>
                      <a:pt x="0" y="26"/>
                    </a:lnTo>
                    <a:lnTo>
                      <a:pt x="6" y="26"/>
                    </a:lnTo>
                    <a:lnTo>
                      <a:pt x="14" y="26"/>
                    </a:lnTo>
                    <a:lnTo>
                      <a:pt x="22" y="34"/>
                    </a:lnTo>
                    <a:lnTo>
                      <a:pt x="22" y="40"/>
                    </a:lnTo>
                    <a:lnTo>
                      <a:pt x="22" y="40"/>
                    </a:lnTo>
                    <a:lnTo>
                      <a:pt x="22" y="40"/>
                    </a:lnTo>
                    <a:close/>
                  </a:path>
                </a:pathLst>
              </a:custGeom>
              <a:solidFill>
                <a:schemeClr val="accent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7" name="Freeform 11"/>
              <p:cNvSpPr>
                <a:spLocks/>
              </p:cNvSpPr>
              <p:nvPr/>
            </p:nvSpPr>
            <p:spPr bwMode="gray">
              <a:xfrm>
                <a:off x="5459069" y="2222092"/>
                <a:ext cx="44460" cy="41284"/>
              </a:xfrm>
              <a:custGeom>
                <a:avLst/>
                <a:gdLst>
                  <a:gd name="T0" fmla="*/ 14 w 28"/>
                  <a:gd name="T1" fmla="*/ 26 h 26"/>
                  <a:gd name="T2" fmla="*/ 14 w 28"/>
                  <a:gd name="T3" fmla="*/ 14 h 26"/>
                  <a:gd name="T4" fmla="*/ 8 w 28"/>
                  <a:gd name="T5" fmla="*/ 14 h 26"/>
                  <a:gd name="T6" fmla="*/ 0 w 28"/>
                  <a:gd name="T7" fmla="*/ 14 h 26"/>
                  <a:gd name="T8" fmla="*/ 0 w 28"/>
                  <a:gd name="T9" fmla="*/ 8 h 26"/>
                  <a:gd name="T10" fmla="*/ 8 w 28"/>
                  <a:gd name="T11" fmla="*/ 8 h 26"/>
                  <a:gd name="T12" fmla="*/ 14 w 28"/>
                  <a:gd name="T13" fmla="*/ 0 h 26"/>
                  <a:gd name="T14" fmla="*/ 28 w 28"/>
                  <a:gd name="T15" fmla="*/ 8 h 26"/>
                  <a:gd name="T16" fmla="*/ 28 w 28"/>
                  <a:gd name="T17" fmla="*/ 14 h 26"/>
                  <a:gd name="T18" fmla="*/ 20 w 28"/>
                  <a:gd name="T19" fmla="*/ 20 h 26"/>
                  <a:gd name="T20" fmla="*/ 14 w 28"/>
                  <a:gd name="T21" fmla="*/ 26 h 26"/>
                  <a:gd name="T22" fmla="*/ 14 w 28"/>
                  <a:gd name="T23" fmla="*/ 26 h 26"/>
                  <a:gd name="T24" fmla="*/ 14 w 28"/>
                  <a:gd name="T2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6">
                    <a:moveTo>
                      <a:pt x="14" y="26"/>
                    </a:moveTo>
                    <a:lnTo>
                      <a:pt x="14" y="14"/>
                    </a:lnTo>
                    <a:lnTo>
                      <a:pt x="8" y="14"/>
                    </a:lnTo>
                    <a:lnTo>
                      <a:pt x="0" y="14"/>
                    </a:lnTo>
                    <a:lnTo>
                      <a:pt x="0" y="8"/>
                    </a:lnTo>
                    <a:lnTo>
                      <a:pt x="8" y="8"/>
                    </a:lnTo>
                    <a:lnTo>
                      <a:pt x="14" y="0"/>
                    </a:lnTo>
                    <a:lnTo>
                      <a:pt x="28" y="8"/>
                    </a:lnTo>
                    <a:lnTo>
                      <a:pt x="28" y="14"/>
                    </a:lnTo>
                    <a:lnTo>
                      <a:pt x="20" y="20"/>
                    </a:lnTo>
                    <a:lnTo>
                      <a:pt x="14" y="26"/>
                    </a:lnTo>
                    <a:lnTo>
                      <a:pt x="14" y="26"/>
                    </a:lnTo>
                    <a:lnTo>
                      <a:pt x="14" y="26"/>
                    </a:lnTo>
                    <a:close/>
                  </a:path>
                </a:pathLst>
              </a:custGeom>
              <a:solidFill>
                <a:schemeClr val="accent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8" name="Freeform 12"/>
              <p:cNvSpPr>
                <a:spLocks/>
              </p:cNvSpPr>
              <p:nvPr/>
            </p:nvSpPr>
            <p:spPr bwMode="gray">
              <a:xfrm>
                <a:off x="6556276" y="780321"/>
                <a:ext cx="79393" cy="95271"/>
              </a:xfrm>
              <a:custGeom>
                <a:avLst/>
                <a:gdLst>
                  <a:gd name="T0" fmla="*/ 42 w 50"/>
                  <a:gd name="T1" fmla="*/ 60 h 60"/>
                  <a:gd name="T2" fmla="*/ 28 w 50"/>
                  <a:gd name="T3" fmla="*/ 54 h 60"/>
                  <a:gd name="T4" fmla="*/ 14 w 50"/>
                  <a:gd name="T5" fmla="*/ 46 h 60"/>
                  <a:gd name="T6" fmla="*/ 14 w 50"/>
                  <a:gd name="T7" fmla="*/ 40 h 60"/>
                  <a:gd name="T8" fmla="*/ 0 w 50"/>
                  <a:gd name="T9" fmla="*/ 32 h 60"/>
                  <a:gd name="T10" fmla="*/ 0 w 50"/>
                  <a:gd name="T11" fmla="*/ 18 h 60"/>
                  <a:gd name="T12" fmla="*/ 6 w 50"/>
                  <a:gd name="T13" fmla="*/ 6 h 60"/>
                  <a:gd name="T14" fmla="*/ 6 w 50"/>
                  <a:gd name="T15" fmla="*/ 0 h 60"/>
                  <a:gd name="T16" fmla="*/ 14 w 50"/>
                  <a:gd name="T17" fmla="*/ 0 h 60"/>
                  <a:gd name="T18" fmla="*/ 28 w 50"/>
                  <a:gd name="T19" fmla="*/ 6 h 60"/>
                  <a:gd name="T20" fmla="*/ 42 w 50"/>
                  <a:gd name="T21" fmla="*/ 6 h 60"/>
                  <a:gd name="T22" fmla="*/ 50 w 50"/>
                  <a:gd name="T23" fmla="*/ 18 h 60"/>
                  <a:gd name="T24" fmla="*/ 50 w 50"/>
                  <a:gd name="T25" fmla="*/ 26 h 60"/>
                  <a:gd name="T26" fmla="*/ 50 w 50"/>
                  <a:gd name="T27" fmla="*/ 32 h 60"/>
                  <a:gd name="T28" fmla="*/ 42 w 50"/>
                  <a:gd name="T29" fmla="*/ 46 h 60"/>
                  <a:gd name="T30" fmla="*/ 50 w 50"/>
                  <a:gd name="T31" fmla="*/ 54 h 60"/>
                  <a:gd name="T32" fmla="*/ 42 w 50"/>
                  <a:gd name="T33" fmla="*/ 60 h 60"/>
                  <a:gd name="T34" fmla="*/ 42 w 50"/>
                  <a:gd name="T35" fmla="*/ 60 h 60"/>
                  <a:gd name="T36" fmla="*/ 42 w 50"/>
                  <a:gd name="T3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 h="60">
                    <a:moveTo>
                      <a:pt x="42" y="60"/>
                    </a:moveTo>
                    <a:lnTo>
                      <a:pt x="28" y="54"/>
                    </a:lnTo>
                    <a:lnTo>
                      <a:pt x="14" y="46"/>
                    </a:lnTo>
                    <a:lnTo>
                      <a:pt x="14" y="40"/>
                    </a:lnTo>
                    <a:lnTo>
                      <a:pt x="0" y="32"/>
                    </a:lnTo>
                    <a:lnTo>
                      <a:pt x="0" y="18"/>
                    </a:lnTo>
                    <a:lnTo>
                      <a:pt x="6" y="6"/>
                    </a:lnTo>
                    <a:lnTo>
                      <a:pt x="6" y="0"/>
                    </a:lnTo>
                    <a:lnTo>
                      <a:pt x="14" y="0"/>
                    </a:lnTo>
                    <a:lnTo>
                      <a:pt x="28" y="6"/>
                    </a:lnTo>
                    <a:lnTo>
                      <a:pt x="42" y="6"/>
                    </a:lnTo>
                    <a:lnTo>
                      <a:pt x="50" y="18"/>
                    </a:lnTo>
                    <a:lnTo>
                      <a:pt x="50" y="26"/>
                    </a:lnTo>
                    <a:lnTo>
                      <a:pt x="50" y="32"/>
                    </a:lnTo>
                    <a:lnTo>
                      <a:pt x="42" y="46"/>
                    </a:lnTo>
                    <a:lnTo>
                      <a:pt x="50" y="54"/>
                    </a:lnTo>
                    <a:lnTo>
                      <a:pt x="42" y="60"/>
                    </a:lnTo>
                    <a:lnTo>
                      <a:pt x="42" y="60"/>
                    </a:lnTo>
                    <a:lnTo>
                      <a:pt x="42" y="6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69" name="Freeform 13"/>
              <p:cNvSpPr>
                <a:spLocks/>
              </p:cNvSpPr>
              <p:nvPr>
                <p:custDataLst>
                  <p:tags r:id="rId127"/>
                </p:custDataLst>
              </p:nvPr>
            </p:nvSpPr>
            <p:spPr bwMode="gray">
              <a:xfrm>
                <a:off x="5655963" y="484981"/>
                <a:ext cx="2697762" cy="3404356"/>
              </a:xfrm>
              <a:custGeom>
                <a:avLst/>
                <a:gdLst>
                  <a:gd name="T0" fmla="*/ 134 w 1699"/>
                  <a:gd name="T1" fmla="*/ 1276 h 2144"/>
                  <a:gd name="T2" fmla="*/ 253 w 1699"/>
                  <a:gd name="T3" fmla="*/ 1318 h 2144"/>
                  <a:gd name="T4" fmla="*/ 327 w 1699"/>
                  <a:gd name="T5" fmla="*/ 1434 h 2144"/>
                  <a:gd name="T6" fmla="*/ 321 w 1699"/>
                  <a:gd name="T7" fmla="*/ 1510 h 2144"/>
                  <a:gd name="T8" fmla="*/ 437 w 1699"/>
                  <a:gd name="T9" fmla="*/ 1544 h 2144"/>
                  <a:gd name="T10" fmla="*/ 533 w 1699"/>
                  <a:gd name="T11" fmla="*/ 1626 h 2144"/>
                  <a:gd name="T12" fmla="*/ 657 w 1699"/>
                  <a:gd name="T13" fmla="*/ 1666 h 2144"/>
                  <a:gd name="T14" fmla="*/ 768 w 1699"/>
                  <a:gd name="T15" fmla="*/ 1674 h 2144"/>
                  <a:gd name="T16" fmla="*/ 794 w 1699"/>
                  <a:gd name="T17" fmla="*/ 1762 h 2144"/>
                  <a:gd name="T18" fmla="*/ 768 w 1699"/>
                  <a:gd name="T19" fmla="*/ 1852 h 2144"/>
                  <a:gd name="T20" fmla="*/ 717 w 1699"/>
                  <a:gd name="T21" fmla="*/ 1926 h 2144"/>
                  <a:gd name="T22" fmla="*/ 717 w 1699"/>
                  <a:gd name="T23" fmla="*/ 1988 h 2144"/>
                  <a:gd name="T24" fmla="*/ 802 w 1699"/>
                  <a:gd name="T25" fmla="*/ 2062 h 2144"/>
                  <a:gd name="T26" fmla="*/ 952 w 1699"/>
                  <a:gd name="T27" fmla="*/ 2096 h 2144"/>
                  <a:gd name="T28" fmla="*/ 1122 w 1699"/>
                  <a:gd name="T29" fmla="*/ 2118 h 2144"/>
                  <a:gd name="T30" fmla="*/ 1226 w 1699"/>
                  <a:gd name="T31" fmla="*/ 2118 h 2144"/>
                  <a:gd name="T32" fmla="*/ 1383 w 1699"/>
                  <a:gd name="T33" fmla="*/ 2118 h 2144"/>
                  <a:gd name="T34" fmla="*/ 1274 w 1699"/>
                  <a:gd name="T35" fmla="*/ 1966 h 2144"/>
                  <a:gd name="T36" fmla="*/ 1232 w 1699"/>
                  <a:gd name="T37" fmla="*/ 1838 h 2144"/>
                  <a:gd name="T38" fmla="*/ 1266 w 1699"/>
                  <a:gd name="T39" fmla="*/ 1734 h 2144"/>
                  <a:gd name="T40" fmla="*/ 1130 w 1699"/>
                  <a:gd name="T41" fmla="*/ 1660 h 2144"/>
                  <a:gd name="T42" fmla="*/ 1122 w 1699"/>
                  <a:gd name="T43" fmla="*/ 1496 h 2144"/>
                  <a:gd name="T44" fmla="*/ 1190 w 1699"/>
                  <a:gd name="T45" fmla="*/ 1420 h 2144"/>
                  <a:gd name="T46" fmla="*/ 1308 w 1699"/>
                  <a:gd name="T47" fmla="*/ 1346 h 2144"/>
                  <a:gd name="T48" fmla="*/ 1411 w 1699"/>
                  <a:gd name="T49" fmla="*/ 1326 h 2144"/>
                  <a:gd name="T50" fmla="*/ 1535 w 1699"/>
                  <a:gd name="T51" fmla="*/ 1284 h 2144"/>
                  <a:gd name="T52" fmla="*/ 1649 w 1699"/>
                  <a:gd name="T53" fmla="*/ 1222 h 2144"/>
                  <a:gd name="T54" fmla="*/ 1581 w 1699"/>
                  <a:gd name="T55" fmla="*/ 1134 h 2144"/>
                  <a:gd name="T56" fmla="*/ 1487 w 1699"/>
                  <a:gd name="T57" fmla="*/ 1018 h 2144"/>
                  <a:gd name="T58" fmla="*/ 1391 w 1699"/>
                  <a:gd name="T59" fmla="*/ 992 h 2144"/>
                  <a:gd name="T60" fmla="*/ 1362 w 1699"/>
                  <a:gd name="T61" fmla="*/ 936 h 2144"/>
                  <a:gd name="T62" fmla="*/ 1300 w 1699"/>
                  <a:gd name="T63" fmla="*/ 794 h 2144"/>
                  <a:gd name="T64" fmla="*/ 1218 w 1699"/>
                  <a:gd name="T65" fmla="*/ 630 h 2144"/>
                  <a:gd name="T66" fmla="*/ 1102 w 1699"/>
                  <a:gd name="T67" fmla="*/ 458 h 2144"/>
                  <a:gd name="T68" fmla="*/ 1062 w 1699"/>
                  <a:gd name="T69" fmla="*/ 322 h 2144"/>
                  <a:gd name="T70" fmla="*/ 1068 w 1699"/>
                  <a:gd name="T71" fmla="*/ 62 h 2144"/>
                  <a:gd name="T72" fmla="*/ 966 w 1699"/>
                  <a:gd name="T73" fmla="*/ 36 h 2144"/>
                  <a:gd name="T74" fmla="*/ 864 w 1699"/>
                  <a:gd name="T75" fmla="*/ 68 h 2144"/>
                  <a:gd name="T76" fmla="*/ 822 w 1699"/>
                  <a:gd name="T77" fmla="*/ 124 h 2144"/>
                  <a:gd name="T78" fmla="*/ 733 w 1699"/>
                  <a:gd name="T79" fmla="*/ 240 h 2144"/>
                  <a:gd name="T80" fmla="*/ 697 w 1699"/>
                  <a:gd name="T81" fmla="*/ 212 h 2144"/>
                  <a:gd name="T82" fmla="*/ 635 w 1699"/>
                  <a:gd name="T83" fmla="*/ 322 h 2144"/>
                  <a:gd name="T84" fmla="*/ 533 w 1699"/>
                  <a:gd name="T85" fmla="*/ 348 h 2144"/>
                  <a:gd name="T86" fmla="*/ 471 w 1699"/>
                  <a:gd name="T87" fmla="*/ 302 h 2144"/>
                  <a:gd name="T88" fmla="*/ 539 w 1699"/>
                  <a:gd name="T89" fmla="*/ 410 h 2144"/>
                  <a:gd name="T90" fmla="*/ 505 w 1699"/>
                  <a:gd name="T91" fmla="*/ 458 h 2144"/>
                  <a:gd name="T92" fmla="*/ 465 w 1699"/>
                  <a:gd name="T93" fmla="*/ 582 h 2144"/>
                  <a:gd name="T94" fmla="*/ 443 w 1699"/>
                  <a:gd name="T95" fmla="*/ 622 h 2144"/>
                  <a:gd name="T96" fmla="*/ 389 w 1699"/>
                  <a:gd name="T97" fmla="*/ 636 h 2144"/>
                  <a:gd name="T98" fmla="*/ 287 w 1699"/>
                  <a:gd name="T99" fmla="*/ 642 h 2144"/>
                  <a:gd name="T100" fmla="*/ 225 w 1699"/>
                  <a:gd name="T101" fmla="*/ 540 h 2144"/>
                  <a:gd name="T102" fmla="*/ 185 w 1699"/>
                  <a:gd name="T103" fmla="*/ 480 h 2144"/>
                  <a:gd name="T104" fmla="*/ 327 w 1699"/>
                  <a:gd name="T105" fmla="*/ 506 h 2144"/>
                  <a:gd name="T106" fmla="*/ 437 w 1699"/>
                  <a:gd name="T107" fmla="*/ 466 h 2144"/>
                  <a:gd name="T108" fmla="*/ 349 w 1699"/>
                  <a:gd name="T109" fmla="*/ 362 h 2144"/>
                  <a:gd name="T110" fmla="*/ 151 w 1699"/>
                  <a:gd name="T111" fmla="*/ 322 h 2144"/>
                  <a:gd name="T112" fmla="*/ 14 w 1699"/>
                  <a:gd name="T113" fmla="*/ 366 h 2144"/>
                  <a:gd name="T114" fmla="*/ 88 w 1699"/>
                  <a:gd name="T115" fmla="*/ 614 h 2144"/>
                  <a:gd name="T116" fmla="*/ 185 w 1699"/>
                  <a:gd name="T117" fmla="*/ 792 h 2144"/>
                  <a:gd name="T118" fmla="*/ 134 w 1699"/>
                  <a:gd name="T119" fmla="*/ 984 h 2144"/>
                  <a:gd name="T120" fmla="*/ 134 w 1699"/>
                  <a:gd name="T121" fmla="*/ 1012 h 2144"/>
                  <a:gd name="T122" fmla="*/ 108 w 1699"/>
                  <a:gd name="T123" fmla="*/ 1106 h 2144"/>
                  <a:gd name="T124" fmla="*/ 100 w 1699"/>
                  <a:gd name="T125" fmla="*/ 1196 h 2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99" h="2144">
                    <a:moveTo>
                      <a:pt x="100" y="1196"/>
                    </a:moveTo>
                    <a:lnTo>
                      <a:pt x="100" y="1202"/>
                    </a:lnTo>
                    <a:lnTo>
                      <a:pt x="108" y="1202"/>
                    </a:lnTo>
                    <a:lnTo>
                      <a:pt x="108" y="1208"/>
                    </a:lnTo>
                    <a:lnTo>
                      <a:pt x="114" y="1202"/>
                    </a:lnTo>
                    <a:lnTo>
                      <a:pt x="122" y="1202"/>
                    </a:lnTo>
                    <a:lnTo>
                      <a:pt x="122" y="1216"/>
                    </a:lnTo>
                    <a:lnTo>
                      <a:pt x="122" y="1230"/>
                    </a:lnTo>
                    <a:lnTo>
                      <a:pt x="108" y="1230"/>
                    </a:lnTo>
                    <a:lnTo>
                      <a:pt x="114" y="1244"/>
                    </a:lnTo>
                    <a:lnTo>
                      <a:pt x="122" y="1244"/>
                    </a:lnTo>
                    <a:lnTo>
                      <a:pt x="128" y="1244"/>
                    </a:lnTo>
                    <a:lnTo>
                      <a:pt x="128" y="1250"/>
                    </a:lnTo>
                    <a:lnTo>
                      <a:pt x="134" y="1262"/>
                    </a:lnTo>
                    <a:lnTo>
                      <a:pt x="134" y="1276"/>
                    </a:lnTo>
                    <a:lnTo>
                      <a:pt x="143" y="1290"/>
                    </a:lnTo>
                    <a:lnTo>
                      <a:pt x="151" y="1290"/>
                    </a:lnTo>
                    <a:lnTo>
                      <a:pt x="157" y="1290"/>
                    </a:lnTo>
                    <a:lnTo>
                      <a:pt x="157" y="1298"/>
                    </a:lnTo>
                    <a:lnTo>
                      <a:pt x="171" y="1298"/>
                    </a:lnTo>
                    <a:lnTo>
                      <a:pt x="185" y="1298"/>
                    </a:lnTo>
                    <a:lnTo>
                      <a:pt x="197" y="1298"/>
                    </a:lnTo>
                    <a:lnTo>
                      <a:pt x="205" y="1304"/>
                    </a:lnTo>
                    <a:lnTo>
                      <a:pt x="205" y="1312"/>
                    </a:lnTo>
                    <a:lnTo>
                      <a:pt x="211" y="1312"/>
                    </a:lnTo>
                    <a:lnTo>
                      <a:pt x="225" y="1304"/>
                    </a:lnTo>
                    <a:lnTo>
                      <a:pt x="225" y="1298"/>
                    </a:lnTo>
                    <a:lnTo>
                      <a:pt x="233" y="1298"/>
                    </a:lnTo>
                    <a:lnTo>
                      <a:pt x="245" y="1304"/>
                    </a:lnTo>
                    <a:lnTo>
                      <a:pt x="253" y="1318"/>
                    </a:lnTo>
                    <a:lnTo>
                      <a:pt x="265" y="1318"/>
                    </a:lnTo>
                    <a:lnTo>
                      <a:pt x="265" y="1326"/>
                    </a:lnTo>
                    <a:lnTo>
                      <a:pt x="259" y="1332"/>
                    </a:lnTo>
                    <a:lnTo>
                      <a:pt x="259" y="1338"/>
                    </a:lnTo>
                    <a:lnTo>
                      <a:pt x="273" y="1360"/>
                    </a:lnTo>
                    <a:lnTo>
                      <a:pt x="281" y="1380"/>
                    </a:lnTo>
                    <a:lnTo>
                      <a:pt x="265" y="1386"/>
                    </a:lnTo>
                    <a:lnTo>
                      <a:pt x="287" y="1386"/>
                    </a:lnTo>
                    <a:lnTo>
                      <a:pt x="287" y="1394"/>
                    </a:lnTo>
                    <a:lnTo>
                      <a:pt x="287" y="1400"/>
                    </a:lnTo>
                    <a:lnTo>
                      <a:pt x="307" y="1406"/>
                    </a:lnTo>
                    <a:lnTo>
                      <a:pt x="315" y="1406"/>
                    </a:lnTo>
                    <a:lnTo>
                      <a:pt x="327" y="1414"/>
                    </a:lnTo>
                    <a:lnTo>
                      <a:pt x="327" y="1428"/>
                    </a:lnTo>
                    <a:lnTo>
                      <a:pt x="327" y="1434"/>
                    </a:lnTo>
                    <a:lnTo>
                      <a:pt x="341" y="1434"/>
                    </a:lnTo>
                    <a:lnTo>
                      <a:pt x="349" y="1434"/>
                    </a:lnTo>
                    <a:lnTo>
                      <a:pt x="361" y="1434"/>
                    </a:lnTo>
                    <a:lnTo>
                      <a:pt x="361" y="1448"/>
                    </a:lnTo>
                    <a:lnTo>
                      <a:pt x="375" y="1448"/>
                    </a:lnTo>
                    <a:lnTo>
                      <a:pt x="383" y="1462"/>
                    </a:lnTo>
                    <a:lnTo>
                      <a:pt x="375" y="1468"/>
                    </a:lnTo>
                    <a:lnTo>
                      <a:pt x="369" y="1476"/>
                    </a:lnTo>
                    <a:lnTo>
                      <a:pt x="361" y="1482"/>
                    </a:lnTo>
                    <a:lnTo>
                      <a:pt x="349" y="1490"/>
                    </a:lnTo>
                    <a:lnTo>
                      <a:pt x="341" y="1496"/>
                    </a:lnTo>
                    <a:lnTo>
                      <a:pt x="327" y="1490"/>
                    </a:lnTo>
                    <a:lnTo>
                      <a:pt x="321" y="1490"/>
                    </a:lnTo>
                    <a:lnTo>
                      <a:pt x="321" y="1496"/>
                    </a:lnTo>
                    <a:lnTo>
                      <a:pt x="321" y="1510"/>
                    </a:lnTo>
                    <a:lnTo>
                      <a:pt x="321" y="1516"/>
                    </a:lnTo>
                    <a:lnTo>
                      <a:pt x="327" y="1530"/>
                    </a:lnTo>
                    <a:lnTo>
                      <a:pt x="335" y="1544"/>
                    </a:lnTo>
                    <a:lnTo>
                      <a:pt x="335" y="1552"/>
                    </a:lnTo>
                    <a:lnTo>
                      <a:pt x="341" y="1558"/>
                    </a:lnTo>
                    <a:lnTo>
                      <a:pt x="355" y="1564"/>
                    </a:lnTo>
                    <a:lnTo>
                      <a:pt x="355" y="1558"/>
                    </a:lnTo>
                    <a:lnTo>
                      <a:pt x="369" y="1552"/>
                    </a:lnTo>
                    <a:lnTo>
                      <a:pt x="375" y="1558"/>
                    </a:lnTo>
                    <a:lnTo>
                      <a:pt x="389" y="1552"/>
                    </a:lnTo>
                    <a:lnTo>
                      <a:pt x="397" y="1552"/>
                    </a:lnTo>
                    <a:lnTo>
                      <a:pt x="403" y="1544"/>
                    </a:lnTo>
                    <a:lnTo>
                      <a:pt x="409" y="1544"/>
                    </a:lnTo>
                    <a:lnTo>
                      <a:pt x="423" y="1552"/>
                    </a:lnTo>
                    <a:lnTo>
                      <a:pt x="437" y="1544"/>
                    </a:lnTo>
                    <a:lnTo>
                      <a:pt x="443" y="1544"/>
                    </a:lnTo>
                    <a:lnTo>
                      <a:pt x="451" y="1552"/>
                    </a:lnTo>
                    <a:lnTo>
                      <a:pt x="459" y="1564"/>
                    </a:lnTo>
                    <a:lnTo>
                      <a:pt x="465" y="1570"/>
                    </a:lnTo>
                    <a:lnTo>
                      <a:pt x="465" y="1584"/>
                    </a:lnTo>
                    <a:lnTo>
                      <a:pt x="465" y="1598"/>
                    </a:lnTo>
                    <a:lnTo>
                      <a:pt x="465" y="1606"/>
                    </a:lnTo>
                    <a:lnTo>
                      <a:pt x="479" y="1606"/>
                    </a:lnTo>
                    <a:lnTo>
                      <a:pt x="499" y="1606"/>
                    </a:lnTo>
                    <a:lnTo>
                      <a:pt x="505" y="1598"/>
                    </a:lnTo>
                    <a:lnTo>
                      <a:pt x="511" y="1598"/>
                    </a:lnTo>
                    <a:lnTo>
                      <a:pt x="511" y="1606"/>
                    </a:lnTo>
                    <a:lnTo>
                      <a:pt x="521" y="1620"/>
                    </a:lnTo>
                    <a:lnTo>
                      <a:pt x="533" y="1620"/>
                    </a:lnTo>
                    <a:lnTo>
                      <a:pt x="533" y="1626"/>
                    </a:lnTo>
                    <a:lnTo>
                      <a:pt x="539" y="1646"/>
                    </a:lnTo>
                    <a:lnTo>
                      <a:pt x="539" y="1652"/>
                    </a:lnTo>
                    <a:lnTo>
                      <a:pt x="547" y="1652"/>
                    </a:lnTo>
                    <a:lnTo>
                      <a:pt x="561" y="1652"/>
                    </a:lnTo>
                    <a:lnTo>
                      <a:pt x="567" y="1652"/>
                    </a:lnTo>
                    <a:lnTo>
                      <a:pt x="573" y="1660"/>
                    </a:lnTo>
                    <a:lnTo>
                      <a:pt x="581" y="1652"/>
                    </a:lnTo>
                    <a:lnTo>
                      <a:pt x="587" y="1660"/>
                    </a:lnTo>
                    <a:lnTo>
                      <a:pt x="595" y="1660"/>
                    </a:lnTo>
                    <a:lnTo>
                      <a:pt x="601" y="1652"/>
                    </a:lnTo>
                    <a:lnTo>
                      <a:pt x="615" y="1640"/>
                    </a:lnTo>
                    <a:lnTo>
                      <a:pt x="629" y="1640"/>
                    </a:lnTo>
                    <a:lnTo>
                      <a:pt x="629" y="1646"/>
                    </a:lnTo>
                    <a:lnTo>
                      <a:pt x="635" y="1652"/>
                    </a:lnTo>
                    <a:lnTo>
                      <a:pt x="657" y="1666"/>
                    </a:lnTo>
                    <a:lnTo>
                      <a:pt x="671" y="1660"/>
                    </a:lnTo>
                    <a:lnTo>
                      <a:pt x="671" y="1652"/>
                    </a:lnTo>
                    <a:lnTo>
                      <a:pt x="677" y="1660"/>
                    </a:lnTo>
                    <a:lnTo>
                      <a:pt x="683" y="1666"/>
                    </a:lnTo>
                    <a:lnTo>
                      <a:pt x="697" y="1660"/>
                    </a:lnTo>
                    <a:lnTo>
                      <a:pt x="697" y="1666"/>
                    </a:lnTo>
                    <a:lnTo>
                      <a:pt x="711" y="1666"/>
                    </a:lnTo>
                    <a:lnTo>
                      <a:pt x="711" y="1660"/>
                    </a:lnTo>
                    <a:lnTo>
                      <a:pt x="725" y="1660"/>
                    </a:lnTo>
                    <a:lnTo>
                      <a:pt x="733" y="1660"/>
                    </a:lnTo>
                    <a:lnTo>
                      <a:pt x="733" y="1666"/>
                    </a:lnTo>
                    <a:lnTo>
                      <a:pt x="739" y="1674"/>
                    </a:lnTo>
                    <a:lnTo>
                      <a:pt x="739" y="1666"/>
                    </a:lnTo>
                    <a:lnTo>
                      <a:pt x="751" y="1666"/>
                    </a:lnTo>
                    <a:lnTo>
                      <a:pt x="768" y="1674"/>
                    </a:lnTo>
                    <a:lnTo>
                      <a:pt x="780" y="1674"/>
                    </a:lnTo>
                    <a:lnTo>
                      <a:pt x="788" y="1666"/>
                    </a:lnTo>
                    <a:lnTo>
                      <a:pt x="794" y="1666"/>
                    </a:lnTo>
                    <a:lnTo>
                      <a:pt x="794" y="1688"/>
                    </a:lnTo>
                    <a:lnTo>
                      <a:pt x="788" y="1694"/>
                    </a:lnTo>
                    <a:lnTo>
                      <a:pt x="774" y="1700"/>
                    </a:lnTo>
                    <a:lnTo>
                      <a:pt x="768" y="1708"/>
                    </a:lnTo>
                    <a:lnTo>
                      <a:pt x="774" y="1714"/>
                    </a:lnTo>
                    <a:lnTo>
                      <a:pt x="788" y="1714"/>
                    </a:lnTo>
                    <a:lnTo>
                      <a:pt x="788" y="1720"/>
                    </a:lnTo>
                    <a:lnTo>
                      <a:pt x="780" y="1728"/>
                    </a:lnTo>
                    <a:lnTo>
                      <a:pt x="774" y="1734"/>
                    </a:lnTo>
                    <a:lnTo>
                      <a:pt x="774" y="1740"/>
                    </a:lnTo>
                    <a:lnTo>
                      <a:pt x="780" y="1740"/>
                    </a:lnTo>
                    <a:lnTo>
                      <a:pt x="794" y="1762"/>
                    </a:lnTo>
                    <a:lnTo>
                      <a:pt x="794" y="1782"/>
                    </a:lnTo>
                    <a:lnTo>
                      <a:pt x="788" y="1804"/>
                    </a:lnTo>
                    <a:lnTo>
                      <a:pt x="774" y="1804"/>
                    </a:lnTo>
                    <a:lnTo>
                      <a:pt x="751" y="1804"/>
                    </a:lnTo>
                    <a:lnTo>
                      <a:pt x="745" y="1810"/>
                    </a:lnTo>
                    <a:lnTo>
                      <a:pt x="739" y="1830"/>
                    </a:lnTo>
                    <a:lnTo>
                      <a:pt x="717" y="1838"/>
                    </a:lnTo>
                    <a:lnTo>
                      <a:pt x="717" y="1870"/>
                    </a:lnTo>
                    <a:lnTo>
                      <a:pt x="725" y="1864"/>
                    </a:lnTo>
                    <a:lnTo>
                      <a:pt x="733" y="1864"/>
                    </a:lnTo>
                    <a:lnTo>
                      <a:pt x="739" y="1858"/>
                    </a:lnTo>
                    <a:lnTo>
                      <a:pt x="739" y="1870"/>
                    </a:lnTo>
                    <a:lnTo>
                      <a:pt x="745" y="1870"/>
                    </a:lnTo>
                    <a:lnTo>
                      <a:pt x="760" y="1858"/>
                    </a:lnTo>
                    <a:lnTo>
                      <a:pt x="768" y="1852"/>
                    </a:lnTo>
                    <a:lnTo>
                      <a:pt x="780" y="1852"/>
                    </a:lnTo>
                    <a:lnTo>
                      <a:pt x="780" y="1864"/>
                    </a:lnTo>
                    <a:lnTo>
                      <a:pt x="780" y="1870"/>
                    </a:lnTo>
                    <a:lnTo>
                      <a:pt x="768" y="1878"/>
                    </a:lnTo>
                    <a:lnTo>
                      <a:pt x="751" y="1884"/>
                    </a:lnTo>
                    <a:lnTo>
                      <a:pt x="745" y="1892"/>
                    </a:lnTo>
                    <a:lnTo>
                      <a:pt x="751" y="1898"/>
                    </a:lnTo>
                    <a:lnTo>
                      <a:pt x="760" y="1906"/>
                    </a:lnTo>
                    <a:lnTo>
                      <a:pt x="745" y="1912"/>
                    </a:lnTo>
                    <a:lnTo>
                      <a:pt x="733" y="1906"/>
                    </a:lnTo>
                    <a:lnTo>
                      <a:pt x="725" y="1906"/>
                    </a:lnTo>
                    <a:lnTo>
                      <a:pt x="717" y="1912"/>
                    </a:lnTo>
                    <a:lnTo>
                      <a:pt x="711" y="1912"/>
                    </a:lnTo>
                    <a:lnTo>
                      <a:pt x="711" y="1918"/>
                    </a:lnTo>
                    <a:lnTo>
                      <a:pt x="717" y="1926"/>
                    </a:lnTo>
                    <a:lnTo>
                      <a:pt x="739" y="1926"/>
                    </a:lnTo>
                    <a:lnTo>
                      <a:pt x="745" y="1932"/>
                    </a:lnTo>
                    <a:lnTo>
                      <a:pt x="745" y="1940"/>
                    </a:lnTo>
                    <a:lnTo>
                      <a:pt x="768" y="1946"/>
                    </a:lnTo>
                    <a:lnTo>
                      <a:pt x="760" y="1946"/>
                    </a:lnTo>
                    <a:lnTo>
                      <a:pt x="751" y="1954"/>
                    </a:lnTo>
                    <a:lnTo>
                      <a:pt x="745" y="1946"/>
                    </a:lnTo>
                    <a:lnTo>
                      <a:pt x="745" y="1960"/>
                    </a:lnTo>
                    <a:lnTo>
                      <a:pt x="751" y="1966"/>
                    </a:lnTo>
                    <a:lnTo>
                      <a:pt x="745" y="1974"/>
                    </a:lnTo>
                    <a:lnTo>
                      <a:pt x="739" y="1966"/>
                    </a:lnTo>
                    <a:lnTo>
                      <a:pt x="733" y="1960"/>
                    </a:lnTo>
                    <a:lnTo>
                      <a:pt x="725" y="1966"/>
                    </a:lnTo>
                    <a:lnTo>
                      <a:pt x="725" y="1980"/>
                    </a:lnTo>
                    <a:lnTo>
                      <a:pt x="717" y="1988"/>
                    </a:lnTo>
                    <a:lnTo>
                      <a:pt x="725" y="1994"/>
                    </a:lnTo>
                    <a:lnTo>
                      <a:pt x="725" y="2008"/>
                    </a:lnTo>
                    <a:lnTo>
                      <a:pt x="711" y="2008"/>
                    </a:lnTo>
                    <a:lnTo>
                      <a:pt x="705" y="2028"/>
                    </a:lnTo>
                    <a:lnTo>
                      <a:pt x="705" y="2034"/>
                    </a:lnTo>
                    <a:lnTo>
                      <a:pt x="717" y="2042"/>
                    </a:lnTo>
                    <a:lnTo>
                      <a:pt x="733" y="2048"/>
                    </a:lnTo>
                    <a:lnTo>
                      <a:pt x="739" y="2048"/>
                    </a:lnTo>
                    <a:lnTo>
                      <a:pt x="751" y="2048"/>
                    </a:lnTo>
                    <a:lnTo>
                      <a:pt x="760" y="2056"/>
                    </a:lnTo>
                    <a:lnTo>
                      <a:pt x="760" y="2062"/>
                    </a:lnTo>
                    <a:lnTo>
                      <a:pt x="774" y="2062"/>
                    </a:lnTo>
                    <a:lnTo>
                      <a:pt x="780" y="2056"/>
                    </a:lnTo>
                    <a:lnTo>
                      <a:pt x="788" y="2062"/>
                    </a:lnTo>
                    <a:lnTo>
                      <a:pt x="802" y="2062"/>
                    </a:lnTo>
                    <a:lnTo>
                      <a:pt x="802" y="2070"/>
                    </a:lnTo>
                    <a:lnTo>
                      <a:pt x="816" y="2076"/>
                    </a:lnTo>
                    <a:lnTo>
                      <a:pt x="828" y="2076"/>
                    </a:lnTo>
                    <a:lnTo>
                      <a:pt x="836" y="2082"/>
                    </a:lnTo>
                    <a:lnTo>
                      <a:pt x="842" y="2090"/>
                    </a:lnTo>
                    <a:lnTo>
                      <a:pt x="856" y="2090"/>
                    </a:lnTo>
                    <a:lnTo>
                      <a:pt x="876" y="2118"/>
                    </a:lnTo>
                    <a:lnTo>
                      <a:pt x="884" y="2104"/>
                    </a:lnTo>
                    <a:lnTo>
                      <a:pt x="890" y="2104"/>
                    </a:lnTo>
                    <a:lnTo>
                      <a:pt x="904" y="2104"/>
                    </a:lnTo>
                    <a:lnTo>
                      <a:pt x="910" y="2096"/>
                    </a:lnTo>
                    <a:lnTo>
                      <a:pt x="918" y="2082"/>
                    </a:lnTo>
                    <a:lnTo>
                      <a:pt x="932" y="2090"/>
                    </a:lnTo>
                    <a:lnTo>
                      <a:pt x="944" y="2096"/>
                    </a:lnTo>
                    <a:lnTo>
                      <a:pt x="952" y="2096"/>
                    </a:lnTo>
                    <a:lnTo>
                      <a:pt x="980" y="2096"/>
                    </a:lnTo>
                    <a:lnTo>
                      <a:pt x="986" y="2104"/>
                    </a:lnTo>
                    <a:lnTo>
                      <a:pt x="994" y="2104"/>
                    </a:lnTo>
                    <a:lnTo>
                      <a:pt x="1006" y="2104"/>
                    </a:lnTo>
                    <a:lnTo>
                      <a:pt x="1020" y="2104"/>
                    </a:lnTo>
                    <a:lnTo>
                      <a:pt x="1040" y="2096"/>
                    </a:lnTo>
                    <a:lnTo>
                      <a:pt x="1046" y="2096"/>
                    </a:lnTo>
                    <a:lnTo>
                      <a:pt x="1054" y="2104"/>
                    </a:lnTo>
                    <a:lnTo>
                      <a:pt x="1074" y="2104"/>
                    </a:lnTo>
                    <a:lnTo>
                      <a:pt x="1088" y="2104"/>
                    </a:lnTo>
                    <a:lnTo>
                      <a:pt x="1096" y="2104"/>
                    </a:lnTo>
                    <a:lnTo>
                      <a:pt x="1102" y="2110"/>
                    </a:lnTo>
                    <a:lnTo>
                      <a:pt x="1096" y="2118"/>
                    </a:lnTo>
                    <a:lnTo>
                      <a:pt x="1110" y="2118"/>
                    </a:lnTo>
                    <a:lnTo>
                      <a:pt x="1122" y="2118"/>
                    </a:lnTo>
                    <a:lnTo>
                      <a:pt x="1130" y="2110"/>
                    </a:lnTo>
                    <a:lnTo>
                      <a:pt x="1142" y="2104"/>
                    </a:lnTo>
                    <a:lnTo>
                      <a:pt x="1158" y="2110"/>
                    </a:lnTo>
                    <a:lnTo>
                      <a:pt x="1164" y="2110"/>
                    </a:lnTo>
                    <a:lnTo>
                      <a:pt x="1170" y="2104"/>
                    </a:lnTo>
                    <a:lnTo>
                      <a:pt x="1170" y="2096"/>
                    </a:lnTo>
                    <a:lnTo>
                      <a:pt x="1178" y="2096"/>
                    </a:lnTo>
                    <a:lnTo>
                      <a:pt x="1184" y="2096"/>
                    </a:lnTo>
                    <a:lnTo>
                      <a:pt x="1184" y="2110"/>
                    </a:lnTo>
                    <a:lnTo>
                      <a:pt x="1198" y="2104"/>
                    </a:lnTo>
                    <a:lnTo>
                      <a:pt x="1198" y="2096"/>
                    </a:lnTo>
                    <a:lnTo>
                      <a:pt x="1212" y="2096"/>
                    </a:lnTo>
                    <a:lnTo>
                      <a:pt x="1226" y="2104"/>
                    </a:lnTo>
                    <a:lnTo>
                      <a:pt x="1226" y="2110"/>
                    </a:lnTo>
                    <a:lnTo>
                      <a:pt x="1226" y="2118"/>
                    </a:lnTo>
                    <a:lnTo>
                      <a:pt x="1232" y="2124"/>
                    </a:lnTo>
                    <a:lnTo>
                      <a:pt x="1246" y="2118"/>
                    </a:lnTo>
                    <a:lnTo>
                      <a:pt x="1252" y="2118"/>
                    </a:lnTo>
                    <a:lnTo>
                      <a:pt x="1274" y="2124"/>
                    </a:lnTo>
                    <a:lnTo>
                      <a:pt x="1294" y="2124"/>
                    </a:lnTo>
                    <a:lnTo>
                      <a:pt x="1300" y="2124"/>
                    </a:lnTo>
                    <a:lnTo>
                      <a:pt x="1314" y="2138"/>
                    </a:lnTo>
                    <a:lnTo>
                      <a:pt x="1328" y="2144"/>
                    </a:lnTo>
                    <a:lnTo>
                      <a:pt x="1342" y="2144"/>
                    </a:lnTo>
                    <a:lnTo>
                      <a:pt x="1348" y="2144"/>
                    </a:lnTo>
                    <a:lnTo>
                      <a:pt x="1362" y="2138"/>
                    </a:lnTo>
                    <a:lnTo>
                      <a:pt x="1370" y="2124"/>
                    </a:lnTo>
                    <a:lnTo>
                      <a:pt x="1362" y="2118"/>
                    </a:lnTo>
                    <a:lnTo>
                      <a:pt x="1377" y="2118"/>
                    </a:lnTo>
                    <a:lnTo>
                      <a:pt x="1383" y="2118"/>
                    </a:lnTo>
                    <a:lnTo>
                      <a:pt x="1383" y="2104"/>
                    </a:lnTo>
                    <a:lnTo>
                      <a:pt x="1391" y="2090"/>
                    </a:lnTo>
                    <a:lnTo>
                      <a:pt x="1383" y="2090"/>
                    </a:lnTo>
                    <a:lnTo>
                      <a:pt x="1370" y="2082"/>
                    </a:lnTo>
                    <a:lnTo>
                      <a:pt x="1356" y="2076"/>
                    </a:lnTo>
                    <a:lnTo>
                      <a:pt x="1348" y="2070"/>
                    </a:lnTo>
                    <a:lnTo>
                      <a:pt x="1328" y="2056"/>
                    </a:lnTo>
                    <a:lnTo>
                      <a:pt x="1314" y="2048"/>
                    </a:lnTo>
                    <a:lnTo>
                      <a:pt x="1300" y="2034"/>
                    </a:lnTo>
                    <a:lnTo>
                      <a:pt x="1300" y="2008"/>
                    </a:lnTo>
                    <a:lnTo>
                      <a:pt x="1294" y="2002"/>
                    </a:lnTo>
                    <a:lnTo>
                      <a:pt x="1286" y="1994"/>
                    </a:lnTo>
                    <a:lnTo>
                      <a:pt x="1286" y="1980"/>
                    </a:lnTo>
                    <a:lnTo>
                      <a:pt x="1280" y="1966"/>
                    </a:lnTo>
                    <a:lnTo>
                      <a:pt x="1274" y="1966"/>
                    </a:lnTo>
                    <a:lnTo>
                      <a:pt x="1274" y="1960"/>
                    </a:lnTo>
                    <a:lnTo>
                      <a:pt x="1260" y="1954"/>
                    </a:lnTo>
                    <a:lnTo>
                      <a:pt x="1240" y="1940"/>
                    </a:lnTo>
                    <a:lnTo>
                      <a:pt x="1240" y="1946"/>
                    </a:lnTo>
                    <a:lnTo>
                      <a:pt x="1232" y="1954"/>
                    </a:lnTo>
                    <a:lnTo>
                      <a:pt x="1226" y="1946"/>
                    </a:lnTo>
                    <a:lnTo>
                      <a:pt x="1212" y="1940"/>
                    </a:lnTo>
                    <a:lnTo>
                      <a:pt x="1218" y="1912"/>
                    </a:lnTo>
                    <a:lnTo>
                      <a:pt x="1218" y="1906"/>
                    </a:lnTo>
                    <a:lnTo>
                      <a:pt x="1226" y="1898"/>
                    </a:lnTo>
                    <a:lnTo>
                      <a:pt x="1226" y="1884"/>
                    </a:lnTo>
                    <a:lnTo>
                      <a:pt x="1232" y="1878"/>
                    </a:lnTo>
                    <a:lnTo>
                      <a:pt x="1226" y="1870"/>
                    </a:lnTo>
                    <a:lnTo>
                      <a:pt x="1226" y="1852"/>
                    </a:lnTo>
                    <a:lnTo>
                      <a:pt x="1232" y="1838"/>
                    </a:lnTo>
                    <a:lnTo>
                      <a:pt x="1232" y="1824"/>
                    </a:lnTo>
                    <a:lnTo>
                      <a:pt x="1240" y="1824"/>
                    </a:lnTo>
                    <a:lnTo>
                      <a:pt x="1246" y="1830"/>
                    </a:lnTo>
                    <a:lnTo>
                      <a:pt x="1260" y="1816"/>
                    </a:lnTo>
                    <a:lnTo>
                      <a:pt x="1266" y="1810"/>
                    </a:lnTo>
                    <a:lnTo>
                      <a:pt x="1274" y="1804"/>
                    </a:lnTo>
                    <a:lnTo>
                      <a:pt x="1280" y="1790"/>
                    </a:lnTo>
                    <a:lnTo>
                      <a:pt x="1286" y="1796"/>
                    </a:lnTo>
                    <a:lnTo>
                      <a:pt x="1294" y="1782"/>
                    </a:lnTo>
                    <a:lnTo>
                      <a:pt x="1286" y="1762"/>
                    </a:lnTo>
                    <a:lnTo>
                      <a:pt x="1274" y="1762"/>
                    </a:lnTo>
                    <a:lnTo>
                      <a:pt x="1266" y="1762"/>
                    </a:lnTo>
                    <a:lnTo>
                      <a:pt x="1252" y="1756"/>
                    </a:lnTo>
                    <a:lnTo>
                      <a:pt x="1260" y="1740"/>
                    </a:lnTo>
                    <a:lnTo>
                      <a:pt x="1266" y="1734"/>
                    </a:lnTo>
                    <a:lnTo>
                      <a:pt x="1274" y="1734"/>
                    </a:lnTo>
                    <a:lnTo>
                      <a:pt x="1266" y="1728"/>
                    </a:lnTo>
                    <a:lnTo>
                      <a:pt x="1246" y="1714"/>
                    </a:lnTo>
                    <a:lnTo>
                      <a:pt x="1218" y="1694"/>
                    </a:lnTo>
                    <a:lnTo>
                      <a:pt x="1206" y="1680"/>
                    </a:lnTo>
                    <a:lnTo>
                      <a:pt x="1198" y="1688"/>
                    </a:lnTo>
                    <a:lnTo>
                      <a:pt x="1184" y="1688"/>
                    </a:lnTo>
                    <a:lnTo>
                      <a:pt x="1184" y="1694"/>
                    </a:lnTo>
                    <a:lnTo>
                      <a:pt x="1178" y="1700"/>
                    </a:lnTo>
                    <a:lnTo>
                      <a:pt x="1164" y="1694"/>
                    </a:lnTo>
                    <a:lnTo>
                      <a:pt x="1158" y="1688"/>
                    </a:lnTo>
                    <a:lnTo>
                      <a:pt x="1158" y="1674"/>
                    </a:lnTo>
                    <a:lnTo>
                      <a:pt x="1158" y="1666"/>
                    </a:lnTo>
                    <a:lnTo>
                      <a:pt x="1142" y="1660"/>
                    </a:lnTo>
                    <a:lnTo>
                      <a:pt x="1130" y="1660"/>
                    </a:lnTo>
                    <a:lnTo>
                      <a:pt x="1122" y="1666"/>
                    </a:lnTo>
                    <a:lnTo>
                      <a:pt x="1122" y="1646"/>
                    </a:lnTo>
                    <a:lnTo>
                      <a:pt x="1122" y="1632"/>
                    </a:lnTo>
                    <a:lnTo>
                      <a:pt x="1136" y="1612"/>
                    </a:lnTo>
                    <a:lnTo>
                      <a:pt x="1116" y="1606"/>
                    </a:lnTo>
                    <a:lnTo>
                      <a:pt x="1110" y="1598"/>
                    </a:lnTo>
                    <a:lnTo>
                      <a:pt x="1116" y="1590"/>
                    </a:lnTo>
                    <a:lnTo>
                      <a:pt x="1116" y="1570"/>
                    </a:lnTo>
                    <a:lnTo>
                      <a:pt x="1110" y="1564"/>
                    </a:lnTo>
                    <a:lnTo>
                      <a:pt x="1102" y="1552"/>
                    </a:lnTo>
                    <a:lnTo>
                      <a:pt x="1110" y="1538"/>
                    </a:lnTo>
                    <a:lnTo>
                      <a:pt x="1116" y="1538"/>
                    </a:lnTo>
                    <a:lnTo>
                      <a:pt x="1116" y="1516"/>
                    </a:lnTo>
                    <a:lnTo>
                      <a:pt x="1110" y="1516"/>
                    </a:lnTo>
                    <a:lnTo>
                      <a:pt x="1122" y="1496"/>
                    </a:lnTo>
                    <a:lnTo>
                      <a:pt x="1136" y="1504"/>
                    </a:lnTo>
                    <a:lnTo>
                      <a:pt x="1142" y="1516"/>
                    </a:lnTo>
                    <a:lnTo>
                      <a:pt x="1158" y="1524"/>
                    </a:lnTo>
                    <a:lnTo>
                      <a:pt x="1164" y="1530"/>
                    </a:lnTo>
                    <a:lnTo>
                      <a:pt x="1178" y="1516"/>
                    </a:lnTo>
                    <a:lnTo>
                      <a:pt x="1178" y="1510"/>
                    </a:lnTo>
                    <a:lnTo>
                      <a:pt x="1170" y="1496"/>
                    </a:lnTo>
                    <a:lnTo>
                      <a:pt x="1164" y="1476"/>
                    </a:lnTo>
                    <a:lnTo>
                      <a:pt x="1150" y="1468"/>
                    </a:lnTo>
                    <a:lnTo>
                      <a:pt x="1164" y="1462"/>
                    </a:lnTo>
                    <a:lnTo>
                      <a:pt x="1178" y="1462"/>
                    </a:lnTo>
                    <a:lnTo>
                      <a:pt x="1178" y="1454"/>
                    </a:lnTo>
                    <a:lnTo>
                      <a:pt x="1178" y="1448"/>
                    </a:lnTo>
                    <a:lnTo>
                      <a:pt x="1178" y="1420"/>
                    </a:lnTo>
                    <a:lnTo>
                      <a:pt x="1190" y="1420"/>
                    </a:lnTo>
                    <a:lnTo>
                      <a:pt x="1198" y="1414"/>
                    </a:lnTo>
                    <a:lnTo>
                      <a:pt x="1206" y="1400"/>
                    </a:lnTo>
                    <a:lnTo>
                      <a:pt x="1218" y="1386"/>
                    </a:lnTo>
                    <a:lnTo>
                      <a:pt x="1226" y="1374"/>
                    </a:lnTo>
                    <a:lnTo>
                      <a:pt x="1226" y="1366"/>
                    </a:lnTo>
                    <a:lnTo>
                      <a:pt x="1226" y="1360"/>
                    </a:lnTo>
                    <a:lnTo>
                      <a:pt x="1232" y="1360"/>
                    </a:lnTo>
                    <a:lnTo>
                      <a:pt x="1240" y="1366"/>
                    </a:lnTo>
                    <a:lnTo>
                      <a:pt x="1246" y="1374"/>
                    </a:lnTo>
                    <a:lnTo>
                      <a:pt x="1260" y="1366"/>
                    </a:lnTo>
                    <a:lnTo>
                      <a:pt x="1266" y="1352"/>
                    </a:lnTo>
                    <a:lnTo>
                      <a:pt x="1274" y="1338"/>
                    </a:lnTo>
                    <a:lnTo>
                      <a:pt x="1286" y="1332"/>
                    </a:lnTo>
                    <a:lnTo>
                      <a:pt x="1294" y="1332"/>
                    </a:lnTo>
                    <a:lnTo>
                      <a:pt x="1308" y="1346"/>
                    </a:lnTo>
                    <a:lnTo>
                      <a:pt x="1308" y="1338"/>
                    </a:lnTo>
                    <a:lnTo>
                      <a:pt x="1314" y="1326"/>
                    </a:lnTo>
                    <a:lnTo>
                      <a:pt x="1322" y="1326"/>
                    </a:lnTo>
                    <a:lnTo>
                      <a:pt x="1334" y="1326"/>
                    </a:lnTo>
                    <a:lnTo>
                      <a:pt x="1342" y="1332"/>
                    </a:lnTo>
                    <a:lnTo>
                      <a:pt x="1356" y="1338"/>
                    </a:lnTo>
                    <a:lnTo>
                      <a:pt x="1377" y="1338"/>
                    </a:lnTo>
                    <a:lnTo>
                      <a:pt x="1383" y="1346"/>
                    </a:lnTo>
                    <a:lnTo>
                      <a:pt x="1397" y="1346"/>
                    </a:lnTo>
                    <a:lnTo>
                      <a:pt x="1405" y="1346"/>
                    </a:lnTo>
                    <a:lnTo>
                      <a:pt x="1411" y="1352"/>
                    </a:lnTo>
                    <a:lnTo>
                      <a:pt x="1411" y="1338"/>
                    </a:lnTo>
                    <a:lnTo>
                      <a:pt x="1405" y="1332"/>
                    </a:lnTo>
                    <a:lnTo>
                      <a:pt x="1405" y="1326"/>
                    </a:lnTo>
                    <a:lnTo>
                      <a:pt x="1411" y="1326"/>
                    </a:lnTo>
                    <a:lnTo>
                      <a:pt x="1445" y="1332"/>
                    </a:lnTo>
                    <a:lnTo>
                      <a:pt x="1467" y="1338"/>
                    </a:lnTo>
                    <a:lnTo>
                      <a:pt x="1473" y="1326"/>
                    </a:lnTo>
                    <a:lnTo>
                      <a:pt x="1473" y="1318"/>
                    </a:lnTo>
                    <a:lnTo>
                      <a:pt x="1473" y="1312"/>
                    </a:lnTo>
                    <a:lnTo>
                      <a:pt x="1479" y="1312"/>
                    </a:lnTo>
                    <a:lnTo>
                      <a:pt x="1479" y="1304"/>
                    </a:lnTo>
                    <a:lnTo>
                      <a:pt x="1473" y="1298"/>
                    </a:lnTo>
                    <a:lnTo>
                      <a:pt x="1487" y="1298"/>
                    </a:lnTo>
                    <a:lnTo>
                      <a:pt x="1501" y="1298"/>
                    </a:lnTo>
                    <a:lnTo>
                      <a:pt x="1493" y="1284"/>
                    </a:lnTo>
                    <a:lnTo>
                      <a:pt x="1501" y="1284"/>
                    </a:lnTo>
                    <a:lnTo>
                      <a:pt x="1507" y="1276"/>
                    </a:lnTo>
                    <a:lnTo>
                      <a:pt x="1521" y="1284"/>
                    </a:lnTo>
                    <a:lnTo>
                      <a:pt x="1535" y="1284"/>
                    </a:lnTo>
                    <a:lnTo>
                      <a:pt x="1535" y="1270"/>
                    </a:lnTo>
                    <a:lnTo>
                      <a:pt x="1547" y="1270"/>
                    </a:lnTo>
                    <a:lnTo>
                      <a:pt x="1541" y="1256"/>
                    </a:lnTo>
                    <a:lnTo>
                      <a:pt x="1547" y="1250"/>
                    </a:lnTo>
                    <a:lnTo>
                      <a:pt x="1555" y="1244"/>
                    </a:lnTo>
                    <a:lnTo>
                      <a:pt x="1569" y="1236"/>
                    </a:lnTo>
                    <a:lnTo>
                      <a:pt x="1575" y="1244"/>
                    </a:lnTo>
                    <a:lnTo>
                      <a:pt x="1581" y="1256"/>
                    </a:lnTo>
                    <a:lnTo>
                      <a:pt x="1595" y="1256"/>
                    </a:lnTo>
                    <a:lnTo>
                      <a:pt x="1623" y="1250"/>
                    </a:lnTo>
                    <a:lnTo>
                      <a:pt x="1629" y="1250"/>
                    </a:lnTo>
                    <a:lnTo>
                      <a:pt x="1637" y="1250"/>
                    </a:lnTo>
                    <a:lnTo>
                      <a:pt x="1637" y="1244"/>
                    </a:lnTo>
                    <a:lnTo>
                      <a:pt x="1637" y="1230"/>
                    </a:lnTo>
                    <a:lnTo>
                      <a:pt x="1649" y="1222"/>
                    </a:lnTo>
                    <a:lnTo>
                      <a:pt x="1671" y="1216"/>
                    </a:lnTo>
                    <a:lnTo>
                      <a:pt x="1691" y="1196"/>
                    </a:lnTo>
                    <a:lnTo>
                      <a:pt x="1699" y="1190"/>
                    </a:lnTo>
                    <a:lnTo>
                      <a:pt x="1699" y="1174"/>
                    </a:lnTo>
                    <a:lnTo>
                      <a:pt x="1691" y="1162"/>
                    </a:lnTo>
                    <a:lnTo>
                      <a:pt x="1677" y="1148"/>
                    </a:lnTo>
                    <a:lnTo>
                      <a:pt x="1671" y="1148"/>
                    </a:lnTo>
                    <a:lnTo>
                      <a:pt x="1665" y="1154"/>
                    </a:lnTo>
                    <a:lnTo>
                      <a:pt x="1649" y="1162"/>
                    </a:lnTo>
                    <a:lnTo>
                      <a:pt x="1629" y="1162"/>
                    </a:lnTo>
                    <a:lnTo>
                      <a:pt x="1617" y="1162"/>
                    </a:lnTo>
                    <a:lnTo>
                      <a:pt x="1609" y="1162"/>
                    </a:lnTo>
                    <a:lnTo>
                      <a:pt x="1589" y="1154"/>
                    </a:lnTo>
                    <a:lnTo>
                      <a:pt x="1589" y="1148"/>
                    </a:lnTo>
                    <a:lnTo>
                      <a:pt x="1581" y="1134"/>
                    </a:lnTo>
                    <a:lnTo>
                      <a:pt x="1575" y="1134"/>
                    </a:lnTo>
                    <a:lnTo>
                      <a:pt x="1569" y="1134"/>
                    </a:lnTo>
                    <a:lnTo>
                      <a:pt x="1555" y="1148"/>
                    </a:lnTo>
                    <a:lnTo>
                      <a:pt x="1547" y="1154"/>
                    </a:lnTo>
                    <a:lnTo>
                      <a:pt x="1535" y="1154"/>
                    </a:lnTo>
                    <a:lnTo>
                      <a:pt x="1521" y="1142"/>
                    </a:lnTo>
                    <a:lnTo>
                      <a:pt x="1507" y="1120"/>
                    </a:lnTo>
                    <a:lnTo>
                      <a:pt x="1507" y="1106"/>
                    </a:lnTo>
                    <a:lnTo>
                      <a:pt x="1507" y="1100"/>
                    </a:lnTo>
                    <a:lnTo>
                      <a:pt x="1501" y="1094"/>
                    </a:lnTo>
                    <a:lnTo>
                      <a:pt x="1493" y="1086"/>
                    </a:lnTo>
                    <a:lnTo>
                      <a:pt x="1493" y="1080"/>
                    </a:lnTo>
                    <a:lnTo>
                      <a:pt x="1479" y="1066"/>
                    </a:lnTo>
                    <a:lnTo>
                      <a:pt x="1479" y="1038"/>
                    </a:lnTo>
                    <a:lnTo>
                      <a:pt x="1487" y="1018"/>
                    </a:lnTo>
                    <a:lnTo>
                      <a:pt x="1479" y="1012"/>
                    </a:lnTo>
                    <a:lnTo>
                      <a:pt x="1467" y="1004"/>
                    </a:lnTo>
                    <a:lnTo>
                      <a:pt x="1467" y="984"/>
                    </a:lnTo>
                    <a:lnTo>
                      <a:pt x="1467" y="970"/>
                    </a:lnTo>
                    <a:lnTo>
                      <a:pt x="1459" y="976"/>
                    </a:lnTo>
                    <a:lnTo>
                      <a:pt x="1459" y="984"/>
                    </a:lnTo>
                    <a:lnTo>
                      <a:pt x="1445" y="1012"/>
                    </a:lnTo>
                    <a:lnTo>
                      <a:pt x="1431" y="1032"/>
                    </a:lnTo>
                    <a:lnTo>
                      <a:pt x="1411" y="1038"/>
                    </a:lnTo>
                    <a:lnTo>
                      <a:pt x="1391" y="1046"/>
                    </a:lnTo>
                    <a:lnTo>
                      <a:pt x="1377" y="1052"/>
                    </a:lnTo>
                    <a:lnTo>
                      <a:pt x="1356" y="1024"/>
                    </a:lnTo>
                    <a:lnTo>
                      <a:pt x="1356" y="1004"/>
                    </a:lnTo>
                    <a:lnTo>
                      <a:pt x="1370" y="998"/>
                    </a:lnTo>
                    <a:lnTo>
                      <a:pt x="1391" y="992"/>
                    </a:lnTo>
                    <a:lnTo>
                      <a:pt x="1397" y="998"/>
                    </a:lnTo>
                    <a:lnTo>
                      <a:pt x="1405" y="1004"/>
                    </a:lnTo>
                    <a:lnTo>
                      <a:pt x="1411" y="998"/>
                    </a:lnTo>
                    <a:lnTo>
                      <a:pt x="1411" y="984"/>
                    </a:lnTo>
                    <a:lnTo>
                      <a:pt x="1411" y="976"/>
                    </a:lnTo>
                    <a:lnTo>
                      <a:pt x="1419" y="962"/>
                    </a:lnTo>
                    <a:lnTo>
                      <a:pt x="1425" y="950"/>
                    </a:lnTo>
                    <a:lnTo>
                      <a:pt x="1419" y="936"/>
                    </a:lnTo>
                    <a:lnTo>
                      <a:pt x="1405" y="930"/>
                    </a:lnTo>
                    <a:lnTo>
                      <a:pt x="1405" y="922"/>
                    </a:lnTo>
                    <a:lnTo>
                      <a:pt x="1397" y="922"/>
                    </a:lnTo>
                    <a:lnTo>
                      <a:pt x="1391" y="930"/>
                    </a:lnTo>
                    <a:lnTo>
                      <a:pt x="1377" y="930"/>
                    </a:lnTo>
                    <a:lnTo>
                      <a:pt x="1370" y="930"/>
                    </a:lnTo>
                    <a:lnTo>
                      <a:pt x="1362" y="936"/>
                    </a:lnTo>
                    <a:lnTo>
                      <a:pt x="1334" y="950"/>
                    </a:lnTo>
                    <a:lnTo>
                      <a:pt x="1322" y="950"/>
                    </a:lnTo>
                    <a:lnTo>
                      <a:pt x="1314" y="930"/>
                    </a:lnTo>
                    <a:lnTo>
                      <a:pt x="1300" y="908"/>
                    </a:lnTo>
                    <a:lnTo>
                      <a:pt x="1294" y="902"/>
                    </a:lnTo>
                    <a:lnTo>
                      <a:pt x="1300" y="896"/>
                    </a:lnTo>
                    <a:lnTo>
                      <a:pt x="1308" y="896"/>
                    </a:lnTo>
                    <a:lnTo>
                      <a:pt x="1308" y="874"/>
                    </a:lnTo>
                    <a:lnTo>
                      <a:pt x="1300" y="854"/>
                    </a:lnTo>
                    <a:lnTo>
                      <a:pt x="1286" y="834"/>
                    </a:lnTo>
                    <a:lnTo>
                      <a:pt x="1294" y="820"/>
                    </a:lnTo>
                    <a:lnTo>
                      <a:pt x="1300" y="812"/>
                    </a:lnTo>
                    <a:lnTo>
                      <a:pt x="1308" y="812"/>
                    </a:lnTo>
                    <a:lnTo>
                      <a:pt x="1308" y="806"/>
                    </a:lnTo>
                    <a:lnTo>
                      <a:pt x="1300" y="794"/>
                    </a:lnTo>
                    <a:lnTo>
                      <a:pt x="1300" y="786"/>
                    </a:lnTo>
                    <a:lnTo>
                      <a:pt x="1300" y="766"/>
                    </a:lnTo>
                    <a:lnTo>
                      <a:pt x="1300" y="758"/>
                    </a:lnTo>
                    <a:lnTo>
                      <a:pt x="1286" y="758"/>
                    </a:lnTo>
                    <a:lnTo>
                      <a:pt x="1286" y="746"/>
                    </a:lnTo>
                    <a:lnTo>
                      <a:pt x="1280" y="732"/>
                    </a:lnTo>
                    <a:lnTo>
                      <a:pt x="1274" y="724"/>
                    </a:lnTo>
                    <a:lnTo>
                      <a:pt x="1266" y="710"/>
                    </a:lnTo>
                    <a:lnTo>
                      <a:pt x="1260" y="710"/>
                    </a:lnTo>
                    <a:lnTo>
                      <a:pt x="1260" y="704"/>
                    </a:lnTo>
                    <a:lnTo>
                      <a:pt x="1252" y="698"/>
                    </a:lnTo>
                    <a:lnTo>
                      <a:pt x="1246" y="704"/>
                    </a:lnTo>
                    <a:lnTo>
                      <a:pt x="1240" y="684"/>
                    </a:lnTo>
                    <a:lnTo>
                      <a:pt x="1226" y="656"/>
                    </a:lnTo>
                    <a:lnTo>
                      <a:pt x="1218" y="630"/>
                    </a:lnTo>
                    <a:lnTo>
                      <a:pt x="1212" y="616"/>
                    </a:lnTo>
                    <a:lnTo>
                      <a:pt x="1190" y="602"/>
                    </a:lnTo>
                    <a:lnTo>
                      <a:pt x="1190" y="582"/>
                    </a:lnTo>
                    <a:lnTo>
                      <a:pt x="1184" y="574"/>
                    </a:lnTo>
                    <a:lnTo>
                      <a:pt x="1170" y="560"/>
                    </a:lnTo>
                    <a:lnTo>
                      <a:pt x="1170" y="548"/>
                    </a:lnTo>
                    <a:lnTo>
                      <a:pt x="1164" y="532"/>
                    </a:lnTo>
                    <a:lnTo>
                      <a:pt x="1158" y="526"/>
                    </a:lnTo>
                    <a:lnTo>
                      <a:pt x="1150" y="520"/>
                    </a:lnTo>
                    <a:lnTo>
                      <a:pt x="1142" y="492"/>
                    </a:lnTo>
                    <a:lnTo>
                      <a:pt x="1136" y="486"/>
                    </a:lnTo>
                    <a:lnTo>
                      <a:pt x="1122" y="480"/>
                    </a:lnTo>
                    <a:lnTo>
                      <a:pt x="1122" y="472"/>
                    </a:lnTo>
                    <a:lnTo>
                      <a:pt x="1110" y="466"/>
                    </a:lnTo>
                    <a:lnTo>
                      <a:pt x="1102" y="458"/>
                    </a:lnTo>
                    <a:lnTo>
                      <a:pt x="1096" y="424"/>
                    </a:lnTo>
                    <a:lnTo>
                      <a:pt x="1088" y="424"/>
                    </a:lnTo>
                    <a:lnTo>
                      <a:pt x="1088" y="410"/>
                    </a:lnTo>
                    <a:lnTo>
                      <a:pt x="1082" y="396"/>
                    </a:lnTo>
                    <a:lnTo>
                      <a:pt x="1082" y="404"/>
                    </a:lnTo>
                    <a:lnTo>
                      <a:pt x="1074" y="390"/>
                    </a:lnTo>
                    <a:lnTo>
                      <a:pt x="1074" y="376"/>
                    </a:lnTo>
                    <a:lnTo>
                      <a:pt x="1068" y="370"/>
                    </a:lnTo>
                    <a:lnTo>
                      <a:pt x="1062" y="356"/>
                    </a:lnTo>
                    <a:lnTo>
                      <a:pt x="1054" y="344"/>
                    </a:lnTo>
                    <a:lnTo>
                      <a:pt x="1040" y="344"/>
                    </a:lnTo>
                    <a:lnTo>
                      <a:pt x="1040" y="336"/>
                    </a:lnTo>
                    <a:lnTo>
                      <a:pt x="1040" y="330"/>
                    </a:lnTo>
                    <a:lnTo>
                      <a:pt x="1054" y="330"/>
                    </a:lnTo>
                    <a:lnTo>
                      <a:pt x="1062" y="322"/>
                    </a:lnTo>
                    <a:lnTo>
                      <a:pt x="1062" y="294"/>
                    </a:lnTo>
                    <a:lnTo>
                      <a:pt x="1062" y="274"/>
                    </a:lnTo>
                    <a:lnTo>
                      <a:pt x="1062" y="260"/>
                    </a:lnTo>
                    <a:lnTo>
                      <a:pt x="1068" y="260"/>
                    </a:lnTo>
                    <a:lnTo>
                      <a:pt x="1074" y="240"/>
                    </a:lnTo>
                    <a:lnTo>
                      <a:pt x="1074" y="212"/>
                    </a:lnTo>
                    <a:lnTo>
                      <a:pt x="1062" y="178"/>
                    </a:lnTo>
                    <a:lnTo>
                      <a:pt x="1068" y="164"/>
                    </a:lnTo>
                    <a:lnTo>
                      <a:pt x="1082" y="152"/>
                    </a:lnTo>
                    <a:lnTo>
                      <a:pt x="1088" y="138"/>
                    </a:lnTo>
                    <a:lnTo>
                      <a:pt x="1082" y="118"/>
                    </a:lnTo>
                    <a:lnTo>
                      <a:pt x="1082" y="96"/>
                    </a:lnTo>
                    <a:lnTo>
                      <a:pt x="1074" y="82"/>
                    </a:lnTo>
                    <a:lnTo>
                      <a:pt x="1062" y="76"/>
                    </a:lnTo>
                    <a:lnTo>
                      <a:pt x="1068" y="62"/>
                    </a:lnTo>
                    <a:lnTo>
                      <a:pt x="1062" y="62"/>
                    </a:lnTo>
                    <a:lnTo>
                      <a:pt x="1054" y="56"/>
                    </a:lnTo>
                    <a:lnTo>
                      <a:pt x="1046" y="56"/>
                    </a:lnTo>
                    <a:lnTo>
                      <a:pt x="1040" y="68"/>
                    </a:lnTo>
                    <a:lnTo>
                      <a:pt x="1034" y="68"/>
                    </a:lnTo>
                    <a:lnTo>
                      <a:pt x="1028" y="56"/>
                    </a:lnTo>
                    <a:lnTo>
                      <a:pt x="1020" y="48"/>
                    </a:lnTo>
                    <a:lnTo>
                      <a:pt x="1014" y="48"/>
                    </a:lnTo>
                    <a:lnTo>
                      <a:pt x="1006" y="42"/>
                    </a:lnTo>
                    <a:lnTo>
                      <a:pt x="1006" y="30"/>
                    </a:lnTo>
                    <a:lnTo>
                      <a:pt x="1000" y="30"/>
                    </a:lnTo>
                    <a:lnTo>
                      <a:pt x="986" y="30"/>
                    </a:lnTo>
                    <a:lnTo>
                      <a:pt x="980" y="36"/>
                    </a:lnTo>
                    <a:lnTo>
                      <a:pt x="972" y="36"/>
                    </a:lnTo>
                    <a:lnTo>
                      <a:pt x="966" y="36"/>
                    </a:lnTo>
                    <a:lnTo>
                      <a:pt x="960" y="22"/>
                    </a:lnTo>
                    <a:lnTo>
                      <a:pt x="952" y="16"/>
                    </a:lnTo>
                    <a:lnTo>
                      <a:pt x="960" y="8"/>
                    </a:lnTo>
                    <a:lnTo>
                      <a:pt x="960" y="0"/>
                    </a:lnTo>
                    <a:lnTo>
                      <a:pt x="952" y="0"/>
                    </a:lnTo>
                    <a:lnTo>
                      <a:pt x="924" y="0"/>
                    </a:lnTo>
                    <a:lnTo>
                      <a:pt x="898" y="16"/>
                    </a:lnTo>
                    <a:lnTo>
                      <a:pt x="884" y="22"/>
                    </a:lnTo>
                    <a:lnTo>
                      <a:pt x="864" y="22"/>
                    </a:lnTo>
                    <a:lnTo>
                      <a:pt x="848" y="22"/>
                    </a:lnTo>
                    <a:lnTo>
                      <a:pt x="856" y="30"/>
                    </a:lnTo>
                    <a:lnTo>
                      <a:pt x="856" y="48"/>
                    </a:lnTo>
                    <a:lnTo>
                      <a:pt x="848" y="56"/>
                    </a:lnTo>
                    <a:lnTo>
                      <a:pt x="856" y="62"/>
                    </a:lnTo>
                    <a:lnTo>
                      <a:pt x="864" y="68"/>
                    </a:lnTo>
                    <a:lnTo>
                      <a:pt x="870" y="82"/>
                    </a:lnTo>
                    <a:lnTo>
                      <a:pt x="884" y="82"/>
                    </a:lnTo>
                    <a:lnTo>
                      <a:pt x="890" y="90"/>
                    </a:lnTo>
                    <a:lnTo>
                      <a:pt x="876" y="102"/>
                    </a:lnTo>
                    <a:lnTo>
                      <a:pt x="870" y="124"/>
                    </a:lnTo>
                    <a:lnTo>
                      <a:pt x="876" y="124"/>
                    </a:lnTo>
                    <a:lnTo>
                      <a:pt x="884" y="132"/>
                    </a:lnTo>
                    <a:lnTo>
                      <a:pt x="870" y="144"/>
                    </a:lnTo>
                    <a:lnTo>
                      <a:pt x="856" y="144"/>
                    </a:lnTo>
                    <a:lnTo>
                      <a:pt x="842" y="132"/>
                    </a:lnTo>
                    <a:lnTo>
                      <a:pt x="848" y="124"/>
                    </a:lnTo>
                    <a:lnTo>
                      <a:pt x="842" y="110"/>
                    </a:lnTo>
                    <a:lnTo>
                      <a:pt x="836" y="102"/>
                    </a:lnTo>
                    <a:lnTo>
                      <a:pt x="828" y="110"/>
                    </a:lnTo>
                    <a:lnTo>
                      <a:pt x="822" y="124"/>
                    </a:lnTo>
                    <a:lnTo>
                      <a:pt x="822" y="132"/>
                    </a:lnTo>
                    <a:lnTo>
                      <a:pt x="822" y="144"/>
                    </a:lnTo>
                    <a:lnTo>
                      <a:pt x="822" y="152"/>
                    </a:lnTo>
                    <a:lnTo>
                      <a:pt x="816" y="164"/>
                    </a:lnTo>
                    <a:lnTo>
                      <a:pt x="794" y="164"/>
                    </a:lnTo>
                    <a:lnTo>
                      <a:pt x="780" y="164"/>
                    </a:lnTo>
                    <a:lnTo>
                      <a:pt x="780" y="172"/>
                    </a:lnTo>
                    <a:lnTo>
                      <a:pt x="774" y="198"/>
                    </a:lnTo>
                    <a:lnTo>
                      <a:pt x="774" y="204"/>
                    </a:lnTo>
                    <a:lnTo>
                      <a:pt x="760" y="220"/>
                    </a:lnTo>
                    <a:lnTo>
                      <a:pt x="760" y="226"/>
                    </a:lnTo>
                    <a:lnTo>
                      <a:pt x="760" y="232"/>
                    </a:lnTo>
                    <a:lnTo>
                      <a:pt x="751" y="226"/>
                    </a:lnTo>
                    <a:lnTo>
                      <a:pt x="745" y="220"/>
                    </a:lnTo>
                    <a:lnTo>
                      <a:pt x="733" y="240"/>
                    </a:lnTo>
                    <a:lnTo>
                      <a:pt x="733" y="226"/>
                    </a:lnTo>
                    <a:lnTo>
                      <a:pt x="733" y="212"/>
                    </a:lnTo>
                    <a:lnTo>
                      <a:pt x="739" y="204"/>
                    </a:lnTo>
                    <a:lnTo>
                      <a:pt x="733" y="198"/>
                    </a:lnTo>
                    <a:lnTo>
                      <a:pt x="733" y="186"/>
                    </a:lnTo>
                    <a:lnTo>
                      <a:pt x="725" y="186"/>
                    </a:lnTo>
                    <a:lnTo>
                      <a:pt x="717" y="186"/>
                    </a:lnTo>
                    <a:lnTo>
                      <a:pt x="711" y="178"/>
                    </a:lnTo>
                    <a:lnTo>
                      <a:pt x="705" y="198"/>
                    </a:lnTo>
                    <a:lnTo>
                      <a:pt x="711" y="198"/>
                    </a:lnTo>
                    <a:lnTo>
                      <a:pt x="711" y="212"/>
                    </a:lnTo>
                    <a:lnTo>
                      <a:pt x="705" y="212"/>
                    </a:lnTo>
                    <a:lnTo>
                      <a:pt x="705" y="204"/>
                    </a:lnTo>
                    <a:lnTo>
                      <a:pt x="697" y="204"/>
                    </a:lnTo>
                    <a:lnTo>
                      <a:pt x="697" y="212"/>
                    </a:lnTo>
                    <a:lnTo>
                      <a:pt x="697" y="220"/>
                    </a:lnTo>
                    <a:lnTo>
                      <a:pt x="711" y="240"/>
                    </a:lnTo>
                    <a:lnTo>
                      <a:pt x="697" y="240"/>
                    </a:lnTo>
                    <a:lnTo>
                      <a:pt x="691" y="232"/>
                    </a:lnTo>
                    <a:lnTo>
                      <a:pt x="691" y="226"/>
                    </a:lnTo>
                    <a:lnTo>
                      <a:pt x="683" y="232"/>
                    </a:lnTo>
                    <a:lnTo>
                      <a:pt x="677" y="246"/>
                    </a:lnTo>
                    <a:lnTo>
                      <a:pt x="671" y="246"/>
                    </a:lnTo>
                    <a:lnTo>
                      <a:pt x="657" y="274"/>
                    </a:lnTo>
                    <a:lnTo>
                      <a:pt x="649" y="280"/>
                    </a:lnTo>
                    <a:lnTo>
                      <a:pt x="643" y="288"/>
                    </a:lnTo>
                    <a:lnTo>
                      <a:pt x="649" y="294"/>
                    </a:lnTo>
                    <a:lnTo>
                      <a:pt x="657" y="302"/>
                    </a:lnTo>
                    <a:lnTo>
                      <a:pt x="643" y="316"/>
                    </a:lnTo>
                    <a:lnTo>
                      <a:pt x="635" y="322"/>
                    </a:lnTo>
                    <a:lnTo>
                      <a:pt x="629" y="322"/>
                    </a:lnTo>
                    <a:lnTo>
                      <a:pt x="643" y="336"/>
                    </a:lnTo>
                    <a:lnTo>
                      <a:pt x="643" y="348"/>
                    </a:lnTo>
                    <a:lnTo>
                      <a:pt x="643" y="362"/>
                    </a:lnTo>
                    <a:lnTo>
                      <a:pt x="643" y="370"/>
                    </a:lnTo>
                    <a:lnTo>
                      <a:pt x="635" y="376"/>
                    </a:lnTo>
                    <a:lnTo>
                      <a:pt x="623" y="382"/>
                    </a:lnTo>
                    <a:lnTo>
                      <a:pt x="601" y="390"/>
                    </a:lnTo>
                    <a:lnTo>
                      <a:pt x="595" y="396"/>
                    </a:lnTo>
                    <a:lnTo>
                      <a:pt x="573" y="382"/>
                    </a:lnTo>
                    <a:lnTo>
                      <a:pt x="561" y="376"/>
                    </a:lnTo>
                    <a:lnTo>
                      <a:pt x="547" y="376"/>
                    </a:lnTo>
                    <a:lnTo>
                      <a:pt x="533" y="370"/>
                    </a:lnTo>
                    <a:lnTo>
                      <a:pt x="533" y="362"/>
                    </a:lnTo>
                    <a:lnTo>
                      <a:pt x="533" y="348"/>
                    </a:lnTo>
                    <a:lnTo>
                      <a:pt x="533" y="344"/>
                    </a:lnTo>
                    <a:lnTo>
                      <a:pt x="553" y="336"/>
                    </a:lnTo>
                    <a:lnTo>
                      <a:pt x="553" y="330"/>
                    </a:lnTo>
                    <a:lnTo>
                      <a:pt x="567" y="330"/>
                    </a:lnTo>
                    <a:lnTo>
                      <a:pt x="573" y="322"/>
                    </a:lnTo>
                    <a:lnTo>
                      <a:pt x="561" y="316"/>
                    </a:lnTo>
                    <a:lnTo>
                      <a:pt x="553" y="308"/>
                    </a:lnTo>
                    <a:lnTo>
                      <a:pt x="547" y="302"/>
                    </a:lnTo>
                    <a:lnTo>
                      <a:pt x="533" y="302"/>
                    </a:lnTo>
                    <a:lnTo>
                      <a:pt x="527" y="288"/>
                    </a:lnTo>
                    <a:lnTo>
                      <a:pt x="521" y="288"/>
                    </a:lnTo>
                    <a:lnTo>
                      <a:pt x="499" y="294"/>
                    </a:lnTo>
                    <a:lnTo>
                      <a:pt x="485" y="294"/>
                    </a:lnTo>
                    <a:lnTo>
                      <a:pt x="485" y="302"/>
                    </a:lnTo>
                    <a:lnTo>
                      <a:pt x="471" y="302"/>
                    </a:lnTo>
                    <a:lnTo>
                      <a:pt x="485" y="308"/>
                    </a:lnTo>
                    <a:lnTo>
                      <a:pt x="491" y="316"/>
                    </a:lnTo>
                    <a:lnTo>
                      <a:pt x="499" y="322"/>
                    </a:lnTo>
                    <a:lnTo>
                      <a:pt x="499" y="330"/>
                    </a:lnTo>
                    <a:lnTo>
                      <a:pt x="499" y="344"/>
                    </a:lnTo>
                    <a:lnTo>
                      <a:pt x="505" y="348"/>
                    </a:lnTo>
                    <a:lnTo>
                      <a:pt x="505" y="356"/>
                    </a:lnTo>
                    <a:lnTo>
                      <a:pt x="511" y="356"/>
                    </a:lnTo>
                    <a:lnTo>
                      <a:pt x="505" y="370"/>
                    </a:lnTo>
                    <a:lnTo>
                      <a:pt x="505" y="376"/>
                    </a:lnTo>
                    <a:lnTo>
                      <a:pt x="505" y="396"/>
                    </a:lnTo>
                    <a:lnTo>
                      <a:pt x="521" y="396"/>
                    </a:lnTo>
                    <a:lnTo>
                      <a:pt x="533" y="396"/>
                    </a:lnTo>
                    <a:lnTo>
                      <a:pt x="539" y="404"/>
                    </a:lnTo>
                    <a:lnTo>
                      <a:pt x="539" y="410"/>
                    </a:lnTo>
                    <a:lnTo>
                      <a:pt x="547" y="418"/>
                    </a:lnTo>
                    <a:lnTo>
                      <a:pt x="547" y="424"/>
                    </a:lnTo>
                    <a:lnTo>
                      <a:pt x="553" y="432"/>
                    </a:lnTo>
                    <a:lnTo>
                      <a:pt x="547" y="438"/>
                    </a:lnTo>
                    <a:lnTo>
                      <a:pt x="539" y="452"/>
                    </a:lnTo>
                    <a:lnTo>
                      <a:pt x="553" y="466"/>
                    </a:lnTo>
                    <a:lnTo>
                      <a:pt x="561" y="472"/>
                    </a:lnTo>
                    <a:lnTo>
                      <a:pt x="547" y="480"/>
                    </a:lnTo>
                    <a:lnTo>
                      <a:pt x="539" y="472"/>
                    </a:lnTo>
                    <a:lnTo>
                      <a:pt x="527" y="480"/>
                    </a:lnTo>
                    <a:lnTo>
                      <a:pt x="511" y="480"/>
                    </a:lnTo>
                    <a:lnTo>
                      <a:pt x="521" y="466"/>
                    </a:lnTo>
                    <a:lnTo>
                      <a:pt x="527" y="466"/>
                    </a:lnTo>
                    <a:lnTo>
                      <a:pt x="511" y="452"/>
                    </a:lnTo>
                    <a:lnTo>
                      <a:pt x="505" y="458"/>
                    </a:lnTo>
                    <a:lnTo>
                      <a:pt x="491" y="458"/>
                    </a:lnTo>
                    <a:lnTo>
                      <a:pt x="479" y="452"/>
                    </a:lnTo>
                    <a:lnTo>
                      <a:pt x="479" y="458"/>
                    </a:lnTo>
                    <a:lnTo>
                      <a:pt x="471" y="472"/>
                    </a:lnTo>
                    <a:lnTo>
                      <a:pt x="465" y="492"/>
                    </a:lnTo>
                    <a:lnTo>
                      <a:pt x="451" y="498"/>
                    </a:lnTo>
                    <a:lnTo>
                      <a:pt x="443" y="506"/>
                    </a:lnTo>
                    <a:lnTo>
                      <a:pt x="443" y="520"/>
                    </a:lnTo>
                    <a:lnTo>
                      <a:pt x="437" y="532"/>
                    </a:lnTo>
                    <a:lnTo>
                      <a:pt x="429" y="540"/>
                    </a:lnTo>
                    <a:lnTo>
                      <a:pt x="423" y="548"/>
                    </a:lnTo>
                    <a:lnTo>
                      <a:pt x="429" y="554"/>
                    </a:lnTo>
                    <a:lnTo>
                      <a:pt x="451" y="568"/>
                    </a:lnTo>
                    <a:lnTo>
                      <a:pt x="465" y="574"/>
                    </a:lnTo>
                    <a:lnTo>
                      <a:pt x="465" y="582"/>
                    </a:lnTo>
                    <a:lnTo>
                      <a:pt x="479" y="596"/>
                    </a:lnTo>
                    <a:lnTo>
                      <a:pt x="485" y="616"/>
                    </a:lnTo>
                    <a:lnTo>
                      <a:pt x="485" y="622"/>
                    </a:lnTo>
                    <a:lnTo>
                      <a:pt x="521" y="616"/>
                    </a:lnTo>
                    <a:lnTo>
                      <a:pt x="527" y="622"/>
                    </a:lnTo>
                    <a:lnTo>
                      <a:pt x="533" y="636"/>
                    </a:lnTo>
                    <a:lnTo>
                      <a:pt x="521" y="630"/>
                    </a:lnTo>
                    <a:lnTo>
                      <a:pt x="511" y="630"/>
                    </a:lnTo>
                    <a:lnTo>
                      <a:pt x="499" y="630"/>
                    </a:lnTo>
                    <a:lnTo>
                      <a:pt x="485" y="622"/>
                    </a:lnTo>
                    <a:lnTo>
                      <a:pt x="479" y="616"/>
                    </a:lnTo>
                    <a:lnTo>
                      <a:pt x="471" y="616"/>
                    </a:lnTo>
                    <a:lnTo>
                      <a:pt x="465" y="622"/>
                    </a:lnTo>
                    <a:lnTo>
                      <a:pt x="459" y="616"/>
                    </a:lnTo>
                    <a:lnTo>
                      <a:pt x="443" y="622"/>
                    </a:lnTo>
                    <a:lnTo>
                      <a:pt x="423" y="616"/>
                    </a:lnTo>
                    <a:lnTo>
                      <a:pt x="409" y="608"/>
                    </a:lnTo>
                    <a:lnTo>
                      <a:pt x="397" y="608"/>
                    </a:lnTo>
                    <a:lnTo>
                      <a:pt x="397" y="602"/>
                    </a:lnTo>
                    <a:lnTo>
                      <a:pt x="389" y="602"/>
                    </a:lnTo>
                    <a:lnTo>
                      <a:pt x="369" y="602"/>
                    </a:lnTo>
                    <a:lnTo>
                      <a:pt x="349" y="596"/>
                    </a:lnTo>
                    <a:lnTo>
                      <a:pt x="349" y="608"/>
                    </a:lnTo>
                    <a:lnTo>
                      <a:pt x="341" y="616"/>
                    </a:lnTo>
                    <a:lnTo>
                      <a:pt x="341" y="622"/>
                    </a:lnTo>
                    <a:lnTo>
                      <a:pt x="355" y="630"/>
                    </a:lnTo>
                    <a:lnTo>
                      <a:pt x="361" y="636"/>
                    </a:lnTo>
                    <a:lnTo>
                      <a:pt x="383" y="642"/>
                    </a:lnTo>
                    <a:lnTo>
                      <a:pt x="383" y="636"/>
                    </a:lnTo>
                    <a:lnTo>
                      <a:pt x="389" y="636"/>
                    </a:lnTo>
                    <a:lnTo>
                      <a:pt x="403" y="648"/>
                    </a:lnTo>
                    <a:lnTo>
                      <a:pt x="409" y="676"/>
                    </a:lnTo>
                    <a:lnTo>
                      <a:pt x="397" y="684"/>
                    </a:lnTo>
                    <a:lnTo>
                      <a:pt x="389" y="690"/>
                    </a:lnTo>
                    <a:lnTo>
                      <a:pt x="375" y="684"/>
                    </a:lnTo>
                    <a:lnTo>
                      <a:pt x="361" y="684"/>
                    </a:lnTo>
                    <a:lnTo>
                      <a:pt x="355" y="684"/>
                    </a:lnTo>
                    <a:lnTo>
                      <a:pt x="341" y="670"/>
                    </a:lnTo>
                    <a:lnTo>
                      <a:pt x="335" y="662"/>
                    </a:lnTo>
                    <a:lnTo>
                      <a:pt x="327" y="656"/>
                    </a:lnTo>
                    <a:lnTo>
                      <a:pt x="321" y="670"/>
                    </a:lnTo>
                    <a:lnTo>
                      <a:pt x="315" y="662"/>
                    </a:lnTo>
                    <a:lnTo>
                      <a:pt x="295" y="656"/>
                    </a:lnTo>
                    <a:lnTo>
                      <a:pt x="295" y="642"/>
                    </a:lnTo>
                    <a:lnTo>
                      <a:pt x="287" y="642"/>
                    </a:lnTo>
                    <a:lnTo>
                      <a:pt x="287" y="636"/>
                    </a:lnTo>
                    <a:lnTo>
                      <a:pt x="287" y="630"/>
                    </a:lnTo>
                    <a:lnTo>
                      <a:pt x="281" y="622"/>
                    </a:lnTo>
                    <a:lnTo>
                      <a:pt x="281" y="616"/>
                    </a:lnTo>
                    <a:lnTo>
                      <a:pt x="273" y="602"/>
                    </a:lnTo>
                    <a:lnTo>
                      <a:pt x="265" y="596"/>
                    </a:lnTo>
                    <a:lnTo>
                      <a:pt x="265" y="588"/>
                    </a:lnTo>
                    <a:lnTo>
                      <a:pt x="273" y="582"/>
                    </a:lnTo>
                    <a:lnTo>
                      <a:pt x="273" y="568"/>
                    </a:lnTo>
                    <a:lnTo>
                      <a:pt x="265" y="560"/>
                    </a:lnTo>
                    <a:lnTo>
                      <a:pt x="265" y="554"/>
                    </a:lnTo>
                    <a:lnTo>
                      <a:pt x="259" y="548"/>
                    </a:lnTo>
                    <a:lnTo>
                      <a:pt x="253" y="540"/>
                    </a:lnTo>
                    <a:lnTo>
                      <a:pt x="233" y="540"/>
                    </a:lnTo>
                    <a:lnTo>
                      <a:pt x="225" y="540"/>
                    </a:lnTo>
                    <a:lnTo>
                      <a:pt x="219" y="540"/>
                    </a:lnTo>
                    <a:lnTo>
                      <a:pt x="211" y="532"/>
                    </a:lnTo>
                    <a:lnTo>
                      <a:pt x="219" y="532"/>
                    </a:lnTo>
                    <a:lnTo>
                      <a:pt x="219" y="526"/>
                    </a:lnTo>
                    <a:lnTo>
                      <a:pt x="211" y="526"/>
                    </a:lnTo>
                    <a:lnTo>
                      <a:pt x="205" y="526"/>
                    </a:lnTo>
                    <a:lnTo>
                      <a:pt x="205" y="520"/>
                    </a:lnTo>
                    <a:lnTo>
                      <a:pt x="191" y="520"/>
                    </a:lnTo>
                    <a:lnTo>
                      <a:pt x="185" y="512"/>
                    </a:lnTo>
                    <a:lnTo>
                      <a:pt x="177" y="498"/>
                    </a:lnTo>
                    <a:lnTo>
                      <a:pt x="185" y="486"/>
                    </a:lnTo>
                    <a:lnTo>
                      <a:pt x="177" y="486"/>
                    </a:lnTo>
                    <a:lnTo>
                      <a:pt x="171" y="480"/>
                    </a:lnTo>
                    <a:lnTo>
                      <a:pt x="177" y="480"/>
                    </a:lnTo>
                    <a:lnTo>
                      <a:pt x="185" y="480"/>
                    </a:lnTo>
                    <a:lnTo>
                      <a:pt x="191" y="480"/>
                    </a:lnTo>
                    <a:lnTo>
                      <a:pt x="205" y="492"/>
                    </a:lnTo>
                    <a:lnTo>
                      <a:pt x="211" y="498"/>
                    </a:lnTo>
                    <a:lnTo>
                      <a:pt x="219" y="498"/>
                    </a:lnTo>
                    <a:lnTo>
                      <a:pt x="219" y="492"/>
                    </a:lnTo>
                    <a:lnTo>
                      <a:pt x="233" y="498"/>
                    </a:lnTo>
                    <a:lnTo>
                      <a:pt x="245" y="506"/>
                    </a:lnTo>
                    <a:lnTo>
                      <a:pt x="253" y="506"/>
                    </a:lnTo>
                    <a:lnTo>
                      <a:pt x="259" y="506"/>
                    </a:lnTo>
                    <a:lnTo>
                      <a:pt x="265" y="512"/>
                    </a:lnTo>
                    <a:lnTo>
                      <a:pt x="281" y="512"/>
                    </a:lnTo>
                    <a:lnTo>
                      <a:pt x="295" y="512"/>
                    </a:lnTo>
                    <a:lnTo>
                      <a:pt x="315" y="520"/>
                    </a:lnTo>
                    <a:lnTo>
                      <a:pt x="321" y="512"/>
                    </a:lnTo>
                    <a:lnTo>
                      <a:pt x="327" y="506"/>
                    </a:lnTo>
                    <a:lnTo>
                      <a:pt x="335" y="512"/>
                    </a:lnTo>
                    <a:lnTo>
                      <a:pt x="335" y="520"/>
                    </a:lnTo>
                    <a:lnTo>
                      <a:pt x="349" y="520"/>
                    </a:lnTo>
                    <a:lnTo>
                      <a:pt x="361" y="520"/>
                    </a:lnTo>
                    <a:lnTo>
                      <a:pt x="375" y="520"/>
                    </a:lnTo>
                    <a:lnTo>
                      <a:pt x="389" y="506"/>
                    </a:lnTo>
                    <a:lnTo>
                      <a:pt x="397" y="506"/>
                    </a:lnTo>
                    <a:lnTo>
                      <a:pt x="409" y="498"/>
                    </a:lnTo>
                    <a:lnTo>
                      <a:pt x="417" y="492"/>
                    </a:lnTo>
                    <a:lnTo>
                      <a:pt x="417" y="486"/>
                    </a:lnTo>
                    <a:lnTo>
                      <a:pt x="423" y="480"/>
                    </a:lnTo>
                    <a:lnTo>
                      <a:pt x="429" y="480"/>
                    </a:lnTo>
                    <a:lnTo>
                      <a:pt x="429" y="472"/>
                    </a:lnTo>
                    <a:lnTo>
                      <a:pt x="429" y="466"/>
                    </a:lnTo>
                    <a:lnTo>
                      <a:pt x="437" y="466"/>
                    </a:lnTo>
                    <a:lnTo>
                      <a:pt x="443" y="438"/>
                    </a:lnTo>
                    <a:lnTo>
                      <a:pt x="437" y="424"/>
                    </a:lnTo>
                    <a:lnTo>
                      <a:pt x="437" y="410"/>
                    </a:lnTo>
                    <a:lnTo>
                      <a:pt x="429" y="410"/>
                    </a:lnTo>
                    <a:lnTo>
                      <a:pt x="429" y="396"/>
                    </a:lnTo>
                    <a:lnTo>
                      <a:pt x="423" y="404"/>
                    </a:lnTo>
                    <a:lnTo>
                      <a:pt x="417" y="396"/>
                    </a:lnTo>
                    <a:lnTo>
                      <a:pt x="417" y="382"/>
                    </a:lnTo>
                    <a:lnTo>
                      <a:pt x="403" y="382"/>
                    </a:lnTo>
                    <a:lnTo>
                      <a:pt x="397" y="382"/>
                    </a:lnTo>
                    <a:lnTo>
                      <a:pt x="397" y="376"/>
                    </a:lnTo>
                    <a:lnTo>
                      <a:pt x="375" y="370"/>
                    </a:lnTo>
                    <a:lnTo>
                      <a:pt x="361" y="376"/>
                    </a:lnTo>
                    <a:lnTo>
                      <a:pt x="355" y="370"/>
                    </a:lnTo>
                    <a:lnTo>
                      <a:pt x="349" y="362"/>
                    </a:lnTo>
                    <a:lnTo>
                      <a:pt x="335" y="356"/>
                    </a:lnTo>
                    <a:lnTo>
                      <a:pt x="335" y="362"/>
                    </a:lnTo>
                    <a:lnTo>
                      <a:pt x="327" y="356"/>
                    </a:lnTo>
                    <a:lnTo>
                      <a:pt x="315" y="344"/>
                    </a:lnTo>
                    <a:lnTo>
                      <a:pt x="295" y="344"/>
                    </a:lnTo>
                    <a:lnTo>
                      <a:pt x="273" y="330"/>
                    </a:lnTo>
                    <a:lnTo>
                      <a:pt x="253" y="322"/>
                    </a:lnTo>
                    <a:lnTo>
                      <a:pt x="239" y="330"/>
                    </a:lnTo>
                    <a:lnTo>
                      <a:pt x="191" y="330"/>
                    </a:lnTo>
                    <a:lnTo>
                      <a:pt x="185" y="330"/>
                    </a:lnTo>
                    <a:lnTo>
                      <a:pt x="177" y="322"/>
                    </a:lnTo>
                    <a:lnTo>
                      <a:pt x="163" y="330"/>
                    </a:lnTo>
                    <a:lnTo>
                      <a:pt x="163" y="322"/>
                    </a:lnTo>
                    <a:lnTo>
                      <a:pt x="157" y="316"/>
                    </a:lnTo>
                    <a:lnTo>
                      <a:pt x="151" y="322"/>
                    </a:lnTo>
                    <a:lnTo>
                      <a:pt x="143" y="308"/>
                    </a:lnTo>
                    <a:lnTo>
                      <a:pt x="134" y="308"/>
                    </a:lnTo>
                    <a:lnTo>
                      <a:pt x="128" y="294"/>
                    </a:lnTo>
                    <a:lnTo>
                      <a:pt x="122" y="294"/>
                    </a:lnTo>
                    <a:lnTo>
                      <a:pt x="114" y="308"/>
                    </a:lnTo>
                    <a:lnTo>
                      <a:pt x="108" y="308"/>
                    </a:lnTo>
                    <a:lnTo>
                      <a:pt x="100" y="294"/>
                    </a:lnTo>
                    <a:lnTo>
                      <a:pt x="94" y="294"/>
                    </a:lnTo>
                    <a:lnTo>
                      <a:pt x="94" y="316"/>
                    </a:lnTo>
                    <a:lnTo>
                      <a:pt x="80" y="316"/>
                    </a:lnTo>
                    <a:lnTo>
                      <a:pt x="74" y="308"/>
                    </a:lnTo>
                    <a:lnTo>
                      <a:pt x="60" y="308"/>
                    </a:lnTo>
                    <a:lnTo>
                      <a:pt x="28" y="320"/>
                    </a:lnTo>
                    <a:lnTo>
                      <a:pt x="18" y="344"/>
                    </a:lnTo>
                    <a:lnTo>
                      <a:pt x="14" y="366"/>
                    </a:lnTo>
                    <a:lnTo>
                      <a:pt x="8" y="366"/>
                    </a:lnTo>
                    <a:lnTo>
                      <a:pt x="8" y="376"/>
                    </a:lnTo>
                    <a:lnTo>
                      <a:pt x="0" y="382"/>
                    </a:lnTo>
                    <a:lnTo>
                      <a:pt x="0" y="396"/>
                    </a:lnTo>
                    <a:lnTo>
                      <a:pt x="20" y="412"/>
                    </a:lnTo>
                    <a:lnTo>
                      <a:pt x="30" y="426"/>
                    </a:lnTo>
                    <a:lnTo>
                      <a:pt x="48" y="448"/>
                    </a:lnTo>
                    <a:lnTo>
                      <a:pt x="40" y="466"/>
                    </a:lnTo>
                    <a:lnTo>
                      <a:pt x="42" y="496"/>
                    </a:lnTo>
                    <a:lnTo>
                      <a:pt x="50" y="526"/>
                    </a:lnTo>
                    <a:lnTo>
                      <a:pt x="74" y="546"/>
                    </a:lnTo>
                    <a:lnTo>
                      <a:pt x="94" y="580"/>
                    </a:lnTo>
                    <a:lnTo>
                      <a:pt x="84" y="592"/>
                    </a:lnTo>
                    <a:lnTo>
                      <a:pt x="90" y="602"/>
                    </a:lnTo>
                    <a:lnTo>
                      <a:pt x="88" y="614"/>
                    </a:lnTo>
                    <a:lnTo>
                      <a:pt x="90" y="626"/>
                    </a:lnTo>
                    <a:lnTo>
                      <a:pt x="92" y="650"/>
                    </a:lnTo>
                    <a:lnTo>
                      <a:pt x="100" y="668"/>
                    </a:lnTo>
                    <a:lnTo>
                      <a:pt x="104" y="668"/>
                    </a:lnTo>
                    <a:lnTo>
                      <a:pt x="114" y="698"/>
                    </a:lnTo>
                    <a:lnTo>
                      <a:pt x="124" y="698"/>
                    </a:lnTo>
                    <a:lnTo>
                      <a:pt x="132" y="700"/>
                    </a:lnTo>
                    <a:lnTo>
                      <a:pt x="132" y="716"/>
                    </a:lnTo>
                    <a:lnTo>
                      <a:pt x="122" y="718"/>
                    </a:lnTo>
                    <a:lnTo>
                      <a:pt x="114" y="722"/>
                    </a:lnTo>
                    <a:lnTo>
                      <a:pt x="124" y="752"/>
                    </a:lnTo>
                    <a:lnTo>
                      <a:pt x="134" y="758"/>
                    </a:lnTo>
                    <a:lnTo>
                      <a:pt x="151" y="768"/>
                    </a:lnTo>
                    <a:lnTo>
                      <a:pt x="177" y="774"/>
                    </a:lnTo>
                    <a:lnTo>
                      <a:pt x="185" y="792"/>
                    </a:lnTo>
                    <a:lnTo>
                      <a:pt x="173" y="800"/>
                    </a:lnTo>
                    <a:lnTo>
                      <a:pt x="167" y="822"/>
                    </a:lnTo>
                    <a:lnTo>
                      <a:pt x="157" y="838"/>
                    </a:lnTo>
                    <a:lnTo>
                      <a:pt x="147" y="858"/>
                    </a:lnTo>
                    <a:lnTo>
                      <a:pt x="151" y="868"/>
                    </a:lnTo>
                    <a:lnTo>
                      <a:pt x="136" y="876"/>
                    </a:lnTo>
                    <a:lnTo>
                      <a:pt x="94" y="944"/>
                    </a:lnTo>
                    <a:lnTo>
                      <a:pt x="94" y="962"/>
                    </a:lnTo>
                    <a:lnTo>
                      <a:pt x="108" y="962"/>
                    </a:lnTo>
                    <a:lnTo>
                      <a:pt x="122" y="956"/>
                    </a:lnTo>
                    <a:lnTo>
                      <a:pt x="128" y="956"/>
                    </a:lnTo>
                    <a:lnTo>
                      <a:pt x="128" y="962"/>
                    </a:lnTo>
                    <a:lnTo>
                      <a:pt x="122" y="976"/>
                    </a:lnTo>
                    <a:lnTo>
                      <a:pt x="122" y="984"/>
                    </a:lnTo>
                    <a:lnTo>
                      <a:pt x="134" y="984"/>
                    </a:lnTo>
                    <a:lnTo>
                      <a:pt x="143" y="992"/>
                    </a:lnTo>
                    <a:lnTo>
                      <a:pt x="157" y="998"/>
                    </a:lnTo>
                    <a:lnTo>
                      <a:pt x="163" y="992"/>
                    </a:lnTo>
                    <a:lnTo>
                      <a:pt x="177" y="992"/>
                    </a:lnTo>
                    <a:lnTo>
                      <a:pt x="185" y="992"/>
                    </a:lnTo>
                    <a:lnTo>
                      <a:pt x="191" y="998"/>
                    </a:lnTo>
                    <a:lnTo>
                      <a:pt x="197" y="998"/>
                    </a:lnTo>
                    <a:lnTo>
                      <a:pt x="197" y="1012"/>
                    </a:lnTo>
                    <a:lnTo>
                      <a:pt x="191" y="1012"/>
                    </a:lnTo>
                    <a:lnTo>
                      <a:pt x="177" y="1012"/>
                    </a:lnTo>
                    <a:lnTo>
                      <a:pt x="163" y="1012"/>
                    </a:lnTo>
                    <a:lnTo>
                      <a:pt x="143" y="1012"/>
                    </a:lnTo>
                    <a:lnTo>
                      <a:pt x="143" y="1018"/>
                    </a:lnTo>
                    <a:lnTo>
                      <a:pt x="134" y="1018"/>
                    </a:lnTo>
                    <a:lnTo>
                      <a:pt x="134" y="1012"/>
                    </a:lnTo>
                    <a:lnTo>
                      <a:pt x="128" y="1018"/>
                    </a:lnTo>
                    <a:lnTo>
                      <a:pt x="128" y="1024"/>
                    </a:lnTo>
                    <a:lnTo>
                      <a:pt x="128" y="1032"/>
                    </a:lnTo>
                    <a:lnTo>
                      <a:pt x="128" y="1038"/>
                    </a:lnTo>
                    <a:lnTo>
                      <a:pt x="122" y="1038"/>
                    </a:lnTo>
                    <a:lnTo>
                      <a:pt x="114" y="1024"/>
                    </a:lnTo>
                    <a:lnTo>
                      <a:pt x="108" y="1032"/>
                    </a:lnTo>
                    <a:lnTo>
                      <a:pt x="108" y="1038"/>
                    </a:lnTo>
                    <a:lnTo>
                      <a:pt x="108" y="1046"/>
                    </a:lnTo>
                    <a:lnTo>
                      <a:pt x="108" y="1060"/>
                    </a:lnTo>
                    <a:lnTo>
                      <a:pt x="114" y="1066"/>
                    </a:lnTo>
                    <a:lnTo>
                      <a:pt x="114" y="1080"/>
                    </a:lnTo>
                    <a:lnTo>
                      <a:pt x="100" y="1094"/>
                    </a:lnTo>
                    <a:lnTo>
                      <a:pt x="100" y="1100"/>
                    </a:lnTo>
                    <a:lnTo>
                      <a:pt x="108" y="1106"/>
                    </a:lnTo>
                    <a:lnTo>
                      <a:pt x="100" y="1120"/>
                    </a:lnTo>
                    <a:lnTo>
                      <a:pt x="108" y="1134"/>
                    </a:lnTo>
                    <a:lnTo>
                      <a:pt x="108" y="1148"/>
                    </a:lnTo>
                    <a:lnTo>
                      <a:pt x="122" y="1154"/>
                    </a:lnTo>
                    <a:lnTo>
                      <a:pt x="128" y="1162"/>
                    </a:lnTo>
                    <a:lnTo>
                      <a:pt x="128" y="1168"/>
                    </a:lnTo>
                    <a:lnTo>
                      <a:pt x="122" y="1174"/>
                    </a:lnTo>
                    <a:lnTo>
                      <a:pt x="114" y="1168"/>
                    </a:lnTo>
                    <a:lnTo>
                      <a:pt x="108" y="1162"/>
                    </a:lnTo>
                    <a:lnTo>
                      <a:pt x="100" y="1168"/>
                    </a:lnTo>
                    <a:lnTo>
                      <a:pt x="100" y="1174"/>
                    </a:lnTo>
                    <a:lnTo>
                      <a:pt x="108" y="1182"/>
                    </a:lnTo>
                    <a:lnTo>
                      <a:pt x="114" y="1182"/>
                    </a:lnTo>
                    <a:lnTo>
                      <a:pt x="108" y="1196"/>
                    </a:lnTo>
                    <a:lnTo>
                      <a:pt x="100" y="1196"/>
                    </a:lnTo>
                    <a:lnTo>
                      <a:pt x="100" y="1196"/>
                    </a:lnTo>
                    <a:lnTo>
                      <a:pt x="100" y="1196"/>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0" name="Freeform 14"/>
              <p:cNvSpPr>
                <a:spLocks/>
              </p:cNvSpPr>
              <p:nvPr/>
            </p:nvSpPr>
            <p:spPr bwMode="gray">
              <a:xfrm>
                <a:off x="5547989" y="2155402"/>
                <a:ext cx="311219" cy="238178"/>
              </a:xfrm>
              <a:custGeom>
                <a:avLst/>
                <a:gdLst>
                  <a:gd name="T0" fmla="*/ 60 w 196"/>
                  <a:gd name="T1" fmla="*/ 122 h 150"/>
                  <a:gd name="T2" fmla="*/ 74 w 196"/>
                  <a:gd name="T3" fmla="*/ 122 h 150"/>
                  <a:gd name="T4" fmla="*/ 82 w 196"/>
                  <a:gd name="T5" fmla="*/ 116 h 150"/>
                  <a:gd name="T6" fmla="*/ 102 w 196"/>
                  <a:gd name="T7" fmla="*/ 122 h 150"/>
                  <a:gd name="T8" fmla="*/ 108 w 196"/>
                  <a:gd name="T9" fmla="*/ 136 h 150"/>
                  <a:gd name="T10" fmla="*/ 128 w 196"/>
                  <a:gd name="T11" fmla="*/ 136 h 150"/>
                  <a:gd name="T12" fmla="*/ 150 w 196"/>
                  <a:gd name="T13" fmla="*/ 144 h 150"/>
                  <a:gd name="T14" fmla="*/ 164 w 196"/>
                  <a:gd name="T15" fmla="*/ 144 h 150"/>
                  <a:gd name="T16" fmla="*/ 184 w 196"/>
                  <a:gd name="T17" fmla="*/ 130 h 150"/>
                  <a:gd name="T18" fmla="*/ 170 w 196"/>
                  <a:gd name="T19" fmla="*/ 122 h 150"/>
                  <a:gd name="T20" fmla="*/ 178 w 196"/>
                  <a:gd name="T21" fmla="*/ 110 h 150"/>
                  <a:gd name="T22" fmla="*/ 192 w 196"/>
                  <a:gd name="T23" fmla="*/ 122 h 150"/>
                  <a:gd name="T24" fmla="*/ 196 w 196"/>
                  <a:gd name="T25" fmla="*/ 110 h 150"/>
                  <a:gd name="T26" fmla="*/ 178 w 196"/>
                  <a:gd name="T27" fmla="*/ 96 h 150"/>
                  <a:gd name="T28" fmla="*/ 170 w 196"/>
                  <a:gd name="T29" fmla="*/ 68 h 150"/>
                  <a:gd name="T30" fmla="*/ 170 w 196"/>
                  <a:gd name="T31" fmla="*/ 48 h 150"/>
                  <a:gd name="T32" fmla="*/ 184 w 196"/>
                  <a:gd name="T33" fmla="*/ 28 h 150"/>
                  <a:gd name="T34" fmla="*/ 178 w 196"/>
                  <a:gd name="T35" fmla="*/ 6 h 150"/>
                  <a:gd name="T36" fmla="*/ 142 w 196"/>
                  <a:gd name="T37" fmla="*/ 6 h 150"/>
                  <a:gd name="T38" fmla="*/ 128 w 196"/>
                  <a:gd name="T39" fmla="*/ 0 h 150"/>
                  <a:gd name="T40" fmla="*/ 108 w 196"/>
                  <a:gd name="T41" fmla="*/ 6 h 150"/>
                  <a:gd name="T42" fmla="*/ 94 w 196"/>
                  <a:gd name="T43" fmla="*/ 0 h 150"/>
                  <a:gd name="T44" fmla="*/ 82 w 196"/>
                  <a:gd name="T45" fmla="*/ 0 h 150"/>
                  <a:gd name="T46" fmla="*/ 68 w 196"/>
                  <a:gd name="T47" fmla="*/ 6 h 150"/>
                  <a:gd name="T48" fmla="*/ 48 w 196"/>
                  <a:gd name="T49" fmla="*/ 6 h 150"/>
                  <a:gd name="T50" fmla="*/ 34 w 196"/>
                  <a:gd name="T51" fmla="*/ 6 h 150"/>
                  <a:gd name="T52" fmla="*/ 26 w 196"/>
                  <a:gd name="T53" fmla="*/ 14 h 150"/>
                  <a:gd name="T54" fmla="*/ 20 w 196"/>
                  <a:gd name="T55" fmla="*/ 20 h 150"/>
                  <a:gd name="T56" fmla="*/ 6 w 196"/>
                  <a:gd name="T57" fmla="*/ 20 h 150"/>
                  <a:gd name="T58" fmla="*/ 0 w 196"/>
                  <a:gd name="T59" fmla="*/ 34 h 150"/>
                  <a:gd name="T60" fmla="*/ 0 w 196"/>
                  <a:gd name="T61" fmla="*/ 48 h 150"/>
                  <a:gd name="T62" fmla="*/ 14 w 196"/>
                  <a:gd name="T63" fmla="*/ 54 h 150"/>
                  <a:gd name="T64" fmla="*/ 6 w 196"/>
                  <a:gd name="T65" fmla="*/ 62 h 150"/>
                  <a:gd name="T66" fmla="*/ 6 w 196"/>
                  <a:gd name="T67" fmla="*/ 88 h 150"/>
                  <a:gd name="T68" fmla="*/ 26 w 196"/>
                  <a:gd name="T69" fmla="*/ 102 h 150"/>
                  <a:gd name="T70" fmla="*/ 34 w 196"/>
                  <a:gd name="T71" fmla="*/ 88 h 150"/>
                  <a:gd name="T72" fmla="*/ 48 w 196"/>
                  <a:gd name="T73" fmla="*/ 96 h 150"/>
                  <a:gd name="T74" fmla="*/ 40 w 196"/>
                  <a:gd name="T75" fmla="*/ 122 h 150"/>
                  <a:gd name="T76" fmla="*/ 34 w 196"/>
                  <a:gd name="T77" fmla="*/ 130 h 150"/>
                  <a:gd name="T78" fmla="*/ 34 w 196"/>
                  <a:gd name="T79" fmla="*/ 13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6" h="150">
                    <a:moveTo>
                      <a:pt x="34" y="130"/>
                    </a:moveTo>
                    <a:lnTo>
                      <a:pt x="60" y="122"/>
                    </a:lnTo>
                    <a:lnTo>
                      <a:pt x="68" y="116"/>
                    </a:lnTo>
                    <a:lnTo>
                      <a:pt x="74" y="122"/>
                    </a:lnTo>
                    <a:lnTo>
                      <a:pt x="82" y="122"/>
                    </a:lnTo>
                    <a:lnTo>
                      <a:pt x="82" y="116"/>
                    </a:lnTo>
                    <a:lnTo>
                      <a:pt x="94" y="122"/>
                    </a:lnTo>
                    <a:lnTo>
                      <a:pt x="102" y="122"/>
                    </a:lnTo>
                    <a:lnTo>
                      <a:pt x="102" y="130"/>
                    </a:lnTo>
                    <a:lnTo>
                      <a:pt x="108" y="136"/>
                    </a:lnTo>
                    <a:lnTo>
                      <a:pt x="116" y="136"/>
                    </a:lnTo>
                    <a:lnTo>
                      <a:pt x="128" y="136"/>
                    </a:lnTo>
                    <a:lnTo>
                      <a:pt x="136" y="150"/>
                    </a:lnTo>
                    <a:lnTo>
                      <a:pt x="150" y="144"/>
                    </a:lnTo>
                    <a:lnTo>
                      <a:pt x="164" y="136"/>
                    </a:lnTo>
                    <a:lnTo>
                      <a:pt x="164" y="144"/>
                    </a:lnTo>
                    <a:lnTo>
                      <a:pt x="178" y="144"/>
                    </a:lnTo>
                    <a:lnTo>
                      <a:pt x="184" y="130"/>
                    </a:lnTo>
                    <a:lnTo>
                      <a:pt x="178" y="130"/>
                    </a:lnTo>
                    <a:lnTo>
                      <a:pt x="170" y="122"/>
                    </a:lnTo>
                    <a:lnTo>
                      <a:pt x="170" y="116"/>
                    </a:lnTo>
                    <a:lnTo>
                      <a:pt x="178" y="110"/>
                    </a:lnTo>
                    <a:lnTo>
                      <a:pt x="184" y="116"/>
                    </a:lnTo>
                    <a:lnTo>
                      <a:pt x="192" y="122"/>
                    </a:lnTo>
                    <a:lnTo>
                      <a:pt x="196" y="116"/>
                    </a:lnTo>
                    <a:lnTo>
                      <a:pt x="196" y="110"/>
                    </a:lnTo>
                    <a:lnTo>
                      <a:pt x="192" y="102"/>
                    </a:lnTo>
                    <a:lnTo>
                      <a:pt x="178" y="96"/>
                    </a:lnTo>
                    <a:lnTo>
                      <a:pt x="178" y="82"/>
                    </a:lnTo>
                    <a:lnTo>
                      <a:pt x="170" y="68"/>
                    </a:lnTo>
                    <a:lnTo>
                      <a:pt x="178" y="54"/>
                    </a:lnTo>
                    <a:lnTo>
                      <a:pt x="170" y="48"/>
                    </a:lnTo>
                    <a:lnTo>
                      <a:pt x="170" y="42"/>
                    </a:lnTo>
                    <a:lnTo>
                      <a:pt x="184" y="28"/>
                    </a:lnTo>
                    <a:lnTo>
                      <a:pt x="184" y="14"/>
                    </a:lnTo>
                    <a:lnTo>
                      <a:pt x="178" y="6"/>
                    </a:lnTo>
                    <a:lnTo>
                      <a:pt x="170" y="6"/>
                    </a:lnTo>
                    <a:lnTo>
                      <a:pt x="142" y="6"/>
                    </a:lnTo>
                    <a:lnTo>
                      <a:pt x="136" y="6"/>
                    </a:lnTo>
                    <a:lnTo>
                      <a:pt x="128" y="0"/>
                    </a:lnTo>
                    <a:lnTo>
                      <a:pt x="122" y="0"/>
                    </a:lnTo>
                    <a:lnTo>
                      <a:pt x="108" y="6"/>
                    </a:lnTo>
                    <a:lnTo>
                      <a:pt x="108" y="0"/>
                    </a:lnTo>
                    <a:lnTo>
                      <a:pt x="94" y="0"/>
                    </a:lnTo>
                    <a:lnTo>
                      <a:pt x="88" y="0"/>
                    </a:lnTo>
                    <a:lnTo>
                      <a:pt x="82" y="0"/>
                    </a:lnTo>
                    <a:lnTo>
                      <a:pt x="74" y="0"/>
                    </a:lnTo>
                    <a:lnTo>
                      <a:pt x="68" y="6"/>
                    </a:lnTo>
                    <a:lnTo>
                      <a:pt x="60" y="6"/>
                    </a:lnTo>
                    <a:lnTo>
                      <a:pt x="48" y="6"/>
                    </a:lnTo>
                    <a:lnTo>
                      <a:pt x="40" y="6"/>
                    </a:lnTo>
                    <a:lnTo>
                      <a:pt x="34" y="6"/>
                    </a:lnTo>
                    <a:lnTo>
                      <a:pt x="26" y="6"/>
                    </a:lnTo>
                    <a:lnTo>
                      <a:pt x="26" y="14"/>
                    </a:lnTo>
                    <a:lnTo>
                      <a:pt x="26" y="20"/>
                    </a:lnTo>
                    <a:lnTo>
                      <a:pt x="20" y="20"/>
                    </a:lnTo>
                    <a:lnTo>
                      <a:pt x="14" y="20"/>
                    </a:lnTo>
                    <a:lnTo>
                      <a:pt x="6" y="20"/>
                    </a:lnTo>
                    <a:lnTo>
                      <a:pt x="0" y="28"/>
                    </a:lnTo>
                    <a:lnTo>
                      <a:pt x="0" y="34"/>
                    </a:lnTo>
                    <a:lnTo>
                      <a:pt x="0" y="42"/>
                    </a:lnTo>
                    <a:lnTo>
                      <a:pt x="0" y="48"/>
                    </a:lnTo>
                    <a:lnTo>
                      <a:pt x="14" y="48"/>
                    </a:lnTo>
                    <a:lnTo>
                      <a:pt x="14" y="54"/>
                    </a:lnTo>
                    <a:lnTo>
                      <a:pt x="14" y="62"/>
                    </a:lnTo>
                    <a:lnTo>
                      <a:pt x="6" y="62"/>
                    </a:lnTo>
                    <a:lnTo>
                      <a:pt x="6" y="68"/>
                    </a:lnTo>
                    <a:lnTo>
                      <a:pt x="6" y="88"/>
                    </a:lnTo>
                    <a:lnTo>
                      <a:pt x="20" y="102"/>
                    </a:lnTo>
                    <a:lnTo>
                      <a:pt x="26" y="102"/>
                    </a:lnTo>
                    <a:lnTo>
                      <a:pt x="26" y="96"/>
                    </a:lnTo>
                    <a:lnTo>
                      <a:pt x="34" y="88"/>
                    </a:lnTo>
                    <a:lnTo>
                      <a:pt x="40" y="88"/>
                    </a:lnTo>
                    <a:lnTo>
                      <a:pt x="48" y="96"/>
                    </a:lnTo>
                    <a:lnTo>
                      <a:pt x="40" y="110"/>
                    </a:lnTo>
                    <a:lnTo>
                      <a:pt x="40" y="122"/>
                    </a:lnTo>
                    <a:lnTo>
                      <a:pt x="40" y="130"/>
                    </a:lnTo>
                    <a:lnTo>
                      <a:pt x="34" y="130"/>
                    </a:lnTo>
                    <a:lnTo>
                      <a:pt x="34" y="130"/>
                    </a:lnTo>
                    <a:lnTo>
                      <a:pt x="34" y="130"/>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1" name="Freeform 15"/>
              <p:cNvSpPr>
                <a:spLocks/>
              </p:cNvSpPr>
              <p:nvPr/>
            </p:nvSpPr>
            <p:spPr bwMode="gray">
              <a:xfrm>
                <a:off x="5382852" y="2339593"/>
                <a:ext cx="503350" cy="260408"/>
              </a:xfrm>
              <a:custGeom>
                <a:avLst/>
                <a:gdLst>
                  <a:gd name="T0" fmla="*/ 138 w 317"/>
                  <a:gd name="T1" fmla="*/ 28 h 164"/>
                  <a:gd name="T2" fmla="*/ 138 w 317"/>
                  <a:gd name="T3" fmla="*/ 48 h 164"/>
                  <a:gd name="T4" fmla="*/ 138 w 317"/>
                  <a:gd name="T5" fmla="*/ 70 h 164"/>
                  <a:gd name="T6" fmla="*/ 124 w 317"/>
                  <a:gd name="T7" fmla="*/ 82 h 164"/>
                  <a:gd name="T8" fmla="*/ 102 w 317"/>
                  <a:gd name="T9" fmla="*/ 70 h 164"/>
                  <a:gd name="T10" fmla="*/ 96 w 317"/>
                  <a:gd name="T11" fmla="*/ 48 h 164"/>
                  <a:gd name="T12" fmla="*/ 76 w 317"/>
                  <a:gd name="T13" fmla="*/ 34 h 164"/>
                  <a:gd name="T14" fmla="*/ 70 w 317"/>
                  <a:gd name="T15" fmla="*/ 22 h 164"/>
                  <a:gd name="T16" fmla="*/ 42 w 317"/>
                  <a:gd name="T17" fmla="*/ 28 h 164"/>
                  <a:gd name="T18" fmla="*/ 28 w 317"/>
                  <a:gd name="T19" fmla="*/ 34 h 164"/>
                  <a:gd name="T20" fmla="*/ 22 w 317"/>
                  <a:gd name="T21" fmla="*/ 62 h 164"/>
                  <a:gd name="T22" fmla="*/ 8 w 317"/>
                  <a:gd name="T23" fmla="*/ 90 h 164"/>
                  <a:gd name="T24" fmla="*/ 22 w 317"/>
                  <a:gd name="T25" fmla="*/ 124 h 164"/>
                  <a:gd name="T26" fmla="*/ 42 w 317"/>
                  <a:gd name="T27" fmla="*/ 116 h 164"/>
                  <a:gd name="T28" fmla="*/ 56 w 317"/>
                  <a:gd name="T29" fmla="*/ 116 h 164"/>
                  <a:gd name="T30" fmla="*/ 82 w 317"/>
                  <a:gd name="T31" fmla="*/ 116 h 164"/>
                  <a:gd name="T32" fmla="*/ 116 w 317"/>
                  <a:gd name="T33" fmla="*/ 110 h 164"/>
                  <a:gd name="T34" fmla="*/ 152 w 317"/>
                  <a:gd name="T35" fmla="*/ 110 h 164"/>
                  <a:gd name="T36" fmla="*/ 172 w 317"/>
                  <a:gd name="T37" fmla="*/ 124 h 164"/>
                  <a:gd name="T38" fmla="*/ 198 w 317"/>
                  <a:gd name="T39" fmla="*/ 130 h 164"/>
                  <a:gd name="T40" fmla="*/ 226 w 317"/>
                  <a:gd name="T41" fmla="*/ 158 h 164"/>
                  <a:gd name="T42" fmla="*/ 254 w 317"/>
                  <a:gd name="T43" fmla="*/ 164 h 164"/>
                  <a:gd name="T44" fmla="*/ 268 w 317"/>
                  <a:gd name="T45" fmla="*/ 164 h 164"/>
                  <a:gd name="T46" fmla="*/ 282 w 317"/>
                  <a:gd name="T47" fmla="*/ 164 h 164"/>
                  <a:gd name="T48" fmla="*/ 300 w 317"/>
                  <a:gd name="T49" fmla="*/ 152 h 164"/>
                  <a:gd name="T50" fmla="*/ 288 w 317"/>
                  <a:gd name="T51" fmla="*/ 138 h 164"/>
                  <a:gd name="T52" fmla="*/ 315 w 317"/>
                  <a:gd name="T53" fmla="*/ 124 h 164"/>
                  <a:gd name="T54" fmla="*/ 311 w 317"/>
                  <a:gd name="T55" fmla="*/ 110 h 164"/>
                  <a:gd name="T56" fmla="*/ 302 w 317"/>
                  <a:gd name="T57" fmla="*/ 82 h 164"/>
                  <a:gd name="T58" fmla="*/ 296 w 317"/>
                  <a:gd name="T59" fmla="*/ 76 h 164"/>
                  <a:gd name="T60" fmla="*/ 282 w 317"/>
                  <a:gd name="T61" fmla="*/ 62 h 164"/>
                  <a:gd name="T62" fmla="*/ 296 w 317"/>
                  <a:gd name="T63" fmla="*/ 48 h 164"/>
                  <a:gd name="T64" fmla="*/ 290 w 317"/>
                  <a:gd name="T65" fmla="*/ 34 h 164"/>
                  <a:gd name="T66" fmla="*/ 282 w 317"/>
                  <a:gd name="T67" fmla="*/ 34 h 164"/>
                  <a:gd name="T68" fmla="*/ 274 w 317"/>
                  <a:gd name="T69" fmla="*/ 28 h 164"/>
                  <a:gd name="T70" fmla="*/ 268 w 317"/>
                  <a:gd name="T71" fmla="*/ 28 h 164"/>
                  <a:gd name="T72" fmla="*/ 254 w 317"/>
                  <a:gd name="T73" fmla="*/ 28 h 164"/>
                  <a:gd name="T74" fmla="*/ 232 w 317"/>
                  <a:gd name="T75" fmla="*/ 22 h 164"/>
                  <a:gd name="T76" fmla="*/ 212 w 317"/>
                  <a:gd name="T77" fmla="*/ 22 h 164"/>
                  <a:gd name="T78" fmla="*/ 206 w 317"/>
                  <a:gd name="T79" fmla="*/ 6 h 164"/>
                  <a:gd name="T80" fmla="*/ 186 w 317"/>
                  <a:gd name="T81" fmla="*/ 0 h 164"/>
                  <a:gd name="T82" fmla="*/ 178 w 317"/>
                  <a:gd name="T83" fmla="*/ 6 h 164"/>
                  <a:gd name="T84" fmla="*/ 164 w 317"/>
                  <a:gd name="T85" fmla="*/ 6 h 164"/>
                  <a:gd name="T86" fmla="*/ 138 w 317"/>
                  <a:gd name="T87" fmla="*/ 22 h 164"/>
                  <a:gd name="T88" fmla="*/ 138 w 317"/>
                  <a:gd name="T89" fmla="*/ 2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7" h="164">
                    <a:moveTo>
                      <a:pt x="138" y="22"/>
                    </a:moveTo>
                    <a:lnTo>
                      <a:pt x="138" y="28"/>
                    </a:lnTo>
                    <a:lnTo>
                      <a:pt x="138" y="34"/>
                    </a:lnTo>
                    <a:lnTo>
                      <a:pt x="138" y="48"/>
                    </a:lnTo>
                    <a:lnTo>
                      <a:pt x="138" y="56"/>
                    </a:lnTo>
                    <a:lnTo>
                      <a:pt x="138" y="70"/>
                    </a:lnTo>
                    <a:lnTo>
                      <a:pt x="130" y="76"/>
                    </a:lnTo>
                    <a:lnTo>
                      <a:pt x="124" y="82"/>
                    </a:lnTo>
                    <a:lnTo>
                      <a:pt x="116" y="82"/>
                    </a:lnTo>
                    <a:lnTo>
                      <a:pt x="102" y="70"/>
                    </a:lnTo>
                    <a:lnTo>
                      <a:pt x="96" y="62"/>
                    </a:lnTo>
                    <a:lnTo>
                      <a:pt x="96" y="48"/>
                    </a:lnTo>
                    <a:lnTo>
                      <a:pt x="82" y="34"/>
                    </a:lnTo>
                    <a:lnTo>
                      <a:pt x="76" y="34"/>
                    </a:lnTo>
                    <a:lnTo>
                      <a:pt x="70" y="28"/>
                    </a:lnTo>
                    <a:lnTo>
                      <a:pt x="70" y="22"/>
                    </a:lnTo>
                    <a:lnTo>
                      <a:pt x="56" y="22"/>
                    </a:lnTo>
                    <a:lnTo>
                      <a:pt x="42" y="28"/>
                    </a:lnTo>
                    <a:lnTo>
                      <a:pt x="34" y="34"/>
                    </a:lnTo>
                    <a:lnTo>
                      <a:pt x="28" y="34"/>
                    </a:lnTo>
                    <a:lnTo>
                      <a:pt x="22" y="48"/>
                    </a:lnTo>
                    <a:lnTo>
                      <a:pt x="22" y="62"/>
                    </a:lnTo>
                    <a:lnTo>
                      <a:pt x="14" y="76"/>
                    </a:lnTo>
                    <a:lnTo>
                      <a:pt x="8" y="90"/>
                    </a:lnTo>
                    <a:lnTo>
                      <a:pt x="0" y="130"/>
                    </a:lnTo>
                    <a:lnTo>
                      <a:pt x="22" y="124"/>
                    </a:lnTo>
                    <a:lnTo>
                      <a:pt x="34" y="124"/>
                    </a:lnTo>
                    <a:lnTo>
                      <a:pt x="42" y="116"/>
                    </a:lnTo>
                    <a:lnTo>
                      <a:pt x="48" y="116"/>
                    </a:lnTo>
                    <a:lnTo>
                      <a:pt x="56" y="116"/>
                    </a:lnTo>
                    <a:lnTo>
                      <a:pt x="76" y="116"/>
                    </a:lnTo>
                    <a:lnTo>
                      <a:pt x="82" y="116"/>
                    </a:lnTo>
                    <a:lnTo>
                      <a:pt x="96" y="110"/>
                    </a:lnTo>
                    <a:lnTo>
                      <a:pt x="116" y="110"/>
                    </a:lnTo>
                    <a:lnTo>
                      <a:pt x="138" y="116"/>
                    </a:lnTo>
                    <a:lnTo>
                      <a:pt x="152" y="110"/>
                    </a:lnTo>
                    <a:lnTo>
                      <a:pt x="158" y="116"/>
                    </a:lnTo>
                    <a:lnTo>
                      <a:pt x="172" y="124"/>
                    </a:lnTo>
                    <a:lnTo>
                      <a:pt x="192" y="130"/>
                    </a:lnTo>
                    <a:lnTo>
                      <a:pt x="198" y="130"/>
                    </a:lnTo>
                    <a:lnTo>
                      <a:pt x="206" y="144"/>
                    </a:lnTo>
                    <a:lnTo>
                      <a:pt x="226" y="158"/>
                    </a:lnTo>
                    <a:lnTo>
                      <a:pt x="232" y="164"/>
                    </a:lnTo>
                    <a:lnTo>
                      <a:pt x="254" y="164"/>
                    </a:lnTo>
                    <a:lnTo>
                      <a:pt x="260" y="164"/>
                    </a:lnTo>
                    <a:lnTo>
                      <a:pt x="268" y="164"/>
                    </a:lnTo>
                    <a:lnTo>
                      <a:pt x="274" y="158"/>
                    </a:lnTo>
                    <a:lnTo>
                      <a:pt x="282" y="164"/>
                    </a:lnTo>
                    <a:lnTo>
                      <a:pt x="294" y="158"/>
                    </a:lnTo>
                    <a:lnTo>
                      <a:pt x="300" y="152"/>
                    </a:lnTo>
                    <a:lnTo>
                      <a:pt x="294" y="144"/>
                    </a:lnTo>
                    <a:lnTo>
                      <a:pt x="288" y="138"/>
                    </a:lnTo>
                    <a:lnTo>
                      <a:pt x="300" y="130"/>
                    </a:lnTo>
                    <a:lnTo>
                      <a:pt x="315" y="124"/>
                    </a:lnTo>
                    <a:lnTo>
                      <a:pt x="317" y="124"/>
                    </a:lnTo>
                    <a:lnTo>
                      <a:pt x="311" y="110"/>
                    </a:lnTo>
                    <a:lnTo>
                      <a:pt x="311" y="96"/>
                    </a:lnTo>
                    <a:lnTo>
                      <a:pt x="302" y="82"/>
                    </a:lnTo>
                    <a:lnTo>
                      <a:pt x="302" y="76"/>
                    </a:lnTo>
                    <a:lnTo>
                      <a:pt x="296" y="76"/>
                    </a:lnTo>
                    <a:lnTo>
                      <a:pt x="290" y="76"/>
                    </a:lnTo>
                    <a:lnTo>
                      <a:pt x="282" y="62"/>
                    </a:lnTo>
                    <a:lnTo>
                      <a:pt x="296" y="62"/>
                    </a:lnTo>
                    <a:lnTo>
                      <a:pt x="296" y="48"/>
                    </a:lnTo>
                    <a:lnTo>
                      <a:pt x="296" y="34"/>
                    </a:lnTo>
                    <a:lnTo>
                      <a:pt x="290" y="34"/>
                    </a:lnTo>
                    <a:lnTo>
                      <a:pt x="282" y="40"/>
                    </a:lnTo>
                    <a:lnTo>
                      <a:pt x="282" y="34"/>
                    </a:lnTo>
                    <a:lnTo>
                      <a:pt x="274" y="34"/>
                    </a:lnTo>
                    <a:lnTo>
                      <a:pt x="274" y="28"/>
                    </a:lnTo>
                    <a:lnTo>
                      <a:pt x="282" y="28"/>
                    </a:lnTo>
                    <a:lnTo>
                      <a:pt x="268" y="28"/>
                    </a:lnTo>
                    <a:lnTo>
                      <a:pt x="268" y="22"/>
                    </a:lnTo>
                    <a:lnTo>
                      <a:pt x="254" y="28"/>
                    </a:lnTo>
                    <a:lnTo>
                      <a:pt x="240" y="34"/>
                    </a:lnTo>
                    <a:lnTo>
                      <a:pt x="232" y="22"/>
                    </a:lnTo>
                    <a:lnTo>
                      <a:pt x="220" y="22"/>
                    </a:lnTo>
                    <a:lnTo>
                      <a:pt x="212" y="22"/>
                    </a:lnTo>
                    <a:lnTo>
                      <a:pt x="206" y="14"/>
                    </a:lnTo>
                    <a:lnTo>
                      <a:pt x="206" y="6"/>
                    </a:lnTo>
                    <a:lnTo>
                      <a:pt x="198" y="6"/>
                    </a:lnTo>
                    <a:lnTo>
                      <a:pt x="186" y="0"/>
                    </a:lnTo>
                    <a:lnTo>
                      <a:pt x="186" y="6"/>
                    </a:lnTo>
                    <a:lnTo>
                      <a:pt x="178" y="6"/>
                    </a:lnTo>
                    <a:lnTo>
                      <a:pt x="172" y="0"/>
                    </a:lnTo>
                    <a:lnTo>
                      <a:pt x="164" y="6"/>
                    </a:lnTo>
                    <a:lnTo>
                      <a:pt x="138" y="14"/>
                    </a:lnTo>
                    <a:lnTo>
                      <a:pt x="138" y="22"/>
                    </a:lnTo>
                    <a:lnTo>
                      <a:pt x="138" y="22"/>
                    </a:lnTo>
                    <a:lnTo>
                      <a:pt x="138" y="22"/>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2" name="Freeform 16"/>
              <p:cNvSpPr>
                <a:spLocks/>
              </p:cNvSpPr>
              <p:nvPr/>
            </p:nvSpPr>
            <p:spPr bwMode="gray">
              <a:xfrm>
                <a:off x="5382852" y="2514257"/>
                <a:ext cx="422369" cy="301692"/>
              </a:xfrm>
              <a:custGeom>
                <a:avLst/>
                <a:gdLst>
                  <a:gd name="T0" fmla="*/ 238 w 266"/>
                  <a:gd name="T1" fmla="*/ 82 h 190"/>
                  <a:gd name="T2" fmla="*/ 252 w 266"/>
                  <a:gd name="T3" fmla="*/ 102 h 190"/>
                  <a:gd name="T4" fmla="*/ 232 w 266"/>
                  <a:gd name="T5" fmla="*/ 110 h 190"/>
                  <a:gd name="T6" fmla="*/ 204 w 266"/>
                  <a:gd name="T7" fmla="*/ 124 h 190"/>
                  <a:gd name="T8" fmla="*/ 204 w 266"/>
                  <a:gd name="T9" fmla="*/ 150 h 190"/>
                  <a:gd name="T10" fmla="*/ 192 w 266"/>
                  <a:gd name="T11" fmla="*/ 164 h 190"/>
                  <a:gd name="T12" fmla="*/ 184 w 266"/>
                  <a:gd name="T13" fmla="*/ 164 h 190"/>
                  <a:gd name="T14" fmla="*/ 164 w 266"/>
                  <a:gd name="T15" fmla="*/ 170 h 190"/>
                  <a:gd name="T16" fmla="*/ 158 w 266"/>
                  <a:gd name="T17" fmla="*/ 170 h 190"/>
                  <a:gd name="T18" fmla="*/ 144 w 266"/>
                  <a:gd name="T19" fmla="*/ 190 h 190"/>
                  <a:gd name="T20" fmla="*/ 130 w 266"/>
                  <a:gd name="T21" fmla="*/ 184 h 190"/>
                  <a:gd name="T22" fmla="*/ 102 w 266"/>
                  <a:gd name="T23" fmla="*/ 170 h 190"/>
                  <a:gd name="T24" fmla="*/ 82 w 266"/>
                  <a:gd name="T25" fmla="*/ 156 h 190"/>
                  <a:gd name="T26" fmla="*/ 76 w 266"/>
                  <a:gd name="T27" fmla="*/ 150 h 190"/>
                  <a:gd name="T28" fmla="*/ 82 w 266"/>
                  <a:gd name="T29" fmla="*/ 136 h 190"/>
                  <a:gd name="T30" fmla="*/ 76 w 266"/>
                  <a:gd name="T31" fmla="*/ 124 h 190"/>
                  <a:gd name="T32" fmla="*/ 68 w 266"/>
                  <a:gd name="T33" fmla="*/ 110 h 190"/>
                  <a:gd name="T34" fmla="*/ 62 w 266"/>
                  <a:gd name="T35" fmla="*/ 116 h 190"/>
                  <a:gd name="T36" fmla="*/ 42 w 266"/>
                  <a:gd name="T37" fmla="*/ 116 h 190"/>
                  <a:gd name="T38" fmla="*/ 28 w 266"/>
                  <a:gd name="T39" fmla="*/ 110 h 190"/>
                  <a:gd name="T40" fmla="*/ 22 w 266"/>
                  <a:gd name="T41" fmla="*/ 96 h 190"/>
                  <a:gd name="T42" fmla="*/ 8 w 266"/>
                  <a:gd name="T43" fmla="*/ 76 h 190"/>
                  <a:gd name="T44" fmla="*/ 0 w 266"/>
                  <a:gd name="T45" fmla="*/ 48 h 190"/>
                  <a:gd name="T46" fmla="*/ 0 w 266"/>
                  <a:gd name="T47" fmla="*/ 20 h 190"/>
                  <a:gd name="T48" fmla="*/ 22 w 266"/>
                  <a:gd name="T49" fmla="*/ 14 h 190"/>
                  <a:gd name="T50" fmla="*/ 42 w 266"/>
                  <a:gd name="T51" fmla="*/ 6 h 190"/>
                  <a:gd name="T52" fmla="*/ 56 w 266"/>
                  <a:gd name="T53" fmla="*/ 6 h 190"/>
                  <a:gd name="T54" fmla="*/ 82 w 266"/>
                  <a:gd name="T55" fmla="*/ 6 h 190"/>
                  <a:gd name="T56" fmla="*/ 118 w 266"/>
                  <a:gd name="T57" fmla="*/ 0 h 190"/>
                  <a:gd name="T58" fmla="*/ 152 w 266"/>
                  <a:gd name="T59" fmla="*/ 0 h 190"/>
                  <a:gd name="T60" fmla="*/ 172 w 266"/>
                  <a:gd name="T61" fmla="*/ 14 h 190"/>
                  <a:gd name="T62" fmla="*/ 198 w 266"/>
                  <a:gd name="T63" fmla="*/ 20 h 190"/>
                  <a:gd name="T64" fmla="*/ 226 w 266"/>
                  <a:gd name="T65" fmla="*/ 48 h 190"/>
                  <a:gd name="T66" fmla="*/ 254 w 266"/>
                  <a:gd name="T67" fmla="*/ 54 h 190"/>
                  <a:gd name="T68" fmla="*/ 252 w 266"/>
                  <a:gd name="T69" fmla="*/ 54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6" h="190">
                    <a:moveTo>
                      <a:pt x="252" y="54"/>
                    </a:moveTo>
                    <a:lnTo>
                      <a:pt x="238" y="82"/>
                    </a:lnTo>
                    <a:lnTo>
                      <a:pt x="266" y="88"/>
                    </a:lnTo>
                    <a:lnTo>
                      <a:pt x="252" y="102"/>
                    </a:lnTo>
                    <a:lnTo>
                      <a:pt x="232" y="102"/>
                    </a:lnTo>
                    <a:lnTo>
                      <a:pt x="232" y="110"/>
                    </a:lnTo>
                    <a:lnTo>
                      <a:pt x="204" y="116"/>
                    </a:lnTo>
                    <a:lnTo>
                      <a:pt x="204" y="124"/>
                    </a:lnTo>
                    <a:lnTo>
                      <a:pt x="204" y="142"/>
                    </a:lnTo>
                    <a:lnTo>
                      <a:pt x="204" y="150"/>
                    </a:lnTo>
                    <a:lnTo>
                      <a:pt x="198" y="164"/>
                    </a:lnTo>
                    <a:lnTo>
                      <a:pt x="192" y="164"/>
                    </a:lnTo>
                    <a:lnTo>
                      <a:pt x="192" y="170"/>
                    </a:lnTo>
                    <a:lnTo>
                      <a:pt x="184" y="164"/>
                    </a:lnTo>
                    <a:lnTo>
                      <a:pt x="170" y="170"/>
                    </a:lnTo>
                    <a:lnTo>
                      <a:pt x="164" y="170"/>
                    </a:lnTo>
                    <a:lnTo>
                      <a:pt x="150" y="170"/>
                    </a:lnTo>
                    <a:lnTo>
                      <a:pt x="158" y="170"/>
                    </a:lnTo>
                    <a:lnTo>
                      <a:pt x="150" y="184"/>
                    </a:lnTo>
                    <a:lnTo>
                      <a:pt x="144" y="190"/>
                    </a:lnTo>
                    <a:lnTo>
                      <a:pt x="130" y="190"/>
                    </a:lnTo>
                    <a:lnTo>
                      <a:pt x="130" y="184"/>
                    </a:lnTo>
                    <a:lnTo>
                      <a:pt x="116" y="184"/>
                    </a:lnTo>
                    <a:lnTo>
                      <a:pt x="102" y="170"/>
                    </a:lnTo>
                    <a:lnTo>
                      <a:pt x="82" y="164"/>
                    </a:lnTo>
                    <a:lnTo>
                      <a:pt x="82" y="156"/>
                    </a:lnTo>
                    <a:lnTo>
                      <a:pt x="76" y="156"/>
                    </a:lnTo>
                    <a:lnTo>
                      <a:pt x="76" y="150"/>
                    </a:lnTo>
                    <a:lnTo>
                      <a:pt x="82" y="142"/>
                    </a:lnTo>
                    <a:lnTo>
                      <a:pt x="82" y="136"/>
                    </a:lnTo>
                    <a:lnTo>
                      <a:pt x="82" y="128"/>
                    </a:lnTo>
                    <a:lnTo>
                      <a:pt x="76" y="124"/>
                    </a:lnTo>
                    <a:lnTo>
                      <a:pt x="76" y="116"/>
                    </a:lnTo>
                    <a:lnTo>
                      <a:pt x="68" y="110"/>
                    </a:lnTo>
                    <a:lnTo>
                      <a:pt x="62" y="110"/>
                    </a:lnTo>
                    <a:lnTo>
                      <a:pt x="62" y="116"/>
                    </a:lnTo>
                    <a:lnTo>
                      <a:pt x="56" y="116"/>
                    </a:lnTo>
                    <a:lnTo>
                      <a:pt x="42" y="116"/>
                    </a:lnTo>
                    <a:lnTo>
                      <a:pt x="34" y="110"/>
                    </a:lnTo>
                    <a:lnTo>
                      <a:pt x="28" y="110"/>
                    </a:lnTo>
                    <a:lnTo>
                      <a:pt x="22" y="102"/>
                    </a:lnTo>
                    <a:lnTo>
                      <a:pt x="22" y="96"/>
                    </a:lnTo>
                    <a:lnTo>
                      <a:pt x="8" y="96"/>
                    </a:lnTo>
                    <a:lnTo>
                      <a:pt x="8" y="76"/>
                    </a:lnTo>
                    <a:lnTo>
                      <a:pt x="0" y="54"/>
                    </a:lnTo>
                    <a:lnTo>
                      <a:pt x="0" y="48"/>
                    </a:lnTo>
                    <a:lnTo>
                      <a:pt x="0" y="42"/>
                    </a:lnTo>
                    <a:lnTo>
                      <a:pt x="0" y="20"/>
                    </a:lnTo>
                    <a:lnTo>
                      <a:pt x="2" y="20"/>
                    </a:lnTo>
                    <a:lnTo>
                      <a:pt x="22" y="14"/>
                    </a:lnTo>
                    <a:lnTo>
                      <a:pt x="34" y="14"/>
                    </a:lnTo>
                    <a:lnTo>
                      <a:pt x="42" y="6"/>
                    </a:lnTo>
                    <a:lnTo>
                      <a:pt x="48" y="6"/>
                    </a:lnTo>
                    <a:lnTo>
                      <a:pt x="56" y="6"/>
                    </a:lnTo>
                    <a:lnTo>
                      <a:pt x="76" y="6"/>
                    </a:lnTo>
                    <a:lnTo>
                      <a:pt x="82" y="6"/>
                    </a:lnTo>
                    <a:lnTo>
                      <a:pt x="96" y="0"/>
                    </a:lnTo>
                    <a:lnTo>
                      <a:pt x="118" y="0"/>
                    </a:lnTo>
                    <a:lnTo>
                      <a:pt x="138" y="6"/>
                    </a:lnTo>
                    <a:lnTo>
                      <a:pt x="152" y="0"/>
                    </a:lnTo>
                    <a:lnTo>
                      <a:pt x="158" y="6"/>
                    </a:lnTo>
                    <a:lnTo>
                      <a:pt x="172" y="14"/>
                    </a:lnTo>
                    <a:lnTo>
                      <a:pt x="192" y="20"/>
                    </a:lnTo>
                    <a:lnTo>
                      <a:pt x="198" y="20"/>
                    </a:lnTo>
                    <a:lnTo>
                      <a:pt x="206" y="34"/>
                    </a:lnTo>
                    <a:lnTo>
                      <a:pt x="226" y="48"/>
                    </a:lnTo>
                    <a:lnTo>
                      <a:pt x="232" y="54"/>
                    </a:lnTo>
                    <a:lnTo>
                      <a:pt x="254" y="54"/>
                    </a:lnTo>
                    <a:lnTo>
                      <a:pt x="252" y="54"/>
                    </a:lnTo>
                    <a:lnTo>
                      <a:pt x="252" y="54"/>
                    </a:lnTo>
                    <a:lnTo>
                      <a:pt x="252" y="54"/>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3" name="Freeform 17"/>
              <p:cNvSpPr>
                <a:spLocks/>
              </p:cNvSpPr>
              <p:nvPr/>
            </p:nvSpPr>
            <p:spPr bwMode="gray">
              <a:xfrm>
                <a:off x="5541638" y="2533311"/>
                <a:ext cx="725649" cy="565275"/>
              </a:xfrm>
              <a:custGeom>
                <a:avLst/>
                <a:gdLst>
                  <a:gd name="T0" fmla="*/ 24 w 457"/>
                  <a:gd name="T1" fmla="*/ 330 h 356"/>
                  <a:gd name="T2" fmla="*/ 4 w 457"/>
                  <a:gd name="T3" fmla="*/ 316 h 356"/>
                  <a:gd name="T4" fmla="*/ 20 w 457"/>
                  <a:gd name="T5" fmla="*/ 280 h 356"/>
                  <a:gd name="T6" fmla="*/ 34 w 457"/>
                  <a:gd name="T7" fmla="*/ 268 h 356"/>
                  <a:gd name="T8" fmla="*/ 28 w 457"/>
                  <a:gd name="T9" fmla="*/ 240 h 356"/>
                  <a:gd name="T10" fmla="*/ 24 w 457"/>
                  <a:gd name="T11" fmla="*/ 220 h 356"/>
                  <a:gd name="T12" fmla="*/ 4 w 457"/>
                  <a:gd name="T13" fmla="*/ 170 h 356"/>
                  <a:gd name="T14" fmla="*/ 30 w 457"/>
                  <a:gd name="T15" fmla="*/ 178 h 356"/>
                  <a:gd name="T16" fmla="*/ 60 w 457"/>
                  <a:gd name="T17" fmla="*/ 158 h 356"/>
                  <a:gd name="T18" fmla="*/ 72 w 457"/>
                  <a:gd name="T19" fmla="*/ 158 h 356"/>
                  <a:gd name="T20" fmla="*/ 94 w 457"/>
                  <a:gd name="T21" fmla="*/ 152 h 356"/>
                  <a:gd name="T22" fmla="*/ 106 w 457"/>
                  <a:gd name="T23" fmla="*/ 130 h 356"/>
                  <a:gd name="T24" fmla="*/ 134 w 457"/>
                  <a:gd name="T25" fmla="*/ 96 h 356"/>
                  <a:gd name="T26" fmla="*/ 168 w 457"/>
                  <a:gd name="T27" fmla="*/ 76 h 356"/>
                  <a:gd name="T28" fmla="*/ 162 w 457"/>
                  <a:gd name="T29" fmla="*/ 42 h 356"/>
                  <a:gd name="T30" fmla="*/ 182 w 457"/>
                  <a:gd name="T31" fmla="*/ 42 h 356"/>
                  <a:gd name="T32" fmla="*/ 196 w 457"/>
                  <a:gd name="T33" fmla="*/ 22 h 356"/>
                  <a:gd name="T34" fmla="*/ 217 w 457"/>
                  <a:gd name="T35" fmla="*/ 0 h 356"/>
                  <a:gd name="T36" fmla="*/ 231 w 457"/>
                  <a:gd name="T37" fmla="*/ 8 h 356"/>
                  <a:gd name="T38" fmla="*/ 273 w 457"/>
                  <a:gd name="T39" fmla="*/ 8 h 356"/>
                  <a:gd name="T40" fmla="*/ 285 w 457"/>
                  <a:gd name="T41" fmla="*/ 22 h 356"/>
                  <a:gd name="T42" fmla="*/ 307 w 457"/>
                  <a:gd name="T43" fmla="*/ 8 h 356"/>
                  <a:gd name="T44" fmla="*/ 341 w 457"/>
                  <a:gd name="T45" fmla="*/ 28 h 356"/>
                  <a:gd name="T46" fmla="*/ 333 w 457"/>
                  <a:gd name="T47" fmla="*/ 48 h 356"/>
                  <a:gd name="T48" fmla="*/ 341 w 457"/>
                  <a:gd name="T49" fmla="*/ 96 h 356"/>
                  <a:gd name="T50" fmla="*/ 361 w 457"/>
                  <a:gd name="T51" fmla="*/ 110 h 356"/>
                  <a:gd name="T52" fmla="*/ 403 w 457"/>
                  <a:gd name="T53" fmla="*/ 124 h 356"/>
                  <a:gd name="T54" fmla="*/ 415 w 457"/>
                  <a:gd name="T55" fmla="*/ 144 h 356"/>
                  <a:gd name="T56" fmla="*/ 435 w 457"/>
                  <a:gd name="T57" fmla="*/ 158 h 356"/>
                  <a:gd name="T58" fmla="*/ 449 w 457"/>
                  <a:gd name="T59" fmla="*/ 178 h 356"/>
                  <a:gd name="T60" fmla="*/ 423 w 457"/>
                  <a:gd name="T61" fmla="*/ 200 h 356"/>
                  <a:gd name="T62" fmla="*/ 395 w 457"/>
                  <a:gd name="T63" fmla="*/ 200 h 356"/>
                  <a:gd name="T64" fmla="*/ 395 w 457"/>
                  <a:gd name="T65" fmla="*/ 226 h 356"/>
                  <a:gd name="T66" fmla="*/ 409 w 457"/>
                  <a:gd name="T67" fmla="*/ 262 h 356"/>
                  <a:gd name="T68" fmla="*/ 429 w 457"/>
                  <a:gd name="T69" fmla="*/ 268 h 356"/>
                  <a:gd name="T70" fmla="*/ 407 w 457"/>
                  <a:gd name="T71" fmla="*/ 280 h 356"/>
                  <a:gd name="T72" fmla="*/ 381 w 457"/>
                  <a:gd name="T73" fmla="*/ 280 h 356"/>
                  <a:gd name="T74" fmla="*/ 367 w 457"/>
                  <a:gd name="T75" fmla="*/ 302 h 356"/>
                  <a:gd name="T76" fmla="*/ 367 w 457"/>
                  <a:gd name="T77" fmla="*/ 336 h 356"/>
                  <a:gd name="T78" fmla="*/ 345 w 457"/>
                  <a:gd name="T79" fmla="*/ 336 h 356"/>
                  <a:gd name="T80" fmla="*/ 311 w 457"/>
                  <a:gd name="T81" fmla="*/ 336 h 356"/>
                  <a:gd name="T82" fmla="*/ 299 w 457"/>
                  <a:gd name="T83" fmla="*/ 350 h 356"/>
                  <a:gd name="T84" fmla="*/ 279 w 457"/>
                  <a:gd name="T85" fmla="*/ 336 h 356"/>
                  <a:gd name="T86" fmla="*/ 259 w 457"/>
                  <a:gd name="T87" fmla="*/ 336 h 356"/>
                  <a:gd name="T88" fmla="*/ 215 w 457"/>
                  <a:gd name="T89" fmla="*/ 342 h 356"/>
                  <a:gd name="T90" fmla="*/ 174 w 457"/>
                  <a:gd name="T91" fmla="*/ 330 h 356"/>
                  <a:gd name="T92" fmla="*/ 120 w 457"/>
                  <a:gd name="T93" fmla="*/ 316 h 356"/>
                  <a:gd name="T94" fmla="*/ 72 w 457"/>
                  <a:gd name="T95" fmla="*/ 322 h 356"/>
                  <a:gd name="T96" fmla="*/ 52 w 457"/>
                  <a:gd name="T97" fmla="*/ 342 h 356"/>
                  <a:gd name="T98" fmla="*/ 30 w 457"/>
                  <a:gd name="T99" fmla="*/ 342 h 356"/>
                  <a:gd name="T100" fmla="*/ 24 w 457"/>
                  <a:gd name="T101" fmla="*/ 350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57" h="356">
                    <a:moveTo>
                      <a:pt x="24" y="350"/>
                    </a:moveTo>
                    <a:lnTo>
                      <a:pt x="24" y="336"/>
                    </a:lnTo>
                    <a:lnTo>
                      <a:pt x="24" y="330"/>
                    </a:lnTo>
                    <a:lnTo>
                      <a:pt x="24" y="322"/>
                    </a:lnTo>
                    <a:lnTo>
                      <a:pt x="10" y="322"/>
                    </a:lnTo>
                    <a:lnTo>
                      <a:pt x="4" y="316"/>
                    </a:lnTo>
                    <a:lnTo>
                      <a:pt x="0" y="304"/>
                    </a:lnTo>
                    <a:lnTo>
                      <a:pt x="10" y="294"/>
                    </a:lnTo>
                    <a:lnTo>
                      <a:pt x="20" y="280"/>
                    </a:lnTo>
                    <a:lnTo>
                      <a:pt x="30" y="280"/>
                    </a:lnTo>
                    <a:lnTo>
                      <a:pt x="32" y="276"/>
                    </a:lnTo>
                    <a:lnTo>
                      <a:pt x="34" y="268"/>
                    </a:lnTo>
                    <a:lnTo>
                      <a:pt x="34" y="254"/>
                    </a:lnTo>
                    <a:lnTo>
                      <a:pt x="28" y="250"/>
                    </a:lnTo>
                    <a:lnTo>
                      <a:pt x="28" y="240"/>
                    </a:lnTo>
                    <a:lnTo>
                      <a:pt x="24" y="232"/>
                    </a:lnTo>
                    <a:lnTo>
                      <a:pt x="24" y="226"/>
                    </a:lnTo>
                    <a:lnTo>
                      <a:pt x="24" y="220"/>
                    </a:lnTo>
                    <a:lnTo>
                      <a:pt x="24" y="206"/>
                    </a:lnTo>
                    <a:lnTo>
                      <a:pt x="16" y="192"/>
                    </a:lnTo>
                    <a:lnTo>
                      <a:pt x="4" y="170"/>
                    </a:lnTo>
                    <a:lnTo>
                      <a:pt x="18" y="172"/>
                    </a:lnTo>
                    <a:lnTo>
                      <a:pt x="30" y="172"/>
                    </a:lnTo>
                    <a:lnTo>
                      <a:pt x="30" y="178"/>
                    </a:lnTo>
                    <a:lnTo>
                      <a:pt x="44" y="178"/>
                    </a:lnTo>
                    <a:lnTo>
                      <a:pt x="52" y="172"/>
                    </a:lnTo>
                    <a:lnTo>
                      <a:pt x="60" y="158"/>
                    </a:lnTo>
                    <a:lnTo>
                      <a:pt x="52" y="158"/>
                    </a:lnTo>
                    <a:lnTo>
                      <a:pt x="66" y="158"/>
                    </a:lnTo>
                    <a:lnTo>
                      <a:pt x="72" y="158"/>
                    </a:lnTo>
                    <a:lnTo>
                      <a:pt x="86" y="152"/>
                    </a:lnTo>
                    <a:lnTo>
                      <a:pt x="94" y="158"/>
                    </a:lnTo>
                    <a:lnTo>
                      <a:pt x="94" y="152"/>
                    </a:lnTo>
                    <a:lnTo>
                      <a:pt x="100" y="152"/>
                    </a:lnTo>
                    <a:lnTo>
                      <a:pt x="106" y="138"/>
                    </a:lnTo>
                    <a:lnTo>
                      <a:pt x="106" y="130"/>
                    </a:lnTo>
                    <a:lnTo>
                      <a:pt x="106" y="110"/>
                    </a:lnTo>
                    <a:lnTo>
                      <a:pt x="106" y="104"/>
                    </a:lnTo>
                    <a:lnTo>
                      <a:pt x="134" y="96"/>
                    </a:lnTo>
                    <a:lnTo>
                      <a:pt x="134" y="90"/>
                    </a:lnTo>
                    <a:lnTo>
                      <a:pt x="154" y="90"/>
                    </a:lnTo>
                    <a:lnTo>
                      <a:pt x="168" y="76"/>
                    </a:lnTo>
                    <a:lnTo>
                      <a:pt x="140" y="68"/>
                    </a:lnTo>
                    <a:lnTo>
                      <a:pt x="154" y="42"/>
                    </a:lnTo>
                    <a:lnTo>
                      <a:pt x="162" y="42"/>
                    </a:lnTo>
                    <a:lnTo>
                      <a:pt x="168" y="42"/>
                    </a:lnTo>
                    <a:lnTo>
                      <a:pt x="176" y="34"/>
                    </a:lnTo>
                    <a:lnTo>
                      <a:pt x="182" y="42"/>
                    </a:lnTo>
                    <a:lnTo>
                      <a:pt x="196" y="34"/>
                    </a:lnTo>
                    <a:lnTo>
                      <a:pt x="202" y="28"/>
                    </a:lnTo>
                    <a:lnTo>
                      <a:pt x="196" y="22"/>
                    </a:lnTo>
                    <a:lnTo>
                      <a:pt x="190" y="14"/>
                    </a:lnTo>
                    <a:lnTo>
                      <a:pt x="202" y="8"/>
                    </a:lnTo>
                    <a:lnTo>
                      <a:pt x="217" y="0"/>
                    </a:lnTo>
                    <a:lnTo>
                      <a:pt x="225" y="0"/>
                    </a:lnTo>
                    <a:lnTo>
                      <a:pt x="231" y="0"/>
                    </a:lnTo>
                    <a:lnTo>
                      <a:pt x="231" y="8"/>
                    </a:lnTo>
                    <a:lnTo>
                      <a:pt x="245" y="8"/>
                    </a:lnTo>
                    <a:lnTo>
                      <a:pt x="259" y="8"/>
                    </a:lnTo>
                    <a:lnTo>
                      <a:pt x="273" y="8"/>
                    </a:lnTo>
                    <a:lnTo>
                      <a:pt x="279" y="14"/>
                    </a:lnTo>
                    <a:lnTo>
                      <a:pt x="279" y="22"/>
                    </a:lnTo>
                    <a:lnTo>
                      <a:pt x="285" y="22"/>
                    </a:lnTo>
                    <a:lnTo>
                      <a:pt x="299" y="14"/>
                    </a:lnTo>
                    <a:lnTo>
                      <a:pt x="299" y="8"/>
                    </a:lnTo>
                    <a:lnTo>
                      <a:pt x="307" y="8"/>
                    </a:lnTo>
                    <a:lnTo>
                      <a:pt x="319" y="14"/>
                    </a:lnTo>
                    <a:lnTo>
                      <a:pt x="327" y="28"/>
                    </a:lnTo>
                    <a:lnTo>
                      <a:pt x="341" y="28"/>
                    </a:lnTo>
                    <a:lnTo>
                      <a:pt x="341" y="34"/>
                    </a:lnTo>
                    <a:lnTo>
                      <a:pt x="333" y="42"/>
                    </a:lnTo>
                    <a:lnTo>
                      <a:pt x="333" y="48"/>
                    </a:lnTo>
                    <a:lnTo>
                      <a:pt x="347" y="68"/>
                    </a:lnTo>
                    <a:lnTo>
                      <a:pt x="355" y="90"/>
                    </a:lnTo>
                    <a:lnTo>
                      <a:pt x="341" y="96"/>
                    </a:lnTo>
                    <a:lnTo>
                      <a:pt x="361" y="96"/>
                    </a:lnTo>
                    <a:lnTo>
                      <a:pt x="361" y="104"/>
                    </a:lnTo>
                    <a:lnTo>
                      <a:pt x="361" y="110"/>
                    </a:lnTo>
                    <a:lnTo>
                      <a:pt x="381" y="116"/>
                    </a:lnTo>
                    <a:lnTo>
                      <a:pt x="389" y="116"/>
                    </a:lnTo>
                    <a:lnTo>
                      <a:pt x="403" y="124"/>
                    </a:lnTo>
                    <a:lnTo>
                      <a:pt x="403" y="138"/>
                    </a:lnTo>
                    <a:lnTo>
                      <a:pt x="403" y="144"/>
                    </a:lnTo>
                    <a:lnTo>
                      <a:pt x="415" y="144"/>
                    </a:lnTo>
                    <a:lnTo>
                      <a:pt x="423" y="144"/>
                    </a:lnTo>
                    <a:lnTo>
                      <a:pt x="435" y="144"/>
                    </a:lnTo>
                    <a:lnTo>
                      <a:pt x="435" y="158"/>
                    </a:lnTo>
                    <a:lnTo>
                      <a:pt x="449" y="158"/>
                    </a:lnTo>
                    <a:lnTo>
                      <a:pt x="457" y="172"/>
                    </a:lnTo>
                    <a:lnTo>
                      <a:pt x="449" y="178"/>
                    </a:lnTo>
                    <a:lnTo>
                      <a:pt x="443" y="186"/>
                    </a:lnTo>
                    <a:lnTo>
                      <a:pt x="435" y="192"/>
                    </a:lnTo>
                    <a:lnTo>
                      <a:pt x="423" y="200"/>
                    </a:lnTo>
                    <a:lnTo>
                      <a:pt x="415" y="206"/>
                    </a:lnTo>
                    <a:lnTo>
                      <a:pt x="403" y="200"/>
                    </a:lnTo>
                    <a:lnTo>
                      <a:pt x="395" y="200"/>
                    </a:lnTo>
                    <a:lnTo>
                      <a:pt x="395" y="206"/>
                    </a:lnTo>
                    <a:lnTo>
                      <a:pt x="395" y="220"/>
                    </a:lnTo>
                    <a:lnTo>
                      <a:pt x="395" y="226"/>
                    </a:lnTo>
                    <a:lnTo>
                      <a:pt x="403" y="240"/>
                    </a:lnTo>
                    <a:lnTo>
                      <a:pt x="409" y="254"/>
                    </a:lnTo>
                    <a:lnTo>
                      <a:pt x="409" y="262"/>
                    </a:lnTo>
                    <a:lnTo>
                      <a:pt x="415" y="268"/>
                    </a:lnTo>
                    <a:lnTo>
                      <a:pt x="429" y="274"/>
                    </a:lnTo>
                    <a:lnTo>
                      <a:pt x="429" y="268"/>
                    </a:lnTo>
                    <a:lnTo>
                      <a:pt x="429" y="280"/>
                    </a:lnTo>
                    <a:lnTo>
                      <a:pt x="415" y="280"/>
                    </a:lnTo>
                    <a:lnTo>
                      <a:pt x="407" y="280"/>
                    </a:lnTo>
                    <a:lnTo>
                      <a:pt x="401" y="280"/>
                    </a:lnTo>
                    <a:lnTo>
                      <a:pt x="395" y="280"/>
                    </a:lnTo>
                    <a:lnTo>
                      <a:pt x="381" y="280"/>
                    </a:lnTo>
                    <a:lnTo>
                      <a:pt x="375" y="280"/>
                    </a:lnTo>
                    <a:lnTo>
                      <a:pt x="367" y="288"/>
                    </a:lnTo>
                    <a:lnTo>
                      <a:pt x="367" y="302"/>
                    </a:lnTo>
                    <a:lnTo>
                      <a:pt x="361" y="316"/>
                    </a:lnTo>
                    <a:lnTo>
                      <a:pt x="367" y="330"/>
                    </a:lnTo>
                    <a:lnTo>
                      <a:pt x="367" y="336"/>
                    </a:lnTo>
                    <a:lnTo>
                      <a:pt x="367" y="350"/>
                    </a:lnTo>
                    <a:lnTo>
                      <a:pt x="361" y="350"/>
                    </a:lnTo>
                    <a:lnTo>
                      <a:pt x="345" y="336"/>
                    </a:lnTo>
                    <a:lnTo>
                      <a:pt x="339" y="336"/>
                    </a:lnTo>
                    <a:lnTo>
                      <a:pt x="333" y="342"/>
                    </a:lnTo>
                    <a:lnTo>
                      <a:pt x="311" y="336"/>
                    </a:lnTo>
                    <a:lnTo>
                      <a:pt x="305" y="336"/>
                    </a:lnTo>
                    <a:lnTo>
                      <a:pt x="299" y="342"/>
                    </a:lnTo>
                    <a:lnTo>
                      <a:pt x="299" y="350"/>
                    </a:lnTo>
                    <a:lnTo>
                      <a:pt x="293" y="356"/>
                    </a:lnTo>
                    <a:lnTo>
                      <a:pt x="285" y="342"/>
                    </a:lnTo>
                    <a:lnTo>
                      <a:pt x="279" y="336"/>
                    </a:lnTo>
                    <a:lnTo>
                      <a:pt x="271" y="350"/>
                    </a:lnTo>
                    <a:lnTo>
                      <a:pt x="265" y="342"/>
                    </a:lnTo>
                    <a:lnTo>
                      <a:pt x="259" y="336"/>
                    </a:lnTo>
                    <a:lnTo>
                      <a:pt x="243" y="336"/>
                    </a:lnTo>
                    <a:lnTo>
                      <a:pt x="237" y="342"/>
                    </a:lnTo>
                    <a:lnTo>
                      <a:pt x="215" y="342"/>
                    </a:lnTo>
                    <a:lnTo>
                      <a:pt x="208" y="336"/>
                    </a:lnTo>
                    <a:lnTo>
                      <a:pt x="200" y="336"/>
                    </a:lnTo>
                    <a:lnTo>
                      <a:pt x="174" y="330"/>
                    </a:lnTo>
                    <a:lnTo>
                      <a:pt x="160" y="322"/>
                    </a:lnTo>
                    <a:lnTo>
                      <a:pt x="140" y="316"/>
                    </a:lnTo>
                    <a:lnTo>
                      <a:pt x="120" y="316"/>
                    </a:lnTo>
                    <a:lnTo>
                      <a:pt x="98" y="322"/>
                    </a:lnTo>
                    <a:lnTo>
                      <a:pt x="86" y="322"/>
                    </a:lnTo>
                    <a:lnTo>
                      <a:pt x="72" y="322"/>
                    </a:lnTo>
                    <a:lnTo>
                      <a:pt x="58" y="330"/>
                    </a:lnTo>
                    <a:lnTo>
                      <a:pt x="58" y="336"/>
                    </a:lnTo>
                    <a:lnTo>
                      <a:pt x="52" y="342"/>
                    </a:lnTo>
                    <a:lnTo>
                      <a:pt x="44" y="350"/>
                    </a:lnTo>
                    <a:lnTo>
                      <a:pt x="38" y="342"/>
                    </a:lnTo>
                    <a:lnTo>
                      <a:pt x="30" y="342"/>
                    </a:lnTo>
                    <a:lnTo>
                      <a:pt x="24" y="356"/>
                    </a:lnTo>
                    <a:lnTo>
                      <a:pt x="24" y="350"/>
                    </a:lnTo>
                    <a:lnTo>
                      <a:pt x="24" y="350"/>
                    </a:lnTo>
                    <a:lnTo>
                      <a:pt x="24" y="35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4" name="Freeform 18"/>
              <p:cNvSpPr>
                <a:spLocks/>
              </p:cNvSpPr>
              <p:nvPr/>
            </p:nvSpPr>
            <p:spPr bwMode="gray">
              <a:xfrm>
                <a:off x="5459069" y="2936625"/>
                <a:ext cx="1460824" cy="736763"/>
              </a:xfrm>
              <a:custGeom>
                <a:avLst/>
                <a:gdLst>
                  <a:gd name="T0" fmla="*/ 465 w 920"/>
                  <a:gd name="T1" fmla="*/ 464 h 464"/>
                  <a:gd name="T2" fmla="*/ 499 w 920"/>
                  <a:gd name="T3" fmla="*/ 430 h 464"/>
                  <a:gd name="T4" fmla="*/ 527 w 920"/>
                  <a:gd name="T5" fmla="*/ 410 h 464"/>
                  <a:gd name="T6" fmla="*/ 541 w 920"/>
                  <a:gd name="T7" fmla="*/ 416 h 464"/>
                  <a:gd name="T8" fmla="*/ 535 w 920"/>
                  <a:gd name="T9" fmla="*/ 450 h 464"/>
                  <a:gd name="T10" fmla="*/ 603 w 920"/>
                  <a:gd name="T11" fmla="*/ 444 h 464"/>
                  <a:gd name="T12" fmla="*/ 631 w 920"/>
                  <a:gd name="T13" fmla="*/ 430 h 464"/>
                  <a:gd name="T14" fmla="*/ 679 w 920"/>
                  <a:gd name="T15" fmla="*/ 430 h 464"/>
                  <a:gd name="T16" fmla="*/ 697 w 920"/>
                  <a:gd name="T17" fmla="*/ 410 h 464"/>
                  <a:gd name="T18" fmla="*/ 753 w 920"/>
                  <a:gd name="T19" fmla="*/ 388 h 464"/>
                  <a:gd name="T20" fmla="*/ 795 w 920"/>
                  <a:gd name="T21" fmla="*/ 374 h 464"/>
                  <a:gd name="T22" fmla="*/ 821 w 920"/>
                  <a:gd name="T23" fmla="*/ 340 h 464"/>
                  <a:gd name="T24" fmla="*/ 843 w 920"/>
                  <a:gd name="T25" fmla="*/ 326 h 464"/>
                  <a:gd name="T26" fmla="*/ 898 w 920"/>
                  <a:gd name="T27" fmla="*/ 260 h 464"/>
                  <a:gd name="T28" fmla="*/ 898 w 920"/>
                  <a:gd name="T29" fmla="*/ 196 h 464"/>
                  <a:gd name="T30" fmla="*/ 898 w 920"/>
                  <a:gd name="T31" fmla="*/ 170 h 464"/>
                  <a:gd name="T32" fmla="*/ 920 w 920"/>
                  <a:gd name="T33" fmla="*/ 122 h 464"/>
                  <a:gd name="T34" fmla="*/ 863 w 920"/>
                  <a:gd name="T35" fmla="*/ 122 h 464"/>
                  <a:gd name="T36" fmla="*/ 837 w 920"/>
                  <a:gd name="T37" fmla="*/ 116 h 464"/>
                  <a:gd name="T38" fmla="*/ 801 w 920"/>
                  <a:gd name="T39" fmla="*/ 116 h 464"/>
                  <a:gd name="T40" fmla="*/ 755 w 920"/>
                  <a:gd name="T41" fmla="*/ 102 h 464"/>
                  <a:gd name="T42" fmla="*/ 713 w 920"/>
                  <a:gd name="T43" fmla="*/ 116 h 464"/>
                  <a:gd name="T44" fmla="*/ 673 w 920"/>
                  <a:gd name="T45" fmla="*/ 108 h 464"/>
                  <a:gd name="T46" fmla="*/ 645 w 920"/>
                  <a:gd name="T47" fmla="*/ 76 h 464"/>
                  <a:gd name="T48" fmla="*/ 603 w 920"/>
                  <a:gd name="T49" fmla="*/ 62 h 464"/>
                  <a:gd name="T50" fmla="*/ 583 w 920"/>
                  <a:gd name="T51" fmla="*/ 20 h 464"/>
                  <a:gd name="T52" fmla="*/ 535 w 920"/>
                  <a:gd name="T53" fmla="*/ 0 h 464"/>
                  <a:gd name="T54" fmla="*/ 493 w 920"/>
                  <a:gd name="T55" fmla="*/ 8 h 464"/>
                  <a:gd name="T56" fmla="*/ 467 w 920"/>
                  <a:gd name="T57" fmla="*/ 26 h 464"/>
                  <a:gd name="T58" fmla="*/ 425 w 920"/>
                  <a:gd name="T59" fmla="*/ 22 h 464"/>
                  <a:gd name="T60" fmla="*/ 415 w 920"/>
                  <a:gd name="T61" fmla="*/ 82 h 464"/>
                  <a:gd name="T62" fmla="*/ 385 w 920"/>
                  <a:gd name="T63" fmla="*/ 88 h 464"/>
                  <a:gd name="T64" fmla="*/ 343 w 920"/>
                  <a:gd name="T65" fmla="*/ 102 h 464"/>
                  <a:gd name="T66" fmla="*/ 309 w 920"/>
                  <a:gd name="T67" fmla="*/ 82 h 464"/>
                  <a:gd name="T68" fmla="*/ 252 w 920"/>
                  <a:gd name="T69" fmla="*/ 82 h 464"/>
                  <a:gd name="T70" fmla="*/ 150 w 920"/>
                  <a:gd name="T71" fmla="*/ 68 h 464"/>
                  <a:gd name="T72" fmla="*/ 102 w 920"/>
                  <a:gd name="T73" fmla="*/ 88 h 464"/>
                  <a:gd name="T74" fmla="*/ 78 w 920"/>
                  <a:gd name="T75" fmla="*/ 104 h 464"/>
                  <a:gd name="T76" fmla="*/ 96 w 920"/>
                  <a:gd name="T77" fmla="*/ 144 h 464"/>
                  <a:gd name="T78" fmla="*/ 96 w 920"/>
                  <a:gd name="T79" fmla="*/ 184 h 464"/>
                  <a:gd name="T80" fmla="*/ 42 w 920"/>
                  <a:gd name="T81" fmla="*/ 224 h 464"/>
                  <a:gd name="T82" fmla="*/ 28 w 920"/>
                  <a:gd name="T83" fmla="*/ 280 h 464"/>
                  <a:gd name="T84" fmla="*/ 14 w 920"/>
                  <a:gd name="T85" fmla="*/ 348 h 464"/>
                  <a:gd name="T86" fmla="*/ 96 w 920"/>
                  <a:gd name="T87" fmla="*/ 368 h 464"/>
                  <a:gd name="T88" fmla="*/ 156 w 920"/>
                  <a:gd name="T89" fmla="*/ 362 h 464"/>
                  <a:gd name="T90" fmla="*/ 212 w 920"/>
                  <a:gd name="T91" fmla="*/ 334 h 464"/>
                  <a:gd name="T92" fmla="*/ 246 w 920"/>
                  <a:gd name="T93" fmla="*/ 334 h 464"/>
                  <a:gd name="T94" fmla="*/ 301 w 920"/>
                  <a:gd name="T95" fmla="*/ 320 h 464"/>
                  <a:gd name="T96" fmla="*/ 343 w 920"/>
                  <a:gd name="T97" fmla="*/ 326 h 464"/>
                  <a:gd name="T98" fmla="*/ 377 w 920"/>
                  <a:gd name="T99" fmla="*/ 348 h 464"/>
                  <a:gd name="T100" fmla="*/ 383 w 920"/>
                  <a:gd name="T101" fmla="*/ 388 h 464"/>
                  <a:gd name="T102" fmla="*/ 411 w 920"/>
                  <a:gd name="T103" fmla="*/ 416 h 464"/>
                  <a:gd name="T104" fmla="*/ 431 w 920"/>
                  <a:gd name="T105" fmla="*/ 44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20" h="464">
                    <a:moveTo>
                      <a:pt x="439" y="458"/>
                    </a:moveTo>
                    <a:lnTo>
                      <a:pt x="445" y="450"/>
                    </a:lnTo>
                    <a:lnTo>
                      <a:pt x="453" y="458"/>
                    </a:lnTo>
                    <a:lnTo>
                      <a:pt x="459" y="464"/>
                    </a:lnTo>
                    <a:lnTo>
                      <a:pt x="465" y="464"/>
                    </a:lnTo>
                    <a:lnTo>
                      <a:pt x="465" y="444"/>
                    </a:lnTo>
                    <a:lnTo>
                      <a:pt x="473" y="430"/>
                    </a:lnTo>
                    <a:lnTo>
                      <a:pt x="479" y="430"/>
                    </a:lnTo>
                    <a:lnTo>
                      <a:pt x="485" y="436"/>
                    </a:lnTo>
                    <a:lnTo>
                      <a:pt x="499" y="430"/>
                    </a:lnTo>
                    <a:lnTo>
                      <a:pt x="513" y="416"/>
                    </a:lnTo>
                    <a:lnTo>
                      <a:pt x="521" y="416"/>
                    </a:lnTo>
                    <a:lnTo>
                      <a:pt x="521" y="422"/>
                    </a:lnTo>
                    <a:lnTo>
                      <a:pt x="527" y="422"/>
                    </a:lnTo>
                    <a:lnTo>
                      <a:pt x="527" y="410"/>
                    </a:lnTo>
                    <a:lnTo>
                      <a:pt x="527" y="402"/>
                    </a:lnTo>
                    <a:lnTo>
                      <a:pt x="527" y="388"/>
                    </a:lnTo>
                    <a:lnTo>
                      <a:pt x="535" y="402"/>
                    </a:lnTo>
                    <a:lnTo>
                      <a:pt x="541" y="410"/>
                    </a:lnTo>
                    <a:lnTo>
                      <a:pt x="541" y="416"/>
                    </a:lnTo>
                    <a:lnTo>
                      <a:pt x="549" y="430"/>
                    </a:lnTo>
                    <a:lnTo>
                      <a:pt x="535" y="430"/>
                    </a:lnTo>
                    <a:lnTo>
                      <a:pt x="535" y="436"/>
                    </a:lnTo>
                    <a:lnTo>
                      <a:pt x="535" y="444"/>
                    </a:lnTo>
                    <a:lnTo>
                      <a:pt x="535" y="450"/>
                    </a:lnTo>
                    <a:lnTo>
                      <a:pt x="549" y="458"/>
                    </a:lnTo>
                    <a:lnTo>
                      <a:pt x="561" y="464"/>
                    </a:lnTo>
                    <a:lnTo>
                      <a:pt x="583" y="450"/>
                    </a:lnTo>
                    <a:lnTo>
                      <a:pt x="595" y="444"/>
                    </a:lnTo>
                    <a:lnTo>
                      <a:pt x="603" y="444"/>
                    </a:lnTo>
                    <a:lnTo>
                      <a:pt x="609" y="436"/>
                    </a:lnTo>
                    <a:lnTo>
                      <a:pt x="617" y="458"/>
                    </a:lnTo>
                    <a:lnTo>
                      <a:pt x="623" y="450"/>
                    </a:lnTo>
                    <a:lnTo>
                      <a:pt x="631" y="436"/>
                    </a:lnTo>
                    <a:lnTo>
                      <a:pt x="631" y="430"/>
                    </a:lnTo>
                    <a:lnTo>
                      <a:pt x="637" y="430"/>
                    </a:lnTo>
                    <a:lnTo>
                      <a:pt x="645" y="436"/>
                    </a:lnTo>
                    <a:lnTo>
                      <a:pt x="651" y="430"/>
                    </a:lnTo>
                    <a:lnTo>
                      <a:pt x="657" y="430"/>
                    </a:lnTo>
                    <a:lnTo>
                      <a:pt x="679" y="430"/>
                    </a:lnTo>
                    <a:lnTo>
                      <a:pt x="679" y="436"/>
                    </a:lnTo>
                    <a:lnTo>
                      <a:pt x="685" y="436"/>
                    </a:lnTo>
                    <a:lnTo>
                      <a:pt x="685" y="430"/>
                    </a:lnTo>
                    <a:lnTo>
                      <a:pt x="691" y="430"/>
                    </a:lnTo>
                    <a:lnTo>
                      <a:pt x="697" y="410"/>
                    </a:lnTo>
                    <a:lnTo>
                      <a:pt x="711" y="402"/>
                    </a:lnTo>
                    <a:lnTo>
                      <a:pt x="711" y="416"/>
                    </a:lnTo>
                    <a:lnTo>
                      <a:pt x="719" y="416"/>
                    </a:lnTo>
                    <a:lnTo>
                      <a:pt x="739" y="394"/>
                    </a:lnTo>
                    <a:lnTo>
                      <a:pt x="753" y="388"/>
                    </a:lnTo>
                    <a:lnTo>
                      <a:pt x="759" y="382"/>
                    </a:lnTo>
                    <a:lnTo>
                      <a:pt x="767" y="374"/>
                    </a:lnTo>
                    <a:lnTo>
                      <a:pt x="773" y="374"/>
                    </a:lnTo>
                    <a:lnTo>
                      <a:pt x="787" y="382"/>
                    </a:lnTo>
                    <a:lnTo>
                      <a:pt x="795" y="374"/>
                    </a:lnTo>
                    <a:lnTo>
                      <a:pt x="787" y="368"/>
                    </a:lnTo>
                    <a:lnTo>
                      <a:pt x="801" y="362"/>
                    </a:lnTo>
                    <a:lnTo>
                      <a:pt x="807" y="348"/>
                    </a:lnTo>
                    <a:lnTo>
                      <a:pt x="815" y="340"/>
                    </a:lnTo>
                    <a:lnTo>
                      <a:pt x="821" y="340"/>
                    </a:lnTo>
                    <a:lnTo>
                      <a:pt x="829" y="334"/>
                    </a:lnTo>
                    <a:lnTo>
                      <a:pt x="829" y="326"/>
                    </a:lnTo>
                    <a:lnTo>
                      <a:pt x="835" y="334"/>
                    </a:lnTo>
                    <a:lnTo>
                      <a:pt x="841" y="334"/>
                    </a:lnTo>
                    <a:lnTo>
                      <a:pt x="843" y="326"/>
                    </a:lnTo>
                    <a:lnTo>
                      <a:pt x="843" y="294"/>
                    </a:lnTo>
                    <a:lnTo>
                      <a:pt x="863" y="286"/>
                    </a:lnTo>
                    <a:lnTo>
                      <a:pt x="871" y="266"/>
                    </a:lnTo>
                    <a:lnTo>
                      <a:pt x="877" y="260"/>
                    </a:lnTo>
                    <a:lnTo>
                      <a:pt x="898" y="260"/>
                    </a:lnTo>
                    <a:lnTo>
                      <a:pt x="912" y="260"/>
                    </a:lnTo>
                    <a:lnTo>
                      <a:pt x="920" y="238"/>
                    </a:lnTo>
                    <a:lnTo>
                      <a:pt x="920" y="218"/>
                    </a:lnTo>
                    <a:lnTo>
                      <a:pt x="906" y="196"/>
                    </a:lnTo>
                    <a:lnTo>
                      <a:pt x="898" y="196"/>
                    </a:lnTo>
                    <a:lnTo>
                      <a:pt x="898" y="190"/>
                    </a:lnTo>
                    <a:lnTo>
                      <a:pt x="906" y="184"/>
                    </a:lnTo>
                    <a:lnTo>
                      <a:pt x="912" y="176"/>
                    </a:lnTo>
                    <a:lnTo>
                      <a:pt x="912" y="170"/>
                    </a:lnTo>
                    <a:lnTo>
                      <a:pt x="898" y="170"/>
                    </a:lnTo>
                    <a:lnTo>
                      <a:pt x="892" y="164"/>
                    </a:lnTo>
                    <a:lnTo>
                      <a:pt x="898" y="156"/>
                    </a:lnTo>
                    <a:lnTo>
                      <a:pt x="912" y="150"/>
                    </a:lnTo>
                    <a:lnTo>
                      <a:pt x="920" y="144"/>
                    </a:lnTo>
                    <a:lnTo>
                      <a:pt x="920" y="122"/>
                    </a:lnTo>
                    <a:lnTo>
                      <a:pt x="912" y="122"/>
                    </a:lnTo>
                    <a:lnTo>
                      <a:pt x="906" y="130"/>
                    </a:lnTo>
                    <a:lnTo>
                      <a:pt x="892" y="130"/>
                    </a:lnTo>
                    <a:lnTo>
                      <a:pt x="877" y="122"/>
                    </a:lnTo>
                    <a:lnTo>
                      <a:pt x="863" y="122"/>
                    </a:lnTo>
                    <a:lnTo>
                      <a:pt x="863" y="130"/>
                    </a:lnTo>
                    <a:lnTo>
                      <a:pt x="857" y="122"/>
                    </a:lnTo>
                    <a:lnTo>
                      <a:pt x="857" y="116"/>
                    </a:lnTo>
                    <a:lnTo>
                      <a:pt x="851" y="116"/>
                    </a:lnTo>
                    <a:lnTo>
                      <a:pt x="837" y="116"/>
                    </a:lnTo>
                    <a:lnTo>
                      <a:pt x="837" y="122"/>
                    </a:lnTo>
                    <a:lnTo>
                      <a:pt x="823" y="122"/>
                    </a:lnTo>
                    <a:lnTo>
                      <a:pt x="823" y="116"/>
                    </a:lnTo>
                    <a:lnTo>
                      <a:pt x="809" y="122"/>
                    </a:lnTo>
                    <a:lnTo>
                      <a:pt x="801" y="116"/>
                    </a:lnTo>
                    <a:lnTo>
                      <a:pt x="795" y="108"/>
                    </a:lnTo>
                    <a:lnTo>
                      <a:pt x="795" y="116"/>
                    </a:lnTo>
                    <a:lnTo>
                      <a:pt x="781" y="122"/>
                    </a:lnTo>
                    <a:lnTo>
                      <a:pt x="761" y="108"/>
                    </a:lnTo>
                    <a:lnTo>
                      <a:pt x="755" y="102"/>
                    </a:lnTo>
                    <a:lnTo>
                      <a:pt x="755" y="96"/>
                    </a:lnTo>
                    <a:lnTo>
                      <a:pt x="741" y="96"/>
                    </a:lnTo>
                    <a:lnTo>
                      <a:pt x="727" y="108"/>
                    </a:lnTo>
                    <a:lnTo>
                      <a:pt x="721" y="116"/>
                    </a:lnTo>
                    <a:lnTo>
                      <a:pt x="713" y="116"/>
                    </a:lnTo>
                    <a:lnTo>
                      <a:pt x="707" y="108"/>
                    </a:lnTo>
                    <a:lnTo>
                      <a:pt x="699" y="116"/>
                    </a:lnTo>
                    <a:lnTo>
                      <a:pt x="693" y="108"/>
                    </a:lnTo>
                    <a:lnTo>
                      <a:pt x="685" y="108"/>
                    </a:lnTo>
                    <a:lnTo>
                      <a:pt x="673" y="108"/>
                    </a:lnTo>
                    <a:lnTo>
                      <a:pt x="665" y="108"/>
                    </a:lnTo>
                    <a:lnTo>
                      <a:pt x="665" y="102"/>
                    </a:lnTo>
                    <a:lnTo>
                      <a:pt x="657" y="82"/>
                    </a:lnTo>
                    <a:lnTo>
                      <a:pt x="657" y="76"/>
                    </a:lnTo>
                    <a:lnTo>
                      <a:pt x="645" y="76"/>
                    </a:lnTo>
                    <a:lnTo>
                      <a:pt x="637" y="62"/>
                    </a:lnTo>
                    <a:lnTo>
                      <a:pt x="637" y="54"/>
                    </a:lnTo>
                    <a:lnTo>
                      <a:pt x="631" y="54"/>
                    </a:lnTo>
                    <a:lnTo>
                      <a:pt x="623" y="62"/>
                    </a:lnTo>
                    <a:lnTo>
                      <a:pt x="603" y="62"/>
                    </a:lnTo>
                    <a:lnTo>
                      <a:pt x="589" y="62"/>
                    </a:lnTo>
                    <a:lnTo>
                      <a:pt x="589" y="54"/>
                    </a:lnTo>
                    <a:lnTo>
                      <a:pt x="589" y="40"/>
                    </a:lnTo>
                    <a:lnTo>
                      <a:pt x="589" y="26"/>
                    </a:lnTo>
                    <a:lnTo>
                      <a:pt x="583" y="20"/>
                    </a:lnTo>
                    <a:lnTo>
                      <a:pt x="575" y="8"/>
                    </a:lnTo>
                    <a:lnTo>
                      <a:pt x="569" y="0"/>
                    </a:lnTo>
                    <a:lnTo>
                      <a:pt x="561" y="0"/>
                    </a:lnTo>
                    <a:lnTo>
                      <a:pt x="549" y="8"/>
                    </a:lnTo>
                    <a:lnTo>
                      <a:pt x="535" y="0"/>
                    </a:lnTo>
                    <a:lnTo>
                      <a:pt x="529" y="0"/>
                    </a:lnTo>
                    <a:lnTo>
                      <a:pt x="521" y="8"/>
                    </a:lnTo>
                    <a:lnTo>
                      <a:pt x="515" y="8"/>
                    </a:lnTo>
                    <a:lnTo>
                      <a:pt x="501" y="14"/>
                    </a:lnTo>
                    <a:lnTo>
                      <a:pt x="493" y="8"/>
                    </a:lnTo>
                    <a:lnTo>
                      <a:pt x="481" y="14"/>
                    </a:lnTo>
                    <a:lnTo>
                      <a:pt x="481" y="20"/>
                    </a:lnTo>
                    <a:lnTo>
                      <a:pt x="481" y="14"/>
                    </a:lnTo>
                    <a:lnTo>
                      <a:pt x="481" y="26"/>
                    </a:lnTo>
                    <a:lnTo>
                      <a:pt x="467" y="26"/>
                    </a:lnTo>
                    <a:lnTo>
                      <a:pt x="459" y="26"/>
                    </a:lnTo>
                    <a:lnTo>
                      <a:pt x="453" y="26"/>
                    </a:lnTo>
                    <a:lnTo>
                      <a:pt x="445" y="22"/>
                    </a:lnTo>
                    <a:lnTo>
                      <a:pt x="433" y="22"/>
                    </a:lnTo>
                    <a:lnTo>
                      <a:pt x="425" y="22"/>
                    </a:lnTo>
                    <a:lnTo>
                      <a:pt x="415" y="34"/>
                    </a:lnTo>
                    <a:lnTo>
                      <a:pt x="415" y="46"/>
                    </a:lnTo>
                    <a:lnTo>
                      <a:pt x="409" y="62"/>
                    </a:lnTo>
                    <a:lnTo>
                      <a:pt x="417" y="76"/>
                    </a:lnTo>
                    <a:lnTo>
                      <a:pt x="415" y="82"/>
                    </a:lnTo>
                    <a:lnTo>
                      <a:pt x="415" y="96"/>
                    </a:lnTo>
                    <a:lnTo>
                      <a:pt x="411" y="96"/>
                    </a:lnTo>
                    <a:lnTo>
                      <a:pt x="397" y="82"/>
                    </a:lnTo>
                    <a:lnTo>
                      <a:pt x="391" y="82"/>
                    </a:lnTo>
                    <a:lnTo>
                      <a:pt x="385" y="88"/>
                    </a:lnTo>
                    <a:lnTo>
                      <a:pt x="363" y="82"/>
                    </a:lnTo>
                    <a:lnTo>
                      <a:pt x="357" y="82"/>
                    </a:lnTo>
                    <a:lnTo>
                      <a:pt x="349" y="88"/>
                    </a:lnTo>
                    <a:lnTo>
                      <a:pt x="347" y="96"/>
                    </a:lnTo>
                    <a:lnTo>
                      <a:pt x="343" y="102"/>
                    </a:lnTo>
                    <a:lnTo>
                      <a:pt x="335" y="84"/>
                    </a:lnTo>
                    <a:lnTo>
                      <a:pt x="329" y="82"/>
                    </a:lnTo>
                    <a:lnTo>
                      <a:pt x="321" y="96"/>
                    </a:lnTo>
                    <a:lnTo>
                      <a:pt x="317" y="88"/>
                    </a:lnTo>
                    <a:lnTo>
                      <a:pt x="309" y="82"/>
                    </a:lnTo>
                    <a:lnTo>
                      <a:pt x="295" y="82"/>
                    </a:lnTo>
                    <a:lnTo>
                      <a:pt x="289" y="88"/>
                    </a:lnTo>
                    <a:lnTo>
                      <a:pt x="267" y="88"/>
                    </a:lnTo>
                    <a:lnTo>
                      <a:pt x="260" y="82"/>
                    </a:lnTo>
                    <a:lnTo>
                      <a:pt x="252" y="82"/>
                    </a:lnTo>
                    <a:lnTo>
                      <a:pt x="226" y="76"/>
                    </a:lnTo>
                    <a:lnTo>
                      <a:pt x="212" y="68"/>
                    </a:lnTo>
                    <a:lnTo>
                      <a:pt x="192" y="62"/>
                    </a:lnTo>
                    <a:lnTo>
                      <a:pt x="172" y="62"/>
                    </a:lnTo>
                    <a:lnTo>
                      <a:pt x="150" y="68"/>
                    </a:lnTo>
                    <a:lnTo>
                      <a:pt x="138" y="68"/>
                    </a:lnTo>
                    <a:lnTo>
                      <a:pt x="124" y="66"/>
                    </a:lnTo>
                    <a:lnTo>
                      <a:pt x="112" y="74"/>
                    </a:lnTo>
                    <a:lnTo>
                      <a:pt x="108" y="82"/>
                    </a:lnTo>
                    <a:lnTo>
                      <a:pt x="102" y="88"/>
                    </a:lnTo>
                    <a:lnTo>
                      <a:pt x="96" y="96"/>
                    </a:lnTo>
                    <a:lnTo>
                      <a:pt x="90" y="88"/>
                    </a:lnTo>
                    <a:lnTo>
                      <a:pt x="80" y="88"/>
                    </a:lnTo>
                    <a:lnTo>
                      <a:pt x="76" y="102"/>
                    </a:lnTo>
                    <a:lnTo>
                      <a:pt x="78" y="104"/>
                    </a:lnTo>
                    <a:lnTo>
                      <a:pt x="74" y="108"/>
                    </a:lnTo>
                    <a:lnTo>
                      <a:pt x="68" y="116"/>
                    </a:lnTo>
                    <a:lnTo>
                      <a:pt x="74" y="122"/>
                    </a:lnTo>
                    <a:lnTo>
                      <a:pt x="88" y="136"/>
                    </a:lnTo>
                    <a:lnTo>
                      <a:pt x="96" y="144"/>
                    </a:lnTo>
                    <a:lnTo>
                      <a:pt x="88" y="150"/>
                    </a:lnTo>
                    <a:lnTo>
                      <a:pt x="88" y="156"/>
                    </a:lnTo>
                    <a:lnTo>
                      <a:pt x="96" y="164"/>
                    </a:lnTo>
                    <a:lnTo>
                      <a:pt x="96" y="176"/>
                    </a:lnTo>
                    <a:lnTo>
                      <a:pt x="96" y="184"/>
                    </a:lnTo>
                    <a:lnTo>
                      <a:pt x="88" y="184"/>
                    </a:lnTo>
                    <a:lnTo>
                      <a:pt x="82" y="184"/>
                    </a:lnTo>
                    <a:lnTo>
                      <a:pt x="74" y="196"/>
                    </a:lnTo>
                    <a:lnTo>
                      <a:pt x="62" y="204"/>
                    </a:lnTo>
                    <a:lnTo>
                      <a:pt x="42" y="224"/>
                    </a:lnTo>
                    <a:lnTo>
                      <a:pt x="34" y="232"/>
                    </a:lnTo>
                    <a:lnTo>
                      <a:pt x="28" y="246"/>
                    </a:lnTo>
                    <a:lnTo>
                      <a:pt x="34" y="266"/>
                    </a:lnTo>
                    <a:lnTo>
                      <a:pt x="34" y="280"/>
                    </a:lnTo>
                    <a:lnTo>
                      <a:pt x="28" y="280"/>
                    </a:lnTo>
                    <a:lnTo>
                      <a:pt x="20" y="280"/>
                    </a:lnTo>
                    <a:lnTo>
                      <a:pt x="8" y="300"/>
                    </a:lnTo>
                    <a:lnTo>
                      <a:pt x="0" y="320"/>
                    </a:lnTo>
                    <a:lnTo>
                      <a:pt x="0" y="334"/>
                    </a:lnTo>
                    <a:lnTo>
                      <a:pt x="14" y="348"/>
                    </a:lnTo>
                    <a:lnTo>
                      <a:pt x="28" y="354"/>
                    </a:lnTo>
                    <a:lnTo>
                      <a:pt x="42" y="354"/>
                    </a:lnTo>
                    <a:lnTo>
                      <a:pt x="68" y="354"/>
                    </a:lnTo>
                    <a:lnTo>
                      <a:pt x="82" y="362"/>
                    </a:lnTo>
                    <a:lnTo>
                      <a:pt x="96" y="368"/>
                    </a:lnTo>
                    <a:lnTo>
                      <a:pt x="116" y="362"/>
                    </a:lnTo>
                    <a:lnTo>
                      <a:pt x="122" y="354"/>
                    </a:lnTo>
                    <a:lnTo>
                      <a:pt x="136" y="362"/>
                    </a:lnTo>
                    <a:lnTo>
                      <a:pt x="144" y="368"/>
                    </a:lnTo>
                    <a:lnTo>
                      <a:pt x="156" y="362"/>
                    </a:lnTo>
                    <a:lnTo>
                      <a:pt x="172" y="348"/>
                    </a:lnTo>
                    <a:lnTo>
                      <a:pt x="184" y="348"/>
                    </a:lnTo>
                    <a:lnTo>
                      <a:pt x="198" y="348"/>
                    </a:lnTo>
                    <a:lnTo>
                      <a:pt x="204" y="348"/>
                    </a:lnTo>
                    <a:lnTo>
                      <a:pt x="212" y="334"/>
                    </a:lnTo>
                    <a:lnTo>
                      <a:pt x="220" y="334"/>
                    </a:lnTo>
                    <a:lnTo>
                      <a:pt x="232" y="334"/>
                    </a:lnTo>
                    <a:lnTo>
                      <a:pt x="232" y="326"/>
                    </a:lnTo>
                    <a:lnTo>
                      <a:pt x="240" y="334"/>
                    </a:lnTo>
                    <a:lnTo>
                      <a:pt x="246" y="334"/>
                    </a:lnTo>
                    <a:lnTo>
                      <a:pt x="267" y="326"/>
                    </a:lnTo>
                    <a:lnTo>
                      <a:pt x="275" y="320"/>
                    </a:lnTo>
                    <a:lnTo>
                      <a:pt x="281" y="314"/>
                    </a:lnTo>
                    <a:lnTo>
                      <a:pt x="301" y="314"/>
                    </a:lnTo>
                    <a:lnTo>
                      <a:pt x="301" y="320"/>
                    </a:lnTo>
                    <a:lnTo>
                      <a:pt x="315" y="320"/>
                    </a:lnTo>
                    <a:lnTo>
                      <a:pt x="323" y="326"/>
                    </a:lnTo>
                    <a:lnTo>
                      <a:pt x="329" y="334"/>
                    </a:lnTo>
                    <a:lnTo>
                      <a:pt x="335" y="326"/>
                    </a:lnTo>
                    <a:lnTo>
                      <a:pt x="343" y="326"/>
                    </a:lnTo>
                    <a:lnTo>
                      <a:pt x="349" y="334"/>
                    </a:lnTo>
                    <a:lnTo>
                      <a:pt x="363" y="340"/>
                    </a:lnTo>
                    <a:lnTo>
                      <a:pt x="363" y="334"/>
                    </a:lnTo>
                    <a:lnTo>
                      <a:pt x="377" y="340"/>
                    </a:lnTo>
                    <a:lnTo>
                      <a:pt x="377" y="348"/>
                    </a:lnTo>
                    <a:lnTo>
                      <a:pt x="377" y="354"/>
                    </a:lnTo>
                    <a:lnTo>
                      <a:pt x="383" y="354"/>
                    </a:lnTo>
                    <a:lnTo>
                      <a:pt x="383" y="368"/>
                    </a:lnTo>
                    <a:lnTo>
                      <a:pt x="383" y="382"/>
                    </a:lnTo>
                    <a:lnTo>
                      <a:pt x="383" y="388"/>
                    </a:lnTo>
                    <a:lnTo>
                      <a:pt x="391" y="388"/>
                    </a:lnTo>
                    <a:lnTo>
                      <a:pt x="397" y="388"/>
                    </a:lnTo>
                    <a:lnTo>
                      <a:pt x="405" y="402"/>
                    </a:lnTo>
                    <a:lnTo>
                      <a:pt x="405" y="416"/>
                    </a:lnTo>
                    <a:lnTo>
                      <a:pt x="411" y="416"/>
                    </a:lnTo>
                    <a:lnTo>
                      <a:pt x="419" y="416"/>
                    </a:lnTo>
                    <a:lnTo>
                      <a:pt x="419" y="422"/>
                    </a:lnTo>
                    <a:lnTo>
                      <a:pt x="419" y="430"/>
                    </a:lnTo>
                    <a:lnTo>
                      <a:pt x="425" y="436"/>
                    </a:lnTo>
                    <a:lnTo>
                      <a:pt x="431" y="444"/>
                    </a:lnTo>
                    <a:lnTo>
                      <a:pt x="439" y="450"/>
                    </a:lnTo>
                    <a:lnTo>
                      <a:pt x="439" y="458"/>
                    </a:lnTo>
                    <a:lnTo>
                      <a:pt x="439" y="458"/>
                    </a:lnTo>
                    <a:lnTo>
                      <a:pt x="439" y="458"/>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5" name="Freeform 19"/>
              <p:cNvSpPr>
                <a:spLocks/>
              </p:cNvSpPr>
              <p:nvPr/>
            </p:nvSpPr>
            <p:spPr bwMode="gray">
              <a:xfrm>
                <a:off x="5840154" y="3435211"/>
                <a:ext cx="347740" cy="368382"/>
              </a:xfrm>
              <a:custGeom>
                <a:avLst/>
                <a:gdLst>
                  <a:gd name="T0" fmla="*/ 6 w 219"/>
                  <a:gd name="T1" fmla="*/ 34 h 232"/>
                  <a:gd name="T2" fmla="*/ 12 w 219"/>
                  <a:gd name="T3" fmla="*/ 54 h 232"/>
                  <a:gd name="T4" fmla="*/ 27 w 219"/>
                  <a:gd name="T5" fmla="*/ 68 h 232"/>
                  <a:gd name="T6" fmla="*/ 47 w 219"/>
                  <a:gd name="T7" fmla="*/ 76 h 232"/>
                  <a:gd name="T8" fmla="*/ 55 w 219"/>
                  <a:gd name="T9" fmla="*/ 90 h 232"/>
                  <a:gd name="T10" fmla="*/ 75 w 219"/>
                  <a:gd name="T11" fmla="*/ 96 h 232"/>
                  <a:gd name="T12" fmla="*/ 83 w 219"/>
                  <a:gd name="T13" fmla="*/ 116 h 232"/>
                  <a:gd name="T14" fmla="*/ 89 w 219"/>
                  <a:gd name="T15" fmla="*/ 144 h 232"/>
                  <a:gd name="T16" fmla="*/ 83 w 219"/>
                  <a:gd name="T17" fmla="*/ 164 h 232"/>
                  <a:gd name="T18" fmla="*/ 89 w 219"/>
                  <a:gd name="T19" fmla="*/ 178 h 232"/>
                  <a:gd name="T20" fmla="*/ 83 w 219"/>
                  <a:gd name="T21" fmla="*/ 192 h 232"/>
                  <a:gd name="T22" fmla="*/ 83 w 219"/>
                  <a:gd name="T23" fmla="*/ 218 h 232"/>
                  <a:gd name="T24" fmla="*/ 95 w 219"/>
                  <a:gd name="T25" fmla="*/ 226 h 232"/>
                  <a:gd name="T26" fmla="*/ 109 w 219"/>
                  <a:gd name="T27" fmla="*/ 232 h 232"/>
                  <a:gd name="T28" fmla="*/ 131 w 219"/>
                  <a:gd name="T29" fmla="*/ 232 h 232"/>
                  <a:gd name="T30" fmla="*/ 145 w 219"/>
                  <a:gd name="T31" fmla="*/ 218 h 232"/>
                  <a:gd name="T32" fmla="*/ 157 w 219"/>
                  <a:gd name="T33" fmla="*/ 218 h 232"/>
                  <a:gd name="T34" fmla="*/ 165 w 219"/>
                  <a:gd name="T35" fmla="*/ 226 h 232"/>
                  <a:gd name="T36" fmla="*/ 173 w 219"/>
                  <a:gd name="T37" fmla="*/ 212 h 232"/>
                  <a:gd name="T38" fmla="*/ 165 w 219"/>
                  <a:gd name="T39" fmla="*/ 198 h 232"/>
                  <a:gd name="T40" fmla="*/ 173 w 219"/>
                  <a:gd name="T41" fmla="*/ 184 h 232"/>
                  <a:gd name="T42" fmla="*/ 179 w 219"/>
                  <a:gd name="T43" fmla="*/ 192 h 232"/>
                  <a:gd name="T44" fmla="*/ 199 w 219"/>
                  <a:gd name="T45" fmla="*/ 184 h 232"/>
                  <a:gd name="T46" fmla="*/ 213 w 219"/>
                  <a:gd name="T47" fmla="*/ 178 h 232"/>
                  <a:gd name="T48" fmla="*/ 219 w 219"/>
                  <a:gd name="T49" fmla="*/ 164 h 232"/>
                  <a:gd name="T50" fmla="*/ 205 w 219"/>
                  <a:gd name="T51" fmla="*/ 156 h 232"/>
                  <a:gd name="T52" fmla="*/ 193 w 219"/>
                  <a:gd name="T53" fmla="*/ 144 h 232"/>
                  <a:gd name="T54" fmla="*/ 199 w 219"/>
                  <a:gd name="T55" fmla="*/ 138 h 232"/>
                  <a:gd name="T56" fmla="*/ 187 w 219"/>
                  <a:gd name="T57" fmla="*/ 124 h 232"/>
                  <a:gd name="T58" fmla="*/ 179 w 219"/>
                  <a:gd name="T59" fmla="*/ 110 h 232"/>
                  <a:gd name="T60" fmla="*/ 173 w 219"/>
                  <a:gd name="T61" fmla="*/ 104 h 232"/>
                  <a:gd name="T62" fmla="*/ 165 w 219"/>
                  <a:gd name="T63" fmla="*/ 90 h 232"/>
                  <a:gd name="T64" fmla="*/ 151 w 219"/>
                  <a:gd name="T65" fmla="*/ 76 h 232"/>
                  <a:gd name="T66" fmla="*/ 145 w 219"/>
                  <a:gd name="T67" fmla="*/ 68 h 232"/>
                  <a:gd name="T68" fmla="*/ 145 w 219"/>
                  <a:gd name="T69" fmla="*/ 42 h 232"/>
                  <a:gd name="T70" fmla="*/ 139 w 219"/>
                  <a:gd name="T71" fmla="*/ 34 h 232"/>
                  <a:gd name="T72" fmla="*/ 123 w 219"/>
                  <a:gd name="T73" fmla="*/ 20 h 232"/>
                  <a:gd name="T74" fmla="*/ 111 w 219"/>
                  <a:gd name="T75" fmla="*/ 20 h 232"/>
                  <a:gd name="T76" fmla="*/ 97 w 219"/>
                  <a:gd name="T77" fmla="*/ 14 h 232"/>
                  <a:gd name="T78" fmla="*/ 83 w 219"/>
                  <a:gd name="T79" fmla="*/ 14 h 232"/>
                  <a:gd name="T80" fmla="*/ 63 w 219"/>
                  <a:gd name="T81" fmla="*/ 6 h 232"/>
                  <a:gd name="T82" fmla="*/ 43 w 219"/>
                  <a:gd name="T83" fmla="*/ 0 h 232"/>
                  <a:gd name="T84" fmla="*/ 29 w 219"/>
                  <a:gd name="T85" fmla="*/ 14 h 232"/>
                  <a:gd name="T86" fmla="*/ 0 w 219"/>
                  <a:gd name="T87" fmla="*/ 20 h 232"/>
                  <a:gd name="T88" fmla="*/ 0 w 219"/>
                  <a:gd name="T89" fmla="*/ 2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9" h="232">
                    <a:moveTo>
                      <a:pt x="0" y="20"/>
                    </a:moveTo>
                    <a:lnTo>
                      <a:pt x="6" y="34"/>
                    </a:lnTo>
                    <a:lnTo>
                      <a:pt x="12" y="34"/>
                    </a:lnTo>
                    <a:lnTo>
                      <a:pt x="12" y="54"/>
                    </a:lnTo>
                    <a:lnTo>
                      <a:pt x="20" y="62"/>
                    </a:lnTo>
                    <a:lnTo>
                      <a:pt x="27" y="68"/>
                    </a:lnTo>
                    <a:lnTo>
                      <a:pt x="41" y="76"/>
                    </a:lnTo>
                    <a:lnTo>
                      <a:pt x="47" y="76"/>
                    </a:lnTo>
                    <a:lnTo>
                      <a:pt x="47" y="82"/>
                    </a:lnTo>
                    <a:lnTo>
                      <a:pt x="55" y="90"/>
                    </a:lnTo>
                    <a:lnTo>
                      <a:pt x="61" y="90"/>
                    </a:lnTo>
                    <a:lnTo>
                      <a:pt x="75" y="96"/>
                    </a:lnTo>
                    <a:lnTo>
                      <a:pt x="75" y="104"/>
                    </a:lnTo>
                    <a:lnTo>
                      <a:pt x="83" y="116"/>
                    </a:lnTo>
                    <a:lnTo>
                      <a:pt x="83" y="130"/>
                    </a:lnTo>
                    <a:lnTo>
                      <a:pt x="89" y="144"/>
                    </a:lnTo>
                    <a:lnTo>
                      <a:pt x="89" y="156"/>
                    </a:lnTo>
                    <a:lnTo>
                      <a:pt x="83" y="164"/>
                    </a:lnTo>
                    <a:lnTo>
                      <a:pt x="83" y="170"/>
                    </a:lnTo>
                    <a:lnTo>
                      <a:pt x="89" y="178"/>
                    </a:lnTo>
                    <a:lnTo>
                      <a:pt x="83" y="184"/>
                    </a:lnTo>
                    <a:lnTo>
                      <a:pt x="83" y="192"/>
                    </a:lnTo>
                    <a:lnTo>
                      <a:pt x="83" y="206"/>
                    </a:lnTo>
                    <a:lnTo>
                      <a:pt x="83" y="218"/>
                    </a:lnTo>
                    <a:lnTo>
                      <a:pt x="83" y="226"/>
                    </a:lnTo>
                    <a:lnTo>
                      <a:pt x="95" y="226"/>
                    </a:lnTo>
                    <a:lnTo>
                      <a:pt x="103" y="232"/>
                    </a:lnTo>
                    <a:lnTo>
                      <a:pt x="109" y="232"/>
                    </a:lnTo>
                    <a:lnTo>
                      <a:pt x="117" y="232"/>
                    </a:lnTo>
                    <a:lnTo>
                      <a:pt x="131" y="232"/>
                    </a:lnTo>
                    <a:lnTo>
                      <a:pt x="139" y="226"/>
                    </a:lnTo>
                    <a:lnTo>
                      <a:pt x="145" y="218"/>
                    </a:lnTo>
                    <a:lnTo>
                      <a:pt x="151" y="212"/>
                    </a:lnTo>
                    <a:lnTo>
                      <a:pt x="157" y="218"/>
                    </a:lnTo>
                    <a:lnTo>
                      <a:pt x="165" y="218"/>
                    </a:lnTo>
                    <a:lnTo>
                      <a:pt x="165" y="226"/>
                    </a:lnTo>
                    <a:lnTo>
                      <a:pt x="173" y="226"/>
                    </a:lnTo>
                    <a:lnTo>
                      <a:pt x="173" y="212"/>
                    </a:lnTo>
                    <a:lnTo>
                      <a:pt x="173" y="206"/>
                    </a:lnTo>
                    <a:lnTo>
                      <a:pt x="165" y="198"/>
                    </a:lnTo>
                    <a:lnTo>
                      <a:pt x="165" y="192"/>
                    </a:lnTo>
                    <a:lnTo>
                      <a:pt x="173" y="184"/>
                    </a:lnTo>
                    <a:lnTo>
                      <a:pt x="179" y="184"/>
                    </a:lnTo>
                    <a:lnTo>
                      <a:pt x="179" y="192"/>
                    </a:lnTo>
                    <a:lnTo>
                      <a:pt x="185" y="184"/>
                    </a:lnTo>
                    <a:lnTo>
                      <a:pt x="199" y="184"/>
                    </a:lnTo>
                    <a:lnTo>
                      <a:pt x="205" y="178"/>
                    </a:lnTo>
                    <a:lnTo>
                      <a:pt x="213" y="178"/>
                    </a:lnTo>
                    <a:lnTo>
                      <a:pt x="219" y="178"/>
                    </a:lnTo>
                    <a:lnTo>
                      <a:pt x="219" y="164"/>
                    </a:lnTo>
                    <a:lnTo>
                      <a:pt x="213" y="156"/>
                    </a:lnTo>
                    <a:lnTo>
                      <a:pt x="205" y="156"/>
                    </a:lnTo>
                    <a:lnTo>
                      <a:pt x="193" y="150"/>
                    </a:lnTo>
                    <a:lnTo>
                      <a:pt x="193" y="144"/>
                    </a:lnTo>
                    <a:lnTo>
                      <a:pt x="199" y="144"/>
                    </a:lnTo>
                    <a:lnTo>
                      <a:pt x="199" y="138"/>
                    </a:lnTo>
                    <a:lnTo>
                      <a:pt x="193" y="130"/>
                    </a:lnTo>
                    <a:lnTo>
                      <a:pt x="187" y="124"/>
                    </a:lnTo>
                    <a:lnTo>
                      <a:pt x="179" y="116"/>
                    </a:lnTo>
                    <a:lnTo>
                      <a:pt x="179" y="110"/>
                    </a:lnTo>
                    <a:lnTo>
                      <a:pt x="179" y="104"/>
                    </a:lnTo>
                    <a:lnTo>
                      <a:pt x="173" y="104"/>
                    </a:lnTo>
                    <a:lnTo>
                      <a:pt x="165" y="104"/>
                    </a:lnTo>
                    <a:lnTo>
                      <a:pt x="165" y="90"/>
                    </a:lnTo>
                    <a:lnTo>
                      <a:pt x="159" y="76"/>
                    </a:lnTo>
                    <a:lnTo>
                      <a:pt x="151" y="76"/>
                    </a:lnTo>
                    <a:lnTo>
                      <a:pt x="145" y="76"/>
                    </a:lnTo>
                    <a:lnTo>
                      <a:pt x="145" y="68"/>
                    </a:lnTo>
                    <a:lnTo>
                      <a:pt x="145" y="54"/>
                    </a:lnTo>
                    <a:lnTo>
                      <a:pt x="145" y="42"/>
                    </a:lnTo>
                    <a:lnTo>
                      <a:pt x="139" y="42"/>
                    </a:lnTo>
                    <a:lnTo>
                      <a:pt x="139" y="34"/>
                    </a:lnTo>
                    <a:lnTo>
                      <a:pt x="139" y="28"/>
                    </a:lnTo>
                    <a:lnTo>
                      <a:pt x="123" y="20"/>
                    </a:lnTo>
                    <a:lnTo>
                      <a:pt x="123" y="28"/>
                    </a:lnTo>
                    <a:lnTo>
                      <a:pt x="111" y="20"/>
                    </a:lnTo>
                    <a:lnTo>
                      <a:pt x="105" y="14"/>
                    </a:lnTo>
                    <a:lnTo>
                      <a:pt x="97" y="14"/>
                    </a:lnTo>
                    <a:lnTo>
                      <a:pt x="91" y="20"/>
                    </a:lnTo>
                    <a:lnTo>
                      <a:pt x="83" y="14"/>
                    </a:lnTo>
                    <a:lnTo>
                      <a:pt x="77" y="6"/>
                    </a:lnTo>
                    <a:lnTo>
                      <a:pt x="63" y="6"/>
                    </a:lnTo>
                    <a:lnTo>
                      <a:pt x="63" y="0"/>
                    </a:lnTo>
                    <a:lnTo>
                      <a:pt x="43" y="0"/>
                    </a:lnTo>
                    <a:lnTo>
                      <a:pt x="35" y="6"/>
                    </a:lnTo>
                    <a:lnTo>
                      <a:pt x="29" y="14"/>
                    </a:lnTo>
                    <a:lnTo>
                      <a:pt x="8" y="20"/>
                    </a:lnTo>
                    <a:lnTo>
                      <a:pt x="0" y="20"/>
                    </a:lnTo>
                    <a:lnTo>
                      <a:pt x="0" y="20"/>
                    </a:lnTo>
                    <a:lnTo>
                      <a:pt x="0" y="2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6" name="Freeform 20"/>
              <p:cNvSpPr>
                <a:spLocks/>
              </p:cNvSpPr>
              <p:nvPr/>
            </p:nvSpPr>
            <p:spPr bwMode="gray">
              <a:xfrm>
                <a:off x="7046922" y="3790890"/>
                <a:ext cx="666898" cy="238178"/>
              </a:xfrm>
              <a:custGeom>
                <a:avLst/>
                <a:gdLst>
                  <a:gd name="T0" fmla="*/ 226 w 420"/>
                  <a:gd name="T1" fmla="*/ 150 h 150"/>
                  <a:gd name="T2" fmla="*/ 220 w 420"/>
                  <a:gd name="T3" fmla="*/ 144 h 150"/>
                  <a:gd name="T4" fmla="*/ 212 w 420"/>
                  <a:gd name="T5" fmla="*/ 138 h 150"/>
                  <a:gd name="T6" fmla="*/ 192 w 420"/>
                  <a:gd name="T7" fmla="*/ 138 h 150"/>
                  <a:gd name="T8" fmla="*/ 178 w 420"/>
                  <a:gd name="T9" fmla="*/ 144 h 150"/>
                  <a:gd name="T10" fmla="*/ 144 w 420"/>
                  <a:gd name="T11" fmla="*/ 144 h 150"/>
                  <a:gd name="T12" fmla="*/ 138 w 420"/>
                  <a:gd name="T13" fmla="*/ 150 h 150"/>
                  <a:gd name="T14" fmla="*/ 130 w 420"/>
                  <a:gd name="T15" fmla="*/ 144 h 150"/>
                  <a:gd name="T16" fmla="*/ 138 w 420"/>
                  <a:gd name="T17" fmla="*/ 124 h 150"/>
                  <a:gd name="T18" fmla="*/ 144 w 420"/>
                  <a:gd name="T19" fmla="*/ 116 h 150"/>
                  <a:gd name="T20" fmla="*/ 124 w 420"/>
                  <a:gd name="T21" fmla="*/ 96 h 150"/>
                  <a:gd name="T22" fmla="*/ 110 w 420"/>
                  <a:gd name="T23" fmla="*/ 76 h 150"/>
                  <a:gd name="T24" fmla="*/ 104 w 420"/>
                  <a:gd name="T25" fmla="*/ 62 h 150"/>
                  <a:gd name="T26" fmla="*/ 84 w 420"/>
                  <a:gd name="T27" fmla="*/ 62 h 150"/>
                  <a:gd name="T28" fmla="*/ 68 w 420"/>
                  <a:gd name="T29" fmla="*/ 48 h 150"/>
                  <a:gd name="T30" fmla="*/ 54 w 420"/>
                  <a:gd name="T31" fmla="*/ 42 h 150"/>
                  <a:gd name="T32" fmla="*/ 42 w 420"/>
                  <a:gd name="T33" fmla="*/ 48 h 150"/>
                  <a:gd name="T34" fmla="*/ 28 w 420"/>
                  <a:gd name="T35" fmla="*/ 42 h 150"/>
                  <a:gd name="T36" fmla="*/ 0 w 420"/>
                  <a:gd name="T37" fmla="*/ 36 h 150"/>
                  <a:gd name="T38" fmla="*/ 8 w 420"/>
                  <a:gd name="T39" fmla="*/ 22 h 150"/>
                  <a:gd name="T40" fmla="*/ 28 w 420"/>
                  <a:gd name="T41" fmla="*/ 22 h 150"/>
                  <a:gd name="T42" fmla="*/ 42 w 420"/>
                  <a:gd name="T43" fmla="*/ 0 h 150"/>
                  <a:gd name="T44" fmla="*/ 70 w 420"/>
                  <a:gd name="T45" fmla="*/ 14 h 150"/>
                  <a:gd name="T46" fmla="*/ 104 w 420"/>
                  <a:gd name="T47" fmla="*/ 14 h 150"/>
                  <a:gd name="T48" fmla="*/ 118 w 420"/>
                  <a:gd name="T49" fmla="*/ 22 h 150"/>
                  <a:gd name="T50" fmla="*/ 144 w 420"/>
                  <a:gd name="T51" fmla="*/ 22 h 150"/>
                  <a:gd name="T52" fmla="*/ 172 w 420"/>
                  <a:gd name="T53" fmla="*/ 14 h 150"/>
                  <a:gd name="T54" fmla="*/ 200 w 420"/>
                  <a:gd name="T55" fmla="*/ 22 h 150"/>
                  <a:gd name="T56" fmla="*/ 220 w 420"/>
                  <a:gd name="T57" fmla="*/ 22 h 150"/>
                  <a:gd name="T58" fmla="*/ 220 w 420"/>
                  <a:gd name="T59" fmla="*/ 36 h 150"/>
                  <a:gd name="T60" fmla="*/ 248 w 420"/>
                  <a:gd name="T61" fmla="*/ 36 h 150"/>
                  <a:gd name="T62" fmla="*/ 268 w 420"/>
                  <a:gd name="T63" fmla="*/ 22 h 150"/>
                  <a:gd name="T64" fmla="*/ 288 w 420"/>
                  <a:gd name="T65" fmla="*/ 28 h 150"/>
                  <a:gd name="T66" fmla="*/ 296 w 420"/>
                  <a:gd name="T67" fmla="*/ 14 h 150"/>
                  <a:gd name="T68" fmla="*/ 308 w 420"/>
                  <a:gd name="T69" fmla="*/ 14 h 150"/>
                  <a:gd name="T70" fmla="*/ 324 w 420"/>
                  <a:gd name="T71" fmla="*/ 22 h 150"/>
                  <a:gd name="T72" fmla="*/ 336 w 420"/>
                  <a:gd name="T73" fmla="*/ 14 h 150"/>
                  <a:gd name="T74" fmla="*/ 350 w 420"/>
                  <a:gd name="T75" fmla="*/ 28 h 150"/>
                  <a:gd name="T76" fmla="*/ 358 w 420"/>
                  <a:gd name="T77" fmla="*/ 42 h 150"/>
                  <a:gd name="T78" fmla="*/ 378 w 420"/>
                  <a:gd name="T79" fmla="*/ 36 h 150"/>
                  <a:gd name="T80" fmla="*/ 392 w 420"/>
                  <a:gd name="T81" fmla="*/ 42 h 150"/>
                  <a:gd name="T82" fmla="*/ 392 w 420"/>
                  <a:gd name="T83" fmla="*/ 62 h 150"/>
                  <a:gd name="T84" fmla="*/ 420 w 420"/>
                  <a:gd name="T85" fmla="*/ 76 h 150"/>
                  <a:gd name="T86" fmla="*/ 420 w 420"/>
                  <a:gd name="T87" fmla="*/ 96 h 150"/>
                  <a:gd name="T88" fmla="*/ 392 w 420"/>
                  <a:gd name="T89" fmla="*/ 96 h 150"/>
                  <a:gd name="T90" fmla="*/ 378 w 420"/>
                  <a:gd name="T91" fmla="*/ 96 h 150"/>
                  <a:gd name="T92" fmla="*/ 350 w 420"/>
                  <a:gd name="T93" fmla="*/ 82 h 150"/>
                  <a:gd name="T94" fmla="*/ 336 w 420"/>
                  <a:gd name="T95" fmla="*/ 102 h 150"/>
                  <a:gd name="T96" fmla="*/ 330 w 420"/>
                  <a:gd name="T97" fmla="*/ 110 h 150"/>
                  <a:gd name="T98" fmla="*/ 324 w 420"/>
                  <a:gd name="T99" fmla="*/ 116 h 150"/>
                  <a:gd name="T100" fmla="*/ 308 w 420"/>
                  <a:gd name="T101" fmla="*/ 124 h 150"/>
                  <a:gd name="T102" fmla="*/ 288 w 420"/>
                  <a:gd name="T103" fmla="*/ 124 h 150"/>
                  <a:gd name="T104" fmla="*/ 262 w 420"/>
                  <a:gd name="T105" fmla="*/ 138 h 150"/>
                  <a:gd name="T106" fmla="*/ 240 w 420"/>
                  <a:gd name="T107" fmla="*/ 150 h 150"/>
                  <a:gd name="T108" fmla="*/ 240 w 420"/>
                  <a:gd name="T10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20" h="150">
                    <a:moveTo>
                      <a:pt x="240" y="150"/>
                    </a:moveTo>
                    <a:lnTo>
                      <a:pt x="226" y="150"/>
                    </a:lnTo>
                    <a:lnTo>
                      <a:pt x="220" y="150"/>
                    </a:lnTo>
                    <a:lnTo>
                      <a:pt x="220" y="144"/>
                    </a:lnTo>
                    <a:lnTo>
                      <a:pt x="220" y="138"/>
                    </a:lnTo>
                    <a:lnTo>
                      <a:pt x="212" y="138"/>
                    </a:lnTo>
                    <a:lnTo>
                      <a:pt x="198" y="130"/>
                    </a:lnTo>
                    <a:lnTo>
                      <a:pt x="192" y="138"/>
                    </a:lnTo>
                    <a:lnTo>
                      <a:pt x="186" y="138"/>
                    </a:lnTo>
                    <a:lnTo>
                      <a:pt x="178" y="144"/>
                    </a:lnTo>
                    <a:lnTo>
                      <a:pt x="152" y="144"/>
                    </a:lnTo>
                    <a:lnTo>
                      <a:pt x="144" y="144"/>
                    </a:lnTo>
                    <a:lnTo>
                      <a:pt x="138" y="144"/>
                    </a:lnTo>
                    <a:lnTo>
                      <a:pt x="138" y="150"/>
                    </a:lnTo>
                    <a:lnTo>
                      <a:pt x="130" y="150"/>
                    </a:lnTo>
                    <a:lnTo>
                      <a:pt x="130" y="144"/>
                    </a:lnTo>
                    <a:lnTo>
                      <a:pt x="130" y="138"/>
                    </a:lnTo>
                    <a:lnTo>
                      <a:pt x="138" y="124"/>
                    </a:lnTo>
                    <a:lnTo>
                      <a:pt x="144" y="124"/>
                    </a:lnTo>
                    <a:lnTo>
                      <a:pt x="144" y="116"/>
                    </a:lnTo>
                    <a:lnTo>
                      <a:pt x="138" y="110"/>
                    </a:lnTo>
                    <a:lnTo>
                      <a:pt x="124" y="96"/>
                    </a:lnTo>
                    <a:lnTo>
                      <a:pt x="118" y="88"/>
                    </a:lnTo>
                    <a:lnTo>
                      <a:pt x="110" y="76"/>
                    </a:lnTo>
                    <a:lnTo>
                      <a:pt x="110" y="70"/>
                    </a:lnTo>
                    <a:lnTo>
                      <a:pt x="104" y="62"/>
                    </a:lnTo>
                    <a:lnTo>
                      <a:pt x="90" y="62"/>
                    </a:lnTo>
                    <a:lnTo>
                      <a:pt x="84" y="62"/>
                    </a:lnTo>
                    <a:lnTo>
                      <a:pt x="84" y="48"/>
                    </a:lnTo>
                    <a:lnTo>
                      <a:pt x="68" y="48"/>
                    </a:lnTo>
                    <a:lnTo>
                      <a:pt x="62" y="42"/>
                    </a:lnTo>
                    <a:lnTo>
                      <a:pt x="54" y="42"/>
                    </a:lnTo>
                    <a:lnTo>
                      <a:pt x="48" y="48"/>
                    </a:lnTo>
                    <a:lnTo>
                      <a:pt x="42" y="48"/>
                    </a:lnTo>
                    <a:lnTo>
                      <a:pt x="34" y="42"/>
                    </a:lnTo>
                    <a:lnTo>
                      <a:pt x="28" y="42"/>
                    </a:lnTo>
                    <a:lnTo>
                      <a:pt x="20" y="42"/>
                    </a:lnTo>
                    <a:lnTo>
                      <a:pt x="0" y="36"/>
                    </a:lnTo>
                    <a:lnTo>
                      <a:pt x="0" y="36"/>
                    </a:lnTo>
                    <a:lnTo>
                      <a:pt x="8" y="22"/>
                    </a:lnTo>
                    <a:lnTo>
                      <a:pt x="14" y="22"/>
                    </a:lnTo>
                    <a:lnTo>
                      <a:pt x="28" y="22"/>
                    </a:lnTo>
                    <a:lnTo>
                      <a:pt x="36" y="14"/>
                    </a:lnTo>
                    <a:lnTo>
                      <a:pt x="42" y="0"/>
                    </a:lnTo>
                    <a:lnTo>
                      <a:pt x="56" y="8"/>
                    </a:lnTo>
                    <a:lnTo>
                      <a:pt x="70" y="14"/>
                    </a:lnTo>
                    <a:lnTo>
                      <a:pt x="76" y="14"/>
                    </a:lnTo>
                    <a:lnTo>
                      <a:pt x="104" y="14"/>
                    </a:lnTo>
                    <a:lnTo>
                      <a:pt x="110" y="22"/>
                    </a:lnTo>
                    <a:lnTo>
                      <a:pt x="118" y="22"/>
                    </a:lnTo>
                    <a:lnTo>
                      <a:pt x="132" y="22"/>
                    </a:lnTo>
                    <a:lnTo>
                      <a:pt x="144" y="22"/>
                    </a:lnTo>
                    <a:lnTo>
                      <a:pt x="166" y="14"/>
                    </a:lnTo>
                    <a:lnTo>
                      <a:pt x="172" y="14"/>
                    </a:lnTo>
                    <a:lnTo>
                      <a:pt x="180" y="22"/>
                    </a:lnTo>
                    <a:lnTo>
                      <a:pt x="200" y="22"/>
                    </a:lnTo>
                    <a:lnTo>
                      <a:pt x="214" y="22"/>
                    </a:lnTo>
                    <a:lnTo>
                      <a:pt x="220" y="22"/>
                    </a:lnTo>
                    <a:lnTo>
                      <a:pt x="228" y="28"/>
                    </a:lnTo>
                    <a:lnTo>
                      <a:pt x="220" y="36"/>
                    </a:lnTo>
                    <a:lnTo>
                      <a:pt x="234" y="36"/>
                    </a:lnTo>
                    <a:lnTo>
                      <a:pt x="248" y="36"/>
                    </a:lnTo>
                    <a:lnTo>
                      <a:pt x="254" y="28"/>
                    </a:lnTo>
                    <a:lnTo>
                      <a:pt x="268" y="22"/>
                    </a:lnTo>
                    <a:lnTo>
                      <a:pt x="282" y="28"/>
                    </a:lnTo>
                    <a:lnTo>
                      <a:pt x="288" y="28"/>
                    </a:lnTo>
                    <a:lnTo>
                      <a:pt x="296" y="22"/>
                    </a:lnTo>
                    <a:lnTo>
                      <a:pt x="296" y="14"/>
                    </a:lnTo>
                    <a:lnTo>
                      <a:pt x="302" y="14"/>
                    </a:lnTo>
                    <a:lnTo>
                      <a:pt x="308" y="14"/>
                    </a:lnTo>
                    <a:lnTo>
                      <a:pt x="308" y="28"/>
                    </a:lnTo>
                    <a:lnTo>
                      <a:pt x="324" y="22"/>
                    </a:lnTo>
                    <a:lnTo>
                      <a:pt x="324" y="14"/>
                    </a:lnTo>
                    <a:lnTo>
                      <a:pt x="336" y="14"/>
                    </a:lnTo>
                    <a:lnTo>
                      <a:pt x="350" y="22"/>
                    </a:lnTo>
                    <a:lnTo>
                      <a:pt x="350" y="28"/>
                    </a:lnTo>
                    <a:lnTo>
                      <a:pt x="350" y="36"/>
                    </a:lnTo>
                    <a:lnTo>
                      <a:pt x="358" y="42"/>
                    </a:lnTo>
                    <a:lnTo>
                      <a:pt x="370" y="36"/>
                    </a:lnTo>
                    <a:lnTo>
                      <a:pt x="378" y="36"/>
                    </a:lnTo>
                    <a:lnTo>
                      <a:pt x="398" y="42"/>
                    </a:lnTo>
                    <a:lnTo>
                      <a:pt x="392" y="42"/>
                    </a:lnTo>
                    <a:lnTo>
                      <a:pt x="392" y="56"/>
                    </a:lnTo>
                    <a:lnTo>
                      <a:pt x="392" y="62"/>
                    </a:lnTo>
                    <a:lnTo>
                      <a:pt x="412" y="70"/>
                    </a:lnTo>
                    <a:lnTo>
                      <a:pt x="420" y="76"/>
                    </a:lnTo>
                    <a:lnTo>
                      <a:pt x="420" y="82"/>
                    </a:lnTo>
                    <a:lnTo>
                      <a:pt x="420" y="96"/>
                    </a:lnTo>
                    <a:lnTo>
                      <a:pt x="412" y="96"/>
                    </a:lnTo>
                    <a:lnTo>
                      <a:pt x="392" y="96"/>
                    </a:lnTo>
                    <a:lnTo>
                      <a:pt x="392" y="102"/>
                    </a:lnTo>
                    <a:lnTo>
                      <a:pt x="378" y="96"/>
                    </a:lnTo>
                    <a:lnTo>
                      <a:pt x="364" y="96"/>
                    </a:lnTo>
                    <a:lnTo>
                      <a:pt x="350" y="82"/>
                    </a:lnTo>
                    <a:lnTo>
                      <a:pt x="344" y="88"/>
                    </a:lnTo>
                    <a:lnTo>
                      <a:pt x="336" y="102"/>
                    </a:lnTo>
                    <a:lnTo>
                      <a:pt x="330" y="102"/>
                    </a:lnTo>
                    <a:lnTo>
                      <a:pt x="330" y="110"/>
                    </a:lnTo>
                    <a:lnTo>
                      <a:pt x="330" y="116"/>
                    </a:lnTo>
                    <a:lnTo>
                      <a:pt x="324" y="116"/>
                    </a:lnTo>
                    <a:lnTo>
                      <a:pt x="308" y="116"/>
                    </a:lnTo>
                    <a:lnTo>
                      <a:pt x="308" y="124"/>
                    </a:lnTo>
                    <a:lnTo>
                      <a:pt x="302" y="124"/>
                    </a:lnTo>
                    <a:lnTo>
                      <a:pt x="288" y="124"/>
                    </a:lnTo>
                    <a:lnTo>
                      <a:pt x="274" y="130"/>
                    </a:lnTo>
                    <a:lnTo>
                      <a:pt x="262" y="138"/>
                    </a:lnTo>
                    <a:lnTo>
                      <a:pt x="240" y="150"/>
                    </a:lnTo>
                    <a:lnTo>
                      <a:pt x="240" y="150"/>
                    </a:lnTo>
                    <a:lnTo>
                      <a:pt x="240" y="150"/>
                    </a:lnTo>
                    <a:lnTo>
                      <a:pt x="240" y="15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7" name="Freeform 21"/>
              <p:cNvSpPr>
                <a:spLocks/>
              </p:cNvSpPr>
              <p:nvPr>
                <p:custDataLst>
                  <p:tags r:id="rId128"/>
                </p:custDataLst>
              </p:nvPr>
            </p:nvSpPr>
            <p:spPr bwMode="gray">
              <a:xfrm>
                <a:off x="2631104" y="3600348"/>
                <a:ext cx="1132139" cy="952711"/>
              </a:xfrm>
              <a:custGeom>
                <a:avLst/>
                <a:gdLst>
                  <a:gd name="T0" fmla="*/ 415 w 713"/>
                  <a:gd name="T1" fmla="*/ 124 h 600"/>
                  <a:gd name="T2" fmla="*/ 373 w 713"/>
                  <a:gd name="T3" fmla="*/ 110 h 600"/>
                  <a:gd name="T4" fmla="*/ 325 w 713"/>
                  <a:gd name="T5" fmla="*/ 90 h 600"/>
                  <a:gd name="T6" fmla="*/ 291 w 713"/>
                  <a:gd name="T7" fmla="*/ 76 h 600"/>
                  <a:gd name="T8" fmla="*/ 241 w 713"/>
                  <a:gd name="T9" fmla="*/ 54 h 600"/>
                  <a:gd name="T10" fmla="*/ 201 w 713"/>
                  <a:gd name="T11" fmla="*/ 40 h 600"/>
                  <a:gd name="T12" fmla="*/ 158 w 713"/>
                  <a:gd name="T13" fmla="*/ 14 h 600"/>
                  <a:gd name="T14" fmla="*/ 130 w 713"/>
                  <a:gd name="T15" fmla="*/ 0 h 600"/>
                  <a:gd name="T16" fmla="*/ 116 w 713"/>
                  <a:gd name="T17" fmla="*/ 14 h 600"/>
                  <a:gd name="T18" fmla="*/ 88 w 713"/>
                  <a:gd name="T19" fmla="*/ 14 h 600"/>
                  <a:gd name="T20" fmla="*/ 54 w 713"/>
                  <a:gd name="T21" fmla="*/ 20 h 600"/>
                  <a:gd name="T22" fmla="*/ 62 w 713"/>
                  <a:gd name="T23" fmla="*/ 40 h 600"/>
                  <a:gd name="T24" fmla="*/ 54 w 713"/>
                  <a:gd name="T25" fmla="*/ 48 h 600"/>
                  <a:gd name="T26" fmla="*/ 54 w 713"/>
                  <a:gd name="T27" fmla="*/ 76 h 600"/>
                  <a:gd name="T28" fmla="*/ 40 w 713"/>
                  <a:gd name="T29" fmla="*/ 90 h 600"/>
                  <a:gd name="T30" fmla="*/ 76 w 713"/>
                  <a:gd name="T31" fmla="*/ 102 h 600"/>
                  <a:gd name="T32" fmla="*/ 88 w 713"/>
                  <a:gd name="T33" fmla="*/ 124 h 600"/>
                  <a:gd name="T34" fmla="*/ 124 w 713"/>
                  <a:gd name="T35" fmla="*/ 138 h 600"/>
                  <a:gd name="T36" fmla="*/ 144 w 713"/>
                  <a:gd name="T37" fmla="*/ 144 h 600"/>
                  <a:gd name="T38" fmla="*/ 158 w 713"/>
                  <a:gd name="T39" fmla="*/ 164 h 600"/>
                  <a:gd name="T40" fmla="*/ 164 w 713"/>
                  <a:gd name="T41" fmla="*/ 186 h 600"/>
                  <a:gd name="T42" fmla="*/ 144 w 713"/>
                  <a:gd name="T43" fmla="*/ 198 h 600"/>
                  <a:gd name="T44" fmla="*/ 124 w 713"/>
                  <a:gd name="T45" fmla="*/ 220 h 600"/>
                  <a:gd name="T46" fmla="*/ 110 w 713"/>
                  <a:gd name="T47" fmla="*/ 254 h 600"/>
                  <a:gd name="T48" fmla="*/ 96 w 713"/>
                  <a:gd name="T49" fmla="*/ 274 h 600"/>
                  <a:gd name="T50" fmla="*/ 68 w 713"/>
                  <a:gd name="T51" fmla="*/ 310 h 600"/>
                  <a:gd name="T52" fmla="*/ 62 w 713"/>
                  <a:gd name="T53" fmla="*/ 336 h 600"/>
                  <a:gd name="T54" fmla="*/ 48 w 713"/>
                  <a:gd name="T55" fmla="*/ 372 h 600"/>
                  <a:gd name="T56" fmla="*/ 34 w 713"/>
                  <a:gd name="T57" fmla="*/ 400 h 600"/>
                  <a:gd name="T58" fmla="*/ 26 w 713"/>
                  <a:gd name="T59" fmla="*/ 420 h 600"/>
                  <a:gd name="T60" fmla="*/ 6 w 713"/>
                  <a:gd name="T61" fmla="*/ 434 h 600"/>
                  <a:gd name="T62" fmla="*/ 12 w 713"/>
                  <a:gd name="T63" fmla="*/ 468 h 600"/>
                  <a:gd name="T64" fmla="*/ 48 w 713"/>
                  <a:gd name="T65" fmla="*/ 502 h 600"/>
                  <a:gd name="T66" fmla="*/ 62 w 713"/>
                  <a:gd name="T67" fmla="*/ 522 h 600"/>
                  <a:gd name="T68" fmla="*/ 48 w 713"/>
                  <a:gd name="T69" fmla="*/ 564 h 600"/>
                  <a:gd name="T70" fmla="*/ 82 w 713"/>
                  <a:gd name="T71" fmla="*/ 584 h 600"/>
                  <a:gd name="T72" fmla="*/ 124 w 713"/>
                  <a:gd name="T73" fmla="*/ 564 h 600"/>
                  <a:gd name="T74" fmla="*/ 178 w 713"/>
                  <a:gd name="T75" fmla="*/ 564 h 600"/>
                  <a:gd name="T76" fmla="*/ 241 w 713"/>
                  <a:gd name="T77" fmla="*/ 584 h 600"/>
                  <a:gd name="T78" fmla="*/ 291 w 713"/>
                  <a:gd name="T79" fmla="*/ 592 h 600"/>
                  <a:gd name="T80" fmla="*/ 311 w 713"/>
                  <a:gd name="T81" fmla="*/ 584 h 600"/>
                  <a:gd name="T82" fmla="*/ 345 w 713"/>
                  <a:gd name="T83" fmla="*/ 558 h 600"/>
                  <a:gd name="T84" fmla="*/ 401 w 713"/>
                  <a:gd name="T85" fmla="*/ 550 h 600"/>
                  <a:gd name="T86" fmla="*/ 421 w 713"/>
                  <a:gd name="T87" fmla="*/ 516 h 600"/>
                  <a:gd name="T88" fmla="*/ 463 w 713"/>
                  <a:gd name="T89" fmla="*/ 488 h 600"/>
                  <a:gd name="T90" fmla="*/ 455 w 713"/>
                  <a:gd name="T91" fmla="*/ 448 h 600"/>
                  <a:gd name="T92" fmla="*/ 497 w 713"/>
                  <a:gd name="T93" fmla="*/ 400 h 600"/>
                  <a:gd name="T94" fmla="*/ 547 w 713"/>
                  <a:gd name="T95" fmla="*/ 364 h 600"/>
                  <a:gd name="T96" fmla="*/ 553 w 713"/>
                  <a:gd name="T97" fmla="*/ 352 h 600"/>
                  <a:gd name="T98" fmla="*/ 609 w 713"/>
                  <a:gd name="T99" fmla="*/ 344 h 600"/>
                  <a:gd name="T100" fmla="*/ 651 w 713"/>
                  <a:gd name="T101" fmla="*/ 336 h 600"/>
                  <a:gd name="T102" fmla="*/ 691 w 713"/>
                  <a:gd name="T103" fmla="*/ 324 h 600"/>
                  <a:gd name="T104" fmla="*/ 713 w 713"/>
                  <a:gd name="T105" fmla="*/ 288 h 600"/>
                  <a:gd name="T106" fmla="*/ 691 w 713"/>
                  <a:gd name="T107" fmla="*/ 268 h 600"/>
                  <a:gd name="T108" fmla="*/ 651 w 713"/>
                  <a:gd name="T109" fmla="*/ 262 h 600"/>
                  <a:gd name="T110" fmla="*/ 615 w 713"/>
                  <a:gd name="T111" fmla="*/ 248 h 600"/>
                  <a:gd name="T112" fmla="*/ 587 w 713"/>
                  <a:gd name="T113" fmla="*/ 228 h 600"/>
                  <a:gd name="T114" fmla="*/ 547 w 713"/>
                  <a:gd name="T115" fmla="*/ 214 h 600"/>
                  <a:gd name="T116" fmla="*/ 497 w 713"/>
                  <a:gd name="T117" fmla="*/ 178 h 600"/>
                  <a:gd name="T118" fmla="*/ 471 w 713"/>
                  <a:gd name="T119" fmla="*/ 158 h 600"/>
                  <a:gd name="T120" fmla="*/ 455 w 713"/>
                  <a:gd name="T121" fmla="*/ 13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3" h="600">
                    <a:moveTo>
                      <a:pt x="455" y="138"/>
                    </a:moveTo>
                    <a:lnTo>
                      <a:pt x="449" y="138"/>
                    </a:lnTo>
                    <a:lnTo>
                      <a:pt x="443" y="130"/>
                    </a:lnTo>
                    <a:lnTo>
                      <a:pt x="429" y="130"/>
                    </a:lnTo>
                    <a:lnTo>
                      <a:pt x="415" y="124"/>
                    </a:lnTo>
                    <a:lnTo>
                      <a:pt x="407" y="116"/>
                    </a:lnTo>
                    <a:lnTo>
                      <a:pt x="401" y="116"/>
                    </a:lnTo>
                    <a:lnTo>
                      <a:pt x="393" y="116"/>
                    </a:lnTo>
                    <a:lnTo>
                      <a:pt x="381" y="116"/>
                    </a:lnTo>
                    <a:lnTo>
                      <a:pt x="373" y="110"/>
                    </a:lnTo>
                    <a:lnTo>
                      <a:pt x="367" y="96"/>
                    </a:lnTo>
                    <a:lnTo>
                      <a:pt x="353" y="96"/>
                    </a:lnTo>
                    <a:lnTo>
                      <a:pt x="345" y="90"/>
                    </a:lnTo>
                    <a:lnTo>
                      <a:pt x="339" y="90"/>
                    </a:lnTo>
                    <a:lnTo>
                      <a:pt x="325" y="90"/>
                    </a:lnTo>
                    <a:lnTo>
                      <a:pt x="317" y="90"/>
                    </a:lnTo>
                    <a:lnTo>
                      <a:pt x="311" y="82"/>
                    </a:lnTo>
                    <a:lnTo>
                      <a:pt x="303" y="82"/>
                    </a:lnTo>
                    <a:lnTo>
                      <a:pt x="297" y="82"/>
                    </a:lnTo>
                    <a:lnTo>
                      <a:pt x="291" y="76"/>
                    </a:lnTo>
                    <a:lnTo>
                      <a:pt x="283" y="68"/>
                    </a:lnTo>
                    <a:lnTo>
                      <a:pt x="277" y="68"/>
                    </a:lnTo>
                    <a:lnTo>
                      <a:pt x="263" y="62"/>
                    </a:lnTo>
                    <a:lnTo>
                      <a:pt x="255" y="62"/>
                    </a:lnTo>
                    <a:lnTo>
                      <a:pt x="241" y="54"/>
                    </a:lnTo>
                    <a:lnTo>
                      <a:pt x="241" y="48"/>
                    </a:lnTo>
                    <a:lnTo>
                      <a:pt x="229" y="48"/>
                    </a:lnTo>
                    <a:lnTo>
                      <a:pt x="221" y="40"/>
                    </a:lnTo>
                    <a:lnTo>
                      <a:pt x="215" y="40"/>
                    </a:lnTo>
                    <a:lnTo>
                      <a:pt x="201" y="40"/>
                    </a:lnTo>
                    <a:lnTo>
                      <a:pt x="193" y="34"/>
                    </a:lnTo>
                    <a:lnTo>
                      <a:pt x="186" y="28"/>
                    </a:lnTo>
                    <a:lnTo>
                      <a:pt x="172" y="34"/>
                    </a:lnTo>
                    <a:lnTo>
                      <a:pt x="164" y="20"/>
                    </a:lnTo>
                    <a:lnTo>
                      <a:pt x="158" y="14"/>
                    </a:lnTo>
                    <a:lnTo>
                      <a:pt x="158" y="6"/>
                    </a:lnTo>
                    <a:lnTo>
                      <a:pt x="158" y="0"/>
                    </a:lnTo>
                    <a:lnTo>
                      <a:pt x="144" y="6"/>
                    </a:lnTo>
                    <a:lnTo>
                      <a:pt x="138" y="6"/>
                    </a:lnTo>
                    <a:lnTo>
                      <a:pt x="130" y="0"/>
                    </a:lnTo>
                    <a:lnTo>
                      <a:pt x="130" y="6"/>
                    </a:lnTo>
                    <a:lnTo>
                      <a:pt x="124" y="6"/>
                    </a:lnTo>
                    <a:lnTo>
                      <a:pt x="116" y="6"/>
                    </a:lnTo>
                    <a:lnTo>
                      <a:pt x="110" y="6"/>
                    </a:lnTo>
                    <a:lnTo>
                      <a:pt x="116" y="14"/>
                    </a:lnTo>
                    <a:lnTo>
                      <a:pt x="110" y="20"/>
                    </a:lnTo>
                    <a:lnTo>
                      <a:pt x="102" y="28"/>
                    </a:lnTo>
                    <a:lnTo>
                      <a:pt x="102" y="20"/>
                    </a:lnTo>
                    <a:lnTo>
                      <a:pt x="96" y="14"/>
                    </a:lnTo>
                    <a:lnTo>
                      <a:pt x="88" y="14"/>
                    </a:lnTo>
                    <a:lnTo>
                      <a:pt x="82" y="14"/>
                    </a:lnTo>
                    <a:lnTo>
                      <a:pt x="76" y="6"/>
                    </a:lnTo>
                    <a:lnTo>
                      <a:pt x="68" y="20"/>
                    </a:lnTo>
                    <a:lnTo>
                      <a:pt x="62" y="14"/>
                    </a:lnTo>
                    <a:lnTo>
                      <a:pt x="54" y="20"/>
                    </a:lnTo>
                    <a:lnTo>
                      <a:pt x="48" y="28"/>
                    </a:lnTo>
                    <a:lnTo>
                      <a:pt x="54" y="34"/>
                    </a:lnTo>
                    <a:lnTo>
                      <a:pt x="54" y="40"/>
                    </a:lnTo>
                    <a:lnTo>
                      <a:pt x="62" y="34"/>
                    </a:lnTo>
                    <a:lnTo>
                      <a:pt x="62" y="40"/>
                    </a:lnTo>
                    <a:lnTo>
                      <a:pt x="54" y="48"/>
                    </a:lnTo>
                    <a:lnTo>
                      <a:pt x="48" y="48"/>
                    </a:lnTo>
                    <a:lnTo>
                      <a:pt x="48" y="54"/>
                    </a:lnTo>
                    <a:lnTo>
                      <a:pt x="54" y="54"/>
                    </a:lnTo>
                    <a:lnTo>
                      <a:pt x="54" y="48"/>
                    </a:lnTo>
                    <a:lnTo>
                      <a:pt x="68" y="48"/>
                    </a:lnTo>
                    <a:lnTo>
                      <a:pt x="68" y="54"/>
                    </a:lnTo>
                    <a:lnTo>
                      <a:pt x="62" y="62"/>
                    </a:lnTo>
                    <a:lnTo>
                      <a:pt x="62" y="68"/>
                    </a:lnTo>
                    <a:lnTo>
                      <a:pt x="54" y="76"/>
                    </a:lnTo>
                    <a:lnTo>
                      <a:pt x="62" y="76"/>
                    </a:lnTo>
                    <a:lnTo>
                      <a:pt x="62" y="82"/>
                    </a:lnTo>
                    <a:lnTo>
                      <a:pt x="54" y="90"/>
                    </a:lnTo>
                    <a:lnTo>
                      <a:pt x="48" y="82"/>
                    </a:lnTo>
                    <a:lnTo>
                      <a:pt x="40" y="90"/>
                    </a:lnTo>
                    <a:lnTo>
                      <a:pt x="40" y="102"/>
                    </a:lnTo>
                    <a:lnTo>
                      <a:pt x="54" y="102"/>
                    </a:lnTo>
                    <a:lnTo>
                      <a:pt x="62" y="102"/>
                    </a:lnTo>
                    <a:lnTo>
                      <a:pt x="62" y="96"/>
                    </a:lnTo>
                    <a:lnTo>
                      <a:pt x="76" y="102"/>
                    </a:lnTo>
                    <a:lnTo>
                      <a:pt x="82" y="102"/>
                    </a:lnTo>
                    <a:lnTo>
                      <a:pt x="82" y="110"/>
                    </a:lnTo>
                    <a:lnTo>
                      <a:pt x="82" y="116"/>
                    </a:lnTo>
                    <a:lnTo>
                      <a:pt x="82" y="124"/>
                    </a:lnTo>
                    <a:lnTo>
                      <a:pt x="88" y="124"/>
                    </a:lnTo>
                    <a:lnTo>
                      <a:pt x="96" y="124"/>
                    </a:lnTo>
                    <a:lnTo>
                      <a:pt x="102" y="124"/>
                    </a:lnTo>
                    <a:lnTo>
                      <a:pt x="110" y="130"/>
                    </a:lnTo>
                    <a:lnTo>
                      <a:pt x="116" y="130"/>
                    </a:lnTo>
                    <a:lnTo>
                      <a:pt x="124" y="138"/>
                    </a:lnTo>
                    <a:lnTo>
                      <a:pt x="130" y="144"/>
                    </a:lnTo>
                    <a:lnTo>
                      <a:pt x="130" y="138"/>
                    </a:lnTo>
                    <a:lnTo>
                      <a:pt x="138" y="138"/>
                    </a:lnTo>
                    <a:lnTo>
                      <a:pt x="144" y="138"/>
                    </a:lnTo>
                    <a:lnTo>
                      <a:pt x="144" y="144"/>
                    </a:lnTo>
                    <a:lnTo>
                      <a:pt x="152" y="144"/>
                    </a:lnTo>
                    <a:lnTo>
                      <a:pt x="158" y="144"/>
                    </a:lnTo>
                    <a:lnTo>
                      <a:pt x="164" y="152"/>
                    </a:lnTo>
                    <a:lnTo>
                      <a:pt x="158" y="158"/>
                    </a:lnTo>
                    <a:lnTo>
                      <a:pt x="158" y="164"/>
                    </a:lnTo>
                    <a:lnTo>
                      <a:pt x="158" y="172"/>
                    </a:lnTo>
                    <a:lnTo>
                      <a:pt x="164" y="172"/>
                    </a:lnTo>
                    <a:lnTo>
                      <a:pt x="172" y="178"/>
                    </a:lnTo>
                    <a:lnTo>
                      <a:pt x="172" y="186"/>
                    </a:lnTo>
                    <a:lnTo>
                      <a:pt x="164" y="186"/>
                    </a:lnTo>
                    <a:lnTo>
                      <a:pt x="164" y="192"/>
                    </a:lnTo>
                    <a:lnTo>
                      <a:pt x="158" y="192"/>
                    </a:lnTo>
                    <a:lnTo>
                      <a:pt x="152" y="192"/>
                    </a:lnTo>
                    <a:lnTo>
                      <a:pt x="152" y="198"/>
                    </a:lnTo>
                    <a:lnTo>
                      <a:pt x="144" y="198"/>
                    </a:lnTo>
                    <a:lnTo>
                      <a:pt x="138" y="198"/>
                    </a:lnTo>
                    <a:lnTo>
                      <a:pt x="138" y="206"/>
                    </a:lnTo>
                    <a:lnTo>
                      <a:pt x="130" y="206"/>
                    </a:lnTo>
                    <a:lnTo>
                      <a:pt x="124" y="214"/>
                    </a:lnTo>
                    <a:lnTo>
                      <a:pt x="124" y="220"/>
                    </a:lnTo>
                    <a:lnTo>
                      <a:pt x="116" y="228"/>
                    </a:lnTo>
                    <a:lnTo>
                      <a:pt x="116" y="234"/>
                    </a:lnTo>
                    <a:lnTo>
                      <a:pt x="110" y="240"/>
                    </a:lnTo>
                    <a:lnTo>
                      <a:pt x="110" y="248"/>
                    </a:lnTo>
                    <a:lnTo>
                      <a:pt x="110" y="254"/>
                    </a:lnTo>
                    <a:lnTo>
                      <a:pt x="110" y="262"/>
                    </a:lnTo>
                    <a:lnTo>
                      <a:pt x="110" y="268"/>
                    </a:lnTo>
                    <a:lnTo>
                      <a:pt x="102" y="268"/>
                    </a:lnTo>
                    <a:lnTo>
                      <a:pt x="96" y="268"/>
                    </a:lnTo>
                    <a:lnTo>
                      <a:pt x="96" y="274"/>
                    </a:lnTo>
                    <a:lnTo>
                      <a:pt x="82" y="288"/>
                    </a:lnTo>
                    <a:lnTo>
                      <a:pt x="82" y="296"/>
                    </a:lnTo>
                    <a:lnTo>
                      <a:pt x="76" y="302"/>
                    </a:lnTo>
                    <a:lnTo>
                      <a:pt x="76" y="310"/>
                    </a:lnTo>
                    <a:lnTo>
                      <a:pt x="68" y="310"/>
                    </a:lnTo>
                    <a:lnTo>
                      <a:pt x="54" y="302"/>
                    </a:lnTo>
                    <a:lnTo>
                      <a:pt x="54" y="316"/>
                    </a:lnTo>
                    <a:lnTo>
                      <a:pt x="54" y="324"/>
                    </a:lnTo>
                    <a:lnTo>
                      <a:pt x="54" y="330"/>
                    </a:lnTo>
                    <a:lnTo>
                      <a:pt x="62" y="336"/>
                    </a:lnTo>
                    <a:lnTo>
                      <a:pt x="62" y="344"/>
                    </a:lnTo>
                    <a:lnTo>
                      <a:pt x="62" y="352"/>
                    </a:lnTo>
                    <a:lnTo>
                      <a:pt x="54" y="358"/>
                    </a:lnTo>
                    <a:lnTo>
                      <a:pt x="48" y="364"/>
                    </a:lnTo>
                    <a:lnTo>
                      <a:pt x="48" y="372"/>
                    </a:lnTo>
                    <a:lnTo>
                      <a:pt x="40" y="372"/>
                    </a:lnTo>
                    <a:lnTo>
                      <a:pt x="34" y="378"/>
                    </a:lnTo>
                    <a:lnTo>
                      <a:pt x="34" y="386"/>
                    </a:lnTo>
                    <a:lnTo>
                      <a:pt x="26" y="392"/>
                    </a:lnTo>
                    <a:lnTo>
                      <a:pt x="34" y="400"/>
                    </a:lnTo>
                    <a:lnTo>
                      <a:pt x="40" y="400"/>
                    </a:lnTo>
                    <a:lnTo>
                      <a:pt x="40" y="406"/>
                    </a:lnTo>
                    <a:lnTo>
                      <a:pt x="40" y="412"/>
                    </a:lnTo>
                    <a:lnTo>
                      <a:pt x="34" y="412"/>
                    </a:lnTo>
                    <a:lnTo>
                      <a:pt x="26" y="420"/>
                    </a:lnTo>
                    <a:lnTo>
                      <a:pt x="20" y="420"/>
                    </a:lnTo>
                    <a:lnTo>
                      <a:pt x="12" y="420"/>
                    </a:lnTo>
                    <a:lnTo>
                      <a:pt x="12" y="426"/>
                    </a:lnTo>
                    <a:lnTo>
                      <a:pt x="6" y="426"/>
                    </a:lnTo>
                    <a:lnTo>
                      <a:pt x="6" y="434"/>
                    </a:lnTo>
                    <a:lnTo>
                      <a:pt x="0" y="440"/>
                    </a:lnTo>
                    <a:lnTo>
                      <a:pt x="0" y="454"/>
                    </a:lnTo>
                    <a:lnTo>
                      <a:pt x="0" y="468"/>
                    </a:lnTo>
                    <a:lnTo>
                      <a:pt x="6" y="468"/>
                    </a:lnTo>
                    <a:lnTo>
                      <a:pt x="12" y="468"/>
                    </a:lnTo>
                    <a:lnTo>
                      <a:pt x="20" y="476"/>
                    </a:lnTo>
                    <a:lnTo>
                      <a:pt x="26" y="482"/>
                    </a:lnTo>
                    <a:lnTo>
                      <a:pt x="34" y="488"/>
                    </a:lnTo>
                    <a:lnTo>
                      <a:pt x="34" y="496"/>
                    </a:lnTo>
                    <a:lnTo>
                      <a:pt x="48" y="502"/>
                    </a:lnTo>
                    <a:lnTo>
                      <a:pt x="54" y="510"/>
                    </a:lnTo>
                    <a:lnTo>
                      <a:pt x="54" y="516"/>
                    </a:lnTo>
                    <a:lnTo>
                      <a:pt x="48" y="522"/>
                    </a:lnTo>
                    <a:lnTo>
                      <a:pt x="54" y="522"/>
                    </a:lnTo>
                    <a:lnTo>
                      <a:pt x="62" y="522"/>
                    </a:lnTo>
                    <a:lnTo>
                      <a:pt x="54" y="536"/>
                    </a:lnTo>
                    <a:lnTo>
                      <a:pt x="54" y="544"/>
                    </a:lnTo>
                    <a:lnTo>
                      <a:pt x="40" y="544"/>
                    </a:lnTo>
                    <a:lnTo>
                      <a:pt x="48" y="550"/>
                    </a:lnTo>
                    <a:lnTo>
                      <a:pt x="48" y="564"/>
                    </a:lnTo>
                    <a:lnTo>
                      <a:pt x="54" y="572"/>
                    </a:lnTo>
                    <a:lnTo>
                      <a:pt x="62" y="572"/>
                    </a:lnTo>
                    <a:lnTo>
                      <a:pt x="68" y="578"/>
                    </a:lnTo>
                    <a:lnTo>
                      <a:pt x="76" y="592"/>
                    </a:lnTo>
                    <a:lnTo>
                      <a:pt x="82" y="584"/>
                    </a:lnTo>
                    <a:lnTo>
                      <a:pt x="82" y="578"/>
                    </a:lnTo>
                    <a:lnTo>
                      <a:pt x="96" y="572"/>
                    </a:lnTo>
                    <a:lnTo>
                      <a:pt x="110" y="572"/>
                    </a:lnTo>
                    <a:lnTo>
                      <a:pt x="116" y="564"/>
                    </a:lnTo>
                    <a:lnTo>
                      <a:pt x="124" y="564"/>
                    </a:lnTo>
                    <a:lnTo>
                      <a:pt x="138" y="572"/>
                    </a:lnTo>
                    <a:lnTo>
                      <a:pt x="144" y="572"/>
                    </a:lnTo>
                    <a:lnTo>
                      <a:pt x="152" y="558"/>
                    </a:lnTo>
                    <a:lnTo>
                      <a:pt x="164" y="558"/>
                    </a:lnTo>
                    <a:lnTo>
                      <a:pt x="178" y="564"/>
                    </a:lnTo>
                    <a:lnTo>
                      <a:pt x="186" y="572"/>
                    </a:lnTo>
                    <a:lnTo>
                      <a:pt x="201" y="572"/>
                    </a:lnTo>
                    <a:lnTo>
                      <a:pt x="207" y="584"/>
                    </a:lnTo>
                    <a:lnTo>
                      <a:pt x="221" y="584"/>
                    </a:lnTo>
                    <a:lnTo>
                      <a:pt x="241" y="584"/>
                    </a:lnTo>
                    <a:lnTo>
                      <a:pt x="249" y="584"/>
                    </a:lnTo>
                    <a:lnTo>
                      <a:pt x="263" y="592"/>
                    </a:lnTo>
                    <a:lnTo>
                      <a:pt x="269" y="584"/>
                    </a:lnTo>
                    <a:lnTo>
                      <a:pt x="283" y="584"/>
                    </a:lnTo>
                    <a:lnTo>
                      <a:pt x="291" y="592"/>
                    </a:lnTo>
                    <a:lnTo>
                      <a:pt x="297" y="592"/>
                    </a:lnTo>
                    <a:lnTo>
                      <a:pt x="297" y="600"/>
                    </a:lnTo>
                    <a:lnTo>
                      <a:pt x="303" y="600"/>
                    </a:lnTo>
                    <a:lnTo>
                      <a:pt x="311" y="592"/>
                    </a:lnTo>
                    <a:lnTo>
                      <a:pt x="311" y="584"/>
                    </a:lnTo>
                    <a:lnTo>
                      <a:pt x="311" y="578"/>
                    </a:lnTo>
                    <a:lnTo>
                      <a:pt x="325" y="572"/>
                    </a:lnTo>
                    <a:lnTo>
                      <a:pt x="325" y="564"/>
                    </a:lnTo>
                    <a:lnTo>
                      <a:pt x="339" y="564"/>
                    </a:lnTo>
                    <a:lnTo>
                      <a:pt x="345" y="558"/>
                    </a:lnTo>
                    <a:lnTo>
                      <a:pt x="359" y="558"/>
                    </a:lnTo>
                    <a:lnTo>
                      <a:pt x="367" y="558"/>
                    </a:lnTo>
                    <a:lnTo>
                      <a:pt x="381" y="564"/>
                    </a:lnTo>
                    <a:lnTo>
                      <a:pt x="387" y="558"/>
                    </a:lnTo>
                    <a:lnTo>
                      <a:pt x="401" y="550"/>
                    </a:lnTo>
                    <a:lnTo>
                      <a:pt x="401" y="536"/>
                    </a:lnTo>
                    <a:lnTo>
                      <a:pt x="407" y="530"/>
                    </a:lnTo>
                    <a:lnTo>
                      <a:pt x="415" y="530"/>
                    </a:lnTo>
                    <a:lnTo>
                      <a:pt x="421" y="522"/>
                    </a:lnTo>
                    <a:lnTo>
                      <a:pt x="421" y="516"/>
                    </a:lnTo>
                    <a:lnTo>
                      <a:pt x="435" y="510"/>
                    </a:lnTo>
                    <a:lnTo>
                      <a:pt x="443" y="510"/>
                    </a:lnTo>
                    <a:lnTo>
                      <a:pt x="455" y="510"/>
                    </a:lnTo>
                    <a:lnTo>
                      <a:pt x="471" y="496"/>
                    </a:lnTo>
                    <a:lnTo>
                      <a:pt x="463" y="488"/>
                    </a:lnTo>
                    <a:lnTo>
                      <a:pt x="463" y="482"/>
                    </a:lnTo>
                    <a:lnTo>
                      <a:pt x="455" y="476"/>
                    </a:lnTo>
                    <a:lnTo>
                      <a:pt x="455" y="468"/>
                    </a:lnTo>
                    <a:lnTo>
                      <a:pt x="455" y="462"/>
                    </a:lnTo>
                    <a:lnTo>
                      <a:pt x="455" y="448"/>
                    </a:lnTo>
                    <a:lnTo>
                      <a:pt x="455" y="434"/>
                    </a:lnTo>
                    <a:lnTo>
                      <a:pt x="463" y="426"/>
                    </a:lnTo>
                    <a:lnTo>
                      <a:pt x="471" y="420"/>
                    </a:lnTo>
                    <a:lnTo>
                      <a:pt x="483" y="412"/>
                    </a:lnTo>
                    <a:lnTo>
                      <a:pt x="497" y="400"/>
                    </a:lnTo>
                    <a:lnTo>
                      <a:pt x="505" y="400"/>
                    </a:lnTo>
                    <a:lnTo>
                      <a:pt x="513" y="392"/>
                    </a:lnTo>
                    <a:lnTo>
                      <a:pt x="525" y="378"/>
                    </a:lnTo>
                    <a:lnTo>
                      <a:pt x="533" y="372"/>
                    </a:lnTo>
                    <a:lnTo>
                      <a:pt x="547" y="364"/>
                    </a:lnTo>
                    <a:lnTo>
                      <a:pt x="553" y="364"/>
                    </a:lnTo>
                    <a:lnTo>
                      <a:pt x="547" y="364"/>
                    </a:lnTo>
                    <a:lnTo>
                      <a:pt x="547" y="358"/>
                    </a:lnTo>
                    <a:lnTo>
                      <a:pt x="553" y="358"/>
                    </a:lnTo>
                    <a:lnTo>
                      <a:pt x="553" y="352"/>
                    </a:lnTo>
                    <a:lnTo>
                      <a:pt x="561" y="344"/>
                    </a:lnTo>
                    <a:lnTo>
                      <a:pt x="567" y="344"/>
                    </a:lnTo>
                    <a:lnTo>
                      <a:pt x="581" y="344"/>
                    </a:lnTo>
                    <a:lnTo>
                      <a:pt x="595" y="344"/>
                    </a:lnTo>
                    <a:lnTo>
                      <a:pt x="609" y="344"/>
                    </a:lnTo>
                    <a:lnTo>
                      <a:pt x="615" y="344"/>
                    </a:lnTo>
                    <a:lnTo>
                      <a:pt x="623" y="344"/>
                    </a:lnTo>
                    <a:lnTo>
                      <a:pt x="629" y="344"/>
                    </a:lnTo>
                    <a:lnTo>
                      <a:pt x="643" y="336"/>
                    </a:lnTo>
                    <a:lnTo>
                      <a:pt x="651" y="336"/>
                    </a:lnTo>
                    <a:lnTo>
                      <a:pt x="657" y="330"/>
                    </a:lnTo>
                    <a:lnTo>
                      <a:pt x="671" y="330"/>
                    </a:lnTo>
                    <a:lnTo>
                      <a:pt x="677" y="330"/>
                    </a:lnTo>
                    <a:lnTo>
                      <a:pt x="685" y="324"/>
                    </a:lnTo>
                    <a:lnTo>
                      <a:pt x="691" y="324"/>
                    </a:lnTo>
                    <a:lnTo>
                      <a:pt x="699" y="316"/>
                    </a:lnTo>
                    <a:lnTo>
                      <a:pt x="705" y="310"/>
                    </a:lnTo>
                    <a:lnTo>
                      <a:pt x="705" y="302"/>
                    </a:lnTo>
                    <a:lnTo>
                      <a:pt x="713" y="296"/>
                    </a:lnTo>
                    <a:lnTo>
                      <a:pt x="713" y="288"/>
                    </a:lnTo>
                    <a:lnTo>
                      <a:pt x="713" y="274"/>
                    </a:lnTo>
                    <a:lnTo>
                      <a:pt x="709" y="270"/>
                    </a:lnTo>
                    <a:lnTo>
                      <a:pt x="705" y="274"/>
                    </a:lnTo>
                    <a:lnTo>
                      <a:pt x="699" y="274"/>
                    </a:lnTo>
                    <a:lnTo>
                      <a:pt x="691" y="268"/>
                    </a:lnTo>
                    <a:lnTo>
                      <a:pt x="685" y="274"/>
                    </a:lnTo>
                    <a:lnTo>
                      <a:pt x="677" y="268"/>
                    </a:lnTo>
                    <a:lnTo>
                      <a:pt x="663" y="268"/>
                    </a:lnTo>
                    <a:lnTo>
                      <a:pt x="657" y="268"/>
                    </a:lnTo>
                    <a:lnTo>
                      <a:pt x="651" y="262"/>
                    </a:lnTo>
                    <a:lnTo>
                      <a:pt x="643" y="254"/>
                    </a:lnTo>
                    <a:lnTo>
                      <a:pt x="637" y="254"/>
                    </a:lnTo>
                    <a:lnTo>
                      <a:pt x="629" y="254"/>
                    </a:lnTo>
                    <a:lnTo>
                      <a:pt x="623" y="254"/>
                    </a:lnTo>
                    <a:lnTo>
                      <a:pt x="615" y="248"/>
                    </a:lnTo>
                    <a:lnTo>
                      <a:pt x="617" y="238"/>
                    </a:lnTo>
                    <a:lnTo>
                      <a:pt x="611" y="232"/>
                    </a:lnTo>
                    <a:lnTo>
                      <a:pt x="605" y="226"/>
                    </a:lnTo>
                    <a:lnTo>
                      <a:pt x="597" y="220"/>
                    </a:lnTo>
                    <a:lnTo>
                      <a:pt x="587" y="228"/>
                    </a:lnTo>
                    <a:lnTo>
                      <a:pt x="573" y="228"/>
                    </a:lnTo>
                    <a:lnTo>
                      <a:pt x="573" y="220"/>
                    </a:lnTo>
                    <a:lnTo>
                      <a:pt x="567" y="220"/>
                    </a:lnTo>
                    <a:lnTo>
                      <a:pt x="553" y="214"/>
                    </a:lnTo>
                    <a:lnTo>
                      <a:pt x="547" y="214"/>
                    </a:lnTo>
                    <a:lnTo>
                      <a:pt x="533" y="206"/>
                    </a:lnTo>
                    <a:lnTo>
                      <a:pt x="533" y="198"/>
                    </a:lnTo>
                    <a:lnTo>
                      <a:pt x="519" y="192"/>
                    </a:lnTo>
                    <a:lnTo>
                      <a:pt x="513" y="192"/>
                    </a:lnTo>
                    <a:lnTo>
                      <a:pt x="497" y="178"/>
                    </a:lnTo>
                    <a:lnTo>
                      <a:pt x="491" y="178"/>
                    </a:lnTo>
                    <a:lnTo>
                      <a:pt x="483" y="172"/>
                    </a:lnTo>
                    <a:lnTo>
                      <a:pt x="477" y="164"/>
                    </a:lnTo>
                    <a:lnTo>
                      <a:pt x="471" y="164"/>
                    </a:lnTo>
                    <a:lnTo>
                      <a:pt x="471" y="158"/>
                    </a:lnTo>
                    <a:lnTo>
                      <a:pt x="471" y="152"/>
                    </a:lnTo>
                    <a:lnTo>
                      <a:pt x="463" y="144"/>
                    </a:lnTo>
                    <a:lnTo>
                      <a:pt x="455" y="138"/>
                    </a:lnTo>
                    <a:lnTo>
                      <a:pt x="455" y="138"/>
                    </a:lnTo>
                    <a:lnTo>
                      <a:pt x="455" y="138"/>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78" name="Freeform 22"/>
              <p:cNvSpPr>
                <a:spLocks/>
              </p:cNvSpPr>
              <p:nvPr>
                <p:custDataLst>
                  <p:tags r:id="rId129"/>
                </p:custDataLst>
              </p:nvPr>
            </p:nvSpPr>
            <p:spPr bwMode="gray">
              <a:xfrm>
                <a:off x="2475495" y="3752781"/>
                <a:ext cx="431896" cy="600208"/>
              </a:xfrm>
              <a:custGeom>
                <a:avLst/>
                <a:gdLst>
                  <a:gd name="T0" fmla="*/ 78 w 272"/>
                  <a:gd name="T1" fmla="*/ 378 h 378"/>
                  <a:gd name="T2" fmla="*/ 64 w 272"/>
                  <a:gd name="T3" fmla="*/ 372 h 378"/>
                  <a:gd name="T4" fmla="*/ 36 w 272"/>
                  <a:gd name="T5" fmla="*/ 358 h 378"/>
                  <a:gd name="T6" fmla="*/ 22 w 272"/>
                  <a:gd name="T7" fmla="*/ 344 h 378"/>
                  <a:gd name="T8" fmla="*/ 0 w 272"/>
                  <a:gd name="T9" fmla="*/ 352 h 378"/>
                  <a:gd name="T10" fmla="*/ 14 w 272"/>
                  <a:gd name="T11" fmla="*/ 324 h 378"/>
                  <a:gd name="T12" fmla="*/ 30 w 272"/>
                  <a:gd name="T13" fmla="*/ 310 h 378"/>
                  <a:gd name="T14" fmla="*/ 30 w 272"/>
                  <a:gd name="T15" fmla="*/ 282 h 378"/>
                  <a:gd name="T16" fmla="*/ 42 w 272"/>
                  <a:gd name="T17" fmla="*/ 262 h 378"/>
                  <a:gd name="T18" fmla="*/ 50 w 272"/>
                  <a:gd name="T19" fmla="*/ 234 h 378"/>
                  <a:gd name="T20" fmla="*/ 22 w 272"/>
                  <a:gd name="T21" fmla="*/ 228 h 378"/>
                  <a:gd name="T22" fmla="*/ 30 w 272"/>
                  <a:gd name="T23" fmla="*/ 206 h 378"/>
                  <a:gd name="T24" fmla="*/ 36 w 272"/>
                  <a:gd name="T25" fmla="*/ 186 h 378"/>
                  <a:gd name="T26" fmla="*/ 56 w 272"/>
                  <a:gd name="T27" fmla="*/ 172 h 378"/>
                  <a:gd name="T28" fmla="*/ 78 w 272"/>
                  <a:gd name="T29" fmla="*/ 152 h 378"/>
                  <a:gd name="T30" fmla="*/ 92 w 272"/>
                  <a:gd name="T31" fmla="*/ 132 h 378"/>
                  <a:gd name="T32" fmla="*/ 106 w 272"/>
                  <a:gd name="T33" fmla="*/ 96 h 378"/>
                  <a:gd name="T34" fmla="*/ 120 w 272"/>
                  <a:gd name="T35" fmla="*/ 68 h 378"/>
                  <a:gd name="T36" fmla="*/ 134 w 272"/>
                  <a:gd name="T37" fmla="*/ 42 h 378"/>
                  <a:gd name="T38" fmla="*/ 140 w 272"/>
                  <a:gd name="T39" fmla="*/ 20 h 378"/>
                  <a:gd name="T40" fmla="*/ 154 w 272"/>
                  <a:gd name="T41" fmla="*/ 8 h 378"/>
                  <a:gd name="T42" fmla="*/ 174 w 272"/>
                  <a:gd name="T43" fmla="*/ 8 h 378"/>
                  <a:gd name="T44" fmla="*/ 182 w 272"/>
                  <a:gd name="T45" fmla="*/ 20 h 378"/>
                  <a:gd name="T46" fmla="*/ 196 w 272"/>
                  <a:gd name="T47" fmla="*/ 28 h 378"/>
                  <a:gd name="T48" fmla="*/ 216 w 272"/>
                  <a:gd name="T49" fmla="*/ 34 h 378"/>
                  <a:gd name="T50" fmla="*/ 230 w 272"/>
                  <a:gd name="T51" fmla="*/ 42 h 378"/>
                  <a:gd name="T52" fmla="*/ 244 w 272"/>
                  <a:gd name="T53" fmla="*/ 48 h 378"/>
                  <a:gd name="T54" fmla="*/ 264 w 272"/>
                  <a:gd name="T55" fmla="*/ 56 h 378"/>
                  <a:gd name="T56" fmla="*/ 258 w 272"/>
                  <a:gd name="T57" fmla="*/ 76 h 378"/>
                  <a:gd name="T58" fmla="*/ 272 w 272"/>
                  <a:gd name="T59" fmla="*/ 90 h 378"/>
                  <a:gd name="T60" fmla="*/ 258 w 272"/>
                  <a:gd name="T61" fmla="*/ 96 h 378"/>
                  <a:gd name="T62" fmla="*/ 244 w 272"/>
                  <a:gd name="T63" fmla="*/ 104 h 378"/>
                  <a:gd name="T64" fmla="*/ 230 w 272"/>
                  <a:gd name="T65" fmla="*/ 110 h 378"/>
                  <a:gd name="T66" fmla="*/ 216 w 272"/>
                  <a:gd name="T67" fmla="*/ 132 h 378"/>
                  <a:gd name="T68" fmla="*/ 210 w 272"/>
                  <a:gd name="T69" fmla="*/ 152 h 378"/>
                  <a:gd name="T70" fmla="*/ 210 w 272"/>
                  <a:gd name="T71" fmla="*/ 172 h 378"/>
                  <a:gd name="T72" fmla="*/ 196 w 272"/>
                  <a:gd name="T73" fmla="*/ 178 h 378"/>
                  <a:gd name="T74" fmla="*/ 174 w 272"/>
                  <a:gd name="T75" fmla="*/ 206 h 378"/>
                  <a:gd name="T76" fmla="*/ 154 w 272"/>
                  <a:gd name="T77" fmla="*/ 206 h 378"/>
                  <a:gd name="T78" fmla="*/ 154 w 272"/>
                  <a:gd name="T79" fmla="*/ 234 h 378"/>
                  <a:gd name="T80" fmla="*/ 160 w 272"/>
                  <a:gd name="T81" fmla="*/ 256 h 378"/>
                  <a:gd name="T82" fmla="*/ 148 w 272"/>
                  <a:gd name="T83" fmla="*/ 276 h 378"/>
                  <a:gd name="T84" fmla="*/ 134 w 272"/>
                  <a:gd name="T85" fmla="*/ 290 h 378"/>
                  <a:gd name="T86" fmla="*/ 140 w 272"/>
                  <a:gd name="T87" fmla="*/ 304 h 378"/>
                  <a:gd name="T88" fmla="*/ 134 w 272"/>
                  <a:gd name="T89" fmla="*/ 316 h 378"/>
                  <a:gd name="T90" fmla="*/ 112 w 272"/>
                  <a:gd name="T91" fmla="*/ 324 h 378"/>
                  <a:gd name="T92" fmla="*/ 106 w 272"/>
                  <a:gd name="T93" fmla="*/ 338 h 378"/>
                  <a:gd name="T94" fmla="*/ 98 w 272"/>
                  <a:gd name="T95" fmla="*/ 372 h 378"/>
                  <a:gd name="T96" fmla="*/ 106 w 272"/>
                  <a:gd name="T97" fmla="*/ 372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2" h="378">
                    <a:moveTo>
                      <a:pt x="106" y="372"/>
                    </a:moveTo>
                    <a:lnTo>
                      <a:pt x="84" y="378"/>
                    </a:lnTo>
                    <a:lnTo>
                      <a:pt x="78" y="378"/>
                    </a:lnTo>
                    <a:lnTo>
                      <a:pt x="78" y="372"/>
                    </a:lnTo>
                    <a:lnTo>
                      <a:pt x="70" y="378"/>
                    </a:lnTo>
                    <a:lnTo>
                      <a:pt x="64" y="372"/>
                    </a:lnTo>
                    <a:lnTo>
                      <a:pt x="50" y="366"/>
                    </a:lnTo>
                    <a:lnTo>
                      <a:pt x="42" y="358"/>
                    </a:lnTo>
                    <a:lnTo>
                      <a:pt x="36" y="358"/>
                    </a:lnTo>
                    <a:lnTo>
                      <a:pt x="30" y="358"/>
                    </a:lnTo>
                    <a:lnTo>
                      <a:pt x="30" y="352"/>
                    </a:lnTo>
                    <a:lnTo>
                      <a:pt x="22" y="344"/>
                    </a:lnTo>
                    <a:lnTo>
                      <a:pt x="14" y="352"/>
                    </a:lnTo>
                    <a:lnTo>
                      <a:pt x="8" y="352"/>
                    </a:lnTo>
                    <a:lnTo>
                      <a:pt x="0" y="352"/>
                    </a:lnTo>
                    <a:lnTo>
                      <a:pt x="0" y="344"/>
                    </a:lnTo>
                    <a:lnTo>
                      <a:pt x="8" y="338"/>
                    </a:lnTo>
                    <a:lnTo>
                      <a:pt x="14" y="324"/>
                    </a:lnTo>
                    <a:lnTo>
                      <a:pt x="14" y="316"/>
                    </a:lnTo>
                    <a:lnTo>
                      <a:pt x="22" y="310"/>
                    </a:lnTo>
                    <a:lnTo>
                      <a:pt x="30" y="310"/>
                    </a:lnTo>
                    <a:lnTo>
                      <a:pt x="30" y="304"/>
                    </a:lnTo>
                    <a:lnTo>
                      <a:pt x="36" y="290"/>
                    </a:lnTo>
                    <a:lnTo>
                      <a:pt x="30" y="282"/>
                    </a:lnTo>
                    <a:lnTo>
                      <a:pt x="36" y="276"/>
                    </a:lnTo>
                    <a:lnTo>
                      <a:pt x="36" y="268"/>
                    </a:lnTo>
                    <a:lnTo>
                      <a:pt x="42" y="262"/>
                    </a:lnTo>
                    <a:lnTo>
                      <a:pt x="50" y="256"/>
                    </a:lnTo>
                    <a:lnTo>
                      <a:pt x="50" y="248"/>
                    </a:lnTo>
                    <a:lnTo>
                      <a:pt x="50" y="234"/>
                    </a:lnTo>
                    <a:lnTo>
                      <a:pt x="42" y="234"/>
                    </a:lnTo>
                    <a:lnTo>
                      <a:pt x="36" y="228"/>
                    </a:lnTo>
                    <a:lnTo>
                      <a:pt x="22" y="228"/>
                    </a:lnTo>
                    <a:lnTo>
                      <a:pt x="22" y="220"/>
                    </a:lnTo>
                    <a:lnTo>
                      <a:pt x="22" y="214"/>
                    </a:lnTo>
                    <a:lnTo>
                      <a:pt x="30" y="206"/>
                    </a:lnTo>
                    <a:lnTo>
                      <a:pt x="36" y="200"/>
                    </a:lnTo>
                    <a:lnTo>
                      <a:pt x="36" y="192"/>
                    </a:lnTo>
                    <a:lnTo>
                      <a:pt x="36" y="186"/>
                    </a:lnTo>
                    <a:lnTo>
                      <a:pt x="36" y="178"/>
                    </a:lnTo>
                    <a:lnTo>
                      <a:pt x="42" y="172"/>
                    </a:lnTo>
                    <a:lnTo>
                      <a:pt x="56" y="172"/>
                    </a:lnTo>
                    <a:lnTo>
                      <a:pt x="64" y="172"/>
                    </a:lnTo>
                    <a:lnTo>
                      <a:pt x="70" y="158"/>
                    </a:lnTo>
                    <a:lnTo>
                      <a:pt x="78" y="152"/>
                    </a:lnTo>
                    <a:lnTo>
                      <a:pt x="78" y="144"/>
                    </a:lnTo>
                    <a:lnTo>
                      <a:pt x="84" y="138"/>
                    </a:lnTo>
                    <a:lnTo>
                      <a:pt x="92" y="132"/>
                    </a:lnTo>
                    <a:lnTo>
                      <a:pt x="98" y="118"/>
                    </a:lnTo>
                    <a:lnTo>
                      <a:pt x="106" y="110"/>
                    </a:lnTo>
                    <a:lnTo>
                      <a:pt x="106" y="96"/>
                    </a:lnTo>
                    <a:lnTo>
                      <a:pt x="112" y="90"/>
                    </a:lnTo>
                    <a:lnTo>
                      <a:pt x="120" y="82"/>
                    </a:lnTo>
                    <a:lnTo>
                      <a:pt x="120" y="68"/>
                    </a:lnTo>
                    <a:lnTo>
                      <a:pt x="126" y="62"/>
                    </a:lnTo>
                    <a:lnTo>
                      <a:pt x="134" y="56"/>
                    </a:lnTo>
                    <a:lnTo>
                      <a:pt x="134" y="42"/>
                    </a:lnTo>
                    <a:lnTo>
                      <a:pt x="134" y="34"/>
                    </a:lnTo>
                    <a:lnTo>
                      <a:pt x="140" y="28"/>
                    </a:lnTo>
                    <a:lnTo>
                      <a:pt x="140" y="20"/>
                    </a:lnTo>
                    <a:lnTo>
                      <a:pt x="140" y="14"/>
                    </a:lnTo>
                    <a:lnTo>
                      <a:pt x="140" y="8"/>
                    </a:lnTo>
                    <a:lnTo>
                      <a:pt x="154" y="8"/>
                    </a:lnTo>
                    <a:lnTo>
                      <a:pt x="160" y="8"/>
                    </a:lnTo>
                    <a:lnTo>
                      <a:pt x="160" y="0"/>
                    </a:lnTo>
                    <a:lnTo>
                      <a:pt x="174" y="8"/>
                    </a:lnTo>
                    <a:lnTo>
                      <a:pt x="182" y="8"/>
                    </a:lnTo>
                    <a:lnTo>
                      <a:pt x="182" y="14"/>
                    </a:lnTo>
                    <a:lnTo>
                      <a:pt x="182" y="20"/>
                    </a:lnTo>
                    <a:lnTo>
                      <a:pt x="182" y="28"/>
                    </a:lnTo>
                    <a:lnTo>
                      <a:pt x="188" y="28"/>
                    </a:lnTo>
                    <a:lnTo>
                      <a:pt x="196" y="28"/>
                    </a:lnTo>
                    <a:lnTo>
                      <a:pt x="202" y="28"/>
                    </a:lnTo>
                    <a:lnTo>
                      <a:pt x="210" y="34"/>
                    </a:lnTo>
                    <a:lnTo>
                      <a:pt x="216" y="34"/>
                    </a:lnTo>
                    <a:lnTo>
                      <a:pt x="224" y="42"/>
                    </a:lnTo>
                    <a:lnTo>
                      <a:pt x="230" y="48"/>
                    </a:lnTo>
                    <a:lnTo>
                      <a:pt x="230" y="42"/>
                    </a:lnTo>
                    <a:lnTo>
                      <a:pt x="238" y="42"/>
                    </a:lnTo>
                    <a:lnTo>
                      <a:pt x="244" y="42"/>
                    </a:lnTo>
                    <a:lnTo>
                      <a:pt x="244" y="48"/>
                    </a:lnTo>
                    <a:lnTo>
                      <a:pt x="250" y="48"/>
                    </a:lnTo>
                    <a:lnTo>
                      <a:pt x="258" y="48"/>
                    </a:lnTo>
                    <a:lnTo>
                      <a:pt x="264" y="56"/>
                    </a:lnTo>
                    <a:lnTo>
                      <a:pt x="258" y="62"/>
                    </a:lnTo>
                    <a:lnTo>
                      <a:pt x="258" y="68"/>
                    </a:lnTo>
                    <a:lnTo>
                      <a:pt x="258" y="76"/>
                    </a:lnTo>
                    <a:lnTo>
                      <a:pt x="264" y="76"/>
                    </a:lnTo>
                    <a:lnTo>
                      <a:pt x="272" y="82"/>
                    </a:lnTo>
                    <a:lnTo>
                      <a:pt x="272" y="90"/>
                    </a:lnTo>
                    <a:lnTo>
                      <a:pt x="264" y="90"/>
                    </a:lnTo>
                    <a:lnTo>
                      <a:pt x="264" y="96"/>
                    </a:lnTo>
                    <a:lnTo>
                      <a:pt x="258" y="96"/>
                    </a:lnTo>
                    <a:lnTo>
                      <a:pt x="250" y="96"/>
                    </a:lnTo>
                    <a:lnTo>
                      <a:pt x="250" y="104"/>
                    </a:lnTo>
                    <a:lnTo>
                      <a:pt x="244" y="104"/>
                    </a:lnTo>
                    <a:lnTo>
                      <a:pt x="238" y="104"/>
                    </a:lnTo>
                    <a:lnTo>
                      <a:pt x="238" y="110"/>
                    </a:lnTo>
                    <a:lnTo>
                      <a:pt x="230" y="110"/>
                    </a:lnTo>
                    <a:lnTo>
                      <a:pt x="224" y="118"/>
                    </a:lnTo>
                    <a:lnTo>
                      <a:pt x="224" y="124"/>
                    </a:lnTo>
                    <a:lnTo>
                      <a:pt x="216" y="132"/>
                    </a:lnTo>
                    <a:lnTo>
                      <a:pt x="216" y="138"/>
                    </a:lnTo>
                    <a:lnTo>
                      <a:pt x="210" y="144"/>
                    </a:lnTo>
                    <a:lnTo>
                      <a:pt x="210" y="152"/>
                    </a:lnTo>
                    <a:lnTo>
                      <a:pt x="210" y="158"/>
                    </a:lnTo>
                    <a:lnTo>
                      <a:pt x="210" y="166"/>
                    </a:lnTo>
                    <a:lnTo>
                      <a:pt x="210" y="172"/>
                    </a:lnTo>
                    <a:lnTo>
                      <a:pt x="202" y="172"/>
                    </a:lnTo>
                    <a:lnTo>
                      <a:pt x="196" y="172"/>
                    </a:lnTo>
                    <a:lnTo>
                      <a:pt x="196" y="178"/>
                    </a:lnTo>
                    <a:lnTo>
                      <a:pt x="182" y="192"/>
                    </a:lnTo>
                    <a:lnTo>
                      <a:pt x="182" y="200"/>
                    </a:lnTo>
                    <a:lnTo>
                      <a:pt x="174" y="206"/>
                    </a:lnTo>
                    <a:lnTo>
                      <a:pt x="174" y="214"/>
                    </a:lnTo>
                    <a:lnTo>
                      <a:pt x="168" y="214"/>
                    </a:lnTo>
                    <a:lnTo>
                      <a:pt x="154" y="206"/>
                    </a:lnTo>
                    <a:lnTo>
                      <a:pt x="154" y="220"/>
                    </a:lnTo>
                    <a:lnTo>
                      <a:pt x="154" y="228"/>
                    </a:lnTo>
                    <a:lnTo>
                      <a:pt x="154" y="234"/>
                    </a:lnTo>
                    <a:lnTo>
                      <a:pt x="160" y="242"/>
                    </a:lnTo>
                    <a:lnTo>
                      <a:pt x="160" y="248"/>
                    </a:lnTo>
                    <a:lnTo>
                      <a:pt x="160" y="256"/>
                    </a:lnTo>
                    <a:lnTo>
                      <a:pt x="154" y="262"/>
                    </a:lnTo>
                    <a:lnTo>
                      <a:pt x="148" y="268"/>
                    </a:lnTo>
                    <a:lnTo>
                      <a:pt x="148" y="276"/>
                    </a:lnTo>
                    <a:lnTo>
                      <a:pt x="140" y="276"/>
                    </a:lnTo>
                    <a:lnTo>
                      <a:pt x="134" y="282"/>
                    </a:lnTo>
                    <a:lnTo>
                      <a:pt x="134" y="290"/>
                    </a:lnTo>
                    <a:lnTo>
                      <a:pt x="126" y="296"/>
                    </a:lnTo>
                    <a:lnTo>
                      <a:pt x="134" y="304"/>
                    </a:lnTo>
                    <a:lnTo>
                      <a:pt x="140" y="304"/>
                    </a:lnTo>
                    <a:lnTo>
                      <a:pt x="140" y="310"/>
                    </a:lnTo>
                    <a:lnTo>
                      <a:pt x="140" y="316"/>
                    </a:lnTo>
                    <a:lnTo>
                      <a:pt x="134" y="316"/>
                    </a:lnTo>
                    <a:lnTo>
                      <a:pt x="126" y="324"/>
                    </a:lnTo>
                    <a:lnTo>
                      <a:pt x="120" y="324"/>
                    </a:lnTo>
                    <a:lnTo>
                      <a:pt x="112" y="324"/>
                    </a:lnTo>
                    <a:lnTo>
                      <a:pt x="112" y="330"/>
                    </a:lnTo>
                    <a:lnTo>
                      <a:pt x="106" y="330"/>
                    </a:lnTo>
                    <a:lnTo>
                      <a:pt x="106" y="338"/>
                    </a:lnTo>
                    <a:lnTo>
                      <a:pt x="98" y="344"/>
                    </a:lnTo>
                    <a:lnTo>
                      <a:pt x="98" y="358"/>
                    </a:lnTo>
                    <a:lnTo>
                      <a:pt x="98" y="372"/>
                    </a:lnTo>
                    <a:lnTo>
                      <a:pt x="106" y="372"/>
                    </a:lnTo>
                    <a:lnTo>
                      <a:pt x="106" y="372"/>
                    </a:lnTo>
                    <a:lnTo>
                      <a:pt x="106" y="372"/>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2" name="Freeform 26"/>
              <p:cNvSpPr>
                <a:spLocks/>
              </p:cNvSpPr>
              <p:nvPr>
                <p:custDataLst>
                  <p:tags r:id="rId130"/>
                </p:custDataLst>
              </p:nvPr>
            </p:nvSpPr>
            <p:spPr bwMode="gray">
              <a:xfrm>
                <a:off x="3283711" y="3031896"/>
                <a:ext cx="1043220" cy="1009874"/>
              </a:xfrm>
              <a:custGeom>
                <a:avLst/>
                <a:gdLst>
                  <a:gd name="T0" fmla="*/ 553 w 657"/>
                  <a:gd name="T1" fmla="*/ 558 h 636"/>
                  <a:gd name="T2" fmla="*/ 545 w 657"/>
                  <a:gd name="T3" fmla="*/ 510 h 636"/>
                  <a:gd name="T4" fmla="*/ 525 w 657"/>
                  <a:gd name="T5" fmla="*/ 476 h 636"/>
                  <a:gd name="T6" fmla="*/ 567 w 657"/>
                  <a:gd name="T7" fmla="*/ 454 h 636"/>
                  <a:gd name="T8" fmla="*/ 559 w 657"/>
                  <a:gd name="T9" fmla="*/ 420 h 636"/>
                  <a:gd name="T10" fmla="*/ 553 w 657"/>
                  <a:gd name="T11" fmla="*/ 386 h 636"/>
                  <a:gd name="T12" fmla="*/ 553 w 657"/>
                  <a:gd name="T13" fmla="*/ 372 h 636"/>
                  <a:gd name="T14" fmla="*/ 539 w 657"/>
                  <a:gd name="T15" fmla="*/ 352 h 636"/>
                  <a:gd name="T16" fmla="*/ 581 w 657"/>
                  <a:gd name="T17" fmla="*/ 310 h 636"/>
                  <a:gd name="T18" fmla="*/ 615 w 657"/>
                  <a:gd name="T19" fmla="*/ 290 h 636"/>
                  <a:gd name="T20" fmla="*/ 629 w 657"/>
                  <a:gd name="T21" fmla="*/ 242 h 636"/>
                  <a:gd name="T22" fmla="*/ 635 w 657"/>
                  <a:gd name="T23" fmla="*/ 200 h 636"/>
                  <a:gd name="T24" fmla="*/ 581 w 657"/>
                  <a:gd name="T25" fmla="*/ 152 h 636"/>
                  <a:gd name="T26" fmla="*/ 539 w 657"/>
                  <a:gd name="T27" fmla="*/ 146 h 636"/>
                  <a:gd name="T28" fmla="*/ 511 w 657"/>
                  <a:gd name="T29" fmla="*/ 110 h 636"/>
                  <a:gd name="T30" fmla="*/ 483 w 657"/>
                  <a:gd name="T31" fmla="*/ 104 h 636"/>
                  <a:gd name="T32" fmla="*/ 469 w 657"/>
                  <a:gd name="T33" fmla="*/ 68 h 636"/>
                  <a:gd name="T34" fmla="*/ 443 w 657"/>
                  <a:gd name="T35" fmla="*/ 42 h 636"/>
                  <a:gd name="T36" fmla="*/ 421 w 657"/>
                  <a:gd name="T37" fmla="*/ 14 h 636"/>
                  <a:gd name="T38" fmla="*/ 386 w 657"/>
                  <a:gd name="T39" fmla="*/ 0 h 636"/>
                  <a:gd name="T40" fmla="*/ 366 w 657"/>
                  <a:gd name="T41" fmla="*/ 34 h 636"/>
                  <a:gd name="T42" fmla="*/ 338 w 657"/>
                  <a:gd name="T43" fmla="*/ 62 h 636"/>
                  <a:gd name="T44" fmla="*/ 290 w 657"/>
                  <a:gd name="T45" fmla="*/ 84 h 636"/>
                  <a:gd name="T46" fmla="*/ 276 w 657"/>
                  <a:gd name="T47" fmla="*/ 96 h 636"/>
                  <a:gd name="T48" fmla="*/ 220 w 657"/>
                  <a:gd name="T49" fmla="*/ 84 h 636"/>
                  <a:gd name="T50" fmla="*/ 206 w 657"/>
                  <a:gd name="T51" fmla="*/ 48 h 636"/>
                  <a:gd name="T52" fmla="*/ 178 w 657"/>
                  <a:gd name="T53" fmla="*/ 68 h 636"/>
                  <a:gd name="T54" fmla="*/ 186 w 657"/>
                  <a:gd name="T55" fmla="*/ 118 h 636"/>
                  <a:gd name="T56" fmla="*/ 158 w 657"/>
                  <a:gd name="T57" fmla="*/ 110 h 636"/>
                  <a:gd name="T58" fmla="*/ 110 w 657"/>
                  <a:gd name="T59" fmla="*/ 104 h 636"/>
                  <a:gd name="T60" fmla="*/ 96 w 657"/>
                  <a:gd name="T61" fmla="*/ 84 h 636"/>
                  <a:gd name="T62" fmla="*/ 48 w 657"/>
                  <a:gd name="T63" fmla="*/ 84 h 636"/>
                  <a:gd name="T64" fmla="*/ 6 w 657"/>
                  <a:gd name="T65" fmla="*/ 84 h 636"/>
                  <a:gd name="T66" fmla="*/ 26 w 657"/>
                  <a:gd name="T67" fmla="*/ 104 h 636"/>
                  <a:gd name="T68" fmla="*/ 6 w 657"/>
                  <a:gd name="T69" fmla="*/ 118 h 636"/>
                  <a:gd name="T70" fmla="*/ 40 w 657"/>
                  <a:gd name="T71" fmla="*/ 130 h 636"/>
                  <a:gd name="T72" fmla="*/ 68 w 657"/>
                  <a:gd name="T73" fmla="*/ 166 h 636"/>
                  <a:gd name="T74" fmla="*/ 102 w 657"/>
                  <a:gd name="T75" fmla="*/ 186 h 636"/>
                  <a:gd name="T76" fmla="*/ 110 w 657"/>
                  <a:gd name="T77" fmla="*/ 214 h 636"/>
                  <a:gd name="T78" fmla="*/ 116 w 657"/>
                  <a:gd name="T79" fmla="*/ 254 h 636"/>
                  <a:gd name="T80" fmla="*/ 144 w 657"/>
                  <a:gd name="T81" fmla="*/ 290 h 636"/>
                  <a:gd name="T82" fmla="*/ 138 w 657"/>
                  <a:gd name="T83" fmla="*/ 332 h 636"/>
                  <a:gd name="T84" fmla="*/ 144 w 657"/>
                  <a:gd name="T85" fmla="*/ 366 h 636"/>
                  <a:gd name="T86" fmla="*/ 138 w 657"/>
                  <a:gd name="T87" fmla="*/ 372 h 636"/>
                  <a:gd name="T88" fmla="*/ 116 w 657"/>
                  <a:gd name="T89" fmla="*/ 372 h 636"/>
                  <a:gd name="T90" fmla="*/ 110 w 657"/>
                  <a:gd name="T91" fmla="*/ 414 h 636"/>
                  <a:gd name="T92" fmla="*/ 82 w 657"/>
                  <a:gd name="T93" fmla="*/ 442 h 636"/>
                  <a:gd name="T94" fmla="*/ 40 w 657"/>
                  <a:gd name="T95" fmla="*/ 496 h 636"/>
                  <a:gd name="T96" fmla="*/ 68 w 657"/>
                  <a:gd name="T97" fmla="*/ 524 h 636"/>
                  <a:gd name="T98" fmla="*/ 116 w 657"/>
                  <a:gd name="T99" fmla="*/ 558 h 636"/>
                  <a:gd name="T100" fmla="*/ 174 w 657"/>
                  <a:gd name="T101" fmla="*/ 588 h 636"/>
                  <a:gd name="T102" fmla="*/ 214 w 657"/>
                  <a:gd name="T103" fmla="*/ 614 h 636"/>
                  <a:gd name="T104" fmla="*/ 262 w 657"/>
                  <a:gd name="T105" fmla="*/ 628 h 636"/>
                  <a:gd name="T106" fmla="*/ 302 w 657"/>
                  <a:gd name="T107" fmla="*/ 630 h 636"/>
                  <a:gd name="T108" fmla="*/ 302 w 657"/>
                  <a:gd name="T109" fmla="*/ 592 h 636"/>
                  <a:gd name="T110" fmla="*/ 338 w 657"/>
                  <a:gd name="T111" fmla="*/ 572 h 636"/>
                  <a:gd name="T112" fmla="*/ 380 w 657"/>
                  <a:gd name="T113" fmla="*/ 572 h 636"/>
                  <a:gd name="T114" fmla="*/ 421 w 657"/>
                  <a:gd name="T115" fmla="*/ 572 h 636"/>
                  <a:gd name="T116" fmla="*/ 443 w 657"/>
                  <a:gd name="T117" fmla="*/ 592 h 636"/>
                  <a:gd name="T118" fmla="*/ 469 w 657"/>
                  <a:gd name="T119" fmla="*/ 620 h 636"/>
                  <a:gd name="T120" fmla="*/ 511 w 657"/>
                  <a:gd name="T121" fmla="*/ 614 h 636"/>
                  <a:gd name="T122" fmla="*/ 531 w 657"/>
                  <a:gd name="T123" fmla="*/ 592 h 636"/>
                  <a:gd name="T124" fmla="*/ 559 w 657"/>
                  <a:gd name="T125" fmla="*/ 586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57" h="636">
                    <a:moveTo>
                      <a:pt x="559" y="586"/>
                    </a:moveTo>
                    <a:lnTo>
                      <a:pt x="567" y="580"/>
                    </a:lnTo>
                    <a:lnTo>
                      <a:pt x="567" y="572"/>
                    </a:lnTo>
                    <a:lnTo>
                      <a:pt x="573" y="566"/>
                    </a:lnTo>
                    <a:lnTo>
                      <a:pt x="567" y="558"/>
                    </a:lnTo>
                    <a:lnTo>
                      <a:pt x="553" y="558"/>
                    </a:lnTo>
                    <a:lnTo>
                      <a:pt x="545" y="558"/>
                    </a:lnTo>
                    <a:lnTo>
                      <a:pt x="539" y="544"/>
                    </a:lnTo>
                    <a:lnTo>
                      <a:pt x="539" y="538"/>
                    </a:lnTo>
                    <a:lnTo>
                      <a:pt x="539" y="524"/>
                    </a:lnTo>
                    <a:lnTo>
                      <a:pt x="539" y="516"/>
                    </a:lnTo>
                    <a:lnTo>
                      <a:pt x="545" y="510"/>
                    </a:lnTo>
                    <a:lnTo>
                      <a:pt x="545" y="504"/>
                    </a:lnTo>
                    <a:lnTo>
                      <a:pt x="545" y="496"/>
                    </a:lnTo>
                    <a:lnTo>
                      <a:pt x="539" y="490"/>
                    </a:lnTo>
                    <a:lnTo>
                      <a:pt x="531" y="490"/>
                    </a:lnTo>
                    <a:lnTo>
                      <a:pt x="525" y="482"/>
                    </a:lnTo>
                    <a:lnTo>
                      <a:pt x="525" y="476"/>
                    </a:lnTo>
                    <a:lnTo>
                      <a:pt x="531" y="476"/>
                    </a:lnTo>
                    <a:lnTo>
                      <a:pt x="539" y="476"/>
                    </a:lnTo>
                    <a:lnTo>
                      <a:pt x="545" y="476"/>
                    </a:lnTo>
                    <a:lnTo>
                      <a:pt x="553" y="468"/>
                    </a:lnTo>
                    <a:lnTo>
                      <a:pt x="559" y="462"/>
                    </a:lnTo>
                    <a:lnTo>
                      <a:pt x="567" y="454"/>
                    </a:lnTo>
                    <a:lnTo>
                      <a:pt x="559" y="448"/>
                    </a:lnTo>
                    <a:lnTo>
                      <a:pt x="559" y="442"/>
                    </a:lnTo>
                    <a:lnTo>
                      <a:pt x="553" y="434"/>
                    </a:lnTo>
                    <a:lnTo>
                      <a:pt x="553" y="428"/>
                    </a:lnTo>
                    <a:lnTo>
                      <a:pt x="559" y="428"/>
                    </a:lnTo>
                    <a:lnTo>
                      <a:pt x="559" y="420"/>
                    </a:lnTo>
                    <a:lnTo>
                      <a:pt x="559" y="414"/>
                    </a:lnTo>
                    <a:lnTo>
                      <a:pt x="553" y="406"/>
                    </a:lnTo>
                    <a:lnTo>
                      <a:pt x="553" y="400"/>
                    </a:lnTo>
                    <a:lnTo>
                      <a:pt x="559" y="400"/>
                    </a:lnTo>
                    <a:lnTo>
                      <a:pt x="553" y="392"/>
                    </a:lnTo>
                    <a:lnTo>
                      <a:pt x="553" y="386"/>
                    </a:lnTo>
                    <a:lnTo>
                      <a:pt x="559" y="386"/>
                    </a:lnTo>
                    <a:lnTo>
                      <a:pt x="567" y="386"/>
                    </a:lnTo>
                    <a:lnTo>
                      <a:pt x="567" y="378"/>
                    </a:lnTo>
                    <a:lnTo>
                      <a:pt x="559" y="366"/>
                    </a:lnTo>
                    <a:lnTo>
                      <a:pt x="553" y="366"/>
                    </a:lnTo>
                    <a:lnTo>
                      <a:pt x="553" y="372"/>
                    </a:lnTo>
                    <a:lnTo>
                      <a:pt x="545" y="372"/>
                    </a:lnTo>
                    <a:lnTo>
                      <a:pt x="539" y="386"/>
                    </a:lnTo>
                    <a:lnTo>
                      <a:pt x="525" y="392"/>
                    </a:lnTo>
                    <a:lnTo>
                      <a:pt x="519" y="378"/>
                    </a:lnTo>
                    <a:lnTo>
                      <a:pt x="525" y="366"/>
                    </a:lnTo>
                    <a:lnTo>
                      <a:pt x="539" y="352"/>
                    </a:lnTo>
                    <a:lnTo>
                      <a:pt x="539" y="344"/>
                    </a:lnTo>
                    <a:lnTo>
                      <a:pt x="545" y="338"/>
                    </a:lnTo>
                    <a:lnTo>
                      <a:pt x="559" y="338"/>
                    </a:lnTo>
                    <a:lnTo>
                      <a:pt x="573" y="332"/>
                    </a:lnTo>
                    <a:lnTo>
                      <a:pt x="581" y="318"/>
                    </a:lnTo>
                    <a:lnTo>
                      <a:pt x="581" y="310"/>
                    </a:lnTo>
                    <a:lnTo>
                      <a:pt x="587" y="304"/>
                    </a:lnTo>
                    <a:lnTo>
                      <a:pt x="595" y="310"/>
                    </a:lnTo>
                    <a:lnTo>
                      <a:pt x="601" y="318"/>
                    </a:lnTo>
                    <a:lnTo>
                      <a:pt x="609" y="304"/>
                    </a:lnTo>
                    <a:lnTo>
                      <a:pt x="615" y="310"/>
                    </a:lnTo>
                    <a:lnTo>
                      <a:pt x="615" y="290"/>
                    </a:lnTo>
                    <a:lnTo>
                      <a:pt x="621" y="282"/>
                    </a:lnTo>
                    <a:lnTo>
                      <a:pt x="621" y="276"/>
                    </a:lnTo>
                    <a:lnTo>
                      <a:pt x="621" y="262"/>
                    </a:lnTo>
                    <a:lnTo>
                      <a:pt x="621" y="254"/>
                    </a:lnTo>
                    <a:lnTo>
                      <a:pt x="629" y="248"/>
                    </a:lnTo>
                    <a:lnTo>
                      <a:pt x="629" y="242"/>
                    </a:lnTo>
                    <a:lnTo>
                      <a:pt x="635" y="228"/>
                    </a:lnTo>
                    <a:lnTo>
                      <a:pt x="643" y="220"/>
                    </a:lnTo>
                    <a:lnTo>
                      <a:pt x="657" y="208"/>
                    </a:lnTo>
                    <a:lnTo>
                      <a:pt x="649" y="200"/>
                    </a:lnTo>
                    <a:lnTo>
                      <a:pt x="643" y="200"/>
                    </a:lnTo>
                    <a:lnTo>
                      <a:pt x="635" y="200"/>
                    </a:lnTo>
                    <a:lnTo>
                      <a:pt x="629" y="192"/>
                    </a:lnTo>
                    <a:lnTo>
                      <a:pt x="615" y="192"/>
                    </a:lnTo>
                    <a:lnTo>
                      <a:pt x="601" y="186"/>
                    </a:lnTo>
                    <a:lnTo>
                      <a:pt x="595" y="180"/>
                    </a:lnTo>
                    <a:lnTo>
                      <a:pt x="587" y="166"/>
                    </a:lnTo>
                    <a:lnTo>
                      <a:pt x="581" y="152"/>
                    </a:lnTo>
                    <a:lnTo>
                      <a:pt x="567" y="152"/>
                    </a:lnTo>
                    <a:lnTo>
                      <a:pt x="559" y="146"/>
                    </a:lnTo>
                    <a:lnTo>
                      <a:pt x="553" y="146"/>
                    </a:lnTo>
                    <a:lnTo>
                      <a:pt x="545" y="146"/>
                    </a:lnTo>
                    <a:lnTo>
                      <a:pt x="539" y="152"/>
                    </a:lnTo>
                    <a:lnTo>
                      <a:pt x="539" y="146"/>
                    </a:lnTo>
                    <a:lnTo>
                      <a:pt x="531" y="138"/>
                    </a:lnTo>
                    <a:lnTo>
                      <a:pt x="525" y="130"/>
                    </a:lnTo>
                    <a:lnTo>
                      <a:pt x="519" y="130"/>
                    </a:lnTo>
                    <a:lnTo>
                      <a:pt x="519" y="124"/>
                    </a:lnTo>
                    <a:lnTo>
                      <a:pt x="511" y="118"/>
                    </a:lnTo>
                    <a:lnTo>
                      <a:pt x="511" y="110"/>
                    </a:lnTo>
                    <a:lnTo>
                      <a:pt x="505" y="104"/>
                    </a:lnTo>
                    <a:lnTo>
                      <a:pt x="505" y="96"/>
                    </a:lnTo>
                    <a:lnTo>
                      <a:pt x="497" y="96"/>
                    </a:lnTo>
                    <a:lnTo>
                      <a:pt x="497" y="104"/>
                    </a:lnTo>
                    <a:lnTo>
                      <a:pt x="491" y="104"/>
                    </a:lnTo>
                    <a:lnTo>
                      <a:pt x="483" y="104"/>
                    </a:lnTo>
                    <a:lnTo>
                      <a:pt x="477" y="96"/>
                    </a:lnTo>
                    <a:lnTo>
                      <a:pt x="483" y="90"/>
                    </a:lnTo>
                    <a:lnTo>
                      <a:pt x="483" y="84"/>
                    </a:lnTo>
                    <a:lnTo>
                      <a:pt x="483" y="68"/>
                    </a:lnTo>
                    <a:lnTo>
                      <a:pt x="477" y="68"/>
                    </a:lnTo>
                    <a:lnTo>
                      <a:pt x="469" y="68"/>
                    </a:lnTo>
                    <a:lnTo>
                      <a:pt x="463" y="68"/>
                    </a:lnTo>
                    <a:lnTo>
                      <a:pt x="455" y="56"/>
                    </a:lnTo>
                    <a:lnTo>
                      <a:pt x="455" y="48"/>
                    </a:lnTo>
                    <a:lnTo>
                      <a:pt x="449" y="48"/>
                    </a:lnTo>
                    <a:lnTo>
                      <a:pt x="443" y="48"/>
                    </a:lnTo>
                    <a:lnTo>
                      <a:pt x="443" y="42"/>
                    </a:lnTo>
                    <a:lnTo>
                      <a:pt x="443" y="34"/>
                    </a:lnTo>
                    <a:lnTo>
                      <a:pt x="435" y="34"/>
                    </a:lnTo>
                    <a:lnTo>
                      <a:pt x="429" y="34"/>
                    </a:lnTo>
                    <a:lnTo>
                      <a:pt x="429" y="28"/>
                    </a:lnTo>
                    <a:lnTo>
                      <a:pt x="421" y="20"/>
                    </a:lnTo>
                    <a:lnTo>
                      <a:pt x="421" y="14"/>
                    </a:lnTo>
                    <a:lnTo>
                      <a:pt x="421" y="8"/>
                    </a:lnTo>
                    <a:lnTo>
                      <a:pt x="421" y="0"/>
                    </a:lnTo>
                    <a:lnTo>
                      <a:pt x="407" y="0"/>
                    </a:lnTo>
                    <a:lnTo>
                      <a:pt x="401" y="0"/>
                    </a:lnTo>
                    <a:lnTo>
                      <a:pt x="392" y="0"/>
                    </a:lnTo>
                    <a:lnTo>
                      <a:pt x="386" y="0"/>
                    </a:lnTo>
                    <a:lnTo>
                      <a:pt x="380" y="0"/>
                    </a:lnTo>
                    <a:lnTo>
                      <a:pt x="372" y="8"/>
                    </a:lnTo>
                    <a:lnTo>
                      <a:pt x="372" y="14"/>
                    </a:lnTo>
                    <a:lnTo>
                      <a:pt x="372" y="20"/>
                    </a:lnTo>
                    <a:lnTo>
                      <a:pt x="366" y="28"/>
                    </a:lnTo>
                    <a:lnTo>
                      <a:pt x="366" y="34"/>
                    </a:lnTo>
                    <a:lnTo>
                      <a:pt x="366" y="48"/>
                    </a:lnTo>
                    <a:lnTo>
                      <a:pt x="366" y="56"/>
                    </a:lnTo>
                    <a:lnTo>
                      <a:pt x="358" y="56"/>
                    </a:lnTo>
                    <a:lnTo>
                      <a:pt x="352" y="56"/>
                    </a:lnTo>
                    <a:lnTo>
                      <a:pt x="344" y="62"/>
                    </a:lnTo>
                    <a:lnTo>
                      <a:pt x="338" y="62"/>
                    </a:lnTo>
                    <a:lnTo>
                      <a:pt x="324" y="68"/>
                    </a:lnTo>
                    <a:lnTo>
                      <a:pt x="310" y="76"/>
                    </a:lnTo>
                    <a:lnTo>
                      <a:pt x="296" y="76"/>
                    </a:lnTo>
                    <a:lnTo>
                      <a:pt x="282" y="76"/>
                    </a:lnTo>
                    <a:lnTo>
                      <a:pt x="282" y="84"/>
                    </a:lnTo>
                    <a:lnTo>
                      <a:pt x="290" y="84"/>
                    </a:lnTo>
                    <a:lnTo>
                      <a:pt x="302" y="90"/>
                    </a:lnTo>
                    <a:lnTo>
                      <a:pt x="310" y="96"/>
                    </a:lnTo>
                    <a:lnTo>
                      <a:pt x="302" y="96"/>
                    </a:lnTo>
                    <a:lnTo>
                      <a:pt x="302" y="104"/>
                    </a:lnTo>
                    <a:lnTo>
                      <a:pt x="290" y="96"/>
                    </a:lnTo>
                    <a:lnTo>
                      <a:pt x="276" y="96"/>
                    </a:lnTo>
                    <a:lnTo>
                      <a:pt x="262" y="96"/>
                    </a:lnTo>
                    <a:lnTo>
                      <a:pt x="262" y="90"/>
                    </a:lnTo>
                    <a:lnTo>
                      <a:pt x="248" y="90"/>
                    </a:lnTo>
                    <a:lnTo>
                      <a:pt x="234" y="84"/>
                    </a:lnTo>
                    <a:lnTo>
                      <a:pt x="220" y="76"/>
                    </a:lnTo>
                    <a:lnTo>
                      <a:pt x="220" y="84"/>
                    </a:lnTo>
                    <a:lnTo>
                      <a:pt x="206" y="76"/>
                    </a:lnTo>
                    <a:lnTo>
                      <a:pt x="214" y="68"/>
                    </a:lnTo>
                    <a:lnTo>
                      <a:pt x="206" y="62"/>
                    </a:lnTo>
                    <a:lnTo>
                      <a:pt x="206" y="56"/>
                    </a:lnTo>
                    <a:lnTo>
                      <a:pt x="214" y="48"/>
                    </a:lnTo>
                    <a:lnTo>
                      <a:pt x="206" y="48"/>
                    </a:lnTo>
                    <a:lnTo>
                      <a:pt x="200" y="48"/>
                    </a:lnTo>
                    <a:lnTo>
                      <a:pt x="192" y="42"/>
                    </a:lnTo>
                    <a:lnTo>
                      <a:pt x="186" y="42"/>
                    </a:lnTo>
                    <a:lnTo>
                      <a:pt x="186" y="48"/>
                    </a:lnTo>
                    <a:lnTo>
                      <a:pt x="178" y="56"/>
                    </a:lnTo>
                    <a:lnTo>
                      <a:pt x="178" y="68"/>
                    </a:lnTo>
                    <a:lnTo>
                      <a:pt x="178" y="76"/>
                    </a:lnTo>
                    <a:lnTo>
                      <a:pt x="186" y="90"/>
                    </a:lnTo>
                    <a:lnTo>
                      <a:pt x="178" y="96"/>
                    </a:lnTo>
                    <a:lnTo>
                      <a:pt x="178" y="104"/>
                    </a:lnTo>
                    <a:lnTo>
                      <a:pt x="178" y="110"/>
                    </a:lnTo>
                    <a:lnTo>
                      <a:pt x="186" y="118"/>
                    </a:lnTo>
                    <a:lnTo>
                      <a:pt x="186" y="124"/>
                    </a:lnTo>
                    <a:lnTo>
                      <a:pt x="172" y="124"/>
                    </a:lnTo>
                    <a:lnTo>
                      <a:pt x="164" y="118"/>
                    </a:lnTo>
                    <a:lnTo>
                      <a:pt x="158" y="118"/>
                    </a:lnTo>
                    <a:lnTo>
                      <a:pt x="152" y="118"/>
                    </a:lnTo>
                    <a:lnTo>
                      <a:pt x="158" y="110"/>
                    </a:lnTo>
                    <a:lnTo>
                      <a:pt x="144" y="110"/>
                    </a:lnTo>
                    <a:lnTo>
                      <a:pt x="130" y="110"/>
                    </a:lnTo>
                    <a:lnTo>
                      <a:pt x="124" y="104"/>
                    </a:lnTo>
                    <a:lnTo>
                      <a:pt x="124" y="110"/>
                    </a:lnTo>
                    <a:lnTo>
                      <a:pt x="110" y="110"/>
                    </a:lnTo>
                    <a:lnTo>
                      <a:pt x="110" y="104"/>
                    </a:lnTo>
                    <a:lnTo>
                      <a:pt x="110" y="90"/>
                    </a:lnTo>
                    <a:lnTo>
                      <a:pt x="102" y="90"/>
                    </a:lnTo>
                    <a:lnTo>
                      <a:pt x="96" y="90"/>
                    </a:lnTo>
                    <a:lnTo>
                      <a:pt x="96" y="84"/>
                    </a:lnTo>
                    <a:lnTo>
                      <a:pt x="102" y="76"/>
                    </a:lnTo>
                    <a:lnTo>
                      <a:pt x="96" y="84"/>
                    </a:lnTo>
                    <a:lnTo>
                      <a:pt x="82" y="76"/>
                    </a:lnTo>
                    <a:lnTo>
                      <a:pt x="76" y="84"/>
                    </a:lnTo>
                    <a:lnTo>
                      <a:pt x="76" y="90"/>
                    </a:lnTo>
                    <a:lnTo>
                      <a:pt x="62" y="90"/>
                    </a:lnTo>
                    <a:lnTo>
                      <a:pt x="62" y="84"/>
                    </a:lnTo>
                    <a:lnTo>
                      <a:pt x="48" y="84"/>
                    </a:lnTo>
                    <a:lnTo>
                      <a:pt x="40" y="84"/>
                    </a:lnTo>
                    <a:lnTo>
                      <a:pt x="34" y="76"/>
                    </a:lnTo>
                    <a:lnTo>
                      <a:pt x="26" y="84"/>
                    </a:lnTo>
                    <a:lnTo>
                      <a:pt x="20" y="84"/>
                    </a:lnTo>
                    <a:lnTo>
                      <a:pt x="12" y="84"/>
                    </a:lnTo>
                    <a:lnTo>
                      <a:pt x="6" y="84"/>
                    </a:lnTo>
                    <a:lnTo>
                      <a:pt x="6" y="90"/>
                    </a:lnTo>
                    <a:lnTo>
                      <a:pt x="12" y="90"/>
                    </a:lnTo>
                    <a:lnTo>
                      <a:pt x="20" y="90"/>
                    </a:lnTo>
                    <a:lnTo>
                      <a:pt x="26" y="90"/>
                    </a:lnTo>
                    <a:lnTo>
                      <a:pt x="26" y="96"/>
                    </a:lnTo>
                    <a:lnTo>
                      <a:pt x="26" y="104"/>
                    </a:lnTo>
                    <a:lnTo>
                      <a:pt x="20" y="104"/>
                    </a:lnTo>
                    <a:lnTo>
                      <a:pt x="20" y="110"/>
                    </a:lnTo>
                    <a:lnTo>
                      <a:pt x="12" y="110"/>
                    </a:lnTo>
                    <a:lnTo>
                      <a:pt x="6" y="110"/>
                    </a:lnTo>
                    <a:lnTo>
                      <a:pt x="0" y="118"/>
                    </a:lnTo>
                    <a:lnTo>
                      <a:pt x="6" y="118"/>
                    </a:lnTo>
                    <a:lnTo>
                      <a:pt x="12" y="124"/>
                    </a:lnTo>
                    <a:lnTo>
                      <a:pt x="20" y="138"/>
                    </a:lnTo>
                    <a:lnTo>
                      <a:pt x="20" y="130"/>
                    </a:lnTo>
                    <a:lnTo>
                      <a:pt x="34" y="138"/>
                    </a:lnTo>
                    <a:lnTo>
                      <a:pt x="34" y="130"/>
                    </a:lnTo>
                    <a:lnTo>
                      <a:pt x="40" y="130"/>
                    </a:lnTo>
                    <a:lnTo>
                      <a:pt x="40" y="138"/>
                    </a:lnTo>
                    <a:lnTo>
                      <a:pt x="54" y="152"/>
                    </a:lnTo>
                    <a:lnTo>
                      <a:pt x="62" y="152"/>
                    </a:lnTo>
                    <a:lnTo>
                      <a:pt x="62" y="158"/>
                    </a:lnTo>
                    <a:lnTo>
                      <a:pt x="68" y="158"/>
                    </a:lnTo>
                    <a:lnTo>
                      <a:pt x="68" y="166"/>
                    </a:lnTo>
                    <a:lnTo>
                      <a:pt x="68" y="172"/>
                    </a:lnTo>
                    <a:lnTo>
                      <a:pt x="82" y="172"/>
                    </a:lnTo>
                    <a:lnTo>
                      <a:pt x="96" y="172"/>
                    </a:lnTo>
                    <a:lnTo>
                      <a:pt x="88" y="180"/>
                    </a:lnTo>
                    <a:lnTo>
                      <a:pt x="96" y="180"/>
                    </a:lnTo>
                    <a:lnTo>
                      <a:pt x="102" y="186"/>
                    </a:lnTo>
                    <a:lnTo>
                      <a:pt x="96" y="200"/>
                    </a:lnTo>
                    <a:lnTo>
                      <a:pt x="102" y="200"/>
                    </a:lnTo>
                    <a:lnTo>
                      <a:pt x="110" y="208"/>
                    </a:lnTo>
                    <a:lnTo>
                      <a:pt x="124" y="208"/>
                    </a:lnTo>
                    <a:lnTo>
                      <a:pt x="110" y="208"/>
                    </a:lnTo>
                    <a:lnTo>
                      <a:pt x="110" y="214"/>
                    </a:lnTo>
                    <a:lnTo>
                      <a:pt x="116" y="214"/>
                    </a:lnTo>
                    <a:lnTo>
                      <a:pt x="116" y="220"/>
                    </a:lnTo>
                    <a:lnTo>
                      <a:pt x="102" y="234"/>
                    </a:lnTo>
                    <a:lnTo>
                      <a:pt x="102" y="242"/>
                    </a:lnTo>
                    <a:lnTo>
                      <a:pt x="110" y="254"/>
                    </a:lnTo>
                    <a:lnTo>
                      <a:pt x="116" y="254"/>
                    </a:lnTo>
                    <a:lnTo>
                      <a:pt x="116" y="270"/>
                    </a:lnTo>
                    <a:lnTo>
                      <a:pt x="124" y="276"/>
                    </a:lnTo>
                    <a:lnTo>
                      <a:pt x="124" y="282"/>
                    </a:lnTo>
                    <a:lnTo>
                      <a:pt x="138" y="290"/>
                    </a:lnTo>
                    <a:lnTo>
                      <a:pt x="144" y="282"/>
                    </a:lnTo>
                    <a:lnTo>
                      <a:pt x="144" y="290"/>
                    </a:lnTo>
                    <a:lnTo>
                      <a:pt x="144" y="296"/>
                    </a:lnTo>
                    <a:lnTo>
                      <a:pt x="138" y="304"/>
                    </a:lnTo>
                    <a:lnTo>
                      <a:pt x="144" y="304"/>
                    </a:lnTo>
                    <a:lnTo>
                      <a:pt x="138" y="310"/>
                    </a:lnTo>
                    <a:lnTo>
                      <a:pt x="138" y="324"/>
                    </a:lnTo>
                    <a:lnTo>
                      <a:pt x="138" y="332"/>
                    </a:lnTo>
                    <a:lnTo>
                      <a:pt x="130" y="338"/>
                    </a:lnTo>
                    <a:lnTo>
                      <a:pt x="130" y="344"/>
                    </a:lnTo>
                    <a:lnTo>
                      <a:pt x="138" y="344"/>
                    </a:lnTo>
                    <a:lnTo>
                      <a:pt x="138" y="352"/>
                    </a:lnTo>
                    <a:lnTo>
                      <a:pt x="138" y="358"/>
                    </a:lnTo>
                    <a:lnTo>
                      <a:pt x="144" y="366"/>
                    </a:lnTo>
                    <a:lnTo>
                      <a:pt x="144" y="372"/>
                    </a:lnTo>
                    <a:lnTo>
                      <a:pt x="144" y="386"/>
                    </a:lnTo>
                    <a:lnTo>
                      <a:pt x="144" y="392"/>
                    </a:lnTo>
                    <a:lnTo>
                      <a:pt x="138" y="386"/>
                    </a:lnTo>
                    <a:lnTo>
                      <a:pt x="138" y="378"/>
                    </a:lnTo>
                    <a:lnTo>
                      <a:pt x="138" y="372"/>
                    </a:lnTo>
                    <a:lnTo>
                      <a:pt x="130" y="366"/>
                    </a:lnTo>
                    <a:lnTo>
                      <a:pt x="130" y="358"/>
                    </a:lnTo>
                    <a:lnTo>
                      <a:pt x="124" y="352"/>
                    </a:lnTo>
                    <a:lnTo>
                      <a:pt x="124" y="344"/>
                    </a:lnTo>
                    <a:lnTo>
                      <a:pt x="116" y="352"/>
                    </a:lnTo>
                    <a:lnTo>
                      <a:pt x="116" y="372"/>
                    </a:lnTo>
                    <a:lnTo>
                      <a:pt x="116" y="378"/>
                    </a:lnTo>
                    <a:lnTo>
                      <a:pt x="110" y="386"/>
                    </a:lnTo>
                    <a:lnTo>
                      <a:pt x="110" y="400"/>
                    </a:lnTo>
                    <a:lnTo>
                      <a:pt x="102" y="400"/>
                    </a:lnTo>
                    <a:lnTo>
                      <a:pt x="116" y="406"/>
                    </a:lnTo>
                    <a:lnTo>
                      <a:pt x="110" y="414"/>
                    </a:lnTo>
                    <a:lnTo>
                      <a:pt x="96" y="414"/>
                    </a:lnTo>
                    <a:lnTo>
                      <a:pt x="96" y="420"/>
                    </a:lnTo>
                    <a:lnTo>
                      <a:pt x="96" y="428"/>
                    </a:lnTo>
                    <a:lnTo>
                      <a:pt x="88" y="434"/>
                    </a:lnTo>
                    <a:lnTo>
                      <a:pt x="88" y="442"/>
                    </a:lnTo>
                    <a:lnTo>
                      <a:pt x="82" y="442"/>
                    </a:lnTo>
                    <a:lnTo>
                      <a:pt x="82" y="454"/>
                    </a:lnTo>
                    <a:lnTo>
                      <a:pt x="76" y="454"/>
                    </a:lnTo>
                    <a:lnTo>
                      <a:pt x="68" y="462"/>
                    </a:lnTo>
                    <a:lnTo>
                      <a:pt x="68" y="468"/>
                    </a:lnTo>
                    <a:lnTo>
                      <a:pt x="54" y="482"/>
                    </a:lnTo>
                    <a:lnTo>
                      <a:pt x="40" y="496"/>
                    </a:lnTo>
                    <a:lnTo>
                      <a:pt x="48" y="504"/>
                    </a:lnTo>
                    <a:lnTo>
                      <a:pt x="54" y="510"/>
                    </a:lnTo>
                    <a:lnTo>
                      <a:pt x="54" y="516"/>
                    </a:lnTo>
                    <a:lnTo>
                      <a:pt x="54" y="524"/>
                    </a:lnTo>
                    <a:lnTo>
                      <a:pt x="62" y="524"/>
                    </a:lnTo>
                    <a:lnTo>
                      <a:pt x="68" y="524"/>
                    </a:lnTo>
                    <a:lnTo>
                      <a:pt x="82" y="538"/>
                    </a:lnTo>
                    <a:lnTo>
                      <a:pt x="88" y="538"/>
                    </a:lnTo>
                    <a:lnTo>
                      <a:pt x="96" y="552"/>
                    </a:lnTo>
                    <a:lnTo>
                      <a:pt x="102" y="552"/>
                    </a:lnTo>
                    <a:lnTo>
                      <a:pt x="110" y="552"/>
                    </a:lnTo>
                    <a:lnTo>
                      <a:pt x="116" y="558"/>
                    </a:lnTo>
                    <a:lnTo>
                      <a:pt x="130" y="572"/>
                    </a:lnTo>
                    <a:lnTo>
                      <a:pt x="138" y="572"/>
                    </a:lnTo>
                    <a:lnTo>
                      <a:pt x="152" y="580"/>
                    </a:lnTo>
                    <a:lnTo>
                      <a:pt x="158" y="580"/>
                    </a:lnTo>
                    <a:lnTo>
                      <a:pt x="158" y="586"/>
                    </a:lnTo>
                    <a:lnTo>
                      <a:pt x="174" y="588"/>
                    </a:lnTo>
                    <a:lnTo>
                      <a:pt x="190" y="582"/>
                    </a:lnTo>
                    <a:lnTo>
                      <a:pt x="198" y="588"/>
                    </a:lnTo>
                    <a:lnTo>
                      <a:pt x="202" y="596"/>
                    </a:lnTo>
                    <a:lnTo>
                      <a:pt x="200" y="606"/>
                    </a:lnTo>
                    <a:lnTo>
                      <a:pt x="206" y="614"/>
                    </a:lnTo>
                    <a:lnTo>
                      <a:pt x="214" y="614"/>
                    </a:lnTo>
                    <a:lnTo>
                      <a:pt x="220" y="614"/>
                    </a:lnTo>
                    <a:lnTo>
                      <a:pt x="226" y="614"/>
                    </a:lnTo>
                    <a:lnTo>
                      <a:pt x="234" y="620"/>
                    </a:lnTo>
                    <a:lnTo>
                      <a:pt x="240" y="628"/>
                    </a:lnTo>
                    <a:lnTo>
                      <a:pt x="248" y="628"/>
                    </a:lnTo>
                    <a:lnTo>
                      <a:pt x="262" y="628"/>
                    </a:lnTo>
                    <a:lnTo>
                      <a:pt x="268" y="634"/>
                    </a:lnTo>
                    <a:lnTo>
                      <a:pt x="276" y="636"/>
                    </a:lnTo>
                    <a:lnTo>
                      <a:pt x="282" y="634"/>
                    </a:lnTo>
                    <a:lnTo>
                      <a:pt x="290" y="634"/>
                    </a:lnTo>
                    <a:lnTo>
                      <a:pt x="294" y="636"/>
                    </a:lnTo>
                    <a:lnTo>
                      <a:pt x="302" y="630"/>
                    </a:lnTo>
                    <a:lnTo>
                      <a:pt x="300" y="628"/>
                    </a:lnTo>
                    <a:lnTo>
                      <a:pt x="298" y="624"/>
                    </a:lnTo>
                    <a:lnTo>
                      <a:pt x="296" y="620"/>
                    </a:lnTo>
                    <a:lnTo>
                      <a:pt x="302" y="614"/>
                    </a:lnTo>
                    <a:lnTo>
                      <a:pt x="296" y="606"/>
                    </a:lnTo>
                    <a:lnTo>
                      <a:pt x="302" y="592"/>
                    </a:lnTo>
                    <a:lnTo>
                      <a:pt x="302" y="586"/>
                    </a:lnTo>
                    <a:lnTo>
                      <a:pt x="310" y="580"/>
                    </a:lnTo>
                    <a:lnTo>
                      <a:pt x="316" y="580"/>
                    </a:lnTo>
                    <a:lnTo>
                      <a:pt x="324" y="572"/>
                    </a:lnTo>
                    <a:lnTo>
                      <a:pt x="330" y="572"/>
                    </a:lnTo>
                    <a:lnTo>
                      <a:pt x="338" y="572"/>
                    </a:lnTo>
                    <a:lnTo>
                      <a:pt x="344" y="572"/>
                    </a:lnTo>
                    <a:lnTo>
                      <a:pt x="352" y="566"/>
                    </a:lnTo>
                    <a:lnTo>
                      <a:pt x="358" y="558"/>
                    </a:lnTo>
                    <a:lnTo>
                      <a:pt x="366" y="558"/>
                    </a:lnTo>
                    <a:lnTo>
                      <a:pt x="372" y="566"/>
                    </a:lnTo>
                    <a:lnTo>
                      <a:pt x="380" y="572"/>
                    </a:lnTo>
                    <a:lnTo>
                      <a:pt x="386" y="572"/>
                    </a:lnTo>
                    <a:lnTo>
                      <a:pt x="401" y="572"/>
                    </a:lnTo>
                    <a:lnTo>
                      <a:pt x="401" y="586"/>
                    </a:lnTo>
                    <a:lnTo>
                      <a:pt x="407" y="580"/>
                    </a:lnTo>
                    <a:lnTo>
                      <a:pt x="415" y="580"/>
                    </a:lnTo>
                    <a:lnTo>
                      <a:pt x="421" y="572"/>
                    </a:lnTo>
                    <a:lnTo>
                      <a:pt x="429" y="572"/>
                    </a:lnTo>
                    <a:lnTo>
                      <a:pt x="429" y="580"/>
                    </a:lnTo>
                    <a:lnTo>
                      <a:pt x="429" y="586"/>
                    </a:lnTo>
                    <a:lnTo>
                      <a:pt x="435" y="586"/>
                    </a:lnTo>
                    <a:lnTo>
                      <a:pt x="443" y="586"/>
                    </a:lnTo>
                    <a:lnTo>
                      <a:pt x="443" y="592"/>
                    </a:lnTo>
                    <a:lnTo>
                      <a:pt x="443" y="600"/>
                    </a:lnTo>
                    <a:lnTo>
                      <a:pt x="449" y="592"/>
                    </a:lnTo>
                    <a:lnTo>
                      <a:pt x="455" y="600"/>
                    </a:lnTo>
                    <a:lnTo>
                      <a:pt x="463" y="606"/>
                    </a:lnTo>
                    <a:lnTo>
                      <a:pt x="463" y="614"/>
                    </a:lnTo>
                    <a:lnTo>
                      <a:pt x="469" y="620"/>
                    </a:lnTo>
                    <a:lnTo>
                      <a:pt x="477" y="620"/>
                    </a:lnTo>
                    <a:lnTo>
                      <a:pt x="483" y="620"/>
                    </a:lnTo>
                    <a:lnTo>
                      <a:pt x="491" y="620"/>
                    </a:lnTo>
                    <a:lnTo>
                      <a:pt x="497" y="620"/>
                    </a:lnTo>
                    <a:lnTo>
                      <a:pt x="505" y="620"/>
                    </a:lnTo>
                    <a:lnTo>
                      <a:pt x="511" y="614"/>
                    </a:lnTo>
                    <a:lnTo>
                      <a:pt x="511" y="606"/>
                    </a:lnTo>
                    <a:lnTo>
                      <a:pt x="511" y="600"/>
                    </a:lnTo>
                    <a:lnTo>
                      <a:pt x="519" y="600"/>
                    </a:lnTo>
                    <a:lnTo>
                      <a:pt x="525" y="600"/>
                    </a:lnTo>
                    <a:lnTo>
                      <a:pt x="531" y="600"/>
                    </a:lnTo>
                    <a:lnTo>
                      <a:pt x="531" y="592"/>
                    </a:lnTo>
                    <a:lnTo>
                      <a:pt x="539" y="592"/>
                    </a:lnTo>
                    <a:lnTo>
                      <a:pt x="545" y="592"/>
                    </a:lnTo>
                    <a:lnTo>
                      <a:pt x="545" y="600"/>
                    </a:lnTo>
                    <a:lnTo>
                      <a:pt x="559" y="586"/>
                    </a:lnTo>
                    <a:lnTo>
                      <a:pt x="553" y="592"/>
                    </a:lnTo>
                    <a:lnTo>
                      <a:pt x="559" y="586"/>
                    </a:lnTo>
                    <a:lnTo>
                      <a:pt x="559" y="586"/>
                    </a:lnTo>
                    <a:lnTo>
                      <a:pt x="559" y="586"/>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solidFill>
                    <a:schemeClr val="accent2"/>
                  </a:solidFill>
                </a:endParaRPr>
              </a:p>
            </p:txBody>
          </p:sp>
          <p:sp>
            <p:nvSpPr>
              <p:cNvPr id="783" name="Freeform 27"/>
              <p:cNvSpPr>
                <a:spLocks/>
              </p:cNvSpPr>
              <p:nvPr/>
            </p:nvSpPr>
            <p:spPr bwMode="gray">
              <a:xfrm>
                <a:off x="3115399" y="777146"/>
                <a:ext cx="504937" cy="425544"/>
              </a:xfrm>
              <a:custGeom>
                <a:avLst/>
                <a:gdLst>
                  <a:gd name="T0" fmla="*/ 22 w 318"/>
                  <a:gd name="T1" fmla="*/ 178 h 268"/>
                  <a:gd name="T2" fmla="*/ 50 w 318"/>
                  <a:gd name="T3" fmla="*/ 192 h 268"/>
                  <a:gd name="T4" fmla="*/ 50 w 318"/>
                  <a:gd name="T5" fmla="*/ 218 h 268"/>
                  <a:gd name="T6" fmla="*/ 84 w 318"/>
                  <a:gd name="T7" fmla="*/ 240 h 268"/>
                  <a:gd name="T8" fmla="*/ 104 w 318"/>
                  <a:gd name="T9" fmla="*/ 268 h 268"/>
                  <a:gd name="T10" fmla="*/ 118 w 318"/>
                  <a:gd name="T11" fmla="*/ 260 h 268"/>
                  <a:gd name="T12" fmla="*/ 160 w 318"/>
                  <a:gd name="T13" fmla="*/ 254 h 268"/>
                  <a:gd name="T14" fmla="*/ 194 w 318"/>
                  <a:gd name="T15" fmla="*/ 260 h 268"/>
                  <a:gd name="T16" fmla="*/ 228 w 318"/>
                  <a:gd name="T17" fmla="*/ 254 h 268"/>
                  <a:gd name="T18" fmla="*/ 250 w 318"/>
                  <a:gd name="T19" fmla="*/ 260 h 268"/>
                  <a:gd name="T20" fmla="*/ 284 w 318"/>
                  <a:gd name="T21" fmla="*/ 248 h 268"/>
                  <a:gd name="T22" fmla="*/ 312 w 318"/>
                  <a:gd name="T23" fmla="*/ 226 h 268"/>
                  <a:gd name="T24" fmla="*/ 318 w 318"/>
                  <a:gd name="T25" fmla="*/ 198 h 268"/>
                  <a:gd name="T26" fmla="*/ 298 w 318"/>
                  <a:gd name="T27" fmla="*/ 178 h 268"/>
                  <a:gd name="T28" fmla="*/ 312 w 318"/>
                  <a:gd name="T29" fmla="*/ 164 h 268"/>
                  <a:gd name="T30" fmla="*/ 318 w 318"/>
                  <a:gd name="T31" fmla="*/ 136 h 268"/>
                  <a:gd name="T32" fmla="*/ 298 w 318"/>
                  <a:gd name="T33" fmla="*/ 130 h 268"/>
                  <a:gd name="T34" fmla="*/ 306 w 318"/>
                  <a:gd name="T35" fmla="*/ 102 h 268"/>
                  <a:gd name="T36" fmla="*/ 284 w 318"/>
                  <a:gd name="T37" fmla="*/ 116 h 268"/>
                  <a:gd name="T38" fmla="*/ 264 w 318"/>
                  <a:gd name="T39" fmla="*/ 110 h 268"/>
                  <a:gd name="T40" fmla="*/ 236 w 318"/>
                  <a:gd name="T41" fmla="*/ 102 h 268"/>
                  <a:gd name="T42" fmla="*/ 222 w 318"/>
                  <a:gd name="T43" fmla="*/ 122 h 268"/>
                  <a:gd name="T44" fmla="*/ 216 w 318"/>
                  <a:gd name="T45" fmla="*/ 102 h 268"/>
                  <a:gd name="T46" fmla="*/ 194 w 318"/>
                  <a:gd name="T47" fmla="*/ 82 h 268"/>
                  <a:gd name="T48" fmla="*/ 174 w 318"/>
                  <a:gd name="T49" fmla="*/ 102 h 268"/>
                  <a:gd name="T50" fmla="*/ 166 w 318"/>
                  <a:gd name="T51" fmla="*/ 68 h 268"/>
                  <a:gd name="T52" fmla="*/ 146 w 318"/>
                  <a:gd name="T53" fmla="*/ 88 h 268"/>
                  <a:gd name="T54" fmla="*/ 118 w 318"/>
                  <a:gd name="T55" fmla="*/ 102 h 268"/>
                  <a:gd name="T56" fmla="*/ 118 w 318"/>
                  <a:gd name="T57" fmla="*/ 82 h 268"/>
                  <a:gd name="T58" fmla="*/ 132 w 318"/>
                  <a:gd name="T59" fmla="*/ 60 h 268"/>
                  <a:gd name="T60" fmla="*/ 138 w 318"/>
                  <a:gd name="T61" fmla="*/ 34 h 268"/>
                  <a:gd name="T62" fmla="*/ 112 w 318"/>
                  <a:gd name="T63" fmla="*/ 0 h 268"/>
                  <a:gd name="T64" fmla="*/ 118 w 318"/>
                  <a:gd name="T65" fmla="*/ 26 h 268"/>
                  <a:gd name="T66" fmla="*/ 104 w 318"/>
                  <a:gd name="T67" fmla="*/ 40 h 268"/>
                  <a:gd name="T68" fmla="*/ 96 w 318"/>
                  <a:gd name="T69" fmla="*/ 6 h 268"/>
                  <a:gd name="T70" fmla="*/ 84 w 318"/>
                  <a:gd name="T71" fmla="*/ 26 h 268"/>
                  <a:gd name="T72" fmla="*/ 70 w 318"/>
                  <a:gd name="T73" fmla="*/ 40 h 268"/>
                  <a:gd name="T74" fmla="*/ 56 w 318"/>
                  <a:gd name="T75" fmla="*/ 20 h 268"/>
                  <a:gd name="T76" fmla="*/ 50 w 318"/>
                  <a:gd name="T77" fmla="*/ 26 h 268"/>
                  <a:gd name="T78" fmla="*/ 56 w 318"/>
                  <a:gd name="T79" fmla="*/ 40 h 268"/>
                  <a:gd name="T80" fmla="*/ 90 w 318"/>
                  <a:gd name="T81" fmla="*/ 60 h 268"/>
                  <a:gd name="T82" fmla="*/ 104 w 318"/>
                  <a:gd name="T83" fmla="*/ 82 h 268"/>
                  <a:gd name="T84" fmla="*/ 76 w 318"/>
                  <a:gd name="T85" fmla="*/ 82 h 268"/>
                  <a:gd name="T86" fmla="*/ 76 w 318"/>
                  <a:gd name="T87" fmla="*/ 102 h 268"/>
                  <a:gd name="T88" fmla="*/ 42 w 318"/>
                  <a:gd name="T89" fmla="*/ 82 h 268"/>
                  <a:gd name="T90" fmla="*/ 28 w 318"/>
                  <a:gd name="T91" fmla="*/ 88 h 268"/>
                  <a:gd name="T92" fmla="*/ 56 w 318"/>
                  <a:gd name="T93" fmla="*/ 102 h 268"/>
                  <a:gd name="T94" fmla="*/ 50 w 318"/>
                  <a:gd name="T95" fmla="*/ 136 h 268"/>
                  <a:gd name="T96" fmla="*/ 42 w 318"/>
                  <a:gd name="T97" fmla="*/ 150 h 268"/>
                  <a:gd name="T98" fmla="*/ 14 w 318"/>
                  <a:gd name="T99" fmla="*/ 158 h 268"/>
                  <a:gd name="T100" fmla="*/ 0 w 318"/>
                  <a:gd name="T101" fmla="*/ 164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8" h="268">
                    <a:moveTo>
                      <a:pt x="0" y="164"/>
                    </a:moveTo>
                    <a:lnTo>
                      <a:pt x="8" y="170"/>
                    </a:lnTo>
                    <a:lnTo>
                      <a:pt x="14" y="170"/>
                    </a:lnTo>
                    <a:lnTo>
                      <a:pt x="22" y="178"/>
                    </a:lnTo>
                    <a:lnTo>
                      <a:pt x="28" y="184"/>
                    </a:lnTo>
                    <a:lnTo>
                      <a:pt x="34" y="192"/>
                    </a:lnTo>
                    <a:lnTo>
                      <a:pt x="42" y="192"/>
                    </a:lnTo>
                    <a:lnTo>
                      <a:pt x="50" y="192"/>
                    </a:lnTo>
                    <a:lnTo>
                      <a:pt x="50" y="198"/>
                    </a:lnTo>
                    <a:lnTo>
                      <a:pt x="50" y="206"/>
                    </a:lnTo>
                    <a:lnTo>
                      <a:pt x="50" y="212"/>
                    </a:lnTo>
                    <a:lnTo>
                      <a:pt x="50" y="218"/>
                    </a:lnTo>
                    <a:lnTo>
                      <a:pt x="56" y="226"/>
                    </a:lnTo>
                    <a:lnTo>
                      <a:pt x="70" y="240"/>
                    </a:lnTo>
                    <a:lnTo>
                      <a:pt x="76" y="240"/>
                    </a:lnTo>
                    <a:lnTo>
                      <a:pt x="84" y="240"/>
                    </a:lnTo>
                    <a:lnTo>
                      <a:pt x="84" y="248"/>
                    </a:lnTo>
                    <a:lnTo>
                      <a:pt x="84" y="254"/>
                    </a:lnTo>
                    <a:lnTo>
                      <a:pt x="96" y="260"/>
                    </a:lnTo>
                    <a:lnTo>
                      <a:pt x="104" y="268"/>
                    </a:lnTo>
                    <a:lnTo>
                      <a:pt x="104" y="260"/>
                    </a:lnTo>
                    <a:lnTo>
                      <a:pt x="112" y="254"/>
                    </a:lnTo>
                    <a:lnTo>
                      <a:pt x="112" y="260"/>
                    </a:lnTo>
                    <a:lnTo>
                      <a:pt x="118" y="260"/>
                    </a:lnTo>
                    <a:lnTo>
                      <a:pt x="132" y="254"/>
                    </a:lnTo>
                    <a:lnTo>
                      <a:pt x="138" y="254"/>
                    </a:lnTo>
                    <a:lnTo>
                      <a:pt x="154" y="260"/>
                    </a:lnTo>
                    <a:lnTo>
                      <a:pt x="160" y="254"/>
                    </a:lnTo>
                    <a:lnTo>
                      <a:pt x="166" y="260"/>
                    </a:lnTo>
                    <a:lnTo>
                      <a:pt x="180" y="260"/>
                    </a:lnTo>
                    <a:lnTo>
                      <a:pt x="180" y="268"/>
                    </a:lnTo>
                    <a:lnTo>
                      <a:pt x="194" y="260"/>
                    </a:lnTo>
                    <a:lnTo>
                      <a:pt x="202" y="254"/>
                    </a:lnTo>
                    <a:lnTo>
                      <a:pt x="216" y="260"/>
                    </a:lnTo>
                    <a:lnTo>
                      <a:pt x="222" y="260"/>
                    </a:lnTo>
                    <a:lnTo>
                      <a:pt x="228" y="254"/>
                    </a:lnTo>
                    <a:lnTo>
                      <a:pt x="236" y="260"/>
                    </a:lnTo>
                    <a:lnTo>
                      <a:pt x="236" y="268"/>
                    </a:lnTo>
                    <a:lnTo>
                      <a:pt x="242" y="260"/>
                    </a:lnTo>
                    <a:lnTo>
                      <a:pt x="250" y="260"/>
                    </a:lnTo>
                    <a:lnTo>
                      <a:pt x="264" y="254"/>
                    </a:lnTo>
                    <a:lnTo>
                      <a:pt x="270" y="240"/>
                    </a:lnTo>
                    <a:lnTo>
                      <a:pt x="278" y="248"/>
                    </a:lnTo>
                    <a:lnTo>
                      <a:pt x="284" y="248"/>
                    </a:lnTo>
                    <a:lnTo>
                      <a:pt x="298" y="248"/>
                    </a:lnTo>
                    <a:lnTo>
                      <a:pt x="298" y="234"/>
                    </a:lnTo>
                    <a:lnTo>
                      <a:pt x="306" y="226"/>
                    </a:lnTo>
                    <a:lnTo>
                      <a:pt x="312" y="226"/>
                    </a:lnTo>
                    <a:lnTo>
                      <a:pt x="312" y="218"/>
                    </a:lnTo>
                    <a:lnTo>
                      <a:pt x="312" y="212"/>
                    </a:lnTo>
                    <a:lnTo>
                      <a:pt x="318" y="206"/>
                    </a:lnTo>
                    <a:lnTo>
                      <a:pt x="318" y="198"/>
                    </a:lnTo>
                    <a:lnTo>
                      <a:pt x="312" y="192"/>
                    </a:lnTo>
                    <a:lnTo>
                      <a:pt x="312" y="184"/>
                    </a:lnTo>
                    <a:lnTo>
                      <a:pt x="312" y="178"/>
                    </a:lnTo>
                    <a:lnTo>
                      <a:pt x="298" y="178"/>
                    </a:lnTo>
                    <a:lnTo>
                      <a:pt x="298" y="170"/>
                    </a:lnTo>
                    <a:lnTo>
                      <a:pt x="306" y="164"/>
                    </a:lnTo>
                    <a:lnTo>
                      <a:pt x="312" y="170"/>
                    </a:lnTo>
                    <a:lnTo>
                      <a:pt x="312" y="164"/>
                    </a:lnTo>
                    <a:lnTo>
                      <a:pt x="306" y="158"/>
                    </a:lnTo>
                    <a:lnTo>
                      <a:pt x="306" y="150"/>
                    </a:lnTo>
                    <a:lnTo>
                      <a:pt x="306" y="144"/>
                    </a:lnTo>
                    <a:lnTo>
                      <a:pt x="318" y="136"/>
                    </a:lnTo>
                    <a:lnTo>
                      <a:pt x="318" y="130"/>
                    </a:lnTo>
                    <a:lnTo>
                      <a:pt x="312" y="136"/>
                    </a:lnTo>
                    <a:lnTo>
                      <a:pt x="298" y="136"/>
                    </a:lnTo>
                    <a:lnTo>
                      <a:pt x="298" y="130"/>
                    </a:lnTo>
                    <a:lnTo>
                      <a:pt x="298" y="122"/>
                    </a:lnTo>
                    <a:lnTo>
                      <a:pt x="306" y="116"/>
                    </a:lnTo>
                    <a:lnTo>
                      <a:pt x="306" y="110"/>
                    </a:lnTo>
                    <a:lnTo>
                      <a:pt x="306" y="102"/>
                    </a:lnTo>
                    <a:lnTo>
                      <a:pt x="306" y="110"/>
                    </a:lnTo>
                    <a:lnTo>
                      <a:pt x="292" y="102"/>
                    </a:lnTo>
                    <a:lnTo>
                      <a:pt x="292" y="110"/>
                    </a:lnTo>
                    <a:lnTo>
                      <a:pt x="284" y="116"/>
                    </a:lnTo>
                    <a:lnTo>
                      <a:pt x="278" y="122"/>
                    </a:lnTo>
                    <a:lnTo>
                      <a:pt x="270" y="122"/>
                    </a:lnTo>
                    <a:lnTo>
                      <a:pt x="264" y="116"/>
                    </a:lnTo>
                    <a:lnTo>
                      <a:pt x="264" y="110"/>
                    </a:lnTo>
                    <a:lnTo>
                      <a:pt x="250" y="116"/>
                    </a:lnTo>
                    <a:lnTo>
                      <a:pt x="236" y="122"/>
                    </a:lnTo>
                    <a:lnTo>
                      <a:pt x="228" y="122"/>
                    </a:lnTo>
                    <a:lnTo>
                      <a:pt x="236" y="102"/>
                    </a:lnTo>
                    <a:lnTo>
                      <a:pt x="228" y="96"/>
                    </a:lnTo>
                    <a:lnTo>
                      <a:pt x="228" y="102"/>
                    </a:lnTo>
                    <a:lnTo>
                      <a:pt x="222" y="116"/>
                    </a:lnTo>
                    <a:lnTo>
                      <a:pt x="222" y="122"/>
                    </a:lnTo>
                    <a:lnTo>
                      <a:pt x="216" y="130"/>
                    </a:lnTo>
                    <a:lnTo>
                      <a:pt x="208" y="122"/>
                    </a:lnTo>
                    <a:lnTo>
                      <a:pt x="208" y="110"/>
                    </a:lnTo>
                    <a:lnTo>
                      <a:pt x="216" y="102"/>
                    </a:lnTo>
                    <a:lnTo>
                      <a:pt x="216" y="88"/>
                    </a:lnTo>
                    <a:lnTo>
                      <a:pt x="208" y="82"/>
                    </a:lnTo>
                    <a:lnTo>
                      <a:pt x="202" y="88"/>
                    </a:lnTo>
                    <a:lnTo>
                      <a:pt x="194" y="82"/>
                    </a:lnTo>
                    <a:lnTo>
                      <a:pt x="194" y="88"/>
                    </a:lnTo>
                    <a:lnTo>
                      <a:pt x="188" y="96"/>
                    </a:lnTo>
                    <a:lnTo>
                      <a:pt x="180" y="102"/>
                    </a:lnTo>
                    <a:lnTo>
                      <a:pt x="174" y="102"/>
                    </a:lnTo>
                    <a:lnTo>
                      <a:pt x="174" y="96"/>
                    </a:lnTo>
                    <a:lnTo>
                      <a:pt x="174" y="88"/>
                    </a:lnTo>
                    <a:lnTo>
                      <a:pt x="174" y="74"/>
                    </a:lnTo>
                    <a:lnTo>
                      <a:pt x="166" y="68"/>
                    </a:lnTo>
                    <a:lnTo>
                      <a:pt x="160" y="82"/>
                    </a:lnTo>
                    <a:lnTo>
                      <a:pt x="154" y="96"/>
                    </a:lnTo>
                    <a:lnTo>
                      <a:pt x="146" y="96"/>
                    </a:lnTo>
                    <a:lnTo>
                      <a:pt x="146" y="88"/>
                    </a:lnTo>
                    <a:lnTo>
                      <a:pt x="138" y="88"/>
                    </a:lnTo>
                    <a:lnTo>
                      <a:pt x="132" y="88"/>
                    </a:lnTo>
                    <a:lnTo>
                      <a:pt x="118" y="110"/>
                    </a:lnTo>
                    <a:lnTo>
                      <a:pt x="118" y="102"/>
                    </a:lnTo>
                    <a:lnTo>
                      <a:pt x="112" y="102"/>
                    </a:lnTo>
                    <a:lnTo>
                      <a:pt x="112" y="96"/>
                    </a:lnTo>
                    <a:lnTo>
                      <a:pt x="118" y="88"/>
                    </a:lnTo>
                    <a:lnTo>
                      <a:pt x="118" y="82"/>
                    </a:lnTo>
                    <a:lnTo>
                      <a:pt x="118" y="74"/>
                    </a:lnTo>
                    <a:lnTo>
                      <a:pt x="118" y="60"/>
                    </a:lnTo>
                    <a:lnTo>
                      <a:pt x="126" y="60"/>
                    </a:lnTo>
                    <a:lnTo>
                      <a:pt x="132" y="60"/>
                    </a:lnTo>
                    <a:lnTo>
                      <a:pt x="138" y="46"/>
                    </a:lnTo>
                    <a:lnTo>
                      <a:pt x="132" y="46"/>
                    </a:lnTo>
                    <a:lnTo>
                      <a:pt x="132" y="40"/>
                    </a:lnTo>
                    <a:lnTo>
                      <a:pt x="138" y="34"/>
                    </a:lnTo>
                    <a:lnTo>
                      <a:pt x="138" y="26"/>
                    </a:lnTo>
                    <a:lnTo>
                      <a:pt x="138" y="12"/>
                    </a:lnTo>
                    <a:lnTo>
                      <a:pt x="126" y="0"/>
                    </a:lnTo>
                    <a:lnTo>
                      <a:pt x="112" y="0"/>
                    </a:lnTo>
                    <a:lnTo>
                      <a:pt x="118" y="6"/>
                    </a:lnTo>
                    <a:lnTo>
                      <a:pt x="126" y="20"/>
                    </a:lnTo>
                    <a:lnTo>
                      <a:pt x="118" y="20"/>
                    </a:lnTo>
                    <a:lnTo>
                      <a:pt x="118" y="26"/>
                    </a:lnTo>
                    <a:lnTo>
                      <a:pt x="118" y="34"/>
                    </a:lnTo>
                    <a:lnTo>
                      <a:pt x="118" y="40"/>
                    </a:lnTo>
                    <a:lnTo>
                      <a:pt x="112" y="46"/>
                    </a:lnTo>
                    <a:lnTo>
                      <a:pt x="104" y="40"/>
                    </a:lnTo>
                    <a:lnTo>
                      <a:pt x="104" y="26"/>
                    </a:lnTo>
                    <a:lnTo>
                      <a:pt x="96" y="34"/>
                    </a:lnTo>
                    <a:lnTo>
                      <a:pt x="96" y="20"/>
                    </a:lnTo>
                    <a:lnTo>
                      <a:pt x="96" y="6"/>
                    </a:lnTo>
                    <a:lnTo>
                      <a:pt x="96" y="12"/>
                    </a:lnTo>
                    <a:lnTo>
                      <a:pt x="90" y="12"/>
                    </a:lnTo>
                    <a:lnTo>
                      <a:pt x="84" y="6"/>
                    </a:lnTo>
                    <a:lnTo>
                      <a:pt x="84" y="26"/>
                    </a:lnTo>
                    <a:lnTo>
                      <a:pt x="70" y="20"/>
                    </a:lnTo>
                    <a:lnTo>
                      <a:pt x="76" y="26"/>
                    </a:lnTo>
                    <a:lnTo>
                      <a:pt x="84" y="34"/>
                    </a:lnTo>
                    <a:lnTo>
                      <a:pt x="70" y="40"/>
                    </a:lnTo>
                    <a:lnTo>
                      <a:pt x="64" y="40"/>
                    </a:lnTo>
                    <a:lnTo>
                      <a:pt x="64" y="34"/>
                    </a:lnTo>
                    <a:lnTo>
                      <a:pt x="64" y="26"/>
                    </a:lnTo>
                    <a:lnTo>
                      <a:pt x="56" y="20"/>
                    </a:lnTo>
                    <a:lnTo>
                      <a:pt x="56" y="26"/>
                    </a:lnTo>
                    <a:lnTo>
                      <a:pt x="56" y="34"/>
                    </a:lnTo>
                    <a:lnTo>
                      <a:pt x="50" y="34"/>
                    </a:lnTo>
                    <a:lnTo>
                      <a:pt x="50" y="26"/>
                    </a:lnTo>
                    <a:lnTo>
                      <a:pt x="42" y="34"/>
                    </a:lnTo>
                    <a:lnTo>
                      <a:pt x="42" y="40"/>
                    </a:lnTo>
                    <a:lnTo>
                      <a:pt x="50" y="40"/>
                    </a:lnTo>
                    <a:lnTo>
                      <a:pt x="56" y="40"/>
                    </a:lnTo>
                    <a:lnTo>
                      <a:pt x="64" y="46"/>
                    </a:lnTo>
                    <a:lnTo>
                      <a:pt x="76" y="46"/>
                    </a:lnTo>
                    <a:lnTo>
                      <a:pt x="84" y="54"/>
                    </a:lnTo>
                    <a:lnTo>
                      <a:pt x="90" y="60"/>
                    </a:lnTo>
                    <a:lnTo>
                      <a:pt x="90" y="68"/>
                    </a:lnTo>
                    <a:lnTo>
                      <a:pt x="96" y="68"/>
                    </a:lnTo>
                    <a:lnTo>
                      <a:pt x="104" y="68"/>
                    </a:lnTo>
                    <a:lnTo>
                      <a:pt x="104" y="82"/>
                    </a:lnTo>
                    <a:lnTo>
                      <a:pt x="96" y="82"/>
                    </a:lnTo>
                    <a:lnTo>
                      <a:pt x="84" y="74"/>
                    </a:lnTo>
                    <a:lnTo>
                      <a:pt x="70" y="74"/>
                    </a:lnTo>
                    <a:lnTo>
                      <a:pt x="76" y="82"/>
                    </a:lnTo>
                    <a:lnTo>
                      <a:pt x="84" y="88"/>
                    </a:lnTo>
                    <a:lnTo>
                      <a:pt x="90" y="96"/>
                    </a:lnTo>
                    <a:lnTo>
                      <a:pt x="84" y="102"/>
                    </a:lnTo>
                    <a:lnTo>
                      <a:pt x="76" y="102"/>
                    </a:lnTo>
                    <a:lnTo>
                      <a:pt x="70" y="96"/>
                    </a:lnTo>
                    <a:lnTo>
                      <a:pt x="64" y="88"/>
                    </a:lnTo>
                    <a:lnTo>
                      <a:pt x="56" y="88"/>
                    </a:lnTo>
                    <a:lnTo>
                      <a:pt x="42" y="82"/>
                    </a:lnTo>
                    <a:lnTo>
                      <a:pt x="28" y="74"/>
                    </a:lnTo>
                    <a:lnTo>
                      <a:pt x="14" y="82"/>
                    </a:lnTo>
                    <a:lnTo>
                      <a:pt x="14" y="88"/>
                    </a:lnTo>
                    <a:lnTo>
                      <a:pt x="28" y="88"/>
                    </a:lnTo>
                    <a:lnTo>
                      <a:pt x="42" y="88"/>
                    </a:lnTo>
                    <a:lnTo>
                      <a:pt x="50" y="96"/>
                    </a:lnTo>
                    <a:lnTo>
                      <a:pt x="50" y="102"/>
                    </a:lnTo>
                    <a:lnTo>
                      <a:pt x="56" y="102"/>
                    </a:lnTo>
                    <a:lnTo>
                      <a:pt x="56" y="110"/>
                    </a:lnTo>
                    <a:lnTo>
                      <a:pt x="56" y="116"/>
                    </a:lnTo>
                    <a:lnTo>
                      <a:pt x="50" y="122"/>
                    </a:lnTo>
                    <a:lnTo>
                      <a:pt x="50" y="136"/>
                    </a:lnTo>
                    <a:lnTo>
                      <a:pt x="56" y="130"/>
                    </a:lnTo>
                    <a:lnTo>
                      <a:pt x="56" y="136"/>
                    </a:lnTo>
                    <a:lnTo>
                      <a:pt x="50" y="144"/>
                    </a:lnTo>
                    <a:lnTo>
                      <a:pt x="42" y="150"/>
                    </a:lnTo>
                    <a:lnTo>
                      <a:pt x="34" y="150"/>
                    </a:lnTo>
                    <a:lnTo>
                      <a:pt x="28" y="150"/>
                    </a:lnTo>
                    <a:lnTo>
                      <a:pt x="22" y="150"/>
                    </a:lnTo>
                    <a:lnTo>
                      <a:pt x="14" y="158"/>
                    </a:lnTo>
                    <a:lnTo>
                      <a:pt x="8" y="150"/>
                    </a:lnTo>
                    <a:lnTo>
                      <a:pt x="0" y="164"/>
                    </a:lnTo>
                    <a:lnTo>
                      <a:pt x="0" y="164"/>
                    </a:lnTo>
                    <a:lnTo>
                      <a:pt x="0" y="164"/>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4" name="Freeform 28"/>
              <p:cNvSpPr>
                <a:spLocks/>
              </p:cNvSpPr>
              <p:nvPr>
                <p:custDataLst>
                  <p:tags r:id="rId131"/>
                </p:custDataLst>
              </p:nvPr>
            </p:nvSpPr>
            <p:spPr bwMode="gray">
              <a:xfrm>
                <a:off x="3039182" y="2336417"/>
                <a:ext cx="406490" cy="381084"/>
              </a:xfrm>
              <a:custGeom>
                <a:avLst/>
                <a:gdLst>
                  <a:gd name="T0" fmla="*/ 250 w 256"/>
                  <a:gd name="T1" fmla="*/ 118 h 240"/>
                  <a:gd name="T2" fmla="*/ 242 w 256"/>
                  <a:gd name="T3" fmla="*/ 132 h 240"/>
                  <a:gd name="T4" fmla="*/ 236 w 256"/>
                  <a:gd name="T5" fmla="*/ 158 h 240"/>
                  <a:gd name="T6" fmla="*/ 228 w 256"/>
                  <a:gd name="T7" fmla="*/ 180 h 240"/>
                  <a:gd name="T8" fmla="*/ 228 w 256"/>
                  <a:gd name="T9" fmla="*/ 200 h 240"/>
                  <a:gd name="T10" fmla="*/ 214 w 256"/>
                  <a:gd name="T11" fmla="*/ 214 h 240"/>
                  <a:gd name="T12" fmla="*/ 202 w 256"/>
                  <a:gd name="T13" fmla="*/ 228 h 240"/>
                  <a:gd name="T14" fmla="*/ 166 w 256"/>
                  <a:gd name="T15" fmla="*/ 228 h 240"/>
                  <a:gd name="T16" fmla="*/ 132 w 256"/>
                  <a:gd name="T17" fmla="*/ 228 h 240"/>
                  <a:gd name="T18" fmla="*/ 118 w 256"/>
                  <a:gd name="T19" fmla="*/ 228 h 240"/>
                  <a:gd name="T20" fmla="*/ 104 w 256"/>
                  <a:gd name="T21" fmla="*/ 240 h 240"/>
                  <a:gd name="T22" fmla="*/ 76 w 256"/>
                  <a:gd name="T23" fmla="*/ 240 h 240"/>
                  <a:gd name="T24" fmla="*/ 48 w 256"/>
                  <a:gd name="T25" fmla="*/ 234 h 240"/>
                  <a:gd name="T26" fmla="*/ 34 w 256"/>
                  <a:gd name="T27" fmla="*/ 228 h 240"/>
                  <a:gd name="T28" fmla="*/ 34 w 256"/>
                  <a:gd name="T29" fmla="*/ 228 h 240"/>
                  <a:gd name="T30" fmla="*/ 20 w 256"/>
                  <a:gd name="T31" fmla="*/ 220 h 240"/>
                  <a:gd name="T32" fmla="*/ 20 w 256"/>
                  <a:gd name="T33" fmla="*/ 206 h 240"/>
                  <a:gd name="T34" fmla="*/ 28 w 256"/>
                  <a:gd name="T35" fmla="*/ 206 h 240"/>
                  <a:gd name="T36" fmla="*/ 6 w 256"/>
                  <a:gd name="T37" fmla="*/ 206 h 240"/>
                  <a:gd name="T38" fmla="*/ 14 w 256"/>
                  <a:gd name="T39" fmla="*/ 186 h 240"/>
                  <a:gd name="T40" fmla="*/ 34 w 256"/>
                  <a:gd name="T41" fmla="*/ 186 h 240"/>
                  <a:gd name="T42" fmla="*/ 6 w 256"/>
                  <a:gd name="T43" fmla="*/ 180 h 240"/>
                  <a:gd name="T44" fmla="*/ 20 w 256"/>
                  <a:gd name="T45" fmla="*/ 166 h 240"/>
                  <a:gd name="T46" fmla="*/ 54 w 256"/>
                  <a:gd name="T47" fmla="*/ 158 h 240"/>
                  <a:gd name="T48" fmla="*/ 82 w 256"/>
                  <a:gd name="T49" fmla="*/ 166 h 240"/>
                  <a:gd name="T50" fmla="*/ 76 w 256"/>
                  <a:gd name="T51" fmla="*/ 158 h 240"/>
                  <a:gd name="T52" fmla="*/ 48 w 256"/>
                  <a:gd name="T53" fmla="*/ 158 h 240"/>
                  <a:gd name="T54" fmla="*/ 68 w 256"/>
                  <a:gd name="T55" fmla="*/ 138 h 240"/>
                  <a:gd name="T56" fmla="*/ 104 w 256"/>
                  <a:gd name="T57" fmla="*/ 124 h 240"/>
                  <a:gd name="T58" fmla="*/ 82 w 256"/>
                  <a:gd name="T59" fmla="*/ 118 h 240"/>
                  <a:gd name="T60" fmla="*/ 68 w 256"/>
                  <a:gd name="T61" fmla="*/ 110 h 240"/>
                  <a:gd name="T62" fmla="*/ 68 w 256"/>
                  <a:gd name="T63" fmla="*/ 82 h 240"/>
                  <a:gd name="T64" fmla="*/ 90 w 256"/>
                  <a:gd name="T65" fmla="*/ 68 h 240"/>
                  <a:gd name="T66" fmla="*/ 90 w 256"/>
                  <a:gd name="T67" fmla="*/ 62 h 240"/>
                  <a:gd name="T68" fmla="*/ 90 w 256"/>
                  <a:gd name="T69" fmla="*/ 48 h 240"/>
                  <a:gd name="T70" fmla="*/ 118 w 256"/>
                  <a:gd name="T71" fmla="*/ 42 h 240"/>
                  <a:gd name="T72" fmla="*/ 138 w 256"/>
                  <a:gd name="T73" fmla="*/ 62 h 240"/>
                  <a:gd name="T74" fmla="*/ 160 w 256"/>
                  <a:gd name="T75" fmla="*/ 56 h 240"/>
                  <a:gd name="T76" fmla="*/ 180 w 256"/>
                  <a:gd name="T77" fmla="*/ 42 h 240"/>
                  <a:gd name="T78" fmla="*/ 152 w 256"/>
                  <a:gd name="T79" fmla="*/ 28 h 240"/>
                  <a:gd name="T80" fmla="*/ 186 w 256"/>
                  <a:gd name="T81" fmla="*/ 14 h 240"/>
                  <a:gd name="T82" fmla="*/ 202 w 256"/>
                  <a:gd name="T83" fmla="*/ 8 h 240"/>
                  <a:gd name="T84" fmla="*/ 228 w 256"/>
                  <a:gd name="T85" fmla="*/ 8 h 240"/>
                  <a:gd name="T86" fmla="*/ 242 w 256"/>
                  <a:gd name="T87" fmla="*/ 0 h 240"/>
                  <a:gd name="T88" fmla="*/ 250 w 256"/>
                  <a:gd name="T89" fmla="*/ 22 h 240"/>
                  <a:gd name="T90" fmla="*/ 242 w 256"/>
                  <a:gd name="T91" fmla="*/ 28 h 240"/>
                  <a:gd name="T92" fmla="*/ 214 w 256"/>
                  <a:gd name="T93" fmla="*/ 34 h 240"/>
                  <a:gd name="T94" fmla="*/ 202 w 256"/>
                  <a:gd name="T95" fmla="*/ 56 h 240"/>
                  <a:gd name="T96" fmla="*/ 186 w 256"/>
                  <a:gd name="T97" fmla="*/ 56 h 240"/>
                  <a:gd name="T98" fmla="*/ 194 w 256"/>
                  <a:gd name="T99" fmla="*/ 76 h 240"/>
                  <a:gd name="T100" fmla="*/ 214 w 256"/>
                  <a:gd name="T101" fmla="*/ 82 h 240"/>
                  <a:gd name="T102" fmla="*/ 242 w 256"/>
                  <a:gd name="T103" fmla="*/ 90 h 240"/>
                  <a:gd name="T104" fmla="*/ 256 w 256"/>
                  <a:gd name="T105" fmla="*/ 11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6" h="240">
                    <a:moveTo>
                      <a:pt x="256" y="118"/>
                    </a:moveTo>
                    <a:lnTo>
                      <a:pt x="250" y="124"/>
                    </a:lnTo>
                    <a:lnTo>
                      <a:pt x="250" y="118"/>
                    </a:lnTo>
                    <a:lnTo>
                      <a:pt x="242" y="118"/>
                    </a:lnTo>
                    <a:lnTo>
                      <a:pt x="250" y="124"/>
                    </a:lnTo>
                    <a:lnTo>
                      <a:pt x="242" y="132"/>
                    </a:lnTo>
                    <a:lnTo>
                      <a:pt x="242" y="138"/>
                    </a:lnTo>
                    <a:lnTo>
                      <a:pt x="242" y="152"/>
                    </a:lnTo>
                    <a:lnTo>
                      <a:pt x="236" y="158"/>
                    </a:lnTo>
                    <a:lnTo>
                      <a:pt x="236" y="166"/>
                    </a:lnTo>
                    <a:lnTo>
                      <a:pt x="236" y="172"/>
                    </a:lnTo>
                    <a:lnTo>
                      <a:pt x="228" y="180"/>
                    </a:lnTo>
                    <a:lnTo>
                      <a:pt x="228" y="186"/>
                    </a:lnTo>
                    <a:lnTo>
                      <a:pt x="228" y="192"/>
                    </a:lnTo>
                    <a:lnTo>
                      <a:pt x="228" y="200"/>
                    </a:lnTo>
                    <a:lnTo>
                      <a:pt x="222" y="200"/>
                    </a:lnTo>
                    <a:lnTo>
                      <a:pt x="222" y="206"/>
                    </a:lnTo>
                    <a:lnTo>
                      <a:pt x="214" y="214"/>
                    </a:lnTo>
                    <a:lnTo>
                      <a:pt x="208" y="214"/>
                    </a:lnTo>
                    <a:lnTo>
                      <a:pt x="208" y="220"/>
                    </a:lnTo>
                    <a:lnTo>
                      <a:pt x="202" y="228"/>
                    </a:lnTo>
                    <a:lnTo>
                      <a:pt x="186" y="234"/>
                    </a:lnTo>
                    <a:lnTo>
                      <a:pt x="180" y="228"/>
                    </a:lnTo>
                    <a:lnTo>
                      <a:pt x="166" y="228"/>
                    </a:lnTo>
                    <a:lnTo>
                      <a:pt x="152" y="228"/>
                    </a:lnTo>
                    <a:lnTo>
                      <a:pt x="138" y="228"/>
                    </a:lnTo>
                    <a:lnTo>
                      <a:pt x="132" y="228"/>
                    </a:lnTo>
                    <a:lnTo>
                      <a:pt x="124" y="234"/>
                    </a:lnTo>
                    <a:lnTo>
                      <a:pt x="118" y="234"/>
                    </a:lnTo>
                    <a:lnTo>
                      <a:pt x="118" y="228"/>
                    </a:lnTo>
                    <a:lnTo>
                      <a:pt x="110" y="234"/>
                    </a:lnTo>
                    <a:lnTo>
                      <a:pt x="104" y="234"/>
                    </a:lnTo>
                    <a:lnTo>
                      <a:pt x="104" y="240"/>
                    </a:lnTo>
                    <a:lnTo>
                      <a:pt x="90" y="240"/>
                    </a:lnTo>
                    <a:lnTo>
                      <a:pt x="82" y="234"/>
                    </a:lnTo>
                    <a:lnTo>
                      <a:pt x="76" y="240"/>
                    </a:lnTo>
                    <a:lnTo>
                      <a:pt x="62" y="240"/>
                    </a:lnTo>
                    <a:lnTo>
                      <a:pt x="54" y="234"/>
                    </a:lnTo>
                    <a:lnTo>
                      <a:pt x="48" y="234"/>
                    </a:lnTo>
                    <a:lnTo>
                      <a:pt x="34" y="240"/>
                    </a:lnTo>
                    <a:lnTo>
                      <a:pt x="34" y="234"/>
                    </a:lnTo>
                    <a:lnTo>
                      <a:pt x="34" y="228"/>
                    </a:lnTo>
                    <a:lnTo>
                      <a:pt x="14" y="234"/>
                    </a:lnTo>
                    <a:lnTo>
                      <a:pt x="20" y="234"/>
                    </a:lnTo>
                    <a:lnTo>
                      <a:pt x="34" y="228"/>
                    </a:lnTo>
                    <a:lnTo>
                      <a:pt x="14" y="228"/>
                    </a:lnTo>
                    <a:lnTo>
                      <a:pt x="28" y="220"/>
                    </a:lnTo>
                    <a:lnTo>
                      <a:pt x="20" y="220"/>
                    </a:lnTo>
                    <a:lnTo>
                      <a:pt x="14" y="220"/>
                    </a:lnTo>
                    <a:lnTo>
                      <a:pt x="14" y="214"/>
                    </a:lnTo>
                    <a:lnTo>
                      <a:pt x="20" y="206"/>
                    </a:lnTo>
                    <a:lnTo>
                      <a:pt x="28" y="206"/>
                    </a:lnTo>
                    <a:lnTo>
                      <a:pt x="34" y="206"/>
                    </a:lnTo>
                    <a:lnTo>
                      <a:pt x="28" y="206"/>
                    </a:lnTo>
                    <a:lnTo>
                      <a:pt x="20" y="206"/>
                    </a:lnTo>
                    <a:lnTo>
                      <a:pt x="14" y="200"/>
                    </a:lnTo>
                    <a:lnTo>
                      <a:pt x="6" y="206"/>
                    </a:lnTo>
                    <a:lnTo>
                      <a:pt x="0" y="200"/>
                    </a:lnTo>
                    <a:lnTo>
                      <a:pt x="6" y="192"/>
                    </a:lnTo>
                    <a:lnTo>
                      <a:pt x="14" y="186"/>
                    </a:lnTo>
                    <a:lnTo>
                      <a:pt x="20" y="186"/>
                    </a:lnTo>
                    <a:lnTo>
                      <a:pt x="28" y="186"/>
                    </a:lnTo>
                    <a:lnTo>
                      <a:pt x="34" y="186"/>
                    </a:lnTo>
                    <a:lnTo>
                      <a:pt x="28" y="180"/>
                    </a:lnTo>
                    <a:lnTo>
                      <a:pt x="14" y="180"/>
                    </a:lnTo>
                    <a:lnTo>
                      <a:pt x="6" y="180"/>
                    </a:lnTo>
                    <a:lnTo>
                      <a:pt x="6" y="172"/>
                    </a:lnTo>
                    <a:lnTo>
                      <a:pt x="14" y="166"/>
                    </a:lnTo>
                    <a:lnTo>
                      <a:pt x="20" y="166"/>
                    </a:lnTo>
                    <a:lnTo>
                      <a:pt x="40" y="166"/>
                    </a:lnTo>
                    <a:lnTo>
                      <a:pt x="40" y="158"/>
                    </a:lnTo>
                    <a:lnTo>
                      <a:pt x="54" y="158"/>
                    </a:lnTo>
                    <a:lnTo>
                      <a:pt x="62" y="158"/>
                    </a:lnTo>
                    <a:lnTo>
                      <a:pt x="68" y="166"/>
                    </a:lnTo>
                    <a:lnTo>
                      <a:pt x="82" y="166"/>
                    </a:lnTo>
                    <a:lnTo>
                      <a:pt x="90" y="166"/>
                    </a:lnTo>
                    <a:lnTo>
                      <a:pt x="82" y="158"/>
                    </a:lnTo>
                    <a:lnTo>
                      <a:pt x="76" y="158"/>
                    </a:lnTo>
                    <a:lnTo>
                      <a:pt x="68" y="158"/>
                    </a:lnTo>
                    <a:lnTo>
                      <a:pt x="62" y="152"/>
                    </a:lnTo>
                    <a:lnTo>
                      <a:pt x="48" y="158"/>
                    </a:lnTo>
                    <a:lnTo>
                      <a:pt x="40" y="152"/>
                    </a:lnTo>
                    <a:lnTo>
                      <a:pt x="54" y="152"/>
                    </a:lnTo>
                    <a:lnTo>
                      <a:pt x="68" y="138"/>
                    </a:lnTo>
                    <a:lnTo>
                      <a:pt x="90" y="132"/>
                    </a:lnTo>
                    <a:lnTo>
                      <a:pt x="96" y="132"/>
                    </a:lnTo>
                    <a:lnTo>
                      <a:pt x="104" y="124"/>
                    </a:lnTo>
                    <a:lnTo>
                      <a:pt x="104" y="118"/>
                    </a:lnTo>
                    <a:lnTo>
                      <a:pt x="96" y="118"/>
                    </a:lnTo>
                    <a:lnTo>
                      <a:pt x="82" y="118"/>
                    </a:lnTo>
                    <a:lnTo>
                      <a:pt x="76" y="124"/>
                    </a:lnTo>
                    <a:lnTo>
                      <a:pt x="76" y="110"/>
                    </a:lnTo>
                    <a:lnTo>
                      <a:pt x="68" y="110"/>
                    </a:lnTo>
                    <a:lnTo>
                      <a:pt x="68" y="104"/>
                    </a:lnTo>
                    <a:lnTo>
                      <a:pt x="62" y="90"/>
                    </a:lnTo>
                    <a:lnTo>
                      <a:pt x="68" y="82"/>
                    </a:lnTo>
                    <a:lnTo>
                      <a:pt x="76" y="82"/>
                    </a:lnTo>
                    <a:lnTo>
                      <a:pt x="82" y="76"/>
                    </a:lnTo>
                    <a:lnTo>
                      <a:pt x="90" y="68"/>
                    </a:lnTo>
                    <a:lnTo>
                      <a:pt x="96" y="68"/>
                    </a:lnTo>
                    <a:lnTo>
                      <a:pt x="90" y="68"/>
                    </a:lnTo>
                    <a:lnTo>
                      <a:pt x="90" y="62"/>
                    </a:lnTo>
                    <a:lnTo>
                      <a:pt x="90" y="56"/>
                    </a:lnTo>
                    <a:lnTo>
                      <a:pt x="82" y="48"/>
                    </a:lnTo>
                    <a:lnTo>
                      <a:pt x="90" y="48"/>
                    </a:lnTo>
                    <a:lnTo>
                      <a:pt x="96" y="34"/>
                    </a:lnTo>
                    <a:lnTo>
                      <a:pt x="110" y="34"/>
                    </a:lnTo>
                    <a:lnTo>
                      <a:pt x="118" y="42"/>
                    </a:lnTo>
                    <a:lnTo>
                      <a:pt x="124" y="48"/>
                    </a:lnTo>
                    <a:lnTo>
                      <a:pt x="124" y="56"/>
                    </a:lnTo>
                    <a:lnTo>
                      <a:pt x="138" y="62"/>
                    </a:lnTo>
                    <a:lnTo>
                      <a:pt x="144" y="68"/>
                    </a:lnTo>
                    <a:lnTo>
                      <a:pt x="160" y="62"/>
                    </a:lnTo>
                    <a:lnTo>
                      <a:pt x="160" y="56"/>
                    </a:lnTo>
                    <a:lnTo>
                      <a:pt x="160" y="48"/>
                    </a:lnTo>
                    <a:lnTo>
                      <a:pt x="174" y="48"/>
                    </a:lnTo>
                    <a:lnTo>
                      <a:pt x="180" y="42"/>
                    </a:lnTo>
                    <a:lnTo>
                      <a:pt x="174" y="42"/>
                    </a:lnTo>
                    <a:lnTo>
                      <a:pt x="160" y="34"/>
                    </a:lnTo>
                    <a:lnTo>
                      <a:pt x="152" y="28"/>
                    </a:lnTo>
                    <a:lnTo>
                      <a:pt x="174" y="22"/>
                    </a:lnTo>
                    <a:lnTo>
                      <a:pt x="180" y="14"/>
                    </a:lnTo>
                    <a:lnTo>
                      <a:pt x="186" y="14"/>
                    </a:lnTo>
                    <a:lnTo>
                      <a:pt x="180" y="14"/>
                    </a:lnTo>
                    <a:lnTo>
                      <a:pt x="186" y="8"/>
                    </a:lnTo>
                    <a:lnTo>
                      <a:pt x="202" y="8"/>
                    </a:lnTo>
                    <a:lnTo>
                      <a:pt x="208" y="0"/>
                    </a:lnTo>
                    <a:lnTo>
                      <a:pt x="222" y="8"/>
                    </a:lnTo>
                    <a:lnTo>
                      <a:pt x="228" y="8"/>
                    </a:lnTo>
                    <a:lnTo>
                      <a:pt x="236" y="8"/>
                    </a:lnTo>
                    <a:lnTo>
                      <a:pt x="242" y="8"/>
                    </a:lnTo>
                    <a:lnTo>
                      <a:pt x="242" y="0"/>
                    </a:lnTo>
                    <a:lnTo>
                      <a:pt x="250" y="8"/>
                    </a:lnTo>
                    <a:lnTo>
                      <a:pt x="256" y="14"/>
                    </a:lnTo>
                    <a:lnTo>
                      <a:pt x="250" y="22"/>
                    </a:lnTo>
                    <a:lnTo>
                      <a:pt x="242" y="22"/>
                    </a:lnTo>
                    <a:lnTo>
                      <a:pt x="236" y="22"/>
                    </a:lnTo>
                    <a:lnTo>
                      <a:pt x="242" y="28"/>
                    </a:lnTo>
                    <a:lnTo>
                      <a:pt x="236" y="28"/>
                    </a:lnTo>
                    <a:lnTo>
                      <a:pt x="222" y="28"/>
                    </a:lnTo>
                    <a:lnTo>
                      <a:pt x="214" y="34"/>
                    </a:lnTo>
                    <a:lnTo>
                      <a:pt x="208" y="42"/>
                    </a:lnTo>
                    <a:lnTo>
                      <a:pt x="208" y="48"/>
                    </a:lnTo>
                    <a:lnTo>
                      <a:pt x="202" y="56"/>
                    </a:lnTo>
                    <a:lnTo>
                      <a:pt x="194" y="48"/>
                    </a:lnTo>
                    <a:lnTo>
                      <a:pt x="186" y="48"/>
                    </a:lnTo>
                    <a:lnTo>
                      <a:pt x="186" y="56"/>
                    </a:lnTo>
                    <a:lnTo>
                      <a:pt x="180" y="62"/>
                    </a:lnTo>
                    <a:lnTo>
                      <a:pt x="186" y="68"/>
                    </a:lnTo>
                    <a:lnTo>
                      <a:pt x="194" y="76"/>
                    </a:lnTo>
                    <a:lnTo>
                      <a:pt x="202" y="82"/>
                    </a:lnTo>
                    <a:lnTo>
                      <a:pt x="208" y="90"/>
                    </a:lnTo>
                    <a:lnTo>
                      <a:pt x="214" y="82"/>
                    </a:lnTo>
                    <a:lnTo>
                      <a:pt x="222" y="82"/>
                    </a:lnTo>
                    <a:lnTo>
                      <a:pt x="228" y="82"/>
                    </a:lnTo>
                    <a:lnTo>
                      <a:pt x="242" y="90"/>
                    </a:lnTo>
                    <a:lnTo>
                      <a:pt x="242" y="96"/>
                    </a:lnTo>
                    <a:lnTo>
                      <a:pt x="250" y="104"/>
                    </a:lnTo>
                    <a:lnTo>
                      <a:pt x="256" y="118"/>
                    </a:lnTo>
                    <a:lnTo>
                      <a:pt x="256" y="118"/>
                    </a:lnTo>
                    <a:lnTo>
                      <a:pt x="256" y="118"/>
                    </a:lnTo>
                    <a:close/>
                  </a:path>
                </a:pathLst>
              </a:custGeom>
              <a:solidFill>
                <a:srgbClr val="D6D9DC"/>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5" name="Freeform 29"/>
              <p:cNvSpPr>
                <a:spLocks/>
              </p:cNvSpPr>
              <p:nvPr/>
            </p:nvSpPr>
            <p:spPr bwMode="gray">
              <a:xfrm>
                <a:off x="3321820" y="2371350"/>
                <a:ext cx="187367" cy="152434"/>
              </a:xfrm>
              <a:custGeom>
                <a:avLst/>
                <a:gdLst>
                  <a:gd name="T0" fmla="*/ 62 w 118"/>
                  <a:gd name="T1" fmla="*/ 6 h 96"/>
                  <a:gd name="T2" fmla="*/ 54 w 118"/>
                  <a:gd name="T3" fmla="*/ 6 h 96"/>
                  <a:gd name="T4" fmla="*/ 40 w 118"/>
                  <a:gd name="T5" fmla="*/ 6 h 96"/>
                  <a:gd name="T6" fmla="*/ 36 w 118"/>
                  <a:gd name="T7" fmla="*/ 14 h 96"/>
                  <a:gd name="T8" fmla="*/ 28 w 118"/>
                  <a:gd name="T9" fmla="*/ 20 h 96"/>
                  <a:gd name="T10" fmla="*/ 28 w 118"/>
                  <a:gd name="T11" fmla="*/ 28 h 96"/>
                  <a:gd name="T12" fmla="*/ 20 w 118"/>
                  <a:gd name="T13" fmla="*/ 34 h 96"/>
                  <a:gd name="T14" fmla="*/ 14 w 118"/>
                  <a:gd name="T15" fmla="*/ 28 h 96"/>
                  <a:gd name="T16" fmla="*/ 6 w 118"/>
                  <a:gd name="T17" fmla="*/ 28 h 96"/>
                  <a:gd name="T18" fmla="*/ 6 w 118"/>
                  <a:gd name="T19" fmla="*/ 34 h 96"/>
                  <a:gd name="T20" fmla="*/ 0 w 118"/>
                  <a:gd name="T21" fmla="*/ 40 h 96"/>
                  <a:gd name="T22" fmla="*/ 6 w 118"/>
                  <a:gd name="T23" fmla="*/ 48 h 96"/>
                  <a:gd name="T24" fmla="*/ 14 w 118"/>
                  <a:gd name="T25" fmla="*/ 54 h 96"/>
                  <a:gd name="T26" fmla="*/ 20 w 118"/>
                  <a:gd name="T27" fmla="*/ 62 h 96"/>
                  <a:gd name="T28" fmla="*/ 28 w 118"/>
                  <a:gd name="T29" fmla="*/ 68 h 96"/>
                  <a:gd name="T30" fmla="*/ 36 w 118"/>
                  <a:gd name="T31" fmla="*/ 62 h 96"/>
                  <a:gd name="T32" fmla="*/ 40 w 118"/>
                  <a:gd name="T33" fmla="*/ 62 h 96"/>
                  <a:gd name="T34" fmla="*/ 48 w 118"/>
                  <a:gd name="T35" fmla="*/ 62 h 96"/>
                  <a:gd name="T36" fmla="*/ 62 w 118"/>
                  <a:gd name="T37" fmla="*/ 68 h 96"/>
                  <a:gd name="T38" fmla="*/ 62 w 118"/>
                  <a:gd name="T39" fmla="*/ 76 h 96"/>
                  <a:gd name="T40" fmla="*/ 68 w 118"/>
                  <a:gd name="T41" fmla="*/ 82 h 96"/>
                  <a:gd name="T42" fmla="*/ 76 w 118"/>
                  <a:gd name="T43" fmla="*/ 96 h 96"/>
                  <a:gd name="T44" fmla="*/ 84 w 118"/>
                  <a:gd name="T45" fmla="*/ 88 h 96"/>
                  <a:gd name="T46" fmla="*/ 90 w 118"/>
                  <a:gd name="T47" fmla="*/ 82 h 96"/>
                  <a:gd name="T48" fmla="*/ 96 w 118"/>
                  <a:gd name="T49" fmla="*/ 82 h 96"/>
                  <a:gd name="T50" fmla="*/ 104 w 118"/>
                  <a:gd name="T51" fmla="*/ 82 h 96"/>
                  <a:gd name="T52" fmla="*/ 104 w 118"/>
                  <a:gd name="T53" fmla="*/ 68 h 96"/>
                  <a:gd name="T54" fmla="*/ 110 w 118"/>
                  <a:gd name="T55" fmla="*/ 62 h 96"/>
                  <a:gd name="T56" fmla="*/ 110 w 118"/>
                  <a:gd name="T57" fmla="*/ 68 h 96"/>
                  <a:gd name="T58" fmla="*/ 110 w 118"/>
                  <a:gd name="T59" fmla="*/ 76 h 96"/>
                  <a:gd name="T60" fmla="*/ 118 w 118"/>
                  <a:gd name="T61" fmla="*/ 76 h 96"/>
                  <a:gd name="T62" fmla="*/ 118 w 118"/>
                  <a:gd name="T63" fmla="*/ 68 h 96"/>
                  <a:gd name="T64" fmla="*/ 118 w 118"/>
                  <a:gd name="T65" fmla="*/ 62 h 96"/>
                  <a:gd name="T66" fmla="*/ 110 w 118"/>
                  <a:gd name="T67" fmla="*/ 54 h 96"/>
                  <a:gd name="T68" fmla="*/ 104 w 118"/>
                  <a:gd name="T69" fmla="*/ 62 h 96"/>
                  <a:gd name="T70" fmla="*/ 96 w 118"/>
                  <a:gd name="T71" fmla="*/ 54 h 96"/>
                  <a:gd name="T72" fmla="*/ 104 w 118"/>
                  <a:gd name="T73" fmla="*/ 48 h 96"/>
                  <a:gd name="T74" fmla="*/ 110 w 118"/>
                  <a:gd name="T75" fmla="*/ 48 h 96"/>
                  <a:gd name="T76" fmla="*/ 110 w 118"/>
                  <a:gd name="T77" fmla="*/ 40 h 96"/>
                  <a:gd name="T78" fmla="*/ 110 w 118"/>
                  <a:gd name="T79" fmla="*/ 34 h 96"/>
                  <a:gd name="T80" fmla="*/ 104 w 118"/>
                  <a:gd name="T81" fmla="*/ 20 h 96"/>
                  <a:gd name="T82" fmla="*/ 104 w 118"/>
                  <a:gd name="T83" fmla="*/ 14 h 96"/>
                  <a:gd name="T84" fmla="*/ 104 w 118"/>
                  <a:gd name="T85" fmla="*/ 6 h 96"/>
                  <a:gd name="T86" fmla="*/ 96 w 118"/>
                  <a:gd name="T87" fmla="*/ 6 h 96"/>
                  <a:gd name="T88" fmla="*/ 90 w 118"/>
                  <a:gd name="T89" fmla="*/ 6 h 96"/>
                  <a:gd name="T90" fmla="*/ 84 w 118"/>
                  <a:gd name="T91" fmla="*/ 6 h 96"/>
                  <a:gd name="T92" fmla="*/ 84 w 118"/>
                  <a:gd name="T93" fmla="*/ 0 h 96"/>
                  <a:gd name="T94" fmla="*/ 76 w 118"/>
                  <a:gd name="T95" fmla="*/ 0 h 96"/>
                  <a:gd name="T96" fmla="*/ 68 w 118"/>
                  <a:gd name="T97" fmla="*/ 6 h 96"/>
                  <a:gd name="T98" fmla="*/ 62 w 118"/>
                  <a:gd name="T99" fmla="*/ 6 h 96"/>
                  <a:gd name="T100" fmla="*/ 62 w 118"/>
                  <a:gd name="T101" fmla="*/ 6 h 96"/>
                  <a:gd name="T102" fmla="*/ 62 w 118"/>
                  <a:gd name="T103" fmla="*/ 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8" h="96">
                    <a:moveTo>
                      <a:pt x="62" y="6"/>
                    </a:moveTo>
                    <a:lnTo>
                      <a:pt x="54" y="6"/>
                    </a:lnTo>
                    <a:lnTo>
                      <a:pt x="40" y="6"/>
                    </a:lnTo>
                    <a:lnTo>
                      <a:pt x="36" y="14"/>
                    </a:lnTo>
                    <a:lnTo>
                      <a:pt x="28" y="20"/>
                    </a:lnTo>
                    <a:lnTo>
                      <a:pt x="28" y="28"/>
                    </a:lnTo>
                    <a:lnTo>
                      <a:pt x="20" y="34"/>
                    </a:lnTo>
                    <a:lnTo>
                      <a:pt x="14" y="28"/>
                    </a:lnTo>
                    <a:lnTo>
                      <a:pt x="6" y="28"/>
                    </a:lnTo>
                    <a:lnTo>
                      <a:pt x="6" y="34"/>
                    </a:lnTo>
                    <a:lnTo>
                      <a:pt x="0" y="40"/>
                    </a:lnTo>
                    <a:lnTo>
                      <a:pt x="6" y="48"/>
                    </a:lnTo>
                    <a:lnTo>
                      <a:pt x="14" y="54"/>
                    </a:lnTo>
                    <a:lnTo>
                      <a:pt x="20" y="62"/>
                    </a:lnTo>
                    <a:lnTo>
                      <a:pt x="28" y="68"/>
                    </a:lnTo>
                    <a:lnTo>
                      <a:pt x="36" y="62"/>
                    </a:lnTo>
                    <a:lnTo>
                      <a:pt x="40" y="62"/>
                    </a:lnTo>
                    <a:lnTo>
                      <a:pt x="48" y="62"/>
                    </a:lnTo>
                    <a:lnTo>
                      <a:pt x="62" y="68"/>
                    </a:lnTo>
                    <a:lnTo>
                      <a:pt x="62" y="76"/>
                    </a:lnTo>
                    <a:lnTo>
                      <a:pt x="68" y="82"/>
                    </a:lnTo>
                    <a:lnTo>
                      <a:pt x="76" y="96"/>
                    </a:lnTo>
                    <a:lnTo>
                      <a:pt x="84" y="88"/>
                    </a:lnTo>
                    <a:lnTo>
                      <a:pt x="90" y="82"/>
                    </a:lnTo>
                    <a:lnTo>
                      <a:pt x="96" y="82"/>
                    </a:lnTo>
                    <a:lnTo>
                      <a:pt x="104" y="82"/>
                    </a:lnTo>
                    <a:lnTo>
                      <a:pt x="104" y="68"/>
                    </a:lnTo>
                    <a:lnTo>
                      <a:pt x="110" y="62"/>
                    </a:lnTo>
                    <a:lnTo>
                      <a:pt x="110" y="68"/>
                    </a:lnTo>
                    <a:lnTo>
                      <a:pt x="110" y="76"/>
                    </a:lnTo>
                    <a:lnTo>
                      <a:pt x="118" y="76"/>
                    </a:lnTo>
                    <a:lnTo>
                      <a:pt x="118" y="68"/>
                    </a:lnTo>
                    <a:lnTo>
                      <a:pt x="118" y="62"/>
                    </a:lnTo>
                    <a:lnTo>
                      <a:pt x="110" y="54"/>
                    </a:lnTo>
                    <a:lnTo>
                      <a:pt x="104" y="62"/>
                    </a:lnTo>
                    <a:lnTo>
                      <a:pt x="96" y="54"/>
                    </a:lnTo>
                    <a:lnTo>
                      <a:pt x="104" y="48"/>
                    </a:lnTo>
                    <a:lnTo>
                      <a:pt x="110" y="48"/>
                    </a:lnTo>
                    <a:lnTo>
                      <a:pt x="110" y="40"/>
                    </a:lnTo>
                    <a:lnTo>
                      <a:pt x="110" y="34"/>
                    </a:lnTo>
                    <a:lnTo>
                      <a:pt x="104" y="20"/>
                    </a:lnTo>
                    <a:lnTo>
                      <a:pt x="104" y="14"/>
                    </a:lnTo>
                    <a:lnTo>
                      <a:pt x="104" y="6"/>
                    </a:lnTo>
                    <a:lnTo>
                      <a:pt x="96" y="6"/>
                    </a:lnTo>
                    <a:lnTo>
                      <a:pt x="90" y="6"/>
                    </a:lnTo>
                    <a:lnTo>
                      <a:pt x="84" y="6"/>
                    </a:lnTo>
                    <a:lnTo>
                      <a:pt x="84" y="0"/>
                    </a:lnTo>
                    <a:lnTo>
                      <a:pt x="76" y="0"/>
                    </a:lnTo>
                    <a:lnTo>
                      <a:pt x="68" y="6"/>
                    </a:lnTo>
                    <a:lnTo>
                      <a:pt x="62" y="6"/>
                    </a:lnTo>
                    <a:lnTo>
                      <a:pt x="62" y="6"/>
                    </a:lnTo>
                    <a:lnTo>
                      <a:pt x="62" y="6"/>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6" name="Freeform 30"/>
              <p:cNvSpPr>
                <a:spLocks/>
              </p:cNvSpPr>
              <p:nvPr>
                <p:custDataLst>
                  <p:tags r:id="rId132"/>
                </p:custDataLst>
              </p:nvPr>
            </p:nvSpPr>
            <p:spPr bwMode="gray">
              <a:xfrm>
                <a:off x="4253890" y="4095758"/>
                <a:ext cx="85744" cy="158785"/>
              </a:xfrm>
              <a:custGeom>
                <a:avLst/>
                <a:gdLst>
                  <a:gd name="T0" fmla="*/ 18 w 54"/>
                  <a:gd name="T1" fmla="*/ 92 h 100"/>
                  <a:gd name="T2" fmla="*/ 14 w 54"/>
                  <a:gd name="T3" fmla="*/ 92 h 100"/>
                  <a:gd name="T4" fmla="*/ 10 w 54"/>
                  <a:gd name="T5" fmla="*/ 84 h 100"/>
                  <a:gd name="T6" fmla="*/ 10 w 54"/>
                  <a:gd name="T7" fmla="*/ 78 h 100"/>
                  <a:gd name="T8" fmla="*/ 4 w 54"/>
                  <a:gd name="T9" fmla="*/ 72 h 100"/>
                  <a:gd name="T10" fmla="*/ 0 w 54"/>
                  <a:gd name="T11" fmla="*/ 64 h 100"/>
                  <a:gd name="T12" fmla="*/ 4 w 54"/>
                  <a:gd name="T13" fmla="*/ 60 h 100"/>
                  <a:gd name="T14" fmla="*/ 4 w 54"/>
                  <a:gd name="T15" fmla="*/ 58 h 100"/>
                  <a:gd name="T16" fmla="*/ 4 w 54"/>
                  <a:gd name="T17" fmla="*/ 50 h 100"/>
                  <a:gd name="T18" fmla="*/ 2 w 54"/>
                  <a:gd name="T19" fmla="*/ 44 h 100"/>
                  <a:gd name="T20" fmla="*/ 0 w 54"/>
                  <a:gd name="T21" fmla="*/ 38 h 100"/>
                  <a:gd name="T22" fmla="*/ 2 w 54"/>
                  <a:gd name="T23" fmla="*/ 30 h 100"/>
                  <a:gd name="T24" fmla="*/ 0 w 54"/>
                  <a:gd name="T25" fmla="*/ 24 h 100"/>
                  <a:gd name="T26" fmla="*/ 4 w 54"/>
                  <a:gd name="T27" fmla="*/ 20 h 100"/>
                  <a:gd name="T28" fmla="*/ 10 w 54"/>
                  <a:gd name="T29" fmla="*/ 12 h 100"/>
                  <a:gd name="T30" fmla="*/ 18 w 54"/>
                  <a:gd name="T31" fmla="*/ 10 h 100"/>
                  <a:gd name="T32" fmla="*/ 22 w 54"/>
                  <a:gd name="T33" fmla="*/ 4 h 100"/>
                  <a:gd name="T34" fmla="*/ 26 w 54"/>
                  <a:gd name="T35" fmla="*/ 2 h 100"/>
                  <a:gd name="T36" fmla="*/ 32 w 54"/>
                  <a:gd name="T37" fmla="*/ 2 h 100"/>
                  <a:gd name="T38" fmla="*/ 40 w 54"/>
                  <a:gd name="T39" fmla="*/ 0 h 100"/>
                  <a:gd name="T40" fmla="*/ 46 w 54"/>
                  <a:gd name="T41" fmla="*/ 2 h 100"/>
                  <a:gd name="T42" fmla="*/ 48 w 54"/>
                  <a:gd name="T43" fmla="*/ 0 h 100"/>
                  <a:gd name="T44" fmla="*/ 50 w 54"/>
                  <a:gd name="T45" fmla="*/ 2 h 100"/>
                  <a:gd name="T46" fmla="*/ 54 w 54"/>
                  <a:gd name="T47" fmla="*/ 10 h 100"/>
                  <a:gd name="T48" fmla="*/ 54 w 54"/>
                  <a:gd name="T49" fmla="*/ 16 h 100"/>
                  <a:gd name="T50" fmla="*/ 54 w 54"/>
                  <a:gd name="T51" fmla="*/ 24 h 100"/>
                  <a:gd name="T52" fmla="*/ 54 w 54"/>
                  <a:gd name="T53" fmla="*/ 38 h 100"/>
                  <a:gd name="T54" fmla="*/ 46 w 54"/>
                  <a:gd name="T55" fmla="*/ 44 h 100"/>
                  <a:gd name="T56" fmla="*/ 40 w 54"/>
                  <a:gd name="T57" fmla="*/ 50 h 100"/>
                  <a:gd name="T58" fmla="*/ 40 w 54"/>
                  <a:gd name="T59" fmla="*/ 58 h 100"/>
                  <a:gd name="T60" fmla="*/ 40 w 54"/>
                  <a:gd name="T61" fmla="*/ 64 h 100"/>
                  <a:gd name="T62" fmla="*/ 32 w 54"/>
                  <a:gd name="T63" fmla="*/ 78 h 100"/>
                  <a:gd name="T64" fmla="*/ 32 w 54"/>
                  <a:gd name="T65" fmla="*/ 86 h 100"/>
                  <a:gd name="T66" fmla="*/ 26 w 54"/>
                  <a:gd name="T67" fmla="*/ 92 h 100"/>
                  <a:gd name="T68" fmla="*/ 26 w 54"/>
                  <a:gd name="T69" fmla="*/ 100 h 100"/>
                  <a:gd name="T70" fmla="*/ 18 w 54"/>
                  <a:gd name="T71" fmla="*/ 92 h 100"/>
                  <a:gd name="T72" fmla="*/ 18 w 54"/>
                  <a:gd name="T73" fmla="*/ 92 h 100"/>
                  <a:gd name="T74" fmla="*/ 18 w 54"/>
                  <a:gd name="T75" fmla="*/ 9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100">
                    <a:moveTo>
                      <a:pt x="18" y="92"/>
                    </a:moveTo>
                    <a:lnTo>
                      <a:pt x="14" y="92"/>
                    </a:lnTo>
                    <a:lnTo>
                      <a:pt x="10" y="84"/>
                    </a:lnTo>
                    <a:lnTo>
                      <a:pt x="10" y="78"/>
                    </a:lnTo>
                    <a:lnTo>
                      <a:pt x="4" y="72"/>
                    </a:lnTo>
                    <a:lnTo>
                      <a:pt x="0" y="64"/>
                    </a:lnTo>
                    <a:lnTo>
                      <a:pt x="4" y="60"/>
                    </a:lnTo>
                    <a:lnTo>
                      <a:pt x="4" y="58"/>
                    </a:lnTo>
                    <a:lnTo>
                      <a:pt x="4" y="50"/>
                    </a:lnTo>
                    <a:lnTo>
                      <a:pt x="2" y="44"/>
                    </a:lnTo>
                    <a:lnTo>
                      <a:pt x="0" y="38"/>
                    </a:lnTo>
                    <a:lnTo>
                      <a:pt x="2" y="30"/>
                    </a:lnTo>
                    <a:lnTo>
                      <a:pt x="0" y="24"/>
                    </a:lnTo>
                    <a:lnTo>
                      <a:pt x="4" y="20"/>
                    </a:lnTo>
                    <a:lnTo>
                      <a:pt x="10" y="12"/>
                    </a:lnTo>
                    <a:lnTo>
                      <a:pt x="18" y="10"/>
                    </a:lnTo>
                    <a:lnTo>
                      <a:pt x="22" y="4"/>
                    </a:lnTo>
                    <a:lnTo>
                      <a:pt x="26" y="2"/>
                    </a:lnTo>
                    <a:lnTo>
                      <a:pt x="32" y="2"/>
                    </a:lnTo>
                    <a:lnTo>
                      <a:pt x="40" y="0"/>
                    </a:lnTo>
                    <a:lnTo>
                      <a:pt x="46" y="2"/>
                    </a:lnTo>
                    <a:lnTo>
                      <a:pt x="48" y="0"/>
                    </a:lnTo>
                    <a:lnTo>
                      <a:pt x="50" y="2"/>
                    </a:lnTo>
                    <a:lnTo>
                      <a:pt x="54" y="10"/>
                    </a:lnTo>
                    <a:lnTo>
                      <a:pt x="54" y="16"/>
                    </a:lnTo>
                    <a:lnTo>
                      <a:pt x="54" y="24"/>
                    </a:lnTo>
                    <a:lnTo>
                      <a:pt x="54" y="38"/>
                    </a:lnTo>
                    <a:lnTo>
                      <a:pt x="46" y="44"/>
                    </a:lnTo>
                    <a:lnTo>
                      <a:pt x="40" y="50"/>
                    </a:lnTo>
                    <a:lnTo>
                      <a:pt x="40" y="58"/>
                    </a:lnTo>
                    <a:lnTo>
                      <a:pt x="40" y="64"/>
                    </a:lnTo>
                    <a:lnTo>
                      <a:pt x="32" y="78"/>
                    </a:lnTo>
                    <a:lnTo>
                      <a:pt x="32" y="86"/>
                    </a:lnTo>
                    <a:lnTo>
                      <a:pt x="26" y="92"/>
                    </a:lnTo>
                    <a:lnTo>
                      <a:pt x="26" y="100"/>
                    </a:lnTo>
                    <a:lnTo>
                      <a:pt x="18" y="92"/>
                    </a:lnTo>
                    <a:lnTo>
                      <a:pt x="18" y="92"/>
                    </a:lnTo>
                    <a:lnTo>
                      <a:pt x="18" y="92"/>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7" name="Freeform 31"/>
              <p:cNvSpPr>
                <a:spLocks/>
              </p:cNvSpPr>
              <p:nvPr>
                <p:custDataLst>
                  <p:tags r:id="rId133"/>
                </p:custDataLst>
              </p:nvPr>
            </p:nvSpPr>
            <p:spPr bwMode="gray">
              <a:xfrm>
                <a:off x="4174497" y="4264070"/>
                <a:ext cx="152434" cy="260408"/>
              </a:xfrm>
              <a:custGeom>
                <a:avLst/>
                <a:gdLst>
                  <a:gd name="T0" fmla="*/ 12 w 96"/>
                  <a:gd name="T1" fmla="*/ 28 h 164"/>
                  <a:gd name="T2" fmla="*/ 34 w 96"/>
                  <a:gd name="T3" fmla="*/ 20 h 164"/>
                  <a:gd name="T4" fmla="*/ 48 w 96"/>
                  <a:gd name="T5" fmla="*/ 14 h 164"/>
                  <a:gd name="T6" fmla="*/ 60 w 96"/>
                  <a:gd name="T7" fmla="*/ 14 h 164"/>
                  <a:gd name="T8" fmla="*/ 68 w 96"/>
                  <a:gd name="T9" fmla="*/ 8 h 164"/>
                  <a:gd name="T10" fmla="*/ 74 w 96"/>
                  <a:gd name="T11" fmla="*/ 8 h 164"/>
                  <a:gd name="T12" fmla="*/ 88 w 96"/>
                  <a:gd name="T13" fmla="*/ 20 h 164"/>
                  <a:gd name="T14" fmla="*/ 88 w 96"/>
                  <a:gd name="T15" fmla="*/ 28 h 164"/>
                  <a:gd name="T16" fmla="*/ 96 w 96"/>
                  <a:gd name="T17" fmla="*/ 34 h 164"/>
                  <a:gd name="T18" fmla="*/ 88 w 96"/>
                  <a:gd name="T19" fmla="*/ 56 h 164"/>
                  <a:gd name="T20" fmla="*/ 96 w 96"/>
                  <a:gd name="T21" fmla="*/ 62 h 164"/>
                  <a:gd name="T22" fmla="*/ 82 w 96"/>
                  <a:gd name="T23" fmla="*/ 68 h 164"/>
                  <a:gd name="T24" fmla="*/ 82 w 96"/>
                  <a:gd name="T25" fmla="*/ 82 h 164"/>
                  <a:gd name="T26" fmla="*/ 82 w 96"/>
                  <a:gd name="T27" fmla="*/ 96 h 164"/>
                  <a:gd name="T28" fmla="*/ 74 w 96"/>
                  <a:gd name="T29" fmla="*/ 116 h 164"/>
                  <a:gd name="T30" fmla="*/ 74 w 96"/>
                  <a:gd name="T31" fmla="*/ 144 h 164"/>
                  <a:gd name="T32" fmla="*/ 68 w 96"/>
                  <a:gd name="T33" fmla="*/ 158 h 164"/>
                  <a:gd name="T34" fmla="*/ 54 w 96"/>
                  <a:gd name="T35" fmla="*/ 152 h 164"/>
                  <a:gd name="T36" fmla="*/ 34 w 96"/>
                  <a:gd name="T37" fmla="*/ 152 h 164"/>
                  <a:gd name="T38" fmla="*/ 34 w 96"/>
                  <a:gd name="T39" fmla="*/ 164 h 164"/>
                  <a:gd name="T40" fmla="*/ 20 w 96"/>
                  <a:gd name="T41" fmla="*/ 164 h 164"/>
                  <a:gd name="T42" fmla="*/ 6 w 96"/>
                  <a:gd name="T43" fmla="*/ 152 h 164"/>
                  <a:gd name="T44" fmla="*/ 0 w 96"/>
                  <a:gd name="T45" fmla="*/ 138 h 164"/>
                  <a:gd name="T46" fmla="*/ 0 w 96"/>
                  <a:gd name="T47" fmla="*/ 116 h 164"/>
                  <a:gd name="T48" fmla="*/ 12 w 96"/>
                  <a:gd name="T49" fmla="*/ 110 h 164"/>
                  <a:gd name="T50" fmla="*/ 12 w 96"/>
                  <a:gd name="T51" fmla="*/ 96 h 164"/>
                  <a:gd name="T52" fmla="*/ 26 w 96"/>
                  <a:gd name="T53" fmla="*/ 82 h 164"/>
                  <a:gd name="T54" fmla="*/ 6 w 96"/>
                  <a:gd name="T55" fmla="*/ 82 h 164"/>
                  <a:gd name="T56" fmla="*/ 6 w 96"/>
                  <a:gd name="T57" fmla="*/ 62 h 164"/>
                  <a:gd name="T58" fmla="*/ 0 w 96"/>
                  <a:gd name="T59" fmla="*/ 42 h 164"/>
                  <a:gd name="T60" fmla="*/ 6 w 96"/>
                  <a:gd name="T61" fmla="*/ 28 h 164"/>
                  <a:gd name="T62" fmla="*/ 6 w 96"/>
                  <a:gd name="T63" fmla="*/ 2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 h="164">
                    <a:moveTo>
                      <a:pt x="6" y="20"/>
                    </a:moveTo>
                    <a:lnTo>
                      <a:pt x="12" y="28"/>
                    </a:lnTo>
                    <a:lnTo>
                      <a:pt x="20" y="20"/>
                    </a:lnTo>
                    <a:lnTo>
                      <a:pt x="34" y="20"/>
                    </a:lnTo>
                    <a:lnTo>
                      <a:pt x="40" y="20"/>
                    </a:lnTo>
                    <a:lnTo>
                      <a:pt x="48" y="14"/>
                    </a:lnTo>
                    <a:lnTo>
                      <a:pt x="54" y="14"/>
                    </a:lnTo>
                    <a:lnTo>
                      <a:pt x="60" y="14"/>
                    </a:lnTo>
                    <a:lnTo>
                      <a:pt x="60" y="8"/>
                    </a:lnTo>
                    <a:lnTo>
                      <a:pt x="68" y="8"/>
                    </a:lnTo>
                    <a:lnTo>
                      <a:pt x="74" y="0"/>
                    </a:lnTo>
                    <a:lnTo>
                      <a:pt x="74" y="8"/>
                    </a:lnTo>
                    <a:lnTo>
                      <a:pt x="82" y="14"/>
                    </a:lnTo>
                    <a:lnTo>
                      <a:pt x="88" y="20"/>
                    </a:lnTo>
                    <a:lnTo>
                      <a:pt x="82" y="20"/>
                    </a:lnTo>
                    <a:lnTo>
                      <a:pt x="88" y="28"/>
                    </a:lnTo>
                    <a:lnTo>
                      <a:pt x="88" y="34"/>
                    </a:lnTo>
                    <a:lnTo>
                      <a:pt x="96" y="34"/>
                    </a:lnTo>
                    <a:lnTo>
                      <a:pt x="96" y="42"/>
                    </a:lnTo>
                    <a:lnTo>
                      <a:pt x="88" y="56"/>
                    </a:lnTo>
                    <a:lnTo>
                      <a:pt x="96" y="56"/>
                    </a:lnTo>
                    <a:lnTo>
                      <a:pt x="96" y="62"/>
                    </a:lnTo>
                    <a:lnTo>
                      <a:pt x="88" y="68"/>
                    </a:lnTo>
                    <a:lnTo>
                      <a:pt x="82" y="68"/>
                    </a:lnTo>
                    <a:lnTo>
                      <a:pt x="82" y="76"/>
                    </a:lnTo>
                    <a:lnTo>
                      <a:pt x="82" y="82"/>
                    </a:lnTo>
                    <a:lnTo>
                      <a:pt x="82" y="88"/>
                    </a:lnTo>
                    <a:lnTo>
                      <a:pt x="82" y="96"/>
                    </a:lnTo>
                    <a:lnTo>
                      <a:pt x="82" y="104"/>
                    </a:lnTo>
                    <a:lnTo>
                      <a:pt x="74" y="116"/>
                    </a:lnTo>
                    <a:lnTo>
                      <a:pt x="74" y="130"/>
                    </a:lnTo>
                    <a:lnTo>
                      <a:pt x="74" y="144"/>
                    </a:lnTo>
                    <a:lnTo>
                      <a:pt x="74" y="152"/>
                    </a:lnTo>
                    <a:lnTo>
                      <a:pt x="68" y="158"/>
                    </a:lnTo>
                    <a:lnTo>
                      <a:pt x="60" y="152"/>
                    </a:lnTo>
                    <a:lnTo>
                      <a:pt x="54" y="152"/>
                    </a:lnTo>
                    <a:lnTo>
                      <a:pt x="40" y="144"/>
                    </a:lnTo>
                    <a:lnTo>
                      <a:pt x="34" y="152"/>
                    </a:lnTo>
                    <a:lnTo>
                      <a:pt x="34" y="158"/>
                    </a:lnTo>
                    <a:lnTo>
                      <a:pt x="34" y="164"/>
                    </a:lnTo>
                    <a:lnTo>
                      <a:pt x="26" y="164"/>
                    </a:lnTo>
                    <a:lnTo>
                      <a:pt x="20" y="164"/>
                    </a:lnTo>
                    <a:lnTo>
                      <a:pt x="6" y="158"/>
                    </a:lnTo>
                    <a:lnTo>
                      <a:pt x="6" y="152"/>
                    </a:lnTo>
                    <a:lnTo>
                      <a:pt x="6" y="144"/>
                    </a:lnTo>
                    <a:lnTo>
                      <a:pt x="0" y="138"/>
                    </a:lnTo>
                    <a:lnTo>
                      <a:pt x="6" y="124"/>
                    </a:lnTo>
                    <a:lnTo>
                      <a:pt x="0" y="116"/>
                    </a:lnTo>
                    <a:lnTo>
                      <a:pt x="6" y="116"/>
                    </a:lnTo>
                    <a:lnTo>
                      <a:pt x="12" y="110"/>
                    </a:lnTo>
                    <a:lnTo>
                      <a:pt x="12" y="104"/>
                    </a:lnTo>
                    <a:lnTo>
                      <a:pt x="12" y="96"/>
                    </a:lnTo>
                    <a:lnTo>
                      <a:pt x="20" y="88"/>
                    </a:lnTo>
                    <a:lnTo>
                      <a:pt x="26" y="82"/>
                    </a:lnTo>
                    <a:lnTo>
                      <a:pt x="12" y="82"/>
                    </a:lnTo>
                    <a:lnTo>
                      <a:pt x="6" y="82"/>
                    </a:lnTo>
                    <a:lnTo>
                      <a:pt x="6" y="68"/>
                    </a:lnTo>
                    <a:lnTo>
                      <a:pt x="6" y="62"/>
                    </a:lnTo>
                    <a:lnTo>
                      <a:pt x="0" y="48"/>
                    </a:lnTo>
                    <a:lnTo>
                      <a:pt x="0" y="42"/>
                    </a:lnTo>
                    <a:lnTo>
                      <a:pt x="0" y="34"/>
                    </a:lnTo>
                    <a:lnTo>
                      <a:pt x="6" y="28"/>
                    </a:lnTo>
                    <a:lnTo>
                      <a:pt x="6" y="20"/>
                    </a:lnTo>
                    <a:lnTo>
                      <a:pt x="6" y="20"/>
                    </a:lnTo>
                    <a:lnTo>
                      <a:pt x="6" y="20"/>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8" name="Freeform 32"/>
              <p:cNvSpPr>
                <a:spLocks/>
              </p:cNvSpPr>
              <p:nvPr>
                <p:custDataLst>
                  <p:tags r:id="rId134"/>
                </p:custDataLst>
              </p:nvPr>
            </p:nvSpPr>
            <p:spPr bwMode="gray">
              <a:xfrm>
                <a:off x="4546055" y="4648330"/>
                <a:ext cx="308043" cy="196894"/>
              </a:xfrm>
              <a:custGeom>
                <a:avLst/>
                <a:gdLst>
                  <a:gd name="T0" fmla="*/ 194 w 194"/>
                  <a:gd name="T1" fmla="*/ 6 h 124"/>
                  <a:gd name="T2" fmla="*/ 194 w 194"/>
                  <a:gd name="T3" fmla="*/ 14 h 124"/>
                  <a:gd name="T4" fmla="*/ 194 w 194"/>
                  <a:gd name="T5" fmla="*/ 20 h 124"/>
                  <a:gd name="T6" fmla="*/ 188 w 194"/>
                  <a:gd name="T7" fmla="*/ 34 h 124"/>
                  <a:gd name="T8" fmla="*/ 182 w 194"/>
                  <a:gd name="T9" fmla="*/ 34 h 124"/>
                  <a:gd name="T10" fmla="*/ 174 w 194"/>
                  <a:gd name="T11" fmla="*/ 40 h 124"/>
                  <a:gd name="T12" fmla="*/ 174 w 194"/>
                  <a:gd name="T13" fmla="*/ 48 h 124"/>
                  <a:gd name="T14" fmla="*/ 174 w 194"/>
                  <a:gd name="T15" fmla="*/ 54 h 124"/>
                  <a:gd name="T16" fmla="*/ 174 w 194"/>
                  <a:gd name="T17" fmla="*/ 62 h 124"/>
                  <a:gd name="T18" fmla="*/ 168 w 194"/>
                  <a:gd name="T19" fmla="*/ 68 h 124"/>
                  <a:gd name="T20" fmla="*/ 168 w 194"/>
                  <a:gd name="T21" fmla="*/ 74 h 124"/>
                  <a:gd name="T22" fmla="*/ 168 w 194"/>
                  <a:gd name="T23" fmla="*/ 82 h 124"/>
                  <a:gd name="T24" fmla="*/ 174 w 194"/>
                  <a:gd name="T25" fmla="*/ 82 h 124"/>
                  <a:gd name="T26" fmla="*/ 168 w 194"/>
                  <a:gd name="T27" fmla="*/ 90 h 124"/>
                  <a:gd name="T28" fmla="*/ 174 w 194"/>
                  <a:gd name="T29" fmla="*/ 90 h 124"/>
                  <a:gd name="T30" fmla="*/ 174 w 194"/>
                  <a:gd name="T31" fmla="*/ 104 h 124"/>
                  <a:gd name="T32" fmla="*/ 160 w 194"/>
                  <a:gd name="T33" fmla="*/ 110 h 124"/>
                  <a:gd name="T34" fmla="*/ 160 w 194"/>
                  <a:gd name="T35" fmla="*/ 124 h 124"/>
                  <a:gd name="T36" fmla="*/ 146 w 194"/>
                  <a:gd name="T37" fmla="*/ 116 h 124"/>
                  <a:gd name="T38" fmla="*/ 138 w 194"/>
                  <a:gd name="T39" fmla="*/ 124 h 124"/>
                  <a:gd name="T40" fmla="*/ 126 w 194"/>
                  <a:gd name="T41" fmla="*/ 116 h 124"/>
                  <a:gd name="T42" fmla="*/ 118 w 194"/>
                  <a:gd name="T43" fmla="*/ 104 h 124"/>
                  <a:gd name="T44" fmla="*/ 118 w 194"/>
                  <a:gd name="T45" fmla="*/ 96 h 124"/>
                  <a:gd name="T46" fmla="*/ 104 w 194"/>
                  <a:gd name="T47" fmla="*/ 90 h 124"/>
                  <a:gd name="T48" fmla="*/ 90 w 194"/>
                  <a:gd name="T49" fmla="*/ 90 h 124"/>
                  <a:gd name="T50" fmla="*/ 84 w 194"/>
                  <a:gd name="T51" fmla="*/ 82 h 124"/>
                  <a:gd name="T52" fmla="*/ 70 w 194"/>
                  <a:gd name="T53" fmla="*/ 82 h 124"/>
                  <a:gd name="T54" fmla="*/ 64 w 194"/>
                  <a:gd name="T55" fmla="*/ 68 h 124"/>
                  <a:gd name="T56" fmla="*/ 56 w 194"/>
                  <a:gd name="T57" fmla="*/ 62 h 124"/>
                  <a:gd name="T58" fmla="*/ 36 w 194"/>
                  <a:gd name="T59" fmla="*/ 54 h 124"/>
                  <a:gd name="T60" fmla="*/ 28 w 194"/>
                  <a:gd name="T61" fmla="*/ 48 h 124"/>
                  <a:gd name="T62" fmla="*/ 22 w 194"/>
                  <a:gd name="T63" fmla="*/ 48 h 124"/>
                  <a:gd name="T64" fmla="*/ 8 w 194"/>
                  <a:gd name="T65" fmla="*/ 40 h 124"/>
                  <a:gd name="T66" fmla="*/ 0 w 194"/>
                  <a:gd name="T67" fmla="*/ 34 h 124"/>
                  <a:gd name="T68" fmla="*/ 0 w 194"/>
                  <a:gd name="T69" fmla="*/ 28 h 124"/>
                  <a:gd name="T70" fmla="*/ 8 w 194"/>
                  <a:gd name="T71" fmla="*/ 20 h 124"/>
                  <a:gd name="T72" fmla="*/ 8 w 194"/>
                  <a:gd name="T73" fmla="*/ 6 h 124"/>
                  <a:gd name="T74" fmla="*/ 14 w 194"/>
                  <a:gd name="T75" fmla="*/ 6 h 124"/>
                  <a:gd name="T76" fmla="*/ 22 w 194"/>
                  <a:gd name="T77" fmla="*/ 0 h 124"/>
                  <a:gd name="T78" fmla="*/ 28 w 194"/>
                  <a:gd name="T79" fmla="*/ 6 h 124"/>
                  <a:gd name="T80" fmla="*/ 28 w 194"/>
                  <a:gd name="T81" fmla="*/ 14 h 124"/>
                  <a:gd name="T82" fmla="*/ 42 w 194"/>
                  <a:gd name="T83" fmla="*/ 6 h 124"/>
                  <a:gd name="T84" fmla="*/ 56 w 194"/>
                  <a:gd name="T85" fmla="*/ 6 h 124"/>
                  <a:gd name="T86" fmla="*/ 64 w 194"/>
                  <a:gd name="T87" fmla="*/ 14 h 124"/>
                  <a:gd name="T88" fmla="*/ 76 w 194"/>
                  <a:gd name="T89" fmla="*/ 20 h 124"/>
                  <a:gd name="T90" fmla="*/ 90 w 194"/>
                  <a:gd name="T91" fmla="*/ 28 h 124"/>
                  <a:gd name="T92" fmla="*/ 104 w 194"/>
                  <a:gd name="T93" fmla="*/ 28 h 124"/>
                  <a:gd name="T94" fmla="*/ 118 w 194"/>
                  <a:gd name="T95" fmla="*/ 20 h 124"/>
                  <a:gd name="T96" fmla="*/ 126 w 194"/>
                  <a:gd name="T97" fmla="*/ 20 h 124"/>
                  <a:gd name="T98" fmla="*/ 132 w 194"/>
                  <a:gd name="T99" fmla="*/ 20 h 124"/>
                  <a:gd name="T100" fmla="*/ 138 w 194"/>
                  <a:gd name="T101" fmla="*/ 20 h 124"/>
                  <a:gd name="T102" fmla="*/ 146 w 194"/>
                  <a:gd name="T103" fmla="*/ 14 h 124"/>
                  <a:gd name="T104" fmla="*/ 152 w 194"/>
                  <a:gd name="T105" fmla="*/ 14 h 124"/>
                  <a:gd name="T106" fmla="*/ 160 w 194"/>
                  <a:gd name="T107" fmla="*/ 20 h 124"/>
                  <a:gd name="T108" fmla="*/ 168 w 194"/>
                  <a:gd name="T109" fmla="*/ 14 h 124"/>
                  <a:gd name="T110" fmla="*/ 182 w 194"/>
                  <a:gd name="T111" fmla="*/ 14 h 124"/>
                  <a:gd name="T112" fmla="*/ 194 w 194"/>
                  <a:gd name="T113" fmla="*/ 6 h 124"/>
                  <a:gd name="T114" fmla="*/ 194 w 194"/>
                  <a:gd name="T115" fmla="*/ 6 h 124"/>
                  <a:gd name="T116" fmla="*/ 194 w 194"/>
                  <a:gd name="T117" fmla="*/ 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4" h="124">
                    <a:moveTo>
                      <a:pt x="194" y="6"/>
                    </a:moveTo>
                    <a:lnTo>
                      <a:pt x="194" y="14"/>
                    </a:lnTo>
                    <a:lnTo>
                      <a:pt x="194" y="20"/>
                    </a:lnTo>
                    <a:lnTo>
                      <a:pt x="188" y="34"/>
                    </a:lnTo>
                    <a:lnTo>
                      <a:pt x="182" y="34"/>
                    </a:lnTo>
                    <a:lnTo>
                      <a:pt x="174" y="40"/>
                    </a:lnTo>
                    <a:lnTo>
                      <a:pt x="174" y="48"/>
                    </a:lnTo>
                    <a:lnTo>
                      <a:pt x="174" y="54"/>
                    </a:lnTo>
                    <a:lnTo>
                      <a:pt x="174" y="62"/>
                    </a:lnTo>
                    <a:lnTo>
                      <a:pt x="168" y="68"/>
                    </a:lnTo>
                    <a:lnTo>
                      <a:pt x="168" y="74"/>
                    </a:lnTo>
                    <a:lnTo>
                      <a:pt x="168" y="82"/>
                    </a:lnTo>
                    <a:lnTo>
                      <a:pt x="174" y="82"/>
                    </a:lnTo>
                    <a:lnTo>
                      <a:pt x="168" y="90"/>
                    </a:lnTo>
                    <a:lnTo>
                      <a:pt x="174" y="90"/>
                    </a:lnTo>
                    <a:lnTo>
                      <a:pt x="174" y="104"/>
                    </a:lnTo>
                    <a:lnTo>
                      <a:pt x="160" y="110"/>
                    </a:lnTo>
                    <a:lnTo>
                      <a:pt x="160" y="124"/>
                    </a:lnTo>
                    <a:lnTo>
                      <a:pt x="146" y="116"/>
                    </a:lnTo>
                    <a:lnTo>
                      <a:pt x="138" y="124"/>
                    </a:lnTo>
                    <a:lnTo>
                      <a:pt x="126" y="116"/>
                    </a:lnTo>
                    <a:lnTo>
                      <a:pt x="118" y="104"/>
                    </a:lnTo>
                    <a:lnTo>
                      <a:pt x="118" y="96"/>
                    </a:lnTo>
                    <a:lnTo>
                      <a:pt x="104" y="90"/>
                    </a:lnTo>
                    <a:lnTo>
                      <a:pt x="90" y="90"/>
                    </a:lnTo>
                    <a:lnTo>
                      <a:pt x="84" y="82"/>
                    </a:lnTo>
                    <a:lnTo>
                      <a:pt x="70" y="82"/>
                    </a:lnTo>
                    <a:lnTo>
                      <a:pt x="64" y="68"/>
                    </a:lnTo>
                    <a:lnTo>
                      <a:pt x="56" y="62"/>
                    </a:lnTo>
                    <a:lnTo>
                      <a:pt x="36" y="54"/>
                    </a:lnTo>
                    <a:lnTo>
                      <a:pt x="28" y="48"/>
                    </a:lnTo>
                    <a:lnTo>
                      <a:pt x="22" y="48"/>
                    </a:lnTo>
                    <a:lnTo>
                      <a:pt x="8" y="40"/>
                    </a:lnTo>
                    <a:lnTo>
                      <a:pt x="0" y="34"/>
                    </a:lnTo>
                    <a:lnTo>
                      <a:pt x="0" y="28"/>
                    </a:lnTo>
                    <a:lnTo>
                      <a:pt x="8" y="20"/>
                    </a:lnTo>
                    <a:lnTo>
                      <a:pt x="8" y="6"/>
                    </a:lnTo>
                    <a:lnTo>
                      <a:pt x="14" y="6"/>
                    </a:lnTo>
                    <a:lnTo>
                      <a:pt x="22" y="0"/>
                    </a:lnTo>
                    <a:lnTo>
                      <a:pt x="28" y="6"/>
                    </a:lnTo>
                    <a:lnTo>
                      <a:pt x="28" y="14"/>
                    </a:lnTo>
                    <a:lnTo>
                      <a:pt x="42" y="6"/>
                    </a:lnTo>
                    <a:lnTo>
                      <a:pt x="56" y="6"/>
                    </a:lnTo>
                    <a:lnTo>
                      <a:pt x="64" y="14"/>
                    </a:lnTo>
                    <a:lnTo>
                      <a:pt x="76" y="20"/>
                    </a:lnTo>
                    <a:lnTo>
                      <a:pt x="90" y="28"/>
                    </a:lnTo>
                    <a:lnTo>
                      <a:pt x="104" y="28"/>
                    </a:lnTo>
                    <a:lnTo>
                      <a:pt x="118" y="20"/>
                    </a:lnTo>
                    <a:lnTo>
                      <a:pt x="126" y="20"/>
                    </a:lnTo>
                    <a:lnTo>
                      <a:pt x="132" y="20"/>
                    </a:lnTo>
                    <a:lnTo>
                      <a:pt x="138" y="20"/>
                    </a:lnTo>
                    <a:lnTo>
                      <a:pt x="146" y="14"/>
                    </a:lnTo>
                    <a:lnTo>
                      <a:pt x="152" y="14"/>
                    </a:lnTo>
                    <a:lnTo>
                      <a:pt x="160" y="20"/>
                    </a:lnTo>
                    <a:lnTo>
                      <a:pt x="168" y="14"/>
                    </a:lnTo>
                    <a:lnTo>
                      <a:pt x="182" y="14"/>
                    </a:lnTo>
                    <a:lnTo>
                      <a:pt x="194" y="6"/>
                    </a:lnTo>
                    <a:lnTo>
                      <a:pt x="194" y="6"/>
                    </a:lnTo>
                    <a:lnTo>
                      <a:pt x="194" y="6"/>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89" name="Freeform 33"/>
              <p:cNvSpPr>
                <a:spLocks/>
              </p:cNvSpPr>
              <p:nvPr/>
            </p:nvSpPr>
            <p:spPr bwMode="gray">
              <a:xfrm>
                <a:off x="3521889" y="2625406"/>
                <a:ext cx="31757" cy="19054"/>
              </a:xfrm>
              <a:custGeom>
                <a:avLst/>
                <a:gdLst>
                  <a:gd name="T0" fmla="*/ 14 w 20"/>
                  <a:gd name="T1" fmla="*/ 12 h 12"/>
                  <a:gd name="T2" fmla="*/ 8 w 20"/>
                  <a:gd name="T3" fmla="*/ 12 h 12"/>
                  <a:gd name="T4" fmla="*/ 0 w 20"/>
                  <a:gd name="T5" fmla="*/ 12 h 12"/>
                  <a:gd name="T6" fmla="*/ 0 w 20"/>
                  <a:gd name="T7" fmla="*/ 0 h 12"/>
                  <a:gd name="T8" fmla="*/ 8 w 20"/>
                  <a:gd name="T9" fmla="*/ 0 h 12"/>
                  <a:gd name="T10" fmla="*/ 14 w 20"/>
                  <a:gd name="T11" fmla="*/ 0 h 12"/>
                  <a:gd name="T12" fmla="*/ 20 w 20"/>
                  <a:gd name="T13" fmla="*/ 6 h 12"/>
                  <a:gd name="T14" fmla="*/ 14 w 20"/>
                  <a:gd name="T15" fmla="*/ 12 h 12"/>
                  <a:gd name="T16" fmla="*/ 14 w 20"/>
                  <a:gd name="T17" fmla="*/ 12 h 12"/>
                  <a:gd name="T18" fmla="*/ 14 w 20"/>
                  <a:gd name="T1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2">
                    <a:moveTo>
                      <a:pt x="14" y="12"/>
                    </a:moveTo>
                    <a:lnTo>
                      <a:pt x="8" y="12"/>
                    </a:lnTo>
                    <a:lnTo>
                      <a:pt x="0" y="12"/>
                    </a:lnTo>
                    <a:lnTo>
                      <a:pt x="0" y="0"/>
                    </a:lnTo>
                    <a:lnTo>
                      <a:pt x="8" y="0"/>
                    </a:lnTo>
                    <a:lnTo>
                      <a:pt x="14" y="0"/>
                    </a:lnTo>
                    <a:lnTo>
                      <a:pt x="20" y="6"/>
                    </a:lnTo>
                    <a:lnTo>
                      <a:pt x="14" y="12"/>
                    </a:lnTo>
                    <a:lnTo>
                      <a:pt x="14" y="12"/>
                    </a:lnTo>
                    <a:lnTo>
                      <a:pt x="14" y="12"/>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0" name="Freeform 34"/>
              <p:cNvSpPr>
                <a:spLocks/>
              </p:cNvSpPr>
              <p:nvPr/>
            </p:nvSpPr>
            <p:spPr bwMode="gray">
              <a:xfrm>
                <a:off x="3636215" y="2996963"/>
                <a:ext cx="34933" cy="9527"/>
              </a:xfrm>
              <a:custGeom>
                <a:avLst/>
                <a:gdLst>
                  <a:gd name="T0" fmla="*/ 14 w 22"/>
                  <a:gd name="T1" fmla="*/ 0 h 6"/>
                  <a:gd name="T2" fmla="*/ 0 w 22"/>
                  <a:gd name="T3" fmla="*/ 0 h 6"/>
                  <a:gd name="T4" fmla="*/ 8 w 22"/>
                  <a:gd name="T5" fmla="*/ 6 h 6"/>
                  <a:gd name="T6" fmla="*/ 14 w 22"/>
                  <a:gd name="T7" fmla="*/ 6 h 6"/>
                  <a:gd name="T8" fmla="*/ 22 w 22"/>
                  <a:gd name="T9" fmla="*/ 6 h 6"/>
                  <a:gd name="T10" fmla="*/ 22 w 22"/>
                  <a:gd name="T11" fmla="*/ 0 h 6"/>
                  <a:gd name="T12" fmla="*/ 14 w 22"/>
                  <a:gd name="T13" fmla="*/ 0 h 6"/>
                  <a:gd name="T14" fmla="*/ 14 w 22"/>
                  <a:gd name="T15" fmla="*/ 0 h 6"/>
                  <a:gd name="T16" fmla="*/ 14 w 22"/>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6">
                    <a:moveTo>
                      <a:pt x="14" y="0"/>
                    </a:moveTo>
                    <a:lnTo>
                      <a:pt x="0" y="0"/>
                    </a:lnTo>
                    <a:lnTo>
                      <a:pt x="8" y="6"/>
                    </a:lnTo>
                    <a:lnTo>
                      <a:pt x="14" y="6"/>
                    </a:lnTo>
                    <a:lnTo>
                      <a:pt x="22" y="6"/>
                    </a:lnTo>
                    <a:lnTo>
                      <a:pt x="22" y="0"/>
                    </a:lnTo>
                    <a:lnTo>
                      <a:pt x="14" y="0"/>
                    </a:lnTo>
                    <a:lnTo>
                      <a:pt x="14" y="0"/>
                    </a:lnTo>
                    <a:lnTo>
                      <a:pt x="14" y="0"/>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1" name="Freeform 35"/>
              <p:cNvSpPr>
                <a:spLocks/>
              </p:cNvSpPr>
              <p:nvPr/>
            </p:nvSpPr>
            <p:spPr bwMode="gray">
              <a:xfrm>
                <a:off x="3842635" y="1999792"/>
                <a:ext cx="19054" cy="34933"/>
              </a:xfrm>
              <a:custGeom>
                <a:avLst/>
                <a:gdLst>
                  <a:gd name="T0" fmla="*/ 12 w 12"/>
                  <a:gd name="T1" fmla="*/ 22 h 22"/>
                  <a:gd name="T2" fmla="*/ 6 w 12"/>
                  <a:gd name="T3" fmla="*/ 14 h 22"/>
                  <a:gd name="T4" fmla="*/ 0 w 12"/>
                  <a:gd name="T5" fmla="*/ 8 h 22"/>
                  <a:gd name="T6" fmla="*/ 6 w 12"/>
                  <a:gd name="T7" fmla="*/ 8 h 22"/>
                  <a:gd name="T8" fmla="*/ 12 w 12"/>
                  <a:gd name="T9" fmla="*/ 0 h 22"/>
                  <a:gd name="T10" fmla="*/ 12 w 12"/>
                  <a:gd name="T11" fmla="*/ 8 h 22"/>
                  <a:gd name="T12" fmla="*/ 12 w 12"/>
                  <a:gd name="T13" fmla="*/ 14 h 22"/>
                  <a:gd name="T14" fmla="*/ 12 w 12"/>
                  <a:gd name="T15" fmla="*/ 22 h 22"/>
                  <a:gd name="T16" fmla="*/ 12 w 12"/>
                  <a:gd name="T17" fmla="*/ 22 h 22"/>
                  <a:gd name="T18" fmla="*/ 12 w 12"/>
                  <a:gd name="T1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22">
                    <a:moveTo>
                      <a:pt x="12" y="22"/>
                    </a:moveTo>
                    <a:lnTo>
                      <a:pt x="6" y="14"/>
                    </a:lnTo>
                    <a:lnTo>
                      <a:pt x="0" y="8"/>
                    </a:lnTo>
                    <a:lnTo>
                      <a:pt x="6" y="8"/>
                    </a:lnTo>
                    <a:lnTo>
                      <a:pt x="12" y="0"/>
                    </a:lnTo>
                    <a:lnTo>
                      <a:pt x="12" y="8"/>
                    </a:lnTo>
                    <a:lnTo>
                      <a:pt x="12" y="14"/>
                    </a:lnTo>
                    <a:lnTo>
                      <a:pt x="12" y="22"/>
                    </a:lnTo>
                    <a:lnTo>
                      <a:pt x="12" y="22"/>
                    </a:lnTo>
                    <a:lnTo>
                      <a:pt x="12" y="22"/>
                    </a:lnTo>
                    <a:close/>
                  </a:path>
                </a:pathLst>
              </a:custGeom>
              <a:solidFill>
                <a:schemeClr val="accent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2" name="Freeform 36"/>
              <p:cNvSpPr>
                <a:spLocks/>
              </p:cNvSpPr>
              <p:nvPr/>
            </p:nvSpPr>
            <p:spPr bwMode="gray">
              <a:xfrm>
                <a:off x="3996657" y="1869589"/>
                <a:ext cx="34933" cy="85744"/>
              </a:xfrm>
              <a:custGeom>
                <a:avLst/>
                <a:gdLst>
                  <a:gd name="T0" fmla="*/ 0 w 22"/>
                  <a:gd name="T1" fmla="*/ 54 h 54"/>
                  <a:gd name="T2" fmla="*/ 8 w 22"/>
                  <a:gd name="T3" fmla="*/ 48 h 54"/>
                  <a:gd name="T4" fmla="*/ 8 w 22"/>
                  <a:gd name="T5" fmla="*/ 42 h 54"/>
                  <a:gd name="T6" fmla="*/ 0 w 22"/>
                  <a:gd name="T7" fmla="*/ 34 h 54"/>
                  <a:gd name="T8" fmla="*/ 0 w 22"/>
                  <a:gd name="T9" fmla="*/ 28 h 54"/>
                  <a:gd name="T10" fmla="*/ 14 w 22"/>
                  <a:gd name="T11" fmla="*/ 28 h 54"/>
                  <a:gd name="T12" fmla="*/ 14 w 22"/>
                  <a:gd name="T13" fmla="*/ 20 h 54"/>
                  <a:gd name="T14" fmla="*/ 22 w 22"/>
                  <a:gd name="T15" fmla="*/ 0 h 54"/>
                  <a:gd name="T16" fmla="*/ 22 w 22"/>
                  <a:gd name="T17" fmla="*/ 14 h 54"/>
                  <a:gd name="T18" fmla="*/ 22 w 22"/>
                  <a:gd name="T19" fmla="*/ 20 h 54"/>
                  <a:gd name="T20" fmla="*/ 22 w 22"/>
                  <a:gd name="T21" fmla="*/ 28 h 54"/>
                  <a:gd name="T22" fmla="*/ 22 w 22"/>
                  <a:gd name="T23" fmla="*/ 34 h 54"/>
                  <a:gd name="T24" fmla="*/ 14 w 22"/>
                  <a:gd name="T25" fmla="*/ 42 h 54"/>
                  <a:gd name="T26" fmla="*/ 14 w 22"/>
                  <a:gd name="T27" fmla="*/ 48 h 54"/>
                  <a:gd name="T28" fmla="*/ 0 w 22"/>
                  <a:gd name="T29" fmla="*/ 54 h 54"/>
                  <a:gd name="T30" fmla="*/ 0 w 22"/>
                  <a:gd name="T31" fmla="*/ 54 h 54"/>
                  <a:gd name="T32" fmla="*/ 0 w 22"/>
                  <a:gd name="T3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54">
                    <a:moveTo>
                      <a:pt x="0" y="54"/>
                    </a:moveTo>
                    <a:lnTo>
                      <a:pt x="8" y="48"/>
                    </a:lnTo>
                    <a:lnTo>
                      <a:pt x="8" y="42"/>
                    </a:lnTo>
                    <a:lnTo>
                      <a:pt x="0" y="34"/>
                    </a:lnTo>
                    <a:lnTo>
                      <a:pt x="0" y="28"/>
                    </a:lnTo>
                    <a:lnTo>
                      <a:pt x="14" y="28"/>
                    </a:lnTo>
                    <a:lnTo>
                      <a:pt x="14" y="20"/>
                    </a:lnTo>
                    <a:lnTo>
                      <a:pt x="22" y="0"/>
                    </a:lnTo>
                    <a:lnTo>
                      <a:pt x="22" y="14"/>
                    </a:lnTo>
                    <a:lnTo>
                      <a:pt x="22" y="20"/>
                    </a:lnTo>
                    <a:lnTo>
                      <a:pt x="22" y="28"/>
                    </a:lnTo>
                    <a:lnTo>
                      <a:pt x="22" y="34"/>
                    </a:lnTo>
                    <a:lnTo>
                      <a:pt x="14" y="42"/>
                    </a:lnTo>
                    <a:lnTo>
                      <a:pt x="14" y="48"/>
                    </a:lnTo>
                    <a:lnTo>
                      <a:pt x="0" y="54"/>
                    </a:lnTo>
                    <a:lnTo>
                      <a:pt x="0" y="54"/>
                    </a:lnTo>
                    <a:lnTo>
                      <a:pt x="0" y="54"/>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3" name="Freeform 37"/>
              <p:cNvSpPr>
                <a:spLocks/>
              </p:cNvSpPr>
              <p:nvPr/>
            </p:nvSpPr>
            <p:spPr bwMode="gray">
              <a:xfrm>
                <a:off x="3566349" y="2012495"/>
                <a:ext cx="76217" cy="76217"/>
              </a:xfrm>
              <a:custGeom>
                <a:avLst/>
                <a:gdLst>
                  <a:gd name="T0" fmla="*/ 0 w 48"/>
                  <a:gd name="T1" fmla="*/ 48 h 48"/>
                  <a:gd name="T2" fmla="*/ 6 w 48"/>
                  <a:gd name="T3" fmla="*/ 34 h 48"/>
                  <a:gd name="T4" fmla="*/ 14 w 48"/>
                  <a:gd name="T5" fmla="*/ 28 h 48"/>
                  <a:gd name="T6" fmla="*/ 20 w 48"/>
                  <a:gd name="T7" fmla="*/ 34 h 48"/>
                  <a:gd name="T8" fmla="*/ 20 w 48"/>
                  <a:gd name="T9" fmla="*/ 42 h 48"/>
                  <a:gd name="T10" fmla="*/ 28 w 48"/>
                  <a:gd name="T11" fmla="*/ 34 h 48"/>
                  <a:gd name="T12" fmla="*/ 28 w 48"/>
                  <a:gd name="T13" fmla="*/ 28 h 48"/>
                  <a:gd name="T14" fmla="*/ 34 w 48"/>
                  <a:gd name="T15" fmla="*/ 20 h 48"/>
                  <a:gd name="T16" fmla="*/ 42 w 48"/>
                  <a:gd name="T17" fmla="*/ 20 h 48"/>
                  <a:gd name="T18" fmla="*/ 42 w 48"/>
                  <a:gd name="T19" fmla="*/ 14 h 48"/>
                  <a:gd name="T20" fmla="*/ 48 w 48"/>
                  <a:gd name="T21" fmla="*/ 6 h 48"/>
                  <a:gd name="T22" fmla="*/ 48 w 48"/>
                  <a:gd name="T23" fmla="*/ 0 h 48"/>
                  <a:gd name="T24" fmla="*/ 42 w 48"/>
                  <a:gd name="T25" fmla="*/ 6 h 48"/>
                  <a:gd name="T26" fmla="*/ 34 w 48"/>
                  <a:gd name="T27" fmla="*/ 6 h 48"/>
                  <a:gd name="T28" fmla="*/ 20 w 48"/>
                  <a:gd name="T29" fmla="*/ 6 h 48"/>
                  <a:gd name="T30" fmla="*/ 20 w 48"/>
                  <a:gd name="T31" fmla="*/ 20 h 48"/>
                  <a:gd name="T32" fmla="*/ 14 w 48"/>
                  <a:gd name="T33" fmla="*/ 14 h 48"/>
                  <a:gd name="T34" fmla="*/ 14 w 48"/>
                  <a:gd name="T35" fmla="*/ 6 h 48"/>
                  <a:gd name="T36" fmla="*/ 6 w 48"/>
                  <a:gd name="T37" fmla="*/ 14 h 48"/>
                  <a:gd name="T38" fmla="*/ 6 w 48"/>
                  <a:gd name="T39" fmla="*/ 20 h 48"/>
                  <a:gd name="T40" fmla="*/ 0 w 48"/>
                  <a:gd name="T41" fmla="*/ 34 h 48"/>
                  <a:gd name="T42" fmla="*/ 0 w 48"/>
                  <a:gd name="T43" fmla="*/ 42 h 48"/>
                  <a:gd name="T44" fmla="*/ 0 w 48"/>
                  <a:gd name="T45" fmla="*/ 48 h 48"/>
                  <a:gd name="T46" fmla="*/ 0 w 48"/>
                  <a:gd name="T47" fmla="*/ 48 h 48"/>
                  <a:gd name="T48" fmla="*/ 0 w 48"/>
                  <a:gd name="T4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8" h="48">
                    <a:moveTo>
                      <a:pt x="0" y="48"/>
                    </a:moveTo>
                    <a:lnTo>
                      <a:pt x="6" y="34"/>
                    </a:lnTo>
                    <a:lnTo>
                      <a:pt x="14" y="28"/>
                    </a:lnTo>
                    <a:lnTo>
                      <a:pt x="20" y="34"/>
                    </a:lnTo>
                    <a:lnTo>
                      <a:pt x="20" y="42"/>
                    </a:lnTo>
                    <a:lnTo>
                      <a:pt x="28" y="34"/>
                    </a:lnTo>
                    <a:lnTo>
                      <a:pt x="28" y="28"/>
                    </a:lnTo>
                    <a:lnTo>
                      <a:pt x="34" y="20"/>
                    </a:lnTo>
                    <a:lnTo>
                      <a:pt x="42" y="20"/>
                    </a:lnTo>
                    <a:lnTo>
                      <a:pt x="42" y="14"/>
                    </a:lnTo>
                    <a:lnTo>
                      <a:pt x="48" y="6"/>
                    </a:lnTo>
                    <a:lnTo>
                      <a:pt x="48" y="0"/>
                    </a:lnTo>
                    <a:lnTo>
                      <a:pt x="42" y="6"/>
                    </a:lnTo>
                    <a:lnTo>
                      <a:pt x="34" y="6"/>
                    </a:lnTo>
                    <a:lnTo>
                      <a:pt x="20" y="6"/>
                    </a:lnTo>
                    <a:lnTo>
                      <a:pt x="20" y="20"/>
                    </a:lnTo>
                    <a:lnTo>
                      <a:pt x="14" y="14"/>
                    </a:lnTo>
                    <a:lnTo>
                      <a:pt x="14" y="6"/>
                    </a:lnTo>
                    <a:lnTo>
                      <a:pt x="6" y="14"/>
                    </a:lnTo>
                    <a:lnTo>
                      <a:pt x="6" y="20"/>
                    </a:lnTo>
                    <a:lnTo>
                      <a:pt x="0" y="34"/>
                    </a:lnTo>
                    <a:lnTo>
                      <a:pt x="0" y="42"/>
                    </a:lnTo>
                    <a:lnTo>
                      <a:pt x="0" y="48"/>
                    </a:lnTo>
                    <a:lnTo>
                      <a:pt x="0" y="48"/>
                    </a:lnTo>
                    <a:lnTo>
                      <a:pt x="0" y="48"/>
                    </a:lnTo>
                    <a:close/>
                  </a:path>
                </a:pathLst>
              </a:custGeom>
              <a:solidFill>
                <a:schemeClr val="bg1">
                  <a:lumMod val="85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4" name="Freeform 38"/>
              <p:cNvSpPr>
                <a:spLocks/>
              </p:cNvSpPr>
              <p:nvPr/>
            </p:nvSpPr>
            <p:spPr bwMode="gray">
              <a:xfrm>
                <a:off x="3553646" y="2514257"/>
                <a:ext cx="34933" cy="31757"/>
              </a:xfrm>
              <a:custGeom>
                <a:avLst/>
                <a:gdLst>
                  <a:gd name="T0" fmla="*/ 0 w 22"/>
                  <a:gd name="T1" fmla="*/ 14 h 20"/>
                  <a:gd name="T2" fmla="*/ 6 w 22"/>
                  <a:gd name="T3" fmla="*/ 6 h 20"/>
                  <a:gd name="T4" fmla="*/ 14 w 22"/>
                  <a:gd name="T5" fmla="*/ 0 h 20"/>
                  <a:gd name="T6" fmla="*/ 22 w 22"/>
                  <a:gd name="T7" fmla="*/ 6 h 20"/>
                  <a:gd name="T8" fmla="*/ 22 w 22"/>
                  <a:gd name="T9" fmla="*/ 14 h 20"/>
                  <a:gd name="T10" fmla="*/ 6 w 22"/>
                  <a:gd name="T11" fmla="*/ 20 h 20"/>
                  <a:gd name="T12" fmla="*/ 0 w 22"/>
                  <a:gd name="T13" fmla="*/ 14 h 20"/>
                  <a:gd name="T14" fmla="*/ 0 w 22"/>
                  <a:gd name="T15" fmla="*/ 14 h 20"/>
                  <a:gd name="T16" fmla="*/ 0 w 22"/>
                  <a:gd name="T17"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0">
                    <a:moveTo>
                      <a:pt x="0" y="14"/>
                    </a:moveTo>
                    <a:lnTo>
                      <a:pt x="6" y="6"/>
                    </a:lnTo>
                    <a:lnTo>
                      <a:pt x="14" y="0"/>
                    </a:lnTo>
                    <a:lnTo>
                      <a:pt x="22" y="6"/>
                    </a:lnTo>
                    <a:lnTo>
                      <a:pt x="22" y="14"/>
                    </a:lnTo>
                    <a:lnTo>
                      <a:pt x="6" y="20"/>
                    </a:lnTo>
                    <a:lnTo>
                      <a:pt x="0" y="14"/>
                    </a:lnTo>
                    <a:lnTo>
                      <a:pt x="0" y="14"/>
                    </a:lnTo>
                    <a:lnTo>
                      <a:pt x="0" y="14"/>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5" name="Freeform 39"/>
              <p:cNvSpPr>
                <a:spLocks/>
              </p:cNvSpPr>
              <p:nvPr/>
            </p:nvSpPr>
            <p:spPr bwMode="gray">
              <a:xfrm>
                <a:off x="3579052" y="2110942"/>
                <a:ext cx="41284" cy="66690"/>
              </a:xfrm>
              <a:custGeom>
                <a:avLst/>
                <a:gdLst>
                  <a:gd name="T0" fmla="*/ 20 w 26"/>
                  <a:gd name="T1" fmla="*/ 28 h 42"/>
                  <a:gd name="T2" fmla="*/ 20 w 26"/>
                  <a:gd name="T3" fmla="*/ 22 h 42"/>
                  <a:gd name="T4" fmla="*/ 20 w 26"/>
                  <a:gd name="T5" fmla="*/ 14 h 42"/>
                  <a:gd name="T6" fmla="*/ 26 w 26"/>
                  <a:gd name="T7" fmla="*/ 8 h 42"/>
                  <a:gd name="T8" fmla="*/ 26 w 26"/>
                  <a:gd name="T9" fmla="*/ 0 h 42"/>
                  <a:gd name="T10" fmla="*/ 20 w 26"/>
                  <a:gd name="T11" fmla="*/ 8 h 42"/>
                  <a:gd name="T12" fmla="*/ 12 w 26"/>
                  <a:gd name="T13" fmla="*/ 14 h 42"/>
                  <a:gd name="T14" fmla="*/ 12 w 26"/>
                  <a:gd name="T15" fmla="*/ 8 h 42"/>
                  <a:gd name="T16" fmla="*/ 12 w 26"/>
                  <a:gd name="T17" fmla="*/ 0 h 42"/>
                  <a:gd name="T18" fmla="*/ 0 w 26"/>
                  <a:gd name="T19" fmla="*/ 8 h 42"/>
                  <a:gd name="T20" fmla="*/ 0 w 26"/>
                  <a:gd name="T21" fmla="*/ 14 h 42"/>
                  <a:gd name="T22" fmla="*/ 0 w 26"/>
                  <a:gd name="T23" fmla="*/ 22 h 42"/>
                  <a:gd name="T24" fmla="*/ 12 w 26"/>
                  <a:gd name="T25" fmla="*/ 14 h 42"/>
                  <a:gd name="T26" fmla="*/ 6 w 26"/>
                  <a:gd name="T27" fmla="*/ 28 h 42"/>
                  <a:gd name="T28" fmla="*/ 12 w 26"/>
                  <a:gd name="T29" fmla="*/ 34 h 42"/>
                  <a:gd name="T30" fmla="*/ 12 w 26"/>
                  <a:gd name="T31" fmla="*/ 42 h 42"/>
                  <a:gd name="T32" fmla="*/ 20 w 26"/>
                  <a:gd name="T33" fmla="*/ 28 h 42"/>
                  <a:gd name="T34" fmla="*/ 20 w 26"/>
                  <a:gd name="T35" fmla="*/ 28 h 42"/>
                  <a:gd name="T36" fmla="*/ 20 w 26"/>
                  <a:gd name="T37" fmla="*/ 28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42">
                    <a:moveTo>
                      <a:pt x="20" y="28"/>
                    </a:moveTo>
                    <a:lnTo>
                      <a:pt x="20" y="22"/>
                    </a:lnTo>
                    <a:lnTo>
                      <a:pt x="20" y="14"/>
                    </a:lnTo>
                    <a:lnTo>
                      <a:pt x="26" y="8"/>
                    </a:lnTo>
                    <a:lnTo>
                      <a:pt x="26" y="0"/>
                    </a:lnTo>
                    <a:lnTo>
                      <a:pt x="20" y="8"/>
                    </a:lnTo>
                    <a:lnTo>
                      <a:pt x="12" y="14"/>
                    </a:lnTo>
                    <a:lnTo>
                      <a:pt x="12" y="8"/>
                    </a:lnTo>
                    <a:lnTo>
                      <a:pt x="12" y="0"/>
                    </a:lnTo>
                    <a:lnTo>
                      <a:pt x="0" y="8"/>
                    </a:lnTo>
                    <a:lnTo>
                      <a:pt x="0" y="14"/>
                    </a:lnTo>
                    <a:lnTo>
                      <a:pt x="0" y="22"/>
                    </a:lnTo>
                    <a:lnTo>
                      <a:pt x="12" y="14"/>
                    </a:lnTo>
                    <a:lnTo>
                      <a:pt x="6" y="28"/>
                    </a:lnTo>
                    <a:lnTo>
                      <a:pt x="12" y="34"/>
                    </a:lnTo>
                    <a:lnTo>
                      <a:pt x="12" y="42"/>
                    </a:lnTo>
                    <a:lnTo>
                      <a:pt x="20" y="28"/>
                    </a:lnTo>
                    <a:lnTo>
                      <a:pt x="20" y="28"/>
                    </a:lnTo>
                    <a:lnTo>
                      <a:pt x="20" y="28"/>
                    </a:lnTo>
                    <a:close/>
                  </a:path>
                </a:pathLst>
              </a:custGeom>
              <a:solidFill>
                <a:schemeClr val="accent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6" name="Freeform 40"/>
              <p:cNvSpPr>
                <a:spLocks/>
              </p:cNvSpPr>
              <p:nvPr/>
            </p:nvSpPr>
            <p:spPr bwMode="gray">
              <a:xfrm>
                <a:off x="3566349" y="2231619"/>
                <a:ext cx="22230" cy="31757"/>
              </a:xfrm>
              <a:custGeom>
                <a:avLst/>
                <a:gdLst>
                  <a:gd name="T0" fmla="*/ 6 w 14"/>
                  <a:gd name="T1" fmla="*/ 20 h 20"/>
                  <a:gd name="T2" fmla="*/ 6 w 14"/>
                  <a:gd name="T3" fmla="*/ 14 h 20"/>
                  <a:gd name="T4" fmla="*/ 0 w 14"/>
                  <a:gd name="T5" fmla="*/ 14 h 20"/>
                  <a:gd name="T6" fmla="*/ 6 w 14"/>
                  <a:gd name="T7" fmla="*/ 6 h 20"/>
                  <a:gd name="T8" fmla="*/ 6 w 14"/>
                  <a:gd name="T9" fmla="*/ 0 h 20"/>
                  <a:gd name="T10" fmla="*/ 0 w 14"/>
                  <a:gd name="T11" fmla="*/ 0 h 20"/>
                  <a:gd name="T12" fmla="*/ 14 w 14"/>
                  <a:gd name="T13" fmla="*/ 6 h 20"/>
                  <a:gd name="T14" fmla="*/ 14 w 14"/>
                  <a:gd name="T15" fmla="*/ 14 h 20"/>
                  <a:gd name="T16" fmla="*/ 6 w 14"/>
                  <a:gd name="T17" fmla="*/ 14 h 20"/>
                  <a:gd name="T18" fmla="*/ 6 w 14"/>
                  <a:gd name="T19" fmla="*/ 20 h 20"/>
                  <a:gd name="T20" fmla="*/ 6 w 14"/>
                  <a:gd name="T21" fmla="*/ 20 h 20"/>
                  <a:gd name="T22" fmla="*/ 6 w 14"/>
                  <a:gd name="T2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20">
                    <a:moveTo>
                      <a:pt x="6" y="20"/>
                    </a:moveTo>
                    <a:lnTo>
                      <a:pt x="6" y="14"/>
                    </a:lnTo>
                    <a:lnTo>
                      <a:pt x="0" y="14"/>
                    </a:lnTo>
                    <a:lnTo>
                      <a:pt x="6" y="6"/>
                    </a:lnTo>
                    <a:lnTo>
                      <a:pt x="6" y="0"/>
                    </a:lnTo>
                    <a:lnTo>
                      <a:pt x="0" y="0"/>
                    </a:lnTo>
                    <a:lnTo>
                      <a:pt x="14" y="6"/>
                    </a:lnTo>
                    <a:lnTo>
                      <a:pt x="14" y="14"/>
                    </a:lnTo>
                    <a:lnTo>
                      <a:pt x="6" y="14"/>
                    </a:lnTo>
                    <a:lnTo>
                      <a:pt x="6" y="20"/>
                    </a:lnTo>
                    <a:lnTo>
                      <a:pt x="6" y="20"/>
                    </a:lnTo>
                    <a:lnTo>
                      <a:pt x="6" y="20"/>
                    </a:lnTo>
                    <a:close/>
                  </a:path>
                </a:pathLst>
              </a:custGeom>
              <a:solidFill>
                <a:schemeClr val="accent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7" name="Freeform 41"/>
              <p:cNvSpPr>
                <a:spLocks/>
              </p:cNvSpPr>
              <p:nvPr/>
            </p:nvSpPr>
            <p:spPr bwMode="gray">
              <a:xfrm>
                <a:off x="3309117" y="2409458"/>
                <a:ext cx="639905" cy="612911"/>
              </a:xfrm>
              <a:custGeom>
                <a:avLst/>
                <a:gdLst>
                  <a:gd name="T0" fmla="*/ 36 w 403"/>
                  <a:gd name="T1" fmla="*/ 330 h 386"/>
                  <a:gd name="T2" fmla="*/ 76 w 403"/>
                  <a:gd name="T3" fmla="*/ 302 h 386"/>
                  <a:gd name="T4" fmla="*/ 92 w 403"/>
                  <a:gd name="T5" fmla="*/ 296 h 386"/>
                  <a:gd name="T6" fmla="*/ 112 w 403"/>
                  <a:gd name="T7" fmla="*/ 302 h 386"/>
                  <a:gd name="T8" fmla="*/ 140 w 403"/>
                  <a:gd name="T9" fmla="*/ 310 h 386"/>
                  <a:gd name="T10" fmla="*/ 166 w 403"/>
                  <a:gd name="T11" fmla="*/ 296 h 386"/>
                  <a:gd name="T12" fmla="*/ 194 w 403"/>
                  <a:gd name="T13" fmla="*/ 282 h 386"/>
                  <a:gd name="T14" fmla="*/ 180 w 403"/>
                  <a:gd name="T15" fmla="*/ 276 h 386"/>
                  <a:gd name="T16" fmla="*/ 174 w 403"/>
                  <a:gd name="T17" fmla="*/ 248 h 386"/>
                  <a:gd name="T18" fmla="*/ 188 w 403"/>
                  <a:gd name="T19" fmla="*/ 228 h 386"/>
                  <a:gd name="T20" fmla="*/ 202 w 403"/>
                  <a:gd name="T21" fmla="*/ 200 h 386"/>
                  <a:gd name="T22" fmla="*/ 202 w 403"/>
                  <a:gd name="T23" fmla="*/ 172 h 386"/>
                  <a:gd name="T24" fmla="*/ 222 w 403"/>
                  <a:gd name="T25" fmla="*/ 164 h 386"/>
                  <a:gd name="T26" fmla="*/ 208 w 403"/>
                  <a:gd name="T27" fmla="*/ 152 h 386"/>
                  <a:gd name="T28" fmla="*/ 222 w 403"/>
                  <a:gd name="T29" fmla="*/ 130 h 386"/>
                  <a:gd name="T30" fmla="*/ 242 w 403"/>
                  <a:gd name="T31" fmla="*/ 116 h 386"/>
                  <a:gd name="T32" fmla="*/ 216 w 403"/>
                  <a:gd name="T33" fmla="*/ 110 h 386"/>
                  <a:gd name="T34" fmla="*/ 216 w 403"/>
                  <a:gd name="T35" fmla="*/ 82 h 386"/>
                  <a:gd name="T36" fmla="*/ 230 w 403"/>
                  <a:gd name="T37" fmla="*/ 48 h 386"/>
                  <a:gd name="T38" fmla="*/ 250 w 403"/>
                  <a:gd name="T39" fmla="*/ 40 h 386"/>
                  <a:gd name="T40" fmla="*/ 270 w 403"/>
                  <a:gd name="T41" fmla="*/ 34 h 386"/>
                  <a:gd name="T42" fmla="*/ 284 w 403"/>
                  <a:gd name="T43" fmla="*/ 20 h 386"/>
                  <a:gd name="T44" fmla="*/ 298 w 403"/>
                  <a:gd name="T45" fmla="*/ 14 h 386"/>
                  <a:gd name="T46" fmla="*/ 326 w 403"/>
                  <a:gd name="T47" fmla="*/ 20 h 386"/>
                  <a:gd name="T48" fmla="*/ 326 w 403"/>
                  <a:gd name="T49" fmla="*/ 54 h 386"/>
                  <a:gd name="T50" fmla="*/ 320 w 403"/>
                  <a:gd name="T51" fmla="*/ 90 h 386"/>
                  <a:gd name="T52" fmla="*/ 340 w 403"/>
                  <a:gd name="T53" fmla="*/ 102 h 386"/>
                  <a:gd name="T54" fmla="*/ 346 w 403"/>
                  <a:gd name="T55" fmla="*/ 130 h 386"/>
                  <a:gd name="T56" fmla="*/ 332 w 403"/>
                  <a:gd name="T57" fmla="*/ 164 h 386"/>
                  <a:gd name="T58" fmla="*/ 346 w 403"/>
                  <a:gd name="T59" fmla="*/ 178 h 386"/>
                  <a:gd name="T60" fmla="*/ 354 w 403"/>
                  <a:gd name="T61" fmla="*/ 206 h 386"/>
                  <a:gd name="T62" fmla="*/ 332 w 403"/>
                  <a:gd name="T63" fmla="*/ 228 h 386"/>
                  <a:gd name="T64" fmla="*/ 346 w 403"/>
                  <a:gd name="T65" fmla="*/ 240 h 386"/>
                  <a:gd name="T66" fmla="*/ 383 w 403"/>
                  <a:gd name="T67" fmla="*/ 240 h 386"/>
                  <a:gd name="T68" fmla="*/ 403 w 403"/>
                  <a:gd name="T69" fmla="*/ 276 h 386"/>
                  <a:gd name="T70" fmla="*/ 383 w 403"/>
                  <a:gd name="T71" fmla="*/ 310 h 386"/>
                  <a:gd name="T72" fmla="*/ 360 w 403"/>
                  <a:gd name="T73" fmla="*/ 316 h 386"/>
                  <a:gd name="T74" fmla="*/ 346 w 403"/>
                  <a:gd name="T75" fmla="*/ 324 h 386"/>
                  <a:gd name="T76" fmla="*/ 326 w 403"/>
                  <a:gd name="T77" fmla="*/ 330 h 386"/>
                  <a:gd name="T78" fmla="*/ 332 w 403"/>
                  <a:gd name="T79" fmla="*/ 352 h 386"/>
                  <a:gd name="T80" fmla="*/ 360 w 403"/>
                  <a:gd name="T81" fmla="*/ 352 h 386"/>
                  <a:gd name="T82" fmla="*/ 346 w 403"/>
                  <a:gd name="T83" fmla="*/ 372 h 386"/>
                  <a:gd name="T84" fmla="*/ 320 w 403"/>
                  <a:gd name="T85" fmla="*/ 378 h 386"/>
                  <a:gd name="T86" fmla="*/ 284 w 403"/>
                  <a:gd name="T87" fmla="*/ 372 h 386"/>
                  <a:gd name="T88" fmla="*/ 250 w 403"/>
                  <a:gd name="T89" fmla="*/ 372 h 386"/>
                  <a:gd name="T90" fmla="*/ 230 w 403"/>
                  <a:gd name="T91" fmla="*/ 358 h 386"/>
                  <a:gd name="T92" fmla="*/ 202 w 403"/>
                  <a:gd name="T93" fmla="*/ 364 h 386"/>
                  <a:gd name="T94" fmla="*/ 166 w 403"/>
                  <a:gd name="T95" fmla="*/ 364 h 386"/>
                  <a:gd name="T96" fmla="*/ 146 w 403"/>
                  <a:gd name="T97" fmla="*/ 344 h 386"/>
                  <a:gd name="T98" fmla="*/ 118 w 403"/>
                  <a:gd name="T99" fmla="*/ 338 h 386"/>
                  <a:gd name="T100" fmla="*/ 104 w 403"/>
                  <a:gd name="T101" fmla="*/ 364 h 386"/>
                  <a:gd name="T102" fmla="*/ 70 w 403"/>
                  <a:gd name="T103" fmla="*/ 352 h 386"/>
                  <a:gd name="T104" fmla="*/ 36 w 403"/>
                  <a:gd name="T105" fmla="*/ 352 h 386"/>
                  <a:gd name="T106" fmla="*/ 14 w 403"/>
                  <a:gd name="T107" fmla="*/ 358 h 386"/>
                  <a:gd name="T108" fmla="*/ 14 w 403"/>
                  <a:gd name="T109" fmla="*/ 344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3" h="386">
                    <a:moveTo>
                      <a:pt x="14" y="344"/>
                    </a:moveTo>
                    <a:lnTo>
                      <a:pt x="28" y="338"/>
                    </a:lnTo>
                    <a:lnTo>
                      <a:pt x="36" y="338"/>
                    </a:lnTo>
                    <a:lnTo>
                      <a:pt x="36" y="330"/>
                    </a:lnTo>
                    <a:lnTo>
                      <a:pt x="56" y="324"/>
                    </a:lnTo>
                    <a:lnTo>
                      <a:pt x="70" y="324"/>
                    </a:lnTo>
                    <a:lnTo>
                      <a:pt x="76" y="310"/>
                    </a:lnTo>
                    <a:lnTo>
                      <a:pt x="76" y="302"/>
                    </a:lnTo>
                    <a:lnTo>
                      <a:pt x="84" y="302"/>
                    </a:lnTo>
                    <a:lnTo>
                      <a:pt x="92" y="310"/>
                    </a:lnTo>
                    <a:lnTo>
                      <a:pt x="98" y="302"/>
                    </a:lnTo>
                    <a:lnTo>
                      <a:pt x="92" y="296"/>
                    </a:lnTo>
                    <a:lnTo>
                      <a:pt x="98" y="296"/>
                    </a:lnTo>
                    <a:lnTo>
                      <a:pt x="104" y="296"/>
                    </a:lnTo>
                    <a:lnTo>
                      <a:pt x="112" y="296"/>
                    </a:lnTo>
                    <a:lnTo>
                      <a:pt x="112" y="302"/>
                    </a:lnTo>
                    <a:lnTo>
                      <a:pt x="118" y="302"/>
                    </a:lnTo>
                    <a:lnTo>
                      <a:pt x="126" y="310"/>
                    </a:lnTo>
                    <a:lnTo>
                      <a:pt x="132" y="310"/>
                    </a:lnTo>
                    <a:lnTo>
                      <a:pt x="140" y="310"/>
                    </a:lnTo>
                    <a:lnTo>
                      <a:pt x="154" y="310"/>
                    </a:lnTo>
                    <a:lnTo>
                      <a:pt x="160" y="310"/>
                    </a:lnTo>
                    <a:lnTo>
                      <a:pt x="160" y="302"/>
                    </a:lnTo>
                    <a:lnTo>
                      <a:pt x="166" y="296"/>
                    </a:lnTo>
                    <a:lnTo>
                      <a:pt x="174" y="296"/>
                    </a:lnTo>
                    <a:lnTo>
                      <a:pt x="180" y="296"/>
                    </a:lnTo>
                    <a:lnTo>
                      <a:pt x="188" y="290"/>
                    </a:lnTo>
                    <a:lnTo>
                      <a:pt x="194" y="282"/>
                    </a:lnTo>
                    <a:lnTo>
                      <a:pt x="188" y="282"/>
                    </a:lnTo>
                    <a:lnTo>
                      <a:pt x="174" y="282"/>
                    </a:lnTo>
                    <a:lnTo>
                      <a:pt x="174" y="276"/>
                    </a:lnTo>
                    <a:lnTo>
                      <a:pt x="180" y="276"/>
                    </a:lnTo>
                    <a:lnTo>
                      <a:pt x="180" y="262"/>
                    </a:lnTo>
                    <a:lnTo>
                      <a:pt x="174" y="262"/>
                    </a:lnTo>
                    <a:lnTo>
                      <a:pt x="174" y="254"/>
                    </a:lnTo>
                    <a:lnTo>
                      <a:pt x="174" y="248"/>
                    </a:lnTo>
                    <a:lnTo>
                      <a:pt x="180" y="240"/>
                    </a:lnTo>
                    <a:lnTo>
                      <a:pt x="188" y="228"/>
                    </a:lnTo>
                    <a:lnTo>
                      <a:pt x="180" y="228"/>
                    </a:lnTo>
                    <a:lnTo>
                      <a:pt x="188" y="228"/>
                    </a:lnTo>
                    <a:lnTo>
                      <a:pt x="194" y="220"/>
                    </a:lnTo>
                    <a:lnTo>
                      <a:pt x="194" y="214"/>
                    </a:lnTo>
                    <a:lnTo>
                      <a:pt x="194" y="206"/>
                    </a:lnTo>
                    <a:lnTo>
                      <a:pt x="202" y="200"/>
                    </a:lnTo>
                    <a:lnTo>
                      <a:pt x="208" y="192"/>
                    </a:lnTo>
                    <a:lnTo>
                      <a:pt x="208" y="186"/>
                    </a:lnTo>
                    <a:lnTo>
                      <a:pt x="202" y="178"/>
                    </a:lnTo>
                    <a:lnTo>
                      <a:pt x="202" y="172"/>
                    </a:lnTo>
                    <a:lnTo>
                      <a:pt x="208" y="164"/>
                    </a:lnTo>
                    <a:lnTo>
                      <a:pt x="208" y="172"/>
                    </a:lnTo>
                    <a:lnTo>
                      <a:pt x="216" y="172"/>
                    </a:lnTo>
                    <a:lnTo>
                      <a:pt x="222" y="164"/>
                    </a:lnTo>
                    <a:lnTo>
                      <a:pt x="216" y="164"/>
                    </a:lnTo>
                    <a:lnTo>
                      <a:pt x="216" y="158"/>
                    </a:lnTo>
                    <a:lnTo>
                      <a:pt x="216" y="152"/>
                    </a:lnTo>
                    <a:lnTo>
                      <a:pt x="208" y="152"/>
                    </a:lnTo>
                    <a:lnTo>
                      <a:pt x="208" y="144"/>
                    </a:lnTo>
                    <a:lnTo>
                      <a:pt x="216" y="138"/>
                    </a:lnTo>
                    <a:lnTo>
                      <a:pt x="222" y="138"/>
                    </a:lnTo>
                    <a:lnTo>
                      <a:pt x="222" y="130"/>
                    </a:lnTo>
                    <a:lnTo>
                      <a:pt x="222" y="124"/>
                    </a:lnTo>
                    <a:lnTo>
                      <a:pt x="230" y="124"/>
                    </a:lnTo>
                    <a:lnTo>
                      <a:pt x="230" y="116"/>
                    </a:lnTo>
                    <a:lnTo>
                      <a:pt x="242" y="116"/>
                    </a:lnTo>
                    <a:lnTo>
                      <a:pt x="242" y="110"/>
                    </a:lnTo>
                    <a:lnTo>
                      <a:pt x="230" y="102"/>
                    </a:lnTo>
                    <a:lnTo>
                      <a:pt x="222" y="102"/>
                    </a:lnTo>
                    <a:lnTo>
                      <a:pt x="216" y="110"/>
                    </a:lnTo>
                    <a:lnTo>
                      <a:pt x="230" y="96"/>
                    </a:lnTo>
                    <a:lnTo>
                      <a:pt x="222" y="96"/>
                    </a:lnTo>
                    <a:lnTo>
                      <a:pt x="216" y="90"/>
                    </a:lnTo>
                    <a:lnTo>
                      <a:pt x="216" y="82"/>
                    </a:lnTo>
                    <a:lnTo>
                      <a:pt x="216" y="68"/>
                    </a:lnTo>
                    <a:lnTo>
                      <a:pt x="216" y="62"/>
                    </a:lnTo>
                    <a:lnTo>
                      <a:pt x="222" y="54"/>
                    </a:lnTo>
                    <a:lnTo>
                      <a:pt x="230" y="48"/>
                    </a:lnTo>
                    <a:lnTo>
                      <a:pt x="236" y="54"/>
                    </a:lnTo>
                    <a:lnTo>
                      <a:pt x="236" y="48"/>
                    </a:lnTo>
                    <a:lnTo>
                      <a:pt x="242" y="48"/>
                    </a:lnTo>
                    <a:lnTo>
                      <a:pt x="250" y="40"/>
                    </a:lnTo>
                    <a:lnTo>
                      <a:pt x="250" y="48"/>
                    </a:lnTo>
                    <a:lnTo>
                      <a:pt x="256" y="48"/>
                    </a:lnTo>
                    <a:lnTo>
                      <a:pt x="264" y="40"/>
                    </a:lnTo>
                    <a:lnTo>
                      <a:pt x="270" y="34"/>
                    </a:lnTo>
                    <a:lnTo>
                      <a:pt x="278" y="34"/>
                    </a:lnTo>
                    <a:lnTo>
                      <a:pt x="278" y="28"/>
                    </a:lnTo>
                    <a:lnTo>
                      <a:pt x="284" y="28"/>
                    </a:lnTo>
                    <a:lnTo>
                      <a:pt x="284" y="20"/>
                    </a:lnTo>
                    <a:lnTo>
                      <a:pt x="292" y="20"/>
                    </a:lnTo>
                    <a:lnTo>
                      <a:pt x="298" y="28"/>
                    </a:lnTo>
                    <a:lnTo>
                      <a:pt x="306" y="20"/>
                    </a:lnTo>
                    <a:lnTo>
                      <a:pt x="298" y="14"/>
                    </a:lnTo>
                    <a:lnTo>
                      <a:pt x="306" y="14"/>
                    </a:lnTo>
                    <a:lnTo>
                      <a:pt x="312" y="0"/>
                    </a:lnTo>
                    <a:lnTo>
                      <a:pt x="320" y="14"/>
                    </a:lnTo>
                    <a:lnTo>
                      <a:pt x="326" y="20"/>
                    </a:lnTo>
                    <a:lnTo>
                      <a:pt x="320" y="34"/>
                    </a:lnTo>
                    <a:lnTo>
                      <a:pt x="320" y="40"/>
                    </a:lnTo>
                    <a:lnTo>
                      <a:pt x="320" y="48"/>
                    </a:lnTo>
                    <a:lnTo>
                      <a:pt x="326" y="54"/>
                    </a:lnTo>
                    <a:lnTo>
                      <a:pt x="326" y="62"/>
                    </a:lnTo>
                    <a:lnTo>
                      <a:pt x="320" y="68"/>
                    </a:lnTo>
                    <a:lnTo>
                      <a:pt x="320" y="76"/>
                    </a:lnTo>
                    <a:lnTo>
                      <a:pt x="320" y="90"/>
                    </a:lnTo>
                    <a:lnTo>
                      <a:pt x="320" y="96"/>
                    </a:lnTo>
                    <a:lnTo>
                      <a:pt x="326" y="96"/>
                    </a:lnTo>
                    <a:lnTo>
                      <a:pt x="332" y="102"/>
                    </a:lnTo>
                    <a:lnTo>
                      <a:pt x="340" y="102"/>
                    </a:lnTo>
                    <a:lnTo>
                      <a:pt x="340" y="110"/>
                    </a:lnTo>
                    <a:lnTo>
                      <a:pt x="346" y="116"/>
                    </a:lnTo>
                    <a:lnTo>
                      <a:pt x="346" y="124"/>
                    </a:lnTo>
                    <a:lnTo>
                      <a:pt x="346" y="130"/>
                    </a:lnTo>
                    <a:lnTo>
                      <a:pt x="346" y="138"/>
                    </a:lnTo>
                    <a:lnTo>
                      <a:pt x="346" y="172"/>
                    </a:lnTo>
                    <a:lnTo>
                      <a:pt x="340" y="164"/>
                    </a:lnTo>
                    <a:lnTo>
                      <a:pt x="332" y="164"/>
                    </a:lnTo>
                    <a:lnTo>
                      <a:pt x="326" y="164"/>
                    </a:lnTo>
                    <a:lnTo>
                      <a:pt x="326" y="172"/>
                    </a:lnTo>
                    <a:lnTo>
                      <a:pt x="332" y="172"/>
                    </a:lnTo>
                    <a:lnTo>
                      <a:pt x="346" y="178"/>
                    </a:lnTo>
                    <a:lnTo>
                      <a:pt x="346" y="186"/>
                    </a:lnTo>
                    <a:lnTo>
                      <a:pt x="354" y="192"/>
                    </a:lnTo>
                    <a:lnTo>
                      <a:pt x="354" y="200"/>
                    </a:lnTo>
                    <a:lnTo>
                      <a:pt x="354" y="206"/>
                    </a:lnTo>
                    <a:lnTo>
                      <a:pt x="354" y="214"/>
                    </a:lnTo>
                    <a:lnTo>
                      <a:pt x="346" y="220"/>
                    </a:lnTo>
                    <a:lnTo>
                      <a:pt x="340" y="228"/>
                    </a:lnTo>
                    <a:lnTo>
                      <a:pt x="332" y="228"/>
                    </a:lnTo>
                    <a:lnTo>
                      <a:pt x="332" y="234"/>
                    </a:lnTo>
                    <a:lnTo>
                      <a:pt x="332" y="240"/>
                    </a:lnTo>
                    <a:lnTo>
                      <a:pt x="340" y="248"/>
                    </a:lnTo>
                    <a:lnTo>
                      <a:pt x="346" y="240"/>
                    </a:lnTo>
                    <a:lnTo>
                      <a:pt x="354" y="240"/>
                    </a:lnTo>
                    <a:lnTo>
                      <a:pt x="360" y="234"/>
                    </a:lnTo>
                    <a:lnTo>
                      <a:pt x="368" y="240"/>
                    </a:lnTo>
                    <a:lnTo>
                      <a:pt x="383" y="240"/>
                    </a:lnTo>
                    <a:lnTo>
                      <a:pt x="397" y="248"/>
                    </a:lnTo>
                    <a:lnTo>
                      <a:pt x="403" y="254"/>
                    </a:lnTo>
                    <a:lnTo>
                      <a:pt x="403" y="268"/>
                    </a:lnTo>
                    <a:lnTo>
                      <a:pt x="403" y="276"/>
                    </a:lnTo>
                    <a:lnTo>
                      <a:pt x="397" y="290"/>
                    </a:lnTo>
                    <a:lnTo>
                      <a:pt x="397" y="296"/>
                    </a:lnTo>
                    <a:lnTo>
                      <a:pt x="389" y="302"/>
                    </a:lnTo>
                    <a:lnTo>
                      <a:pt x="383" y="310"/>
                    </a:lnTo>
                    <a:lnTo>
                      <a:pt x="374" y="310"/>
                    </a:lnTo>
                    <a:lnTo>
                      <a:pt x="368" y="310"/>
                    </a:lnTo>
                    <a:lnTo>
                      <a:pt x="368" y="316"/>
                    </a:lnTo>
                    <a:lnTo>
                      <a:pt x="360" y="316"/>
                    </a:lnTo>
                    <a:lnTo>
                      <a:pt x="354" y="316"/>
                    </a:lnTo>
                    <a:lnTo>
                      <a:pt x="346" y="316"/>
                    </a:lnTo>
                    <a:lnTo>
                      <a:pt x="340" y="324"/>
                    </a:lnTo>
                    <a:lnTo>
                      <a:pt x="346" y="324"/>
                    </a:lnTo>
                    <a:lnTo>
                      <a:pt x="346" y="330"/>
                    </a:lnTo>
                    <a:lnTo>
                      <a:pt x="340" y="338"/>
                    </a:lnTo>
                    <a:lnTo>
                      <a:pt x="332" y="330"/>
                    </a:lnTo>
                    <a:lnTo>
                      <a:pt x="326" y="330"/>
                    </a:lnTo>
                    <a:lnTo>
                      <a:pt x="320" y="330"/>
                    </a:lnTo>
                    <a:lnTo>
                      <a:pt x="320" y="338"/>
                    </a:lnTo>
                    <a:lnTo>
                      <a:pt x="326" y="344"/>
                    </a:lnTo>
                    <a:lnTo>
                      <a:pt x="332" y="352"/>
                    </a:lnTo>
                    <a:lnTo>
                      <a:pt x="340" y="352"/>
                    </a:lnTo>
                    <a:lnTo>
                      <a:pt x="346" y="358"/>
                    </a:lnTo>
                    <a:lnTo>
                      <a:pt x="354" y="352"/>
                    </a:lnTo>
                    <a:lnTo>
                      <a:pt x="360" y="352"/>
                    </a:lnTo>
                    <a:lnTo>
                      <a:pt x="368" y="358"/>
                    </a:lnTo>
                    <a:lnTo>
                      <a:pt x="360" y="364"/>
                    </a:lnTo>
                    <a:lnTo>
                      <a:pt x="354" y="372"/>
                    </a:lnTo>
                    <a:lnTo>
                      <a:pt x="346" y="372"/>
                    </a:lnTo>
                    <a:lnTo>
                      <a:pt x="340" y="378"/>
                    </a:lnTo>
                    <a:lnTo>
                      <a:pt x="332" y="386"/>
                    </a:lnTo>
                    <a:lnTo>
                      <a:pt x="326" y="378"/>
                    </a:lnTo>
                    <a:lnTo>
                      <a:pt x="320" y="378"/>
                    </a:lnTo>
                    <a:lnTo>
                      <a:pt x="306" y="386"/>
                    </a:lnTo>
                    <a:lnTo>
                      <a:pt x="298" y="378"/>
                    </a:lnTo>
                    <a:lnTo>
                      <a:pt x="292" y="378"/>
                    </a:lnTo>
                    <a:lnTo>
                      <a:pt x="284" y="372"/>
                    </a:lnTo>
                    <a:lnTo>
                      <a:pt x="278" y="372"/>
                    </a:lnTo>
                    <a:lnTo>
                      <a:pt x="270" y="372"/>
                    </a:lnTo>
                    <a:lnTo>
                      <a:pt x="264" y="372"/>
                    </a:lnTo>
                    <a:lnTo>
                      <a:pt x="250" y="372"/>
                    </a:lnTo>
                    <a:lnTo>
                      <a:pt x="250" y="364"/>
                    </a:lnTo>
                    <a:lnTo>
                      <a:pt x="242" y="364"/>
                    </a:lnTo>
                    <a:lnTo>
                      <a:pt x="236" y="364"/>
                    </a:lnTo>
                    <a:lnTo>
                      <a:pt x="230" y="358"/>
                    </a:lnTo>
                    <a:lnTo>
                      <a:pt x="222" y="352"/>
                    </a:lnTo>
                    <a:lnTo>
                      <a:pt x="216" y="358"/>
                    </a:lnTo>
                    <a:lnTo>
                      <a:pt x="216" y="364"/>
                    </a:lnTo>
                    <a:lnTo>
                      <a:pt x="202" y="364"/>
                    </a:lnTo>
                    <a:lnTo>
                      <a:pt x="194" y="358"/>
                    </a:lnTo>
                    <a:lnTo>
                      <a:pt x="180" y="358"/>
                    </a:lnTo>
                    <a:lnTo>
                      <a:pt x="174" y="364"/>
                    </a:lnTo>
                    <a:lnTo>
                      <a:pt x="166" y="364"/>
                    </a:lnTo>
                    <a:lnTo>
                      <a:pt x="166" y="358"/>
                    </a:lnTo>
                    <a:lnTo>
                      <a:pt x="160" y="352"/>
                    </a:lnTo>
                    <a:lnTo>
                      <a:pt x="154" y="344"/>
                    </a:lnTo>
                    <a:lnTo>
                      <a:pt x="146" y="344"/>
                    </a:lnTo>
                    <a:lnTo>
                      <a:pt x="140" y="344"/>
                    </a:lnTo>
                    <a:lnTo>
                      <a:pt x="132" y="344"/>
                    </a:lnTo>
                    <a:lnTo>
                      <a:pt x="126" y="344"/>
                    </a:lnTo>
                    <a:lnTo>
                      <a:pt x="118" y="338"/>
                    </a:lnTo>
                    <a:lnTo>
                      <a:pt x="112" y="344"/>
                    </a:lnTo>
                    <a:lnTo>
                      <a:pt x="112" y="352"/>
                    </a:lnTo>
                    <a:lnTo>
                      <a:pt x="112" y="358"/>
                    </a:lnTo>
                    <a:lnTo>
                      <a:pt x="104" y="364"/>
                    </a:lnTo>
                    <a:lnTo>
                      <a:pt x="92" y="364"/>
                    </a:lnTo>
                    <a:lnTo>
                      <a:pt x="84" y="358"/>
                    </a:lnTo>
                    <a:lnTo>
                      <a:pt x="84" y="352"/>
                    </a:lnTo>
                    <a:lnTo>
                      <a:pt x="70" y="352"/>
                    </a:lnTo>
                    <a:lnTo>
                      <a:pt x="56" y="344"/>
                    </a:lnTo>
                    <a:lnTo>
                      <a:pt x="42" y="352"/>
                    </a:lnTo>
                    <a:lnTo>
                      <a:pt x="36" y="358"/>
                    </a:lnTo>
                    <a:lnTo>
                      <a:pt x="36" y="352"/>
                    </a:lnTo>
                    <a:lnTo>
                      <a:pt x="28" y="352"/>
                    </a:lnTo>
                    <a:lnTo>
                      <a:pt x="28" y="358"/>
                    </a:lnTo>
                    <a:lnTo>
                      <a:pt x="22" y="358"/>
                    </a:lnTo>
                    <a:lnTo>
                      <a:pt x="14" y="358"/>
                    </a:lnTo>
                    <a:lnTo>
                      <a:pt x="14" y="344"/>
                    </a:lnTo>
                    <a:lnTo>
                      <a:pt x="8" y="344"/>
                    </a:lnTo>
                    <a:lnTo>
                      <a:pt x="0" y="344"/>
                    </a:lnTo>
                    <a:lnTo>
                      <a:pt x="14" y="344"/>
                    </a:lnTo>
                    <a:lnTo>
                      <a:pt x="14" y="344"/>
                    </a:lnTo>
                    <a:lnTo>
                      <a:pt x="14" y="344"/>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8" name="Freeform 42"/>
              <p:cNvSpPr>
                <a:spLocks/>
              </p:cNvSpPr>
              <p:nvPr>
                <p:custDataLst>
                  <p:tags r:id="rId135"/>
                </p:custDataLst>
              </p:nvPr>
            </p:nvSpPr>
            <p:spPr bwMode="gray">
              <a:xfrm>
                <a:off x="3413915" y="2653988"/>
                <a:ext cx="231826" cy="215948"/>
              </a:xfrm>
              <a:custGeom>
                <a:avLst/>
                <a:gdLst>
                  <a:gd name="T0" fmla="*/ 132 w 146"/>
                  <a:gd name="T1" fmla="*/ 12 h 136"/>
                  <a:gd name="T2" fmla="*/ 126 w 146"/>
                  <a:gd name="T3" fmla="*/ 6 h 136"/>
                  <a:gd name="T4" fmla="*/ 118 w 146"/>
                  <a:gd name="T5" fmla="*/ 0 h 136"/>
                  <a:gd name="T6" fmla="*/ 90 w 146"/>
                  <a:gd name="T7" fmla="*/ 6 h 136"/>
                  <a:gd name="T8" fmla="*/ 70 w 146"/>
                  <a:gd name="T9" fmla="*/ 12 h 136"/>
                  <a:gd name="T10" fmla="*/ 56 w 146"/>
                  <a:gd name="T11" fmla="*/ 20 h 136"/>
                  <a:gd name="T12" fmla="*/ 62 w 146"/>
                  <a:gd name="T13" fmla="*/ 26 h 136"/>
                  <a:gd name="T14" fmla="*/ 78 w 146"/>
                  <a:gd name="T15" fmla="*/ 26 h 136"/>
                  <a:gd name="T16" fmla="*/ 90 w 146"/>
                  <a:gd name="T17" fmla="*/ 20 h 136"/>
                  <a:gd name="T18" fmla="*/ 84 w 146"/>
                  <a:gd name="T19" fmla="*/ 34 h 136"/>
                  <a:gd name="T20" fmla="*/ 84 w 146"/>
                  <a:gd name="T21" fmla="*/ 48 h 136"/>
                  <a:gd name="T22" fmla="*/ 84 w 146"/>
                  <a:gd name="T23" fmla="*/ 54 h 136"/>
                  <a:gd name="T24" fmla="*/ 70 w 146"/>
                  <a:gd name="T25" fmla="*/ 62 h 136"/>
                  <a:gd name="T26" fmla="*/ 56 w 146"/>
                  <a:gd name="T27" fmla="*/ 76 h 136"/>
                  <a:gd name="T28" fmla="*/ 42 w 146"/>
                  <a:gd name="T29" fmla="*/ 76 h 136"/>
                  <a:gd name="T30" fmla="*/ 28 w 146"/>
                  <a:gd name="T31" fmla="*/ 76 h 136"/>
                  <a:gd name="T32" fmla="*/ 14 w 146"/>
                  <a:gd name="T33" fmla="*/ 68 h 136"/>
                  <a:gd name="T34" fmla="*/ 8 w 146"/>
                  <a:gd name="T35" fmla="*/ 82 h 136"/>
                  <a:gd name="T36" fmla="*/ 14 w 146"/>
                  <a:gd name="T37" fmla="*/ 88 h 136"/>
                  <a:gd name="T38" fmla="*/ 22 w 146"/>
                  <a:gd name="T39" fmla="*/ 96 h 136"/>
                  <a:gd name="T40" fmla="*/ 14 w 146"/>
                  <a:gd name="T41" fmla="*/ 102 h 136"/>
                  <a:gd name="T42" fmla="*/ 36 w 146"/>
                  <a:gd name="T43" fmla="*/ 96 h 136"/>
                  <a:gd name="T44" fmla="*/ 48 w 146"/>
                  <a:gd name="T45" fmla="*/ 96 h 136"/>
                  <a:gd name="T46" fmla="*/ 48 w 146"/>
                  <a:gd name="T47" fmla="*/ 110 h 136"/>
                  <a:gd name="T48" fmla="*/ 48 w 146"/>
                  <a:gd name="T49" fmla="*/ 110 h 136"/>
                  <a:gd name="T50" fmla="*/ 62 w 146"/>
                  <a:gd name="T51" fmla="*/ 116 h 136"/>
                  <a:gd name="T52" fmla="*/ 62 w 146"/>
                  <a:gd name="T53" fmla="*/ 124 h 136"/>
                  <a:gd name="T54" fmla="*/ 78 w 146"/>
                  <a:gd name="T55" fmla="*/ 136 h 136"/>
                  <a:gd name="T56" fmla="*/ 98 w 146"/>
                  <a:gd name="T57" fmla="*/ 136 h 136"/>
                  <a:gd name="T58" fmla="*/ 112 w 146"/>
                  <a:gd name="T59" fmla="*/ 130 h 136"/>
                  <a:gd name="T60" fmla="*/ 118 w 146"/>
                  <a:gd name="T61" fmla="*/ 124 h 136"/>
                  <a:gd name="T62" fmla="*/ 112 w 146"/>
                  <a:gd name="T63" fmla="*/ 110 h 136"/>
                  <a:gd name="T64" fmla="*/ 112 w 146"/>
                  <a:gd name="T65" fmla="*/ 96 h 136"/>
                  <a:gd name="T66" fmla="*/ 126 w 146"/>
                  <a:gd name="T67" fmla="*/ 76 h 136"/>
                  <a:gd name="T68" fmla="*/ 126 w 146"/>
                  <a:gd name="T69" fmla="*/ 76 h 136"/>
                  <a:gd name="T70" fmla="*/ 132 w 146"/>
                  <a:gd name="T71" fmla="*/ 62 h 136"/>
                  <a:gd name="T72" fmla="*/ 140 w 146"/>
                  <a:gd name="T73" fmla="*/ 48 h 136"/>
                  <a:gd name="T74" fmla="*/ 146 w 146"/>
                  <a:gd name="T75" fmla="*/ 34 h 136"/>
                  <a:gd name="T76" fmla="*/ 140 w 146"/>
                  <a:gd name="T77" fmla="*/ 20 h 136"/>
                  <a:gd name="T78" fmla="*/ 140 w 146"/>
                  <a:gd name="T79" fmla="*/ 2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6" h="136">
                    <a:moveTo>
                      <a:pt x="140" y="20"/>
                    </a:moveTo>
                    <a:lnTo>
                      <a:pt x="132" y="12"/>
                    </a:lnTo>
                    <a:lnTo>
                      <a:pt x="132" y="6"/>
                    </a:lnTo>
                    <a:lnTo>
                      <a:pt x="126" y="6"/>
                    </a:lnTo>
                    <a:lnTo>
                      <a:pt x="118" y="6"/>
                    </a:lnTo>
                    <a:lnTo>
                      <a:pt x="118" y="0"/>
                    </a:lnTo>
                    <a:lnTo>
                      <a:pt x="98" y="6"/>
                    </a:lnTo>
                    <a:lnTo>
                      <a:pt x="90" y="6"/>
                    </a:lnTo>
                    <a:lnTo>
                      <a:pt x="84" y="12"/>
                    </a:lnTo>
                    <a:lnTo>
                      <a:pt x="70" y="12"/>
                    </a:lnTo>
                    <a:lnTo>
                      <a:pt x="62" y="20"/>
                    </a:lnTo>
                    <a:lnTo>
                      <a:pt x="56" y="20"/>
                    </a:lnTo>
                    <a:lnTo>
                      <a:pt x="56" y="26"/>
                    </a:lnTo>
                    <a:lnTo>
                      <a:pt x="62" y="26"/>
                    </a:lnTo>
                    <a:lnTo>
                      <a:pt x="70" y="20"/>
                    </a:lnTo>
                    <a:lnTo>
                      <a:pt x="78" y="26"/>
                    </a:lnTo>
                    <a:lnTo>
                      <a:pt x="84" y="20"/>
                    </a:lnTo>
                    <a:lnTo>
                      <a:pt x="90" y="20"/>
                    </a:lnTo>
                    <a:lnTo>
                      <a:pt x="90" y="26"/>
                    </a:lnTo>
                    <a:lnTo>
                      <a:pt x="84" y="34"/>
                    </a:lnTo>
                    <a:lnTo>
                      <a:pt x="84" y="40"/>
                    </a:lnTo>
                    <a:lnTo>
                      <a:pt x="84" y="48"/>
                    </a:lnTo>
                    <a:lnTo>
                      <a:pt x="78" y="48"/>
                    </a:lnTo>
                    <a:lnTo>
                      <a:pt x="84" y="54"/>
                    </a:lnTo>
                    <a:lnTo>
                      <a:pt x="78" y="62"/>
                    </a:lnTo>
                    <a:lnTo>
                      <a:pt x="70" y="62"/>
                    </a:lnTo>
                    <a:lnTo>
                      <a:pt x="62" y="68"/>
                    </a:lnTo>
                    <a:lnTo>
                      <a:pt x="56" y="76"/>
                    </a:lnTo>
                    <a:lnTo>
                      <a:pt x="48" y="68"/>
                    </a:lnTo>
                    <a:lnTo>
                      <a:pt x="42" y="76"/>
                    </a:lnTo>
                    <a:lnTo>
                      <a:pt x="36" y="76"/>
                    </a:lnTo>
                    <a:lnTo>
                      <a:pt x="28" y="76"/>
                    </a:lnTo>
                    <a:lnTo>
                      <a:pt x="22" y="76"/>
                    </a:lnTo>
                    <a:lnTo>
                      <a:pt x="14" y="68"/>
                    </a:lnTo>
                    <a:lnTo>
                      <a:pt x="8" y="76"/>
                    </a:lnTo>
                    <a:lnTo>
                      <a:pt x="8" y="82"/>
                    </a:lnTo>
                    <a:lnTo>
                      <a:pt x="0" y="88"/>
                    </a:lnTo>
                    <a:lnTo>
                      <a:pt x="14" y="88"/>
                    </a:lnTo>
                    <a:lnTo>
                      <a:pt x="22" y="88"/>
                    </a:lnTo>
                    <a:lnTo>
                      <a:pt x="22" y="96"/>
                    </a:lnTo>
                    <a:lnTo>
                      <a:pt x="14" y="96"/>
                    </a:lnTo>
                    <a:lnTo>
                      <a:pt x="14" y="102"/>
                    </a:lnTo>
                    <a:lnTo>
                      <a:pt x="28" y="102"/>
                    </a:lnTo>
                    <a:lnTo>
                      <a:pt x="36" y="96"/>
                    </a:lnTo>
                    <a:lnTo>
                      <a:pt x="42" y="96"/>
                    </a:lnTo>
                    <a:lnTo>
                      <a:pt x="48" y="96"/>
                    </a:lnTo>
                    <a:lnTo>
                      <a:pt x="48" y="102"/>
                    </a:lnTo>
                    <a:lnTo>
                      <a:pt x="48" y="110"/>
                    </a:lnTo>
                    <a:lnTo>
                      <a:pt x="56" y="110"/>
                    </a:lnTo>
                    <a:lnTo>
                      <a:pt x="48" y="110"/>
                    </a:lnTo>
                    <a:lnTo>
                      <a:pt x="48" y="116"/>
                    </a:lnTo>
                    <a:lnTo>
                      <a:pt x="62" y="116"/>
                    </a:lnTo>
                    <a:lnTo>
                      <a:pt x="70" y="116"/>
                    </a:lnTo>
                    <a:lnTo>
                      <a:pt x="62" y="124"/>
                    </a:lnTo>
                    <a:lnTo>
                      <a:pt x="70" y="130"/>
                    </a:lnTo>
                    <a:lnTo>
                      <a:pt x="78" y="136"/>
                    </a:lnTo>
                    <a:lnTo>
                      <a:pt x="84" y="136"/>
                    </a:lnTo>
                    <a:lnTo>
                      <a:pt x="98" y="136"/>
                    </a:lnTo>
                    <a:lnTo>
                      <a:pt x="104" y="136"/>
                    </a:lnTo>
                    <a:lnTo>
                      <a:pt x="112" y="130"/>
                    </a:lnTo>
                    <a:lnTo>
                      <a:pt x="112" y="124"/>
                    </a:lnTo>
                    <a:lnTo>
                      <a:pt x="118" y="124"/>
                    </a:lnTo>
                    <a:lnTo>
                      <a:pt x="118" y="110"/>
                    </a:lnTo>
                    <a:lnTo>
                      <a:pt x="112" y="110"/>
                    </a:lnTo>
                    <a:lnTo>
                      <a:pt x="112" y="102"/>
                    </a:lnTo>
                    <a:lnTo>
                      <a:pt x="112" y="96"/>
                    </a:lnTo>
                    <a:lnTo>
                      <a:pt x="118" y="88"/>
                    </a:lnTo>
                    <a:lnTo>
                      <a:pt x="126" y="76"/>
                    </a:lnTo>
                    <a:lnTo>
                      <a:pt x="118" y="76"/>
                    </a:lnTo>
                    <a:lnTo>
                      <a:pt x="126" y="76"/>
                    </a:lnTo>
                    <a:lnTo>
                      <a:pt x="132" y="68"/>
                    </a:lnTo>
                    <a:lnTo>
                      <a:pt x="132" y="62"/>
                    </a:lnTo>
                    <a:lnTo>
                      <a:pt x="132" y="54"/>
                    </a:lnTo>
                    <a:lnTo>
                      <a:pt x="140" y="48"/>
                    </a:lnTo>
                    <a:lnTo>
                      <a:pt x="146" y="40"/>
                    </a:lnTo>
                    <a:lnTo>
                      <a:pt x="146" y="34"/>
                    </a:lnTo>
                    <a:lnTo>
                      <a:pt x="140" y="26"/>
                    </a:lnTo>
                    <a:lnTo>
                      <a:pt x="140" y="20"/>
                    </a:lnTo>
                    <a:lnTo>
                      <a:pt x="140" y="20"/>
                    </a:lnTo>
                    <a:lnTo>
                      <a:pt x="140" y="20"/>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799" name="Freeform 43"/>
              <p:cNvSpPr>
                <a:spLocks/>
              </p:cNvSpPr>
              <p:nvPr/>
            </p:nvSpPr>
            <p:spPr bwMode="gray">
              <a:xfrm>
                <a:off x="3563173" y="2041076"/>
                <a:ext cx="317570" cy="447774"/>
              </a:xfrm>
              <a:custGeom>
                <a:avLst/>
                <a:gdLst>
                  <a:gd name="T0" fmla="*/ 82 w 200"/>
                  <a:gd name="T1" fmla="*/ 276 h 282"/>
                  <a:gd name="T2" fmla="*/ 62 w 200"/>
                  <a:gd name="T3" fmla="*/ 268 h 282"/>
                  <a:gd name="T4" fmla="*/ 54 w 200"/>
                  <a:gd name="T5" fmla="*/ 268 h 282"/>
                  <a:gd name="T6" fmla="*/ 34 w 200"/>
                  <a:gd name="T7" fmla="*/ 262 h 282"/>
                  <a:gd name="T8" fmla="*/ 28 w 200"/>
                  <a:gd name="T9" fmla="*/ 282 h 282"/>
                  <a:gd name="T10" fmla="*/ 14 w 200"/>
                  <a:gd name="T11" fmla="*/ 262 h 282"/>
                  <a:gd name="T12" fmla="*/ 6 w 200"/>
                  <a:gd name="T13" fmla="*/ 276 h 282"/>
                  <a:gd name="T14" fmla="*/ 0 w 200"/>
                  <a:gd name="T15" fmla="*/ 254 h 282"/>
                  <a:gd name="T16" fmla="*/ 6 w 200"/>
                  <a:gd name="T17" fmla="*/ 240 h 282"/>
                  <a:gd name="T18" fmla="*/ 20 w 200"/>
                  <a:gd name="T19" fmla="*/ 228 h 282"/>
                  <a:gd name="T20" fmla="*/ 42 w 200"/>
                  <a:gd name="T21" fmla="*/ 214 h 282"/>
                  <a:gd name="T22" fmla="*/ 54 w 200"/>
                  <a:gd name="T23" fmla="*/ 200 h 282"/>
                  <a:gd name="T24" fmla="*/ 42 w 200"/>
                  <a:gd name="T25" fmla="*/ 186 h 282"/>
                  <a:gd name="T26" fmla="*/ 28 w 200"/>
                  <a:gd name="T27" fmla="*/ 180 h 282"/>
                  <a:gd name="T28" fmla="*/ 42 w 200"/>
                  <a:gd name="T29" fmla="*/ 164 h 282"/>
                  <a:gd name="T30" fmla="*/ 20 w 200"/>
                  <a:gd name="T31" fmla="*/ 172 h 282"/>
                  <a:gd name="T32" fmla="*/ 14 w 200"/>
                  <a:gd name="T33" fmla="*/ 164 h 282"/>
                  <a:gd name="T34" fmla="*/ 34 w 200"/>
                  <a:gd name="T35" fmla="*/ 144 h 282"/>
                  <a:gd name="T36" fmla="*/ 34 w 200"/>
                  <a:gd name="T37" fmla="*/ 138 h 282"/>
                  <a:gd name="T38" fmla="*/ 54 w 200"/>
                  <a:gd name="T39" fmla="*/ 118 h 282"/>
                  <a:gd name="T40" fmla="*/ 34 w 200"/>
                  <a:gd name="T41" fmla="*/ 124 h 282"/>
                  <a:gd name="T42" fmla="*/ 14 w 200"/>
                  <a:gd name="T43" fmla="*/ 124 h 282"/>
                  <a:gd name="T44" fmla="*/ 28 w 200"/>
                  <a:gd name="T45" fmla="*/ 104 h 282"/>
                  <a:gd name="T46" fmla="*/ 42 w 200"/>
                  <a:gd name="T47" fmla="*/ 90 h 282"/>
                  <a:gd name="T48" fmla="*/ 54 w 200"/>
                  <a:gd name="T49" fmla="*/ 76 h 282"/>
                  <a:gd name="T50" fmla="*/ 48 w 200"/>
                  <a:gd name="T51" fmla="*/ 70 h 282"/>
                  <a:gd name="T52" fmla="*/ 48 w 200"/>
                  <a:gd name="T53" fmla="*/ 48 h 282"/>
                  <a:gd name="T54" fmla="*/ 68 w 200"/>
                  <a:gd name="T55" fmla="*/ 42 h 282"/>
                  <a:gd name="T56" fmla="*/ 82 w 200"/>
                  <a:gd name="T57" fmla="*/ 56 h 282"/>
                  <a:gd name="T58" fmla="*/ 76 w 200"/>
                  <a:gd name="T59" fmla="*/ 34 h 282"/>
                  <a:gd name="T60" fmla="*/ 82 w 200"/>
                  <a:gd name="T61" fmla="*/ 20 h 282"/>
                  <a:gd name="T62" fmla="*/ 96 w 200"/>
                  <a:gd name="T63" fmla="*/ 20 h 282"/>
                  <a:gd name="T64" fmla="*/ 110 w 200"/>
                  <a:gd name="T65" fmla="*/ 0 h 282"/>
                  <a:gd name="T66" fmla="*/ 124 w 200"/>
                  <a:gd name="T67" fmla="*/ 14 h 282"/>
                  <a:gd name="T68" fmla="*/ 144 w 200"/>
                  <a:gd name="T69" fmla="*/ 20 h 282"/>
                  <a:gd name="T70" fmla="*/ 166 w 200"/>
                  <a:gd name="T71" fmla="*/ 20 h 282"/>
                  <a:gd name="T72" fmla="*/ 172 w 200"/>
                  <a:gd name="T73" fmla="*/ 34 h 282"/>
                  <a:gd name="T74" fmla="*/ 152 w 200"/>
                  <a:gd name="T75" fmla="*/ 48 h 282"/>
                  <a:gd name="T76" fmla="*/ 132 w 200"/>
                  <a:gd name="T77" fmla="*/ 56 h 282"/>
                  <a:gd name="T78" fmla="*/ 118 w 200"/>
                  <a:gd name="T79" fmla="*/ 70 h 282"/>
                  <a:gd name="T80" fmla="*/ 110 w 200"/>
                  <a:gd name="T81" fmla="*/ 82 h 282"/>
                  <a:gd name="T82" fmla="*/ 104 w 200"/>
                  <a:gd name="T83" fmla="*/ 96 h 282"/>
                  <a:gd name="T84" fmla="*/ 132 w 200"/>
                  <a:gd name="T85" fmla="*/ 90 h 282"/>
                  <a:gd name="T86" fmla="*/ 166 w 200"/>
                  <a:gd name="T87" fmla="*/ 90 h 282"/>
                  <a:gd name="T88" fmla="*/ 180 w 200"/>
                  <a:gd name="T89" fmla="*/ 104 h 282"/>
                  <a:gd name="T90" fmla="*/ 200 w 200"/>
                  <a:gd name="T91" fmla="*/ 104 h 282"/>
                  <a:gd name="T92" fmla="*/ 194 w 200"/>
                  <a:gd name="T93" fmla="*/ 124 h 282"/>
                  <a:gd name="T94" fmla="*/ 180 w 200"/>
                  <a:gd name="T95" fmla="*/ 132 h 282"/>
                  <a:gd name="T96" fmla="*/ 180 w 200"/>
                  <a:gd name="T97" fmla="*/ 152 h 282"/>
                  <a:gd name="T98" fmla="*/ 158 w 200"/>
                  <a:gd name="T99" fmla="*/ 172 h 282"/>
                  <a:gd name="T100" fmla="*/ 138 w 200"/>
                  <a:gd name="T101" fmla="*/ 172 h 282"/>
                  <a:gd name="T102" fmla="*/ 118 w 200"/>
                  <a:gd name="T103" fmla="*/ 180 h 282"/>
                  <a:gd name="T104" fmla="*/ 138 w 200"/>
                  <a:gd name="T105" fmla="*/ 186 h 282"/>
                  <a:gd name="T106" fmla="*/ 118 w 200"/>
                  <a:gd name="T107" fmla="*/ 200 h 282"/>
                  <a:gd name="T108" fmla="*/ 96 w 200"/>
                  <a:gd name="T109" fmla="*/ 194 h 282"/>
                  <a:gd name="T110" fmla="*/ 96 w 200"/>
                  <a:gd name="T111" fmla="*/ 200 h 282"/>
                  <a:gd name="T112" fmla="*/ 124 w 200"/>
                  <a:gd name="T113" fmla="*/ 206 h 282"/>
                  <a:gd name="T114" fmla="*/ 144 w 200"/>
                  <a:gd name="T115" fmla="*/ 220 h 282"/>
                  <a:gd name="T116" fmla="*/ 138 w 200"/>
                  <a:gd name="T117" fmla="*/ 248 h 282"/>
                  <a:gd name="T118" fmla="*/ 132 w 200"/>
                  <a:gd name="T119" fmla="*/ 254 h 282"/>
                  <a:gd name="T120" fmla="*/ 118 w 200"/>
                  <a:gd name="T121" fmla="*/ 262 h 282"/>
                  <a:gd name="T122" fmla="*/ 104 w 200"/>
                  <a:gd name="T123" fmla="*/ 276 h 282"/>
                  <a:gd name="T124" fmla="*/ 90 w 200"/>
                  <a:gd name="T125" fmla="*/ 276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 h="282">
                    <a:moveTo>
                      <a:pt x="90" y="276"/>
                    </a:moveTo>
                    <a:lnTo>
                      <a:pt x="90" y="268"/>
                    </a:lnTo>
                    <a:lnTo>
                      <a:pt x="82" y="276"/>
                    </a:lnTo>
                    <a:lnTo>
                      <a:pt x="76" y="276"/>
                    </a:lnTo>
                    <a:lnTo>
                      <a:pt x="68" y="268"/>
                    </a:lnTo>
                    <a:lnTo>
                      <a:pt x="62" y="268"/>
                    </a:lnTo>
                    <a:lnTo>
                      <a:pt x="62" y="276"/>
                    </a:lnTo>
                    <a:lnTo>
                      <a:pt x="54" y="276"/>
                    </a:lnTo>
                    <a:lnTo>
                      <a:pt x="54" y="268"/>
                    </a:lnTo>
                    <a:lnTo>
                      <a:pt x="42" y="276"/>
                    </a:lnTo>
                    <a:lnTo>
                      <a:pt x="42" y="268"/>
                    </a:lnTo>
                    <a:lnTo>
                      <a:pt x="34" y="262"/>
                    </a:lnTo>
                    <a:lnTo>
                      <a:pt x="28" y="268"/>
                    </a:lnTo>
                    <a:lnTo>
                      <a:pt x="28" y="276"/>
                    </a:lnTo>
                    <a:lnTo>
                      <a:pt x="28" y="282"/>
                    </a:lnTo>
                    <a:lnTo>
                      <a:pt x="20" y="276"/>
                    </a:lnTo>
                    <a:lnTo>
                      <a:pt x="20" y="268"/>
                    </a:lnTo>
                    <a:lnTo>
                      <a:pt x="14" y="262"/>
                    </a:lnTo>
                    <a:lnTo>
                      <a:pt x="6" y="262"/>
                    </a:lnTo>
                    <a:lnTo>
                      <a:pt x="6" y="268"/>
                    </a:lnTo>
                    <a:lnTo>
                      <a:pt x="6" y="276"/>
                    </a:lnTo>
                    <a:lnTo>
                      <a:pt x="0" y="276"/>
                    </a:lnTo>
                    <a:lnTo>
                      <a:pt x="0" y="268"/>
                    </a:lnTo>
                    <a:lnTo>
                      <a:pt x="0" y="254"/>
                    </a:lnTo>
                    <a:lnTo>
                      <a:pt x="0" y="248"/>
                    </a:lnTo>
                    <a:lnTo>
                      <a:pt x="6" y="248"/>
                    </a:lnTo>
                    <a:lnTo>
                      <a:pt x="6" y="240"/>
                    </a:lnTo>
                    <a:lnTo>
                      <a:pt x="14" y="240"/>
                    </a:lnTo>
                    <a:lnTo>
                      <a:pt x="20" y="234"/>
                    </a:lnTo>
                    <a:lnTo>
                      <a:pt x="20" y="228"/>
                    </a:lnTo>
                    <a:lnTo>
                      <a:pt x="28" y="228"/>
                    </a:lnTo>
                    <a:lnTo>
                      <a:pt x="34" y="220"/>
                    </a:lnTo>
                    <a:lnTo>
                      <a:pt x="42" y="214"/>
                    </a:lnTo>
                    <a:lnTo>
                      <a:pt x="48" y="206"/>
                    </a:lnTo>
                    <a:lnTo>
                      <a:pt x="48" y="200"/>
                    </a:lnTo>
                    <a:lnTo>
                      <a:pt x="54" y="200"/>
                    </a:lnTo>
                    <a:lnTo>
                      <a:pt x="54" y="194"/>
                    </a:lnTo>
                    <a:lnTo>
                      <a:pt x="48" y="194"/>
                    </a:lnTo>
                    <a:lnTo>
                      <a:pt x="42" y="186"/>
                    </a:lnTo>
                    <a:lnTo>
                      <a:pt x="34" y="186"/>
                    </a:lnTo>
                    <a:lnTo>
                      <a:pt x="28" y="186"/>
                    </a:lnTo>
                    <a:lnTo>
                      <a:pt x="28" y="180"/>
                    </a:lnTo>
                    <a:lnTo>
                      <a:pt x="34" y="180"/>
                    </a:lnTo>
                    <a:lnTo>
                      <a:pt x="42" y="172"/>
                    </a:lnTo>
                    <a:lnTo>
                      <a:pt x="42" y="164"/>
                    </a:lnTo>
                    <a:lnTo>
                      <a:pt x="34" y="158"/>
                    </a:lnTo>
                    <a:lnTo>
                      <a:pt x="28" y="158"/>
                    </a:lnTo>
                    <a:lnTo>
                      <a:pt x="20" y="172"/>
                    </a:lnTo>
                    <a:lnTo>
                      <a:pt x="14" y="180"/>
                    </a:lnTo>
                    <a:lnTo>
                      <a:pt x="14" y="172"/>
                    </a:lnTo>
                    <a:lnTo>
                      <a:pt x="14" y="164"/>
                    </a:lnTo>
                    <a:lnTo>
                      <a:pt x="20" y="152"/>
                    </a:lnTo>
                    <a:lnTo>
                      <a:pt x="28" y="144"/>
                    </a:lnTo>
                    <a:lnTo>
                      <a:pt x="34" y="144"/>
                    </a:lnTo>
                    <a:lnTo>
                      <a:pt x="42" y="144"/>
                    </a:lnTo>
                    <a:lnTo>
                      <a:pt x="42" y="138"/>
                    </a:lnTo>
                    <a:lnTo>
                      <a:pt x="34" y="138"/>
                    </a:lnTo>
                    <a:lnTo>
                      <a:pt x="42" y="132"/>
                    </a:lnTo>
                    <a:lnTo>
                      <a:pt x="48" y="124"/>
                    </a:lnTo>
                    <a:lnTo>
                      <a:pt x="54" y="118"/>
                    </a:lnTo>
                    <a:lnTo>
                      <a:pt x="48" y="118"/>
                    </a:lnTo>
                    <a:lnTo>
                      <a:pt x="42" y="124"/>
                    </a:lnTo>
                    <a:lnTo>
                      <a:pt x="34" y="124"/>
                    </a:lnTo>
                    <a:lnTo>
                      <a:pt x="28" y="138"/>
                    </a:lnTo>
                    <a:lnTo>
                      <a:pt x="20" y="132"/>
                    </a:lnTo>
                    <a:lnTo>
                      <a:pt x="14" y="124"/>
                    </a:lnTo>
                    <a:lnTo>
                      <a:pt x="28" y="118"/>
                    </a:lnTo>
                    <a:lnTo>
                      <a:pt x="28" y="110"/>
                    </a:lnTo>
                    <a:lnTo>
                      <a:pt x="28" y="104"/>
                    </a:lnTo>
                    <a:lnTo>
                      <a:pt x="34" y="96"/>
                    </a:lnTo>
                    <a:lnTo>
                      <a:pt x="42" y="96"/>
                    </a:lnTo>
                    <a:lnTo>
                      <a:pt x="42" y="90"/>
                    </a:lnTo>
                    <a:lnTo>
                      <a:pt x="42" y="82"/>
                    </a:lnTo>
                    <a:lnTo>
                      <a:pt x="54" y="82"/>
                    </a:lnTo>
                    <a:lnTo>
                      <a:pt x="54" y="76"/>
                    </a:lnTo>
                    <a:lnTo>
                      <a:pt x="48" y="70"/>
                    </a:lnTo>
                    <a:lnTo>
                      <a:pt x="42" y="70"/>
                    </a:lnTo>
                    <a:lnTo>
                      <a:pt x="48" y="70"/>
                    </a:lnTo>
                    <a:lnTo>
                      <a:pt x="48" y="62"/>
                    </a:lnTo>
                    <a:lnTo>
                      <a:pt x="48" y="56"/>
                    </a:lnTo>
                    <a:lnTo>
                      <a:pt x="48" y="48"/>
                    </a:lnTo>
                    <a:lnTo>
                      <a:pt x="54" y="42"/>
                    </a:lnTo>
                    <a:lnTo>
                      <a:pt x="62" y="42"/>
                    </a:lnTo>
                    <a:lnTo>
                      <a:pt x="68" y="42"/>
                    </a:lnTo>
                    <a:lnTo>
                      <a:pt x="68" y="48"/>
                    </a:lnTo>
                    <a:lnTo>
                      <a:pt x="76" y="48"/>
                    </a:lnTo>
                    <a:lnTo>
                      <a:pt x="82" y="56"/>
                    </a:lnTo>
                    <a:lnTo>
                      <a:pt x="82" y="48"/>
                    </a:lnTo>
                    <a:lnTo>
                      <a:pt x="82" y="42"/>
                    </a:lnTo>
                    <a:lnTo>
                      <a:pt x="76" y="34"/>
                    </a:lnTo>
                    <a:lnTo>
                      <a:pt x="82" y="28"/>
                    </a:lnTo>
                    <a:lnTo>
                      <a:pt x="90" y="28"/>
                    </a:lnTo>
                    <a:lnTo>
                      <a:pt x="82" y="20"/>
                    </a:lnTo>
                    <a:lnTo>
                      <a:pt x="96" y="28"/>
                    </a:lnTo>
                    <a:lnTo>
                      <a:pt x="104" y="20"/>
                    </a:lnTo>
                    <a:lnTo>
                      <a:pt x="96" y="20"/>
                    </a:lnTo>
                    <a:lnTo>
                      <a:pt x="104" y="6"/>
                    </a:lnTo>
                    <a:lnTo>
                      <a:pt x="104" y="0"/>
                    </a:lnTo>
                    <a:lnTo>
                      <a:pt x="110" y="0"/>
                    </a:lnTo>
                    <a:lnTo>
                      <a:pt x="124" y="6"/>
                    </a:lnTo>
                    <a:lnTo>
                      <a:pt x="118" y="6"/>
                    </a:lnTo>
                    <a:lnTo>
                      <a:pt x="124" y="14"/>
                    </a:lnTo>
                    <a:lnTo>
                      <a:pt x="132" y="6"/>
                    </a:lnTo>
                    <a:lnTo>
                      <a:pt x="132" y="14"/>
                    </a:lnTo>
                    <a:lnTo>
                      <a:pt x="144" y="20"/>
                    </a:lnTo>
                    <a:lnTo>
                      <a:pt x="158" y="14"/>
                    </a:lnTo>
                    <a:lnTo>
                      <a:pt x="158" y="20"/>
                    </a:lnTo>
                    <a:lnTo>
                      <a:pt x="166" y="20"/>
                    </a:lnTo>
                    <a:lnTo>
                      <a:pt x="172" y="20"/>
                    </a:lnTo>
                    <a:lnTo>
                      <a:pt x="180" y="28"/>
                    </a:lnTo>
                    <a:lnTo>
                      <a:pt x="172" y="34"/>
                    </a:lnTo>
                    <a:lnTo>
                      <a:pt x="172" y="42"/>
                    </a:lnTo>
                    <a:lnTo>
                      <a:pt x="158" y="42"/>
                    </a:lnTo>
                    <a:lnTo>
                      <a:pt x="152" y="48"/>
                    </a:lnTo>
                    <a:lnTo>
                      <a:pt x="144" y="56"/>
                    </a:lnTo>
                    <a:lnTo>
                      <a:pt x="138" y="56"/>
                    </a:lnTo>
                    <a:lnTo>
                      <a:pt x="132" y="56"/>
                    </a:lnTo>
                    <a:lnTo>
                      <a:pt x="124" y="62"/>
                    </a:lnTo>
                    <a:lnTo>
                      <a:pt x="124" y="70"/>
                    </a:lnTo>
                    <a:lnTo>
                      <a:pt x="118" y="70"/>
                    </a:lnTo>
                    <a:lnTo>
                      <a:pt x="104" y="76"/>
                    </a:lnTo>
                    <a:lnTo>
                      <a:pt x="104" y="82"/>
                    </a:lnTo>
                    <a:lnTo>
                      <a:pt x="110" y="82"/>
                    </a:lnTo>
                    <a:lnTo>
                      <a:pt x="104" y="82"/>
                    </a:lnTo>
                    <a:lnTo>
                      <a:pt x="104" y="90"/>
                    </a:lnTo>
                    <a:lnTo>
                      <a:pt x="104" y="96"/>
                    </a:lnTo>
                    <a:lnTo>
                      <a:pt x="110" y="96"/>
                    </a:lnTo>
                    <a:lnTo>
                      <a:pt x="124" y="90"/>
                    </a:lnTo>
                    <a:lnTo>
                      <a:pt x="132" y="90"/>
                    </a:lnTo>
                    <a:lnTo>
                      <a:pt x="144" y="90"/>
                    </a:lnTo>
                    <a:lnTo>
                      <a:pt x="152" y="90"/>
                    </a:lnTo>
                    <a:lnTo>
                      <a:pt x="166" y="90"/>
                    </a:lnTo>
                    <a:lnTo>
                      <a:pt x="172" y="90"/>
                    </a:lnTo>
                    <a:lnTo>
                      <a:pt x="180" y="96"/>
                    </a:lnTo>
                    <a:lnTo>
                      <a:pt x="180" y="104"/>
                    </a:lnTo>
                    <a:lnTo>
                      <a:pt x="186" y="104"/>
                    </a:lnTo>
                    <a:lnTo>
                      <a:pt x="194" y="104"/>
                    </a:lnTo>
                    <a:lnTo>
                      <a:pt x="200" y="104"/>
                    </a:lnTo>
                    <a:lnTo>
                      <a:pt x="200" y="110"/>
                    </a:lnTo>
                    <a:lnTo>
                      <a:pt x="200" y="118"/>
                    </a:lnTo>
                    <a:lnTo>
                      <a:pt x="194" y="124"/>
                    </a:lnTo>
                    <a:lnTo>
                      <a:pt x="186" y="124"/>
                    </a:lnTo>
                    <a:lnTo>
                      <a:pt x="186" y="132"/>
                    </a:lnTo>
                    <a:lnTo>
                      <a:pt x="180" y="132"/>
                    </a:lnTo>
                    <a:lnTo>
                      <a:pt x="172" y="138"/>
                    </a:lnTo>
                    <a:lnTo>
                      <a:pt x="180" y="144"/>
                    </a:lnTo>
                    <a:lnTo>
                      <a:pt x="180" y="152"/>
                    </a:lnTo>
                    <a:lnTo>
                      <a:pt x="172" y="158"/>
                    </a:lnTo>
                    <a:lnTo>
                      <a:pt x="158" y="164"/>
                    </a:lnTo>
                    <a:lnTo>
                      <a:pt x="158" y="172"/>
                    </a:lnTo>
                    <a:lnTo>
                      <a:pt x="152" y="172"/>
                    </a:lnTo>
                    <a:lnTo>
                      <a:pt x="144" y="180"/>
                    </a:lnTo>
                    <a:lnTo>
                      <a:pt x="138" y="172"/>
                    </a:lnTo>
                    <a:lnTo>
                      <a:pt x="132" y="172"/>
                    </a:lnTo>
                    <a:lnTo>
                      <a:pt x="118" y="172"/>
                    </a:lnTo>
                    <a:lnTo>
                      <a:pt x="118" y="180"/>
                    </a:lnTo>
                    <a:lnTo>
                      <a:pt x="124" y="180"/>
                    </a:lnTo>
                    <a:lnTo>
                      <a:pt x="132" y="186"/>
                    </a:lnTo>
                    <a:lnTo>
                      <a:pt x="138" y="186"/>
                    </a:lnTo>
                    <a:lnTo>
                      <a:pt x="132" y="194"/>
                    </a:lnTo>
                    <a:lnTo>
                      <a:pt x="118" y="194"/>
                    </a:lnTo>
                    <a:lnTo>
                      <a:pt x="118" y="200"/>
                    </a:lnTo>
                    <a:lnTo>
                      <a:pt x="110" y="200"/>
                    </a:lnTo>
                    <a:lnTo>
                      <a:pt x="104" y="200"/>
                    </a:lnTo>
                    <a:lnTo>
                      <a:pt x="96" y="194"/>
                    </a:lnTo>
                    <a:lnTo>
                      <a:pt x="90" y="194"/>
                    </a:lnTo>
                    <a:lnTo>
                      <a:pt x="90" y="200"/>
                    </a:lnTo>
                    <a:lnTo>
                      <a:pt x="96" y="200"/>
                    </a:lnTo>
                    <a:lnTo>
                      <a:pt x="104" y="206"/>
                    </a:lnTo>
                    <a:lnTo>
                      <a:pt x="110" y="206"/>
                    </a:lnTo>
                    <a:lnTo>
                      <a:pt x="124" y="206"/>
                    </a:lnTo>
                    <a:lnTo>
                      <a:pt x="132" y="206"/>
                    </a:lnTo>
                    <a:lnTo>
                      <a:pt x="138" y="214"/>
                    </a:lnTo>
                    <a:lnTo>
                      <a:pt x="144" y="220"/>
                    </a:lnTo>
                    <a:lnTo>
                      <a:pt x="152" y="234"/>
                    </a:lnTo>
                    <a:lnTo>
                      <a:pt x="144" y="248"/>
                    </a:lnTo>
                    <a:lnTo>
                      <a:pt x="138" y="248"/>
                    </a:lnTo>
                    <a:lnTo>
                      <a:pt x="144" y="254"/>
                    </a:lnTo>
                    <a:lnTo>
                      <a:pt x="138" y="262"/>
                    </a:lnTo>
                    <a:lnTo>
                      <a:pt x="132" y="254"/>
                    </a:lnTo>
                    <a:lnTo>
                      <a:pt x="124" y="254"/>
                    </a:lnTo>
                    <a:lnTo>
                      <a:pt x="124" y="262"/>
                    </a:lnTo>
                    <a:lnTo>
                      <a:pt x="118" y="262"/>
                    </a:lnTo>
                    <a:lnTo>
                      <a:pt x="118" y="268"/>
                    </a:lnTo>
                    <a:lnTo>
                      <a:pt x="110" y="268"/>
                    </a:lnTo>
                    <a:lnTo>
                      <a:pt x="104" y="276"/>
                    </a:lnTo>
                    <a:lnTo>
                      <a:pt x="96" y="282"/>
                    </a:lnTo>
                    <a:lnTo>
                      <a:pt x="90" y="282"/>
                    </a:lnTo>
                    <a:lnTo>
                      <a:pt x="90" y="276"/>
                    </a:lnTo>
                    <a:lnTo>
                      <a:pt x="90" y="276"/>
                    </a:lnTo>
                    <a:lnTo>
                      <a:pt x="90" y="276"/>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0" name="Freeform 44"/>
              <p:cNvSpPr>
                <a:spLocks/>
              </p:cNvSpPr>
              <p:nvPr>
                <p:custDataLst>
                  <p:tags r:id="rId136"/>
                </p:custDataLst>
              </p:nvPr>
            </p:nvSpPr>
            <p:spPr bwMode="gray">
              <a:xfrm>
                <a:off x="4114159" y="3619402"/>
                <a:ext cx="1036868" cy="1082915"/>
              </a:xfrm>
              <a:custGeom>
                <a:avLst/>
                <a:gdLst>
                  <a:gd name="T0" fmla="*/ 62 w 653"/>
                  <a:gd name="T1" fmla="*/ 208 h 682"/>
                  <a:gd name="T2" fmla="*/ 96 w 653"/>
                  <a:gd name="T3" fmla="*/ 172 h 682"/>
                  <a:gd name="T4" fmla="*/ 160 w 653"/>
                  <a:gd name="T5" fmla="*/ 194 h 682"/>
                  <a:gd name="T6" fmla="*/ 172 w 653"/>
                  <a:gd name="T7" fmla="*/ 186 h 682"/>
                  <a:gd name="T8" fmla="*/ 194 w 653"/>
                  <a:gd name="T9" fmla="*/ 248 h 682"/>
                  <a:gd name="T10" fmla="*/ 242 w 653"/>
                  <a:gd name="T11" fmla="*/ 332 h 682"/>
                  <a:gd name="T12" fmla="*/ 326 w 653"/>
                  <a:gd name="T13" fmla="*/ 420 h 682"/>
                  <a:gd name="T14" fmla="*/ 368 w 653"/>
                  <a:gd name="T15" fmla="*/ 442 h 682"/>
                  <a:gd name="T16" fmla="*/ 422 w 653"/>
                  <a:gd name="T17" fmla="*/ 490 h 682"/>
                  <a:gd name="T18" fmla="*/ 436 w 653"/>
                  <a:gd name="T19" fmla="*/ 524 h 682"/>
                  <a:gd name="T20" fmla="*/ 484 w 653"/>
                  <a:gd name="T21" fmla="*/ 544 h 682"/>
                  <a:gd name="T22" fmla="*/ 507 w 653"/>
                  <a:gd name="T23" fmla="*/ 620 h 682"/>
                  <a:gd name="T24" fmla="*/ 484 w 653"/>
                  <a:gd name="T25" fmla="*/ 642 h 682"/>
                  <a:gd name="T26" fmla="*/ 470 w 653"/>
                  <a:gd name="T27" fmla="*/ 676 h 682"/>
                  <a:gd name="T28" fmla="*/ 507 w 653"/>
                  <a:gd name="T29" fmla="*/ 676 h 682"/>
                  <a:gd name="T30" fmla="*/ 527 w 653"/>
                  <a:gd name="T31" fmla="*/ 642 h 682"/>
                  <a:gd name="T32" fmla="*/ 561 w 653"/>
                  <a:gd name="T33" fmla="*/ 620 h 682"/>
                  <a:gd name="T34" fmla="*/ 569 w 653"/>
                  <a:gd name="T35" fmla="*/ 586 h 682"/>
                  <a:gd name="T36" fmla="*/ 541 w 653"/>
                  <a:gd name="T37" fmla="*/ 560 h 682"/>
                  <a:gd name="T38" fmla="*/ 555 w 653"/>
                  <a:gd name="T39" fmla="*/ 518 h 682"/>
                  <a:gd name="T40" fmla="*/ 575 w 653"/>
                  <a:gd name="T41" fmla="*/ 504 h 682"/>
                  <a:gd name="T42" fmla="*/ 611 w 653"/>
                  <a:gd name="T43" fmla="*/ 518 h 682"/>
                  <a:gd name="T44" fmla="*/ 625 w 653"/>
                  <a:gd name="T45" fmla="*/ 544 h 682"/>
                  <a:gd name="T46" fmla="*/ 653 w 653"/>
                  <a:gd name="T47" fmla="*/ 530 h 682"/>
                  <a:gd name="T48" fmla="*/ 625 w 653"/>
                  <a:gd name="T49" fmla="*/ 482 h 682"/>
                  <a:gd name="T50" fmla="*/ 561 w 653"/>
                  <a:gd name="T51" fmla="*/ 454 h 682"/>
                  <a:gd name="T52" fmla="*/ 521 w 653"/>
                  <a:gd name="T53" fmla="*/ 434 h 682"/>
                  <a:gd name="T54" fmla="*/ 521 w 653"/>
                  <a:gd name="T55" fmla="*/ 414 h 682"/>
                  <a:gd name="T56" fmla="*/ 458 w 653"/>
                  <a:gd name="T57" fmla="*/ 394 h 682"/>
                  <a:gd name="T58" fmla="*/ 408 w 653"/>
                  <a:gd name="T59" fmla="*/ 338 h 682"/>
                  <a:gd name="T60" fmla="*/ 388 w 653"/>
                  <a:gd name="T61" fmla="*/ 276 h 682"/>
                  <a:gd name="T62" fmla="*/ 360 w 653"/>
                  <a:gd name="T63" fmla="*/ 242 h 682"/>
                  <a:gd name="T64" fmla="*/ 318 w 653"/>
                  <a:gd name="T65" fmla="*/ 214 h 682"/>
                  <a:gd name="T66" fmla="*/ 318 w 653"/>
                  <a:gd name="T67" fmla="*/ 172 h 682"/>
                  <a:gd name="T68" fmla="*/ 318 w 653"/>
                  <a:gd name="T69" fmla="*/ 146 h 682"/>
                  <a:gd name="T70" fmla="*/ 326 w 653"/>
                  <a:gd name="T71" fmla="*/ 118 h 682"/>
                  <a:gd name="T72" fmla="*/ 368 w 653"/>
                  <a:gd name="T73" fmla="*/ 110 h 682"/>
                  <a:gd name="T74" fmla="*/ 388 w 653"/>
                  <a:gd name="T75" fmla="*/ 110 h 682"/>
                  <a:gd name="T76" fmla="*/ 402 w 653"/>
                  <a:gd name="T77" fmla="*/ 90 h 682"/>
                  <a:gd name="T78" fmla="*/ 402 w 653"/>
                  <a:gd name="T79" fmla="*/ 56 h 682"/>
                  <a:gd name="T80" fmla="*/ 368 w 653"/>
                  <a:gd name="T81" fmla="*/ 42 h 682"/>
                  <a:gd name="T82" fmla="*/ 340 w 653"/>
                  <a:gd name="T83" fmla="*/ 22 h 682"/>
                  <a:gd name="T84" fmla="*/ 298 w 653"/>
                  <a:gd name="T85" fmla="*/ 8 h 682"/>
                  <a:gd name="T86" fmla="*/ 264 w 653"/>
                  <a:gd name="T87" fmla="*/ 14 h 682"/>
                  <a:gd name="T88" fmla="*/ 242 w 653"/>
                  <a:gd name="T89" fmla="*/ 0 h 682"/>
                  <a:gd name="T90" fmla="*/ 228 w 653"/>
                  <a:gd name="T91" fmla="*/ 22 h 682"/>
                  <a:gd name="T92" fmla="*/ 208 w 653"/>
                  <a:gd name="T93" fmla="*/ 42 h 682"/>
                  <a:gd name="T94" fmla="*/ 180 w 653"/>
                  <a:gd name="T95" fmla="*/ 28 h 682"/>
                  <a:gd name="T96" fmla="*/ 160 w 653"/>
                  <a:gd name="T97" fmla="*/ 42 h 682"/>
                  <a:gd name="T98" fmla="*/ 132 w 653"/>
                  <a:gd name="T99" fmla="*/ 50 h 682"/>
                  <a:gd name="T100" fmla="*/ 110 w 653"/>
                  <a:gd name="T101" fmla="*/ 22 h 682"/>
                  <a:gd name="T102" fmla="*/ 76 w 653"/>
                  <a:gd name="T103" fmla="*/ 50 h 682"/>
                  <a:gd name="T104" fmla="*/ 28 w 653"/>
                  <a:gd name="T105" fmla="*/ 56 h 682"/>
                  <a:gd name="T106" fmla="*/ 34 w 653"/>
                  <a:gd name="T107" fmla="*/ 90 h 682"/>
                  <a:gd name="T108" fmla="*/ 0 w 653"/>
                  <a:gd name="T109" fmla="*/ 104 h 682"/>
                  <a:gd name="T110" fmla="*/ 20 w 653"/>
                  <a:gd name="T111" fmla="*/ 132 h 682"/>
                  <a:gd name="T112" fmla="*/ 14 w 653"/>
                  <a:gd name="T113" fmla="*/ 172 h 682"/>
                  <a:gd name="T114" fmla="*/ 42 w 653"/>
                  <a:gd name="T115" fmla="*/ 200 h 682"/>
                  <a:gd name="T116" fmla="*/ 28 w 653"/>
                  <a:gd name="T117" fmla="*/ 22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53" h="682">
                    <a:moveTo>
                      <a:pt x="28" y="220"/>
                    </a:moveTo>
                    <a:lnTo>
                      <a:pt x="42" y="214"/>
                    </a:lnTo>
                    <a:lnTo>
                      <a:pt x="48" y="208"/>
                    </a:lnTo>
                    <a:lnTo>
                      <a:pt x="56" y="208"/>
                    </a:lnTo>
                    <a:lnTo>
                      <a:pt x="62" y="208"/>
                    </a:lnTo>
                    <a:lnTo>
                      <a:pt x="76" y="200"/>
                    </a:lnTo>
                    <a:lnTo>
                      <a:pt x="84" y="194"/>
                    </a:lnTo>
                    <a:lnTo>
                      <a:pt x="84" y="186"/>
                    </a:lnTo>
                    <a:lnTo>
                      <a:pt x="90" y="180"/>
                    </a:lnTo>
                    <a:lnTo>
                      <a:pt x="96" y="172"/>
                    </a:lnTo>
                    <a:lnTo>
                      <a:pt x="110" y="172"/>
                    </a:lnTo>
                    <a:lnTo>
                      <a:pt x="118" y="172"/>
                    </a:lnTo>
                    <a:lnTo>
                      <a:pt x="132" y="186"/>
                    </a:lnTo>
                    <a:lnTo>
                      <a:pt x="138" y="180"/>
                    </a:lnTo>
                    <a:lnTo>
                      <a:pt x="160" y="194"/>
                    </a:lnTo>
                    <a:lnTo>
                      <a:pt x="160" y="186"/>
                    </a:lnTo>
                    <a:lnTo>
                      <a:pt x="166" y="180"/>
                    </a:lnTo>
                    <a:lnTo>
                      <a:pt x="172" y="180"/>
                    </a:lnTo>
                    <a:lnTo>
                      <a:pt x="180" y="180"/>
                    </a:lnTo>
                    <a:lnTo>
                      <a:pt x="172" y="186"/>
                    </a:lnTo>
                    <a:lnTo>
                      <a:pt x="172" y="194"/>
                    </a:lnTo>
                    <a:lnTo>
                      <a:pt x="180" y="200"/>
                    </a:lnTo>
                    <a:lnTo>
                      <a:pt x="172" y="208"/>
                    </a:lnTo>
                    <a:lnTo>
                      <a:pt x="186" y="220"/>
                    </a:lnTo>
                    <a:lnTo>
                      <a:pt x="194" y="248"/>
                    </a:lnTo>
                    <a:lnTo>
                      <a:pt x="200" y="276"/>
                    </a:lnTo>
                    <a:lnTo>
                      <a:pt x="208" y="284"/>
                    </a:lnTo>
                    <a:lnTo>
                      <a:pt x="222" y="318"/>
                    </a:lnTo>
                    <a:lnTo>
                      <a:pt x="228" y="318"/>
                    </a:lnTo>
                    <a:lnTo>
                      <a:pt x="242" y="332"/>
                    </a:lnTo>
                    <a:lnTo>
                      <a:pt x="250" y="346"/>
                    </a:lnTo>
                    <a:lnTo>
                      <a:pt x="256" y="352"/>
                    </a:lnTo>
                    <a:lnTo>
                      <a:pt x="264" y="358"/>
                    </a:lnTo>
                    <a:lnTo>
                      <a:pt x="284" y="380"/>
                    </a:lnTo>
                    <a:lnTo>
                      <a:pt x="326" y="420"/>
                    </a:lnTo>
                    <a:lnTo>
                      <a:pt x="332" y="420"/>
                    </a:lnTo>
                    <a:lnTo>
                      <a:pt x="340" y="434"/>
                    </a:lnTo>
                    <a:lnTo>
                      <a:pt x="354" y="434"/>
                    </a:lnTo>
                    <a:lnTo>
                      <a:pt x="360" y="448"/>
                    </a:lnTo>
                    <a:lnTo>
                      <a:pt x="368" y="442"/>
                    </a:lnTo>
                    <a:lnTo>
                      <a:pt x="388" y="462"/>
                    </a:lnTo>
                    <a:lnTo>
                      <a:pt x="396" y="470"/>
                    </a:lnTo>
                    <a:lnTo>
                      <a:pt x="402" y="476"/>
                    </a:lnTo>
                    <a:lnTo>
                      <a:pt x="408" y="476"/>
                    </a:lnTo>
                    <a:lnTo>
                      <a:pt x="422" y="490"/>
                    </a:lnTo>
                    <a:lnTo>
                      <a:pt x="430" y="490"/>
                    </a:lnTo>
                    <a:lnTo>
                      <a:pt x="436" y="496"/>
                    </a:lnTo>
                    <a:lnTo>
                      <a:pt x="436" y="510"/>
                    </a:lnTo>
                    <a:lnTo>
                      <a:pt x="436" y="518"/>
                    </a:lnTo>
                    <a:lnTo>
                      <a:pt x="436" y="524"/>
                    </a:lnTo>
                    <a:lnTo>
                      <a:pt x="450" y="530"/>
                    </a:lnTo>
                    <a:lnTo>
                      <a:pt x="458" y="530"/>
                    </a:lnTo>
                    <a:lnTo>
                      <a:pt x="464" y="530"/>
                    </a:lnTo>
                    <a:lnTo>
                      <a:pt x="478" y="538"/>
                    </a:lnTo>
                    <a:lnTo>
                      <a:pt x="484" y="544"/>
                    </a:lnTo>
                    <a:lnTo>
                      <a:pt x="484" y="552"/>
                    </a:lnTo>
                    <a:lnTo>
                      <a:pt x="493" y="558"/>
                    </a:lnTo>
                    <a:lnTo>
                      <a:pt x="499" y="578"/>
                    </a:lnTo>
                    <a:lnTo>
                      <a:pt x="507" y="600"/>
                    </a:lnTo>
                    <a:lnTo>
                      <a:pt x="507" y="620"/>
                    </a:lnTo>
                    <a:lnTo>
                      <a:pt x="499" y="628"/>
                    </a:lnTo>
                    <a:lnTo>
                      <a:pt x="493" y="628"/>
                    </a:lnTo>
                    <a:lnTo>
                      <a:pt x="484" y="628"/>
                    </a:lnTo>
                    <a:lnTo>
                      <a:pt x="484" y="634"/>
                    </a:lnTo>
                    <a:lnTo>
                      <a:pt x="484" y="642"/>
                    </a:lnTo>
                    <a:lnTo>
                      <a:pt x="484" y="648"/>
                    </a:lnTo>
                    <a:lnTo>
                      <a:pt x="484" y="654"/>
                    </a:lnTo>
                    <a:lnTo>
                      <a:pt x="478" y="662"/>
                    </a:lnTo>
                    <a:lnTo>
                      <a:pt x="470" y="668"/>
                    </a:lnTo>
                    <a:lnTo>
                      <a:pt x="470" y="676"/>
                    </a:lnTo>
                    <a:lnTo>
                      <a:pt x="478" y="682"/>
                    </a:lnTo>
                    <a:lnTo>
                      <a:pt x="484" y="682"/>
                    </a:lnTo>
                    <a:lnTo>
                      <a:pt x="493" y="682"/>
                    </a:lnTo>
                    <a:lnTo>
                      <a:pt x="499" y="682"/>
                    </a:lnTo>
                    <a:lnTo>
                      <a:pt x="507" y="676"/>
                    </a:lnTo>
                    <a:lnTo>
                      <a:pt x="513" y="676"/>
                    </a:lnTo>
                    <a:lnTo>
                      <a:pt x="513" y="668"/>
                    </a:lnTo>
                    <a:lnTo>
                      <a:pt x="527" y="662"/>
                    </a:lnTo>
                    <a:lnTo>
                      <a:pt x="527" y="654"/>
                    </a:lnTo>
                    <a:lnTo>
                      <a:pt x="527" y="642"/>
                    </a:lnTo>
                    <a:lnTo>
                      <a:pt x="535" y="634"/>
                    </a:lnTo>
                    <a:lnTo>
                      <a:pt x="541" y="628"/>
                    </a:lnTo>
                    <a:lnTo>
                      <a:pt x="549" y="620"/>
                    </a:lnTo>
                    <a:lnTo>
                      <a:pt x="555" y="620"/>
                    </a:lnTo>
                    <a:lnTo>
                      <a:pt x="561" y="620"/>
                    </a:lnTo>
                    <a:lnTo>
                      <a:pt x="569" y="620"/>
                    </a:lnTo>
                    <a:lnTo>
                      <a:pt x="569" y="614"/>
                    </a:lnTo>
                    <a:lnTo>
                      <a:pt x="569" y="606"/>
                    </a:lnTo>
                    <a:lnTo>
                      <a:pt x="569" y="600"/>
                    </a:lnTo>
                    <a:lnTo>
                      <a:pt x="569" y="586"/>
                    </a:lnTo>
                    <a:lnTo>
                      <a:pt x="569" y="578"/>
                    </a:lnTo>
                    <a:lnTo>
                      <a:pt x="569" y="572"/>
                    </a:lnTo>
                    <a:lnTo>
                      <a:pt x="561" y="566"/>
                    </a:lnTo>
                    <a:lnTo>
                      <a:pt x="549" y="572"/>
                    </a:lnTo>
                    <a:lnTo>
                      <a:pt x="541" y="560"/>
                    </a:lnTo>
                    <a:lnTo>
                      <a:pt x="539" y="542"/>
                    </a:lnTo>
                    <a:lnTo>
                      <a:pt x="541" y="530"/>
                    </a:lnTo>
                    <a:lnTo>
                      <a:pt x="549" y="530"/>
                    </a:lnTo>
                    <a:lnTo>
                      <a:pt x="549" y="524"/>
                    </a:lnTo>
                    <a:lnTo>
                      <a:pt x="555" y="518"/>
                    </a:lnTo>
                    <a:lnTo>
                      <a:pt x="549" y="518"/>
                    </a:lnTo>
                    <a:lnTo>
                      <a:pt x="555" y="510"/>
                    </a:lnTo>
                    <a:lnTo>
                      <a:pt x="561" y="504"/>
                    </a:lnTo>
                    <a:lnTo>
                      <a:pt x="569" y="504"/>
                    </a:lnTo>
                    <a:lnTo>
                      <a:pt x="575" y="504"/>
                    </a:lnTo>
                    <a:lnTo>
                      <a:pt x="575" y="510"/>
                    </a:lnTo>
                    <a:lnTo>
                      <a:pt x="589" y="518"/>
                    </a:lnTo>
                    <a:lnTo>
                      <a:pt x="597" y="518"/>
                    </a:lnTo>
                    <a:lnTo>
                      <a:pt x="603" y="518"/>
                    </a:lnTo>
                    <a:lnTo>
                      <a:pt x="611" y="518"/>
                    </a:lnTo>
                    <a:lnTo>
                      <a:pt x="617" y="518"/>
                    </a:lnTo>
                    <a:lnTo>
                      <a:pt x="617" y="524"/>
                    </a:lnTo>
                    <a:lnTo>
                      <a:pt x="617" y="530"/>
                    </a:lnTo>
                    <a:lnTo>
                      <a:pt x="625" y="538"/>
                    </a:lnTo>
                    <a:lnTo>
                      <a:pt x="625" y="544"/>
                    </a:lnTo>
                    <a:lnTo>
                      <a:pt x="631" y="552"/>
                    </a:lnTo>
                    <a:lnTo>
                      <a:pt x="637" y="552"/>
                    </a:lnTo>
                    <a:lnTo>
                      <a:pt x="645" y="552"/>
                    </a:lnTo>
                    <a:lnTo>
                      <a:pt x="653" y="544"/>
                    </a:lnTo>
                    <a:lnTo>
                      <a:pt x="653" y="530"/>
                    </a:lnTo>
                    <a:lnTo>
                      <a:pt x="653" y="518"/>
                    </a:lnTo>
                    <a:lnTo>
                      <a:pt x="653" y="510"/>
                    </a:lnTo>
                    <a:lnTo>
                      <a:pt x="637" y="504"/>
                    </a:lnTo>
                    <a:lnTo>
                      <a:pt x="631" y="490"/>
                    </a:lnTo>
                    <a:lnTo>
                      <a:pt x="625" y="482"/>
                    </a:lnTo>
                    <a:lnTo>
                      <a:pt x="611" y="476"/>
                    </a:lnTo>
                    <a:lnTo>
                      <a:pt x="597" y="476"/>
                    </a:lnTo>
                    <a:lnTo>
                      <a:pt x="589" y="470"/>
                    </a:lnTo>
                    <a:lnTo>
                      <a:pt x="583" y="462"/>
                    </a:lnTo>
                    <a:lnTo>
                      <a:pt x="561" y="454"/>
                    </a:lnTo>
                    <a:lnTo>
                      <a:pt x="555" y="448"/>
                    </a:lnTo>
                    <a:lnTo>
                      <a:pt x="549" y="442"/>
                    </a:lnTo>
                    <a:lnTo>
                      <a:pt x="541" y="442"/>
                    </a:lnTo>
                    <a:lnTo>
                      <a:pt x="527" y="442"/>
                    </a:lnTo>
                    <a:lnTo>
                      <a:pt x="521" y="434"/>
                    </a:lnTo>
                    <a:lnTo>
                      <a:pt x="507" y="428"/>
                    </a:lnTo>
                    <a:lnTo>
                      <a:pt x="499" y="428"/>
                    </a:lnTo>
                    <a:lnTo>
                      <a:pt x="507" y="420"/>
                    </a:lnTo>
                    <a:lnTo>
                      <a:pt x="513" y="420"/>
                    </a:lnTo>
                    <a:lnTo>
                      <a:pt x="521" y="414"/>
                    </a:lnTo>
                    <a:lnTo>
                      <a:pt x="521" y="400"/>
                    </a:lnTo>
                    <a:lnTo>
                      <a:pt x="499" y="394"/>
                    </a:lnTo>
                    <a:lnTo>
                      <a:pt x="493" y="394"/>
                    </a:lnTo>
                    <a:lnTo>
                      <a:pt x="470" y="394"/>
                    </a:lnTo>
                    <a:lnTo>
                      <a:pt x="458" y="394"/>
                    </a:lnTo>
                    <a:lnTo>
                      <a:pt x="444" y="386"/>
                    </a:lnTo>
                    <a:lnTo>
                      <a:pt x="436" y="372"/>
                    </a:lnTo>
                    <a:lnTo>
                      <a:pt x="430" y="366"/>
                    </a:lnTo>
                    <a:lnTo>
                      <a:pt x="416" y="352"/>
                    </a:lnTo>
                    <a:lnTo>
                      <a:pt x="408" y="338"/>
                    </a:lnTo>
                    <a:lnTo>
                      <a:pt x="396" y="324"/>
                    </a:lnTo>
                    <a:lnTo>
                      <a:pt x="396" y="310"/>
                    </a:lnTo>
                    <a:lnTo>
                      <a:pt x="402" y="304"/>
                    </a:lnTo>
                    <a:lnTo>
                      <a:pt x="396" y="290"/>
                    </a:lnTo>
                    <a:lnTo>
                      <a:pt x="388" y="276"/>
                    </a:lnTo>
                    <a:lnTo>
                      <a:pt x="388" y="268"/>
                    </a:lnTo>
                    <a:lnTo>
                      <a:pt x="382" y="262"/>
                    </a:lnTo>
                    <a:lnTo>
                      <a:pt x="382" y="248"/>
                    </a:lnTo>
                    <a:lnTo>
                      <a:pt x="374" y="248"/>
                    </a:lnTo>
                    <a:lnTo>
                      <a:pt x="360" y="242"/>
                    </a:lnTo>
                    <a:lnTo>
                      <a:pt x="346" y="234"/>
                    </a:lnTo>
                    <a:lnTo>
                      <a:pt x="340" y="234"/>
                    </a:lnTo>
                    <a:lnTo>
                      <a:pt x="326" y="228"/>
                    </a:lnTo>
                    <a:lnTo>
                      <a:pt x="326" y="220"/>
                    </a:lnTo>
                    <a:lnTo>
                      <a:pt x="318" y="214"/>
                    </a:lnTo>
                    <a:lnTo>
                      <a:pt x="318" y="208"/>
                    </a:lnTo>
                    <a:lnTo>
                      <a:pt x="312" y="194"/>
                    </a:lnTo>
                    <a:lnTo>
                      <a:pt x="318" y="186"/>
                    </a:lnTo>
                    <a:lnTo>
                      <a:pt x="318" y="180"/>
                    </a:lnTo>
                    <a:lnTo>
                      <a:pt x="318" y="172"/>
                    </a:lnTo>
                    <a:lnTo>
                      <a:pt x="326" y="166"/>
                    </a:lnTo>
                    <a:lnTo>
                      <a:pt x="332" y="160"/>
                    </a:lnTo>
                    <a:lnTo>
                      <a:pt x="332" y="152"/>
                    </a:lnTo>
                    <a:lnTo>
                      <a:pt x="326" y="152"/>
                    </a:lnTo>
                    <a:lnTo>
                      <a:pt x="318" y="146"/>
                    </a:lnTo>
                    <a:lnTo>
                      <a:pt x="318" y="138"/>
                    </a:lnTo>
                    <a:lnTo>
                      <a:pt x="312" y="138"/>
                    </a:lnTo>
                    <a:lnTo>
                      <a:pt x="318" y="132"/>
                    </a:lnTo>
                    <a:lnTo>
                      <a:pt x="326" y="132"/>
                    </a:lnTo>
                    <a:lnTo>
                      <a:pt x="326" y="118"/>
                    </a:lnTo>
                    <a:lnTo>
                      <a:pt x="340" y="118"/>
                    </a:lnTo>
                    <a:lnTo>
                      <a:pt x="346" y="118"/>
                    </a:lnTo>
                    <a:lnTo>
                      <a:pt x="354" y="118"/>
                    </a:lnTo>
                    <a:lnTo>
                      <a:pt x="360" y="118"/>
                    </a:lnTo>
                    <a:lnTo>
                      <a:pt x="368" y="110"/>
                    </a:lnTo>
                    <a:lnTo>
                      <a:pt x="374" y="110"/>
                    </a:lnTo>
                    <a:lnTo>
                      <a:pt x="374" y="104"/>
                    </a:lnTo>
                    <a:lnTo>
                      <a:pt x="382" y="104"/>
                    </a:lnTo>
                    <a:lnTo>
                      <a:pt x="388" y="104"/>
                    </a:lnTo>
                    <a:lnTo>
                      <a:pt x="388" y="110"/>
                    </a:lnTo>
                    <a:lnTo>
                      <a:pt x="396" y="118"/>
                    </a:lnTo>
                    <a:lnTo>
                      <a:pt x="396" y="104"/>
                    </a:lnTo>
                    <a:lnTo>
                      <a:pt x="402" y="104"/>
                    </a:lnTo>
                    <a:lnTo>
                      <a:pt x="408" y="96"/>
                    </a:lnTo>
                    <a:lnTo>
                      <a:pt x="402" y="90"/>
                    </a:lnTo>
                    <a:lnTo>
                      <a:pt x="396" y="84"/>
                    </a:lnTo>
                    <a:lnTo>
                      <a:pt x="408" y="76"/>
                    </a:lnTo>
                    <a:lnTo>
                      <a:pt x="408" y="70"/>
                    </a:lnTo>
                    <a:lnTo>
                      <a:pt x="402" y="62"/>
                    </a:lnTo>
                    <a:lnTo>
                      <a:pt x="402" y="56"/>
                    </a:lnTo>
                    <a:lnTo>
                      <a:pt x="402" y="50"/>
                    </a:lnTo>
                    <a:lnTo>
                      <a:pt x="396" y="50"/>
                    </a:lnTo>
                    <a:lnTo>
                      <a:pt x="388" y="42"/>
                    </a:lnTo>
                    <a:lnTo>
                      <a:pt x="374" y="42"/>
                    </a:lnTo>
                    <a:lnTo>
                      <a:pt x="368" y="42"/>
                    </a:lnTo>
                    <a:lnTo>
                      <a:pt x="360" y="42"/>
                    </a:lnTo>
                    <a:lnTo>
                      <a:pt x="354" y="42"/>
                    </a:lnTo>
                    <a:lnTo>
                      <a:pt x="346" y="36"/>
                    </a:lnTo>
                    <a:lnTo>
                      <a:pt x="340" y="28"/>
                    </a:lnTo>
                    <a:lnTo>
                      <a:pt x="340" y="22"/>
                    </a:lnTo>
                    <a:lnTo>
                      <a:pt x="332" y="14"/>
                    </a:lnTo>
                    <a:lnTo>
                      <a:pt x="326" y="8"/>
                    </a:lnTo>
                    <a:lnTo>
                      <a:pt x="312" y="8"/>
                    </a:lnTo>
                    <a:lnTo>
                      <a:pt x="304" y="8"/>
                    </a:lnTo>
                    <a:lnTo>
                      <a:pt x="298" y="8"/>
                    </a:lnTo>
                    <a:lnTo>
                      <a:pt x="292" y="8"/>
                    </a:lnTo>
                    <a:lnTo>
                      <a:pt x="284" y="0"/>
                    </a:lnTo>
                    <a:lnTo>
                      <a:pt x="276" y="0"/>
                    </a:lnTo>
                    <a:lnTo>
                      <a:pt x="276" y="8"/>
                    </a:lnTo>
                    <a:lnTo>
                      <a:pt x="264" y="14"/>
                    </a:lnTo>
                    <a:lnTo>
                      <a:pt x="256" y="14"/>
                    </a:lnTo>
                    <a:lnTo>
                      <a:pt x="250" y="14"/>
                    </a:lnTo>
                    <a:lnTo>
                      <a:pt x="250" y="8"/>
                    </a:lnTo>
                    <a:lnTo>
                      <a:pt x="250" y="0"/>
                    </a:lnTo>
                    <a:lnTo>
                      <a:pt x="242" y="0"/>
                    </a:lnTo>
                    <a:lnTo>
                      <a:pt x="236" y="0"/>
                    </a:lnTo>
                    <a:lnTo>
                      <a:pt x="236" y="8"/>
                    </a:lnTo>
                    <a:lnTo>
                      <a:pt x="236" y="14"/>
                    </a:lnTo>
                    <a:lnTo>
                      <a:pt x="236" y="22"/>
                    </a:lnTo>
                    <a:lnTo>
                      <a:pt x="228" y="22"/>
                    </a:lnTo>
                    <a:lnTo>
                      <a:pt x="222" y="14"/>
                    </a:lnTo>
                    <a:lnTo>
                      <a:pt x="214" y="22"/>
                    </a:lnTo>
                    <a:lnTo>
                      <a:pt x="208" y="28"/>
                    </a:lnTo>
                    <a:lnTo>
                      <a:pt x="214" y="36"/>
                    </a:lnTo>
                    <a:lnTo>
                      <a:pt x="208" y="42"/>
                    </a:lnTo>
                    <a:lnTo>
                      <a:pt x="200" y="36"/>
                    </a:lnTo>
                    <a:lnTo>
                      <a:pt x="194" y="36"/>
                    </a:lnTo>
                    <a:lnTo>
                      <a:pt x="186" y="36"/>
                    </a:lnTo>
                    <a:lnTo>
                      <a:pt x="180" y="36"/>
                    </a:lnTo>
                    <a:lnTo>
                      <a:pt x="180" y="28"/>
                    </a:lnTo>
                    <a:lnTo>
                      <a:pt x="172" y="22"/>
                    </a:lnTo>
                    <a:lnTo>
                      <a:pt x="166" y="22"/>
                    </a:lnTo>
                    <a:lnTo>
                      <a:pt x="166" y="28"/>
                    </a:lnTo>
                    <a:lnTo>
                      <a:pt x="166" y="42"/>
                    </a:lnTo>
                    <a:lnTo>
                      <a:pt x="160" y="42"/>
                    </a:lnTo>
                    <a:lnTo>
                      <a:pt x="152" y="50"/>
                    </a:lnTo>
                    <a:lnTo>
                      <a:pt x="146" y="56"/>
                    </a:lnTo>
                    <a:lnTo>
                      <a:pt x="146" y="62"/>
                    </a:lnTo>
                    <a:lnTo>
                      <a:pt x="138" y="56"/>
                    </a:lnTo>
                    <a:lnTo>
                      <a:pt x="132" y="50"/>
                    </a:lnTo>
                    <a:lnTo>
                      <a:pt x="124" y="42"/>
                    </a:lnTo>
                    <a:lnTo>
                      <a:pt x="124" y="36"/>
                    </a:lnTo>
                    <a:lnTo>
                      <a:pt x="124" y="28"/>
                    </a:lnTo>
                    <a:lnTo>
                      <a:pt x="118" y="22"/>
                    </a:lnTo>
                    <a:lnTo>
                      <a:pt x="110" y="22"/>
                    </a:lnTo>
                    <a:lnTo>
                      <a:pt x="104" y="28"/>
                    </a:lnTo>
                    <a:lnTo>
                      <a:pt x="104" y="36"/>
                    </a:lnTo>
                    <a:lnTo>
                      <a:pt x="96" y="50"/>
                    </a:lnTo>
                    <a:lnTo>
                      <a:pt x="90" y="50"/>
                    </a:lnTo>
                    <a:lnTo>
                      <a:pt x="76" y="50"/>
                    </a:lnTo>
                    <a:lnTo>
                      <a:pt x="68" y="42"/>
                    </a:lnTo>
                    <a:lnTo>
                      <a:pt x="42" y="50"/>
                    </a:lnTo>
                    <a:lnTo>
                      <a:pt x="34" y="50"/>
                    </a:lnTo>
                    <a:lnTo>
                      <a:pt x="34" y="56"/>
                    </a:lnTo>
                    <a:lnTo>
                      <a:pt x="28" y="56"/>
                    </a:lnTo>
                    <a:lnTo>
                      <a:pt x="28" y="62"/>
                    </a:lnTo>
                    <a:lnTo>
                      <a:pt x="34" y="70"/>
                    </a:lnTo>
                    <a:lnTo>
                      <a:pt x="34" y="76"/>
                    </a:lnTo>
                    <a:lnTo>
                      <a:pt x="42" y="84"/>
                    </a:lnTo>
                    <a:lnTo>
                      <a:pt x="34" y="90"/>
                    </a:lnTo>
                    <a:lnTo>
                      <a:pt x="28" y="96"/>
                    </a:lnTo>
                    <a:lnTo>
                      <a:pt x="20" y="104"/>
                    </a:lnTo>
                    <a:lnTo>
                      <a:pt x="14" y="104"/>
                    </a:lnTo>
                    <a:lnTo>
                      <a:pt x="6" y="104"/>
                    </a:lnTo>
                    <a:lnTo>
                      <a:pt x="0" y="104"/>
                    </a:lnTo>
                    <a:lnTo>
                      <a:pt x="0" y="110"/>
                    </a:lnTo>
                    <a:lnTo>
                      <a:pt x="6" y="118"/>
                    </a:lnTo>
                    <a:lnTo>
                      <a:pt x="14" y="118"/>
                    </a:lnTo>
                    <a:lnTo>
                      <a:pt x="20" y="126"/>
                    </a:lnTo>
                    <a:lnTo>
                      <a:pt x="20" y="132"/>
                    </a:lnTo>
                    <a:lnTo>
                      <a:pt x="20" y="138"/>
                    </a:lnTo>
                    <a:lnTo>
                      <a:pt x="14" y="146"/>
                    </a:lnTo>
                    <a:lnTo>
                      <a:pt x="14" y="152"/>
                    </a:lnTo>
                    <a:lnTo>
                      <a:pt x="14" y="166"/>
                    </a:lnTo>
                    <a:lnTo>
                      <a:pt x="14" y="172"/>
                    </a:lnTo>
                    <a:lnTo>
                      <a:pt x="20" y="186"/>
                    </a:lnTo>
                    <a:lnTo>
                      <a:pt x="28" y="186"/>
                    </a:lnTo>
                    <a:lnTo>
                      <a:pt x="42" y="186"/>
                    </a:lnTo>
                    <a:lnTo>
                      <a:pt x="48" y="194"/>
                    </a:lnTo>
                    <a:lnTo>
                      <a:pt x="42" y="200"/>
                    </a:lnTo>
                    <a:lnTo>
                      <a:pt x="42" y="208"/>
                    </a:lnTo>
                    <a:lnTo>
                      <a:pt x="34" y="214"/>
                    </a:lnTo>
                    <a:lnTo>
                      <a:pt x="28" y="220"/>
                    </a:lnTo>
                    <a:lnTo>
                      <a:pt x="28" y="220"/>
                    </a:lnTo>
                    <a:lnTo>
                      <a:pt x="28" y="220"/>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1" name="Freeform 45"/>
              <p:cNvSpPr>
                <a:spLocks/>
              </p:cNvSpPr>
              <p:nvPr/>
            </p:nvSpPr>
            <p:spPr bwMode="gray">
              <a:xfrm>
                <a:off x="4104632" y="3514604"/>
                <a:ext cx="393788" cy="206421"/>
              </a:xfrm>
              <a:custGeom>
                <a:avLst/>
                <a:gdLst>
                  <a:gd name="T0" fmla="*/ 36 w 248"/>
                  <a:gd name="T1" fmla="*/ 104 h 130"/>
                  <a:gd name="T2" fmla="*/ 42 w 248"/>
                  <a:gd name="T3" fmla="*/ 96 h 130"/>
                  <a:gd name="T4" fmla="*/ 36 w 248"/>
                  <a:gd name="T5" fmla="*/ 82 h 130"/>
                  <a:gd name="T6" fmla="*/ 48 w 248"/>
                  <a:gd name="T7" fmla="*/ 82 h 130"/>
                  <a:gd name="T8" fmla="*/ 42 w 248"/>
                  <a:gd name="T9" fmla="*/ 62 h 130"/>
                  <a:gd name="T10" fmla="*/ 36 w 248"/>
                  <a:gd name="T11" fmla="*/ 68 h 130"/>
                  <a:gd name="T12" fmla="*/ 22 w 248"/>
                  <a:gd name="T13" fmla="*/ 82 h 130"/>
                  <a:gd name="T14" fmla="*/ 0 w 248"/>
                  <a:gd name="T15" fmla="*/ 74 h 130"/>
                  <a:gd name="T16" fmla="*/ 22 w 248"/>
                  <a:gd name="T17" fmla="*/ 48 h 130"/>
                  <a:gd name="T18" fmla="*/ 28 w 248"/>
                  <a:gd name="T19" fmla="*/ 34 h 130"/>
                  <a:gd name="T20" fmla="*/ 56 w 248"/>
                  <a:gd name="T21" fmla="*/ 28 h 130"/>
                  <a:gd name="T22" fmla="*/ 62 w 248"/>
                  <a:gd name="T23" fmla="*/ 6 h 130"/>
                  <a:gd name="T24" fmla="*/ 76 w 248"/>
                  <a:gd name="T25" fmla="*/ 6 h 130"/>
                  <a:gd name="T26" fmla="*/ 90 w 248"/>
                  <a:gd name="T27" fmla="*/ 0 h 130"/>
                  <a:gd name="T28" fmla="*/ 98 w 248"/>
                  <a:gd name="T29" fmla="*/ 0 h 130"/>
                  <a:gd name="T30" fmla="*/ 104 w 248"/>
                  <a:gd name="T31" fmla="*/ 0 h 130"/>
                  <a:gd name="T32" fmla="*/ 126 w 248"/>
                  <a:gd name="T33" fmla="*/ 6 h 130"/>
                  <a:gd name="T34" fmla="*/ 138 w 248"/>
                  <a:gd name="T35" fmla="*/ 6 h 130"/>
                  <a:gd name="T36" fmla="*/ 152 w 248"/>
                  <a:gd name="T37" fmla="*/ 6 h 130"/>
                  <a:gd name="T38" fmla="*/ 174 w 248"/>
                  <a:gd name="T39" fmla="*/ 6 h 130"/>
                  <a:gd name="T40" fmla="*/ 180 w 248"/>
                  <a:gd name="T41" fmla="*/ 14 h 130"/>
                  <a:gd name="T42" fmla="*/ 186 w 248"/>
                  <a:gd name="T43" fmla="*/ 20 h 130"/>
                  <a:gd name="T44" fmla="*/ 200 w 248"/>
                  <a:gd name="T45" fmla="*/ 34 h 130"/>
                  <a:gd name="T46" fmla="*/ 194 w 248"/>
                  <a:gd name="T47" fmla="*/ 48 h 130"/>
                  <a:gd name="T48" fmla="*/ 200 w 248"/>
                  <a:gd name="T49" fmla="*/ 54 h 130"/>
                  <a:gd name="T50" fmla="*/ 214 w 248"/>
                  <a:gd name="T51" fmla="*/ 62 h 130"/>
                  <a:gd name="T52" fmla="*/ 248 w 248"/>
                  <a:gd name="T53" fmla="*/ 68 h 130"/>
                  <a:gd name="T54" fmla="*/ 242 w 248"/>
                  <a:gd name="T55" fmla="*/ 74 h 130"/>
                  <a:gd name="T56" fmla="*/ 242 w 248"/>
                  <a:gd name="T57" fmla="*/ 90 h 130"/>
                  <a:gd name="T58" fmla="*/ 228 w 248"/>
                  <a:gd name="T59" fmla="*/ 82 h 130"/>
                  <a:gd name="T60" fmla="*/ 214 w 248"/>
                  <a:gd name="T61" fmla="*/ 96 h 130"/>
                  <a:gd name="T62" fmla="*/ 214 w 248"/>
                  <a:gd name="T63" fmla="*/ 110 h 130"/>
                  <a:gd name="T64" fmla="*/ 200 w 248"/>
                  <a:gd name="T65" fmla="*/ 104 h 130"/>
                  <a:gd name="T66" fmla="*/ 186 w 248"/>
                  <a:gd name="T67" fmla="*/ 104 h 130"/>
                  <a:gd name="T68" fmla="*/ 180 w 248"/>
                  <a:gd name="T69" fmla="*/ 90 h 130"/>
                  <a:gd name="T70" fmla="*/ 174 w 248"/>
                  <a:gd name="T71" fmla="*/ 96 h 130"/>
                  <a:gd name="T72" fmla="*/ 166 w 248"/>
                  <a:gd name="T73" fmla="*/ 110 h 130"/>
                  <a:gd name="T74" fmla="*/ 152 w 248"/>
                  <a:gd name="T75" fmla="*/ 124 h 130"/>
                  <a:gd name="T76" fmla="*/ 146 w 248"/>
                  <a:gd name="T77" fmla="*/ 124 h 130"/>
                  <a:gd name="T78" fmla="*/ 132 w 248"/>
                  <a:gd name="T79" fmla="*/ 110 h 130"/>
                  <a:gd name="T80" fmla="*/ 132 w 248"/>
                  <a:gd name="T81" fmla="*/ 96 h 130"/>
                  <a:gd name="T82" fmla="*/ 118 w 248"/>
                  <a:gd name="T83" fmla="*/ 90 h 130"/>
                  <a:gd name="T84" fmla="*/ 112 w 248"/>
                  <a:gd name="T85" fmla="*/ 104 h 130"/>
                  <a:gd name="T86" fmla="*/ 98 w 248"/>
                  <a:gd name="T87" fmla="*/ 116 h 130"/>
                  <a:gd name="T88" fmla="*/ 76 w 248"/>
                  <a:gd name="T89" fmla="*/ 110 h 130"/>
                  <a:gd name="T90" fmla="*/ 42 w 248"/>
                  <a:gd name="T91" fmla="*/ 110 h 130"/>
                  <a:gd name="T92" fmla="*/ 42 w 248"/>
                  <a:gd name="T93" fmla="*/ 11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8" h="130">
                    <a:moveTo>
                      <a:pt x="42" y="110"/>
                    </a:moveTo>
                    <a:lnTo>
                      <a:pt x="36" y="104"/>
                    </a:lnTo>
                    <a:lnTo>
                      <a:pt x="36" y="96"/>
                    </a:lnTo>
                    <a:lnTo>
                      <a:pt x="42" y="96"/>
                    </a:lnTo>
                    <a:lnTo>
                      <a:pt x="36" y="90"/>
                    </a:lnTo>
                    <a:lnTo>
                      <a:pt x="36" y="82"/>
                    </a:lnTo>
                    <a:lnTo>
                      <a:pt x="42" y="82"/>
                    </a:lnTo>
                    <a:lnTo>
                      <a:pt x="48" y="82"/>
                    </a:lnTo>
                    <a:lnTo>
                      <a:pt x="48" y="74"/>
                    </a:lnTo>
                    <a:lnTo>
                      <a:pt x="42" y="62"/>
                    </a:lnTo>
                    <a:lnTo>
                      <a:pt x="36" y="62"/>
                    </a:lnTo>
                    <a:lnTo>
                      <a:pt x="36" y="68"/>
                    </a:lnTo>
                    <a:lnTo>
                      <a:pt x="28" y="68"/>
                    </a:lnTo>
                    <a:lnTo>
                      <a:pt x="22" y="82"/>
                    </a:lnTo>
                    <a:lnTo>
                      <a:pt x="8" y="90"/>
                    </a:lnTo>
                    <a:lnTo>
                      <a:pt x="0" y="74"/>
                    </a:lnTo>
                    <a:lnTo>
                      <a:pt x="8" y="62"/>
                    </a:lnTo>
                    <a:lnTo>
                      <a:pt x="22" y="48"/>
                    </a:lnTo>
                    <a:lnTo>
                      <a:pt x="22" y="42"/>
                    </a:lnTo>
                    <a:lnTo>
                      <a:pt x="28" y="34"/>
                    </a:lnTo>
                    <a:lnTo>
                      <a:pt x="42" y="34"/>
                    </a:lnTo>
                    <a:lnTo>
                      <a:pt x="56" y="28"/>
                    </a:lnTo>
                    <a:lnTo>
                      <a:pt x="62" y="14"/>
                    </a:lnTo>
                    <a:lnTo>
                      <a:pt x="62" y="6"/>
                    </a:lnTo>
                    <a:lnTo>
                      <a:pt x="70" y="0"/>
                    </a:lnTo>
                    <a:lnTo>
                      <a:pt x="76" y="6"/>
                    </a:lnTo>
                    <a:lnTo>
                      <a:pt x="84" y="14"/>
                    </a:lnTo>
                    <a:lnTo>
                      <a:pt x="90" y="0"/>
                    </a:lnTo>
                    <a:lnTo>
                      <a:pt x="98" y="6"/>
                    </a:lnTo>
                    <a:lnTo>
                      <a:pt x="98" y="0"/>
                    </a:lnTo>
                    <a:lnTo>
                      <a:pt x="104" y="6"/>
                    </a:lnTo>
                    <a:lnTo>
                      <a:pt x="104" y="0"/>
                    </a:lnTo>
                    <a:lnTo>
                      <a:pt x="118" y="6"/>
                    </a:lnTo>
                    <a:lnTo>
                      <a:pt x="126" y="6"/>
                    </a:lnTo>
                    <a:lnTo>
                      <a:pt x="132" y="6"/>
                    </a:lnTo>
                    <a:lnTo>
                      <a:pt x="138" y="6"/>
                    </a:lnTo>
                    <a:lnTo>
                      <a:pt x="146" y="6"/>
                    </a:lnTo>
                    <a:lnTo>
                      <a:pt x="152" y="6"/>
                    </a:lnTo>
                    <a:lnTo>
                      <a:pt x="160" y="6"/>
                    </a:lnTo>
                    <a:lnTo>
                      <a:pt x="174" y="6"/>
                    </a:lnTo>
                    <a:lnTo>
                      <a:pt x="174" y="14"/>
                    </a:lnTo>
                    <a:lnTo>
                      <a:pt x="180" y="14"/>
                    </a:lnTo>
                    <a:lnTo>
                      <a:pt x="186" y="14"/>
                    </a:lnTo>
                    <a:lnTo>
                      <a:pt x="186" y="20"/>
                    </a:lnTo>
                    <a:lnTo>
                      <a:pt x="200" y="28"/>
                    </a:lnTo>
                    <a:lnTo>
                      <a:pt x="200" y="34"/>
                    </a:lnTo>
                    <a:lnTo>
                      <a:pt x="194" y="42"/>
                    </a:lnTo>
                    <a:lnTo>
                      <a:pt x="194" y="48"/>
                    </a:lnTo>
                    <a:lnTo>
                      <a:pt x="200" y="48"/>
                    </a:lnTo>
                    <a:lnTo>
                      <a:pt x="200" y="54"/>
                    </a:lnTo>
                    <a:lnTo>
                      <a:pt x="208" y="54"/>
                    </a:lnTo>
                    <a:lnTo>
                      <a:pt x="214" y="62"/>
                    </a:lnTo>
                    <a:lnTo>
                      <a:pt x="222" y="68"/>
                    </a:lnTo>
                    <a:lnTo>
                      <a:pt x="248" y="68"/>
                    </a:lnTo>
                    <a:lnTo>
                      <a:pt x="242" y="68"/>
                    </a:lnTo>
                    <a:lnTo>
                      <a:pt x="242" y="74"/>
                    </a:lnTo>
                    <a:lnTo>
                      <a:pt x="242" y="82"/>
                    </a:lnTo>
                    <a:lnTo>
                      <a:pt x="242" y="90"/>
                    </a:lnTo>
                    <a:lnTo>
                      <a:pt x="236" y="90"/>
                    </a:lnTo>
                    <a:lnTo>
                      <a:pt x="228" y="82"/>
                    </a:lnTo>
                    <a:lnTo>
                      <a:pt x="222" y="90"/>
                    </a:lnTo>
                    <a:lnTo>
                      <a:pt x="214" y="96"/>
                    </a:lnTo>
                    <a:lnTo>
                      <a:pt x="222" y="104"/>
                    </a:lnTo>
                    <a:lnTo>
                      <a:pt x="214" y="110"/>
                    </a:lnTo>
                    <a:lnTo>
                      <a:pt x="208" y="104"/>
                    </a:lnTo>
                    <a:lnTo>
                      <a:pt x="200" y="104"/>
                    </a:lnTo>
                    <a:lnTo>
                      <a:pt x="194" y="104"/>
                    </a:lnTo>
                    <a:lnTo>
                      <a:pt x="186" y="104"/>
                    </a:lnTo>
                    <a:lnTo>
                      <a:pt x="186" y="96"/>
                    </a:lnTo>
                    <a:lnTo>
                      <a:pt x="180" y="90"/>
                    </a:lnTo>
                    <a:lnTo>
                      <a:pt x="174" y="90"/>
                    </a:lnTo>
                    <a:lnTo>
                      <a:pt x="174" y="96"/>
                    </a:lnTo>
                    <a:lnTo>
                      <a:pt x="174" y="110"/>
                    </a:lnTo>
                    <a:lnTo>
                      <a:pt x="166" y="110"/>
                    </a:lnTo>
                    <a:lnTo>
                      <a:pt x="160" y="116"/>
                    </a:lnTo>
                    <a:lnTo>
                      <a:pt x="152" y="124"/>
                    </a:lnTo>
                    <a:lnTo>
                      <a:pt x="152" y="130"/>
                    </a:lnTo>
                    <a:lnTo>
                      <a:pt x="146" y="124"/>
                    </a:lnTo>
                    <a:lnTo>
                      <a:pt x="138" y="116"/>
                    </a:lnTo>
                    <a:lnTo>
                      <a:pt x="132" y="110"/>
                    </a:lnTo>
                    <a:lnTo>
                      <a:pt x="132" y="104"/>
                    </a:lnTo>
                    <a:lnTo>
                      <a:pt x="132" y="96"/>
                    </a:lnTo>
                    <a:lnTo>
                      <a:pt x="126" y="90"/>
                    </a:lnTo>
                    <a:lnTo>
                      <a:pt x="118" y="90"/>
                    </a:lnTo>
                    <a:lnTo>
                      <a:pt x="112" y="96"/>
                    </a:lnTo>
                    <a:lnTo>
                      <a:pt x="112" y="104"/>
                    </a:lnTo>
                    <a:lnTo>
                      <a:pt x="104" y="116"/>
                    </a:lnTo>
                    <a:lnTo>
                      <a:pt x="98" y="116"/>
                    </a:lnTo>
                    <a:lnTo>
                      <a:pt x="84" y="116"/>
                    </a:lnTo>
                    <a:lnTo>
                      <a:pt x="76" y="110"/>
                    </a:lnTo>
                    <a:lnTo>
                      <a:pt x="48" y="116"/>
                    </a:lnTo>
                    <a:lnTo>
                      <a:pt x="42" y="110"/>
                    </a:lnTo>
                    <a:lnTo>
                      <a:pt x="42" y="110"/>
                    </a:lnTo>
                    <a:lnTo>
                      <a:pt x="42" y="11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2" name="Freeform 46"/>
              <p:cNvSpPr>
                <a:spLocks/>
              </p:cNvSpPr>
              <p:nvPr>
                <p:custDataLst>
                  <p:tags r:id="rId137"/>
                </p:custDataLst>
              </p:nvPr>
            </p:nvSpPr>
            <p:spPr bwMode="gray">
              <a:xfrm>
                <a:off x="4412675" y="3425684"/>
                <a:ext cx="639905" cy="292165"/>
              </a:xfrm>
              <a:custGeom>
                <a:avLst/>
                <a:gdLst>
                  <a:gd name="T0" fmla="*/ 347 w 403"/>
                  <a:gd name="T1" fmla="*/ 164 h 184"/>
                  <a:gd name="T2" fmla="*/ 341 w 403"/>
                  <a:gd name="T3" fmla="*/ 164 h 184"/>
                  <a:gd name="T4" fmla="*/ 319 w 403"/>
                  <a:gd name="T5" fmla="*/ 164 h 184"/>
                  <a:gd name="T6" fmla="*/ 298 w 403"/>
                  <a:gd name="T7" fmla="*/ 164 h 184"/>
                  <a:gd name="T8" fmla="*/ 284 w 403"/>
                  <a:gd name="T9" fmla="*/ 178 h 184"/>
                  <a:gd name="T10" fmla="*/ 262 w 403"/>
                  <a:gd name="T11" fmla="*/ 184 h 184"/>
                  <a:gd name="T12" fmla="*/ 242 w 403"/>
                  <a:gd name="T13" fmla="*/ 178 h 184"/>
                  <a:gd name="T14" fmla="*/ 228 w 403"/>
                  <a:gd name="T15" fmla="*/ 178 h 184"/>
                  <a:gd name="T16" fmla="*/ 200 w 403"/>
                  <a:gd name="T17" fmla="*/ 164 h 184"/>
                  <a:gd name="T18" fmla="*/ 174 w 403"/>
                  <a:gd name="T19" fmla="*/ 164 h 184"/>
                  <a:gd name="T20" fmla="*/ 152 w 403"/>
                  <a:gd name="T21" fmla="*/ 150 h 184"/>
                  <a:gd name="T22" fmla="*/ 138 w 403"/>
                  <a:gd name="T23" fmla="*/ 130 h 184"/>
                  <a:gd name="T24" fmla="*/ 110 w 403"/>
                  <a:gd name="T25" fmla="*/ 130 h 184"/>
                  <a:gd name="T26" fmla="*/ 90 w 403"/>
                  <a:gd name="T27" fmla="*/ 124 h 184"/>
                  <a:gd name="T28" fmla="*/ 70 w 403"/>
                  <a:gd name="T29" fmla="*/ 138 h 184"/>
                  <a:gd name="T30" fmla="*/ 62 w 403"/>
                  <a:gd name="T31" fmla="*/ 124 h 184"/>
                  <a:gd name="T32" fmla="*/ 20 w 403"/>
                  <a:gd name="T33" fmla="*/ 116 h 184"/>
                  <a:gd name="T34" fmla="*/ 6 w 403"/>
                  <a:gd name="T35" fmla="*/ 104 h 184"/>
                  <a:gd name="T36" fmla="*/ 6 w 403"/>
                  <a:gd name="T37" fmla="*/ 88 h 184"/>
                  <a:gd name="T38" fmla="*/ 20 w 403"/>
                  <a:gd name="T39" fmla="*/ 76 h 184"/>
                  <a:gd name="T40" fmla="*/ 40 w 403"/>
                  <a:gd name="T41" fmla="*/ 88 h 184"/>
                  <a:gd name="T42" fmla="*/ 62 w 403"/>
                  <a:gd name="T43" fmla="*/ 88 h 184"/>
                  <a:gd name="T44" fmla="*/ 82 w 403"/>
                  <a:gd name="T45" fmla="*/ 88 h 184"/>
                  <a:gd name="T46" fmla="*/ 104 w 403"/>
                  <a:gd name="T47" fmla="*/ 82 h 184"/>
                  <a:gd name="T48" fmla="*/ 124 w 403"/>
                  <a:gd name="T49" fmla="*/ 88 h 184"/>
                  <a:gd name="T50" fmla="*/ 152 w 403"/>
                  <a:gd name="T51" fmla="*/ 82 h 184"/>
                  <a:gd name="T52" fmla="*/ 166 w 403"/>
                  <a:gd name="T53" fmla="*/ 82 h 184"/>
                  <a:gd name="T54" fmla="*/ 186 w 403"/>
                  <a:gd name="T55" fmla="*/ 96 h 184"/>
                  <a:gd name="T56" fmla="*/ 194 w 403"/>
                  <a:gd name="T57" fmla="*/ 104 h 184"/>
                  <a:gd name="T58" fmla="*/ 200 w 403"/>
                  <a:gd name="T59" fmla="*/ 88 h 184"/>
                  <a:gd name="T60" fmla="*/ 194 w 403"/>
                  <a:gd name="T61" fmla="*/ 68 h 184"/>
                  <a:gd name="T62" fmla="*/ 186 w 403"/>
                  <a:gd name="T63" fmla="*/ 42 h 184"/>
                  <a:gd name="T64" fmla="*/ 222 w 403"/>
                  <a:gd name="T65" fmla="*/ 28 h 184"/>
                  <a:gd name="T66" fmla="*/ 236 w 403"/>
                  <a:gd name="T67" fmla="*/ 20 h 184"/>
                  <a:gd name="T68" fmla="*/ 250 w 403"/>
                  <a:gd name="T69" fmla="*/ 14 h 184"/>
                  <a:gd name="T70" fmla="*/ 284 w 403"/>
                  <a:gd name="T71" fmla="*/ 20 h 184"/>
                  <a:gd name="T72" fmla="*/ 290 w 403"/>
                  <a:gd name="T73" fmla="*/ 0 h 184"/>
                  <a:gd name="T74" fmla="*/ 319 w 403"/>
                  <a:gd name="T75" fmla="*/ 0 h 184"/>
                  <a:gd name="T76" fmla="*/ 341 w 403"/>
                  <a:gd name="T77" fmla="*/ 6 h 184"/>
                  <a:gd name="T78" fmla="*/ 369 w 403"/>
                  <a:gd name="T79" fmla="*/ 14 h 184"/>
                  <a:gd name="T80" fmla="*/ 381 w 403"/>
                  <a:gd name="T81" fmla="*/ 28 h 184"/>
                  <a:gd name="T82" fmla="*/ 403 w 403"/>
                  <a:gd name="T83" fmla="*/ 34 h 184"/>
                  <a:gd name="T84" fmla="*/ 395 w 403"/>
                  <a:gd name="T85" fmla="*/ 54 h 184"/>
                  <a:gd name="T86" fmla="*/ 395 w 403"/>
                  <a:gd name="T87" fmla="*/ 88 h 184"/>
                  <a:gd name="T88" fmla="*/ 389 w 403"/>
                  <a:gd name="T89" fmla="*/ 88 h 184"/>
                  <a:gd name="T90" fmla="*/ 375 w 403"/>
                  <a:gd name="T91" fmla="*/ 96 h 184"/>
                  <a:gd name="T92" fmla="*/ 381 w 403"/>
                  <a:gd name="T93" fmla="*/ 116 h 184"/>
                  <a:gd name="T94" fmla="*/ 369 w 403"/>
                  <a:gd name="T95" fmla="*/ 144 h 184"/>
                  <a:gd name="T96" fmla="*/ 355 w 403"/>
                  <a:gd name="T97" fmla="*/ 164 h 184"/>
                  <a:gd name="T98" fmla="*/ 355 w 403"/>
                  <a:gd name="T99" fmla="*/ 158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3" h="184">
                    <a:moveTo>
                      <a:pt x="355" y="158"/>
                    </a:moveTo>
                    <a:lnTo>
                      <a:pt x="355" y="164"/>
                    </a:lnTo>
                    <a:lnTo>
                      <a:pt x="347" y="164"/>
                    </a:lnTo>
                    <a:lnTo>
                      <a:pt x="347" y="172"/>
                    </a:lnTo>
                    <a:lnTo>
                      <a:pt x="341" y="172"/>
                    </a:lnTo>
                    <a:lnTo>
                      <a:pt x="341" y="164"/>
                    </a:lnTo>
                    <a:lnTo>
                      <a:pt x="333" y="164"/>
                    </a:lnTo>
                    <a:lnTo>
                      <a:pt x="327" y="164"/>
                    </a:lnTo>
                    <a:lnTo>
                      <a:pt x="319" y="164"/>
                    </a:lnTo>
                    <a:lnTo>
                      <a:pt x="313" y="164"/>
                    </a:lnTo>
                    <a:lnTo>
                      <a:pt x="305" y="164"/>
                    </a:lnTo>
                    <a:lnTo>
                      <a:pt x="298" y="164"/>
                    </a:lnTo>
                    <a:lnTo>
                      <a:pt x="290" y="164"/>
                    </a:lnTo>
                    <a:lnTo>
                      <a:pt x="290" y="172"/>
                    </a:lnTo>
                    <a:lnTo>
                      <a:pt x="284" y="178"/>
                    </a:lnTo>
                    <a:lnTo>
                      <a:pt x="276" y="178"/>
                    </a:lnTo>
                    <a:lnTo>
                      <a:pt x="270" y="178"/>
                    </a:lnTo>
                    <a:lnTo>
                      <a:pt x="262" y="184"/>
                    </a:lnTo>
                    <a:lnTo>
                      <a:pt x="256" y="184"/>
                    </a:lnTo>
                    <a:lnTo>
                      <a:pt x="250" y="178"/>
                    </a:lnTo>
                    <a:lnTo>
                      <a:pt x="242" y="178"/>
                    </a:lnTo>
                    <a:lnTo>
                      <a:pt x="236" y="178"/>
                    </a:lnTo>
                    <a:lnTo>
                      <a:pt x="228" y="172"/>
                    </a:lnTo>
                    <a:lnTo>
                      <a:pt x="228" y="178"/>
                    </a:lnTo>
                    <a:lnTo>
                      <a:pt x="214" y="172"/>
                    </a:lnTo>
                    <a:lnTo>
                      <a:pt x="208" y="172"/>
                    </a:lnTo>
                    <a:lnTo>
                      <a:pt x="200" y="164"/>
                    </a:lnTo>
                    <a:lnTo>
                      <a:pt x="186" y="164"/>
                    </a:lnTo>
                    <a:lnTo>
                      <a:pt x="180" y="164"/>
                    </a:lnTo>
                    <a:lnTo>
                      <a:pt x="174" y="164"/>
                    </a:lnTo>
                    <a:lnTo>
                      <a:pt x="166" y="164"/>
                    </a:lnTo>
                    <a:lnTo>
                      <a:pt x="160" y="158"/>
                    </a:lnTo>
                    <a:lnTo>
                      <a:pt x="152" y="150"/>
                    </a:lnTo>
                    <a:lnTo>
                      <a:pt x="152" y="144"/>
                    </a:lnTo>
                    <a:lnTo>
                      <a:pt x="144" y="138"/>
                    </a:lnTo>
                    <a:lnTo>
                      <a:pt x="138" y="130"/>
                    </a:lnTo>
                    <a:lnTo>
                      <a:pt x="124" y="130"/>
                    </a:lnTo>
                    <a:lnTo>
                      <a:pt x="118" y="130"/>
                    </a:lnTo>
                    <a:lnTo>
                      <a:pt x="110" y="130"/>
                    </a:lnTo>
                    <a:lnTo>
                      <a:pt x="104" y="130"/>
                    </a:lnTo>
                    <a:lnTo>
                      <a:pt x="96" y="124"/>
                    </a:lnTo>
                    <a:lnTo>
                      <a:pt x="90" y="124"/>
                    </a:lnTo>
                    <a:lnTo>
                      <a:pt x="90" y="130"/>
                    </a:lnTo>
                    <a:lnTo>
                      <a:pt x="76" y="138"/>
                    </a:lnTo>
                    <a:lnTo>
                      <a:pt x="70" y="138"/>
                    </a:lnTo>
                    <a:lnTo>
                      <a:pt x="62" y="138"/>
                    </a:lnTo>
                    <a:lnTo>
                      <a:pt x="62" y="130"/>
                    </a:lnTo>
                    <a:lnTo>
                      <a:pt x="62" y="124"/>
                    </a:lnTo>
                    <a:lnTo>
                      <a:pt x="56" y="124"/>
                    </a:lnTo>
                    <a:lnTo>
                      <a:pt x="28" y="124"/>
                    </a:lnTo>
                    <a:lnTo>
                      <a:pt x="20" y="116"/>
                    </a:lnTo>
                    <a:lnTo>
                      <a:pt x="14" y="110"/>
                    </a:lnTo>
                    <a:lnTo>
                      <a:pt x="6" y="110"/>
                    </a:lnTo>
                    <a:lnTo>
                      <a:pt x="6" y="104"/>
                    </a:lnTo>
                    <a:lnTo>
                      <a:pt x="0" y="104"/>
                    </a:lnTo>
                    <a:lnTo>
                      <a:pt x="0" y="96"/>
                    </a:lnTo>
                    <a:lnTo>
                      <a:pt x="6" y="88"/>
                    </a:lnTo>
                    <a:lnTo>
                      <a:pt x="6" y="82"/>
                    </a:lnTo>
                    <a:lnTo>
                      <a:pt x="14" y="76"/>
                    </a:lnTo>
                    <a:lnTo>
                      <a:pt x="20" y="76"/>
                    </a:lnTo>
                    <a:lnTo>
                      <a:pt x="28" y="82"/>
                    </a:lnTo>
                    <a:lnTo>
                      <a:pt x="34" y="88"/>
                    </a:lnTo>
                    <a:lnTo>
                      <a:pt x="40" y="88"/>
                    </a:lnTo>
                    <a:lnTo>
                      <a:pt x="48" y="96"/>
                    </a:lnTo>
                    <a:lnTo>
                      <a:pt x="56" y="88"/>
                    </a:lnTo>
                    <a:lnTo>
                      <a:pt x="62" y="88"/>
                    </a:lnTo>
                    <a:lnTo>
                      <a:pt x="70" y="76"/>
                    </a:lnTo>
                    <a:lnTo>
                      <a:pt x="82" y="82"/>
                    </a:lnTo>
                    <a:lnTo>
                      <a:pt x="82" y="88"/>
                    </a:lnTo>
                    <a:lnTo>
                      <a:pt x="90" y="88"/>
                    </a:lnTo>
                    <a:lnTo>
                      <a:pt x="96" y="88"/>
                    </a:lnTo>
                    <a:lnTo>
                      <a:pt x="104" y="82"/>
                    </a:lnTo>
                    <a:lnTo>
                      <a:pt x="110" y="88"/>
                    </a:lnTo>
                    <a:lnTo>
                      <a:pt x="118" y="88"/>
                    </a:lnTo>
                    <a:lnTo>
                      <a:pt x="124" y="88"/>
                    </a:lnTo>
                    <a:lnTo>
                      <a:pt x="132" y="82"/>
                    </a:lnTo>
                    <a:lnTo>
                      <a:pt x="138" y="82"/>
                    </a:lnTo>
                    <a:lnTo>
                      <a:pt x="152" y="82"/>
                    </a:lnTo>
                    <a:lnTo>
                      <a:pt x="160" y="82"/>
                    </a:lnTo>
                    <a:lnTo>
                      <a:pt x="166" y="88"/>
                    </a:lnTo>
                    <a:lnTo>
                      <a:pt x="166" y="82"/>
                    </a:lnTo>
                    <a:lnTo>
                      <a:pt x="174" y="82"/>
                    </a:lnTo>
                    <a:lnTo>
                      <a:pt x="186" y="88"/>
                    </a:lnTo>
                    <a:lnTo>
                      <a:pt x="186" y="96"/>
                    </a:lnTo>
                    <a:lnTo>
                      <a:pt x="186" y="104"/>
                    </a:lnTo>
                    <a:lnTo>
                      <a:pt x="194" y="110"/>
                    </a:lnTo>
                    <a:lnTo>
                      <a:pt x="194" y="104"/>
                    </a:lnTo>
                    <a:lnTo>
                      <a:pt x="200" y="104"/>
                    </a:lnTo>
                    <a:lnTo>
                      <a:pt x="200" y="96"/>
                    </a:lnTo>
                    <a:lnTo>
                      <a:pt x="200" y="88"/>
                    </a:lnTo>
                    <a:lnTo>
                      <a:pt x="194" y="82"/>
                    </a:lnTo>
                    <a:lnTo>
                      <a:pt x="194" y="76"/>
                    </a:lnTo>
                    <a:lnTo>
                      <a:pt x="194" y="68"/>
                    </a:lnTo>
                    <a:lnTo>
                      <a:pt x="186" y="62"/>
                    </a:lnTo>
                    <a:lnTo>
                      <a:pt x="186" y="54"/>
                    </a:lnTo>
                    <a:lnTo>
                      <a:pt x="186" y="42"/>
                    </a:lnTo>
                    <a:lnTo>
                      <a:pt x="208" y="42"/>
                    </a:lnTo>
                    <a:lnTo>
                      <a:pt x="214" y="34"/>
                    </a:lnTo>
                    <a:lnTo>
                      <a:pt x="222" y="28"/>
                    </a:lnTo>
                    <a:lnTo>
                      <a:pt x="222" y="20"/>
                    </a:lnTo>
                    <a:lnTo>
                      <a:pt x="228" y="20"/>
                    </a:lnTo>
                    <a:lnTo>
                      <a:pt x="236" y="20"/>
                    </a:lnTo>
                    <a:lnTo>
                      <a:pt x="242" y="20"/>
                    </a:lnTo>
                    <a:lnTo>
                      <a:pt x="242" y="14"/>
                    </a:lnTo>
                    <a:lnTo>
                      <a:pt x="250" y="14"/>
                    </a:lnTo>
                    <a:lnTo>
                      <a:pt x="256" y="20"/>
                    </a:lnTo>
                    <a:lnTo>
                      <a:pt x="270" y="20"/>
                    </a:lnTo>
                    <a:lnTo>
                      <a:pt x="284" y="20"/>
                    </a:lnTo>
                    <a:lnTo>
                      <a:pt x="290" y="14"/>
                    </a:lnTo>
                    <a:lnTo>
                      <a:pt x="290" y="6"/>
                    </a:lnTo>
                    <a:lnTo>
                      <a:pt x="290" y="0"/>
                    </a:lnTo>
                    <a:lnTo>
                      <a:pt x="298" y="0"/>
                    </a:lnTo>
                    <a:lnTo>
                      <a:pt x="313" y="0"/>
                    </a:lnTo>
                    <a:lnTo>
                      <a:pt x="319" y="0"/>
                    </a:lnTo>
                    <a:lnTo>
                      <a:pt x="327" y="0"/>
                    </a:lnTo>
                    <a:lnTo>
                      <a:pt x="333" y="6"/>
                    </a:lnTo>
                    <a:lnTo>
                      <a:pt x="341" y="6"/>
                    </a:lnTo>
                    <a:lnTo>
                      <a:pt x="355" y="6"/>
                    </a:lnTo>
                    <a:lnTo>
                      <a:pt x="361" y="14"/>
                    </a:lnTo>
                    <a:lnTo>
                      <a:pt x="369" y="14"/>
                    </a:lnTo>
                    <a:lnTo>
                      <a:pt x="369" y="20"/>
                    </a:lnTo>
                    <a:lnTo>
                      <a:pt x="375" y="28"/>
                    </a:lnTo>
                    <a:lnTo>
                      <a:pt x="381" y="28"/>
                    </a:lnTo>
                    <a:lnTo>
                      <a:pt x="389" y="28"/>
                    </a:lnTo>
                    <a:lnTo>
                      <a:pt x="395" y="28"/>
                    </a:lnTo>
                    <a:lnTo>
                      <a:pt x="403" y="34"/>
                    </a:lnTo>
                    <a:lnTo>
                      <a:pt x="395" y="42"/>
                    </a:lnTo>
                    <a:lnTo>
                      <a:pt x="403" y="54"/>
                    </a:lnTo>
                    <a:lnTo>
                      <a:pt x="395" y="54"/>
                    </a:lnTo>
                    <a:lnTo>
                      <a:pt x="403" y="68"/>
                    </a:lnTo>
                    <a:lnTo>
                      <a:pt x="403" y="82"/>
                    </a:lnTo>
                    <a:lnTo>
                      <a:pt x="395" y="88"/>
                    </a:lnTo>
                    <a:lnTo>
                      <a:pt x="395" y="96"/>
                    </a:lnTo>
                    <a:lnTo>
                      <a:pt x="389" y="96"/>
                    </a:lnTo>
                    <a:lnTo>
                      <a:pt x="389" y="88"/>
                    </a:lnTo>
                    <a:lnTo>
                      <a:pt x="381" y="88"/>
                    </a:lnTo>
                    <a:lnTo>
                      <a:pt x="375" y="88"/>
                    </a:lnTo>
                    <a:lnTo>
                      <a:pt x="375" y="96"/>
                    </a:lnTo>
                    <a:lnTo>
                      <a:pt x="381" y="104"/>
                    </a:lnTo>
                    <a:lnTo>
                      <a:pt x="381" y="110"/>
                    </a:lnTo>
                    <a:lnTo>
                      <a:pt x="381" y="116"/>
                    </a:lnTo>
                    <a:lnTo>
                      <a:pt x="375" y="116"/>
                    </a:lnTo>
                    <a:lnTo>
                      <a:pt x="375" y="130"/>
                    </a:lnTo>
                    <a:lnTo>
                      <a:pt x="369" y="144"/>
                    </a:lnTo>
                    <a:lnTo>
                      <a:pt x="361" y="144"/>
                    </a:lnTo>
                    <a:lnTo>
                      <a:pt x="355" y="158"/>
                    </a:lnTo>
                    <a:lnTo>
                      <a:pt x="355" y="164"/>
                    </a:lnTo>
                    <a:lnTo>
                      <a:pt x="355" y="158"/>
                    </a:lnTo>
                    <a:lnTo>
                      <a:pt x="355" y="158"/>
                    </a:lnTo>
                    <a:lnTo>
                      <a:pt x="355" y="158"/>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3" name="Freeform 47"/>
              <p:cNvSpPr>
                <a:spLocks/>
              </p:cNvSpPr>
              <p:nvPr>
                <p:custDataLst>
                  <p:tags r:id="rId138"/>
                </p:custDataLst>
              </p:nvPr>
            </p:nvSpPr>
            <p:spPr bwMode="gray">
              <a:xfrm>
                <a:off x="4193551" y="2673042"/>
                <a:ext cx="741528" cy="930481"/>
              </a:xfrm>
              <a:custGeom>
                <a:avLst/>
                <a:gdLst>
                  <a:gd name="T0" fmla="*/ 14 w 467"/>
                  <a:gd name="T1" fmla="*/ 358 h 586"/>
                  <a:gd name="T2" fmla="*/ 14 w 467"/>
                  <a:gd name="T3" fmla="*/ 392 h 586"/>
                  <a:gd name="T4" fmla="*/ 62 w 467"/>
                  <a:gd name="T5" fmla="*/ 426 h 586"/>
                  <a:gd name="T6" fmla="*/ 62 w 467"/>
                  <a:gd name="T7" fmla="*/ 454 h 586"/>
                  <a:gd name="T8" fmla="*/ 48 w 467"/>
                  <a:gd name="T9" fmla="*/ 502 h 586"/>
                  <a:gd name="T10" fmla="*/ 48 w 467"/>
                  <a:gd name="T11" fmla="*/ 538 h 586"/>
                  <a:gd name="T12" fmla="*/ 84 w 467"/>
                  <a:gd name="T13" fmla="*/ 538 h 586"/>
                  <a:gd name="T14" fmla="*/ 118 w 467"/>
                  <a:gd name="T15" fmla="*/ 544 h 586"/>
                  <a:gd name="T16" fmla="*/ 154 w 467"/>
                  <a:gd name="T17" fmla="*/ 550 h 586"/>
                  <a:gd name="T18" fmla="*/ 188 w 467"/>
                  <a:gd name="T19" fmla="*/ 572 h 586"/>
                  <a:gd name="T20" fmla="*/ 222 w 467"/>
                  <a:gd name="T21" fmla="*/ 564 h 586"/>
                  <a:gd name="T22" fmla="*/ 258 w 467"/>
                  <a:gd name="T23" fmla="*/ 564 h 586"/>
                  <a:gd name="T24" fmla="*/ 298 w 467"/>
                  <a:gd name="T25" fmla="*/ 558 h 586"/>
                  <a:gd name="T26" fmla="*/ 326 w 467"/>
                  <a:gd name="T27" fmla="*/ 572 h 586"/>
                  <a:gd name="T28" fmla="*/ 340 w 467"/>
                  <a:gd name="T29" fmla="*/ 572 h 586"/>
                  <a:gd name="T30" fmla="*/ 326 w 467"/>
                  <a:gd name="T31" fmla="*/ 538 h 586"/>
                  <a:gd name="T32" fmla="*/ 360 w 467"/>
                  <a:gd name="T33" fmla="*/ 502 h 586"/>
                  <a:gd name="T34" fmla="*/ 382 w 467"/>
                  <a:gd name="T35" fmla="*/ 490 h 586"/>
                  <a:gd name="T36" fmla="*/ 354 w 467"/>
                  <a:gd name="T37" fmla="*/ 462 h 586"/>
                  <a:gd name="T38" fmla="*/ 326 w 467"/>
                  <a:gd name="T39" fmla="*/ 414 h 586"/>
                  <a:gd name="T40" fmla="*/ 306 w 467"/>
                  <a:gd name="T41" fmla="*/ 372 h 586"/>
                  <a:gd name="T42" fmla="*/ 320 w 467"/>
                  <a:gd name="T43" fmla="*/ 352 h 586"/>
                  <a:gd name="T44" fmla="*/ 368 w 467"/>
                  <a:gd name="T45" fmla="*/ 344 h 586"/>
                  <a:gd name="T46" fmla="*/ 424 w 467"/>
                  <a:gd name="T47" fmla="*/ 310 h 586"/>
                  <a:gd name="T48" fmla="*/ 465 w 467"/>
                  <a:gd name="T49" fmla="*/ 308 h 586"/>
                  <a:gd name="T50" fmla="*/ 459 w 467"/>
                  <a:gd name="T51" fmla="*/ 264 h 586"/>
                  <a:gd name="T52" fmla="*/ 453 w 467"/>
                  <a:gd name="T53" fmla="*/ 210 h 586"/>
                  <a:gd name="T54" fmla="*/ 434 w 467"/>
                  <a:gd name="T55" fmla="*/ 180 h 586"/>
                  <a:gd name="T56" fmla="*/ 443 w 467"/>
                  <a:gd name="T57" fmla="*/ 140 h 586"/>
                  <a:gd name="T58" fmla="*/ 410 w 467"/>
                  <a:gd name="T59" fmla="*/ 98 h 586"/>
                  <a:gd name="T60" fmla="*/ 382 w 467"/>
                  <a:gd name="T61" fmla="*/ 70 h 586"/>
                  <a:gd name="T62" fmla="*/ 354 w 467"/>
                  <a:gd name="T63" fmla="*/ 70 h 586"/>
                  <a:gd name="T64" fmla="*/ 312 w 467"/>
                  <a:gd name="T65" fmla="*/ 84 h 586"/>
                  <a:gd name="T66" fmla="*/ 284 w 467"/>
                  <a:gd name="T67" fmla="*/ 70 h 586"/>
                  <a:gd name="T68" fmla="*/ 278 w 467"/>
                  <a:gd name="T69" fmla="*/ 56 h 586"/>
                  <a:gd name="T70" fmla="*/ 250 w 467"/>
                  <a:gd name="T71" fmla="*/ 42 h 586"/>
                  <a:gd name="T72" fmla="*/ 236 w 467"/>
                  <a:gd name="T73" fmla="*/ 22 h 586"/>
                  <a:gd name="T74" fmla="*/ 196 w 467"/>
                  <a:gd name="T75" fmla="*/ 0 h 586"/>
                  <a:gd name="T76" fmla="*/ 188 w 467"/>
                  <a:gd name="T77" fmla="*/ 42 h 586"/>
                  <a:gd name="T78" fmla="*/ 188 w 467"/>
                  <a:gd name="T79" fmla="*/ 64 h 586"/>
                  <a:gd name="T80" fmla="*/ 216 w 467"/>
                  <a:gd name="T81" fmla="*/ 104 h 586"/>
                  <a:gd name="T82" fmla="*/ 174 w 467"/>
                  <a:gd name="T83" fmla="*/ 90 h 586"/>
                  <a:gd name="T84" fmla="*/ 160 w 467"/>
                  <a:gd name="T85" fmla="*/ 112 h 586"/>
                  <a:gd name="T86" fmla="*/ 146 w 467"/>
                  <a:gd name="T87" fmla="*/ 104 h 586"/>
                  <a:gd name="T88" fmla="*/ 112 w 467"/>
                  <a:gd name="T89" fmla="*/ 84 h 586"/>
                  <a:gd name="T90" fmla="*/ 104 w 467"/>
                  <a:gd name="T91" fmla="*/ 104 h 586"/>
                  <a:gd name="T92" fmla="*/ 104 w 467"/>
                  <a:gd name="T93" fmla="*/ 138 h 586"/>
                  <a:gd name="T94" fmla="*/ 98 w 467"/>
                  <a:gd name="T95" fmla="*/ 172 h 586"/>
                  <a:gd name="T96" fmla="*/ 84 w 467"/>
                  <a:gd name="T97" fmla="*/ 214 h 586"/>
                  <a:gd name="T98" fmla="*/ 36 w 467"/>
                  <a:gd name="T99" fmla="*/ 214 h 586"/>
                  <a:gd name="T100" fmla="*/ 22 w 467"/>
                  <a:gd name="T101" fmla="*/ 256 h 586"/>
                  <a:gd name="T102" fmla="*/ 0 w 467"/>
                  <a:gd name="T103" fmla="*/ 296 h 586"/>
                  <a:gd name="T104" fmla="*/ 0 w 467"/>
                  <a:gd name="T105" fmla="*/ 318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67" h="586">
                    <a:moveTo>
                      <a:pt x="0" y="332"/>
                    </a:moveTo>
                    <a:lnTo>
                      <a:pt x="0" y="338"/>
                    </a:lnTo>
                    <a:lnTo>
                      <a:pt x="8" y="344"/>
                    </a:lnTo>
                    <a:lnTo>
                      <a:pt x="14" y="352"/>
                    </a:lnTo>
                    <a:lnTo>
                      <a:pt x="14" y="358"/>
                    </a:lnTo>
                    <a:lnTo>
                      <a:pt x="14" y="366"/>
                    </a:lnTo>
                    <a:lnTo>
                      <a:pt x="14" y="372"/>
                    </a:lnTo>
                    <a:lnTo>
                      <a:pt x="14" y="380"/>
                    </a:lnTo>
                    <a:lnTo>
                      <a:pt x="8" y="380"/>
                    </a:lnTo>
                    <a:lnTo>
                      <a:pt x="14" y="392"/>
                    </a:lnTo>
                    <a:lnTo>
                      <a:pt x="22" y="406"/>
                    </a:lnTo>
                    <a:lnTo>
                      <a:pt x="28" y="414"/>
                    </a:lnTo>
                    <a:lnTo>
                      <a:pt x="42" y="420"/>
                    </a:lnTo>
                    <a:lnTo>
                      <a:pt x="56" y="420"/>
                    </a:lnTo>
                    <a:lnTo>
                      <a:pt x="62" y="426"/>
                    </a:lnTo>
                    <a:lnTo>
                      <a:pt x="70" y="426"/>
                    </a:lnTo>
                    <a:lnTo>
                      <a:pt x="76" y="426"/>
                    </a:lnTo>
                    <a:lnTo>
                      <a:pt x="84" y="434"/>
                    </a:lnTo>
                    <a:lnTo>
                      <a:pt x="70" y="448"/>
                    </a:lnTo>
                    <a:lnTo>
                      <a:pt x="62" y="454"/>
                    </a:lnTo>
                    <a:lnTo>
                      <a:pt x="56" y="468"/>
                    </a:lnTo>
                    <a:lnTo>
                      <a:pt x="56" y="476"/>
                    </a:lnTo>
                    <a:lnTo>
                      <a:pt x="48" y="482"/>
                    </a:lnTo>
                    <a:lnTo>
                      <a:pt x="48" y="490"/>
                    </a:lnTo>
                    <a:lnTo>
                      <a:pt x="48" y="502"/>
                    </a:lnTo>
                    <a:lnTo>
                      <a:pt x="48" y="510"/>
                    </a:lnTo>
                    <a:lnTo>
                      <a:pt x="42" y="516"/>
                    </a:lnTo>
                    <a:lnTo>
                      <a:pt x="42" y="532"/>
                    </a:lnTo>
                    <a:lnTo>
                      <a:pt x="42" y="530"/>
                    </a:lnTo>
                    <a:lnTo>
                      <a:pt x="48" y="538"/>
                    </a:lnTo>
                    <a:lnTo>
                      <a:pt x="48" y="530"/>
                    </a:lnTo>
                    <a:lnTo>
                      <a:pt x="62" y="538"/>
                    </a:lnTo>
                    <a:lnTo>
                      <a:pt x="70" y="538"/>
                    </a:lnTo>
                    <a:lnTo>
                      <a:pt x="76" y="538"/>
                    </a:lnTo>
                    <a:lnTo>
                      <a:pt x="84" y="538"/>
                    </a:lnTo>
                    <a:lnTo>
                      <a:pt x="90" y="538"/>
                    </a:lnTo>
                    <a:lnTo>
                      <a:pt x="98" y="538"/>
                    </a:lnTo>
                    <a:lnTo>
                      <a:pt x="104" y="538"/>
                    </a:lnTo>
                    <a:lnTo>
                      <a:pt x="118" y="538"/>
                    </a:lnTo>
                    <a:lnTo>
                      <a:pt x="118" y="544"/>
                    </a:lnTo>
                    <a:lnTo>
                      <a:pt x="126" y="544"/>
                    </a:lnTo>
                    <a:lnTo>
                      <a:pt x="132" y="544"/>
                    </a:lnTo>
                    <a:lnTo>
                      <a:pt x="132" y="550"/>
                    </a:lnTo>
                    <a:lnTo>
                      <a:pt x="146" y="558"/>
                    </a:lnTo>
                    <a:lnTo>
                      <a:pt x="154" y="550"/>
                    </a:lnTo>
                    <a:lnTo>
                      <a:pt x="160" y="550"/>
                    </a:lnTo>
                    <a:lnTo>
                      <a:pt x="166" y="558"/>
                    </a:lnTo>
                    <a:lnTo>
                      <a:pt x="174" y="564"/>
                    </a:lnTo>
                    <a:lnTo>
                      <a:pt x="180" y="564"/>
                    </a:lnTo>
                    <a:lnTo>
                      <a:pt x="188" y="572"/>
                    </a:lnTo>
                    <a:lnTo>
                      <a:pt x="196" y="564"/>
                    </a:lnTo>
                    <a:lnTo>
                      <a:pt x="202" y="564"/>
                    </a:lnTo>
                    <a:lnTo>
                      <a:pt x="208" y="550"/>
                    </a:lnTo>
                    <a:lnTo>
                      <a:pt x="222" y="558"/>
                    </a:lnTo>
                    <a:lnTo>
                      <a:pt x="222" y="564"/>
                    </a:lnTo>
                    <a:lnTo>
                      <a:pt x="228" y="564"/>
                    </a:lnTo>
                    <a:lnTo>
                      <a:pt x="236" y="564"/>
                    </a:lnTo>
                    <a:lnTo>
                      <a:pt x="244" y="558"/>
                    </a:lnTo>
                    <a:lnTo>
                      <a:pt x="250" y="564"/>
                    </a:lnTo>
                    <a:lnTo>
                      <a:pt x="258" y="564"/>
                    </a:lnTo>
                    <a:lnTo>
                      <a:pt x="264" y="564"/>
                    </a:lnTo>
                    <a:lnTo>
                      <a:pt x="272" y="558"/>
                    </a:lnTo>
                    <a:lnTo>
                      <a:pt x="278" y="558"/>
                    </a:lnTo>
                    <a:lnTo>
                      <a:pt x="292" y="558"/>
                    </a:lnTo>
                    <a:lnTo>
                      <a:pt x="298" y="558"/>
                    </a:lnTo>
                    <a:lnTo>
                      <a:pt x="306" y="564"/>
                    </a:lnTo>
                    <a:lnTo>
                      <a:pt x="306" y="558"/>
                    </a:lnTo>
                    <a:lnTo>
                      <a:pt x="312" y="558"/>
                    </a:lnTo>
                    <a:lnTo>
                      <a:pt x="326" y="564"/>
                    </a:lnTo>
                    <a:lnTo>
                      <a:pt x="326" y="572"/>
                    </a:lnTo>
                    <a:lnTo>
                      <a:pt x="326" y="578"/>
                    </a:lnTo>
                    <a:lnTo>
                      <a:pt x="334" y="586"/>
                    </a:lnTo>
                    <a:lnTo>
                      <a:pt x="334" y="578"/>
                    </a:lnTo>
                    <a:lnTo>
                      <a:pt x="340" y="578"/>
                    </a:lnTo>
                    <a:lnTo>
                      <a:pt x="340" y="572"/>
                    </a:lnTo>
                    <a:lnTo>
                      <a:pt x="340" y="564"/>
                    </a:lnTo>
                    <a:lnTo>
                      <a:pt x="334" y="558"/>
                    </a:lnTo>
                    <a:lnTo>
                      <a:pt x="334" y="550"/>
                    </a:lnTo>
                    <a:lnTo>
                      <a:pt x="334" y="544"/>
                    </a:lnTo>
                    <a:lnTo>
                      <a:pt x="326" y="538"/>
                    </a:lnTo>
                    <a:lnTo>
                      <a:pt x="326" y="530"/>
                    </a:lnTo>
                    <a:lnTo>
                      <a:pt x="326" y="516"/>
                    </a:lnTo>
                    <a:lnTo>
                      <a:pt x="348" y="516"/>
                    </a:lnTo>
                    <a:lnTo>
                      <a:pt x="354" y="510"/>
                    </a:lnTo>
                    <a:lnTo>
                      <a:pt x="360" y="502"/>
                    </a:lnTo>
                    <a:lnTo>
                      <a:pt x="360" y="496"/>
                    </a:lnTo>
                    <a:lnTo>
                      <a:pt x="368" y="496"/>
                    </a:lnTo>
                    <a:lnTo>
                      <a:pt x="374" y="496"/>
                    </a:lnTo>
                    <a:lnTo>
                      <a:pt x="382" y="496"/>
                    </a:lnTo>
                    <a:lnTo>
                      <a:pt x="382" y="490"/>
                    </a:lnTo>
                    <a:lnTo>
                      <a:pt x="382" y="482"/>
                    </a:lnTo>
                    <a:lnTo>
                      <a:pt x="374" y="476"/>
                    </a:lnTo>
                    <a:lnTo>
                      <a:pt x="368" y="468"/>
                    </a:lnTo>
                    <a:lnTo>
                      <a:pt x="360" y="462"/>
                    </a:lnTo>
                    <a:lnTo>
                      <a:pt x="354" y="462"/>
                    </a:lnTo>
                    <a:lnTo>
                      <a:pt x="348" y="454"/>
                    </a:lnTo>
                    <a:lnTo>
                      <a:pt x="340" y="440"/>
                    </a:lnTo>
                    <a:lnTo>
                      <a:pt x="334" y="426"/>
                    </a:lnTo>
                    <a:lnTo>
                      <a:pt x="326" y="420"/>
                    </a:lnTo>
                    <a:lnTo>
                      <a:pt x="326" y="414"/>
                    </a:lnTo>
                    <a:lnTo>
                      <a:pt x="326" y="400"/>
                    </a:lnTo>
                    <a:lnTo>
                      <a:pt x="320" y="392"/>
                    </a:lnTo>
                    <a:lnTo>
                      <a:pt x="312" y="386"/>
                    </a:lnTo>
                    <a:lnTo>
                      <a:pt x="312" y="372"/>
                    </a:lnTo>
                    <a:lnTo>
                      <a:pt x="306" y="372"/>
                    </a:lnTo>
                    <a:lnTo>
                      <a:pt x="298" y="358"/>
                    </a:lnTo>
                    <a:lnTo>
                      <a:pt x="298" y="344"/>
                    </a:lnTo>
                    <a:lnTo>
                      <a:pt x="306" y="352"/>
                    </a:lnTo>
                    <a:lnTo>
                      <a:pt x="306" y="358"/>
                    </a:lnTo>
                    <a:lnTo>
                      <a:pt x="320" y="352"/>
                    </a:lnTo>
                    <a:lnTo>
                      <a:pt x="326" y="358"/>
                    </a:lnTo>
                    <a:lnTo>
                      <a:pt x="340" y="358"/>
                    </a:lnTo>
                    <a:lnTo>
                      <a:pt x="354" y="352"/>
                    </a:lnTo>
                    <a:lnTo>
                      <a:pt x="360" y="352"/>
                    </a:lnTo>
                    <a:lnTo>
                      <a:pt x="368" y="344"/>
                    </a:lnTo>
                    <a:lnTo>
                      <a:pt x="374" y="344"/>
                    </a:lnTo>
                    <a:lnTo>
                      <a:pt x="396" y="332"/>
                    </a:lnTo>
                    <a:lnTo>
                      <a:pt x="402" y="324"/>
                    </a:lnTo>
                    <a:lnTo>
                      <a:pt x="410" y="318"/>
                    </a:lnTo>
                    <a:lnTo>
                      <a:pt x="424" y="310"/>
                    </a:lnTo>
                    <a:lnTo>
                      <a:pt x="430" y="318"/>
                    </a:lnTo>
                    <a:lnTo>
                      <a:pt x="430" y="324"/>
                    </a:lnTo>
                    <a:lnTo>
                      <a:pt x="438" y="324"/>
                    </a:lnTo>
                    <a:lnTo>
                      <a:pt x="445" y="318"/>
                    </a:lnTo>
                    <a:lnTo>
                      <a:pt x="465" y="308"/>
                    </a:lnTo>
                    <a:lnTo>
                      <a:pt x="463" y="292"/>
                    </a:lnTo>
                    <a:lnTo>
                      <a:pt x="467" y="282"/>
                    </a:lnTo>
                    <a:lnTo>
                      <a:pt x="459" y="276"/>
                    </a:lnTo>
                    <a:lnTo>
                      <a:pt x="461" y="272"/>
                    </a:lnTo>
                    <a:lnTo>
                      <a:pt x="459" y="264"/>
                    </a:lnTo>
                    <a:lnTo>
                      <a:pt x="459" y="248"/>
                    </a:lnTo>
                    <a:lnTo>
                      <a:pt x="465" y="238"/>
                    </a:lnTo>
                    <a:lnTo>
                      <a:pt x="457" y="222"/>
                    </a:lnTo>
                    <a:lnTo>
                      <a:pt x="459" y="216"/>
                    </a:lnTo>
                    <a:lnTo>
                      <a:pt x="453" y="210"/>
                    </a:lnTo>
                    <a:lnTo>
                      <a:pt x="451" y="206"/>
                    </a:lnTo>
                    <a:lnTo>
                      <a:pt x="453" y="196"/>
                    </a:lnTo>
                    <a:lnTo>
                      <a:pt x="440" y="190"/>
                    </a:lnTo>
                    <a:lnTo>
                      <a:pt x="438" y="184"/>
                    </a:lnTo>
                    <a:lnTo>
                      <a:pt x="434" y="180"/>
                    </a:lnTo>
                    <a:lnTo>
                      <a:pt x="440" y="174"/>
                    </a:lnTo>
                    <a:lnTo>
                      <a:pt x="445" y="168"/>
                    </a:lnTo>
                    <a:lnTo>
                      <a:pt x="438" y="158"/>
                    </a:lnTo>
                    <a:lnTo>
                      <a:pt x="445" y="148"/>
                    </a:lnTo>
                    <a:lnTo>
                      <a:pt x="443" y="140"/>
                    </a:lnTo>
                    <a:lnTo>
                      <a:pt x="438" y="138"/>
                    </a:lnTo>
                    <a:lnTo>
                      <a:pt x="436" y="130"/>
                    </a:lnTo>
                    <a:lnTo>
                      <a:pt x="430" y="112"/>
                    </a:lnTo>
                    <a:lnTo>
                      <a:pt x="410" y="112"/>
                    </a:lnTo>
                    <a:lnTo>
                      <a:pt x="410" y="98"/>
                    </a:lnTo>
                    <a:lnTo>
                      <a:pt x="410" y="84"/>
                    </a:lnTo>
                    <a:lnTo>
                      <a:pt x="396" y="84"/>
                    </a:lnTo>
                    <a:lnTo>
                      <a:pt x="388" y="84"/>
                    </a:lnTo>
                    <a:lnTo>
                      <a:pt x="388" y="76"/>
                    </a:lnTo>
                    <a:lnTo>
                      <a:pt x="382" y="70"/>
                    </a:lnTo>
                    <a:lnTo>
                      <a:pt x="382" y="64"/>
                    </a:lnTo>
                    <a:lnTo>
                      <a:pt x="374" y="64"/>
                    </a:lnTo>
                    <a:lnTo>
                      <a:pt x="368" y="70"/>
                    </a:lnTo>
                    <a:lnTo>
                      <a:pt x="360" y="70"/>
                    </a:lnTo>
                    <a:lnTo>
                      <a:pt x="354" y="70"/>
                    </a:lnTo>
                    <a:lnTo>
                      <a:pt x="340" y="76"/>
                    </a:lnTo>
                    <a:lnTo>
                      <a:pt x="326" y="84"/>
                    </a:lnTo>
                    <a:lnTo>
                      <a:pt x="320" y="76"/>
                    </a:lnTo>
                    <a:lnTo>
                      <a:pt x="320" y="84"/>
                    </a:lnTo>
                    <a:lnTo>
                      <a:pt x="312" y="84"/>
                    </a:lnTo>
                    <a:lnTo>
                      <a:pt x="298" y="84"/>
                    </a:lnTo>
                    <a:lnTo>
                      <a:pt x="292" y="84"/>
                    </a:lnTo>
                    <a:lnTo>
                      <a:pt x="278" y="76"/>
                    </a:lnTo>
                    <a:lnTo>
                      <a:pt x="284" y="76"/>
                    </a:lnTo>
                    <a:lnTo>
                      <a:pt x="284" y="70"/>
                    </a:lnTo>
                    <a:lnTo>
                      <a:pt x="292" y="70"/>
                    </a:lnTo>
                    <a:lnTo>
                      <a:pt x="292" y="64"/>
                    </a:lnTo>
                    <a:lnTo>
                      <a:pt x="292" y="56"/>
                    </a:lnTo>
                    <a:lnTo>
                      <a:pt x="284" y="56"/>
                    </a:lnTo>
                    <a:lnTo>
                      <a:pt x="278" y="56"/>
                    </a:lnTo>
                    <a:lnTo>
                      <a:pt x="272" y="64"/>
                    </a:lnTo>
                    <a:lnTo>
                      <a:pt x="264" y="48"/>
                    </a:lnTo>
                    <a:lnTo>
                      <a:pt x="258" y="48"/>
                    </a:lnTo>
                    <a:lnTo>
                      <a:pt x="250" y="48"/>
                    </a:lnTo>
                    <a:lnTo>
                      <a:pt x="250" y="42"/>
                    </a:lnTo>
                    <a:lnTo>
                      <a:pt x="244" y="42"/>
                    </a:lnTo>
                    <a:lnTo>
                      <a:pt x="236" y="42"/>
                    </a:lnTo>
                    <a:lnTo>
                      <a:pt x="236" y="36"/>
                    </a:lnTo>
                    <a:lnTo>
                      <a:pt x="244" y="28"/>
                    </a:lnTo>
                    <a:lnTo>
                      <a:pt x="236" y="22"/>
                    </a:lnTo>
                    <a:lnTo>
                      <a:pt x="228" y="14"/>
                    </a:lnTo>
                    <a:lnTo>
                      <a:pt x="222" y="8"/>
                    </a:lnTo>
                    <a:lnTo>
                      <a:pt x="208" y="8"/>
                    </a:lnTo>
                    <a:lnTo>
                      <a:pt x="202" y="0"/>
                    </a:lnTo>
                    <a:lnTo>
                      <a:pt x="196" y="0"/>
                    </a:lnTo>
                    <a:lnTo>
                      <a:pt x="196" y="14"/>
                    </a:lnTo>
                    <a:lnTo>
                      <a:pt x="196" y="22"/>
                    </a:lnTo>
                    <a:lnTo>
                      <a:pt x="202" y="28"/>
                    </a:lnTo>
                    <a:lnTo>
                      <a:pt x="202" y="36"/>
                    </a:lnTo>
                    <a:lnTo>
                      <a:pt x="188" y="42"/>
                    </a:lnTo>
                    <a:lnTo>
                      <a:pt x="180" y="42"/>
                    </a:lnTo>
                    <a:lnTo>
                      <a:pt x="180" y="48"/>
                    </a:lnTo>
                    <a:lnTo>
                      <a:pt x="188" y="48"/>
                    </a:lnTo>
                    <a:lnTo>
                      <a:pt x="188" y="56"/>
                    </a:lnTo>
                    <a:lnTo>
                      <a:pt x="188" y="64"/>
                    </a:lnTo>
                    <a:lnTo>
                      <a:pt x="202" y="70"/>
                    </a:lnTo>
                    <a:lnTo>
                      <a:pt x="196" y="76"/>
                    </a:lnTo>
                    <a:lnTo>
                      <a:pt x="202" y="84"/>
                    </a:lnTo>
                    <a:lnTo>
                      <a:pt x="216" y="90"/>
                    </a:lnTo>
                    <a:lnTo>
                      <a:pt x="216" y="104"/>
                    </a:lnTo>
                    <a:lnTo>
                      <a:pt x="208" y="90"/>
                    </a:lnTo>
                    <a:lnTo>
                      <a:pt x="202" y="84"/>
                    </a:lnTo>
                    <a:lnTo>
                      <a:pt x="188" y="84"/>
                    </a:lnTo>
                    <a:lnTo>
                      <a:pt x="174" y="84"/>
                    </a:lnTo>
                    <a:lnTo>
                      <a:pt x="174" y="90"/>
                    </a:lnTo>
                    <a:lnTo>
                      <a:pt x="174" y="104"/>
                    </a:lnTo>
                    <a:lnTo>
                      <a:pt x="174" y="112"/>
                    </a:lnTo>
                    <a:lnTo>
                      <a:pt x="166" y="118"/>
                    </a:lnTo>
                    <a:lnTo>
                      <a:pt x="166" y="124"/>
                    </a:lnTo>
                    <a:lnTo>
                      <a:pt x="160" y="112"/>
                    </a:lnTo>
                    <a:lnTo>
                      <a:pt x="160" y="104"/>
                    </a:lnTo>
                    <a:lnTo>
                      <a:pt x="160" y="98"/>
                    </a:lnTo>
                    <a:lnTo>
                      <a:pt x="154" y="98"/>
                    </a:lnTo>
                    <a:lnTo>
                      <a:pt x="154" y="104"/>
                    </a:lnTo>
                    <a:lnTo>
                      <a:pt x="146" y="104"/>
                    </a:lnTo>
                    <a:lnTo>
                      <a:pt x="146" y="98"/>
                    </a:lnTo>
                    <a:lnTo>
                      <a:pt x="154" y="90"/>
                    </a:lnTo>
                    <a:lnTo>
                      <a:pt x="138" y="84"/>
                    </a:lnTo>
                    <a:lnTo>
                      <a:pt x="126" y="84"/>
                    </a:lnTo>
                    <a:lnTo>
                      <a:pt x="112" y="84"/>
                    </a:lnTo>
                    <a:lnTo>
                      <a:pt x="104" y="84"/>
                    </a:lnTo>
                    <a:lnTo>
                      <a:pt x="104" y="90"/>
                    </a:lnTo>
                    <a:lnTo>
                      <a:pt x="98" y="98"/>
                    </a:lnTo>
                    <a:lnTo>
                      <a:pt x="98" y="104"/>
                    </a:lnTo>
                    <a:lnTo>
                      <a:pt x="104" y="104"/>
                    </a:lnTo>
                    <a:lnTo>
                      <a:pt x="104" y="112"/>
                    </a:lnTo>
                    <a:lnTo>
                      <a:pt x="112" y="118"/>
                    </a:lnTo>
                    <a:lnTo>
                      <a:pt x="104" y="124"/>
                    </a:lnTo>
                    <a:lnTo>
                      <a:pt x="104" y="132"/>
                    </a:lnTo>
                    <a:lnTo>
                      <a:pt x="104" y="138"/>
                    </a:lnTo>
                    <a:lnTo>
                      <a:pt x="104" y="146"/>
                    </a:lnTo>
                    <a:lnTo>
                      <a:pt x="98" y="146"/>
                    </a:lnTo>
                    <a:lnTo>
                      <a:pt x="98" y="152"/>
                    </a:lnTo>
                    <a:lnTo>
                      <a:pt x="98" y="166"/>
                    </a:lnTo>
                    <a:lnTo>
                      <a:pt x="98" y="172"/>
                    </a:lnTo>
                    <a:lnTo>
                      <a:pt x="90" y="180"/>
                    </a:lnTo>
                    <a:lnTo>
                      <a:pt x="98" y="186"/>
                    </a:lnTo>
                    <a:lnTo>
                      <a:pt x="98" y="194"/>
                    </a:lnTo>
                    <a:lnTo>
                      <a:pt x="90" y="214"/>
                    </a:lnTo>
                    <a:lnTo>
                      <a:pt x="84" y="214"/>
                    </a:lnTo>
                    <a:lnTo>
                      <a:pt x="76" y="214"/>
                    </a:lnTo>
                    <a:lnTo>
                      <a:pt x="70" y="214"/>
                    </a:lnTo>
                    <a:lnTo>
                      <a:pt x="62" y="214"/>
                    </a:lnTo>
                    <a:lnTo>
                      <a:pt x="56" y="206"/>
                    </a:lnTo>
                    <a:lnTo>
                      <a:pt x="36" y="214"/>
                    </a:lnTo>
                    <a:lnTo>
                      <a:pt x="22" y="220"/>
                    </a:lnTo>
                    <a:lnTo>
                      <a:pt x="22" y="228"/>
                    </a:lnTo>
                    <a:lnTo>
                      <a:pt x="22" y="234"/>
                    </a:lnTo>
                    <a:lnTo>
                      <a:pt x="22" y="248"/>
                    </a:lnTo>
                    <a:lnTo>
                      <a:pt x="22" y="256"/>
                    </a:lnTo>
                    <a:lnTo>
                      <a:pt x="8" y="262"/>
                    </a:lnTo>
                    <a:lnTo>
                      <a:pt x="8" y="268"/>
                    </a:lnTo>
                    <a:lnTo>
                      <a:pt x="8" y="276"/>
                    </a:lnTo>
                    <a:lnTo>
                      <a:pt x="8" y="282"/>
                    </a:lnTo>
                    <a:lnTo>
                      <a:pt x="0" y="296"/>
                    </a:lnTo>
                    <a:lnTo>
                      <a:pt x="8" y="296"/>
                    </a:lnTo>
                    <a:lnTo>
                      <a:pt x="8" y="304"/>
                    </a:lnTo>
                    <a:lnTo>
                      <a:pt x="8" y="310"/>
                    </a:lnTo>
                    <a:lnTo>
                      <a:pt x="0" y="310"/>
                    </a:lnTo>
                    <a:lnTo>
                      <a:pt x="0" y="318"/>
                    </a:lnTo>
                    <a:lnTo>
                      <a:pt x="0" y="324"/>
                    </a:lnTo>
                    <a:lnTo>
                      <a:pt x="0" y="332"/>
                    </a:lnTo>
                    <a:lnTo>
                      <a:pt x="0" y="332"/>
                    </a:lnTo>
                    <a:lnTo>
                      <a:pt x="0" y="332"/>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4" name="Freeform 48"/>
              <p:cNvSpPr>
                <a:spLocks/>
              </p:cNvSpPr>
              <p:nvPr/>
            </p:nvSpPr>
            <p:spPr bwMode="gray">
              <a:xfrm>
                <a:off x="4473013" y="2444391"/>
                <a:ext cx="196894" cy="254057"/>
              </a:xfrm>
              <a:custGeom>
                <a:avLst/>
                <a:gdLst>
                  <a:gd name="T0" fmla="*/ 28 w 124"/>
                  <a:gd name="T1" fmla="*/ 146 h 160"/>
                  <a:gd name="T2" fmla="*/ 50 w 124"/>
                  <a:gd name="T3" fmla="*/ 152 h 160"/>
                  <a:gd name="T4" fmla="*/ 48 w 124"/>
                  <a:gd name="T5" fmla="*/ 160 h 160"/>
                  <a:gd name="T6" fmla="*/ 62 w 124"/>
                  <a:gd name="T7" fmla="*/ 152 h 160"/>
                  <a:gd name="T8" fmla="*/ 48 w 124"/>
                  <a:gd name="T9" fmla="*/ 138 h 160"/>
                  <a:gd name="T10" fmla="*/ 62 w 124"/>
                  <a:gd name="T11" fmla="*/ 132 h 160"/>
                  <a:gd name="T12" fmla="*/ 56 w 124"/>
                  <a:gd name="T13" fmla="*/ 118 h 160"/>
                  <a:gd name="T14" fmla="*/ 62 w 124"/>
                  <a:gd name="T15" fmla="*/ 110 h 160"/>
                  <a:gd name="T16" fmla="*/ 70 w 124"/>
                  <a:gd name="T17" fmla="*/ 104 h 160"/>
                  <a:gd name="T18" fmla="*/ 84 w 124"/>
                  <a:gd name="T19" fmla="*/ 96 h 160"/>
                  <a:gd name="T20" fmla="*/ 98 w 124"/>
                  <a:gd name="T21" fmla="*/ 82 h 160"/>
                  <a:gd name="T22" fmla="*/ 98 w 124"/>
                  <a:gd name="T23" fmla="*/ 62 h 160"/>
                  <a:gd name="T24" fmla="*/ 112 w 124"/>
                  <a:gd name="T25" fmla="*/ 56 h 160"/>
                  <a:gd name="T26" fmla="*/ 118 w 124"/>
                  <a:gd name="T27" fmla="*/ 62 h 160"/>
                  <a:gd name="T28" fmla="*/ 124 w 124"/>
                  <a:gd name="T29" fmla="*/ 48 h 160"/>
                  <a:gd name="T30" fmla="*/ 118 w 124"/>
                  <a:gd name="T31" fmla="*/ 34 h 160"/>
                  <a:gd name="T32" fmla="*/ 104 w 124"/>
                  <a:gd name="T33" fmla="*/ 34 h 160"/>
                  <a:gd name="T34" fmla="*/ 98 w 124"/>
                  <a:gd name="T35" fmla="*/ 28 h 160"/>
                  <a:gd name="T36" fmla="*/ 104 w 124"/>
                  <a:gd name="T37" fmla="*/ 14 h 160"/>
                  <a:gd name="T38" fmla="*/ 104 w 124"/>
                  <a:gd name="T39" fmla="*/ 6 h 160"/>
                  <a:gd name="T40" fmla="*/ 98 w 124"/>
                  <a:gd name="T41" fmla="*/ 0 h 160"/>
                  <a:gd name="T42" fmla="*/ 90 w 124"/>
                  <a:gd name="T43" fmla="*/ 6 h 160"/>
                  <a:gd name="T44" fmla="*/ 70 w 124"/>
                  <a:gd name="T45" fmla="*/ 6 h 160"/>
                  <a:gd name="T46" fmla="*/ 70 w 124"/>
                  <a:gd name="T47" fmla="*/ 20 h 160"/>
                  <a:gd name="T48" fmla="*/ 70 w 124"/>
                  <a:gd name="T49" fmla="*/ 34 h 160"/>
                  <a:gd name="T50" fmla="*/ 62 w 124"/>
                  <a:gd name="T51" fmla="*/ 20 h 160"/>
                  <a:gd name="T52" fmla="*/ 56 w 124"/>
                  <a:gd name="T53" fmla="*/ 20 h 160"/>
                  <a:gd name="T54" fmla="*/ 48 w 124"/>
                  <a:gd name="T55" fmla="*/ 14 h 160"/>
                  <a:gd name="T56" fmla="*/ 42 w 124"/>
                  <a:gd name="T57" fmla="*/ 28 h 160"/>
                  <a:gd name="T58" fmla="*/ 36 w 124"/>
                  <a:gd name="T59" fmla="*/ 34 h 160"/>
                  <a:gd name="T60" fmla="*/ 28 w 124"/>
                  <a:gd name="T61" fmla="*/ 20 h 160"/>
                  <a:gd name="T62" fmla="*/ 22 w 124"/>
                  <a:gd name="T63" fmla="*/ 14 h 160"/>
                  <a:gd name="T64" fmla="*/ 14 w 124"/>
                  <a:gd name="T65" fmla="*/ 20 h 160"/>
                  <a:gd name="T66" fmla="*/ 8 w 124"/>
                  <a:gd name="T67" fmla="*/ 34 h 160"/>
                  <a:gd name="T68" fmla="*/ 8 w 124"/>
                  <a:gd name="T69" fmla="*/ 56 h 160"/>
                  <a:gd name="T70" fmla="*/ 8 w 124"/>
                  <a:gd name="T71" fmla="*/ 70 h 160"/>
                  <a:gd name="T72" fmla="*/ 8 w 124"/>
                  <a:gd name="T73" fmla="*/ 82 h 160"/>
                  <a:gd name="T74" fmla="*/ 8 w 124"/>
                  <a:gd name="T75" fmla="*/ 96 h 160"/>
                  <a:gd name="T76" fmla="*/ 14 w 124"/>
                  <a:gd name="T77" fmla="*/ 104 h 160"/>
                  <a:gd name="T78" fmla="*/ 22 w 124"/>
                  <a:gd name="T79" fmla="*/ 118 h 160"/>
                  <a:gd name="T80" fmla="*/ 22 w 124"/>
                  <a:gd name="T81" fmla="*/ 138 h 160"/>
                  <a:gd name="T82" fmla="*/ 22 w 124"/>
                  <a:gd name="T83" fmla="*/ 152 h 160"/>
                  <a:gd name="T84" fmla="*/ 22 w 124"/>
                  <a:gd name="T85" fmla="*/ 14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4" h="160">
                    <a:moveTo>
                      <a:pt x="22" y="146"/>
                    </a:moveTo>
                    <a:lnTo>
                      <a:pt x="28" y="146"/>
                    </a:lnTo>
                    <a:lnTo>
                      <a:pt x="36" y="152"/>
                    </a:lnTo>
                    <a:lnTo>
                      <a:pt x="50" y="152"/>
                    </a:lnTo>
                    <a:lnTo>
                      <a:pt x="52" y="156"/>
                    </a:lnTo>
                    <a:lnTo>
                      <a:pt x="48" y="160"/>
                    </a:lnTo>
                    <a:lnTo>
                      <a:pt x="56" y="152"/>
                    </a:lnTo>
                    <a:lnTo>
                      <a:pt x="62" y="152"/>
                    </a:lnTo>
                    <a:lnTo>
                      <a:pt x="56" y="146"/>
                    </a:lnTo>
                    <a:lnTo>
                      <a:pt x="48" y="138"/>
                    </a:lnTo>
                    <a:lnTo>
                      <a:pt x="56" y="132"/>
                    </a:lnTo>
                    <a:lnTo>
                      <a:pt x="62" y="132"/>
                    </a:lnTo>
                    <a:lnTo>
                      <a:pt x="56" y="124"/>
                    </a:lnTo>
                    <a:lnTo>
                      <a:pt x="56" y="118"/>
                    </a:lnTo>
                    <a:lnTo>
                      <a:pt x="62" y="118"/>
                    </a:lnTo>
                    <a:lnTo>
                      <a:pt x="62" y="110"/>
                    </a:lnTo>
                    <a:lnTo>
                      <a:pt x="62" y="104"/>
                    </a:lnTo>
                    <a:lnTo>
                      <a:pt x="70" y="104"/>
                    </a:lnTo>
                    <a:lnTo>
                      <a:pt x="76" y="96"/>
                    </a:lnTo>
                    <a:lnTo>
                      <a:pt x="84" y="96"/>
                    </a:lnTo>
                    <a:lnTo>
                      <a:pt x="84" y="90"/>
                    </a:lnTo>
                    <a:lnTo>
                      <a:pt x="98" y="82"/>
                    </a:lnTo>
                    <a:lnTo>
                      <a:pt x="104" y="70"/>
                    </a:lnTo>
                    <a:lnTo>
                      <a:pt x="98" y="62"/>
                    </a:lnTo>
                    <a:lnTo>
                      <a:pt x="104" y="56"/>
                    </a:lnTo>
                    <a:lnTo>
                      <a:pt x="112" y="56"/>
                    </a:lnTo>
                    <a:lnTo>
                      <a:pt x="112" y="62"/>
                    </a:lnTo>
                    <a:lnTo>
                      <a:pt x="118" y="62"/>
                    </a:lnTo>
                    <a:lnTo>
                      <a:pt x="124" y="56"/>
                    </a:lnTo>
                    <a:lnTo>
                      <a:pt x="124" y="48"/>
                    </a:lnTo>
                    <a:lnTo>
                      <a:pt x="124" y="42"/>
                    </a:lnTo>
                    <a:lnTo>
                      <a:pt x="118" y="34"/>
                    </a:lnTo>
                    <a:lnTo>
                      <a:pt x="112" y="34"/>
                    </a:lnTo>
                    <a:lnTo>
                      <a:pt x="104" y="34"/>
                    </a:lnTo>
                    <a:lnTo>
                      <a:pt x="104" y="28"/>
                    </a:lnTo>
                    <a:lnTo>
                      <a:pt x="98" y="28"/>
                    </a:lnTo>
                    <a:lnTo>
                      <a:pt x="98" y="20"/>
                    </a:lnTo>
                    <a:lnTo>
                      <a:pt x="104" y="14"/>
                    </a:lnTo>
                    <a:lnTo>
                      <a:pt x="112" y="14"/>
                    </a:lnTo>
                    <a:lnTo>
                      <a:pt x="104" y="6"/>
                    </a:lnTo>
                    <a:lnTo>
                      <a:pt x="104" y="0"/>
                    </a:lnTo>
                    <a:lnTo>
                      <a:pt x="98" y="0"/>
                    </a:lnTo>
                    <a:lnTo>
                      <a:pt x="90" y="0"/>
                    </a:lnTo>
                    <a:lnTo>
                      <a:pt x="90" y="6"/>
                    </a:lnTo>
                    <a:lnTo>
                      <a:pt x="76" y="6"/>
                    </a:lnTo>
                    <a:lnTo>
                      <a:pt x="70" y="6"/>
                    </a:lnTo>
                    <a:lnTo>
                      <a:pt x="62" y="14"/>
                    </a:lnTo>
                    <a:lnTo>
                      <a:pt x="70" y="20"/>
                    </a:lnTo>
                    <a:lnTo>
                      <a:pt x="70" y="28"/>
                    </a:lnTo>
                    <a:lnTo>
                      <a:pt x="70" y="34"/>
                    </a:lnTo>
                    <a:lnTo>
                      <a:pt x="70" y="28"/>
                    </a:lnTo>
                    <a:lnTo>
                      <a:pt x="62" y="20"/>
                    </a:lnTo>
                    <a:lnTo>
                      <a:pt x="56" y="28"/>
                    </a:lnTo>
                    <a:lnTo>
                      <a:pt x="56" y="20"/>
                    </a:lnTo>
                    <a:lnTo>
                      <a:pt x="56" y="14"/>
                    </a:lnTo>
                    <a:lnTo>
                      <a:pt x="48" y="14"/>
                    </a:lnTo>
                    <a:lnTo>
                      <a:pt x="42" y="20"/>
                    </a:lnTo>
                    <a:lnTo>
                      <a:pt x="42" y="28"/>
                    </a:lnTo>
                    <a:lnTo>
                      <a:pt x="36" y="28"/>
                    </a:lnTo>
                    <a:lnTo>
                      <a:pt x="36" y="34"/>
                    </a:lnTo>
                    <a:lnTo>
                      <a:pt x="36" y="28"/>
                    </a:lnTo>
                    <a:lnTo>
                      <a:pt x="28" y="20"/>
                    </a:lnTo>
                    <a:lnTo>
                      <a:pt x="22" y="20"/>
                    </a:lnTo>
                    <a:lnTo>
                      <a:pt x="22" y="14"/>
                    </a:lnTo>
                    <a:lnTo>
                      <a:pt x="14" y="14"/>
                    </a:lnTo>
                    <a:lnTo>
                      <a:pt x="14" y="20"/>
                    </a:lnTo>
                    <a:lnTo>
                      <a:pt x="8" y="28"/>
                    </a:lnTo>
                    <a:lnTo>
                      <a:pt x="8" y="34"/>
                    </a:lnTo>
                    <a:lnTo>
                      <a:pt x="8" y="48"/>
                    </a:lnTo>
                    <a:lnTo>
                      <a:pt x="8" y="56"/>
                    </a:lnTo>
                    <a:lnTo>
                      <a:pt x="8" y="62"/>
                    </a:lnTo>
                    <a:lnTo>
                      <a:pt x="8" y="70"/>
                    </a:lnTo>
                    <a:lnTo>
                      <a:pt x="8" y="76"/>
                    </a:lnTo>
                    <a:lnTo>
                      <a:pt x="8" y="82"/>
                    </a:lnTo>
                    <a:lnTo>
                      <a:pt x="0" y="90"/>
                    </a:lnTo>
                    <a:lnTo>
                      <a:pt x="8" y="96"/>
                    </a:lnTo>
                    <a:lnTo>
                      <a:pt x="14" y="96"/>
                    </a:lnTo>
                    <a:lnTo>
                      <a:pt x="14" y="104"/>
                    </a:lnTo>
                    <a:lnTo>
                      <a:pt x="22" y="110"/>
                    </a:lnTo>
                    <a:lnTo>
                      <a:pt x="22" y="118"/>
                    </a:lnTo>
                    <a:lnTo>
                      <a:pt x="22" y="124"/>
                    </a:lnTo>
                    <a:lnTo>
                      <a:pt x="22" y="138"/>
                    </a:lnTo>
                    <a:lnTo>
                      <a:pt x="22" y="146"/>
                    </a:lnTo>
                    <a:lnTo>
                      <a:pt x="22" y="152"/>
                    </a:lnTo>
                    <a:lnTo>
                      <a:pt x="22" y="146"/>
                    </a:lnTo>
                    <a:lnTo>
                      <a:pt x="22" y="146"/>
                    </a:lnTo>
                    <a:lnTo>
                      <a:pt x="22" y="146"/>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5" name="Freeform 49"/>
              <p:cNvSpPr>
                <a:spLocks/>
              </p:cNvSpPr>
              <p:nvPr>
                <p:custDataLst>
                  <p:tags r:id="rId139"/>
                </p:custDataLst>
              </p:nvPr>
            </p:nvSpPr>
            <p:spPr bwMode="gray">
              <a:xfrm>
                <a:off x="3952198" y="3012842"/>
                <a:ext cx="254057" cy="263584"/>
              </a:xfrm>
              <a:custGeom>
                <a:avLst/>
                <a:gdLst>
                  <a:gd name="T0" fmla="*/ 146 w 160"/>
                  <a:gd name="T1" fmla="*/ 28 h 166"/>
                  <a:gd name="T2" fmla="*/ 132 w 160"/>
                  <a:gd name="T3" fmla="*/ 14 h 166"/>
                  <a:gd name="T4" fmla="*/ 118 w 160"/>
                  <a:gd name="T5" fmla="*/ 22 h 166"/>
                  <a:gd name="T6" fmla="*/ 112 w 160"/>
                  <a:gd name="T7" fmla="*/ 14 h 166"/>
                  <a:gd name="T8" fmla="*/ 84 w 160"/>
                  <a:gd name="T9" fmla="*/ 8 h 166"/>
                  <a:gd name="T10" fmla="*/ 76 w 160"/>
                  <a:gd name="T11" fmla="*/ 22 h 166"/>
                  <a:gd name="T12" fmla="*/ 56 w 160"/>
                  <a:gd name="T13" fmla="*/ 22 h 166"/>
                  <a:gd name="T14" fmla="*/ 50 w 160"/>
                  <a:gd name="T15" fmla="*/ 14 h 166"/>
                  <a:gd name="T16" fmla="*/ 36 w 160"/>
                  <a:gd name="T17" fmla="*/ 8 h 166"/>
                  <a:gd name="T18" fmla="*/ 28 w 160"/>
                  <a:gd name="T19" fmla="*/ 0 h 166"/>
                  <a:gd name="T20" fmla="*/ 14 w 160"/>
                  <a:gd name="T21" fmla="*/ 0 h 166"/>
                  <a:gd name="T22" fmla="*/ 0 w 160"/>
                  <a:gd name="T23" fmla="*/ 14 h 166"/>
                  <a:gd name="T24" fmla="*/ 0 w 160"/>
                  <a:gd name="T25" fmla="*/ 28 h 166"/>
                  <a:gd name="T26" fmla="*/ 8 w 160"/>
                  <a:gd name="T27" fmla="*/ 42 h 166"/>
                  <a:gd name="T28" fmla="*/ 14 w 160"/>
                  <a:gd name="T29" fmla="*/ 48 h 166"/>
                  <a:gd name="T30" fmla="*/ 20 w 160"/>
                  <a:gd name="T31" fmla="*/ 56 h 166"/>
                  <a:gd name="T32" fmla="*/ 28 w 160"/>
                  <a:gd name="T33" fmla="*/ 62 h 166"/>
                  <a:gd name="T34" fmla="*/ 36 w 160"/>
                  <a:gd name="T35" fmla="*/ 70 h 166"/>
                  <a:gd name="T36" fmla="*/ 50 w 160"/>
                  <a:gd name="T37" fmla="*/ 84 h 166"/>
                  <a:gd name="T38" fmla="*/ 62 w 160"/>
                  <a:gd name="T39" fmla="*/ 84 h 166"/>
                  <a:gd name="T40" fmla="*/ 62 w 160"/>
                  <a:gd name="T41" fmla="*/ 104 h 166"/>
                  <a:gd name="T42" fmla="*/ 62 w 160"/>
                  <a:gd name="T43" fmla="*/ 118 h 166"/>
                  <a:gd name="T44" fmla="*/ 76 w 160"/>
                  <a:gd name="T45" fmla="*/ 118 h 166"/>
                  <a:gd name="T46" fmla="*/ 84 w 160"/>
                  <a:gd name="T47" fmla="*/ 110 h 166"/>
                  <a:gd name="T48" fmla="*/ 90 w 160"/>
                  <a:gd name="T49" fmla="*/ 124 h 166"/>
                  <a:gd name="T50" fmla="*/ 98 w 160"/>
                  <a:gd name="T51" fmla="*/ 138 h 166"/>
                  <a:gd name="T52" fmla="*/ 104 w 160"/>
                  <a:gd name="T53" fmla="*/ 144 h 166"/>
                  <a:gd name="T54" fmla="*/ 118 w 160"/>
                  <a:gd name="T55" fmla="*/ 158 h 166"/>
                  <a:gd name="T56" fmla="*/ 126 w 160"/>
                  <a:gd name="T57" fmla="*/ 158 h 166"/>
                  <a:gd name="T58" fmla="*/ 134 w 160"/>
                  <a:gd name="T59" fmla="*/ 158 h 166"/>
                  <a:gd name="T60" fmla="*/ 134 w 160"/>
                  <a:gd name="T61" fmla="*/ 138 h 166"/>
                  <a:gd name="T62" fmla="*/ 134 w 160"/>
                  <a:gd name="T63" fmla="*/ 124 h 166"/>
                  <a:gd name="T64" fmla="*/ 148 w 160"/>
                  <a:gd name="T65" fmla="*/ 110 h 166"/>
                  <a:gd name="T66" fmla="*/ 154 w 160"/>
                  <a:gd name="T67" fmla="*/ 104 h 166"/>
                  <a:gd name="T68" fmla="*/ 160 w 160"/>
                  <a:gd name="T69" fmla="*/ 98 h 166"/>
                  <a:gd name="T70" fmla="*/ 160 w 160"/>
                  <a:gd name="T71" fmla="*/ 84 h 166"/>
                  <a:gd name="T72" fmla="*/ 160 w 160"/>
                  <a:gd name="T73" fmla="*/ 70 h 166"/>
                  <a:gd name="T74" fmla="*/ 160 w 160"/>
                  <a:gd name="T75" fmla="*/ 56 h 166"/>
                  <a:gd name="T76" fmla="*/ 160 w 160"/>
                  <a:gd name="T77" fmla="*/ 42 h 166"/>
                  <a:gd name="T78" fmla="*/ 160 w 160"/>
                  <a:gd name="T79" fmla="*/ 4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0" h="166">
                    <a:moveTo>
                      <a:pt x="160" y="42"/>
                    </a:moveTo>
                    <a:lnTo>
                      <a:pt x="146" y="28"/>
                    </a:lnTo>
                    <a:lnTo>
                      <a:pt x="140" y="22"/>
                    </a:lnTo>
                    <a:lnTo>
                      <a:pt x="132" y="14"/>
                    </a:lnTo>
                    <a:lnTo>
                      <a:pt x="126" y="14"/>
                    </a:lnTo>
                    <a:lnTo>
                      <a:pt x="118" y="22"/>
                    </a:lnTo>
                    <a:lnTo>
                      <a:pt x="112" y="22"/>
                    </a:lnTo>
                    <a:lnTo>
                      <a:pt x="112" y="14"/>
                    </a:lnTo>
                    <a:lnTo>
                      <a:pt x="90" y="8"/>
                    </a:lnTo>
                    <a:lnTo>
                      <a:pt x="84" y="8"/>
                    </a:lnTo>
                    <a:lnTo>
                      <a:pt x="76" y="14"/>
                    </a:lnTo>
                    <a:lnTo>
                      <a:pt x="76" y="22"/>
                    </a:lnTo>
                    <a:lnTo>
                      <a:pt x="62" y="22"/>
                    </a:lnTo>
                    <a:lnTo>
                      <a:pt x="56" y="22"/>
                    </a:lnTo>
                    <a:lnTo>
                      <a:pt x="50" y="22"/>
                    </a:lnTo>
                    <a:lnTo>
                      <a:pt x="50" y="14"/>
                    </a:lnTo>
                    <a:lnTo>
                      <a:pt x="42" y="8"/>
                    </a:lnTo>
                    <a:lnTo>
                      <a:pt x="36" y="8"/>
                    </a:lnTo>
                    <a:lnTo>
                      <a:pt x="36" y="0"/>
                    </a:lnTo>
                    <a:lnTo>
                      <a:pt x="28" y="0"/>
                    </a:lnTo>
                    <a:lnTo>
                      <a:pt x="20" y="8"/>
                    </a:lnTo>
                    <a:lnTo>
                      <a:pt x="14" y="0"/>
                    </a:lnTo>
                    <a:lnTo>
                      <a:pt x="14" y="8"/>
                    </a:lnTo>
                    <a:lnTo>
                      <a:pt x="0" y="14"/>
                    </a:lnTo>
                    <a:lnTo>
                      <a:pt x="0" y="22"/>
                    </a:lnTo>
                    <a:lnTo>
                      <a:pt x="0" y="28"/>
                    </a:lnTo>
                    <a:lnTo>
                      <a:pt x="0" y="34"/>
                    </a:lnTo>
                    <a:lnTo>
                      <a:pt x="8" y="42"/>
                    </a:lnTo>
                    <a:lnTo>
                      <a:pt x="8" y="48"/>
                    </a:lnTo>
                    <a:lnTo>
                      <a:pt x="14" y="48"/>
                    </a:lnTo>
                    <a:lnTo>
                      <a:pt x="20" y="48"/>
                    </a:lnTo>
                    <a:lnTo>
                      <a:pt x="20" y="56"/>
                    </a:lnTo>
                    <a:lnTo>
                      <a:pt x="20" y="62"/>
                    </a:lnTo>
                    <a:lnTo>
                      <a:pt x="28" y="62"/>
                    </a:lnTo>
                    <a:lnTo>
                      <a:pt x="36" y="62"/>
                    </a:lnTo>
                    <a:lnTo>
                      <a:pt x="36" y="70"/>
                    </a:lnTo>
                    <a:lnTo>
                      <a:pt x="42" y="84"/>
                    </a:lnTo>
                    <a:lnTo>
                      <a:pt x="50" y="84"/>
                    </a:lnTo>
                    <a:lnTo>
                      <a:pt x="56" y="84"/>
                    </a:lnTo>
                    <a:lnTo>
                      <a:pt x="62" y="84"/>
                    </a:lnTo>
                    <a:lnTo>
                      <a:pt x="62" y="98"/>
                    </a:lnTo>
                    <a:lnTo>
                      <a:pt x="62" y="104"/>
                    </a:lnTo>
                    <a:lnTo>
                      <a:pt x="56" y="110"/>
                    </a:lnTo>
                    <a:lnTo>
                      <a:pt x="62" y="118"/>
                    </a:lnTo>
                    <a:lnTo>
                      <a:pt x="70" y="118"/>
                    </a:lnTo>
                    <a:lnTo>
                      <a:pt x="76" y="118"/>
                    </a:lnTo>
                    <a:lnTo>
                      <a:pt x="76" y="110"/>
                    </a:lnTo>
                    <a:lnTo>
                      <a:pt x="84" y="110"/>
                    </a:lnTo>
                    <a:lnTo>
                      <a:pt x="84" y="118"/>
                    </a:lnTo>
                    <a:lnTo>
                      <a:pt x="90" y="124"/>
                    </a:lnTo>
                    <a:lnTo>
                      <a:pt x="90" y="132"/>
                    </a:lnTo>
                    <a:lnTo>
                      <a:pt x="98" y="138"/>
                    </a:lnTo>
                    <a:lnTo>
                      <a:pt x="98" y="144"/>
                    </a:lnTo>
                    <a:lnTo>
                      <a:pt x="104" y="144"/>
                    </a:lnTo>
                    <a:lnTo>
                      <a:pt x="112" y="152"/>
                    </a:lnTo>
                    <a:lnTo>
                      <a:pt x="118" y="158"/>
                    </a:lnTo>
                    <a:lnTo>
                      <a:pt x="118" y="166"/>
                    </a:lnTo>
                    <a:lnTo>
                      <a:pt x="126" y="158"/>
                    </a:lnTo>
                    <a:lnTo>
                      <a:pt x="132" y="158"/>
                    </a:lnTo>
                    <a:lnTo>
                      <a:pt x="134" y="158"/>
                    </a:lnTo>
                    <a:lnTo>
                      <a:pt x="138" y="146"/>
                    </a:lnTo>
                    <a:lnTo>
                      <a:pt x="134" y="138"/>
                    </a:lnTo>
                    <a:lnTo>
                      <a:pt x="134" y="132"/>
                    </a:lnTo>
                    <a:lnTo>
                      <a:pt x="134" y="124"/>
                    </a:lnTo>
                    <a:lnTo>
                      <a:pt x="140" y="118"/>
                    </a:lnTo>
                    <a:lnTo>
                      <a:pt x="148" y="110"/>
                    </a:lnTo>
                    <a:lnTo>
                      <a:pt x="154" y="110"/>
                    </a:lnTo>
                    <a:lnTo>
                      <a:pt x="154" y="104"/>
                    </a:lnTo>
                    <a:lnTo>
                      <a:pt x="154" y="98"/>
                    </a:lnTo>
                    <a:lnTo>
                      <a:pt x="160" y="98"/>
                    </a:lnTo>
                    <a:lnTo>
                      <a:pt x="160" y="90"/>
                    </a:lnTo>
                    <a:lnTo>
                      <a:pt x="160" y="84"/>
                    </a:lnTo>
                    <a:lnTo>
                      <a:pt x="154" y="84"/>
                    </a:lnTo>
                    <a:lnTo>
                      <a:pt x="160" y="70"/>
                    </a:lnTo>
                    <a:lnTo>
                      <a:pt x="160" y="62"/>
                    </a:lnTo>
                    <a:lnTo>
                      <a:pt x="160" y="56"/>
                    </a:lnTo>
                    <a:lnTo>
                      <a:pt x="160" y="48"/>
                    </a:lnTo>
                    <a:lnTo>
                      <a:pt x="160" y="42"/>
                    </a:lnTo>
                    <a:lnTo>
                      <a:pt x="160" y="42"/>
                    </a:lnTo>
                    <a:lnTo>
                      <a:pt x="160" y="42"/>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6" name="Freeform 50"/>
              <p:cNvSpPr>
                <a:spLocks/>
              </p:cNvSpPr>
              <p:nvPr/>
            </p:nvSpPr>
            <p:spPr bwMode="gray">
              <a:xfrm>
                <a:off x="4161794" y="3187506"/>
                <a:ext cx="53987" cy="88920"/>
              </a:xfrm>
              <a:custGeom>
                <a:avLst/>
                <a:gdLst>
                  <a:gd name="T0" fmla="*/ 2 w 34"/>
                  <a:gd name="T1" fmla="*/ 48 h 56"/>
                  <a:gd name="T2" fmla="*/ 4 w 34"/>
                  <a:gd name="T3" fmla="*/ 36 h 56"/>
                  <a:gd name="T4" fmla="*/ 0 w 34"/>
                  <a:gd name="T5" fmla="*/ 28 h 56"/>
                  <a:gd name="T6" fmla="*/ 0 w 34"/>
                  <a:gd name="T7" fmla="*/ 22 h 56"/>
                  <a:gd name="T8" fmla="*/ 0 w 34"/>
                  <a:gd name="T9" fmla="*/ 14 h 56"/>
                  <a:gd name="T10" fmla="*/ 8 w 34"/>
                  <a:gd name="T11" fmla="*/ 8 h 56"/>
                  <a:gd name="T12" fmla="*/ 14 w 34"/>
                  <a:gd name="T13" fmla="*/ 0 h 56"/>
                  <a:gd name="T14" fmla="*/ 22 w 34"/>
                  <a:gd name="T15" fmla="*/ 8 h 56"/>
                  <a:gd name="T16" fmla="*/ 22 w 34"/>
                  <a:gd name="T17" fmla="*/ 14 h 56"/>
                  <a:gd name="T18" fmla="*/ 28 w 34"/>
                  <a:gd name="T19" fmla="*/ 22 h 56"/>
                  <a:gd name="T20" fmla="*/ 34 w 34"/>
                  <a:gd name="T21" fmla="*/ 28 h 56"/>
                  <a:gd name="T22" fmla="*/ 34 w 34"/>
                  <a:gd name="T23" fmla="*/ 34 h 56"/>
                  <a:gd name="T24" fmla="*/ 34 w 34"/>
                  <a:gd name="T25" fmla="*/ 42 h 56"/>
                  <a:gd name="T26" fmla="*/ 34 w 34"/>
                  <a:gd name="T27" fmla="*/ 48 h 56"/>
                  <a:gd name="T28" fmla="*/ 34 w 34"/>
                  <a:gd name="T29" fmla="*/ 56 h 56"/>
                  <a:gd name="T30" fmla="*/ 28 w 34"/>
                  <a:gd name="T31" fmla="*/ 56 h 56"/>
                  <a:gd name="T32" fmla="*/ 2 w 34"/>
                  <a:gd name="T33" fmla="*/ 48 h 56"/>
                  <a:gd name="T34" fmla="*/ 2 w 34"/>
                  <a:gd name="T35" fmla="*/ 48 h 56"/>
                  <a:gd name="T36" fmla="*/ 2 w 34"/>
                  <a:gd name="T37"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 h="56">
                    <a:moveTo>
                      <a:pt x="2" y="48"/>
                    </a:moveTo>
                    <a:lnTo>
                      <a:pt x="4" y="36"/>
                    </a:lnTo>
                    <a:lnTo>
                      <a:pt x="0" y="28"/>
                    </a:lnTo>
                    <a:lnTo>
                      <a:pt x="0" y="22"/>
                    </a:lnTo>
                    <a:lnTo>
                      <a:pt x="0" y="14"/>
                    </a:lnTo>
                    <a:lnTo>
                      <a:pt x="8" y="8"/>
                    </a:lnTo>
                    <a:lnTo>
                      <a:pt x="14" y="0"/>
                    </a:lnTo>
                    <a:lnTo>
                      <a:pt x="22" y="8"/>
                    </a:lnTo>
                    <a:lnTo>
                      <a:pt x="22" y="14"/>
                    </a:lnTo>
                    <a:lnTo>
                      <a:pt x="28" y="22"/>
                    </a:lnTo>
                    <a:lnTo>
                      <a:pt x="34" y="28"/>
                    </a:lnTo>
                    <a:lnTo>
                      <a:pt x="34" y="34"/>
                    </a:lnTo>
                    <a:lnTo>
                      <a:pt x="34" y="42"/>
                    </a:lnTo>
                    <a:lnTo>
                      <a:pt x="34" y="48"/>
                    </a:lnTo>
                    <a:lnTo>
                      <a:pt x="34" y="56"/>
                    </a:lnTo>
                    <a:lnTo>
                      <a:pt x="28" y="56"/>
                    </a:lnTo>
                    <a:lnTo>
                      <a:pt x="2" y="48"/>
                    </a:lnTo>
                    <a:lnTo>
                      <a:pt x="2" y="48"/>
                    </a:lnTo>
                    <a:lnTo>
                      <a:pt x="2" y="48"/>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7" name="Freeform 51"/>
              <p:cNvSpPr>
                <a:spLocks/>
              </p:cNvSpPr>
              <p:nvPr>
                <p:custDataLst>
                  <p:tags r:id="rId140"/>
                </p:custDataLst>
              </p:nvPr>
            </p:nvSpPr>
            <p:spPr bwMode="gray">
              <a:xfrm>
                <a:off x="4072875" y="2815949"/>
                <a:ext cx="298516" cy="276286"/>
              </a:xfrm>
              <a:custGeom>
                <a:avLst/>
                <a:gdLst>
                  <a:gd name="T0" fmla="*/ 166 w 188"/>
                  <a:gd name="T1" fmla="*/ 28 h 174"/>
                  <a:gd name="T2" fmla="*/ 160 w 188"/>
                  <a:gd name="T3" fmla="*/ 0 h 174"/>
                  <a:gd name="T4" fmla="*/ 146 w 188"/>
                  <a:gd name="T5" fmla="*/ 8 h 174"/>
                  <a:gd name="T6" fmla="*/ 132 w 188"/>
                  <a:gd name="T7" fmla="*/ 8 h 174"/>
                  <a:gd name="T8" fmla="*/ 124 w 188"/>
                  <a:gd name="T9" fmla="*/ 8 h 174"/>
                  <a:gd name="T10" fmla="*/ 112 w 188"/>
                  <a:gd name="T11" fmla="*/ 8 h 174"/>
                  <a:gd name="T12" fmla="*/ 90 w 188"/>
                  <a:gd name="T13" fmla="*/ 22 h 174"/>
                  <a:gd name="T14" fmla="*/ 90 w 188"/>
                  <a:gd name="T15" fmla="*/ 36 h 174"/>
                  <a:gd name="T16" fmla="*/ 90 w 188"/>
                  <a:gd name="T17" fmla="*/ 50 h 174"/>
                  <a:gd name="T18" fmla="*/ 76 w 188"/>
                  <a:gd name="T19" fmla="*/ 76 h 174"/>
                  <a:gd name="T20" fmla="*/ 62 w 188"/>
                  <a:gd name="T21" fmla="*/ 76 h 174"/>
                  <a:gd name="T22" fmla="*/ 70 w 188"/>
                  <a:gd name="T23" fmla="*/ 56 h 174"/>
                  <a:gd name="T24" fmla="*/ 70 w 188"/>
                  <a:gd name="T25" fmla="*/ 50 h 174"/>
                  <a:gd name="T26" fmla="*/ 76 w 188"/>
                  <a:gd name="T27" fmla="*/ 36 h 174"/>
                  <a:gd name="T28" fmla="*/ 56 w 188"/>
                  <a:gd name="T29" fmla="*/ 28 h 174"/>
                  <a:gd name="T30" fmla="*/ 56 w 188"/>
                  <a:gd name="T31" fmla="*/ 28 h 174"/>
                  <a:gd name="T32" fmla="*/ 48 w 188"/>
                  <a:gd name="T33" fmla="*/ 56 h 174"/>
                  <a:gd name="T34" fmla="*/ 42 w 188"/>
                  <a:gd name="T35" fmla="*/ 70 h 174"/>
                  <a:gd name="T36" fmla="*/ 34 w 188"/>
                  <a:gd name="T37" fmla="*/ 76 h 174"/>
                  <a:gd name="T38" fmla="*/ 14 w 188"/>
                  <a:gd name="T39" fmla="*/ 84 h 174"/>
                  <a:gd name="T40" fmla="*/ 20 w 188"/>
                  <a:gd name="T41" fmla="*/ 98 h 174"/>
                  <a:gd name="T42" fmla="*/ 8 w 188"/>
                  <a:gd name="T43" fmla="*/ 112 h 174"/>
                  <a:gd name="T44" fmla="*/ 0 w 188"/>
                  <a:gd name="T45" fmla="*/ 98 h 174"/>
                  <a:gd name="T46" fmla="*/ 0 w 188"/>
                  <a:gd name="T47" fmla="*/ 112 h 174"/>
                  <a:gd name="T48" fmla="*/ 8 w 188"/>
                  <a:gd name="T49" fmla="*/ 126 h 174"/>
                  <a:gd name="T50" fmla="*/ 34 w 188"/>
                  <a:gd name="T51" fmla="*/ 138 h 174"/>
                  <a:gd name="T52" fmla="*/ 42 w 188"/>
                  <a:gd name="T53" fmla="*/ 146 h 174"/>
                  <a:gd name="T54" fmla="*/ 56 w 188"/>
                  <a:gd name="T55" fmla="*/ 138 h 174"/>
                  <a:gd name="T56" fmla="*/ 70 w 188"/>
                  <a:gd name="T57" fmla="*/ 152 h 174"/>
                  <a:gd name="T58" fmla="*/ 82 w 188"/>
                  <a:gd name="T59" fmla="*/ 174 h 174"/>
                  <a:gd name="T60" fmla="*/ 96 w 188"/>
                  <a:gd name="T61" fmla="*/ 160 h 174"/>
                  <a:gd name="T62" fmla="*/ 96 w 188"/>
                  <a:gd name="T63" fmla="*/ 138 h 174"/>
                  <a:gd name="T64" fmla="*/ 112 w 188"/>
                  <a:gd name="T65" fmla="*/ 126 h 174"/>
                  <a:gd name="T66" fmla="*/ 138 w 188"/>
                  <a:gd name="T67" fmla="*/ 126 h 174"/>
                  <a:gd name="T68" fmla="*/ 152 w 188"/>
                  <a:gd name="T69" fmla="*/ 126 h 174"/>
                  <a:gd name="T70" fmla="*/ 166 w 188"/>
                  <a:gd name="T71" fmla="*/ 126 h 174"/>
                  <a:gd name="T72" fmla="*/ 174 w 188"/>
                  <a:gd name="T73" fmla="*/ 98 h 174"/>
                  <a:gd name="T74" fmla="*/ 174 w 188"/>
                  <a:gd name="T75" fmla="*/ 84 h 174"/>
                  <a:gd name="T76" fmla="*/ 174 w 188"/>
                  <a:gd name="T77" fmla="*/ 64 h 174"/>
                  <a:gd name="T78" fmla="*/ 180 w 188"/>
                  <a:gd name="T79" fmla="*/ 56 h 174"/>
                  <a:gd name="T80" fmla="*/ 180 w 188"/>
                  <a:gd name="T81" fmla="*/ 42 h 174"/>
                  <a:gd name="T82" fmla="*/ 188 w 188"/>
                  <a:gd name="T83" fmla="*/ 28 h 174"/>
                  <a:gd name="T84" fmla="*/ 174 w 188"/>
                  <a:gd name="T85" fmla="*/ 28 h 174"/>
                  <a:gd name="T86" fmla="*/ 174 w 188"/>
                  <a:gd name="T87" fmla="*/ 2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8" h="174">
                    <a:moveTo>
                      <a:pt x="174" y="28"/>
                    </a:moveTo>
                    <a:lnTo>
                      <a:pt x="166" y="28"/>
                    </a:lnTo>
                    <a:lnTo>
                      <a:pt x="166" y="0"/>
                    </a:lnTo>
                    <a:lnTo>
                      <a:pt x="160" y="0"/>
                    </a:lnTo>
                    <a:lnTo>
                      <a:pt x="152" y="0"/>
                    </a:lnTo>
                    <a:lnTo>
                      <a:pt x="146" y="8"/>
                    </a:lnTo>
                    <a:lnTo>
                      <a:pt x="132" y="14"/>
                    </a:lnTo>
                    <a:lnTo>
                      <a:pt x="132" y="8"/>
                    </a:lnTo>
                    <a:lnTo>
                      <a:pt x="132" y="0"/>
                    </a:lnTo>
                    <a:lnTo>
                      <a:pt x="124" y="8"/>
                    </a:lnTo>
                    <a:lnTo>
                      <a:pt x="118" y="8"/>
                    </a:lnTo>
                    <a:lnTo>
                      <a:pt x="112" y="8"/>
                    </a:lnTo>
                    <a:lnTo>
                      <a:pt x="96" y="14"/>
                    </a:lnTo>
                    <a:lnTo>
                      <a:pt x="90" y="22"/>
                    </a:lnTo>
                    <a:lnTo>
                      <a:pt x="90" y="28"/>
                    </a:lnTo>
                    <a:lnTo>
                      <a:pt x="90" y="36"/>
                    </a:lnTo>
                    <a:lnTo>
                      <a:pt x="90" y="42"/>
                    </a:lnTo>
                    <a:lnTo>
                      <a:pt x="90" y="50"/>
                    </a:lnTo>
                    <a:lnTo>
                      <a:pt x="90" y="64"/>
                    </a:lnTo>
                    <a:lnTo>
                      <a:pt x="76" y="76"/>
                    </a:lnTo>
                    <a:lnTo>
                      <a:pt x="70" y="76"/>
                    </a:lnTo>
                    <a:lnTo>
                      <a:pt x="62" y="76"/>
                    </a:lnTo>
                    <a:lnTo>
                      <a:pt x="62" y="64"/>
                    </a:lnTo>
                    <a:lnTo>
                      <a:pt x="70" y="56"/>
                    </a:lnTo>
                    <a:lnTo>
                      <a:pt x="62" y="56"/>
                    </a:lnTo>
                    <a:lnTo>
                      <a:pt x="70" y="50"/>
                    </a:lnTo>
                    <a:lnTo>
                      <a:pt x="76" y="42"/>
                    </a:lnTo>
                    <a:lnTo>
                      <a:pt x="76" y="36"/>
                    </a:lnTo>
                    <a:lnTo>
                      <a:pt x="70" y="28"/>
                    </a:lnTo>
                    <a:lnTo>
                      <a:pt x="56" y="28"/>
                    </a:lnTo>
                    <a:lnTo>
                      <a:pt x="56" y="22"/>
                    </a:lnTo>
                    <a:lnTo>
                      <a:pt x="56" y="28"/>
                    </a:lnTo>
                    <a:lnTo>
                      <a:pt x="48" y="42"/>
                    </a:lnTo>
                    <a:lnTo>
                      <a:pt x="48" y="56"/>
                    </a:lnTo>
                    <a:lnTo>
                      <a:pt x="42" y="64"/>
                    </a:lnTo>
                    <a:lnTo>
                      <a:pt x="42" y="70"/>
                    </a:lnTo>
                    <a:lnTo>
                      <a:pt x="34" y="70"/>
                    </a:lnTo>
                    <a:lnTo>
                      <a:pt x="34" y="76"/>
                    </a:lnTo>
                    <a:lnTo>
                      <a:pt x="28" y="84"/>
                    </a:lnTo>
                    <a:lnTo>
                      <a:pt x="14" y="84"/>
                    </a:lnTo>
                    <a:lnTo>
                      <a:pt x="14" y="98"/>
                    </a:lnTo>
                    <a:lnTo>
                      <a:pt x="20" y="98"/>
                    </a:lnTo>
                    <a:lnTo>
                      <a:pt x="20" y="104"/>
                    </a:lnTo>
                    <a:lnTo>
                      <a:pt x="8" y="112"/>
                    </a:lnTo>
                    <a:lnTo>
                      <a:pt x="8" y="98"/>
                    </a:lnTo>
                    <a:lnTo>
                      <a:pt x="0" y="98"/>
                    </a:lnTo>
                    <a:lnTo>
                      <a:pt x="0" y="104"/>
                    </a:lnTo>
                    <a:lnTo>
                      <a:pt x="0" y="112"/>
                    </a:lnTo>
                    <a:lnTo>
                      <a:pt x="0" y="126"/>
                    </a:lnTo>
                    <a:lnTo>
                      <a:pt x="8" y="126"/>
                    </a:lnTo>
                    <a:lnTo>
                      <a:pt x="14" y="132"/>
                    </a:lnTo>
                    <a:lnTo>
                      <a:pt x="34" y="138"/>
                    </a:lnTo>
                    <a:lnTo>
                      <a:pt x="34" y="146"/>
                    </a:lnTo>
                    <a:lnTo>
                      <a:pt x="42" y="146"/>
                    </a:lnTo>
                    <a:lnTo>
                      <a:pt x="48" y="138"/>
                    </a:lnTo>
                    <a:lnTo>
                      <a:pt x="56" y="138"/>
                    </a:lnTo>
                    <a:lnTo>
                      <a:pt x="62" y="146"/>
                    </a:lnTo>
                    <a:lnTo>
                      <a:pt x="70" y="152"/>
                    </a:lnTo>
                    <a:lnTo>
                      <a:pt x="82" y="168"/>
                    </a:lnTo>
                    <a:lnTo>
                      <a:pt x="82" y="174"/>
                    </a:lnTo>
                    <a:lnTo>
                      <a:pt x="96" y="168"/>
                    </a:lnTo>
                    <a:lnTo>
                      <a:pt x="96" y="160"/>
                    </a:lnTo>
                    <a:lnTo>
                      <a:pt x="96" y="146"/>
                    </a:lnTo>
                    <a:lnTo>
                      <a:pt x="96" y="138"/>
                    </a:lnTo>
                    <a:lnTo>
                      <a:pt x="96" y="132"/>
                    </a:lnTo>
                    <a:lnTo>
                      <a:pt x="112" y="126"/>
                    </a:lnTo>
                    <a:lnTo>
                      <a:pt x="132" y="118"/>
                    </a:lnTo>
                    <a:lnTo>
                      <a:pt x="138" y="126"/>
                    </a:lnTo>
                    <a:lnTo>
                      <a:pt x="146" y="126"/>
                    </a:lnTo>
                    <a:lnTo>
                      <a:pt x="152" y="126"/>
                    </a:lnTo>
                    <a:lnTo>
                      <a:pt x="160" y="126"/>
                    </a:lnTo>
                    <a:lnTo>
                      <a:pt x="166" y="126"/>
                    </a:lnTo>
                    <a:lnTo>
                      <a:pt x="174" y="104"/>
                    </a:lnTo>
                    <a:lnTo>
                      <a:pt x="174" y="98"/>
                    </a:lnTo>
                    <a:lnTo>
                      <a:pt x="166" y="90"/>
                    </a:lnTo>
                    <a:lnTo>
                      <a:pt x="174" y="84"/>
                    </a:lnTo>
                    <a:lnTo>
                      <a:pt x="174" y="76"/>
                    </a:lnTo>
                    <a:lnTo>
                      <a:pt x="174" y="64"/>
                    </a:lnTo>
                    <a:lnTo>
                      <a:pt x="174" y="56"/>
                    </a:lnTo>
                    <a:lnTo>
                      <a:pt x="180" y="56"/>
                    </a:lnTo>
                    <a:lnTo>
                      <a:pt x="180" y="50"/>
                    </a:lnTo>
                    <a:lnTo>
                      <a:pt x="180" y="42"/>
                    </a:lnTo>
                    <a:lnTo>
                      <a:pt x="180" y="36"/>
                    </a:lnTo>
                    <a:lnTo>
                      <a:pt x="188" y="28"/>
                    </a:lnTo>
                    <a:lnTo>
                      <a:pt x="180" y="22"/>
                    </a:lnTo>
                    <a:lnTo>
                      <a:pt x="174" y="28"/>
                    </a:lnTo>
                    <a:lnTo>
                      <a:pt x="174" y="28"/>
                    </a:lnTo>
                    <a:lnTo>
                      <a:pt x="174" y="28"/>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8" name="Freeform 52"/>
              <p:cNvSpPr>
                <a:spLocks/>
              </p:cNvSpPr>
              <p:nvPr/>
            </p:nvSpPr>
            <p:spPr bwMode="gray">
              <a:xfrm>
                <a:off x="4517473" y="2352295"/>
                <a:ext cx="177840" cy="107974"/>
              </a:xfrm>
              <a:custGeom>
                <a:avLst/>
                <a:gdLst>
                  <a:gd name="T0" fmla="*/ 8 w 112"/>
                  <a:gd name="T1" fmla="*/ 68 h 68"/>
                  <a:gd name="T2" fmla="*/ 8 w 112"/>
                  <a:gd name="T3" fmla="*/ 62 h 68"/>
                  <a:gd name="T4" fmla="*/ 8 w 112"/>
                  <a:gd name="T5" fmla="*/ 54 h 68"/>
                  <a:gd name="T6" fmla="*/ 14 w 112"/>
                  <a:gd name="T7" fmla="*/ 48 h 68"/>
                  <a:gd name="T8" fmla="*/ 22 w 112"/>
                  <a:gd name="T9" fmla="*/ 48 h 68"/>
                  <a:gd name="T10" fmla="*/ 28 w 112"/>
                  <a:gd name="T11" fmla="*/ 48 h 68"/>
                  <a:gd name="T12" fmla="*/ 34 w 112"/>
                  <a:gd name="T13" fmla="*/ 48 h 68"/>
                  <a:gd name="T14" fmla="*/ 42 w 112"/>
                  <a:gd name="T15" fmla="*/ 48 h 68"/>
                  <a:gd name="T16" fmla="*/ 50 w 112"/>
                  <a:gd name="T17" fmla="*/ 48 h 68"/>
                  <a:gd name="T18" fmla="*/ 56 w 112"/>
                  <a:gd name="T19" fmla="*/ 42 h 68"/>
                  <a:gd name="T20" fmla="*/ 64 w 112"/>
                  <a:gd name="T21" fmla="*/ 42 h 68"/>
                  <a:gd name="T22" fmla="*/ 76 w 112"/>
                  <a:gd name="T23" fmla="*/ 42 h 68"/>
                  <a:gd name="T24" fmla="*/ 84 w 112"/>
                  <a:gd name="T25" fmla="*/ 48 h 68"/>
                  <a:gd name="T26" fmla="*/ 92 w 112"/>
                  <a:gd name="T27" fmla="*/ 54 h 68"/>
                  <a:gd name="T28" fmla="*/ 92 w 112"/>
                  <a:gd name="T29" fmla="*/ 48 h 68"/>
                  <a:gd name="T30" fmla="*/ 98 w 112"/>
                  <a:gd name="T31" fmla="*/ 42 h 68"/>
                  <a:gd name="T32" fmla="*/ 106 w 112"/>
                  <a:gd name="T33" fmla="*/ 34 h 68"/>
                  <a:gd name="T34" fmla="*/ 106 w 112"/>
                  <a:gd name="T35" fmla="*/ 20 h 68"/>
                  <a:gd name="T36" fmla="*/ 98 w 112"/>
                  <a:gd name="T37" fmla="*/ 20 h 68"/>
                  <a:gd name="T38" fmla="*/ 98 w 112"/>
                  <a:gd name="T39" fmla="*/ 14 h 68"/>
                  <a:gd name="T40" fmla="*/ 106 w 112"/>
                  <a:gd name="T41" fmla="*/ 6 h 68"/>
                  <a:gd name="T42" fmla="*/ 112 w 112"/>
                  <a:gd name="T43" fmla="*/ 0 h 68"/>
                  <a:gd name="T44" fmla="*/ 106 w 112"/>
                  <a:gd name="T45" fmla="*/ 0 h 68"/>
                  <a:gd name="T46" fmla="*/ 98 w 112"/>
                  <a:gd name="T47" fmla="*/ 6 h 68"/>
                  <a:gd name="T48" fmla="*/ 92 w 112"/>
                  <a:gd name="T49" fmla="*/ 6 h 68"/>
                  <a:gd name="T50" fmla="*/ 84 w 112"/>
                  <a:gd name="T51" fmla="*/ 6 h 68"/>
                  <a:gd name="T52" fmla="*/ 76 w 112"/>
                  <a:gd name="T53" fmla="*/ 14 h 68"/>
                  <a:gd name="T54" fmla="*/ 70 w 112"/>
                  <a:gd name="T55" fmla="*/ 14 h 68"/>
                  <a:gd name="T56" fmla="*/ 64 w 112"/>
                  <a:gd name="T57" fmla="*/ 20 h 68"/>
                  <a:gd name="T58" fmla="*/ 56 w 112"/>
                  <a:gd name="T59" fmla="*/ 28 h 68"/>
                  <a:gd name="T60" fmla="*/ 56 w 112"/>
                  <a:gd name="T61" fmla="*/ 34 h 68"/>
                  <a:gd name="T62" fmla="*/ 50 w 112"/>
                  <a:gd name="T63" fmla="*/ 42 h 68"/>
                  <a:gd name="T64" fmla="*/ 42 w 112"/>
                  <a:gd name="T65" fmla="*/ 42 h 68"/>
                  <a:gd name="T66" fmla="*/ 34 w 112"/>
                  <a:gd name="T67" fmla="*/ 42 h 68"/>
                  <a:gd name="T68" fmla="*/ 14 w 112"/>
                  <a:gd name="T69" fmla="*/ 42 h 68"/>
                  <a:gd name="T70" fmla="*/ 8 w 112"/>
                  <a:gd name="T71" fmla="*/ 42 h 68"/>
                  <a:gd name="T72" fmla="*/ 0 w 112"/>
                  <a:gd name="T73" fmla="*/ 48 h 68"/>
                  <a:gd name="T74" fmla="*/ 0 w 112"/>
                  <a:gd name="T75" fmla="*/ 54 h 68"/>
                  <a:gd name="T76" fmla="*/ 8 w 112"/>
                  <a:gd name="T77" fmla="*/ 68 h 68"/>
                  <a:gd name="T78" fmla="*/ 8 w 112"/>
                  <a:gd name="T79" fmla="*/ 68 h 68"/>
                  <a:gd name="T80" fmla="*/ 8 w 112"/>
                  <a:gd name="T8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2" h="68">
                    <a:moveTo>
                      <a:pt x="8" y="68"/>
                    </a:moveTo>
                    <a:lnTo>
                      <a:pt x="8" y="62"/>
                    </a:lnTo>
                    <a:lnTo>
                      <a:pt x="8" y="54"/>
                    </a:lnTo>
                    <a:lnTo>
                      <a:pt x="14" y="48"/>
                    </a:lnTo>
                    <a:lnTo>
                      <a:pt x="22" y="48"/>
                    </a:lnTo>
                    <a:lnTo>
                      <a:pt x="28" y="48"/>
                    </a:lnTo>
                    <a:lnTo>
                      <a:pt x="34" y="48"/>
                    </a:lnTo>
                    <a:lnTo>
                      <a:pt x="42" y="48"/>
                    </a:lnTo>
                    <a:lnTo>
                      <a:pt x="50" y="48"/>
                    </a:lnTo>
                    <a:lnTo>
                      <a:pt x="56" y="42"/>
                    </a:lnTo>
                    <a:lnTo>
                      <a:pt x="64" y="42"/>
                    </a:lnTo>
                    <a:lnTo>
                      <a:pt x="76" y="42"/>
                    </a:lnTo>
                    <a:lnTo>
                      <a:pt x="84" y="48"/>
                    </a:lnTo>
                    <a:lnTo>
                      <a:pt x="92" y="54"/>
                    </a:lnTo>
                    <a:lnTo>
                      <a:pt x="92" y="48"/>
                    </a:lnTo>
                    <a:lnTo>
                      <a:pt x="98" y="42"/>
                    </a:lnTo>
                    <a:lnTo>
                      <a:pt x="106" y="34"/>
                    </a:lnTo>
                    <a:lnTo>
                      <a:pt x="106" y="20"/>
                    </a:lnTo>
                    <a:lnTo>
                      <a:pt x="98" y="20"/>
                    </a:lnTo>
                    <a:lnTo>
                      <a:pt x="98" y="14"/>
                    </a:lnTo>
                    <a:lnTo>
                      <a:pt x="106" y="6"/>
                    </a:lnTo>
                    <a:lnTo>
                      <a:pt x="112" y="0"/>
                    </a:lnTo>
                    <a:lnTo>
                      <a:pt x="106" y="0"/>
                    </a:lnTo>
                    <a:lnTo>
                      <a:pt x="98" y="6"/>
                    </a:lnTo>
                    <a:lnTo>
                      <a:pt x="92" y="6"/>
                    </a:lnTo>
                    <a:lnTo>
                      <a:pt x="84" y="6"/>
                    </a:lnTo>
                    <a:lnTo>
                      <a:pt x="76" y="14"/>
                    </a:lnTo>
                    <a:lnTo>
                      <a:pt x="70" y="14"/>
                    </a:lnTo>
                    <a:lnTo>
                      <a:pt x="64" y="20"/>
                    </a:lnTo>
                    <a:lnTo>
                      <a:pt x="56" y="28"/>
                    </a:lnTo>
                    <a:lnTo>
                      <a:pt x="56" y="34"/>
                    </a:lnTo>
                    <a:lnTo>
                      <a:pt x="50" y="42"/>
                    </a:lnTo>
                    <a:lnTo>
                      <a:pt x="42" y="42"/>
                    </a:lnTo>
                    <a:lnTo>
                      <a:pt x="34" y="42"/>
                    </a:lnTo>
                    <a:lnTo>
                      <a:pt x="14" y="42"/>
                    </a:lnTo>
                    <a:lnTo>
                      <a:pt x="8" y="42"/>
                    </a:lnTo>
                    <a:lnTo>
                      <a:pt x="0" y="48"/>
                    </a:lnTo>
                    <a:lnTo>
                      <a:pt x="0" y="54"/>
                    </a:lnTo>
                    <a:lnTo>
                      <a:pt x="8" y="68"/>
                    </a:lnTo>
                    <a:lnTo>
                      <a:pt x="8" y="68"/>
                    </a:lnTo>
                    <a:lnTo>
                      <a:pt x="8" y="68"/>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09" name="Freeform 53"/>
              <p:cNvSpPr>
                <a:spLocks/>
              </p:cNvSpPr>
              <p:nvPr/>
            </p:nvSpPr>
            <p:spPr bwMode="gray">
              <a:xfrm>
                <a:off x="4596866" y="2615879"/>
                <a:ext cx="53987" cy="53987"/>
              </a:xfrm>
              <a:custGeom>
                <a:avLst/>
                <a:gdLst>
                  <a:gd name="T0" fmla="*/ 34 w 34"/>
                  <a:gd name="T1" fmla="*/ 34 h 34"/>
                  <a:gd name="T2" fmla="*/ 26 w 34"/>
                  <a:gd name="T3" fmla="*/ 34 h 34"/>
                  <a:gd name="T4" fmla="*/ 14 w 34"/>
                  <a:gd name="T5" fmla="*/ 34 h 34"/>
                  <a:gd name="T6" fmla="*/ 14 w 34"/>
                  <a:gd name="T7" fmla="*/ 28 h 34"/>
                  <a:gd name="T8" fmla="*/ 0 w 34"/>
                  <a:gd name="T9" fmla="*/ 28 h 34"/>
                  <a:gd name="T10" fmla="*/ 0 w 34"/>
                  <a:gd name="T11" fmla="*/ 14 h 34"/>
                  <a:gd name="T12" fmla="*/ 0 w 34"/>
                  <a:gd name="T13" fmla="*/ 6 h 34"/>
                  <a:gd name="T14" fmla="*/ 6 w 34"/>
                  <a:gd name="T15" fmla="*/ 6 h 34"/>
                  <a:gd name="T16" fmla="*/ 6 w 34"/>
                  <a:gd name="T17" fmla="*/ 0 h 34"/>
                  <a:gd name="T18" fmla="*/ 14 w 34"/>
                  <a:gd name="T19" fmla="*/ 6 h 34"/>
                  <a:gd name="T20" fmla="*/ 20 w 34"/>
                  <a:gd name="T21" fmla="*/ 0 h 34"/>
                  <a:gd name="T22" fmla="*/ 26 w 34"/>
                  <a:gd name="T23" fmla="*/ 6 h 34"/>
                  <a:gd name="T24" fmla="*/ 34 w 34"/>
                  <a:gd name="T25" fmla="*/ 6 h 34"/>
                  <a:gd name="T26" fmla="*/ 34 w 34"/>
                  <a:gd name="T27" fmla="*/ 14 h 34"/>
                  <a:gd name="T28" fmla="*/ 34 w 34"/>
                  <a:gd name="T29" fmla="*/ 20 h 34"/>
                  <a:gd name="T30" fmla="*/ 34 w 34"/>
                  <a:gd name="T31" fmla="*/ 28 h 34"/>
                  <a:gd name="T32" fmla="*/ 34 w 34"/>
                  <a:gd name="T33" fmla="*/ 34 h 34"/>
                  <a:gd name="T34" fmla="*/ 26 w 34"/>
                  <a:gd name="T35" fmla="*/ 34 h 34"/>
                  <a:gd name="T36" fmla="*/ 34 w 34"/>
                  <a:gd name="T37" fmla="*/ 34 h 34"/>
                  <a:gd name="T38" fmla="*/ 34 w 34"/>
                  <a:gd name="T39" fmla="*/ 34 h 34"/>
                  <a:gd name="T40" fmla="*/ 34 w 34"/>
                  <a:gd name="T41"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 h="34">
                    <a:moveTo>
                      <a:pt x="34" y="34"/>
                    </a:moveTo>
                    <a:lnTo>
                      <a:pt x="26" y="34"/>
                    </a:lnTo>
                    <a:lnTo>
                      <a:pt x="14" y="34"/>
                    </a:lnTo>
                    <a:lnTo>
                      <a:pt x="14" y="28"/>
                    </a:lnTo>
                    <a:lnTo>
                      <a:pt x="0" y="28"/>
                    </a:lnTo>
                    <a:lnTo>
                      <a:pt x="0" y="14"/>
                    </a:lnTo>
                    <a:lnTo>
                      <a:pt x="0" y="6"/>
                    </a:lnTo>
                    <a:lnTo>
                      <a:pt x="6" y="6"/>
                    </a:lnTo>
                    <a:lnTo>
                      <a:pt x="6" y="0"/>
                    </a:lnTo>
                    <a:lnTo>
                      <a:pt x="14" y="6"/>
                    </a:lnTo>
                    <a:lnTo>
                      <a:pt x="20" y="0"/>
                    </a:lnTo>
                    <a:lnTo>
                      <a:pt x="26" y="6"/>
                    </a:lnTo>
                    <a:lnTo>
                      <a:pt x="34" y="6"/>
                    </a:lnTo>
                    <a:lnTo>
                      <a:pt x="34" y="14"/>
                    </a:lnTo>
                    <a:lnTo>
                      <a:pt x="34" y="20"/>
                    </a:lnTo>
                    <a:lnTo>
                      <a:pt x="34" y="28"/>
                    </a:lnTo>
                    <a:lnTo>
                      <a:pt x="34" y="34"/>
                    </a:lnTo>
                    <a:lnTo>
                      <a:pt x="26" y="34"/>
                    </a:lnTo>
                    <a:lnTo>
                      <a:pt x="34" y="34"/>
                    </a:lnTo>
                    <a:lnTo>
                      <a:pt x="34" y="34"/>
                    </a:lnTo>
                    <a:lnTo>
                      <a:pt x="34" y="34"/>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0" name="Freeform 54"/>
              <p:cNvSpPr>
                <a:spLocks/>
              </p:cNvSpPr>
              <p:nvPr/>
            </p:nvSpPr>
            <p:spPr bwMode="gray">
              <a:xfrm>
                <a:off x="4666731" y="2558716"/>
                <a:ext cx="111150" cy="130204"/>
              </a:xfrm>
              <a:custGeom>
                <a:avLst/>
                <a:gdLst>
                  <a:gd name="T0" fmla="*/ 34 w 70"/>
                  <a:gd name="T1" fmla="*/ 82 h 82"/>
                  <a:gd name="T2" fmla="*/ 20 w 70"/>
                  <a:gd name="T3" fmla="*/ 76 h 82"/>
                  <a:gd name="T4" fmla="*/ 28 w 70"/>
                  <a:gd name="T5" fmla="*/ 76 h 82"/>
                  <a:gd name="T6" fmla="*/ 28 w 70"/>
                  <a:gd name="T7" fmla="*/ 68 h 82"/>
                  <a:gd name="T8" fmla="*/ 20 w 70"/>
                  <a:gd name="T9" fmla="*/ 68 h 82"/>
                  <a:gd name="T10" fmla="*/ 6 w 70"/>
                  <a:gd name="T11" fmla="*/ 68 h 82"/>
                  <a:gd name="T12" fmla="*/ 0 w 70"/>
                  <a:gd name="T13" fmla="*/ 62 h 82"/>
                  <a:gd name="T14" fmla="*/ 0 w 70"/>
                  <a:gd name="T15" fmla="*/ 56 h 82"/>
                  <a:gd name="T16" fmla="*/ 6 w 70"/>
                  <a:gd name="T17" fmla="*/ 48 h 82"/>
                  <a:gd name="T18" fmla="*/ 0 w 70"/>
                  <a:gd name="T19" fmla="*/ 42 h 82"/>
                  <a:gd name="T20" fmla="*/ 0 w 70"/>
                  <a:gd name="T21" fmla="*/ 34 h 82"/>
                  <a:gd name="T22" fmla="*/ 6 w 70"/>
                  <a:gd name="T23" fmla="*/ 28 h 82"/>
                  <a:gd name="T24" fmla="*/ 14 w 70"/>
                  <a:gd name="T25" fmla="*/ 28 h 82"/>
                  <a:gd name="T26" fmla="*/ 20 w 70"/>
                  <a:gd name="T27" fmla="*/ 22 h 82"/>
                  <a:gd name="T28" fmla="*/ 20 w 70"/>
                  <a:gd name="T29" fmla="*/ 14 h 82"/>
                  <a:gd name="T30" fmla="*/ 28 w 70"/>
                  <a:gd name="T31" fmla="*/ 14 h 82"/>
                  <a:gd name="T32" fmla="*/ 28 w 70"/>
                  <a:gd name="T33" fmla="*/ 22 h 82"/>
                  <a:gd name="T34" fmla="*/ 20 w 70"/>
                  <a:gd name="T35" fmla="*/ 28 h 82"/>
                  <a:gd name="T36" fmla="*/ 28 w 70"/>
                  <a:gd name="T37" fmla="*/ 34 h 82"/>
                  <a:gd name="T38" fmla="*/ 34 w 70"/>
                  <a:gd name="T39" fmla="*/ 34 h 82"/>
                  <a:gd name="T40" fmla="*/ 34 w 70"/>
                  <a:gd name="T41" fmla="*/ 28 h 82"/>
                  <a:gd name="T42" fmla="*/ 34 w 70"/>
                  <a:gd name="T43" fmla="*/ 22 h 82"/>
                  <a:gd name="T44" fmla="*/ 42 w 70"/>
                  <a:gd name="T45" fmla="*/ 22 h 82"/>
                  <a:gd name="T46" fmla="*/ 48 w 70"/>
                  <a:gd name="T47" fmla="*/ 22 h 82"/>
                  <a:gd name="T48" fmla="*/ 56 w 70"/>
                  <a:gd name="T49" fmla="*/ 14 h 82"/>
                  <a:gd name="T50" fmla="*/ 48 w 70"/>
                  <a:gd name="T51" fmla="*/ 8 h 82"/>
                  <a:gd name="T52" fmla="*/ 42 w 70"/>
                  <a:gd name="T53" fmla="*/ 8 h 82"/>
                  <a:gd name="T54" fmla="*/ 48 w 70"/>
                  <a:gd name="T55" fmla="*/ 0 h 82"/>
                  <a:gd name="T56" fmla="*/ 56 w 70"/>
                  <a:gd name="T57" fmla="*/ 0 h 82"/>
                  <a:gd name="T58" fmla="*/ 70 w 70"/>
                  <a:gd name="T59" fmla="*/ 0 h 82"/>
                  <a:gd name="T60" fmla="*/ 62 w 70"/>
                  <a:gd name="T61" fmla="*/ 8 h 82"/>
                  <a:gd name="T62" fmla="*/ 70 w 70"/>
                  <a:gd name="T63" fmla="*/ 8 h 82"/>
                  <a:gd name="T64" fmla="*/ 62 w 70"/>
                  <a:gd name="T65" fmla="*/ 14 h 82"/>
                  <a:gd name="T66" fmla="*/ 70 w 70"/>
                  <a:gd name="T67" fmla="*/ 28 h 82"/>
                  <a:gd name="T68" fmla="*/ 62 w 70"/>
                  <a:gd name="T69" fmla="*/ 34 h 82"/>
                  <a:gd name="T70" fmla="*/ 48 w 70"/>
                  <a:gd name="T71" fmla="*/ 48 h 82"/>
                  <a:gd name="T72" fmla="*/ 56 w 70"/>
                  <a:gd name="T73" fmla="*/ 56 h 82"/>
                  <a:gd name="T74" fmla="*/ 48 w 70"/>
                  <a:gd name="T75" fmla="*/ 68 h 82"/>
                  <a:gd name="T76" fmla="*/ 42 w 70"/>
                  <a:gd name="T77" fmla="*/ 68 h 82"/>
                  <a:gd name="T78" fmla="*/ 34 w 70"/>
                  <a:gd name="T79" fmla="*/ 76 h 82"/>
                  <a:gd name="T80" fmla="*/ 42 w 70"/>
                  <a:gd name="T81" fmla="*/ 82 h 82"/>
                  <a:gd name="T82" fmla="*/ 34 w 70"/>
                  <a:gd name="T83" fmla="*/ 82 h 82"/>
                  <a:gd name="T84" fmla="*/ 34 w 70"/>
                  <a:gd name="T85" fmla="*/ 82 h 82"/>
                  <a:gd name="T86" fmla="*/ 34 w 70"/>
                  <a:gd name="T8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 h="82">
                    <a:moveTo>
                      <a:pt x="34" y="82"/>
                    </a:moveTo>
                    <a:lnTo>
                      <a:pt x="20" y="76"/>
                    </a:lnTo>
                    <a:lnTo>
                      <a:pt x="28" y="76"/>
                    </a:lnTo>
                    <a:lnTo>
                      <a:pt x="28" y="68"/>
                    </a:lnTo>
                    <a:lnTo>
                      <a:pt x="20" y="68"/>
                    </a:lnTo>
                    <a:lnTo>
                      <a:pt x="6" y="68"/>
                    </a:lnTo>
                    <a:lnTo>
                      <a:pt x="0" y="62"/>
                    </a:lnTo>
                    <a:lnTo>
                      <a:pt x="0" y="56"/>
                    </a:lnTo>
                    <a:lnTo>
                      <a:pt x="6" y="48"/>
                    </a:lnTo>
                    <a:lnTo>
                      <a:pt x="0" y="42"/>
                    </a:lnTo>
                    <a:lnTo>
                      <a:pt x="0" y="34"/>
                    </a:lnTo>
                    <a:lnTo>
                      <a:pt x="6" y="28"/>
                    </a:lnTo>
                    <a:lnTo>
                      <a:pt x="14" y="28"/>
                    </a:lnTo>
                    <a:lnTo>
                      <a:pt x="20" y="22"/>
                    </a:lnTo>
                    <a:lnTo>
                      <a:pt x="20" y="14"/>
                    </a:lnTo>
                    <a:lnTo>
                      <a:pt x="28" y="14"/>
                    </a:lnTo>
                    <a:lnTo>
                      <a:pt x="28" y="22"/>
                    </a:lnTo>
                    <a:lnTo>
                      <a:pt x="20" y="28"/>
                    </a:lnTo>
                    <a:lnTo>
                      <a:pt x="28" y="34"/>
                    </a:lnTo>
                    <a:lnTo>
                      <a:pt x="34" y="34"/>
                    </a:lnTo>
                    <a:lnTo>
                      <a:pt x="34" y="28"/>
                    </a:lnTo>
                    <a:lnTo>
                      <a:pt x="34" y="22"/>
                    </a:lnTo>
                    <a:lnTo>
                      <a:pt x="42" y="22"/>
                    </a:lnTo>
                    <a:lnTo>
                      <a:pt x="48" y="22"/>
                    </a:lnTo>
                    <a:lnTo>
                      <a:pt x="56" y="14"/>
                    </a:lnTo>
                    <a:lnTo>
                      <a:pt x="48" y="8"/>
                    </a:lnTo>
                    <a:lnTo>
                      <a:pt x="42" y="8"/>
                    </a:lnTo>
                    <a:lnTo>
                      <a:pt x="48" y="0"/>
                    </a:lnTo>
                    <a:lnTo>
                      <a:pt x="56" y="0"/>
                    </a:lnTo>
                    <a:lnTo>
                      <a:pt x="70" y="0"/>
                    </a:lnTo>
                    <a:lnTo>
                      <a:pt x="62" y="8"/>
                    </a:lnTo>
                    <a:lnTo>
                      <a:pt x="70" y="8"/>
                    </a:lnTo>
                    <a:lnTo>
                      <a:pt x="62" y="14"/>
                    </a:lnTo>
                    <a:lnTo>
                      <a:pt x="70" y="28"/>
                    </a:lnTo>
                    <a:lnTo>
                      <a:pt x="62" y="34"/>
                    </a:lnTo>
                    <a:lnTo>
                      <a:pt x="48" y="48"/>
                    </a:lnTo>
                    <a:lnTo>
                      <a:pt x="56" y="56"/>
                    </a:lnTo>
                    <a:lnTo>
                      <a:pt x="48" y="68"/>
                    </a:lnTo>
                    <a:lnTo>
                      <a:pt x="42" y="68"/>
                    </a:lnTo>
                    <a:lnTo>
                      <a:pt x="34" y="76"/>
                    </a:lnTo>
                    <a:lnTo>
                      <a:pt x="42" y="82"/>
                    </a:lnTo>
                    <a:lnTo>
                      <a:pt x="34" y="82"/>
                    </a:lnTo>
                    <a:lnTo>
                      <a:pt x="34" y="82"/>
                    </a:lnTo>
                    <a:lnTo>
                      <a:pt x="34" y="82"/>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1" name="Freeform 55"/>
              <p:cNvSpPr>
                <a:spLocks/>
              </p:cNvSpPr>
              <p:nvPr/>
            </p:nvSpPr>
            <p:spPr bwMode="gray">
              <a:xfrm>
                <a:off x="4654029" y="2701623"/>
                <a:ext cx="44460" cy="31757"/>
              </a:xfrm>
              <a:custGeom>
                <a:avLst/>
                <a:gdLst>
                  <a:gd name="T0" fmla="*/ 22 w 28"/>
                  <a:gd name="T1" fmla="*/ 20 h 20"/>
                  <a:gd name="T2" fmla="*/ 14 w 28"/>
                  <a:gd name="T3" fmla="*/ 20 h 20"/>
                  <a:gd name="T4" fmla="*/ 8 w 28"/>
                  <a:gd name="T5" fmla="*/ 14 h 20"/>
                  <a:gd name="T6" fmla="*/ 0 w 28"/>
                  <a:gd name="T7" fmla="*/ 8 h 20"/>
                  <a:gd name="T8" fmla="*/ 0 w 28"/>
                  <a:gd name="T9" fmla="*/ 0 h 20"/>
                  <a:gd name="T10" fmla="*/ 8 w 28"/>
                  <a:gd name="T11" fmla="*/ 0 h 20"/>
                  <a:gd name="T12" fmla="*/ 14 w 28"/>
                  <a:gd name="T13" fmla="*/ 0 h 20"/>
                  <a:gd name="T14" fmla="*/ 14 w 28"/>
                  <a:gd name="T15" fmla="*/ 8 h 20"/>
                  <a:gd name="T16" fmla="*/ 22 w 28"/>
                  <a:gd name="T17" fmla="*/ 8 h 20"/>
                  <a:gd name="T18" fmla="*/ 28 w 28"/>
                  <a:gd name="T19" fmla="*/ 14 h 20"/>
                  <a:gd name="T20" fmla="*/ 28 w 28"/>
                  <a:gd name="T21" fmla="*/ 20 h 20"/>
                  <a:gd name="T22" fmla="*/ 22 w 28"/>
                  <a:gd name="T23" fmla="*/ 20 h 20"/>
                  <a:gd name="T24" fmla="*/ 22 w 28"/>
                  <a:gd name="T25" fmla="*/ 20 h 20"/>
                  <a:gd name="T26" fmla="*/ 22 w 28"/>
                  <a:gd name="T2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20">
                    <a:moveTo>
                      <a:pt x="22" y="20"/>
                    </a:moveTo>
                    <a:lnTo>
                      <a:pt x="14" y="20"/>
                    </a:lnTo>
                    <a:lnTo>
                      <a:pt x="8" y="14"/>
                    </a:lnTo>
                    <a:lnTo>
                      <a:pt x="0" y="8"/>
                    </a:lnTo>
                    <a:lnTo>
                      <a:pt x="0" y="0"/>
                    </a:lnTo>
                    <a:lnTo>
                      <a:pt x="8" y="0"/>
                    </a:lnTo>
                    <a:lnTo>
                      <a:pt x="14" y="0"/>
                    </a:lnTo>
                    <a:lnTo>
                      <a:pt x="14" y="8"/>
                    </a:lnTo>
                    <a:lnTo>
                      <a:pt x="22" y="8"/>
                    </a:lnTo>
                    <a:lnTo>
                      <a:pt x="28" y="14"/>
                    </a:lnTo>
                    <a:lnTo>
                      <a:pt x="28" y="20"/>
                    </a:lnTo>
                    <a:lnTo>
                      <a:pt x="22" y="20"/>
                    </a:lnTo>
                    <a:lnTo>
                      <a:pt x="22" y="20"/>
                    </a:lnTo>
                    <a:lnTo>
                      <a:pt x="22" y="20"/>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2" name="Freeform 56"/>
              <p:cNvSpPr>
                <a:spLocks/>
              </p:cNvSpPr>
              <p:nvPr/>
            </p:nvSpPr>
            <p:spPr bwMode="gray">
              <a:xfrm>
                <a:off x="4711192" y="2701623"/>
                <a:ext cx="22230" cy="31757"/>
              </a:xfrm>
              <a:custGeom>
                <a:avLst/>
                <a:gdLst>
                  <a:gd name="T0" fmla="*/ 0 w 14"/>
                  <a:gd name="T1" fmla="*/ 14 h 20"/>
                  <a:gd name="T2" fmla="*/ 0 w 14"/>
                  <a:gd name="T3" fmla="*/ 8 h 20"/>
                  <a:gd name="T4" fmla="*/ 0 w 14"/>
                  <a:gd name="T5" fmla="*/ 0 h 20"/>
                  <a:gd name="T6" fmla="*/ 8 w 14"/>
                  <a:gd name="T7" fmla="*/ 8 h 20"/>
                  <a:gd name="T8" fmla="*/ 14 w 14"/>
                  <a:gd name="T9" fmla="*/ 8 h 20"/>
                  <a:gd name="T10" fmla="*/ 14 w 14"/>
                  <a:gd name="T11" fmla="*/ 14 h 20"/>
                  <a:gd name="T12" fmla="*/ 8 w 14"/>
                  <a:gd name="T13" fmla="*/ 14 h 20"/>
                  <a:gd name="T14" fmla="*/ 8 w 14"/>
                  <a:gd name="T15" fmla="*/ 20 h 20"/>
                  <a:gd name="T16" fmla="*/ 0 w 14"/>
                  <a:gd name="T17" fmla="*/ 14 h 20"/>
                  <a:gd name="T18" fmla="*/ 0 w 14"/>
                  <a:gd name="T19" fmla="*/ 14 h 20"/>
                  <a:gd name="T20" fmla="*/ 0 w 14"/>
                  <a:gd name="T21" fmla="*/ 14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20">
                    <a:moveTo>
                      <a:pt x="0" y="14"/>
                    </a:moveTo>
                    <a:lnTo>
                      <a:pt x="0" y="8"/>
                    </a:lnTo>
                    <a:lnTo>
                      <a:pt x="0" y="0"/>
                    </a:lnTo>
                    <a:lnTo>
                      <a:pt x="8" y="8"/>
                    </a:lnTo>
                    <a:lnTo>
                      <a:pt x="14" y="8"/>
                    </a:lnTo>
                    <a:lnTo>
                      <a:pt x="14" y="14"/>
                    </a:lnTo>
                    <a:lnTo>
                      <a:pt x="8" y="14"/>
                    </a:lnTo>
                    <a:lnTo>
                      <a:pt x="8" y="20"/>
                    </a:lnTo>
                    <a:lnTo>
                      <a:pt x="0" y="14"/>
                    </a:lnTo>
                    <a:lnTo>
                      <a:pt x="0" y="14"/>
                    </a:lnTo>
                    <a:lnTo>
                      <a:pt x="0" y="14"/>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3" name="Freeform 57"/>
              <p:cNvSpPr>
                <a:spLocks/>
              </p:cNvSpPr>
              <p:nvPr>
                <p:custDataLst>
                  <p:tags r:id="rId141"/>
                </p:custDataLst>
              </p:nvPr>
            </p:nvSpPr>
            <p:spPr bwMode="gray">
              <a:xfrm>
                <a:off x="4973627" y="3438171"/>
                <a:ext cx="555748" cy="349328"/>
              </a:xfrm>
              <a:custGeom>
                <a:avLst/>
                <a:gdLst>
                  <a:gd name="T0" fmla="*/ 56 w 350"/>
                  <a:gd name="T1" fmla="*/ 48 h 220"/>
                  <a:gd name="T2" fmla="*/ 70 w 350"/>
                  <a:gd name="T3" fmla="*/ 54 h 220"/>
                  <a:gd name="T4" fmla="*/ 84 w 350"/>
                  <a:gd name="T5" fmla="*/ 68 h 220"/>
                  <a:gd name="T6" fmla="*/ 104 w 350"/>
                  <a:gd name="T7" fmla="*/ 68 h 220"/>
                  <a:gd name="T8" fmla="*/ 114 w 350"/>
                  <a:gd name="T9" fmla="*/ 68 h 220"/>
                  <a:gd name="T10" fmla="*/ 138 w 350"/>
                  <a:gd name="T11" fmla="*/ 62 h 220"/>
                  <a:gd name="T12" fmla="*/ 138 w 350"/>
                  <a:gd name="T13" fmla="*/ 54 h 220"/>
                  <a:gd name="T14" fmla="*/ 150 w 350"/>
                  <a:gd name="T15" fmla="*/ 46 h 220"/>
                  <a:gd name="T16" fmla="*/ 166 w 350"/>
                  <a:gd name="T17" fmla="*/ 48 h 220"/>
                  <a:gd name="T18" fmla="*/ 188 w 350"/>
                  <a:gd name="T19" fmla="*/ 40 h 220"/>
                  <a:gd name="T20" fmla="*/ 208 w 350"/>
                  <a:gd name="T21" fmla="*/ 26 h 220"/>
                  <a:gd name="T22" fmla="*/ 222 w 350"/>
                  <a:gd name="T23" fmla="*/ 12 h 220"/>
                  <a:gd name="T24" fmla="*/ 230 w 350"/>
                  <a:gd name="T25" fmla="*/ 0 h 220"/>
                  <a:gd name="T26" fmla="*/ 242 w 350"/>
                  <a:gd name="T27" fmla="*/ 0 h 220"/>
                  <a:gd name="T28" fmla="*/ 264 w 350"/>
                  <a:gd name="T29" fmla="*/ 0 h 220"/>
                  <a:gd name="T30" fmla="*/ 278 w 350"/>
                  <a:gd name="T31" fmla="*/ 0 h 220"/>
                  <a:gd name="T32" fmla="*/ 284 w 350"/>
                  <a:gd name="T33" fmla="*/ 6 h 220"/>
                  <a:gd name="T34" fmla="*/ 304 w 350"/>
                  <a:gd name="T35" fmla="*/ 6 h 220"/>
                  <a:gd name="T36" fmla="*/ 322 w 350"/>
                  <a:gd name="T37" fmla="*/ 20 h 220"/>
                  <a:gd name="T38" fmla="*/ 334 w 350"/>
                  <a:gd name="T39" fmla="*/ 20 h 220"/>
                  <a:gd name="T40" fmla="*/ 350 w 350"/>
                  <a:gd name="T41" fmla="*/ 32 h 220"/>
                  <a:gd name="T42" fmla="*/ 348 w 350"/>
                  <a:gd name="T43" fmla="*/ 52 h 220"/>
                  <a:gd name="T44" fmla="*/ 328 w 350"/>
                  <a:gd name="T45" fmla="*/ 68 h 220"/>
                  <a:gd name="T46" fmla="*/ 314 w 350"/>
                  <a:gd name="T47" fmla="*/ 74 h 220"/>
                  <a:gd name="T48" fmla="*/ 306 w 350"/>
                  <a:gd name="T49" fmla="*/ 98 h 220"/>
                  <a:gd name="T50" fmla="*/ 300 w 350"/>
                  <a:gd name="T51" fmla="*/ 112 h 220"/>
                  <a:gd name="T52" fmla="*/ 288 w 350"/>
                  <a:gd name="T53" fmla="*/ 138 h 220"/>
                  <a:gd name="T54" fmla="*/ 274 w 350"/>
                  <a:gd name="T55" fmla="*/ 148 h 220"/>
                  <a:gd name="T56" fmla="*/ 262 w 350"/>
                  <a:gd name="T57" fmla="*/ 164 h 220"/>
                  <a:gd name="T58" fmla="*/ 252 w 350"/>
                  <a:gd name="T59" fmla="*/ 174 h 220"/>
                  <a:gd name="T60" fmla="*/ 244 w 350"/>
                  <a:gd name="T61" fmla="*/ 186 h 220"/>
                  <a:gd name="T62" fmla="*/ 214 w 350"/>
                  <a:gd name="T63" fmla="*/ 178 h 220"/>
                  <a:gd name="T64" fmla="*/ 208 w 350"/>
                  <a:gd name="T65" fmla="*/ 186 h 220"/>
                  <a:gd name="T66" fmla="*/ 188 w 350"/>
                  <a:gd name="T67" fmla="*/ 192 h 220"/>
                  <a:gd name="T68" fmla="*/ 166 w 350"/>
                  <a:gd name="T69" fmla="*/ 192 h 220"/>
                  <a:gd name="T70" fmla="*/ 146 w 350"/>
                  <a:gd name="T71" fmla="*/ 200 h 220"/>
                  <a:gd name="T72" fmla="*/ 132 w 350"/>
                  <a:gd name="T73" fmla="*/ 206 h 220"/>
                  <a:gd name="T74" fmla="*/ 118 w 350"/>
                  <a:gd name="T75" fmla="*/ 220 h 220"/>
                  <a:gd name="T76" fmla="*/ 96 w 350"/>
                  <a:gd name="T77" fmla="*/ 214 h 220"/>
                  <a:gd name="T78" fmla="*/ 84 w 350"/>
                  <a:gd name="T79" fmla="*/ 214 h 220"/>
                  <a:gd name="T80" fmla="*/ 70 w 350"/>
                  <a:gd name="T81" fmla="*/ 206 h 220"/>
                  <a:gd name="T82" fmla="*/ 62 w 350"/>
                  <a:gd name="T83" fmla="*/ 200 h 220"/>
                  <a:gd name="T84" fmla="*/ 48 w 350"/>
                  <a:gd name="T85" fmla="*/ 192 h 220"/>
                  <a:gd name="T86" fmla="*/ 34 w 350"/>
                  <a:gd name="T87" fmla="*/ 178 h 220"/>
                  <a:gd name="T88" fmla="*/ 28 w 350"/>
                  <a:gd name="T89" fmla="*/ 164 h 220"/>
                  <a:gd name="T90" fmla="*/ 20 w 350"/>
                  <a:gd name="T91" fmla="*/ 152 h 220"/>
                  <a:gd name="T92" fmla="*/ 14 w 350"/>
                  <a:gd name="T93" fmla="*/ 138 h 220"/>
                  <a:gd name="T94" fmla="*/ 0 w 350"/>
                  <a:gd name="T95" fmla="*/ 144 h 220"/>
                  <a:gd name="T96" fmla="*/ 8 w 350"/>
                  <a:gd name="T97" fmla="*/ 124 h 220"/>
                  <a:gd name="T98" fmla="*/ 20 w 350"/>
                  <a:gd name="T99" fmla="*/ 110 h 220"/>
                  <a:gd name="T100" fmla="*/ 28 w 350"/>
                  <a:gd name="T101" fmla="*/ 96 h 220"/>
                  <a:gd name="T102" fmla="*/ 28 w 350"/>
                  <a:gd name="T103" fmla="*/ 82 h 220"/>
                  <a:gd name="T104" fmla="*/ 20 w 350"/>
                  <a:gd name="T105" fmla="*/ 68 h 220"/>
                  <a:gd name="T106" fmla="*/ 32 w 350"/>
                  <a:gd name="T107" fmla="*/ 66 h 220"/>
                  <a:gd name="T108" fmla="*/ 42 w 350"/>
                  <a:gd name="T109" fmla="*/ 72 h 220"/>
                  <a:gd name="T110" fmla="*/ 48 w 350"/>
                  <a:gd name="T111" fmla="*/ 62 h 220"/>
                  <a:gd name="T112" fmla="*/ 40 w 350"/>
                  <a:gd name="T113" fmla="*/ 36 h 220"/>
                  <a:gd name="T114" fmla="*/ 40 w 350"/>
                  <a:gd name="T115" fmla="*/ 36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0" h="220">
                    <a:moveTo>
                      <a:pt x="40" y="36"/>
                    </a:moveTo>
                    <a:lnTo>
                      <a:pt x="56" y="48"/>
                    </a:lnTo>
                    <a:lnTo>
                      <a:pt x="62" y="54"/>
                    </a:lnTo>
                    <a:lnTo>
                      <a:pt x="70" y="54"/>
                    </a:lnTo>
                    <a:lnTo>
                      <a:pt x="76" y="62"/>
                    </a:lnTo>
                    <a:lnTo>
                      <a:pt x="84" y="68"/>
                    </a:lnTo>
                    <a:lnTo>
                      <a:pt x="96" y="68"/>
                    </a:lnTo>
                    <a:lnTo>
                      <a:pt x="104" y="68"/>
                    </a:lnTo>
                    <a:lnTo>
                      <a:pt x="112" y="68"/>
                    </a:lnTo>
                    <a:lnTo>
                      <a:pt x="114" y="68"/>
                    </a:lnTo>
                    <a:lnTo>
                      <a:pt x="132" y="62"/>
                    </a:lnTo>
                    <a:lnTo>
                      <a:pt x="138" y="62"/>
                    </a:lnTo>
                    <a:lnTo>
                      <a:pt x="134" y="56"/>
                    </a:lnTo>
                    <a:lnTo>
                      <a:pt x="138" y="54"/>
                    </a:lnTo>
                    <a:lnTo>
                      <a:pt x="138" y="48"/>
                    </a:lnTo>
                    <a:lnTo>
                      <a:pt x="150" y="46"/>
                    </a:lnTo>
                    <a:lnTo>
                      <a:pt x="158" y="48"/>
                    </a:lnTo>
                    <a:lnTo>
                      <a:pt x="166" y="48"/>
                    </a:lnTo>
                    <a:lnTo>
                      <a:pt x="174" y="48"/>
                    </a:lnTo>
                    <a:lnTo>
                      <a:pt x="188" y="40"/>
                    </a:lnTo>
                    <a:lnTo>
                      <a:pt x="194" y="34"/>
                    </a:lnTo>
                    <a:lnTo>
                      <a:pt x="208" y="26"/>
                    </a:lnTo>
                    <a:lnTo>
                      <a:pt x="214" y="20"/>
                    </a:lnTo>
                    <a:lnTo>
                      <a:pt x="222" y="12"/>
                    </a:lnTo>
                    <a:lnTo>
                      <a:pt x="222" y="6"/>
                    </a:lnTo>
                    <a:lnTo>
                      <a:pt x="230" y="0"/>
                    </a:lnTo>
                    <a:lnTo>
                      <a:pt x="236" y="0"/>
                    </a:lnTo>
                    <a:lnTo>
                      <a:pt x="242" y="0"/>
                    </a:lnTo>
                    <a:lnTo>
                      <a:pt x="256" y="0"/>
                    </a:lnTo>
                    <a:lnTo>
                      <a:pt x="264" y="0"/>
                    </a:lnTo>
                    <a:lnTo>
                      <a:pt x="270" y="0"/>
                    </a:lnTo>
                    <a:lnTo>
                      <a:pt x="278" y="0"/>
                    </a:lnTo>
                    <a:lnTo>
                      <a:pt x="278" y="6"/>
                    </a:lnTo>
                    <a:lnTo>
                      <a:pt x="284" y="6"/>
                    </a:lnTo>
                    <a:lnTo>
                      <a:pt x="292" y="12"/>
                    </a:lnTo>
                    <a:lnTo>
                      <a:pt x="304" y="6"/>
                    </a:lnTo>
                    <a:lnTo>
                      <a:pt x="318" y="12"/>
                    </a:lnTo>
                    <a:lnTo>
                      <a:pt x="322" y="20"/>
                    </a:lnTo>
                    <a:lnTo>
                      <a:pt x="326" y="18"/>
                    </a:lnTo>
                    <a:lnTo>
                      <a:pt x="334" y="20"/>
                    </a:lnTo>
                    <a:lnTo>
                      <a:pt x="340" y="26"/>
                    </a:lnTo>
                    <a:lnTo>
                      <a:pt x="350" y="32"/>
                    </a:lnTo>
                    <a:lnTo>
                      <a:pt x="350" y="40"/>
                    </a:lnTo>
                    <a:lnTo>
                      <a:pt x="348" y="52"/>
                    </a:lnTo>
                    <a:lnTo>
                      <a:pt x="338" y="62"/>
                    </a:lnTo>
                    <a:lnTo>
                      <a:pt x="328" y="68"/>
                    </a:lnTo>
                    <a:lnTo>
                      <a:pt x="322" y="72"/>
                    </a:lnTo>
                    <a:lnTo>
                      <a:pt x="314" y="74"/>
                    </a:lnTo>
                    <a:lnTo>
                      <a:pt x="308" y="84"/>
                    </a:lnTo>
                    <a:lnTo>
                      <a:pt x="306" y="98"/>
                    </a:lnTo>
                    <a:lnTo>
                      <a:pt x="302" y="104"/>
                    </a:lnTo>
                    <a:lnTo>
                      <a:pt x="300" y="112"/>
                    </a:lnTo>
                    <a:lnTo>
                      <a:pt x="296" y="130"/>
                    </a:lnTo>
                    <a:lnTo>
                      <a:pt x="288" y="138"/>
                    </a:lnTo>
                    <a:lnTo>
                      <a:pt x="284" y="146"/>
                    </a:lnTo>
                    <a:lnTo>
                      <a:pt x="274" y="148"/>
                    </a:lnTo>
                    <a:lnTo>
                      <a:pt x="274" y="156"/>
                    </a:lnTo>
                    <a:lnTo>
                      <a:pt x="262" y="164"/>
                    </a:lnTo>
                    <a:lnTo>
                      <a:pt x="260" y="166"/>
                    </a:lnTo>
                    <a:lnTo>
                      <a:pt x="252" y="174"/>
                    </a:lnTo>
                    <a:lnTo>
                      <a:pt x="248" y="180"/>
                    </a:lnTo>
                    <a:lnTo>
                      <a:pt x="244" y="186"/>
                    </a:lnTo>
                    <a:lnTo>
                      <a:pt x="222" y="186"/>
                    </a:lnTo>
                    <a:lnTo>
                      <a:pt x="214" y="178"/>
                    </a:lnTo>
                    <a:lnTo>
                      <a:pt x="208" y="178"/>
                    </a:lnTo>
                    <a:lnTo>
                      <a:pt x="208" y="186"/>
                    </a:lnTo>
                    <a:lnTo>
                      <a:pt x="194" y="192"/>
                    </a:lnTo>
                    <a:lnTo>
                      <a:pt x="188" y="192"/>
                    </a:lnTo>
                    <a:lnTo>
                      <a:pt x="180" y="186"/>
                    </a:lnTo>
                    <a:lnTo>
                      <a:pt x="166" y="192"/>
                    </a:lnTo>
                    <a:lnTo>
                      <a:pt x="158" y="200"/>
                    </a:lnTo>
                    <a:lnTo>
                      <a:pt x="146" y="200"/>
                    </a:lnTo>
                    <a:lnTo>
                      <a:pt x="138" y="200"/>
                    </a:lnTo>
                    <a:lnTo>
                      <a:pt x="132" y="206"/>
                    </a:lnTo>
                    <a:lnTo>
                      <a:pt x="126" y="214"/>
                    </a:lnTo>
                    <a:lnTo>
                      <a:pt x="118" y="220"/>
                    </a:lnTo>
                    <a:lnTo>
                      <a:pt x="112" y="220"/>
                    </a:lnTo>
                    <a:lnTo>
                      <a:pt x="96" y="214"/>
                    </a:lnTo>
                    <a:lnTo>
                      <a:pt x="90" y="214"/>
                    </a:lnTo>
                    <a:lnTo>
                      <a:pt x="84" y="214"/>
                    </a:lnTo>
                    <a:lnTo>
                      <a:pt x="76" y="214"/>
                    </a:lnTo>
                    <a:lnTo>
                      <a:pt x="70" y="206"/>
                    </a:lnTo>
                    <a:lnTo>
                      <a:pt x="62" y="206"/>
                    </a:lnTo>
                    <a:lnTo>
                      <a:pt x="62" y="200"/>
                    </a:lnTo>
                    <a:lnTo>
                      <a:pt x="56" y="200"/>
                    </a:lnTo>
                    <a:lnTo>
                      <a:pt x="48" y="192"/>
                    </a:lnTo>
                    <a:lnTo>
                      <a:pt x="42" y="186"/>
                    </a:lnTo>
                    <a:lnTo>
                      <a:pt x="34" y="178"/>
                    </a:lnTo>
                    <a:lnTo>
                      <a:pt x="28" y="172"/>
                    </a:lnTo>
                    <a:lnTo>
                      <a:pt x="28" y="164"/>
                    </a:lnTo>
                    <a:lnTo>
                      <a:pt x="28" y="158"/>
                    </a:lnTo>
                    <a:lnTo>
                      <a:pt x="20" y="152"/>
                    </a:lnTo>
                    <a:lnTo>
                      <a:pt x="14" y="144"/>
                    </a:lnTo>
                    <a:lnTo>
                      <a:pt x="14" y="138"/>
                    </a:lnTo>
                    <a:lnTo>
                      <a:pt x="0" y="138"/>
                    </a:lnTo>
                    <a:lnTo>
                      <a:pt x="0" y="144"/>
                    </a:lnTo>
                    <a:lnTo>
                      <a:pt x="0" y="138"/>
                    </a:lnTo>
                    <a:lnTo>
                      <a:pt x="8" y="124"/>
                    </a:lnTo>
                    <a:lnTo>
                      <a:pt x="14" y="124"/>
                    </a:lnTo>
                    <a:lnTo>
                      <a:pt x="20" y="110"/>
                    </a:lnTo>
                    <a:lnTo>
                      <a:pt x="20" y="96"/>
                    </a:lnTo>
                    <a:lnTo>
                      <a:pt x="28" y="96"/>
                    </a:lnTo>
                    <a:lnTo>
                      <a:pt x="28" y="90"/>
                    </a:lnTo>
                    <a:lnTo>
                      <a:pt x="28" y="82"/>
                    </a:lnTo>
                    <a:lnTo>
                      <a:pt x="20" y="76"/>
                    </a:lnTo>
                    <a:lnTo>
                      <a:pt x="20" y="68"/>
                    </a:lnTo>
                    <a:lnTo>
                      <a:pt x="28" y="68"/>
                    </a:lnTo>
                    <a:lnTo>
                      <a:pt x="32" y="66"/>
                    </a:lnTo>
                    <a:lnTo>
                      <a:pt x="34" y="70"/>
                    </a:lnTo>
                    <a:lnTo>
                      <a:pt x="42" y="72"/>
                    </a:lnTo>
                    <a:lnTo>
                      <a:pt x="42" y="68"/>
                    </a:lnTo>
                    <a:lnTo>
                      <a:pt x="48" y="62"/>
                    </a:lnTo>
                    <a:lnTo>
                      <a:pt x="44" y="48"/>
                    </a:lnTo>
                    <a:lnTo>
                      <a:pt x="40" y="36"/>
                    </a:lnTo>
                    <a:lnTo>
                      <a:pt x="40" y="36"/>
                    </a:lnTo>
                    <a:lnTo>
                      <a:pt x="40" y="36"/>
                    </a:lnTo>
                    <a:close/>
                  </a:path>
                </a:pathLst>
              </a:custGeom>
              <a:solidFill>
                <a:srgbClr val="73C375"/>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4" name="Freeform 58"/>
              <p:cNvSpPr>
                <a:spLocks/>
              </p:cNvSpPr>
              <p:nvPr>
                <p:custDataLst>
                  <p:tags r:id="rId142"/>
                </p:custDataLst>
              </p:nvPr>
            </p:nvSpPr>
            <p:spPr bwMode="gray">
              <a:xfrm>
                <a:off x="5589273" y="4581641"/>
                <a:ext cx="155609" cy="107974"/>
              </a:xfrm>
              <a:custGeom>
                <a:avLst/>
                <a:gdLst>
                  <a:gd name="T0" fmla="*/ 0 w 98"/>
                  <a:gd name="T1" fmla="*/ 6 h 68"/>
                  <a:gd name="T2" fmla="*/ 14 w 98"/>
                  <a:gd name="T3" fmla="*/ 0 h 68"/>
                  <a:gd name="T4" fmla="*/ 20 w 98"/>
                  <a:gd name="T5" fmla="*/ 0 h 68"/>
                  <a:gd name="T6" fmla="*/ 28 w 98"/>
                  <a:gd name="T7" fmla="*/ 6 h 68"/>
                  <a:gd name="T8" fmla="*/ 34 w 98"/>
                  <a:gd name="T9" fmla="*/ 12 h 68"/>
                  <a:gd name="T10" fmla="*/ 48 w 98"/>
                  <a:gd name="T11" fmla="*/ 12 h 68"/>
                  <a:gd name="T12" fmla="*/ 62 w 98"/>
                  <a:gd name="T13" fmla="*/ 20 h 68"/>
                  <a:gd name="T14" fmla="*/ 70 w 98"/>
                  <a:gd name="T15" fmla="*/ 26 h 68"/>
                  <a:gd name="T16" fmla="*/ 76 w 98"/>
                  <a:gd name="T17" fmla="*/ 26 h 68"/>
                  <a:gd name="T18" fmla="*/ 84 w 98"/>
                  <a:gd name="T19" fmla="*/ 34 h 68"/>
                  <a:gd name="T20" fmla="*/ 84 w 98"/>
                  <a:gd name="T21" fmla="*/ 40 h 68"/>
                  <a:gd name="T22" fmla="*/ 90 w 98"/>
                  <a:gd name="T23" fmla="*/ 46 h 68"/>
                  <a:gd name="T24" fmla="*/ 98 w 98"/>
                  <a:gd name="T25" fmla="*/ 54 h 68"/>
                  <a:gd name="T26" fmla="*/ 98 w 98"/>
                  <a:gd name="T27" fmla="*/ 68 h 68"/>
                  <a:gd name="T28" fmla="*/ 90 w 98"/>
                  <a:gd name="T29" fmla="*/ 68 h 68"/>
                  <a:gd name="T30" fmla="*/ 84 w 98"/>
                  <a:gd name="T31" fmla="*/ 54 h 68"/>
                  <a:gd name="T32" fmla="*/ 76 w 98"/>
                  <a:gd name="T33" fmla="*/ 46 h 68"/>
                  <a:gd name="T34" fmla="*/ 70 w 98"/>
                  <a:gd name="T35" fmla="*/ 40 h 68"/>
                  <a:gd name="T36" fmla="*/ 56 w 98"/>
                  <a:gd name="T37" fmla="*/ 34 h 68"/>
                  <a:gd name="T38" fmla="*/ 48 w 98"/>
                  <a:gd name="T39" fmla="*/ 26 h 68"/>
                  <a:gd name="T40" fmla="*/ 34 w 98"/>
                  <a:gd name="T41" fmla="*/ 20 h 68"/>
                  <a:gd name="T42" fmla="*/ 28 w 98"/>
                  <a:gd name="T43" fmla="*/ 12 h 68"/>
                  <a:gd name="T44" fmla="*/ 14 w 98"/>
                  <a:gd name="T45" fmla="*/ 12 h 68"/>
                  <a:gd name="T46" fmla="*/ 6 w 98"/>
                  <a:gd name="T47" fmla="*/ 12 h 68"/>
                  <a:gd name="T48" fmla="*/ 0 w 98"/>
                  <a:gd name="T49" fmla="*/ 6 h 68"/>
                  <a:gd name="T50" fmla="*/ 0 w 98"/>
                  <a:gd name="T51" fmla="*/ 6 h 68"/>
                  <a:gd name="T52" fmla="*/ 0 w 98"/>
                  <a:gd name="T53" fmla="*/ 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8" h="68">
                    <a:moveTo>
                      <a:pt x="0" y="6"/>
                    </a:moveTo>
                    <a:lnTo>
                      <a:pt x="14" y="0"/>
                    </a:lnTo>
                    <a:lnTo>
                      <a:pt x="20" y="0"/>
                    </a:lnTo>
                    <a:lnTo>
                      <a:pt x="28" y="6"/>
                    </a:lnTo>
                    <a:lnTo>
                      <a:pt x="34" y="12"/>
                    </a:lnTo>
                    <a:lnTo>
                      <a:pt x="48" y="12"/>
                    </a:lnTo>
                    <a:lnTo>
                      <a:pt x="62" y="20"/>
                    </a:lnTo>
                    <a:lnTo>
                      <a:pt x="70" y="26"/>
                    </a:lnTo>
                    <a:lnTo>
                      <a:pt x="76" y="26"/>
                    </a:lnTo>
                    <a:lnTo>
                      <a:pt x="84" y="34"/>
                    </a:lnTo>
                    <a:lnTo>
                      <a:pt x="84" y="40"/>
                    </a:lnTo>
                    <a:lnTo>
                      <a:pt x="90" y="46"/>
                    </a:lnTo>
                    <a:lnTo>
                      <a:pt x="98" y="54"/>
                    </a:lnTo>
                    <a:lnTo>
                      <a:pt x="98" y="68"/>
                    </a:lnTo>
                    <a:lnTo>
                      <a:pt x="90" y="68"/>
                    </a:lnTo>
                    <a:lnTo>
                      <a:pt x="84" y="54"/>
                    </a:lnTo>
                    <a:lnTo>
                      <a:pt x="76" y="46"/>
                    </a:lnTo>
                    <a:lnTo>
                      <a:pt x="70" y="40"/>
                    </a:lnTo>
                    <a:lnTo>
                      <a:pt x="56" y="34"/>
                    </a:lnTo>
                    <a:lnTo>
                      <a:pt x="48" y="26"/>
                    </a:lnTo>
                    <a:lnTo>
                      <a:pt x="34" y="20"/>
                    </a:lnTo>
                    <a:lnTo>
                      <a:pt x="28" y="12"/>
                    </a:lnTo>
                    <a:lnTo>
                      <a:pt x="14" y="12"/>
                    </a:lnTo>
                    <a:lnTo>
                      <a:pt x="6" y="12"/>
                    </a:lnTo>
                    <a:lnTo>
                      <a:pt x="0" y="6"/>
                    </a:lnTo>
                    <a:lnTo>
                      <a:pt x="0" y="6"/>
                    </a:lnTo>
                    <a:lnTo>
                      <a:pt x="0" y="6"/>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5" name="Freeform 59"/>
              <p:cNvSpPr>
                <a:spLocks/>
              </p:cNvSpPr>
              <p:nvPr/>
            </p:nvSpPr>
            <p:spPr bwMode="gray">
              <a:xfrm>
                <a:off x="5157377" y="1018500"/>
                <a:ext cx="53987" cy="66690"/>
              </a:xfrm>
              <a:custGeom>
                <a:avLst/>
                <a:gdLst>
                  <a:gd name="T0" fmla="*/ 6 w 34"/>
                  <a:gd name="T1" fmla="*/ 42 h 42"/>
                  <a:gd name="T2" fmla="*/ 14 w 34"/>
                  <a:gd name="T3" fmla="*/ 34 h 42"/>
                  <a:gd name="T4" fmla="*/ 14 w 34"/>
                  <a:gd name="T5" fmla="*/ 28 h 42"/>
                  <a:gd name="T6" fmla="*/ 20 w 34"/>
                  <a:gd name="T7" fmla="*/ 28 h 42"/>
                  <a:gd name="T8" fmla="*/ 28 w 34"/>
                  <a:gd name="T9" fmla="*/ 28 h 42"/>
                  <a:gd name="T10" fmla="*/ 34 w 34"/>
                  <a:gd name="T11" fmla="*/ 8 h 42"/>
                  <a:gd name="T12" fmla="*/ 28 w 34"/>
                  <a:gd name="T13" fmla="*/ 0 h 42"/>
                  <a:gd name="T14" fmla="*/ 20 w 34"/>
                  <a:gd name="T15" fmla="*/ 0 h 42"/>
                  <a:gd name="T16" fmla="*/ 20 w 34"/>
                  <a:gd name="T17" fmla="*/ 8 h 42"/>
                  <a:gd name="T18" fmla="*/ 14 w 34"/>
                  <a:gd name="T19" fmla="*/ 8 h 42"/>
                  <a:gd name="T20" fmla="*/ 6 w 34"/>
                  <a:gd name="T21" fmla="*/ 8 h 42"/>
                  <a:gd name="T22" fmla="*/ 6 w 34"/>
                  <a:gd name="T23" fmla="*/ 14 h 42"/>
                  <a:gd name="T24" fmla="*/ 6 w 34"/>
                  <a:gd name="T25" fmla="*/ 22 h 42"/>
                  <a:gd name="T26" fmla="*/ 0 w 34"/>
                  <a:gd name="T27" fmla="*/ 28 h 42"/>
                  <a:gd name="T28" fmla="*/ 6 w 34"/>
                  <a:gd name="T29" fmla="*/ 34 h 42"/>
                  <a:gd name="T30" fmla="*/ 6 w 34"/>
                  <a:gd name="T31" fmla="*/ 42 h 42"/>
                  <a:gd name="T32" fmla="*/ 6 w 34"/>
                  <a:gd name="T33" fmla="*/ 42 h 42"/>
                  <a:gd name="T34" fmla="*/ 6 w 34"/>
                  <a:gd name="T3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42">
                    <a:moveTo>
                      <a:pt x="6" y="42"/>
                    </a:moveTo>
                    <a:lnTo>
                      <a:pt x="14" y="34"/>
                    </a:lnTo>
                    <a:lnTo>
                      <a:pt x="14" y="28"/>
                    </a:lnTo>
                    <a:lnTo>
                      <a:pt x="20" y="28"/>
                    </a:lnTo>
                    <a:lnTo>
                      <a:pt x="28" y="28"/>
                    </a:lnTo>
                    <a:lnTo>
                      <a:pt x="34" y="8"/>
                    </a:lnTo>
                    <a:lnTo>
                      <a:pt x="28" y="0"/>
                    </a:lnTo>
                    <a:lnTo>
                      <a:pt x="20" y="0"/>
                    </a:lnTo>
                    <a:lnTo>
                      <a:pt x="20" y="8"/>
                    </a:lnTo>
                    <a:lnTo>
                      <a:pt x="14" y="8"/>
                    </a:lnTo>
                    <a:lnTo>
                      <a:pt x="6" y="8"/>
                    </a:lnTo>
                    <a:lnTo>
                      <a:pt x="6" y="14"/>
                    </a:lnTo>
                    <a:lnTo>
                      <a:pt x="6" y="22"/>
                    </a:lnTo>
                    <a:lnTo>
                      <a:pt x="0" y="28"/>
                    </a:lnTo>
                    <a:lnTo>
                      <a:pt x="6" y="34"/>
                    </a:lnTo>
                    <a:lnTo>
                      <a:pt x="6" y="42"/>
                    </a:lnTo>
                    <a:lnTo>
                      <a:pt x="6" y="42"/>
                    </a:lnTo>
                    <a:lnTo>
                      <a:pt x="6" y="42"/>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6" name="Freeform 60"/>
              <p:cNvSpPr>
                <a:spLocks/>
              </p:cNvSpPr>
              <p:nvPr>
                <p:custDataLst>
                  <p:tags r:id="rId143"/>
                </p:custDataLst>
              </p:nvPr>
            </p:nvSpPr>
            <p:spPr bwMode="gray">
              <a:xfrm>
                <a:off x="4365040" y="802551"/>
                <a:ext cx="1398899" cy="1495757"/>
              </a:xfrm>
              <a:custGeom>
                <a:avLst/>
                <a:gdLst>
                  <a:gd name="T0" fmla="*/ 256 w 881"/>
                  <a:gd name="T1" fmla="*/ 866 h 942"/>
                  <a:gd name="T2" fmla="*/ 304 w 881"/>
                  <a:gd name="T3" fmla="*/ 804 h 942"/>
                  <a:gd name="T4" fmla="*/ 318 w 881"/>
                  <a:gd name="T5" fmla="*/ 716 h 942"/>
                  <a:gd name="T6" fmla="*/ 312 w 881"/>
                  <a:gd name="T7" fmla="*/ 646 h 942"/>
                  <a:gd name="T8" fmla="*/ 318 w 881"/>
                  <a:gd name="T9" fmla="*/ 556 h 942"/>
                  <a:gd name="T10" fmla="*/ 383 w 881"/>
                  <a:gd name="T11" fmla="*/ 536 h 942"/>
                  <a:gd name="T12" fmla="*/ 395 w 881"/>
                  <a:gd name="T13" fmla="*/ 468 h 942"/>
                  <a:gd name="T14" fmla="*/ 431 w 881"/>
                  <a:gd name="T15" fmla="*/ 378 h 942"/>
                  <a:gd name="T16" fmla="*/ 485 w 881"/>
                  <a:gd name="T17" fmla="*/ 308 h 942"/>
                  <a:gd name="T18" fmla="*/ 521 w 881"/>
                  <a:gd name="T19" fmla="*/ 240 h 942"/>
                  <a:gd name="T20" fmla="*/ 569 w 881"/>
                  <a:gd name="T21" fmla="*/ 220 h 942"/>
                  <a:gd name="T22" fmla="*/ 611 w 881"/>
                  <a:gd name="T23" fmla="*/ 150 h 942"/>
                  <a:gd name="T24" fmla="*/ 665 w 881"/>
                  <a:gd name="T25" fmla="*/ 192 h 942"/>
                  <a:gd name="T26" fmla="*/ 735 w 881"/>
                  <a:gd name="T27" fmla="*/ 172 h 942"/>
                  <a:gd name="T28" fmla="*/ 769 w 881"/>
                  <a:gd name="T29" fmla="*/ 96 h 942"/>
                  <a:gd name="T30" fmla="*/ 833 w 881"/>
                  <a:gd name="T31" fmla="*/ 116 h 942"/>
                  <a:gd name="T32" fmla="*/ 835 w 881"/>
                  <a:gd name="T33" fmla="*/ 140 h 942"/>
                  <a:gd name="T34" fmla="*/ 867 w 881"/>
                  <a:gd name="T35" fmla="*/ 82 h 942"/>
                  <a:gd name="T36" fmla="*/ 867 w 881"/>
                  <a:gd name="T37" fmla="*/ 34 h 942"/>
                  <a:gd name="T38" fmla="*/ 797 w 881"/>
                  <a:gd name="T39" fmla="*/ 48 h 942"/>
                  <a:gd name="T40" fmla="*/ 777 w 881"/>
                  <a:gd name="T41" fmla="*/ 20 h 942"/>
                  <a:gd name="T42" fmla="*/ 749 w 881"/>
                  <a:gd name="T43" fmla="*/ 20 h 942"/>
                  <a:gd name="T44" fmla="*/ 721 w 881"/>
                  <a:gd name="T45" fmla="*/ 62 h 942"/>
                  <a:gd name="T46" fmla="*/ 721 w 881"/>
                  <a:gd name="T47" fmla="*/ 14 h 942"/>
                  <a:gd name="T48" fmla="*/ 687 w 881"/>
                  <a:gd name="T49" fmla="*/ 48 h 942"/>
                  <a:gd name="T50" fmla="*/ 651 w 881"/>
                  <a:gd name="T51" fmla="*/ 82 h 942"/>
                  <a:gd name="T52" fmla="*/ 611 w 881"/>
                  <a:gd name="T53" fmla="*/ 88 h 942"/>
                  <a:gd name="T54" fmla="*/ 583 w 881"/>
                  <a:gd name="T55" fmla="*/ 130 h 942"/>
                  <a:gd name="T56" fmla="*/ 561 w 881"/>
                  <a:gd name="T57" fmla="*/ 150 h 942"/>
                  <a:gd name="T58" fmla="*/ 521 w 881"/>
                  <a:gd name="T59" fmla="*/ 178 h 942"/>
                  <a:gd name="T60" fmla="*/ 493 w 881"/>
                  <a:gd name="T61" fmla="*/ 212 h 942"/>
                  <a:gd name="T62" fmla="*/ 479 w 881"/>
                  <a:gd name="T63" fmla="*/ 226 h 942"/>
                  <a:gd name="T64" fmla="*/ 457 w 881"/>
                  <a:gd name="T65" fmla="*/ 246 h 942"/>
                  <a:gd name="T66" fmla="*/ 457 w 881"/>
                  <a:gd name="T67" fmla="*/ 274 h 942"/>
                  <a:gd name="T68" fmla="*/ 431 w 881"/>
                  <a:gd name="T69" fmla="*/ 302 h 942"/>
                  <a:gd name="T70" fmla="*/ 381 w 881"/>
                  <a:gd name="T71" fmla="*/ 336 h 942"/>
                  <a:gd name="T72" fmla="*/ 375 w 881"/>
                  <a:gd name="T73" fmla="*/ 370 h 942"/>
                  <a:gd name="T74" fmla="*/ 353 w 881"/>
                  <a:gd name="T75" fmla="*/ 412 h 942"/>
                  <a:gd name="T76" fmla="*/ 341 w 881"/>
                  <a:gd name="T77" fmla="*/ 446 h 942"/>
                  <a:gd name="T78" fmla="*/ 318 w 881"/>
                  <a:gd name="T79" fmla="*/ 488 h 942"/>
                  <a:gd name="T80" fmla="*/ 270 w 881"/>
                  <a:gd name="T81" fmla="*/ 496 h 942"/>
                  <a:gd name="T82" fmla="*/ 236 w 881"/>
                  <a:gd name="T83" fmla="*/ 550 h 942"/>
                  <a:gd name="T84" fmla="*/ 188 w 881"/>
                  <a:gd name="T85" fmla="*/ 578 h 942"/>
                  <a:gd name="T86" fmla="*/ 152 w 881"/>
                  <a:gd name="T87" fmla="*/ 584 h 942"/>
                  <a:gd name="T88" fmla="*/ 110 w 881"/>
                  <a:gd name="T89" fmla="*/ 598 h 942"/>
                  <a:gd name="T90" fmla="*/ 76 w 881"/>
                  <a:gd name="T91" fmla="*/ 618 h 942"/>
                  <a:gd name="T92" fmla="*/ 62 w 881"/>
                  <a:gd name="T93" fmla="*/ 640 h 942"/>
                  <a:gd name="T94" fmla="*/ 28 w 881"/>
                  <a:gd name="T95" fmla="*/ 668 h 942"/>
                  <a:gd name="T96" fmla="*/ 28 w 881"/>
                  <a:gd name="T97" fmla="*/ 702 h 942"/>
                  <a:gd name="T98" fmla="*/ 34 w 881"/>
                  <a:gd name="T99" fmla="*/ 750 h 942"/>
                  <a:gd name="T100" fmla="*/ 48 w 881"/>
                  <a:gd name="T101" fmla="*/ 776 h 942"/>
                  <a:gd name="T102" fmla="*/ 14 w 881"/>
                  <a:gd name="T103" fmla="*/ 804 h 942"/>
                  <a:gd name="T104" fmla="*/ 34 w 881"/>
                  <a:gd name="T105" fmla="*/ 846 h 942"/>
                  <a:gd name="T106" fmla="*/ 14 w 881"/>
                  <a:gd name="T107" fmla="*/ 894 h 942"/>
                  <a:gd name="T108" fmla="*/ 90 w 881"/>
                  <a:gd name="T109" fmla="*/ 942 h 942"/>
                  <a:gd name="T110" fmla="*/ 160 w 881"/>
                  <a:gd name="T111" fmla="*/ 894 h 942"/>
                  <a:gd name="T112" fmla="*/ 214 w 881"/>
                  <a:gd name="T113" fmla="*/ 852 h 942"/>
                  <a:gd name="T114" fmla="*/ 228 w 881"/>
                  <a:gd name="T115" fmla="*/ 838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81" h="942">
                    <a:moveTo>
                      <a:pt x="242" y="880"/>
                    </a:moveTo>
                    <a:lnTo>
                      <a:pt x="250" y="880"/>
                    </a:lnTo>
                    <a:lnTo>
                      <a:pt x="250" y="886"/>
                    </a:lnTo>
                    <a:lnTo>
                      <a:pt x="256" y="894"/>
                    </a:lnTo>
                    <a:lnTo>
                      <a:pt x="264" y="886"/>
                    </a:lnTo>
                    <a:lnTo>
                      <a:pt x="264" y="880"/>
                    </a:lnTo>
                    <a:lnTo>
                      <a:pt x="264" y="874"/>
                    </a:lnTo>
                    <a:lnTo>
                      <a:pt x="256" y="866"/>
                    </a:lnTo>
                    <a:lnTo>
                      <a:pt x="270" y="852"/>
                    </a:lnTo>
                    <a:lnTo>
                      <a:pt x="270" y="846"/>
                    </a:lnTo>
                    <a:lnTo>
                      <a:pt x="278" y="838"/>
                    </a:lnTo>
                    <a:lnTo>
                      <a:pt x="278" y="832"/>
                    </a:lnTo>
                    <a:lnTo>
                      <a:pt x="284" y="826"/>
                    </a:lnTo>
                    <a:lnTo>
                      <a:pt x="292" y="826"/>
                    </a:lnTo>
                    <a:lnTo>
                      <a:pt x="298" y="826"/>
                    </a:lnTo>
                    <a:lnTo>
                      <a:pt x="304" y="804"/>
                    </a:lnTo>
                    <a:lnTo>
                      <a:pt x="304" y="784"/>
                    </a:lnTo>
                    <a:lnTo>
                      <a:pt x="304" y="776"/>
                    </a:lnTo>
                    <a:lnTo>
                      <a:pt x="304" y="770"/>
                    </a:lnTo>
                    <a:lnTo>
                      <a:pt x="298" y="756"/>
                    </a:lnTo>
                    <a:lnTo>
                      <a:pt x="298" y="750"/>
                    </a:lnTo>
                    <a:lnTo>
                      <a:pt x="318" y="736"/>
                    </a:lnTo>
                    <a:lnTo>
                      <a:pt x="318" y="728"/>
                    </a:lnTo>
                    <a:lnTo>
                      <a:pt x="318" y="716"/>
                    </a:lnTo>
                    <a:lnTo>
                      <a:pt x="318" y="708"/>
                    </a:lnTo>
                    <a:lnTo>
                      <a:pt x="312" y="702"/>
                    </a:lnTo>
                    <a:lnTo>
                      <a:pt x="304" y="694"/>
                    </a:lnTo>
                    <a:lnTo>
                      <a:pt x="304" y="686"/>
                    </a:lnTo>
                    <a:lnTo>
                      <a:pt x="304" y="680"/>
                    </a:lnTo>
                    <a:lnTo>
                      <a:pt x="312" y="668"/>
                    </a:lnTo>
                    <a:lnTo>
                      <a:pt x="312" y="660"/>
                    </a:lnTo>
                    <a:lnTo>
                      <a:pt x="312" y="646"/>
                    </a:lnTo>
                    <a:lnTo>
                      <a:pt x="304" y="640"/>
                    </a:lnTo>
                    <a:lnTo>
                      <a:pt x="304" y="632"/>
                    </a:lnTo>
                    <a:lnTo>
                      <a:pt x="304" y="618"/>
                    </a:lnTo>
                    <a:lnTo>
                      <a:pt x="312" y="612"/>
                    </a:lnTo>
                    <a:lnTo>
                      <a:pt x="312" y="598"/>
                    </a:lnTo>
                    <a:lnTo>
                      <a:pt x="312" y="584"/>
                    </a:lnTo>
                    <a:lnTo>
                      <a:pt x="312" y="570"/>
                    </a:lnTo>
                    <a:lnTo>
                      <a:pt x="318" y="556"/>
                    </a:lnTo>
                    <a:lnTo>
                      <a:pt x="326" y="550"/>
                    </a:lnTo>
                    <a:lnTo>
                      <a:pt x="341" y="544"/>
                    </a:lnTo>
                    <a:lnTo>
                      <a:pt x="341" y="550"/>
                    </a:lnTo>
                    <a:lnTo>
                      <a:pt x="347" y="550"/>
                    </a:lnTo>
                    <a:lnTo>
                      <a:pt x="355" y="544"/>
                    </a:lnTo>
                    <a:lnTo>
                      <a:pt x="361" y="536"/>
                    </a:lnTo>
                    <a:lnTo>
                      <a:pt x="369" y="536"/>
                    </a:lnTo>
                    <a:lnTo>
                      <a:pt x="383" y="536"/>
                    </a:lnTo>
                    <a:lnTo>
                      <a:pt x="389" y="528"/>
                    </a:lnTo>
                    <a:lnTo>
                      <a:pt x="383" y="516"/>
                    </a:lnTo>
                    <a:lnTo>
                      <a:pt x="383" y="508"/>
                    </a:lnTo>
                    <a:lnTo>
                      <a:pt x="383" y="502"/>
                    </a:lnTo>
                    <a:lnTo>
                      <a:pt x="375" y="488"/>
                    </a:lnTo>
                    <a:lnTo>
                      <a:pt x="383" y="480"/>
                    </a:lnTo>
                    <a:lnTo>
                      <a:pt x="395" y="474"/>
                    </a:lnTo>
                    <a:lnTo>
                      <a:pt x="395" y="468"/>
                    </a:lnTo>
                    <a:lnTo>
                      <a:pt x="403" y="446"/>
                    </a:lnTo>
                    <a:lnTo>
                      <a:pt x="403" y="440"/>
                    </a:lnTo>
                    <a:lnTo>
                      <a:pt x="403" y="432"/>
                    </a:lnTo>
                    <a:lnTo>
                      <a:pt x="403" y="418"/>
                    </a:lnTo>
                    <a:lnTo>
                      <a:pt x="409" y="412"/>
                    </a:lnTo>
                    <a:lnTo>
                      <a:pt x="417" y="398"/>
                    </a:lnTo>
                    <a:lnTo>
                      <a:pt x="417" y="384"/>
                    </a:lnTo>
                    <a:lnTo>
                      <a:pt x="431" y="378"/>
                    </a:lnTo>
                    <a:lnTo>
                      <a:pt x="445" y="370"/>
                    </a:lnTo>
                    <a:lnTo>
                      <a:pt x="451" y="364"/>
                    </a:lnTo>
                    <a:lnTo>
                      <a:pt x="451" y="358"/>
                    </a:lnTo>
                    <a:lnTo>
                      <a:pt x="451" y="344"/>
                    </a:lnTo>
                    <a:lnTo>
                      <a:pt x="465" y="336"/>
                    </a:lnTo>
                    <a:lnTo>
                      <a:pt x="479" y="324"/>
                    </a:lnTo>
                    <a:lnTo>
                      <a:pt x="479" y="316"/>
                    </a:lnTo>
                    <a:lnTo>
                      <a:pt x="485" y="308"/>
                    </a:lnTo>
                    <a:lnTo>
                      <a:pt x="479" y="296"/>
                    </a:lnTo>
                    <a:lnTo>
                      <a:pt x="471" y="288"/>
                    </a:lnTo>
                    <a:lnTo>
                      <a:pt x="479" y="282"/>
                    </a:lnTo>
                    <a:lnTo>
                      <a:pt x="485" y="274"/>
                    </a:lnTo>
                    <a:lnTo>
                      <a:pt x="507" y="260"/>
                    </a:lnTo>
                    <a:lnTo>
                      <a:pt x="507" y="254"/>
                    </a:lnTo>
                    <a:lnTo>
                      <a:pt x="513" y="240"/>
                    </a:lnTo>
                    <a:lnTo>
                      <a:pt x="521" y="240"/>
                    </a:lnTo>
                    <a:lnTo>
                      <a:pt x="535" y="246"/>
                    </a:lnTo>
                    <a:lnTo>
                      <a:pt x="541" y="246"/>
                    </a:lnTo>
                    <a:lnTo>
                      <a:pt x="541" y="240"/>
                    </a:lnTo>
                    <a:lnTo>
                      <a:pt x="541" y="226"/>
                    </a:lnTo>
                    <a:lnTo>
                      <a:pt x="555" y="220"/>
                    </a:lnTo>
                    <a:lnTo>
                      <a:pt x="563" y="226"/>
                    </a:lnTo>
                    <a:lnTo>
                      <a:pt x="569" y="226"/>
                    </a:lnTo>
                    <a:lnTo>
                      <a:pt x="569" y="220"/>
                    </a:lnTo>
                    <a:lnTo>
                      <a:pt x="575" y="198"/>
                    </a:lnTo>
                    <a:lnTo>
                      <a:pt x="589" y="206"/>
                    </a:lnTo>
                    <a:lnTo>
                      <a:pt x="589" y="198"/>
                    </a:lnTo>
                    <a:lnTo>
                      <a:pt x="589" y="186"/>
                    </a:lnTo>
                    <a:lnTo>
                      <a:pt x="589" y="178"/>
                    </a:lnTo>
                    <a:lnTo>
                      <a:pt x="603" y="178"/>
                    </a:lnTo>
                    <a:lnTo>
                      <a:pt x="603" y="164"/>
                    </a:lnTo>
                    <a:lnTo>
                      <a:pt x="611" y="150"/>
                    </a:lnTo>
                    <a:lnTo>
                      <a:pt x="617" y="150"/>
                    </a:lnTo>
                    <a:lnTo>
                      <a:pt x="625" y="158"/>
                    </a:lnTo>
                    <a:lnTo>
                      <a:pt x="639" y="164"/>
                    </a:lnTo>
                    <a:lnTo>
                      <a:pt x="639" y="172"/>
                    </a:lnTo>
                    <a:lnTo>
                      <a:pt x="645" y="186"/>
                    </a:lnTo>
                    <a:lnTo>
                      <a:pt x="653" y="186"/>
                    </a:lnTo>
                    <a:lnTo>
                      <a:pt x="659" y="186"/>
                    </a:lnTo>
                    <a:lnTo>
                      <a:pt x="665" y="192"/>
                    </a:lnTo>
                    <a:lnTo>
                      <a:pt x="687" y="192"/>
                    </a:lnTo>
                    <a:lnTo>
                      <a:pt x="693" y="186"/>
                    </a:lnTo>
                    <a:lnTo>
                      <a:pt x="701" y="186"/>
                    </a:lnTo>
                    <a:lnTo>
                      <a:pt x="707" y="198"/>
                    </a:lnTo>
                    <a:lnTo>
                      <a:pt x="721" y="192"/>
                    </a:lnTo>
                    <a:lnTo>
                      <a:pt x="729" y="192"/>
                    </a:lnTo>
                    <a:lnTo>
                      <a:pt x="729" y="186"/>
                    </a:lnTo>
                    <a:lnTo>
                      <a:pt x="735" y="172"/>
                    </a:lnTo>
                    <a:lnTo>
                      <a:pt x="743" y="164"/>
                    </a:lnTo>
                    <a:lnTo>
                      <a:pt x="743" y="158"/>
                    </a:lnTo>
                    <a:lnTo>
                      <a:pt x="743" y="150"/>
                    </a:lnTo>
                    <a:lnTo>
                      <a:pt x="743" y="144"/>
                    </a:lnTo>
                    <a:lnTo>
                      <a:pt x="749" y="130"/>
                    </a:lnTo>
                    <a:lnTo>
                      <a:pt x="749" y="102"/>
                    </a:lnTo>
                    <a:lnTo>
                      <a:pt x="755" y="96"/>
                    </a:lnTo>
                    <a:lnTo>
                      <a:pt x="769" y="96"/>
                    </a:lnTo>
                    <a:lnTo>
                      <a:pt x="783" y="88"/>
                    </a:lnTo>
                    <a:lnTo>
                      <a:pt x="791" y="82"/>
                    </a:lnTo>
                    <a:lnTo>
                      <a:pt x="797" y="82"/>
                    </a:lnTo>
                    <a:lnTo>
                      <a:pt x="791" y="96"/>
                    </a:lnTo>
                    <a:lnTo>
                      <a:pt x="811" y="102"/>
                    </a:lnTo>
                    <a:lnTo>
                      <a:pt x="817" y="102"/>
                    </a:lnTo>
                    <a:lnTo>
                      <a:pt x="825" y="110"/>
                    </a:lnTo>
                    <a:lnTo>
                      <a:pt x="833" y="116"/>
                    </a:lnTo>
                    <a:lnTo>
                      <a:pt x="833" y="124"/>
                    </a:lnTo>
                    <a:lnTo>
                      <a:pt x="825" y="130"/>
                    </a:lnTo>
                    <a:lnTo>
                      <a:pt x="825" y="144"/>
                    </a:lnTo>
                    <a:lnTo>
                      <a:pt x="825" y="150"/>
                    </a:lnTo>
                    <a:lnTo>
                      <a:pt x="825" y="158"/>
                    </a:lnTo>
                    <a:lnTo>
                      <a:pt x="825" y="164"/>
                    </a:lnTo>
                    <a:lnTo>
                      <a:pt x="833" y="164"/>
                    </a:lnTo>
                    <a:lnTo>
                      <a:pt x="835" y="140"/>
                    </a:lnTo>
                    <a:lnTo>
                      <a:pt x="845" y="124"/>
                    </a:lnTo>
                    <a:lnTo>
                      <a:pt x="859" y="116"/>
                    </a:lnTo>
                    <a:lnTo>
                      <a:pt x="875" y="112"/>
                    </a:lnTo>
                    <a:lnTo>
                      <a:pt x="881" y="88"/>
                    </a:lnTo>
                    <a:lnTo>
                      <a:pt x="879" y="88"/>
                    </a:lnTo>
                    <a:lnTo>
                      <a:pt x="867" y="88"/>
                    </a:lnTo>
                    <a:lnTo>
                      <a:pt x="859" y="88"/>
                    </a:lnTo>
                    <a:lnTo>
                      <a:pt x="867" y="82"/>
                    </a:lnTo>
                    <a:lnTo>
                      <a:pt x="867" y="68"/>
                    </a:lnTo>
                    <a:lnTo>
                      <a:pt x="859" y="62"/>
                    </a:lnTo>
                    <a:lnTo>
                      <a:pt x="867" y="62"/>
                    </a:lnTo>
                    <a:lnTo>
                      <a:pt x="873" y="54"/>
                    </a:lnTo>
                    <a:lnTo>
                      <a:pt x="873" y="48"/>
                    </a:lnTo>
                    <a:lnTo>
                      <a:pt x="873" y="40"/>
                    </a:lnTo>
                    <a:lnTo>
                      <a:pt x="867" y="40"/>
                    </a:lnTo>
                    <a:lnTo>
                      <a:pt x="867" y="34"/>
                    </a:lnTo>
                    <a:lnTo>
                      <a:pt x="853" y="34"/>
                    </a:lnTo>
                    <a:lnTo>
                      <a:pt x="839" y="40"/>
                    </a:lnTo>
                    <a:lnTo>
                      <a:pt x="839" y="26"/>
                    </a:lnTo>
                    <a:lnTo>
                      <a:pt x="825" y="26"/>
                    </a:lnTo>
                    <a:lnTo>
                      <a:pt x="817" y="20"/>
                    </a:lnTo>
                    <a:lnTo>
                      <a:pt x="803" y="34"/>
                    </a:lnTo>
                    <a:lnTo>
                      <a:pt x="803" y="40"/>
                    </a:lnTo>
                    <a:lnTo>
                      <a:pt x="797" y="48"/>
                    </a:lnTo>
                    <a:lnTo>
                      <a:pt x="791" y="34"/>
                    </a:lnTo>
                    <a:lnTo>
                      <a:pt x="791" y="26"/>
                    </a:lnTo>
                    <a:lnTo>
                      <a:pt x="797" y="20"/>
                    </a:lnTo>
                    <a:lnTo>
                      <a:pt x="797" y="14"/>
                    </a:lnTo>
                    <a:lnTo>
                      <a:pt x="797" y="0"/>
                    </a:lnTo>
                    <a:lnTo>
                      <a:pt x="791" y="0"/>
                    </a:lnTo>
                    <a:lnTo>
                      <a:pt x="777" y="14"/>
                    </a:lnTo>
                    <a:lnTo>
                      <a:pt x="777" y="20"/>
                    </a:lnTo>
                    <a:lnTo>
                      <a:pt x="763" y="26"/>
                    </a:lnTo>
                    <a:lnTo>
                      <a:pt x="763" y="48"/>
                    </a:lnTo>
                    <a:lnTo>
                      <a:pt x="763" y="54"/>
                    </a:lnTo>
                    <a:lnTo>
                      <a:pt x="755" y="48"/>
                    </a:lnTo>
                    <a:lnTo>
                      <a:pt x="755" y="40"/>
                    </a:lnTo>
                    <a:lnTo>
                      <a:pt x="749" y="34"/>
                    </a:lnTo>
                    <a:lnTo>
                      <a:pt x="749" y="26"/>
                    </a:lnTo>
                    <a:lnTo>
                      <a:pt x="749" y="20"/>
                    </a:lnTo>
                    <a:lnTo>
                      <a:pt x="749" y="14"/>
                    </a:lnTo>
                    <a:lnTo>
                      <a:pt x="741" y="14"/>
                    </a:lnTo>
                    <a:lnTo>
                      <a:pt x="741" y="20"/>
                    </a:lnTo>
                    <a:lnTo>
                      <a:pt x="741" y="26"/>
                    </a:lnTo>
                    <a:lnTo>
                      <a:pt x="735" y="40"/>
                    </a:lnTo>
                    <a:lnTo>
                      <a:pt x="727" y="54"/>
                    </a:lnTo>
                    <a:lnTo>
                      <a:pt x="721" y="68"/>
                    </a:lnTo>
                    <a:lnTo>
                      <a:pt x="721" y="62"/>
                    </a:lnTo>
                    <a:lnTo>
                      <a:pt x="721" y="54"/>
                    </a:lnTo>
                    <a:lnTo>
                      <a:pt x="721" y="40"/>
                    </a:lnTo>
                    <a:lnTo>
                      <a:pt x="735" y="34"/>
                    </a:lnTo>
                    <a:lnTo>
                      <a:pt x="735" y="26"/>
                    </a:lnTo>
                    <a:lnTo>
                      <a:pt x="741" y="14"/>
                    </a:lnTo>
                    <a:lnTo>
                      <a:pt x="749" y="6"/>
                    </a:lnTo>
                    <a:lnTo>
                      <a:pt x="741" y="0"/>
                    </a:lnTo>
                    <a:lnTo>
                      <a:pt x="721" y="14"/>
                    </a:lnTo>
                    <a:lnTo>
                      <a:pt x="713" y="6"/>
                    </a:lnTo>
                    <a:lnTo>
                      <a:pt x="707" y="14"/>
                    </a:lnTo>
                    <a:lnTo>
                      <a:pt x="707" y="20"/>
                    </a:lnTo>
                    <a:lnTo>
                      <a:pt x="721" y="26"/>
                    </a:lnTo>
                    <a:lnTo>
                      <a:pt x="701" y="34"/>
                    </a:lnTo>
                    <a:lnTo>
                      <a:pt x="693" y="26"/>
                    </a:lnTo>
                    <a:lnTo>
                      <a:pt x="687" y="34"/>
                    </a:lnTo>
                    <a:lnTo>
                      <a:pt x="687" y="48"/>
                    </a:lnTo>
                    <a:lnTo>
                      <a:pt x="679" y="48"/>
                    </a:lnTo>
                    <a:lnTo>
                      <a:pt x="687" y="54"/>
                    </a:lnTo>
                    <a:lnTo>
                      <a:pt x="673" y="68"/>
                    </a:lnTo>
                    <a:lnTo>
                      <a:pt x="665" y="54"/>
                    </a:lnTo>
                    <a:lnTo>
                      <a:pt x="659" y="62"/>
                    </a:lnTo>
                    <a:lnTo>
                      <a:pt x="659" y="68"/>
                    </a:lnTo>
                    <a:lnTo>
                      <a:pt x="659" y="76"/>
                    </a:lnTo>
                    <a:lnTo>
                      <a:pt x="651" y="82"/>
                    </a:lnTo>
                    <a:lnTo>
                      <a:pt x="645" y="76"/>
                    </a:lnTo>
                    <a:lnTo>
                      <a:pt x="637" y="76"/>
                    </a:lnTo>
                    <a:lnTo>
                      <a:pt x="637" y="82"/>
                    </a:lnTo>
                    <a:lnTo>
                      <a:pt x="631" y="76"/>
                    </a:lnTo>
                    <a:lnTo>
                      <a:pt x="623" y="76"/>
                    </a:lnTo>
                    <a:lnTo>
                      <a:pt x="617" y="82"/>
                    </a:lnTo>
                    <a:lnTo>
                      <a:pt x="617" y="88"/>
                    </a:lnTo>
                    <a:lnTo>
                      <a:pt x="611" y="88"/>
                    </a:lnTo>
                    <a:lnTo>
                      <a:pt x="603" y="96"/>
                    </a:lnTo>
                    <a:lnTo>
                      <a:pt x="603" y="110"/>
                    </a:lnTo>
                    <a:lnTo>
                      <a:pt x="611" y="116"/>
                    </a:lnTo>
                    <a:lnTo>
                      <a:pt x="611" y="130"/>
                    </a:lnTo>
                    <a:lnTo>
                      <a:pt x="603" y="124"/>
                    </a:lnTo>
                    <a:lnTo>
                      <a:pt x="597" y="116"/>
                    </a:lnTo>
                    <a:lnTo>
                      <a:pt x="589" y="116"/>
                    </a:lnTo>
                    <a:lnTo>
                      <a:pt x="583" y="130"/>
                    </a:lnTo>
                    <a:lnTo>
                      <a:pt x="575" y="116"/>
                    </a:lnTo>
                    <a:lnTo>
                      <a:pt x="569" y="124"/>
                    </a:lnTo>
                    <a:lnTo>
                      <a:pt x="569" y="138"/>
                    </a:lnTo>
                    <a:lnTo>
                      <a:pt x="575" y="150"/>
                    </a:lnTo>
                    <a:lnTo>
                      <a:pt x="575" y="158"/>
                    </a:lnTo>
                    <a:lnTo>
                      <a:pt x="569" y="150"/>
                    </a:lnTo>
                    <a:lnTo>
                      <a:pt x="561" y="138"/>
                    </a:lnTo>
                    <a:lnTo>
                      <a:pt x="561" y="150"/>
                    </a:lnTo>
                    <a:lnTo>
                      <a:pt x="555" y="164"/>
                    </a:lnTo>
                    <a:lnTo>
                      <a:pt x="547" y="158"/>
                    </a:lnTo>
                    <a:lnTo>
                      <a:pt x="547" y="144"/>
                    </a:lnTo>
                    <a:lnTo>
                      <a:pt x="541" y="150"/>
                    </a:lnTo>
                    <a:lnTo>
                      <a:pt x="541" y="172"/>
                    </a:lnTo>
                    <a:lnTo>
                      <a:pt x="535" y="172"/>
                    </a:lnTo>
                    <a:lnTo>
                      <a:pt x="527" y="172"/>
                    </a:lnTo>
                    <a:lnTo>
                      <a:pt x="521" y="178"/>
                    </a:lnTo>
                    <a:lnTo>
                      <a:pt x="527" y="186"/>
                    </a:lnTo>
                    <a:lnTo>
                      <a:pt x="521" y="192"/>
                    </a:lnTo>
                    <a:lnTo>
                      <a:pt x="513" y="198"/>
                    </a:lnTo>
                    <a:lnTo>
                      <a:pt x="513" y="206"/>
                    </a:lnTo>
                    <a:lnTo>
                      <a:pt x="521" y="212"/>
                    </a:lnTo>
                    <a:lnTo>
                      <a:pt x="513" y="220"/>
                    </a:lnTo>
                    <a:lnTo>
                      <a:pt x="493" y="220"/>
                    </a:lnTo>
                    <a:lnTo>
                      <a:pt x="493" y="212"/>
                    </a:lnTo>
                    <a:lnTo>
                      <a:pt x="485" y="220"/>
                    </a:lnTo>
                    <a:lnTo>
                      <a:pt x="485" y="226"/>
                    </a:lnTo>
                    <a:lnTo>
                      <a:pt x="485" y="240"/>
                    </a:lnTo>
                    <a:lnTo>
                      <a:pt x="485" y="246"/>
                    </a:lnTo>
                    <a:lnTo>
                      <a:pt x="479" y="260"/>
                    </a:lnTo>
                    <a:lnTo>
                      <a:pt x="479" y="246"/>
                    </a:lnTo>
                    <a:lnTo>
                      <a:pt x="479" y="234"/>
                    </a:lnTo>
                    <a:lnTo>
                      <a:pt x="479" y="226"/>
                    </a:lnTo>
                    <a:lnTo>
                      <a:pt x="471" y="234"/>
                    </a:lnTo>
                    <a:lnTo>
                      <a:pt x="465" y="234"/>
                    </a:lnTo>
                    <a:lnTo>
                      <a:pt x="457" y="234"/>
                    </a:lnTo>
                    <a:lnTo>
                      <a:pt x="451" y="240"/>
                    </a:lnTo>
                    <a:lnTo>
                      <a:pt x="457" y="240"/>
                    </a:lnTo>
                    <a:lnTo>
                      <a:pt x="465" y="246"/>
                    </a:lnTo>
                    <a:lnTo>
                      <a:pt x="465" y="254"/>
                    </a:lnTo>
                    <a:lnTo>
                      <a:pt x="457" y="246"/>
                    </a:lnTo>
                    <a:lnTo>
                      <a:pt x="451" y="254"/>
                    </a:lnTo>
                    <a:lnTo>
                      <a:pt x="443" y="246"/>
                    </a:lnTo>
                    <a:lnTo>
                      <a:pt x="437" y="246"/>
                    </a:lnTo>
                    <a:lnTo>
                      <a:pt x="437" y="260"/>
                    </a:lnTo>
                    <a:lnTo>
                      <a:pt x="431" y="268"/>
                    </a:lnTo>
                    <a:lnTo>
                      <a:pt x="451" y="260"/>
                    </a:lnTo>
                    <a:lnTo>
                      <a:pt x="457" y="268"/>
                    </a:lnTo>
                    <a:lnTo>
                      <a:pt x="457" y="274"/>
                    </a:lnTo>
                    <a:lnTo>
                      <a:pt x="443" y="274"/>
                    </a:lnTo>
                    <a:lnTo>
                      <a:pt x="437" y="274"/>
                    </a:lnTo>
                    <a:lnTo>
                      <a:pt x="431" y="282"/>
                    </a:lnTo>
                    <a:lnTo>
                      <a:pt x="431" y="288"/>
                    </a:lnTo>
                    <a:lnTo>
                      <a:pt x="443" y="288"/>
                    </a:lnTo>
                    <a:lnTo>
                      <a:pt x="443" y="302"/>
                    </a:lnTo>
                    <a:lnTo>
                      <a:pt x="437" y="302"/>
                    </a:lnTo>
                    <a:lnTo>
                      <a:pt x="431" y="302"/>
                    </a:lnTo>
                    <a:lnTo>
                      <a:pt x="423" y="308"/>
                    </a:lnTo>
                    <a:lnTo>
                      <a:pt x="417" y="316"/>
                    </a:lnTo>
                    <a:lnTo>
                      <a:pt x="403" y="308"/>
                    </a:lnTo>
                    <a:lnTo>
                      <a:pt x="395" y="316"/>
                    </a:lnTo>
                    <a:lnTo>
                      <a:pt x="395" y="324"/>
                    </a:lnTo>
                    <a:lnTo>
                      <a:pt x="395" y="330"/>
                    </a:lnTo>
                    <a:lnTo>
                      <a:pt x="389" y="330"/>
                    </a:lnTo>
                    <a:lnTo>
                      <a:pt x="381" y="336"/>
                    </a:lnTo>
                    <a:lnTo>
                      <a:pt x="389" y="344"/>
                    </a:lnTo>
                    <a:lnTo>
                      <a:pt x="381" y="350"/>
                    </a:lnTo>
                    <a:lnTo>
                      <a:pt x="367" y="350"/>
                    </a:lnTo>
                    <a:lnTo>
                      <a:pt x="375" y="358"/>
                    </a:lnTo>
                    <a:lnTo>
                      <a:pt x="381" y="364"/>
                    </a:lnTo>
                    <a:lnTo>
                      <a:pt x="389" y="358"/>
                    </a:lnTo>
                    <a:lnTo>
                      <a:pt x="389" y="370"/>
                    </a:lnTo>
                    <a:lnTo>
                      <a:pt x="375" y="370"/>
                    </a:lnTo>
                    <a:lnTo>
                      <a:pt x="367" y="370"/>
                    </a:lnTo>
                    <a:lnTo>
                      <a:pt x="367" y="378"/>
                    </a:lnTo>
                    <a:lnTo>
                      <a:pt x="375" y="384"/>
                    </a:lnTo>
                    <a:lnTo>
                      <a:pt x="367" y="392"/>
                    </a:lnTo>
                    <a:lnTo>
                      <a:pt x="361" y="392"/>
                    </a:lnTo>
                    <a:lnTo>
                      <a:pt x="353" y="398"/>
                    </a:lnTo>
                    <a:lnTo>
                      <a:pt x="347" y="406"/>
                    </a:lnTo>
                    <a:lnTo>
                      <a:pt x="353" y="412"/>
                    </a:lnTo>
                    <a:lnTo>
                      <a:pt x="353" y="418"/>
                    </a:lnTo>
                    <a:lnTo>
                      <a:pt x="347" y="426"/>
                    </a:lnTo>
                    <a:lnTo>
                      <a:pt x="341" y="418"/>
                    </a:lnTo>
                    <a:lnTo>
                      <a:pt x="341" y="412"/>
                    </a:lnTo>
                    <a:lnTo>
                      <a:pt x="332" y="426"/>
                    </a:lnTo>
                    <a:lnTo>
                      <a:pt x="332" y="432"/>
                    </a:lnTo>
                    <a:lnTo>
                      <a:pt x="341" y="432"/>
                    </a:lnTo>
                    <a:lnTo>
                      <a:pt x="341" y="446"/>
                    </a:lnTo>
                    <a:lnTo>
                      <a:pt x="332" y="454"/>
                    </a:lnTo>
                    <a:lnTo>
                      <a:pt x="326" y="454"/>
                    </a:lnTo>
                    <a:lnTo>
                      <a:pt x="326" y="468"/>
                    </a:lnTo>
                    <a:lnTo>
                      <a:pt x="318" y="474"/>
                    </a:lnTo>
                    <a:lnTo>
                      <a:pt x="312" y="474"/>
                    </a:lnTo>
                    <a:lnTo>
                      <a:pt x="312" y="480"/>
                    </a:lnTo>
                    <a:lnTo>
                      <a:pt x="318" y="480"/>
                    </a:lnTo>
                    <a:lnTo>
                      <a:pt x="318" y="488"/>
                    </a:lnTo>
                    <a:lnTo>
                      <a:pt x="318" y="496"/>
                    </a:lnTo>
                    <a:lnTo>
                      <a:pt x="312" y="502"/>
                    </a:lnTo>
                    <a:lnTo>
                      <a:pt x="298" y="496"/>
                    </a:lnTo>
                    <a:lnTo>
                      <a:pt x="298" y="488"/>
                    </a:lnTo>
                    <a:lnTo>
                      <a:pt x="290" y="480"/>
                    </a:lnTo>
                    <a:lnTo>
                      <a:pt x="284" y="488"/>
                    </a:lnTo>
                    <a:lnTo>
                      <a:pt x="276" y="496"/>
                    </a:lnTo>
                    <a:lnTo>
                      <a:pt x="270" y="496"/>
                    </a:lnTo>
                    <a:lnTo>
                      <a:pt x="264" y="496"/>
                    </a:lnTo>
                    <a:lnTo>
                      <a:pt x="264" y="508"/>
                    </a:lnTo>
                    <a:lnTo>
                      <a:pt x="256" y="516"/>
                    </a:lnTo>
                    <a:lnTo>
                      <a:pt x="250" y="528"/>
                    </a:lnTo>
                    <a:lnTo>
                      <a:pt x="242" y="528"/>
                    </a:lnTo>
                    <a:lnTo>
                      <a:pt x="236" y="528"/>
                    </a:lnTo>
                    <a:lnTo>
                      <a:pt x="236" y="536"/>
                    </a:lnTo>
                    <a:lnTo>
                      <a:pt x="236" y="550"/>
                    </a:lnTo>
                    <a:lnTo>
                      <a:pt x="228" y="544"/>
                    </a:lnTo>
                    <a:lnTo>
                      <a:pt x="222" y="550"/>
                    </a:lnTo>
                    <a:lnTo>
                      <a:pt x="214" y="556"/>
                    </a:lnTo>
                    <a:lnTo>
                      <a:pt x="208" y="550"/>
                    </a:lnTo>
                    <a:lnTo>
                      <a:pt x="202" y="556"/>
                    </a:lnTo>
                    <a:lnTo>
                      <a:pt x="194" y="564"/>
                    </a:lnTo>
                    <a:lnTo>
                      <a:pt x="188" y="564"/>
                    </a:lnTo>
                    <a:lnTo>
                      <a:pt x="188" y="578"/>
                    </a:lnTo>
                    <a:lnTo>
                      <a:pt x="180" y="570"/>
                    </a:lnTo>
                    <a:lnTo>
                      <a:pt x="172" y="570"/>
                    </a:lnTo>
                    <a:lnTo>
                      <a:pt x="180" y="578"/>
                    </a:lnTo>
                    <a:lnTo>
                      <a:pt x="180" y="584"/>
                    </a:lnTo>
                    <a:lnTo>
                      <a:pt x="172" y="584"/>
                    </a:lnTo>
                    <a:lnTo>
                      <a:pt x="166" y="578"/>
                    </a:lnTo>
                    <a:lnTo>
                      <a:pt x="160" y="584"/>
                    </a:lnTo>
                    <a:lnTo>
                      <a:pt x="152" y="584"/>
                    </a:lnTo>
                    <a:lnTo>
                      <a:pt x="146" y="584"/>
                    </a:lnTo>
                    <a:lnTo>
                      <a:pt x="138" y="584"/>
                    </a:lnTo>
                    <a:lnTo>
                      <a:pt x="138" y="592"/>
                    </a:lnTo>
                    <a:lnTo>
                      <a:pt x="146" y="604"/>
                    </a:lnTo>
                    <a:lnTo>
                      <a:pt x="138" y="604"/>
                    </a:lnTo>
                    <a:lnTo>
                      <a:pt x="130" y="604"/>
                    </a:lnTo>
                    <a:lnTo>
                      <a:pt x="118" y="598"/>
                    </a:lnTo>
                    <a:lnTo>
                      <a:pt x="110" y="598"/>
                    </a:lnTo>
                    <a:lnTo>
                      <a:pt x="104" y="604"/>
                    </a:lnTo>
                    <a:lnTo>
                      <a:pt x="110" y="612"/>
                    </a:lnTo>
                    <a:lnTo>
                      <a:pt x="110" y="618"/>
                    </a:lnTo>
                    <a:lnTo>
                      <a:pt x="104" y="618"/>
                    </a:lnTo>
                    <a:lnTo>
                      <a:pt x="90" y="618"/>
                    </a:lnTo>
                    <a:lnTo>
                      <a:pt x="82" y="632"/>
                    </a:lnTo>
                    <a:lnTo>
                      <a:pt x="82" y="618"/>
                    </a:lnTo>
                    <a:lnTo>
                      <a:pt x="76" y="618"/>
                    </a:lnTo>
                    <a:lnTo>
                      <a:pt x="68" y="626"/>
                    </a:lnTo>
                    <a:lnTo>
                      <a:pt x="62" y="618"/>
                    </a:lnTo>
                    <a:lnTo>
                      <a:pt x="56" y="618"/>
                    </a:lnTo>
                    <a:lnTo>
                      <a:pt x="48" y="618"/>
                    </a:lnTo>
                    <a:lnTo>
                      <a:pt x="48" y="626"/>
                    </a:lnTo>
                    <a:lnTo>
                      <a:pt x="48" y="632"/>
                    </a:lnTo>
                    <a:lnTo>
                      <a:pt x="56" y="640"/>
                    </a:lnTo>
                    <a:lnTo>
                      <a:pt x="62" y="640"/>
                    </a:lnTo>
                    <a:lnTo>
                      <a:pt x="62" y="646"/>
                    </a:lnTo>
                    <a:lnTo>
                      <a:pt x="56" y="646"/>
                    </a:lnTo>
                    <a:lnTo>
                      <a:pt x="48" y="654"/>
                    </a:lnTo>
                    <a:lnTo>
                      <a:pt x="34" y="654"/>
                    </a:lnTo>
                    <a:lnTo>
                      <a:pt x="34" y="660"/>
                    </a:lnTo>
                    <a:lnTo>
                      <a:pt x="42" y="668"/>
                    </a:lnTo>
                    <a:lnTo>
                      <a:pt x="42" y="674"/>
                    </a:lnTo>
                    <a:lnTo>
                      <a:pt x="28" y="668"/>
                    </a:lnTo>
                    <a:lnTo>
                      <a:pt x="28" y="674"/>
                    </a:lnTo>
                    <a:lnTo>
                      <a:pt x="28" y="680"/>
                    </a:lnTo>
                    <a:lnTo>
                      <a:pt x="34" y="694"/>
                    </a:lnTo>
                    <a:lnTo>
                      <a:pt x="48" y="694"/>
                    </a:lnTo>
                    <a:lnTo>
                      <a:pt x="48" y="702"/>
                    </a:lnTo>
                    <a:lnTo>
                      <a:pt x="42" y="702"/>
                    </a:lnTo>
                    <a:lnTo>
                      <a:pt x="28" y="694"/>
                    </a:lnTo>
                    <a:lnTo>
                      <a:pt x="28" y="702"/>
                    </a:lnTo>
                    <a:lnTo>
                      <a:pt x="28" y="708"/>
                    </a:lnTo>
                    <a:lnTo>
                      <a:pt x="34" y="722"/>
                    </a:lnTo>
                    <a:lnTo>
                      <a:pt x="42" y="728"/>
                    </a:lnTo>
                    <a:lnTo>
                      <a:pt x="34" y="736"/>
                    </a:lnTo>
                    <a:lnTo>
                      <a:pt x="28" y="728"/>
                    </a:lnTo>
                    <a:lnTo>
                      <a:pt x="20" y="736"/>
                    </a:lnTo>
                    <a:lnTo>
                      <a:pt x="20" y="742"/>
                    </a:lnTo>
                    <a:lnTo>
                      <a:pt x="34" y="750"/>
                    </a:lnTo>
                    <a:lnTo>
                      <a:pt x="28" y="750"/>
                    </a:lnTo>
                    <a:lnTo>
                      <a:pt x="20" y="750"/>
                    </a:lnTo>
                    <a:lnTo>
                      <a:pt x="20" y="756"/>
                    </a:lnTo>
                    <a:lnTo>
                      <a:pt x="28" y="764"/>
                    </a:lnTo>
                    <a:lnTo>
                      <a:pt x="34" y="770"/>
                    </a:lnTo>
                    <a:lnTo>
                      <a:pt x="48" y="770"/>
                    </a:lnTo>
                    <a:lnTo>
                      <a:pt x="62" y="764"/>
                    </a:lnTo>
                    <a:lnTo>
                      <a:pt x="48" y="776"/>
                    </a:lnTo>
                    <a:lnTo>
                      <a:pt x="42" y="784"/>
                    </a:lnTo>
                    <a:lnTo>
                      <a:pt x="34" y="790"/>
                    </a:lnTo>
                    <a:lnTo>
                      <a:pt x="48" y="804"/>
                    </a:lnTo>
                    <a:lnTo>
                      <a:pt x="42" y="804"/>
                    </a:lnTo>
                    <a:lnTo>
                      <a:pt x="34" y="804"/>
                    </a:lnTo>
                    <a:lnTo>
                      <a:pt x="28" y="812"/>
                    </a:lnTo>
                    <a:lnTo>
                      <a:pt x="20" y="804"/>
                    </a:lnTo>
                    <a:lnTo>
                      <a:pt x="14" y="804"/>
                    </a:lnTo>
                    <a:lnTo>
                      <a:pt x="6" y="818"/>
                    </a:lnTo>
                    <a:lnTo>
                      <a:pt x="6" y="826"/>
                    </a:lnTo>
                    <a:lnTo>
                      <a:pt x="0" y="838"/>
                    </a:lnTo>
                    <a:lnTo>
                      <a:pt x="6" y="846"/>
                    </a:lnTo>
                    <a:lnTo>
                      <a:pt x="20" y="826"/>
                    </a:lnTo>
                    <a:lnTo>
                      <a:pt x="34" y="826"/>
                    </a:lnTo>
                    <a:lnTo>
                      <a:pt x="34" y="832"/>
                    </a:lnTo>
                    <a:lnTo>
                      <a:pt x="34" y="846"/>
                    </a:lnTo>
                    <a:lnTo>
                      <a:pt x="28" y="846"/>
                    </a:lnTo>
                    <a:lnTo>
                      <a:pt x="28" y="860"/>
                    </a:lnTo>
                    <a:lnTo>
                      <a:pt x="20" y="866"/>
                    </a:lnTo>
                    <a:lnTo>
                      <a:pt x="20" y="860"/>
                    </a:lnTo>
                    <a:lnTo>
                      <a:pt x="14" y="866"/>
                    </a:lnTo>
                    <a:lnTo>
                      <a:pt x="14" y="874"/>
                    </a:lnTo>
                    <a:lnTo>
                      <a:pt x="14" y="886"/>
                    </a:lnTo>
                    <a:lnTo>
                      <a:pt x="14" y="894"/>
                    </a:lnTo>
                    <a:lnTo>
                      <a:pt x="28" y="908"/>
                    </a:lnTo>
                    <a:lnTo>
                      <a:pt x="48" y="914"/>
                    </a:lnTo>
                    <a:lnTo>
                      <a:pt x="34" y="928"/>
                    </a:lnTo>
                    <a:lnTo>
                      <a:pt x="48" y="936"/>
                    </a:lnTo>
                    <a:lnTo>
                      <a:pt x="56" y="928"/>
                    </a:lnTo>
                    <a:lnTo>
                      <a:pt x="56" y="942"/>
                    </a:lnTo>
                    <a:lnTo>
                      <a:pt x="76" y="942"/>
                    </a:lnTo>
                    <a:lnTo>
                      <a:pt x="90" y="942"/>
                    </a:lnTo>
                    <a:lnTo>
                      <a:pt x="104" y="936"/>
                    </a:lnTo>
                    <a:lnTo>
                      <a:pt x="104" y="942"/>
                    </a:lnTo>
                    <a:lnTo>
                      <a:pt x="118" y="936"/>
                    </a:lnTo>
                    <a:lnTo>
                      <a:pt x="124" y="928"/>
                    </a:lnTo>
                    <a:lnTo>
                      <a:pt x="130" y="914"/>
                    </a:lnTo>
                    <a:lnTo>
                      <a:pt x="138" y="908"/>
                    </a:lnTo>
                    <a:lnTo>
                      <a:pt x="160" y="900"/>
                    </a:lnTo>
                    <a:lnTo>
                      <a:pt x="160" y="894"/>
                    </a:lnTo>
                    <a:lnTo>
                      <a:pt x="166" y="886"/>
                    </a:lnTo>
                    <a:lnTo>
                      <a:pt x="180" y="886"/>
                    </a:lnTo>
                    <a:lnTo>
                      <a:pt x="180" y="894"/>
                    </a:lnTo>
                    <a:lnTo>
                      <a:pt x="188" y="900"/>
                    </a:lnTo>
                    <a:lnTo>
                      <a:pt x="202" y="894"/>
                    </a:lnTo>
                    <a:lnTo>
                      <a:pt x="202" y="880"/>
                    </a:lnTo>
                    <a:lnTo>
                      <a:pt x="214" y="866"/>
                    </a:lnTo>
                    <a:lnTo>
                      <a:pt x="214" y="852"/>
                    </a:lnTo>
                    <a:lnTo>
                      <a:pt x="208" y="846"/>
                    </a:lnTo>
                    <a:lnTo>
                      <a:pt x="222" y="832"/>
                    </a:lnTo>
                    <a:lnTo>
                      <a:pt x="228" y="826"/>
                    </a:lnTo>
                    <a:lnTo>
                      <a:pt x="236" y="818"/>
                    </a:lnTo>
                    <a:lnTo>
                      <a:pt x="242" y="818"/>
                    </a:lnTo>
                    <a:lnTo>
                      <a:pt x="242" y="832"/>
                    </a:lnTo>
                    <a:lnTo>
                      <a:pt x="236" y="838"/>
                    </a:lnTo>
                    <a:lnTo>
                      <a:pt x="228" y="838"/>
                    </a:lnTo>
                    <a:lnTo>
                      <a:pt x="228" y="852"/>
                    </a:lnTo>
                    <a:lnTo>
                      <a:pt x="236" y="852"/>
                    </a:lnTo>
                    <a:lnTo>
                      <a:pt x="256" y="866"/>
                    </a:lnTo>
                    <a:lnTo>
                      <a:pt x="242" y="880"/>
                    </a:lnTo>
                    <a:lnTo>
                      <a:pt x="242" y="880"/>
                    </a:lnTo>
                    <a:lnTo>
                      <a:pt x="242" y="880"/>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7" name="Freeform 61"/>
              <p:cNvSpPr>
                <a:spLocks/>
              </p:cNvSpPr>
              <p:nvPr>
                <p:custDataLst>
                  <p:tags r:id="rId144"/>
                </p:custDataLst>
              </p:nvPr>
            </p:nvSpPr>
            <p:spPr bwMode="gray">
              <a:xfrm>
                <a:off x="4749300" y="1085189"/>
                <a:ext cx="757406" cy="1575150"/>
              </a:xfrm>
              <a:custGeom>
                <a:avLst/>
                <a:gdLst>
                  <a:gd name="T0" fmla="*/ 465 w 477"/>
                  <a:gd name="T1" fmla="*/ 180 h 992"/>
                  <a:gd name="T2" fmla="*/ 465 w 477"/>
                  <a:gd name="T3" fmla="*/ 130 h 992"/>
                  <a:gd name="T4" fmla="*/ 443 w 477"/>
                  <a:gd name="T5" fmla="*/ 104 h 992"/>
                  <a:gd name="T6" fmla="*/ 451 w 477"/>
                  <a:gd name="T7" fmla="*/ 68 h 992"/>
                  <a:gd name="T8" fmla="*/ 409 w 477"/>
                  <a:gd name="T9" fmla="*/ 34 h 992"/>
                  <a:gd name="T10" fmla="*/ 375 w 477"/>
                  <a:gd name="T11" fmla="*/ 8 h 992"/>
                  <a:gd name="T12" fmla="*/ 347 w 477"/>
                  <a:gd name="T13" fmla="*/ 28 h 992"/>
                  <a:gd name="T14" fmla="*/ 311 w 477"/>
                  <a:gd name="T15" fmla="*/ 42 h 992"/>
                  <a:gd name="T16" fmla="*/ 277 w 477"/>
                  <a:gd name="T17" fmla="*/ 62 h 992"/>
                  <a:gd name="T18" fmla="*/ 237 w 477"/>
                  <a:gd name="T19" fmla="*/ 104 h 992"/>
                  <a:gd name="T20" fmla="*/ 237 w 477"/>
                  <a:gd name="T21" fmla="*/ 144 h 992"/>
                  <a:gd name="T22" fmla="*/ 201 w 477"/>
                  <a:gd name="T23" fmla="*/ 192 h 992"/>
                  <a:gd name="T24" fmla="*/ 159 w 477"/>
                  <a:gd name="T25" fmla="*/ 240 h 992"/>
                  <a:gd name="T26" fmla="*/ 153 w 477"/>
                  <a:gd name="T27" fmla="*/ 296 h 992"/>
                  <a:gd name="T28" fmla="*/ 139 w 477"/>
                  <a:gd name="T29" fmla="*/ 338 h 992"/>
                  <a:gd name="T30" fmla="*/ 111 w 477"/>
                  <a:gd name="T31" fmla="*/ 366 h 992"/>
                  <a:gd name="T32" fmla="*/ 76 w 477"/>
                  <a:gd name="T33" fmla="*/ 380 h 992"/>
                  <a:gd name="T34" fmla="*/ 62 w 477"/>
                  <a:gd name="T35" fmla="*/ 442 h 992"/>
                  <a:gd name="T36" fmla="*/ 68 w 477"/>
                  <a:gd name="T37" fmla="*/ 490 h 992"/>
                  <a:gd name="T38" fmla="*/ 76 w 477"/>
                  <a:gd name="T39" fmla="*/ 530 h 992"/>
                  <a:gd name="T40" fmla="*/ 56 w 477"/>
                  <a:gd name="T41" fmla="*/ 580 h 992"/>
                  <a:gd name="T42" fmla="*/ 56 w 477"/>
                  <a:gd name="T43" fmla="*/ 648 h 992"/>
                  <a:gd name="T44" fmla="*/ 28 w 477"/>
                  <a:gd name="T45" fmla="*/ 670 h 992"/>
                  <a:gd name="T46" fmla="*/ 20 w 477"/>
                  <a:gd name="T47" fmla="*/ 710 h 992"/>
                  <a:gd name="T48" fmla="*/ 0 w 477"/>
                  <a:gd name="T49" fmla="*/ 704 h 992"/>
                  <a:gd name="T50" fmla="*/ 0 w 477"/>
                  <a:gd name="T51" fmla="*/ 752 h 992"/>
                  <a:gd name="T52" fmla="*/ 14 w 477"/>
                  <a:gd name="T53" fmla="*/ 772 h 992"/>
                  <a:gd name="T54" fmla="*/ 14 w 477"/>
                  <a:gd name="T55" fmla="*/ 814 h 992"/>
                  <a:gd name="T56" fmla="*/ 14 w 477"/>
                  <a:gd name="T57" fmla="*/ 862 h 992"/>
                  <a:gd name="T58" fmla="*/ 42 w 477"/>
                  <a:gd name="T59" fmla="*/ 902 h 992"/>
                  <a:gd name="T60" fmla="*/ 28 w 477"/>
                  <a:gd name="T61" fmla="*/ 930 h 992"/>
                  <a:gd name="T62" fmla="*/ 42 w 477"/>
                  <a:gd name="T63" fmla="*/ 964 h 992"/>
                  <a:gd name="T64" fmla="*/ 56 w 477"/>
                  <a:gd name="T65" fmla="*/ 992 h 992"/>
                  <a:gd name="T66" fmla="*/ 99 w 477"/>
                  <a:gd name="T67" fmla="*/ 986 h 992"/>
                  <a:gd name="T68" fmla="*/ 119 w 477"/>
                  <a:gd name="T69" fmla="*/ 952 h 992"/>
                  <a:gd name="T70" fmla="*/ 153 w 477"/>
                  <a:gd name="T71" fmla="*/ 938 h 992"/>
                  <a:gd name="T72" fmla="*/ 181 w 477"/>
                  <a:gd name="T73" fmla="*/ 930 h 992"/>
                  <a:gd name="T74" fmla="*/ 209 w 477"/>
                  <a:gd name="T75" fmla="*/ 876 h 992"/>
                  <a:gd name="T76" fmla="*/ 209 w 477"/>
                  <a:gd name="T77" fmla="*/ 840 h 992"/>
                  <a:gd name="T78" fmla="*/ 223 w 477"/>
                  <a:gd name="T79" fmla="*/ 800 h 992"/>
                  <a:gd name="T80" fmla="*/ 209 w 477"/>
                  <a:gd name="T81" fmla="*/ 758 h 992"/>
                  <a:gd name="T82" fmla="*/ 249 w 477"/>
                  <a:gd name="T83" fmla="*/ 738 h 992"/>
                  <a:gd name="T84" fmla="*/ 277 w 477"/>
                  <a:gd name="T85" fmla="*/ 724 h 992"/>
                  <a:gd name="T86" fmla="*/ 291 w 477"/>
                  <a:gd name="T87" fmla="*/ 690 h 992"/>
                  <a:gd name="T88" fmla="*/ 291 w 477"/>
                  <a:gd name="T89" fmla="*/ 654 h 992"/>
                  <a:gd name="T90" fmla="*/ 277 w 477"/>
                  <a:gd name="T91" fmla="*/ 620 h 992"/>
                  <a:gd name="T92" fmla="*/ 249 w 477"/>
                  <a:gd name="T93" fmla="*/ 592 h 992"/>
                  <a:gd name="T94" fmla="*/ 249 w 477"/>
                  <a:gd name="T95" fmla="*/ 566 h 992"/>
                  <a:gd name="T96" fmla="*/ 249 w 477"/>
                  <a:gd name="T97" fmla="*/ 524 h 992"/>
                  <a:gd name="T98" fmla="*/ 243 w 477"/>
                  <a:gd name="T99" fmla="*/ 482 h 992"/>
                  <a:gd name="T100" fmla="*/ 277 w 477"/>
                  <a:gd name="T101" fmla="*/ 462 h 992"/>
                  <a:gd name="T102" fmla="*/ 313 w 477"/>
                  <a:gd name="T103" fmla="*/ 428 h 992"/>
                  <a:gd name="T104" fmla="*/ 347 w 477"/>
                  <a:gd name="T105" fmla="*/ 406 h 992"/>
                  <a:gd name="T106" fmla="*/ 367 w 477"/>
                  <a:gd name="T107" fmla="*/ 372 h 992"/>
                  <a:gd name="T108" fmla="*/ 389 w 477"/>
                  <a:gd name="T109" fmla="*/ 330 h 992"/>
                  <a:gd name="T110" fmla="*/ 389 w 477"/>
                  <a:gd name="T111" fmla="*/ 282 h 992"/>
                  <a:gd name="T112" fmla="*/ 417 w 477"/>
                  <a:gd name="T113" fmla="*/ 254 h 992"/>
                  <a:gd name="T114" fmla="*/ 429 w 477"/>
                  <a:gd name="T115" fmla="*/ 228 h 992"/>
                  <a:gd name="T116" fmla="*/ 471 w 477"/>
                  <a:gd name="T117" fmla="*/ 228 h 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7" h="992">
                    <a:moveTo>
                      <a:pt x="477" y="220"/>
                    </a:moveTo>
                    <a:lnTo>
                      <a:pt x="477" y="206"/>
                    </a:lnTo>
                    <a:lnTo>
                      <a:pt x="471" y="200"/>
                    </a:lnTo>
                    <a:lnTo>
                      <a:pt x="465" y="186"/>
                    </a:lnTo>
                    <a:lnTo>
                      <a:pt x="465" y="180"/>
                    </a:lnTo>
                    <a:lnTo>
                      <a:pt x="465" y="166"/>
                    </a:lnTo>
                    <a:lnTo>
                      <a:pt x="465" y="152"/>
                    </a:lnTo>
                    <a:lnTo>
                      <a:pt x="471" y="144"/>
                    </a:lnTo>
                    <a:lnTo>
                      <a:pt x="465" y="138"/>
                    </a:lnTo>
                    <a:lnTo>
                      <a:pt x="465" y="130"/>
                    </a:lnTo>
                    <a:lnTo>
                      <a:pt x="457" y="124"/>
                    </a:lnTo>
                    <a:lnTo>
                      <a:pt x="457" y="116"/>
                    </a:lnTo>
                    <a:lnTo>
                      <a:pt x="457" y="110"/>
                    </a:lnTo>
                    <a:lnTo>
                      <a:pt x="457" y="104"/>
                    </a:lnTo>
                    <a:lnTo>
                      <a:pt x="443" y="104"/>
                    </a:lnTo>
                    <a:lnTo>
                      <a:pt x="451" y="96"/>
                    </a:lnTo>
                    <a:lnTo>
                      <a:pt x="451" y="90"/>
                    </a:lnTo>
                    <a:lnTo>
                      <a:pt x="451" y="82"/>
                    </a:lnTo>
                    <a:lnTo>
                      <a:pt x="451" y="76"/>
                    </a:lnTo>
                    <a:lnTo>
                      <a:pt x="451" y="68"/>
                    </a:lnTo>
                    <a:lnTo>
                      <a:pt x="443" y="62"/>
                    </a:lnTo>
                    <a:lnTo>
                      <a:pt x="443" y="48"/>
                    </a:lnTo>
                    <a:lnTo>
                      <a:pt x="437" y="48"/>
                    </a:lnTo>
                    <a:lnTo>
                      <a:pt x="423" y="42"/>
                    </a:lnTo>
                    <a:lnTo>
                      <a:pt x="409" y="34"/>
                    </a:lnTo>
                    <a:lnTo>
                      <a:pt x="403" y="34"/>
                    </a:lnTo>
                    <a:lnTo>
                      <a:pt x="395" y="28"/>
                    </a:lnTo>
                    <a:lnTo>
                      <a:pt x="387" y="28"/>
                    </a:lnTo>
                    <a:lnTo>
                      <a:pt x="387" y="14"/>
                    </a:lnTo>
                    <a:lnTo>
                      <a:pt x="375" y="8"/>
                    </a:lnTo>
                    <a:lnTo>
                      <a:pt x="361" y="0"/>
                    </a:lnTo>
                    <a:lnTo>
                      <a:pt x="347" y="0"/>
                    </a:lnTo>
                    <a:lnTo>
                      <a:pt x="347" y="8"/>
                    </a:lnTo>
                    <a:lnTo>
                      <a:pt x="347" y="20"/>
                    </a:lnTo>
                    <a:lnTo>
                      <a:pt x="347" y="28"/>
                    </a:lnTo>
                    <a:lnTo>
                      <a:pt x="333" y="20"/>
                    </a:lnTo>
                    <a:lnTo>
                      <a:pt x="327" y="42"/>
                    </a:lnTo>
                    <a:lnTo>
                      <a:pt x="327" y="48"/>
                    </a:lnTo>
                    <a:lnTo>
                      <a:pt x="319" y="48"/>
                    </a:lnTo>
                    <a:lnTo>
                      <a:pt x="311" y="42"/>
                    </a:lnTo>
                    <a:lnTo>
                      <a:pt x="297" y="48"/>
                    </a:lnTo>
                    <a:lnTo>
                      <a:pt x="297" y="62"/>
                    </a:lnTo>
                    <a:lnTo>
                      <a:pt x="297" y="68"/>
                    </a:lnTo>
                    <a:lnTo>
                      <a:pt x="291" y="68"/>
                    </a:lnTo>
                    <a:lnTo>
                      <a:pt x="277" y="62"/>
                    </a:lnTo>
                    <a:lnTo>
                      <a:pt x="271" y="62"/>
                    </a:lnTo>
                    <a:lnTo>
                      <a:pt x="263" y="76"/>
                    </a:lnTo>
                    <a:lnTo>
                      <a:pt x="263" y="82"/>
                    </a:lnTo>
                    <a:lnTo>
                      <a:pt x="243" y="96"/>
                    </a:lnTo>
                    <a:lnTo>
                      <a:pt x="237" y="104"/>
                    </a:lnTo>
                    <a:lnTo>
                      <a:pt x="229" y="110"/>
                    </a:lnTo>
                    <a:lnTo>
                      <a:pt x="237" y="116"/>
                    </a:lnTo>
                    <a:lnTo>
                      <a:pt x="243" y="130"/>
                    </a:lnTo>
                    <a:lnTo>
                      <a:pt x="237" y="138"/>
                    </a:lnTo>
                    <a:lnTo>
                      <a:pt x="237" y="144"/>
                    </a:lnTo>
                    <a:lnTo>
                      <a:pt x="223" y="158"/>
                    </a:lnTo>
                    <a:lnTo>
                      <a:pt x="207" y="166"/>
                    </a:lnTo>
                    <a:lnTo>
                      <a:pt x="207" y="180"/>
                    </a:lnTo>
                    <a:lnTo>
                      <a:pt x="207" y="186"/>
                    </a:lnTo>
                    <a:lnTo>
                      <a:pt x="201" y="192"/>
                    </a:lnTo>
                    <a:lnTo>
                      <a:pt x="187" y="200"/>
                    </a:lnTo>
                    <a:lnTo>
                      <a:pt x="173" y="206"/>
                    </a:lnTo>
                    <a:lnTo>
                      <a:pt x="173" y="220"/>
                    </a:lnTo>
                    <a:lnTo>
                      <a:pt x="167" y="234"/>
                    </a:lnTo>
                    <a:lnTo>
                      <a:pt x="159" y="240"/>
                    </a:lnTo>
                    <a:lnTo>
                      <a:pt x="159" y="254"/>
                    </a:lnTo>
                    <a:lnTo>
                      <a:pt x="159" y="262"/>
                    </a:lnTo>
                    <a:lnTo>
                      <a:pt x="159" y="268"/>
                    </a:lnTo>
                    <a:lnTo>
                      <a:pt x="153" y="290"/>
                    </a:lnTo>
                    <a:lnTo>
                      <a:pt x="153" y="296"/>
                    </a:lnTo>
                    <a:lnTo>
                      <a:pt x="139" y="302"/>
                    </a:lnTo>
                    <a:lnTo>
                      <a:pt x="133" y="310"/>
                    </a:lnTo>
                    <a:lnTo>
                      <a:pt x="139" y="324"/>
                    </a:lnTo>
                    <a:lnTo>
                      <a:pt x="139" y="330"/>
                    </a:lnTo>
                    <a:lnTo>
                      <a:pt x="139" y="338"/>
                    </a:lnTo>
                    <a:lnTo>
                      <a:pt x="147" y="352"/>
                    </a:lnTo>
                    <a:lnTo>
                      <a:pt x="139" y="358"/>
                    </a:lnTo>
                    <a:lnTo>
                      <a:pt x="125" y="358"/>
                    </a:lnTo>
                    <a:lnTo>
                      <a:pt x="119" y="358"/>
                    </a:lnTo>
                    <a:lnTo>
                      <a:pt x="111" y="366"/>
                    </a:lnTo>
                    <a:lnTo>
                      <a:pt x="105" y="372"/>
                    </a:lnTo>
                    <a:lnTo>
                      <a:pt x="97" y="372"/>
                    </a:lnTo>
                    <a:lnTo>
                      <a:pt x="97" y="366"/>
                    </a:lnTo>
                    <a:lnTo>
                      <a:pt x="82" y="372"/>
                    </a:lnTo>
                    <a:lnTo>
                      <a:pt x="76" y="380"/>
                    </a:lnTo>
                    <a:lnTo>
                      <a:pt x="68" y="392"/>
                    </a:lnTo>
                    <a:lnTo>
                      <a:pt x="68" y="406"/>
                    </a:lnTo>
                    <a:lnTo>
                      <a:pt x="68" y="420"/>
                    </a:lnTo>
                    <a:lnTo>
                      <a:pt x="68" y="434"/>
                    </a:lnTo>
                    <a:lnTo>
                      <a:pt x="62" y="442"/>
                    </a:lnTo>
                    <a:lnTo>
                      <a:pt x="62" y="456"/>
                    </a:lnTo>
                    <a:lnTo>
                      <a:pt x="62" y="462"/>
                    </a:lnTo>
                    <a:lnTo>
                      <a:pt x="68" y="468"/>
                    </a:lnTo>
                    <a:lnTo>
                      <a:pt x="68" y="482"/>
                    </a:lnTo>
                    <a:lnTo>
                      <a:pt x="68" y="490"/>
                    </a:lnTo>
                    <a:lnTo>
                      <a:pt x="62" y="504"/>
                    </a:lnTo>
                    <a:lnTo>
                      <a:pt x="62" y="510"/>
                    </a:lnTo>
                    <a:lnTo>
                      <a:pt x="62" y="516"/>
                    </a:lnTo>
                    <a:lnTo>
                      <a:pt x="68" y="524"/>
                    </a:lnTo>
                    <a:lnTo>
                      <a:pt x="76" y="530"/>
                    </a:lnTo>
                    <a:lnTo>
                      <a:pt x="76" y="538"/>
                    </a:lnTo>
                    <a:lnTo>
                      <a:pt x="76" y="552"/>
                    </a:lnTo>
                    <a:lnTo>
                      <a:pt x="76" y="558"/>
                    </a:lnTo>
                    <a:lnTo>
                      <a:pt x="56" y="572"/>
                    </a:lnTo>
                    <a:lnTo>
                      <a:pt x="56" y="580"/>
                    </a:lnTo>
                    <a:lnTo>
                      <a:pt x="62" y="592"/>
                    </a:lnTo>
                    <a:lnTo>
                      <a:pt x="62" y="600"/>
                    </a:lnTo>
                    <a:lnTo>
                      <a:pt x="62" y="606"/>
                    </a:lnTo>
                    <a:lnTo>
                      <a:pt x="62" y="628"/>
                    </a:lnTo>
                    <a:lnTo>
                      <a:pt x="56" y="648"/>
                    </a:lnTo>
                    <a:lnTo>
                      <a:pt x="48" y="648"/>
                    </a:lnTo>
                    <a:lnTo>
                      <a:pt x="42" y="648"/>
                    </a:lnTo>
                    <a:lnTo>
                      <a:pt x="34" y="654"/>
                    </a:lnTo>
                    <a:lnTo>
                      <a:pt x="34" y="662"/>
                    </a:lnTo>
                    <a:lnTo>
                      <a:pt x="28" y="670"/>
                    </a:lnTo>
                    <a:lnTo>
                      <a:pt x="28" y="676"/>
                    </a:lnTo>
                    <a:lnTo>
                      <a:pt x="14" y="690"/>
                    </a:lnTo>
                    <a:lnTo>
                      <a:pt x="20" y="696"/>
                    </a:lnTo>
                    <a:lnTo>
                      <a:pt x="20" y="704"/>
                    </a:lnTo>
                    <a:lnTo>
                      <a:pt x="20" y="710"/>
                    </a:lnTo>
                    <a:lnTo>
                      <a:pt x="14" y="718"/>
                    </a:lnTo>
                    <a:lnTo>
                      <a:pt x="6" y="710"/>
                    </a:lnTo>
                    <a:lnTo>
                      <a:pt x="6" y="704"/>
                    </a:lnTo>
                    <a:lnTo>
                      <a:pt x="0" y="704"/>
                    </a:lnTo>
                    <a:lnTo>
                      <a:pt x="0" y="704"/>
                    </a:lnTo>
                    <a:lnTo>
                      <a:pt x="0" y="718"/>
                    </a:lnTo>
                    <a:lnTo>
                      <a:pt x="0" y="724"/>
                    </a:lnTo>
                    <a:lnTo>
                      <a:pt x="0" y="738"/>
                    </a:lnTo>
                    <a:lnTo>
                      <a:pt x="0" y="744"/>
                    </a:lnTo>
                    <a:lnTo>
                      <a:pt x="0" y="752"/>
                    </a:lnTo>
                    <a:lnTo>
                      <a:pt x="0" y="758"/>
                    </a:lnTo>
                    <a:lnTo>
                      <a:pt x="0" y="766"/>
                    </a:lnTo>
                    <a:lnTo>
                      <a:pt x="8" y="766"/>
                    </a:lnTo>
                    <a:lnTo>
                      <a:pt x="8" y="780"/>
                    </a:lnTo>
                    <a:lnTo>
                      <a:pt x="14" y="772"/>
                    </a:lnTo>
                    <a:lnTo>
                      <a:pt x="20" y="780"/>
                    </a:lnTo>
                    <a:lnTo>
                      <a:pt x="14" y="794"/>
                    </a:lnTo>
                    <a:lnTo>
                      <a:pt x="14" y="800"/>
                    </a:lnTo>
                    <a:lnTo>
                      <a:pt x="14" y="806"/>
                    </a:lnTo>
                    <a:lnTo>
                      <a:pt x="14" y="814"/>
                    </a:lnTo>
                    <a:lnTo>
                      <a:pt x="14" y="828"/>
                    </a:lnTo>
                    <a:lnTo>
                      <a:pt x="14" y="834"/>
                    </a:lnTo>
                    <a:lnTo>
                      <a:pt x="20" y="840"/>
                    </a:lnTo>
                    <a:lnTo>
                      <a:pt x="14" y="848"/>
                    </a:lnTo>
                    <a:lnTo>
                      <a:pt x="14" y="862"/>
                    </a:lnTo>
                    <a:lnTo>
                      <a:pt x="20" y="868"/>
                    </a:lnTo>
                    <a:lnTo>
                      <a:pt x="28" y="868"/>
                    </a:lnTo>
                    <a:lnTo>
                      <a:pt x="28" y="890"/>
                    </a:lnTo>
                    <a:lnTo>
                      <a:pt x="42" y="896"/>
                    </a:lnTo>
                    <a:lnTo>
                      <a:pt x="42" y="902"/>
                    </a:lnTo>
                    <a:lnTo>
                      <a:pt x="42" y="910"/>
                    </a:lnTo>
                    <a:lnTo>
                      <a:pt x="34" y="910"/>
                    </a:lnTo>
                    <a:lnTo>
                      <a:pt x="34" y="918"/>
                    </a:lnTo>
                    <a:lnTo>
                      <a:pt x="28" y="924"/>
                    </a:lnTo>
                    <a:lnTo>
                      <a:pt x="28" y="930"/>
                    </a:lnTo>
                    <a:lnTo>
                      <a:pt x="28" y="938"/>
                    </a:lnTo>
                    <a:lnTo>
                      <a:pt x="34" y="944"/>
                    </a:lnTo>
                    <a:lnTo>
                      <a:pt x="34" y="952"/>
                    </a:lnTo>
                    <a:lnTo>
                      <a:pt x="42" y="958"/>
                    </a:lnTo>
                    <a:lnTo>
                      <a:pt x="42" y="964"/>
                    </a:lnTo>
                    <a:lnTo>
                      <a:pt x="42" y="980"/>
                    </a:lnTo>
                    <a:lnTo>
                      <a:pt x="34" y="986"/>
                    </a:lnTo>
                    <a:lnTo>
                      <a:pt x="42" y="992"/>
                    </a:lnTo>
                    <a:lnTo>
                      <a:pt x="48" y="986"/>
                    </a:lnTo>
                    <a:lnTo>
                      <a:pt x="56" y="992"/>
                    </a:lnTo>
                    <a:lnTo>
                      <a:pt x="76" y="986"/>
                    </a:lnTo>
                    <a:lnTo>
                      <a:pt x="84" y="992"/>
                    </a:lnTo>
                    <a:lnTo>
                      <a:pt x="90" y="992"/>
                    </a:lnTo>
                    <a:lnTo>
                      <a:pt x="99" y="992"/>
                    </a:lnTo>
                    <a:lnTo>
                      <a:pt x="99" y="986"/>
                    </a:lnTo>
                    <a:lnTo>
                      <a:pt x="99" y="972"/>
                    </a:lnTo>
                    <a:lnTo>
                      <a:pt x="99" y="958"/>
                    </a:lnTo>
                    <a:lnTo>
                      <a:pt x="105" y="952"/>
                    </a:lnTo>
                    <a:lnTo>
                      <a:pt x="111" y="952"/>
                    </a:lnTo>
                    <a:lnTo>
                      <a:pt x="119" y="952"/>
                    </a:lnTo>
                    <a:lnTo>
                      <a:pt x="125" y="944"/>
                    </a:lnTo>
                    <a:lnTo>
                      <a:pt x="119" y="944"/>
                    </a:lnTo>
                    <a:lnTo>
                      <a:pt x="125" y="938"/>
                    </a:lnTo>
                    <a:lnTo>
                      <a:pt x="139" y="930"/>
                    </a:lnTo>
                    <a:lnTo>
                      <a:pt x="153" y="938"/>
                    </a:lnTo>
                    <a:lnTo>
                      <a:pt x="153" y="944"/>
                    </a:lnTo>
                    <a:lnTo>
                      <a:pt x="161" y="944"/>
                    </a:lnTo>
                    <a:lnTo>
                      <a:pt x="175" y="944"/>
                    </a:lnTo>
                    <a:lnTo>
                      <a:pt x="181" y="944"/>
                    </a:lnTo>
                    <a:lnTo>
                      <a:pt x="181" y="930"/>
                    </a:lnTo>
                    <a:lnTo>
                      <a:pt x="181" y="924"/>
                    </a:lnTo>
                    <a:lnTo>
                      <a:pt x="195" y="902"/>
                    </a:lnTo>
                    <a:lnTo>
                      <a:pt x="195" y="890"/>
                    </a:lnTo>
                    <a:lnTo>
                      <a:pt x="201" y="882"/>
                    </a:lnTo>
                    <a:lnTo>
                      <a:pt x="209" y="876"/>
                    </a:lnTo>
                    <a:lnTo>
                      <a:pt x="209" y="868"/>
                    </a:lnTo>
                    <a:lnTo>
                      <a:pt x="201" y="868"/>
                    </a:lnTo>
                    <a:lnTo>
                      <a:pt x="209" y="854"/>
                    </a:lnTo>
                    <a:lnTo>
                      <a:pt x="215" y="848"/>
                    </a:lnTo>
                    <a:lnTo>
                      <a:pt x="209" y="840"/>
                    </a:lnTo>
                    <a:lnTo>
                      <a:pt x="209" y="834"/>
                    </a:lnTo>
                    <a:lnTo>
                      <a:pt x="209" y="828"/>
                    </a:lnTo>
                    <a:lnTo>
                      <a:pt x="215" y="820"/>
                    </a:lnTo>
                    <a:lnTo>
                      <a:pt x="215" y="814"/>
                    </a:lnTo>
                    <a:lnTo>
                      <a:pt x="223" y="800"/>
                    </a:lnTo>
                    <a:lnTo>
                      <a:pt x="223" y="794"/>
                    </a:lnTo>
                    <a:lnTo>
                      <a:pt x="223" y="786"/>
                    </a:lnTo>
                    <a:lnTo>
                      <a:pt x="215" y="772"/>
                    </a:lnTo>
                    <a:lnTo>
                      <a:pt x="229" y="766"/>
                    </a:lnTo>
                    <a:lnTo>
                      <a:pt x="209" y="758"/>
                    </a:lnTo>
                    <a:lnTo>
                      <a:pt x="215" y="752"/>
                    </a:lnTo>
                    <a:lnTo>
                      <a:pt x="229" y="758"/>
                    </a:lnTo>
                    <a:lnTo>
                      <a:pt x="237" y="758"/>
                    </a:lnTo>
                    <a:lnTo>
                      <a:pt x="249" y="744"/>
                    </a:lnTo>
                    <a:lnTo>
                      <a:pt x="249" y="738"/>
                    </a:lnTo>
                    <a:lnTo>
                      <a:pt x="249" y="730"/>
                    </a:lnTo>
                    <a:lnTo>
                      <a:pt x="257" y="730"/>
                    </a:lnTo>
                    <a:lnTo>
                      <a:pt x="263" y="730"/>
                    </a:lnTo>
                    <a:lnTo>
                      <a:pt x="271" y="738"/>
                    </a:lnTo>
                    <a:lnTo>
                      <a:pt x="277" y="724"/>
                    </a:lnTo>
                    <a:lnTo>
                      <a:pt x="285" y="718"/>
                    </a:lnTo>
                    <a:lnTo>
                      <a:pt x="299" y="710"/>
                    </a:lnTo>
                    <a:lnTo>
                      <a:pt x="285" y="704"/>
                    </a:lnTo>
                    <a:lnTo>
                      <a:pt x="285" y="696"/>
                    </a:lnTo>
                    <a:lnTo>
                      <a:pt x="291" y="690"/>
                    </a:lnTo>
                    <a:lnTo>
                      <a:pt x="299" y="690"/>
                    </a:lnTo>
                    <a:lnTo>
                      <a:pt x="313" y="670"/>
                    </a:lnTo>
                    <a:lnTo>
                      <a:pt x="305" y="662"/>
                    </a:lnTo>
                    <a:lnTo>
                      <a:pt x="305" y="648"/>
                    </a:lnTo>
                    <a:lnTo>
                      <a:pt x="291" y="654"/>
                    </a:lnTo>
                    <a:lnTo>
                      <a:pt x="291" y="648"/>
                    </a:lnTo>
                    <a:lnTo>
                      <a:pt x="291" y="640"/>
                    </a:lnTo>
                    <a:lnTo>
                      <a:pt x="285" y="634"/>
                    </a:lnTo>
                    <a:lnTo>
                      <a:pt x="277" y="628"/>
                    </a:lnTo>
                    <a:lnTo>
                      <a:pt x="277" y="620"/>
                    </a:lnTo>
                    <a:lnTo>
                      <a:pt x="277" y="614"/>
                    </a:lnTo>
                    <a:lnTo>
                      <a:pt x="263" y="620"/>
                    </a:lnTo>
                    <a:lnTo>
                      <a:pt x="257" y="614"/>
                    </a:lnTo>
                    <a:lnTo>
                      <a:pt x="249" y="606"/>
                    </a:lnTo>
                    <a:lnTo>
                      <a:pt x="249" y="592"/>
                    </a:lnTo>
                    <a:lnTo>
                      <a:pt x="243" y="586"/>
                    </a:lnTo>
                    <a:lnTo>
                      <a:pt x="243" y="580"/>
                    </a:lnTo>
                    <a:lnTo>
                      <a:pt x="237" y="572"/>
                    </a:lnTo>
                    <a:lnTo>
                      <a:pt x="243" y="572"/>
                    </a:lnTo>
                    <a:lnTo>
                      <a:pt x="249" y="566"/>
                    </a:lnTo>
                    <a:lnTo>
                      <a:pt x="249" y="552"/>
                    </a:lnTo>
                    <a:lnTo>
                      <a:pt x="249" y="544"/>
                    </a:lnTo>
                    <a:lnTo>
                      <a:pt x="249" y="530"/>
                    </a:lnTo>
                    <a:lnTo>
                      <a:pt x="257" y="530"/>
                    </a:lnTo>
                    <a:lnTo>
                      <a:pt x="249" y="524"/>
                    </a:lnTo>
                    <a:lnTo>
                      <a:pt x="257" y="516"/>
                    </a:lnTo>
                    <a:lnTo>
                      <a:pt x="257" y="504"/>
                    </a:lnTo>
                    <a:lnTo>
                      <a:pt x="263" y="496"/>
                    </a:lnTo>
                    <a:lnTo>
                      <a:pt x="263" y="482"/>
                    </a:lnTo>
                    <a:lnTo>
                      <a:pt x="243" y="482"/>
                    </a:lnTo>
                    <a:lnTo>
                      <a:pt x="243" y="468"/>
                    </a:lnTo>
                    <a:lnTo>
                      <a:pt x="249" y="462"/>
                    </a:lnTo>
                    <a:lnTo>
                      <a:pt x="263" y="468"/>
                    </a:lnTo>
                    <a:lnTo>
                      <a:pt x="271" y="462"/>
                    </a:lnTo>
                    <a:lnTo>
                      <a:pt x="277" y="462"/>
                    </a:lnTo>
                    <a:lnTo>
                      <a:pt x="285" y="456"/>
                    </a:lnTo>
                    <a:lnTo>
                      <a:pt x="291" y="456"/>
                    </a:lnTo>
                    <a:lnTo>
                      <a:pt x="305" y="448"/>
                    </a:lnTo>
                    <a:lnTo>
                      <a:pt x="299" y="442"/>
                    </a:lnTo>
                    <a:lnTo>
                      <a:pt x="313" y="428"/>
                    </a:lnTo>
                    <a:lnTo>
                      <a:pt x="305" y="420"/>
                    </a:lnTo>
                    <a:lnTo>
                      <a:pt x="319" y="420"/>
                    </a:lnTo>
                    <a:lnTo>
                      <a:pt x="327" y="406"/>
                    </a:lnTo>
                    <a:lnTo>
                      <a:pt x="333" y="414"/>
                    </a:lnTo>
                    <a:lnTo>
                      <a:pt x="347" y="406"/>
                    </a:lnTo>
                    <a:lnTo>
                      <a:pt x="341" y="400"/>
                    </a:lnTo>
                    <a:lnTo>
                      <a:pt x="347" y="392"/>
                    </a:lnTo>
                    <a:lnTo>
                      <a:pt x="353" y="392"/>
                    </a:lnTo>
                    <a:lnTo>
                      <a:pt x="367" y="386"/>
                    </a:lnTo>
                    <a:lnTo>
                      <a:pt x="367" y="372"/>
                    </a:lnTo>
                    <a:lnTo>
                      <a:pt x="367" y="366"/>
                    </a:lnTo>
                    <a:lnTo>
                      <a:pt x="367" y="358"/>
                    </a:lnTo>
                    <a:lnTo>
                      <a:pt x="375" y="344"/>
                    </a:lnTo>
                    <a:lnTo>
                      <a:pt x="381" y="344"/>
                    </a:lnTo>
                    <a:lnTo>
                      <a:pt x="389" y="330"/>
                    </a:lnTo>
                    <a:lnTo>
                      <a:pt x="395" y="324"/>
                    </a:lnTo>
                    <a:lnTo>
                      <a:pt x="389" y="318"/>
                    </a:lnTo>
                    <a:lnTo>
                      <a:pt x="389" y="310"/>
                    </a:lnTo>
                    <a:lnTo>
                      <a:pt x="389" y="296"/>
                    </a:lnTo>
                    <a:lnTo>
                      <a:pt x="389" y="282"/>
                    </a:lnTo>
                    <a:lnTo>
                      <a:pt x="395" y="276"/>
                    </a:lnTo>
                    <a:lnTo>
                      <a:pt x="395" y="268"/>
                    </a:lnTo>
                    <a:lnTo>
                      <a:pt x="395" y="262"/>
                    </a:lnTo>
                    <a:lnTo>
                      <a:pt x="403" y="254"/>
                    </a:lnTo>
                    <a:lnTo>
                      <a:pt x="417" y="254"/>
                    </a:lnTo>
                    <a:lnTo>
                      <a:pt x="417" y="240"/>
                    </a:lnTo>
                    <a:lnTo>
                      <a:pt x="417" y="228"/>
                    </a:lnTo>
                    <a:lnTo>
                      <a:pt x="417" y="220"/>
                    </a:lnTo>
                    <a:lnTo>
                      <a:pt x="423" y="220"/>
                    </a:lnTo>
                    <a:lnTo>
                      <a:pt x="429" y="228"/>
                    </a:lnTo>
                    <a:lnTo>
                      <a:pt x="443" y="214"/>
                    </a:lnTo>
                    <a:lnTo>
                      <a:pt x="451" y="220"/>
                    </a:lnTo>
                    <a:lnTo>
                      <a:pt x="457" y="220"/>
                    </a:lnTo>
                    <a:lnTo>
                      <a:pt x="465" y="220"/>
                    </a:lnTo>
                    <a:lnTo>
                      <a:pt x="471" y="228"/>
                    </a:lnTo>
                    <a:lnTo>
                      <a:pt x="477" y="220"/>
                    </a:lnTo>
                    <a:lnTo>
                      <a:pt x="477" y="220"/>
                    </a:lnTo>
                    <a:lnTo>
                      <a:pt x="477" y="220"/>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8" name="Freeform 62"/>
              <p:cNvSpPr>
                <a:spLocks/>
              </p:cNvSpPr>
              <p:nvPr>
                <p:custDataLst>
                  <p:tags r:id="rId145"/>
                </p:custDataLst>
              </p:nvPr>
            </p:nvSpPr>
            <p:spPr bwMode="gray">
              <a:xfrm>
                <a:off x="5322514" y="932755"/>
                <a:ext cx="652608" cy="1190889"/>
              </a:xfrm>
              <a:custGeom>
                <a:avLst/>
                <a:gdLst>
                  <a:gd name="T0" fmla="*/ 222 w 411"/>
                  <a:gd name="T1" fmla="*/ 68 h 750"/>
                  <a:gd name="T2" fmla="*/ 228 w 411"/>
                  <a:gd name="T3" fmla="*/ 34 h 750"/>
                  <a:gd name="T4" fmla="*/ 186 w 411"/>
                  <a:gd name="T5" fmla="*/ 14 h 750"/>
                  <a:gd name="T6" fmla="*/ 166 w 411"/>
                  <a:gd name="T7" fmla="*/ 14 h 750"/>
                  <a:gd name="T8" fmla="*/ 138 w 411"/>
                  <a:gd name="T9" fmla="*/ 62 h 750"/>
                  <a:gd name="T10" fmla="*/ 130 w 411"/>
                  <a:gd name="T11" fmla="*/ 88 h 750"/>
                  <a:gd name="T12" fmla="*/ 104 w 411"/>
                  <a:gd name="T13" fmla="*/ 116 h 750"/>
                  <a:gd name="T14" fmla="*/ 62 w 411"/>
                  <a:gd name="T15" fmla="*/ 110 h 750"/>
                  <a:gd name="T16" fmla="*/ 34 w 411"/>
                  <a:gd name="T17" fmla="*/ 88 h 750"/>
                  <a:gd name="T18" fmla="*/ 6 w 411"/>
                  <a:gd name="T19" fmla="*/ 68 h 750"/>
                  <a:gd name="T20" fmla="*/ 26 w 411"/>
                  <a:gd name="T21" fmla="*/ 110 h 750"/>
                  <a:gd name="T22" fmla="*/ 48 w 411"/>
                  <a:gd name="T23" fmla="*/ 130 h 750"/>
                  <a:gd name="T24" fmla="*/ 82 w 411"/>
                  <a:gd name="T25" fmla="*/ 158 h 750"/>
                  <a:gd name="T26" fmla="*/ 90 w 411"/>
                  <a:gd name="T27" fmla="*/ 186 h 750"/>
                  <a:gd name="T28" fmla="*/ 96 w 411"/>
                  <a:gd name="T29" fmla="*/ 206 h 750"/>
                  <a:gd name="T30" fmla="*/ 104 w 411"/>
                  <a:gd name="T31" fmla="*/ 234 h 750"/>
                  <a:gd name="T32" fmla="*/ 104 w 411"/>
                  <a:gd name="T33" fmla="*/ 276 h 750"/>
                  <a:gd name="T34" fmla="*/ 116 w 411"/>
                  <a:gd name="T35" fmla="*/ 316 h 750"/>
                  <a:gd name="T36" fmla="*/ 144 w 411"/>
                  <a:gd name="T37" fmla="*/ 330 h 750"/>
                  <a:gd name="T38" fmla="*/ 152 w 411"/>
                  <a:gd name="T39" fmla="*/ 364 h 750"/>
                  <a:gd name="T40" fmla="*/ 152 w 411"/>
                  <a:gd name="T41" fmla="*/ 384 h 750"/>
                  <a:gd name="T42" fmla="*/ 124 w 411"/>
                  <a:gd name="T43" fmla="*/ 414 h 750"/>
                  <a:gd name="T44" fmla="*/ 96 w 411"/>
                  <a:gd name="T45" fmla="*/ 454 h 750"/>
                  <a:gd name="T46" fmla="*/ 82 w 411"/>
                  <a:gd name="T47" fmla="*/ 482 h 750"/>
                  <a:gd name="T48" fmla="*/ 68 w 411"/>
                  <a:gd name="T49" fmla="*/ 496 h 750"/>
                  <a:gd name="T50" fmla="*/ 40 w 411"/>
                  <a:gd name="T51" fmla="*/ 510 h 750"/>
                  <a:gd name="T52" fmla="*/ 26 w 411"/>
                  <a:gd name="T53" fmla="*/ 558 h 750"/>
                  <a:gd name="T54" fmla="*/ 26 w 411"/>
                  <a:gd name="T55" fmla="*/ 592 h 750"/>
                  <a:gd name="T56" fmla="*/ 40 w 411"/>
                  <a:gd name="T57" fmla="*/ 640 h 750"/>
                  <a:gd name="T58" fmla="*/ 26 w 411"/>
                  <a:gd name="T59" fmla="*/ 682 h 750"/>
                  <a:gd name="T60" fmla="*/ 82 w 411"/>
                  <a:gd name="T61" fmla="*/ 710 h 750"/>
                  <a:gd name="T62" fmla="*/ 104 w 411"/>
                  <a:gd name="T63" fmla="*/ 744 h 750"/>
                  <a:gd name="T64" fmla="*/ 144 w 411"/>
                  <a:gd name="T65" fmla="*/ 736 h 750"/>
                  <a:gd name="T66" fmla="*/ 172 w 411"/>
                  <a:gd name="T67" fmla="*/ 730 h 750"/>
                  <a:gd name="T68" fmla="*/ 222 w 411"/>
                  <a:gd name="T69" fmla="*/ 716 h 750"/>
                  <a:gd name="T70" fmla="*/ 236 w 411"/>
                  <a:gd name="T71" fmla="*/ 710 h 750"/>
                  <a:gd name="T72" fmla="*/ 270 w 411"/>
                  <a:gd name="T73" fmla="*/ 688 h 750"/>
                  <a:gd name="T74" fmla="*/ 312 w 411"/>
                  <a:gd name="T75" fmla="*/ 654 h 750"/>
                  <a:gd name="T76" fmla="*/ 338 w 411"/>
                  <a:gd name="T77" fmla="*/ 620 h 750"/>
                  <a:gd name="T78" fmla="*/ 361 w 411"/>
                  <a:gd name="T79" fmla="*/ 592 h 750"/>
                  <a:gd name="T80" fmla="*/ 367 w 411"/>
                  <a:gd name="T81" fmla="*/ 558 h 750"/>
                  <a:gd name="T82" fmla="*/ 389 w 411"/>
                  <a:gd name="T83" fmla="*/ 522 h 750"/>
                  <a:gd name="T84" fmla="*/ 395 w 411"/>
                  <a:gd name="T85" fmla="*/ 482 h 750"/>
                  <a:gd name="T86" fmla="*/ 338 w 411"/>
                  <a:gd name="T87" fmla="*/ 454 h 750"/>
                  <a:gd name="T88" fmla="*/ 338 w 411"/>
                  <a:gd name="T89" fmla="*/ 440 h 750"/>
                  <a:gd name="T90" fmla="*/ 338 w 411"/>
                  <a:gd name="T91" fmla="*/ 414 h 750"/>
                  <a:gd name="T92" fmla="*/ 326 w 411"/>
                  <a:gd name="T93" fmla="*/ 392 h 750"/>
                  <a:gd name="T94" fmla="*/ 318 w 411"/>
                  <a:gd name="T95" fmla="*/ 364 h 750"/>
                  <a:gd name="T96" fmla="*/ 304 w 411"/>
                  <a:gd name="T97" fmla="*/ 350 h 750"/>
                  <a:gd name="T98" fmla="*/ 304 w 411"/>
                  <a:gd name="T99" fmla="*/ 322 h 750"/>
                  <a:gd name="T100" fmla="*/ 304 w 411"/>
                  <a:gd name="T101" fmla="*/ 288 h 750"/>
                  <a:gd name="T102" fmla="*/ 270 w 411"/>
                  <a:gd name="T103" fmla="*/ 248 h 750"/>
                  <a:gd name="T104" fmla="*/ 256 w 411"/>
                  <a:gd name="T105" fmla="*/ 206 h 750"/>
                  <a:gd name="T106" fmla="*/ 262 w 411"/>
                  <a:gd name="T107" fmla="*/ 172 h 750"/>
                  <a:gd name="T108" fmla="*/ 236 w 411"/>
                  <a:gd name="T109" fmla="*/ 130 h 750"/>
                  <a:gd name="T110" fmla="*/ 214 w 411"/>
                  <a:gd name="T111" fmla="*/ 102 h 750"/>
                  <a:gd name="T112" fmla="*/ 228 w 411"/>
                  <a:gd name="T113" fmla="*/ 82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1" h="750">
                    <a:moveTo>
                      <a:pt x="228" y="82"/>
                    </a:moveTo>
                    <a:lnTo>
                      <a:pt x="222" y="82"/>
                    </a:lnTo>
                    <a:lnTo>
                      <a:pt x="222" y="74"/>
                    </a:lnTo>
                    <a:lnTo>
                      <a:pt x="222" y="68"/>
                    </a:lnTo>
                    <a:lnTo>
                      <a:pt x="222" y="62"/>
                    </a:lnTo>
                    <a:lnTo>
                      <a:pt x="222" y="48"/>
                    </a:lnTo>
                    <a:lnTo>
                      <a:pt x="228" y="40"/>
                    </a:lnTo>
                    <a:lnTo>
                      <a:pt x="228" y="34"/>
                    </a:lnTo>
                    <a:lnTo>
                      <a:pt x="222" y="26"/>
                    </a:lnTo>
                    <a:lnTo>
                      <a:pt x="214" y="20"/>
                    </a:lnTo>
                    <a:lnTo>
                      <a:pt x="206" y="20"/>
                    </a:lnTo>
                    <a:lnTo>
                      <a:pt x="186" y="14"/>
                    </a:lnTo>
                    <a:lnTo>
                      <a:pt x="194" y="0"/>
                    </a:lnTo>
                    <a:lnTo>
                      <a:pt x="186" y="0"/>
                    </a:lnTo>
                    <a:lnTo>
                      <a:pt x="180" y="6"/>
                    </a:lnTo>
                    <a:lnTo>
                      <a:pt x="166" y="14"/>
                    </a:lnTo>
                    <a:lnTo>
                      <a:pt x="152" y="14"/>
                    </a:lnTo>
                    <a:lnTo>
                      <a:pt x="144" y="20"/>
                    </a:lnTo>
                    <a:lnTo>
                      <a:pt x="144" y="48"/>
                    </a:lnTo>
                    <a:lnTo>
                      <a:pt x="138" y="62"/>
                    </a:lnTo>
                    <a:lnTo>
                      <a:pt x="138" y="68"/>
                    </a:lnTo>
                    <a:lnTo>
                      <a:pt x="138" y="74"/>
                    </a:lnTo>
                    <a:lnTo>
                      <a:pt x="138" y="82"/>
                    </a:lnTo>
                    <a:lnTo>
                      <a:pt x="130" y="88"/>
                    </a:lnTo>
                    <a:lnTo>
                      <a:pt x="124" y="102"/>
                    </a:lnTo>
                    <a:lnTo>
                      <a:pt x="124" y="110"/>
                    </a:lnTo>
                    <a:lnTo>
                      <a:pt x="116" y="110"/>
                    </a:lnTo>
                    <a:lnTo>
                      <a:pt x="104" y="116"/>
                    </a:lnTo>
                    <a:lnTo>
                      <a:pt x="96" y="102"/>
                    </a:lnTo>
                    <a:lnTo>
                      <a:pt x="90" y="102"/>
                    </a:lnTo>
                    <a:lnTo>
                      <a:pt x="82" y="110"/>
                    </a:lnTo>
                    <a:lnTo>
                      <a:pt x="62" y="110"/>
                    </a:lnTo>
                    <a:lnTo>
                      <a:pt x="54" y="102"/>
                    </a:lnTo>
                    <a:lnTo>
                      <a:pt x="48" y="102"/>
                    </a:lnTo>
                    <a:lnTo>
                      <a:pt x="40" y="102"/>
                    </a:lnTo>
                    <a:lnTo>
                      <a:pt x="34" y="88"/>
                    </a:lnTo>
                    <a:lnTo>
                      <a:pt x="34" y="82"/>
                    </a:lnTo>
                    <a:lnTo>
                      <a:pt x="20" y="74"/>
                    </a:lnTo>
                    <a:lnTo>
                      <a:pt x="14" y="68"/>
                    </a:lnTo>
                    <a:lnTo>
                      <a:pt x="6" y="68"/>
                    </a:lnTo>
                    <a:lnTo>
                      <a:pt x="0" y="82"/>
                    </a:lnTo>
                    <a:lnTo>
                      <a:pt x="0" y="96"/>
                    </a:lnTo>
                    <a:lnTo>
                      <a:pt x="14" y="102"/>
                    </a:lnTo>
                    <a:lnTo>
                      <a:pt x="26" y="110"/>
                    </a:lnTo>
                    <a:lnTo>
                      <a:pt x="26" y="124"/>
                    </a:lnTo>
                    <a:lnTo>
                      <a:pt x="34" y="124"/>
                    </a:lnTo>
                    <a:lnTo>
                      <a:pt x="40" y="130"/>
                    </a:lnTo>
                    <a:lnTo>
                      <a:pt x="48" y="130"/>
                    </a:lnTo>
                    <a:lnTo>
                      <a:pt x="62" y="138"/>
                    </a:lnTo>
                    <a:lnTo>
                      <a:pt x="76" y="144"/>
                    </a:lnTo>
                    <a:lnTo>
                      <a:pt x="82" y="144"/>
                    </a:lnTo>
                    <a:lnTo>
                      <a:pt x="82" y="158"/>
                    </a:lnTo>
                    <a:lnTo>
                      <a:pt x="90" y="164"/>
                    </a:lnTo>
                    <a:lnTo>
                      <a:pt x="90" y="172"/>
                    </a:lnTo>
                    <a:lnTo>
                      <a:pt x="90" y="178"/>
                    </a:lnTo>
                    <a:lnTo>
                      <a:pt x="90" y="186"/>
                    </a:lnTo>
                    <a:lnTo>
                      <a:pt x="90" y="192"/>
                    </a:lnTo>
                    <a:lnTo>
                      <a:pt x="82" y="198"/>
                    </a:lnTo>
                    <a:lnTo>
                      <a:pt x="96" y="198"/>
                    </a:lnTo>
                    <a:lnTo>
                      <a:pt x="96" y="206"/>
                    </a:lnTo>
                    <a:lnTo>
                      <a:pt x="96" y="212"/>
                    </a:lnTo>
                    <a:lnTo>
                      <a:pt x="96" y="220"/>
                    </a:lnTo>
                    <a:lnTo>
                      <a:pt x="104" y="226"/>
                    </a:lnTo>
                    <a:lnTo>
                      <a:pt x="104" y="234"/>
                    </a:lnTo>
                    <a:lnTo>
                      <a:pt x="110" y="240"/>
                    </a:lnTo>
                    <a:lnTo>
                      <a:pt x="104" y="248"/>
                    </a:lnTo>
                    <a:lnTo>
                      <a:pt x="104" y="262"/>
                    </a:lnTo>
                    <a:lnTo>
                      <a:pt x="104" y="276"/>
                    </a:lnTo>
                    <a:lnTo>
                      <a:pt x="104" y="282"/>
                    </a:lnTo>
                    <a:lnTo>
                      <a:pt x="110" y="296"/>
                    </a:lnTo>
                    <a:lnTo>
                      <a:pt x="116" y="302"/>
                    </a:lnTo>
                    <a:lnTo>
                      <a:pt x="116" y="316"/>
                    </a:lnTo>
                    <a:lnTo>
                      <a:pt x="124" y="316"/>
                    </a:lnTo>
                    <a:lnTo>
                      <a:pt x="130" y="322"/>
                    </a:lnTo>
                    <a:lnTo>
                      <a:pt x="144" y="322"/>
                    </a:lnTo>
                    <a:lnTo>
                      <a:pt x="144" y="330"/>
                    </a:lnTo>
                    <a:lnTo>
                      <a:pt x="152" y="336"/>
                    </a:lnTo>
                    <a:lnTo>
                      <a:pt x="152" y="344"/>
                    </a:lnTo>
                    <a:lnTo>
                      <a:pt x="152" y="350"/>
                    </a:lnTo>
                    <a:lnTo>
                      <a:pt x="152" y="364"/>
                    </a:lnTo>
                    <a:lnTo>
                      <a:pt x="152" y="372"/>
                    </a:lnTo>
                    <a:lnTo>
                      <a:pt x="158" y="378"/>
                    </a:lnTo>
                    <a:lnTo>
                      <a:pt x="158" y="384"/>
                    </a:lnTo>
                    <a:lnTo>
                      <a:pt x="152" y="384"/>
                    </a:lnTo>
                    <a:lnTo>
                      <a:pt x="144" y="384"/>
                    </a:lnTo>
                    <a:lnTo>
                      <a:pt x="138" y="384"/>
                    </a:lnTo>
                    <a:lnTo>
                      <a:pt x="138" y="392"/>
                    </a:lnTo>
                    <a:lnTo>
                      <a:pt x="124" y="414"/>
                    </a:lnTo>
                    <a:lnTo>
                      <a:pt x="124" y="420"/>
                    </a:lnTo>
                    <a:lnTo>
                      <a:pt x="116" y="434"/>
                    </a:lnTo>
                    <a:lnTo>
                      <a:pt x="110" y="440"/>
                    </a:lnTo>
                    <a:lnTo>
                      <a:pt x="96" y="454"/>
                    </a:lnTo>
                    <a:lnTo>
                      <a:pt x="96" y="462"/>
                    </a:lnTo>
                    <a:lnTo>
                      <a:pt x="96" y="468"/>
                    </a:lnTo>
                    <a:lnTo>
                      <a:pt x="82" y="474"/>
                    </a:lnTo>
                    <a:lnTo>
                      <a:pt x="82" y="482"/>
                    </a:lnTo>
                    <a:lnTo>
                      <a:pt x="82" y="474"/>
                    </a:lnTo>
                    <a:lnTo>
                      <a:pt x="76" y="482"/>
                    </a:lnTo>
                    <a:lnTo>
                      <a:pt x="68" y="488"/>
                    </a:lnTo>
                    <a:lnTo>
                      <a:pt x="68" y="496"/>
                    </a:lnTo>
                    <a:lnTo>
                      <a:pt x="68" y="510"/>
                    </a:lnTo>
                    <a:lnTo>
                      <a:pt x="54" y="516"/>
                    </a:lnTo>
                    <a:lnTo>
                      <a:pt x="48" y="510"/>
                    </a:lnTo>
                    <a:lnTo>
                      <a:pt x="40" y="510"/>
                    </a:lnTo>
                    <a:lnTo>
                      <a:pt x="40" y="522"/>
                    </a:lnTo>
                    <a:lnTo>
                      <a:pt x="26" y="536"/>
                    </a:lnTo>
                    <a:lnTo>
                      <a:pt x="26" y="550"/>
                    </a:lnTo>
                    <a:lnTo>
                      <a:pt x="26" y="558"/>
                    </a:lnTo>
                    <a:lnTo>
                      <a:pt x="34" y="564"/>
                    </a:lnTo>
                    <a:lnTo>
                      <a:pt x="34" y="578"/>
                    </a:lnTo>
                    <a:lnTo>
                      <a:pt x="26" y="586"/>
                    </a:lnTo>
                    <a:lnTo>
                      <a:pt x="26" y="592"/>
                    </a:lnTo>
                    <a:lnTo>
                      <a:pt x="40" y="598"/>
                    </a:lnTo>
                    <a:lnTo>
                      <a:pt x="40" y="606"/>
                    </a:lnTo>
                    <a:lnTo>
                      <a:pt x="40" y="620"/>
                    </a:lnTo>
                    <a:lnTo>
                      <a:pt x="40" y="640"/>
                    </a:lnTo>
                    <a:lnTo>
                      <a:pt x="40" y="654"/>
                    </a:lnTo>
                    <a:lnTo>
                      <a:pt x="26" y="660"/>
                    </a:lnTo>
                    <a:lnTo>
                      <a:pt x="26" y="674"/>
                    </a:lnTo>
                    <a:lnTo>
                      <a:pt x="26" y="682"/>
                    </a:lnTo>
                    <a:lnTo>
                      <a:pt x="40" y="702"/>
                    </a:lnTo>
                    <a:lnTo>
                      <a:pt x="62" y="702"/>
                    </a:lnTo>
                    <a:lnTo>
                      <a:pt x="68" y="710"/>
                    </a:lnTo>
                    <a:lnTo>
                      <a:pt x="82" y="710"/>
                    </a:lnTo>
                    <a:lnTo>
                      <a:pt x="90" y="710"/>
                    </a:lnTo>
                    <a:lnTo>
                      <a:pt x="96" y="724"/>
                    </a:lnTo>
                    <a:lnTo>
                      <a:pt x="96" y="736"/>
                    </a:lnTo>
                    <a:lnTo>
                      <a:pt x="104" y="744"/>
                    </a:lnTo>
                    <a:lnTo>
                      <a:pt x="110" y="750"/>
                    </a:lnTo>
                    <a:lnTo>
                      <a:pt x="130" y="750"/>
                    </a:lnTo>
                    <a:lnTo>
                      <a:pt x="138" y="750"/>
                    </a:lnTo>
                    <a:lnTo>
                      <a:pt x="144" y="736"/>
                    </a:lnTo>
                    <a:lnTo>
                      <a:pt x="152" y="730"/>
                    </a:lnTo>
                    <a:lnTo>
                      <a:pt x="158" y="744"/>
                    </a:lnTo>
                    <a:lnTo>
                      <a:pt x="166" y="736"/>
                    </a:lnTo>
                    <a:lnTo>
                      <a:pt x="172" y="730"/>
                    </a:lnTo>
                    <a:lnTo>
                      <a:pt x="186" y="724"/>
                    </a:lnTo>
                    <a:lnTo>
                      <a:pt x="206" y="716"/>
                    </a:lnTo>
                    <a:lnTo>
                      <a:pt x="214" y="716"/>
                    </a:lnTo>
                    <a:lnTo>
                      <a:pt x="222" y="716"/>
                    </a:lnTo>
                    <a:lnTo>
                      <a:pt x="222" y="710"/>
                    </a:lnTo>
                    <a:lnTo>
                      <a:pt x="222" y="702"/>
                    </a:lnTo>
                    <a:lnTo>
                      <a:pt x="228" y="696"/>
                    </a:lnTo>
                    <a:lnTo>
                      <a:pt x="236" y="710"/>
                    </a:lnTo>
                    <a:lnTo>
                      <a:pt x="242" y="702"/>
                    </a:lnTo>
                    <a:lnTo>
                      <a:pt x="256" y="696"/>
                    </a:lnTo>
                    <a:lnTo>
                      <a:pt x="262" y="682"/>
                    </a:lnTo>
                    <a:lnTo>
                      <a:pt x="270" y="688"/>
                    </a:lnTo>
                    <a:lnTo>
                      <a:pt x="284" y="688"/>
                    </a:lnTo>
                    <a:lnTo>
                      <a:pt x="290" y="688"/>
                    </a:lnTo>
                    <a:lnTo>
                      <a:pt x="298" y="682"/>
                    </a:lnTo>
                    <a:lnTo>
                      <a:pt x="312" y="654"/>
                    </a:lnTo>
                    <a:lnTo>
                      <a:pt x="318" y="648"/>
                    </a:lnTo>
                    <a:lnTo>
                      <a:pt x="326" y="634"/>
                    </a:lnTo>
                    <a:lnTo>
                      <a:pt x="332" y="626"/>
                    </a:lnTo>
                    <a:lnTo>
                      <a:pt x="338" y="620"/>
                    </a:lnTo>
                    <a:lnTo>
                      <a:pt x="346" y="606"/>
                    </a:lnTo>
                    <a:lnTo>
                      <a:pt x="353" y="586"/>
                    </a:lnTo>
                    <a:lnTo>
                      <a:pt x="353" y="592"/>
                    </a:lnTo>
                    <a:lnTo>
                      <a:pt x="361" y="592"/>
                    </a:lnTo>
                    <a:lnTo>
                      <a:pt x="367" y="586"/>
                    </a:lnTo>
                    <a:lnTo>
                      <a:pt x="361" y="578"/>
                    </a:lnTo>
                    <a:lnTo>
                      <a:pt x="367" y="572"/>
                    </a:lnTo>
                    <a:lnTo>
                      <a:pt x="367" y="558"/>
                    </a:lnTo>
                    <a:lnTo>
                      <a:pt x="375" y="550"/>
                    </a:lnTo>
                    <a:lnTo>
                      <a:pt x="381" y="544"/>
                    </a:lnTo>
                    <a:lnTo>
                      <a:pt x="381" y="536"/>
                    </a:lnTo>
                    <a:lnTo>
                      <a:pt x="389" y="522"/>
                    </a:lnTo>
                    <a:lnTo>
                      <a:pt x="403" y="516"/>
                    </a:lnTo>
                    <a:lnTo>
                      <a:pt x="411" y="502"/>
                    </a:lnTo>
                    <a:lnTo>
                      <a:pt x="403" y="488"/>
                    </a:lnTo>
                    <a:lnTo>
                      <a:pt x="395" y="482"/>
                    </a:lnTo>
                    <a:lnTo>
                      <a:pt x="375" y="474"/>
                    </a:lnTo>
                    <a:lnTo>
                      <a:pt x="353" y="468"/>
                    </a:lnTo>
                    <a:lnTo>
                      <a:pt x="346" y="462"/>
                    </a:lnTo>
                    <a:lnTo>
                      <a:pt x="338" y="454"/>
                    </a:lnTo>
                    <a:lnTo>
                      <a:pt x="332" y="454"/>
                    </a:lnTo>
                    <a:lnTo>
                      <a:pt x="326" y="440"/>
                    </a:lnTo>
                    <a:lnTo>
                      <a:pt x="332" y="440"/>
                    </a:lnTo>
                    <a:lnTo>
                      <a:pt x="338" y="440"/>
                    </a:lnTo>
                    <a:lnTo>
                      <a:pt x="346" y="434"/>
                    </a:lnTo>
                    <a:lnTo>
                      <a:pt x="346" y="426"/>
                    </a:lnTo>
                    <a:lnTo>
                      <a:pt x="346" y="420"/>
                    </a:lnTo>
                    <a:lnTo>
                      <a:pt x="338" y="414"/>
                    </a:lnTo>
                    <a:lnTo>
                      <a:pt x="338" y="406"/>
                    </a:lnTo>
                    <a:lnTo>
                      <a:pt x="326" y="406"/>
                    </a:lnTo>
                    <a:lnTo>
                      <a:pt x="326" y="398"/>
                    </a:lnTo>
                    <a:lnTo>
                      <a:pt x="326" y="392"/>
                    </a:lnTo>
                    <a:lnTo>
                      <a:pt x="312" y="384"/>
                    </a:lnTo>
                    <a:lnTo>
                      <a:pt x="326" y="378"/>
                    </a:lnTo>
                    <a:lnTo>
                      <a:pt x="318" y="372"/>
                    </a:lnTo>
                    <a:lnTo>
                      <a:pt x="318" y="364"/>
                    </a:lnTo>
                    <a:lnTo>
                      <a:pt x="312" y="372"/>
                    </a:lnTo>
                    <a:lnTo>
                      <a:pt x="304" y="364"/>
                    </a:lnTo>
                    <a:lnTo>
                      <a:pt x="304" y="358"/>
                    </a:lnTo>
                    <a:lnTo>
                      <a:pt x="304" y="350"/>
                    </a:lnTo>
                    <a:lnTo>
                      <a:pt x="304" y="344"/>
                    </a:lnTo>
                    <a:lnTo>
                      <a:pt x="298" y="336"/>
                    </a:lnTo>
                    <a:lnTo>
                      <a:pt x="298" y="330"/>
                    </a:lnTo>
                    <a:lnTo>
                      <a:pt x="304" y="322"/>
                    </a:lnTo>
                    <a:lnTo>
                      <a:pt x="298" y="310"/>
                    </a:lnTo>
                    <a:lnTo>
                      <a:pt x="304" y="302"/>
                    </a:lnTo>
                    <a:lnTo>
                      <a:pt x="304" y="296"/>
                    </a:lnTo>
                    <a:lnTo>
                      <a:pt x="304" y="288"/>
                    </a:lnTo>
                    <a:lnTo>
                      <a:pt x="298" y="276"/>
                    </a:lnTo>
                    <a:lnTo>
                      <a:pt x="290" y="262"/>
                    </a:lnTo>
                    <a:lnTo>
                      <a:pt x="284" y="254"/>
                    </a:lnTo>
                    <a:lnTo>
                      <a:pt x="270" y="248"/>
                    </a:lnTo>
                    <a:lnTo>
                      <a:pt x="270" y="240"/>
                    </a:lnTo>
                    <a:lnTo>
                      <a:pt x="262" y="234"/>
                    </a:lnTo>
                    <a:lnTo>
                      <a:pt x="256" y="220"/>
                    </a:lnTo>
                    <a:lnTo>
                      <a:pt x="256" y="206"/>
                    </a:lnTo>
                    <a:lnTo>
                      <a:pt x="256" y="198"/>
                    </a:lnTo>
                    <a:lnTo>
                      <a:pt x="256" y="186"/>
                    </a:lnTo>
                    <a:lnTo>
                      <a:pt x="262" y="178"/>
                    </a:lnTo>
                    <a:lnTo>
                      <a:pt x="262" y="172"/>
                    </a:lnTo>
                    <a:lnTo>
                      <a:pt x="262" y="158"/>
                    </a:lnTo>
                    <a:lnTo>
                      <a:pt x="248" y="144"/>
                    </a:lnTo>
                    <a:lnTo>
                      <a:pt x="236" y="138"/>
                    </a:lnTo>
                    <a:lnTo>
                      <a:pt x="236" y="130"/>
                    </a:lnTo>
                    <a:lnTo>
                      <a:pt x="228" y="124"/>
                    </a:lnTo>
                    <a:lnTo>
                      <a:pt x="222" y="116"/>
                    </a:lnTo>
                    <a:lnTo>
                      <a:pt x="214" y="110"/>
                    </a:lnTo>
                    <a:lnTo>
                      <a:pt x="214" y="102"/>
                    </a:lnTo>
                    <a:lnTo>
                      <a:pt x="222" y="96"/>
                    </a:lnTo>
                    <a:lnTo>
                      <a:pt x="222" y="88"/>
                    </a:lnTo>
                    <a:lnTo>
                      <a:pt x="228" y="82"/>
                    </a:lnTo>
                    <a:lnTo>
                      <a:pt x="228" y="82"/>
                    </a:lnTo>
                    <a:lnTo>
                      <a:pt x="228" y="82"/>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19" name="Freeform 63"/>
              <p:cNvSpPr>
                <a:spLocks/>
              </p:cNvSpPr>
              <p:nvPr>
                <p:custDataLst>
                  <p:tags r:id="rId146"/>
                </p:custDataLst>
              </p:nvPr>
            </p:nvSpPr>
            <p:spPr bwMode="gray">
              <a:xfrm>
                <a:off x="5494002" y="3952851"/>
                <a:ext cx="573215" cy="358855"/>
              </a:xfrm>
              <a:custGeom>
                <a:avLst/>
                <a:gdLst>
                  <a:gd name="T0" fmla="*/ 56 w 361"/>
                  <a:gd name="T1" fmla="*/ 220 h 226"/>
                  <a:gd name="T2" fmla="*/ 84 w 361"/>
                  <a:gd name="T3" fmla="*/ 220 h 226"/>
                  <a:gd name="T4" fmla="*/ 104 w 361"/>
                  <a:gd name="T5" fmla="*/ 226 h 226"/>
                  <a:gd name="T6" fmla="*/ 118 w 361"/>
                  <a:gd name="T7" fmla="*/ 212 h 226"/>
                  <a:gd name="T8" fmla="*/ 132 w 361"/>
                  <a:gd name="T9" fmla="*/ 206 h 226"/>
                  <a:gd name="T10" fmla="*/ 140 w 361"/>
                  <a:gd name="T11" fmla="*/ 206 h 226"/>
                  <a:gd name="T12" fmla="*/ 152 w 361"/>
                  <a:gd name="T13" fmla="*/ 212 h 226"/>
                  <a:gd name="T14" fmla="*/ 160 w 361"/>
                  <a:gd name="T15" fmla="*/ 220 h 226"/>
                  <a:gd name="T16" fmla="*/ 180 w 361"/>
                  <a:gd name="T17" fmla="*/ 212 h 226"/>
                  <a:gd name="T18" fmla="*/ 202 w 361"/>
                  <a:gd name="T19" fmla="*/ 212 h 226"/>
                  <a:gd name="T20" fmla="*/ 222 w 361"/>
                  <a:gd name="T21" fmla="*/ 206 h 226"/>
                  <a:gd name="T22" fmla="*/ 243 w 361"/>
                  <a:gd name="T23" fmla="*/ 200 h 226"/>
                  <a:gd name="T24" fmla="*/ 236 w 361"/>
                  <a:gd name="T25" fmla="*/ 186 h 226"/>
                  <a:gd name="T26" fmla="*/ 251 w 361"/>
                  <a:gd name="T27" fmla="*/ 186 h 226"/>
                  <a:gd name="T28" fmla="*/ 259 w 361"/>
                  <a:gd name="T29" fmla="*/ 178 h 226"/>
                  <a:gd name="T30" fmla="*/ 269 w 361"/>
                  <a:gd name="T31" fmla="*/ 166 h 226"/>
                  <a:gd name="T32" fmla="*/ 279 w 361"/>
                  <a:gd name="T33" fmla="*/ 158 h 226"/>
                  <a:gd name="T34" fmla="*/ 293 w 361"/>
                  <a:gd name="T35" fmla="*/ 158 h 226"/>
                  <a:gd name="T36" fmla="*/ 299 w 361"/>
                  <a:gd name="T37" fmla="*/ 164 h 226"/>
                  <a:gd name="T38" fmla="*/ 319 w 361"/>
                  <a:gd name="T39" fmla="*/ 164 h 226"/>
                  <a:gd name="T40" fmla="*/ 341 w 361"/>
                  <a:gd name="T41" fmla="*/ 158 h 226"/>
                  <a:gd name="T42" fmla="*/ 333 w 361"/>
                  <a:gd name="T43" fmla="*/ 144 h 226"/>
                  <a:gd name="T44" fmla="*/ 327 w 361"/>
                  <a:gd name="T45" fmla="*/ 130 h 226"/>
                  <a:gd name="T46" fmla="*/ 305 w 361"/>
                  <a:gd name="T47" fmla="*/ 138 h 226"/>
                  <a:gd name="T48" fmla="*/ 305 w 361"/>
                  <a:gd name="T49" fmla="*/ 116 h 226"/>
                  <a:gd name="T50" fmla="*/ 319 w 361"/>
                  <a:gd name="T51" fmla="*/ 110 h 226"/>
                  <a:gd name="T52" fmla="*/ 327 w 361"/>
                  <a:gd name="T53" fmla="*/ 96 h 226"/>
                  <a:gd name="T54" fmla="*/ 319 w 361"/>
                  <a:gd name="T55" fmla="*/ 76 h 226"/>
                  <a:gd name="T56" fmla="*/ 327 w 361"/>
                  <a:gd name="T57" fmla="*/ 62 h 226"/>
                  <a:gd name="T58" fmla="*/ 341 w 361"/>
                  <a:gd name="T59" fmla="*/ 48 h 226"/>
                  <a:gd name="T60" fmla="*/ 361 w 361"/>
                  <a:gd name="T61" fmla="*/ 42 h 226"/>
                  <a:gd name="T62" fmla="*/ 353 w 361"/>
                  <a:gd name="T63" fmla="*/ 20 h 226"/>
                  <a:gd name="T64" fmla="*/ 319 w 361"/>
                  <a:gd name="T65" fmla="*/ 8 h 226"/>
                  <a:gd name="T66" fmla="*/ 307 w 361"/>
                  <a:gd name="T67" fmla="*/ 8 h 226"/>
                  <a:gd name="T68" fmla="*/ 285 w 361"/>
                  <a:gd name="T69" fmla="*/ 6 h 226"/>
                  <a:gd name="T70" fmla="*/ 265 w 361"/>
                  <a:gd name="T71" fmla="*/ 6 h 226"/>
                  <a:gd name="T72" fmla="*/ 228 w 361"/>
                  <a:gd name="T73" fmla="*/ 6 h 226"/>
                  <a:gd name="T74" fmla="*/ 208 w 361"/>
                  <a:gd name="T75" fmla="*/ 28 h 226"/>
                  <a:gd name="T76" fmla="*/ 180 w 361"/>
                  <a:gd name="T77" fmla="*/ 48 h 226"/>
                  <a:gd name="T78" fmla="*/ 160 w 361"/>
                  <a:gd name="T79" fmla="*/ 54 h 226"/>
                  <a:gd name="T80" fmla="*/ 140 w 361"/>
                  <a:gd name="T81" fmla="*/ 48 h 226"/>
                  <a:gd name="T82" fmla="*/ 118 w 361"/>
                  <a:gd name="T83" fmla="*/ 48 h 226"/>
                  <a:gd name="T84" fmla="*/ 90 w 361"/>
                  <a:gd name="T85" fmla="*/ 48 h 226"/>
                  <a:gd name="T86" fmla="*/ 70 w 361"/>
                  <a:gd name="T87" fmla="*/ 42 h 226"/>
                  <a:gd name="T88" fmla="*/ 42 w 361"/>
                  <a:gd name="T89" fmla="*/ 42 h 226"/>
                  <a:gd name="T90" fmla="*/ 36 w 361"/>
                  <a:gd name="T91" fmla="*/ 28 h 226"/>
                  <a:gd name="T92" fmla="*/ 22 w 361"/>
                  <a:gd name="T93" fmla="*/ 14 h 226"/>
                  <a:gd name="T94" fmla="*/ 14 w 361"/>
                  <a:gd name="T95" fmla="*/ 28 h 226"/>
                  <a:gd name="T96" fmla="*/ 0 w 361"/>
                  <a:gd name="T97" fmla="*/ 34 h 226"/>
                  <a:gd name="T98" fmla="*/ 8 w 361"/>
                  <a:gd name="T99" fmla="*/ 62 h 226"/>
                  <a:gd name="T100" fmla="*/ 14 w 361"/>
                  <a:gd name="T101" fmla="*/ 76 h 226"/>
                  <a:gd name="T102" fmla="*/ 28 w 361"/>
                  <a:gd name="T103" fmla="*/ 76 h 226"/>
                  <a:gd name="T104" fmla="*/ 28 w 361"/>
                  <a:gd name="T105" fmla="*/ 90 h 226"/>
                  <a:gd name="T106" fmla="*/ 14 w 361"/>
                  <a:gd name="T107" fmla="*/ 102 h 226"/>
                  <a:gd name="T108" fmla="*/ 14 w 361"/>
                  <a:gd name="T109" fmla="*/ 124 h 226"/>
                  <a:gd name="T110" fmla="*/ 8 w 361"/>
                  <a:gd name="T111" fmla="*/ 138 h 226"/>
                  <a:gd name="T112" fmla="*/ 8 w 361"/>
                  <a:gd name="T113" fmla="*/ 158 h 226"/>
                  <a:gd name="T114" fmla="*/ 28 w 361"/>
                  <a:gd name="T115" fmla="*/ 172 h 226"/>
                  <a:gd name="T116" fmla="*/ 42 w 361"/>
                  <a:gd name="T117" fmla="*/ 186 h 226"/>
                  <a:gd name="T118" fmla="*/ 48 w 361"/>
                  <a:gd name="T119" fmla="*/ 200 h 226"/>
                  <a:gd name="T120" fmla="*/ 42 w 361"/>
                  <a:gd name="T121" fmla="*/ 212 h 226"/>
                  <a:gd name="T122" fmla="*/ 42 w 361"/>
                  <a:gd name="T123" fmla="*/ 22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1" h="226">
                    <a:moveTo>
                      <a:pt x="42" y="220"/>
                    </a:moveTo>
                    <a:lnTo>
                      <a:pt x="56" y="220"/>
                    </a:lnTo>
                    <a:lnTo>
                      <a:pt x="70" y="220"/>
                    </a:lnTo>
                    <a:lnTo>
                      <a:pt x="84" y="220"/>
                    </a:lnTo>
                    <a:lnTo>
                      <a:pt x="98" y="220"/>
                    </a:lnTo>
                    <a:lnTo>
                      <a:pt x="104" y="226"/>
                    </a:lnTo>
                    <a:lnTo>
                      <a:pt x="118" y="220"/>
                    </a:lnTo>
                    <a:lnTo>
                      <a:pt x="118" y="212"/>
                    </a:lnTo>
                    <a:lnTo>
                      <a:pt x="124" y="212"/>
                    </a:lnTo>
                    <a:lnTo>
                      <a:pt x="132" y="206"/>
                    </a:lnTo>
                    <a:lnTo>
                      <a:pt x="140" y="212"/>
                    </a:lnTo>
                    <a:lnTo>
                      <a:pt x="140" y="206"/>
                    </a:lnTo>
                    <a:lnTo>
                      <a:pt x="146" y="206"/>
                    </a:lnTo>
                    <a:lnTo>
                      <a:pt x="152" y="212"/>
                    </a:lnTo>
                    <a:lnTo>
                      <a:pt x="160" y="212"/>
                    </a:lnTo>
                    <a:lnTo>
                      <a:pt x="160" y="220"/>
                    </a:lnTo>
                    <a:lnTo>
                      <a:pt x="174" y="212"/>
                    </a:lnTo>
                    <a:lnTo>
                      <a:pt x="180" y="212"/>
                    </a:lnTo>
                    <a:lnTo>
                      <a:pt x="186" y="212"/>
                    </a:lnTo>
                    <a:lnTo>
                      <a:pt x="202" y="212"/>
                    </a:lnTo>
                    <a:lnTo>
                      <a:pt x="208" y="206"/>
                    </a:lnTo>
                    <a:lnTo>
                      <a:pt x="222" y="206"/>
                    </a:lnTo>
                    <a:lnTo>
                      <a:pt x="236" y="206"/>
                    </a:lnTo>
                    <a:lnTo>
                      <a:pt x="243" y="200"/>
                    </a:lnTo>
                    <a:lnTo>
                      <a:pt x="236" y="192"/>
                    </a:lnTo>
                    <a:lnTo>
                      <a:pt x="236" y="186"/>
                    </a:lnTo>
                    <a:lnTo>
                      <a:pt x="243" y="186"/>
                    </a:lnTo>
                    <a:lnTo>
                      <a:pt x="251" y="186"/>
                    </a:lnTo>
                    <a:lnTo>
                      <a:pt x="251" y="178"/>
                    </a:lnTo>
                    <a:lnTo>
                      <a:pt x="259" y="178"/>
                    </a:lnTo>
                    <a:lnTo>
                      <a:pt x="261" y="166"/>
                    </a:lnTo>
                    <a:lnTo>
                      <a:pt x="269" y="166"/>
                    </a:lnTo>
                    <a:lnTo>
                      <a:pt x="271" y="164"/>
                    </a:lnTo>
                    <a:lnTo>
                      <a:pt x="279" y="158"/>
                    </a:lnTo>
                    <a:lnTo>
                      <a:pt x="285" y="158"/>
                    </a:lnTo>
                    <a:lnTo>
                      <a:pt x="293" y="158"/>
                    </a:lnTo>
                    <a:lnTo>
                      <a:pt x="299" y="158"/>
                    </a:lnTo>
                    <a:lnTo>
                      <a:pt x="299" y="164"/>
                    </a:lnTo>
                    <a:lnTo>
                      <a:pt x="305" y="164"/>
                    </a:lnTo>
                    <a:lnTo>
                      <a:pt x="319" y="164"/>
                    </a:lnTo>
                    <a:lnTo>
                      <a:pt x="341" y="164"/>
                    </a:lnTo>
                    <a:lnTo>
                      <a:pt x="341" y="158"/>
                    </a:lnTo>
                    <a:lnTo>
                      <a:pt x="341" y="144"/>
                    </a:lnTo>
                    <a:lnTo>
                      <a:pt x="333" y="144"/>
                    </a:lnTo>
                    <a:lnTo>
                      <a:pt x="327" y="138"/>
                    </a:lnTo>
                    <a:lnTo>
                      <a:pt x="327" y="130"/>
                    </a:lnTo>
                    <a:lnTo>
                      <a:pt x="313" y="130"/>
                    </a:lnTo>
                    <a:lnTo>
                      <a:pt x="305" y="138"/>
                    </a:lnTo>
                    <a:lnTo>
                      <a:pt x="305" y="124"/>
                    </a:lnTo>
                    <a:lnTo>
                      <a:pt x="305" y="116"/>
                    </a:lnTo>
                    <a:lnTo>
                      <a:pt x="313" y="110"/>
                    </a:lnTo>
                    <a:lnTo>
                      <a:pt x="319" y="110"/>
                    </a:lnTo>
                    <a:lnTo>
                      <a:pt x="319" y="102"/>
                    </a:lnTo>
                    <a:lnTo>
                      <a:pt x="327" y="96"/>
                    </a:lnTo>
                    <a:lnTo>
                      <a:pt x="319" y="90"/>
                    </a:lnTo>
                    <a:lnTo>
                      <a:pt x="319" y="76"/>
                    </a:lnTo>
                    <a:lnTo>
                      <a:pt x="327" y="76"/>
                    </a:lnTo>
                    <a:lnTo>
                      <a:pt x="327" y="62"/>
                    </a:lnTo>
                    <a:lnTo>
                      <a:pt x="327" y="48"/>
                    </a:lnTo>
                    <a:lnTo>
                      <a:pt x="341" y="48"/>
                    </a:lnTo>
                    <a:lnTo>
                      <a:pt x="355" y="48"/>
                    </a:lnTo>
                    <a:lnTo>
                      <a:pt x="361" y="42"/>
                    </a:lnTo>
                    <a:lnTo>
                      <a:pt x="353" y="24"/>
                    </a:lnTo>
                    <a:lnTo>
                      <a:pt x="353" y="20"/>
                    </a:lnTo>
                    <a:lnTo>
                      <a:pt x="327" y="10"/>
                    </a:lnTo>
                    <a:lnTo>
                      <a:pt x="319" y="8"/>
                    </a:lnTo>
                    <a:lnTo>
                      <a:pt x="313" y="8"/>
                    </a:lnTo>
                    <a:lnTo>
                      <a:pt x="307" y="8"/>
                    </a:lnTo>
                    <a:lnTo>
                      <a:pt x="291" y="10"/>
                    </a:lnTo>
                    <a:lnTo>
                      <a:pt x="285" y="6"/>
                    </a:lnTo>
                    <a:lnTo>
                      <a:pt x="271" y="6"/>
                    </a:lnTo>
                    <a:lnTo>
                      <a:pt x="265" y="6"/>
                    </a:lnTo>
                    <a:lnTo>
                      <a:pt x="257" y="0"/>
                    </a:lnTo>
                    <a:lnTo>
                      <a:pt x="228" y="6"/>
                    </a:lnTo>
                    <a:lnTo>
                      <a:pt x="222" y="14"/>
                    </a:lnTo>
                    <a:lnTo>
                      <a:pt x="208" y="28"/>
                    </a:lnTo>
                    <a:lnTo>
                      <a:pt x="194" y="42"/>
                    </a:lnTo>
                    <a:lnTo>
                      <a:pt x="180" y="48"/>
                    </a:lnTo>
                    <a:lnTo>
                      <a:pt x="174" y="54"/>
                    </a:lnTo>
                    <a:lnTo>
                      <a:pt x="160" y="54"/>
                    </a:lnTo>
                    <a:lnTo>
                      <a:pt x="146" y="48"/>
                    </a:lnTo>
                    <a:lnTo>
                      <a:pt x="140" y="48"/>
                    </a:lnTo>
                    <a:lnTo>
                      <a:pt x="124" y="48"/>
                    </a:lnTo>
                    <a:lnTo>
                      <a:pt x="118" y="48"/>
                    </a:lnTo>
                    <a:lnTo>
                      <a:pt x="104" y="48"/>
                    </a:lnTo>
                    <a:lnTo>
                      <a:pt x="90" y="48"/>
                    </a:lnTo>
                    <a:lnTo>
                      <a:pt x="84" y="42"/>
                    </a:lnTo>
                    <a:lnTo>
                      <a:pt x="70" y="42"/>
                    </a:lnTo>
                    <a:lnTo>
                      <a:pt x="56" y="42"/>
                    </a:lnTo>
                    <a:lnTo>
                      <a:pt x="42" y="42"/>
                    </a:lnTo>
                    <a:lnTo>
                      <a:pt x="36" y="34"/>
                    </a:lnTo>
                    <a:lnTo>
                      <a:pt x="36" y="28"/>
                    </a:lnTo>
                    <a:lnTo>
                      <a:pt x="36" y="14"/>
                    </a:lnTo>
                    <a:lnTo>
                      <a:pt x="22" y="14"/>
                    </a:lnTo>
                    <a:lnTo>
                      <a:pt x="28" y="14"/>
                    </a:lnTo>
                    <a:lnTo>
                      <a:pt x="14" y="28"/>
                    </a:lnTo>
                    <a:lnTo>
                      <a:pt x="8" y="34"/>
                    </a:lnTo>
                    <a:lnTo>
                      <a:pt x="0" y="34"/>
                    </a:lnTo>
                    <a:lnTo>
                      <a:pt x="8" y="48"/>
                    </a:lnTo>
                    <a:lnTo>
                      <a:pt x="8" y="62"/>
                    </a:lnTo>
                    <a:lnTo>
                      <a:pt x="14" y="68"/>
                    </a:lnTo>
                    <a:lnTo>
                      <a:pt x="14" y="76"/>
                    </a:lnTo>
                    <a:lnTo>
                      <a:pt x="22" y="76"/>
                    </a:lnTo>
                    <a:lnTo>
                      <a:pt x="28" y="76"/>
                    </a:lnTo>
                    <a:lnTo>
                      <a:pt x="36" y="82"/>
                    </a:lnTo>
                    <a:lnTo>
                      <a:pt x="28" y="90"/>
                    </a:lnTo>
                    <a:lnTo>
                      <a:pt x="28" y="96"/>
                    </a:lnTo>
                    <a:lnTo>
                      <a:pt x="14" y="102"/>
                    </a:lnTo>
                    <a:lnTo>
                      <a:pt x="14" y="110"/>
                    </a:lnTo>
                    <a:lnTo>
                      <a:pt x="14" y="124"/>
                    </a:lnTo>
                    <a:lnTo>
                      <a:pt x="8" y="124"/>
                    </a:lnTo>
                    <a:lnTo>
                      <a:pt x="8" y="138"/>
                    </a:lnTo>
                    <a:lnTo>
                      <a:pt x="8" y="144"/>
                    </a:lnTo>
                    <a:lnTo>
                      <a:pt x="8" y="158"/>
                    </a:lnTo>
                    <a:lnTo>
                      <a:pt x="22" y="164"/>
                    </a:lnTo>
                    <a:lnTo>
                      <a:pt x="28" y="172"/>
                    </a:lnTo>
                    <a:lnTo>
                      <a:pt x="36" y="178"/>
                    </a:lnTo>
                    <a:lnTo>
                      <a:pt x="42" y="186"/>
                    </a:lnTo>
                    <a:lnTo>
                      <a:pt x="48" y="192"/>
                    </a:lnTo>
                    <a:lnTo>
                      <a:pt x="48" y="200"/>
                    </a:lnTo>
                    <a:lnTo>
                      <a:pt x="48" y="206"/>
                    </a:lnTo>
                    <a:lnTo>
                      <a:pt x="42" y="212"/>
                    </a:lnTo>
                    <a:lnTo>
                      <a:pt x="42" y="220"/>
                    </a:lnTo>
                    <a:lnTo>
                      <a:pt x="42" y="220"/>
                    </a:lnTo>
                    <a:lnTo>
                      <a:pt x="42" y="220"/>
                    </a:lnTo>
                    <a:close/>
                  </a:path>
                </a:pathLst>
              </a:custGeom>
              <a:solidFill>
                <a:srgbClr val="24892C"/>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0" name="Freeform 64"/>
              <p:cNvSpPr>
                <a:spLocks/>
              </p:cNvSpPr>
              <p:nvPr>
                <p:custDataLst>
                  <p:tags r:id="rId147"/>
                </p:custDataLst>
              </p:nvPr>
            </p:nvSpPr>
            <p:spPr bwMode="gray">
              <a:xfrm>
                <a:off x="5347919" y="3454265"/>
                <a:ext cx="792339" cy="590681"/>
              </a:xfrm>
              <a:custGeom>
                <a:avLst/>
                <a:gdLst>
                  <a:gd name="T0" fmla="*/ 110 w 499"/>
                  <a:gd name="T1" fmla="*/ 312 h 372"/>
                  <a:gd name="T2" fmla="*/ 110 w 499"/>
                  <a:gd name="T3" fmla="*/ 292 h 372"/>
                  <a:gd name="T4" fmla="*/ 76 w 499"/>
                  <a:gd name="T5" fmla="*/ 300 h 372"/>
                  <a:gd name="T6" fmla="*/ 48 w 499"/>
                  <a:gd name="T7" fmla="*/ 292 h 372"/>
                  <a:gd name="T8" fmla="*/ 40 w 499"/>
                  <a:gd name="T9" fmla="*/ 278 h 372"/>
                  <a:gd name="T10" fmla="*/ 40 w 499"/>
                  <a:gd name="T11" fmla="*/ 258 h 372"/>
                  <a:gd name="T12" fmla="*/ 20 w 499"/>
                  <a:gd name="T13" fmla="*/ 250 h 372"/>
                  <a:gd name="T14" fmla="*/ 12 w 499"/>
                  <a:gd name="T15" fmla="*/ 224 h 372"/>
                  <a:gd name="T16" fmla="*/ 6 w 499"/>
                  <a:gd name="T17" fmla="*/ 202 h 372"/>
                  <a:gd name="T18" fmla="*/ 6 w 499"/>
                  <a:gd name="T19" fmla="*/ 190 h 372"/>
                  <a:gd name="T20" fmla="*/ 28 w 499"/>
                  <a:gd name="T21" fmla="*/ 162 h 372"/>
                  <a:gd name="T22" fmla="*/ 42 w 499"/>
                  <a:gd name="T23" fmla="*/ 142 h 372"/>
                  <a:gd name="T24" fmla="*/ 62 w 499"/>
                  <a:gd name="T25" fmla="*/ 126 h 372"/>
                  <a:gd name="T26" fmla="*/ 68 w 499"/>
                  <a:gd name="T27" fmla="*/ 86 h 372"/>
                  <a:gd name="T28" fmla="*/ 90 w 499"/>
                  <a:gd name="T29" fmla="*/ 72 h 372"/>
                  <a:gd name="T30" fmla="*/ 110 w 499"/>
                  <a:gd name="T31" fmla="*/ 52 h 372"/>
                  <a:gd name="T32" fmla="*/ 112 w 499"/>
                  <a:gd name="T33" fmla="*/ 24 h 372"/>
                  <a:gd name="T34" fmla="*/ 154 w 499"/>
                  <a:gd name="T35" fmla="*/ 32 h 372"/>
                  <a:gd name="T36" fmla="*/ 180 w 499"/>
                  <a:gd name="T37" fmla="*/ 30 h 372"/>
                  <a:gd name="T38" fmla="*/ 220 w 499"/>
                  <a:gd name="T39" fmla="*/ 36 h 372"/>
                  <a:gd name="T40" fmla="*/ 248 w 499"/>
                  <a:gd name="T41" fmla="*/ 20 h 372"/>
                  <a:gd name="T42" fmla="*/ 274 w 499"/>
                  <a:gd name="T43" fmla="*/ 16 h 372"/>
                  <a:gd name="T44" fmla="*/ 310 w 499"/>
                  <a:gd name="T45" fmla="*/ 6 h 372"/>
                  <a:gd name="T46" fmla="*/ 353 w 499"/>
                  <a:gd name="T47" fmla="*/ 30 h 372"/>
                  <a:gd name="T48" fmla="*/ 381 w 499"/>
                  <a:gd name="T49" fmla="*/ 64 h 372"/>
                  <a:gd name="T50" fmla="*/ 395 w 499"/>
                  <a:gd name="T51" fmla="*/ 92 h 372"/>
                  <a:gd name="T52" fmla="*/ 415 w 499"/>
                  <a:gd name="T53" fmla="*/ 120 h 372"/>
                  <a:gd name="T54" fmla="*/ 409 w 499"/>
                  <a:gd name="T55" fmla="*/ 140 h 372"/>
                  <a:gd name="T56" fmla="*/ 415 w 499"/>
                  <a:gd name="T57" fmla="*/ 160 h 372"/>
                  <a:gd name="T58" fmla="*/ 415 w 499"/>
                  <a:gd name="T59" fmla="*/ 196 h 372"/>
                  <a:gd name="T60" fmla="*/ 445 w 499"/>
                  <a:gd name="T61" fmla="*/ 208 h 372"/>
                  <a:gd name="T62" fmla="*/ 459 w 499"/>
                  <a:gd name="T63" fmla="*/ 200 h 372"/>
                  <a:gd name="T64" fmla="*/ 485 w 499"/>
                  <a:gd name="T65" fmla="*/ 208 h 372"/>
                  <a:gd name="T66" fmla="*/ 499 w 499"/>
                  <a:gd name="T67" fmla="*/ 236 h 372"/>
                  <a:gd name="T68" fmla="*/ 485 w 499"/>
                  <a:gd name="T69" fmla="*/ 258 h 372"/>
                  <a:gd name="T70" fmla="*/ 471 w 499"/>
                  <a:gd name="T71" fmla="*/ 250 h 372"/>
                  <a:gd name="T72" fmla="*/ 457 w 499"/>
                  <a:gd name="T73" fmla="*/ 258 h 372"/>
                  <a:gd name="T74" fmla="*/ 457 w 499"/>
                  <a:gd name="T75" fmla="*/ 278 h 372"/>
                  <a:gd name="T76" fmla="*/ 451 w 499"/>
                  <a:gd name="T77" fmla="*/ 292 h 372"/>
                  <a:gd name="T78" fmla="*/ 457 w 499"/>
                  <a:gd name="T79" fmla="*/ 320 h 372"/>
                  <a:gd name="T80" fmla="*/ 449 w 499"/>
                  <a:gd name="T81" fmla="*/ 342 h 372"/>
                  <a:gd name="T82" fmla="*/ 409 w 499"/>
                  <a:gd name="T83" fmla="*/ 326 h 372"/>
                  <a:gd name="T84" fmla="*/ 381 w 499"/>
                  <a:gd name="T85" fmla="*/ 324 h 372"/>
                  <a:gd name="T86" fmla="*/ 353 w 499"/>
                  <a:gd name="T87" fmla="*/ 316 h 372"/>
                  <a:gd name="T88" fmla="*/ 306 w 499"/>
                  <a:gd name="T89" fmla="*/ 342 h 372"/>
                  <a:gd name="T90" fmla="*/ 270 w 499"/>
                  <a:gd name="T91" fmla="*/ 370 h 372"/>
                  <a:gd name="T92" fmla="*/ 236 w 499"/>
                  <a:gd name="T93" fmla="*/ 366 h 372"/>
                  <a:gd name="T94" fmla="*/ 200 w 499"/>
                  <a:gd name="T95" fmla="*/ 366 h 372"/>
                  <a:gd name="T96" fmla="*/ 166 w 499"/>
                  <a:gd name="T97" fmla="*/ 360 h 372"/>
                  <a:gd name="T98" fmla="*/ 130 w 499"/>
                  <a:gd name="T99" fmla="*/ 356 h 372"/>
                  <a:gd name="T100" fmla="*/ 124 w 499"/>
                  <a:gd name="T101" fmla="*/ 334 h 372"/>
                  <a:gd name="T102" fmla="*/ 124 w 499"/>
                  <a:gd name="T103" fmla="*/ 330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99" h="372">
                    <a:moveTo>
                      <a:pt x="124" y="330"/>
                    </a:moveTo>
                    <a:lnTo>
                      <a:pt x="116" y="316"/>
                    </a:lnTo>
                    <a:lnTo>
                      <a:pt x="110" y="312"/>
                    </a:lnTo>
                    <a:lnTo>
                      <a:pt x="110" y="306"/>
                    </a:lnTo>
                    <a:lnTo>
                      <a:pt x="116" y="300"/>
                    </a:lnTo>
                    <a:lnTo>
                      <a:pt x="110" y="292"/>
                    </a:lnTo>
                    <a:lnTo>
                      <a:pt x="96" y="300"/>
                    </a:lnTo>
                    <a:lnTo>
                      <a:pt x="90" y="306"/>
                    </a:lnTo>
                    <a:lnTo>
                      <a:pt x="76" y="300"/>
                    </a:lnTo>
                    <a:lnTo>
                      <a:pt x="68" y="292"/>
                    </a:lnTo>
                    <a:lnTo>
                      <a:pt x="62" y="292"/>
                    </a:lnTo>
                    <a:lnTo>
                      <a:pt x="48" y="292"/>
                    </a:lnTo>
                    <a:lnTo>
                      <a:pt x="40" y="292"/>
                    </a:lnTo>
                    <a:lnTo>
                      <a:pt x="40" y="286"/>
                    </a:lnTo>
                    <a:lnTo>
                      <a:pt x="40" y="278"/>
                    </a:lnTo>
                    <a:lnTo>
                      <a:pt x="48" y="272"/>
                    </a:lnTo>
                    <a:lnTo>
                      <a:pt x="48" y="264"/>
                    </a:lnTo>
                    <a:lnTo>
                      <a:pt x="40" y="258"/>
                    </a:lnTo>
                    <a:lnTo>
                      <a:pt x="34" y="250"/>
                    </a:lnTo>
                    <a:lnTo>
                      <a:pt x="26" y="250"/>
                    </a:lnTo>
                    <a:lnTo>
                      <a:pt x="20" y="250"/>
                    </a:lnTo>
                    <a:lnTo>
                      <a:pt x="20" y="236"/>
                    </a:lnTo>
                    <a:lnTo>
                      <a:pt x="12" y="230"/>
                    </a:lnTo>
                    <a:lnTo>
                      <a:pt x="12" y="224"/>
                    </a:lnTo>
                    <a:lnTo>
                      <a:pt x="12" y="210"/>
                    </a:lnTo>
                    <a:lnTo>
                      <a:pt x="12" y="202"/>
                    </a:lnTo>
                    <a:lnTo>
                      <a:pt x="6" y="202"/>
                    </a:lnTo>
                    <a:lnTo>
                      <a:pt x="0" y="202"/>
                    </a:lnTo>
                    <a:lnTo>
                      <a:pt x="6" y="188"/>
                    </a:lnTo>
                    <a:lnTo>
                      <a:pt x="6" y="190"/>
                    </a:lnTo>
                    <a:lnTo>
                      <a:pt x="14" y="176"/>
                    </a:lnTo>
                    <a:lnTo>
                      <a:pt x="20" y="168"/>
                    </a:lnTo>
                    <a:lnTo>
                      <a:pt x="28" y="162"/>
                    </a:lnTo>
                    <a:lnTo>
                      <a:pt x="34" y="154"/>
                    </a:lnTo>
                    <a:lnTo>
                      <a:pt x="42" y="148"/>
                    </a:lnTo>
                    <a:lnTo>
                      <a:pt x="42" y="142"/>
                    </a:lnTo>
                    <a:lnTo>
                      <a:pt x="48" y="142"/>
                    </a:lnTo>
                    <a:lnTo>
                      <a:pt x="56" y="134"/>
                    </a:lnTo>
                    <a:lnTo>
                      <a:pt x="62" y="126"/>
                    </a:lnTo>
                    <a:lnTo>
                      <a:pt x="62" y="106"/>
                    </a:lnTo>
                    <a:lnTo>
                      <a:pt x="68" y="100"/>
                    </a:lnTo>
                    <a:lnTo>
                      <a:pt x="68" y="86"/>
                    </a:lnTo>
                    <a:lnTo>
                      <a:pt x="76" y="78"/>
                    </a:lnTo>
                    <a:lnTo>
                      <a:pt x="82" y="72"/>
                    </a:lnTo>
                    <a:lnTo>
                      <a:pt x="90" y="72"/>
                    </a:lnTo>
                    <a:lnTo>
                      <a:pt x="96" y="64"/>
                    </a:lnTo>
                    <a:lnTo>
                      <a:pt x="104" y="58"/>
                    </a:lnTo>
                    <a:lnTo>
                      <a:pt x="110" y="52"/>
                    </a:lnTo>
                    <a:lnTo>
                      <a:pt x="110" y="44"/>
                    </a:lnTo>
                    <a:lnTo>
                      <a:pt x="98" y="28"/>
                    </a:lnTo>
                    <a:lnTo>
                      <a:pt x="112" y="24"/>
                    </a:lnTo>
                    <a:lnTo>
                      <a:pt x="130" y="24"/>
                    </a:lnTo>
                    <a:lnTo>
                      <a:pt x="144" y="28"/>
                    </a:lnTo>
                    <a:lnTo>
                      <a:pt x="154" y="32"/>
                    </a:lnTo>
                    <a:lnTo>
                      <a:pt x="162" y="36"/>
                    </a:lnTo>
                    <a:lnTo>
                      <a:pt x="174" y="40"/>
                    </a:lnTo>
                    <a:lnTo>
                      <a:pt x="180" y="30"/>
                    </a:lnTo>
                    <a:lnTo>
                      <a:pt x="192" y="28"/>
                    </a:lnTo>
                    <a:lnTo>
                      <a:pt x="200" y="28"/>
                    </a:lnTo>
                    <a:lnTo>
                      <a:pt x="220" y="36"/>
                    </a:lnTo>
                    <a:lnTo>
                      <a:pt x="228" y="32"/>
                    </a:lnTo>
                    <a:lnTo>
                      <a:pt x="242" y="20"/>
                    </a:lnTo>
                    <a:lnTo>
                      <a:pt x="248" y="20"/>
                    </a:lnTo>
                    <a:lnTo>
                      <a:pt x="260" y="20"/>
                    </a:lnTo>
                    <a:lnTo>
                      <a:pt x="272" y="20"/>
                    </a:lnTo>
                    <a:lnTo>
                      <a:pt x="274" y="16"/>
                    </a:lnTo>
                    <a:lnTo>
                      <a:pt x="278" y="8"/>
                    </a:lnTo>
                    <a:lnTo>
                      <a:pt x="298" y="0"/>
                    </a:lnTo>
                    <a:lnTo>
                      <a:pt x="310" y="6"/>
                    </a:lnTo>
                    <a:lnTo>
                      <a:pt x="324" y="10"/>
                    </a:lnTo>
                    <a:lnTo>
                      <a:pt x="333" y="16"/>
                    </a:lnTo>
                    <a:lnTo>
                      <a:pt x="353" y="30"/>
                    </a:lnTo>
                    <a:lnTo>
                      <a:pt x="351" y="54"/>
                    </a:lnTo>
                    <a:lnTo>
                      <a:pt x="367" y="58"/>
                    </a:lnTo>
                    <a:lnTo>
                      <a:pt x="381" y="64"/>
                    </a:lnTo>
                    <a:lnTo>
                      <a:pt x="381" y="78"/>
                    </a:lnTo>
                    <a:lnTo>
                      <a:pt x="387" y="86"/>
                    </a:lnTo>
                    <a:lnTo>
                      <a:pt x="395" y="92"/>
                    </a:lnTo>
                    <a:lnTo>
                      <a:pt x="409" y="100"/>
                    </a:lnTo>
                    <a:lnTo>
                      <a:pt x="409" y="106"/>
                    </a:lnTo>
                    <a:lnTo>
                      <a:pt x="415" y="120"/>
                    </a:lnTo>
                    <a:lnTo>
                      <a:pt x="415" y="126"/>
                    </a:lnTo>
                    <a:lnTo>
                      <a:pt x="415" y="140"/>
                    </a:lnTo>
                    <a:lnTo>
                      <a:pt x="409" y="140"/>
                    </a:lnTo>
                    <a:lnTo>
                      <a:pt x="409" y="146"/>
                    </a:lnTo>
                    <a:lnTo>
                      <a:pt x="409" y="154"/>
                    </a:lnTo>
                    <a:lnTo>
                      <a:pt x="415" y="160"/>
                    </a:lnTo>
                    <a:lnTo>
                      <a:pt x="415" y="168"/>
                    </a:lnTo>
                    <a:lnTo>
                      <a:pt x="415" y="182"/>
                    </a:lnTo>
                    <a:lnTo>
                      <a:pt x="415" y="196"/>
                    </a:lnTo>
                    <a:lnTo>
                      <a:pt x="423" y="206"/>
                    </a:lnTo>
                    <a:lnTo>
                      <a:pt x="437" y="202"/>
                    </a:lnTo>
                    <a:lnTo>
                      <a:pt x="445" y="208"/>
                    </a:lnTo>
                    <a:lnTo>
                      <a:pt x="449" y="210"/>
                    </a:lnTo>
                    <a:lnTo>
                      <a:pt x="453" y="208"/>
                    </a:lnTo>
                    <a:lnTo>
                      <a:pt x="459" y="200"/>
                    </a:lnTo>
                    <a:lnTo>
                      <a:pt x="475" y="202"/>
                    </a:lnTo>
                    <a:lnTo>
                      <a:pt x="479" y="206"/>
                    </a:lnTo>
                    <a:lnTo>
                      <a:pt x="485" y="208"/>
                    </a:lnTo>
                    <a:lnTo>
                      <a:pt x="493" y="220"/>
                    </a:lnTo>
                    <a:lnTo>
                      <a:pt x="499" y="210"/>
                    </a:lnTo>
                    <a:lnTo>
                      <a:pt x="499" y="236"/>
                    </a:lnTo>
                    <a:lnTo>
                      <a:pt x="491" y="250"/>
                    </a:lnTo>
                    <a:lnTo>
                      <a:pt x="485" y="250"/>
                    </a:lnTo>
                    <a:lnTo>
                      <a:pt x="485" y="258"/>
                    </a:lnTo>
                    <a:lnTo>
                      <a:pt x="477" y="264"/>
                    </a:lnTo>
                    <a:lnTo>
                      <a:pt x="471" y="264"/>
                    </a:lnTo>
                    <a:lnTo>
                      <a:pt x="471" y="250"/>
                    </a:lnTo>
                    <a:lnTo>
                      <a:pt x="463" y="244"/>
                    </a:lnTo>
                    <a:lnTo>
                      <a:pt x="457" y="250"/>
                    </a:lnTo>
                    <a:lnTo>
                      <a:pt x="457" y="258"/>
                    </a:lnTo>
                    <a:lnTo>
                      <a:pt x="451" y="272"/>
                    </a:lnTo>
                    <a:lnTo>
                      <a:pt x="451" y="278"/>
                    </a:lnTo>
                    <a:lnTo>
                      <a:pt x="457" y="278"/>
                    </a:lnTo>
                    <a:lnTo>
                      <a:pt x="463" y="278"/>
                    </a:lnTo>
                    <a:lnTo>
                      <a:pt x="457" y="286"/>
                    </a:lnTo>
                    <a:lnTo>
                      <a:pt x="451" y="292"/>
                    </a:lnTo>
                    <a:lnTo>
                      <a:pt x="451" y="300"/>
                    </a:lnTo>
                    <a:lnTo>
                      <a:pt x="451" y="312"/>
                    </a:lnTo>
                    <a:lnTo>
                      <a:pt x="457" y="320"/>
                    </a:lnTo>
                    <a:lnTo>
                      <a:pt x="451" y="334"/>
                    </a:lnTo>
                    <a:lnTo>
                      <a:pt x="451" y="340"/>
                    </a:lnTo>
                    <a:lnTo>
                      <a:pt x="449" y="342"/>
                    </a:lnTo>
                    <a:lnTo>
                      <a:pt x="423" y="328"/>
                    </a:lnTo>
                    <a:lnTo>
                      <a:pt x="415" y="328"/>
                    </a:lnTo>
                    <a:lnTo>
                      <a:pt x="409" y="326"/>
                    </a:lnTo>
                    <a:lnTo>
                      <a:pt x="403" y="326"/>
                    </a:lnTo>
                    <a:lnTo>
                      <a:pt x="387" y="328"/>
                    </a:lnTo>
                    <a:lnTo>
                      <a:pt x="381" y="324"/>
                    </a:lnTo>
                    <a:lnTo>
                      <a:pt x="367" y="324"/>
                    </a:lnTo>
                    <a:lnTo>
                      <a:pt x="361" y="324"/>
                    </a:lnTo>
                    <a:lnTo>
                      <a:pt x="353" y="316"/>
                    </a:lnTo>
                    <a:lnTo>
                      <a:pt x="324" y="324"/>
                    </a:lnTo>
                    <a:lnTo>
                      <a:pt x="318" y="326"/>
                    </a:lnTo>
                    <a:lnTo>
                      <a:pt x="306" y="342"/>
                    </a:lnTo>
                    <a:lnTo>
                      <a:pt x="290" y="358"/>
                    </a:lnTo>
                    <a:lnTo>
                      <a:pt x="274" y="362"/>
                    </a:lnTo>
                    <a:lnTo>
                      <a:pt x="270" y="370"/>
                    </a:lnTo>
                    <a:lnTo>
                      <a:pt x="254" y="372"/>
                    </a:lnTo>
                    <a:lnTo>
                      <a:pt x="242" y="366"/>
                    </a:lnTo>
                    <a:lnTo>
                      <a:pt x="236" y="366"/>
                    </a:lnTo>
                    <a:lnTo>
                      <a:pt x="220" y="366"/>
                    </a:lnTo>
                    <a:lnTo>
                      <a:pt x="212" y="366"/>
                    </a:lnTo>
                    <a:lnTo>
                      <a:pt x="200" y="366"/>
                    </a:lnTo>
                    <a:lnTo>
                      <a:pt x="186" y="366"/>
                    </a:lnTo>
                    <a:lnTo>
                      <a:pt x="176" y="360"/>
                    </a:lnTo>
                    <a:lnTo>
                      <a:pt x="166" y="360"/>
                    </a:lnTo>
                    <a:lnTo>
                      <a:pt x="150" y="360"/>
                    </a:lnTo>
                    <a:lnTo>
                      <a:pt x="138" y="360"/>
                    </a:lnTo>
                    <a:lnTo>
                      <a:pt x="130" y="356"/>
                    </a:lnTo>
                    <a:lnTo>
                      <a:pt x="128" y="346"/>
                    </a:lnTo>
                    <a:lnTo>
                      <a:pt x="126" y="336"/>
                    </a:lnTo>
                    <a:lnTo>
                      <a:pt x="124" y="334"/>
                    </a:lnTo>
                    <a:lnTo>
                      <a:pt x="124" y="330"/>
                    </a:lnTo>
                    <a:lnTo>
                      <a:pt x="124" y="330"/>
                    </a:lnTo>
                    <a:lnTo>
                      <a:pt x="124" y="330"/>
                    </a:lnTo>
                    <a:close/>
                  </a:path>
                </a:pathLst>
              </a:custGeom>
              <a:solidFill>
                <a:schemeClr val="bg1">
                  <a:lumMod val="85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2" name="Freeform 66"/>
              <p:cNvSpPr>
                <a:spLocks/>
              </p:cNvSpPr>
              <p:nvPr>
                <p:custDataLst>
                  <p:tags r:id="rId148"/>
                </p:custDataLst>
              </p:nvPr>
            </p:nvSpPr>
            <p:spPr bwMode="gray">
              <a:xfrm>
                <a:off x="5312987" y="4235489"/>
                <a:ext cx="604972" cy="641492"/>
              </a:xfrm>
              <a:custGeom>
                <a:avLst/>
                <a:gdLst>
                  <a:gd name="T0" fmla="*/ 214 w 381"/>
                  <a:gd name="T1" fmla="*/ 40 h 404"/>
                  <a:gd name="T2" fmla="*/ 248 w 381"/>
                  <a:gd name="T3" fmla="*/ 24 h 404"/>
                  <a:gd name="T4" fmla="*/ 278 w 381"/>
                  <a:gd name="T5" fmla="*/ 32 h 404"/>
                  <a:gd name="T6" fmla="*/ 318 w 381"/>
                  <a:gd name="T7" fmla="*/ 32 h 404"/>
                  <a:gd name="T8" fmla="*/ 348 w 381"/>
                  <a:gd name="T9" fmla="*/ 12 h 404"/>
                  <a:gd name="T10" fmla="*/ 381 w 381"/>
                  <a:gd name="T11" fmla="*/ 12 h 404"/>
                  <a:gd name="T12" fmla="*/ 369 w 381"/>
                  <a:gd name="T13" fmla="*/ 42 h 404"/>
                  <a:gd name="T14" fmla="*/ 355 w 381"/>
                  <a:gd name="T15" fmla="*/ 82 h 404"/>
                  <a:gd name="T16" fmla="*/ 292 w 381"/>
                  <a:gd name="T17" fmla="*/ 68 h 404"/>
                  <a:gd name="T18" fmla="*/ 264 w 381"/>
                  <a:gd name="T19" fmla="*/ 74 h 404"/>
                  <a:gd name="T20" fmla="*/ 242 w 381"/>
                  <a:gd name="T21" fmla="*/ 88 h 404"/>
                  <a:gd name="T22" fmla="*/ 228 w 381"/>
                  <a:gd name="T23" fmla="*/ 108 h 404"/>
                  <a:gd name="T24" fmla="*/ 242 w 381"/>
                  <a:gd name="T25" fmla="*/ 136 h 404"/>
                  <a:gd name="T26" fmla="*/ 222 w 381"/>
                  <a:gd name="T27" fmla="*/ 130 h 404"/>
                  <a:gd name="T28" fmla="*/ 208 w 381"/>
                  <a:gd name="T29" fmla="*/ 136 h 404"/>
                  <a:gd name="T30" fmla="*/ 202 w 381"/>
                  <a:gd name="T31" fmla="*/ 144 h 404"/>
                  <a:gd name="T32" fmla="*/ 180 w 381"/>
                  <a:gd name="T33" fmla="*/ 130 h 404"/>
                  <a:gd name="T34" fmla="*/ 146 w 381"/>
                  <a:gd name="T35" fmla="*/ 102 h 404"/>
                  <a:gd name="T36" fmla="*/ 146 w 381"/>
                  <a:gd name="T37" fmla="*/ 144 h 404"/>
                  <a:gd name="T38" fmla="*/ 202 w 381"/>
                  <a:gd name="T39" fmla="*/ 192 h 404"/>
                  <a:gd name="T40" fmla="*/ 180 w 381"/>
                  <a:gd name="T41" fmla="*/ 184 h 404"/>
                  <a:gd name="T42" fmla="*/ 166 w 381"/>
                  <a:gd name="T43" fmla="*/ 204 h 404"/>
                  <a:gd name="T44" fmla="*/ 174 w 381"/>
                  <a:gd name="T45" fmla="*/ 232 h 404"/>
                  <a:gd name="T46" fmla="*/ 228 w 381"/>
                  <a:gd name="T47" fmla="*/ 266 h 404"/>
                  <a:gd name="T48" fmla="*/ 236 w 381"/>
                  <a:gd name="T49" fmla="*/ 308 h 404"/>
                  <a:gd name="T50" fmla="*/ 188 w 381"/>
                  <a:gd name="T51" fmla="*/ 308 h 404"/>
                  <a:gd name="T52" fmla="*/ 214 w 381"/>
                  <a:gd name="T53" fmla="*/ 328 h 404"/>
                  <a:gd name="T54" fmla="*/ 174 w 381"/>
                  <a:gd name="T55" fmla="*/ 328 h 404"/>
                  <a:gd name="T56" fmla="*/ 174 w 381"/>
                  <a:gd name="T57" fmla="*/ 356 h 404"/>
                  <a:gd name="T58" fmla="*/ 202 w 381"/>
                  <a:gd name="T59" fmla="*/ 390 h 404"/>
                  <a:gd name="T60" fmla="*/ 158 w 381"/>
                  <a:gd name="T61" fmla="*/ 384 h 404"/>
                  <a:gd name="T62" fmla="*/ 152 w 381"/>
                  <a:gd name="T63" fmla="*/ 404 h 404"/>
                  <a:gd name="T64" fmla="*/ 124 w 381"/>
                  <a:gd name="T65" fmla="*/ 378 h 404"/>
                  <a:gd name="T66" fmla="*/ 112 w 381"/>
                  <a:gd name="T67" fmla="*/ 370 h 404"/>
                  <a:gd name="T68" fmla="*/ 90 w 381"/>
                  <a:gd name="T69" fmla="*/ 370 h 404"/>
                  <a:gd name="T70" fmla="*/ 90 w 381"/>
                  <a:gd name="T71" fmla="*/ 328 h 404"/>
                  <a:gd name="T72" fmla="*/ 62 w 381"/>
                  <a:gd name="T73" fmla="*/ 294 h 404"/>
                  <a:gd name="T74" fmla="*/ 90 w 381"/>
                  <a:gd name="T75" fmla="*/ 280 h 404"/>
                  <a:gd name="T76" fmla="*/ 124 w 381"/>
                  <a:gd name="T77" fmla="*/ 274 h 404"/>
                  <a:gd name="T78" fmla="*/ 152 w 381"/>
                  <a:gd name="T79" fmla="*/ 288 h 404"/>
                  <a:gd name="T80" fmla="*/ 166 w 381"/>
                  <a:gd name="T81" fmla="*/ 274 h 404"/>
                  <a:gd name="T82" fmla="*/ 132 w 381"/>
                  <a:gd name="T83" fmla="*/ 260 h 404"/>
                  <a:gd name="T84" fmla="*/ 82 w 381"/>
                  <a:gd name="T85" fmla="*/ 260 h 404"/>
                  <a:gd name="T86" fmla="*/ 48 w 381"/>
                  <a:gd name="T87" fmla="*/ 254 h 404"/>
                  <a:gd name="T88" fmla="*/ 42 w 381"/>
                  <a:gd name="T89" fmla="*/ 226 h 404"/>
                  <a:gd name="T90" fmla="*/ 56 w 381"/>
                  <a:gd name="T91" fmla="*/ 212 h 404"/>
                  <a:gd name="T92" fmla="*/ 28 w 381"/>
                  <a:gd name="T93" fmla="*/ 198 h 404"/>
                  <a:gd name="T94" fmla="*/ 6 w 381"/>
                  <a:gd name="T95" fmla="*/ 170 h 404"/>
                  <a:gd name="T96" fmla="*/ 34 w 381"/>
                  <a:gd name="T97" fmla="*/ 144 h 404"/>
                  <a:gd name="T98" fmla="*/ 56 w 381"/>
                  <a:gd name="T99" fmla="*/ 108 h 404"/>
                  <a:gd name="T100" fmla="*/ 48 w 381"/>
                  <a:gd name="T101" fmla="*/ 74 h 404"/>
                  <a:gd name="T102" fmla="*/ 82 w 381"/>
                  <a:gd name="T103" fmla="*/ 74 h 404"/>
                  <a:gd name="T104" fmla="*/ 132 w 381"/>
                  <a:gd name="T105" fmla="*/ 60 h 404"/>
                  <a:gd name="T106" fmla="*/ 174 w 381"/>
                  <a:gd name="T107" fmla="*/ 4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1" h="404">
                    <a:moveTo>
                      <a:pt x="158" y="40"/>
                    </a:moveTo>
                    <a:lnTo>
                      <a:pt x="174" y="40"/>
                    </a:lnTo>
                    <a:lnTo>
                      <a:pt x="188" y="40"/>
                    </a:lnTo>
                    <a:lnTo>
                      <a:pt x="202" y="40"/>
                    </a:lnTo>
                    <a:lnTo>
                      <a:pt x="214" y="40"/>
                    </a:lnTo>
                    <a:lnTo>
                      <a:pt x="222" y="46"/>
                    </a:lnTo>
                    <a:lnTo>
                      <a:pt x="232" y="40"/>
                    </a:lnTo>
                    <a:lnTo>
                      <a:pt x="228" y="32"/>
                    </a:lnTo>
                    <a:lnTo>
                      <a:pt x="234" y="30"/>
                    </a:lnTo>
                    <a:lnTo>
                      <a:pt x="248" y="24"/>
                    </a:lnTo>
                    <a:lnTo>
                      <a:pt x="256" y="30"/>
                    </a:lnTo>
                    <a:lnTo>
                      <a:pt x="262" y="24"/>
                    </a:lnTo>
                    <a:lnTo>
                      <a:pt x="264" y="24"/>
                    </a:lnTo>
                    <a:lnTo>
                      <a:pt x="270" y="32"/>
                    </a:lnTo>
                    <a:lnTo>
                      <a:pt x="278" y="32"/>
                    </a:lnTo>
                    <a:lnTo>
                      <a:pt x="278" y="40"/>
                    </a:lnTo>
                    <a:lnTo>
                      <a:pt x="292" y="32"/>
                    </a:lnTo>
                    <a:lnTo>
                      <a:pt x="298" y="32"/>
                    </a:lnTo>
                    <a:lnTo>
                      <a:pt x="304" y="32"/>
                    </a:lnTo>
                    <a:lnTo>
                      <a:pt x="318" y="32"/>
                    </a:lnTo>
                    <a:lnTo>
                      <a:pt x="326" y="26"/>
                    </a:lnTo>
                    <a:lnTo>
                      <a:pt x="340" y="26"/>
                    </a:lnTo>
                    <a:lnTo>
                      <a:pt x="355" y="26"/>
                    </a:lnTo>
                    <a:lnTo>
                      <a:pt x="352" y="20"/>
                    </a:lnTo>
                    <a:lnTo>
                      <a:pt x="348" y="12"/>
                    </a:lnTo>
                    <a:lnTo>
                      <a:pt x="348" y="6"/>
                    </a:lnTo>
                    <a:lnTo>
                      <a:pt x="361" y="0"/>
                    </a:lnTo>
                    <a:lnTo>
                      <a:pt x="371" y="6"/>
                    </a:lnTo>
                    <a:lnTo>
                      <a:pt x="375" y="12"/>
                    </a:lnTo>
                    <a:lnTo>
                      <a:pt x="381" y="12"/>
                    </a:lnTo>
                    <a:lnTo>
                      <a:pt x="381" y="20"/>
                    </a:lnTo>
                    <a:lnTo>
                      <a:pt x="381" y="26"/>
                    </a:lnTo>
                    <a:lnTo>
                      <a:pt x="375" y="32"/>
                    </a:lnTo>
                    <a:lnTo>
                      <a:pt x="379" y="40"/>
                    </a:lnTo>
                    <a:lnTo>
                      <a:pt x="369" y="42"/>
                    </a:lnTo>
                    <a:lnTo>
                      <a:pt x="371" y="46"/>
                    </a:lnTo>
                    <a:lnTo>
                      <a:pt x="367" y="60"/>
                    </a:lnTo>
                    <a:lnTo>
                      <a:pt x="361" y="68"/>
                    </a:lnTo>
                    <a:lnTo>
                      <a:pt x="361" y="74"/>
                    </a:lnTo>
                    <a:lnTo>
                      <a:pt x="355" y="82"/>
                    </a:lnTo>
                    <a:lnTo>
                      <a:pt x="346" y="82"/>
                    </a:lnTo>
                    <a:lnTo>
                      <a:pt x="340" y="74"/>
                    </a:lnTo>
                    <a:lnTo>
                      <a:pt x="318" y="74"/>
                    </a:lnTo>
                    <a:lnTo>
                      <a:pt x="304" y="68"/>
                    </a:lnTo>
                    <a:lnTo>
                      <a:pt x="292" y="68"/>
                    </a:lnTo>
                    <a:lnTo>
                      <a:pt x="284" y="68"/>
                    </a:lnTo>
                    <a:lnTo>
                      <a:pt x="292" y="74"/>
                    </a:lnTo>
                    <a:lnTo>
                      <a:pt x="284" y="82"/>
                    </a:lnTo>
                    <a:lnTo>
                      <a:pt x="270" y="82"/>
                    </a:lnTo>
                    <a:lnTo>
                      <a:pt x="264" y="74"/>
                    </a:lnTo>
                    <a:lnTo>
                      <a:pt x="256" y="68"/>
                    </a:lnTo>
                    <a:lnTo>
                      <a:pt x="250" y="74"/>
                    </a:lnTo>
                    <a:lnTo>
                      <a:pt x="250" y="82"/>
                    </a:lnTo>
                    <a:lnTo>
                      <a:pt x="250" y="88"/>
                    </a:lnTo>
                    <a:lnTo>
                      <a:pt x="242" y="88"/>
                    </a:lnTo>
                    <a:lnTo>
                      <a:pt x="222" y="88"/>
                    </a:lnTo>
                    <a:lnTo>
                      <a:pt x="214" y="88"/>
                    </a:lnTo>
                    <a:lnTo>
                      <a:pt x="214" y="94"/>
                    </a:lnTo>
                    <a:lnTo>
                      <a:pt x="222" y="102"/>
                    </a:lnTo>
                    <a:lnTo>
                      <a:pt x="228" y="108"/>
                    </a:lnTo>
                    <a:lnTo>
                      <a:pt x="242" y="116"/>
                    </a:lnTo>
                    <a:lnTo>
                      <a:pt x="256" y="122"/>
                    </a:lnTo>
                    <a:lnTo>
                      <a:pt x="264" y="122"/>
                    </a:lnTo>
                    <a:lnTo>
                      <a:pt x="256" y="130"/>
                    </a:lnTo>
                    <a:lnTo>
                      <a:pt x="242" y="136"/>
                    </a:lnTo>
                    <a:lnTo>
                      <a:pt x="228" y="136"/>
                    </a:lnTo>
                    <a:lnTo>
                      <a:pt x="228" y="122"/>
                    </a:lnTo>
                    <a:lnTo>
                      <a:pt x="222" y="122"/>
                    </a:lnTo>
                    <a:lnTo>
                      <a:pt x="214" y="122"/>
                    </a:lnTo>
                    <a:lnTo>
                      <a:pt x="222" y="130"/>
                    </a:lnTo>
                    <a:lnTo>
                      <a:pt x="228" y="144"/>
                    </a:lnTo>
                    <a:lnTo>
                      <a:pt x="236" y="144"/>
                    </a:lnTo>
                    <a:lnTo>
                      <a:pt x="236" y="150"/>
                    </a:lnTo>
                    <a:lnTo>
                      <a:pt x="214" y="144"/>
                    </a:lnTo>
                    <a:lnTo>
                      <a:pt x="208" y="136"/>
                    </a:lnTo>
                    <a:lnTo>
                      <a:pt x="202" y="130"/>
                    </a:lnTo>
                    <a:lnTo>
                      <a:pt x="194" y="122"/>
                    </a:lnTo>
                    <a:lnTo>
                      <a:pt x="194" y="130"/>
                    </a:lnTo>
                    <a:lnTo>
                      <a:pt x="194" y="136"/>
                    </a:lnTo>
                    <a:lnTo>
                      <a:pt x="202" y="144"/>
                    </a:lnTo>
                    <a:lnTo>
                      <a:pt x="214" y="150"/>
                    </a:lnTo>
                    <a:lnTo>
                      <a:pt x="214" y="156"/>
                    </a:lnTo>
                    <a:lnTo>
                      <a:pt x="202" y="150"/>
                    </a:lnTo>
                    <a:lnTo>
                      <a:pt x="188" y="144"/>
                    </a:lnTo>
                    <a:lnTo>
                      <a:pt x="180" y="130"/>
                    </a:lnTo>
                    <a:lnTo>
                      <a:pt x="174" y="116"/>
                    </a:lnTo>
                    <a:lnTo>
                      <a:pt x="166" y="108"/>
                    </a:lnTo>
                    <a:lnTo>
                      <a:pt x="166" y="94"/>
                    </a:lnTo>
                    <a:lnTo>
                      <a:pt x="158" y="94"/>
                    </a:lnTo>
                    <a:lnTo>
                      <a:pt x="146" y="102"/>
                    </a:lnTo>
                    <a:lnTo>
                      <a:pt x="138" y="108"/>
                    </a:lnTo>
                    <a:lnTo>
                      <a:pt x="146" y="116"/>
                    </a:lnTo>
                    <a:lnTo>
                      <a:pt x="146" y="122"/>
                    </a:lnTo>
                    <a:lnTo>
                      <a:pt x="146" y="130"/>
                    </a:lnTo>
                    <a:lnTo>
                      <a:pt x="146" y="144"/>
                    </a:lnTo>
                    <a:lnTo>
                      <a:pt x="152" y="150"/>
                    </a:lnTo>
                    <a:lnTo>
                      <a:pt x="166" y="156"/>
                    </a:lnTo>
                    <a:lnTo>
                      <a:pt x="174" y="170"/>
                    </a:lnTo>
                    <a:lnTo>
                      <a:pt x="194" y="192"/>
                    </a:lnTo>
                    <a:lnTo>
                      <a:pt x="202" y="192"/>
                    </a:lnTo>
                    <a:lnTo>
                      <a:pt x="194" y="204"/>
                    </a:lnTo>
                    <a:lnTo>
                      <a:pt x="188" y="204"/>
                    </a:lnTo>
                    <a:lnTo>
                      <a:pt x="188" y="198"/>
                    </a:lnTo>
                    <a:lnTo>
                      <a:pt x="188" y="192"/>
                    </a:lnTo>
                    <a:lnTo>
                      <a:pt x="180" y="184"/>
                    </a:lnTo>
                    <a:lnTo>
                      <a:pt x="166" y="184"/>
                    </a:lnTo>
                    <a:lnTo>
                      <a:pt x="158" y="184"/>
                    </a:lnTo>
                    <a:lnTo>
                      <a:pt x="152" y="192"/>
                    </a:lnTo>
                    <a:lnTo>
                      <a:pt x="158" y="204"/>
                    </a:lnTo>
                    <a:lnTo>
                      <a:pt x="166" y="204"/>
                    </a:lnTo>
                    <a:lnTo>
                      <a:pt x="166" y="212"/>
                    </a:lnTo>
                    <a:lnTo>
                      <a:pt x="158" y="220"/>
                    </a:lnTo>
                    <a:lnTo>
                      <a:pt x="152" y="226"/>
                    </a:lnTo>
                    <a:lnTo>
                      <a:pt x="158" y="232"/>
                    </a:lnTo>
                    <a:lnTo>
                      <a:pt x="174" y="232"/>
                    </a:lnTo>
                    <a:lnTo>
                      <a:pt x="188" y="240"/>
                    </a:lnTo>
                    <a:lnTo>
                      <a:pt x="202" y="246"/>
                    </a:lnTo>
                    <a:lnTo>
                      <a:pt x="208" y="246"/>
                    </a:lnTo>
                    <a:lnTo>
                      <a:pt x="214" y="260"/>
                    </a:lnTo>
                    <a:lnTo>
                      <a:pt x="228" y="266"/>
                    </a:lnTo>
                    <a:lnTo>
                      <a:pt x="236" y="266"/>
                    </a:lnTo>
                    <a:lnTo>
                      <a:pt x="236" y="280"/>
                    </a:lnTo>
                    <a:lnTo>
                      <a:pt x="236" y="294"/>
                    </a:lnTo>
                    <a:lnTo>
                      <a:pt x="236" y="302"/>
                    </a:lnTo>
                    <a:lnTo>
                      <a:pt x="236" y="308"/>
                    </a:lnTo>
                    <a:lnTo>
                      <a:pt x="222" y="302"/>
                    </a:lnTo>
                    <a:lnTo>
                      <a:pt x="214" y="288"/>
                    </a:lnTo>
                    <a:lnTo>
                      <a:pt x="208" y="288"/>
                    </a:lnTo>
                    <a:lnTo>
                      <a:pt x="194" y="302"/>
                    </a:lnTo>
                    <a:lnTo>
                      <a:pt x="188" y="308"/>
                    </a:lnTo>
                    <a:lnTo>
                      <a:pt x="188" y="314"/>
                    </a:lnTo>
                    <a:lnTo>
                      <a:pt x="194" y="322"/>
                    </a:lnTo>
                    <a:lnTo>
                      <a:pt x="202" y="322"/>
                    </a:lnTo>
                    <a:lnTo>
                      <a:pt x="214" y="314"/>
                    </a:lnTo>
                    <a:lnTo>
                      <a:pt x="214" y="328"/>
                    </a:lnTo>
                    <a:lnTo>
                      <a:pt x="202" y="336"/>
                    </a:lnTo>
                    <a:lnTo>
                      <a:pt x="188" y="342"/>
                    </a:lnTo>
                    <a:lnTo>
                      <a:pt x="180" y="342"/>
                    </a:lnTo>
                    <a:lnTo>
                      <a:pt x="174" y="336"/>
                    </a:lnTo>
                    <a:lnTo>
                      <a:pt x="174" y="328"/>
                    </a:lnTo>
                    <a:lnTo>
                      <a:pt x="166" y="322"/>
                    </a:lnTo>
                    <a:lnTo>
                      <a:pt x="158" y="322"/>
                    </a:lnTo>
                    <a:lnTo>
                      <a:pt x="158" y="336"/>
                    </a:lnTo>
                    <a:lnTo>
                      <a:pt x="166" y="342"/>
                    </a:lnTo>
                    <a:lnTo>
                      <a:pt x="174" y="356"/>
                    </a:lnTo>
                    <a:lnTo>
                      <a:pt x="180" y="356"/>
                    </a:lnTo>
                    <a:lnTo>
                      <a:pt x="180" y="370"/>
                    </a:lnTo>
                    <a:lnTo>
                      <a:pt x="188" y="378"/>
                    </a:lnTo>
                    <a:lnTo>
                      <a:pt x="188" y="384"/>
                    </a:lnTo>
                    <a:lnTo>
                      <a:pt x="202" y="390"/>
                    </a:lnTo>
                    <a:lnTo>
                      <a:pt x="202" y="398"/>
                    </a:lnTo>
                    <a:lnTo>
                      <a:pt x="174" y="398"/>
                    </a:lnTo>
                    <a:lnTo>
                      <a:pt x="166" y="398"/>
                    </a:lnTo>
                    <a:lnTo>
                      <a:pt x="166" y="384"/>
                    </a:lnTo>
                    <a:lnTo>
                      <a:pt x="158" y="384"/>
                    </a:lnTo>
                    <a:lnTo>
                      <a:pt x="158" y="370"/>
                    </a:lnTo>
                    <a:lnTo>
                      <a:pt x="152" y="378"/>
                    </a:lnTo>
                    <a:lnTo>
                      <a:pt x="152" y="384"/>
                    </a:lnTo>
                    <a:lnTo>
                      <a:pt x="152" y="390"/>
                    </a:lnTo>
                    <a:lnTo>
                      <a:pt x="152" y="404"/>
                    </a:lnTo>
                    <a:lnTo>
                      <a:pt x="146" y="404"/>
                    </a:lnTo>
                    <a:lnTo>
                      <a:pt x="138" y="390"/>
                    </a:lnTo>
                    <a:lnTo>
                      <a:pt x="132" y="390"/>
                    </a:lnTo>
                    <a:lnTo>
                      <a:pt x="124" y="384"/>
                    </a:lnTo>
                    <a:lnTo>
                      <a:pt x="124" y="378"/>
                    </a:lnTo>
                    <a:lnTo>
                      <a:pt x="124" y="370"/>
                    </a:lnTo>
                    <a:lnTo>
                      <a:pt x="124" y="364"/>
                    </a:lnTo>
                    <a:lnTo>
                      <a:pt x="118" y="356"/>
                    </a:lnTo>
                    <a:lnTo>
                      <a:pt x="112" y="364"/>
                    </a:lnTo>
                    <a:lnTo>
                      <a:pt x="112" y="370"/>
                    </a:lnTo>
                    <a:lnTo>
                      <a:pt x="118" y="378"/>
                    </a:lnTo>
                    <a:lnTo>
                      <a:pt x="112" y="384"/>
                    </a:lnTo>
                    <a:lnTo>
                      <a:pt x="104" y="384"/>
                    </a:lnTo>
                    <a:lnTo>
                      <a:pt x="96" y="384"/>
                    </a:lnTo>
                    <a:lnTo>
                      <a:pt x="90" y="370"/>
                    </a:lnTo>
                    <a:lnTo>
                      <a:pt x="90" y="364"/>
                    </a:lnTo>
                    <a:lnTo>
                      <a:pt x="90" y="356"/>
                    </a:lnTo>
                    <a:lnTo>
                      <a:pt x="82" y="350"/>
                    </a:lnTo>
                    <a:lnTo>
                      <a:pt x="90" y="342"/>
                    </a:lnTo>
                    <a:lnTo>
                      <a:pt x="90" y="328"/>
                    </a:lnTo>
                    <a:lnTo>
                      <a:pt x="90" y="322"/>
                    </a:lnTo>
                    <a:lnTo>
                      <a:pt x="82" y="314"/>
                    </a:lnTo>
                    <a:lnTo>
                      <a:pt x="76" y="308"/>
                    </a:lnTo>
                    <a:lnTo>
                      <a:pt x="70" y="308"/>
                    </a:lnTo>
                    <a:lnTo>
                      <a:pt x="62" y="294"/>
                    </a:lnTo>
                    <a:lnTo>
                      <a:pt x="62" y="288"/>
                    </a:lnTo>
                    <a:lnTo>
                      <a:pt x="70" y="280"/>
                    </a:lnTo>
                    <a:lnTo>
                      <a:pt x="76" y="280"/>
                    </a:lnTo>
                    <a:lnTo>
                      <a:pt x="82" y="280"/>
                    </a:lnTo>
                    <a:lnTo>
                      <a:pt x="90" y="280"/>
                    </a:lnTo>
                    <a:lnTo>
                      <a:pt x="96" y="280"/>
                    </a:lnTo>
                    <a:lnTo>
                      <a:pt x="104" y="274"/>
                    </a:lnTo>
                    <a:lnTo>
                      <a:pt x="112" y="274"/>
                    </a:lnTo>
                    <a:lnTo>
                      <a:pt x="118" y="274"/>
                    </a:lnTo>
                    <a:lnTo>
                      <a:pt x="124" y="274"/>
                    </a:lnTo>
                    <a:lnTo>
                      <a:pt x="132" y="274"/>
                    </a:lnTo>
                    <a:lnTo>
                      <a:pt x="132" y="280"/>
                    </a:lnTo>
                    <a:lnTo>
                      <a:pt x="146" y="274"/>
                    </a:lnTo>
                    <a:lnTo>
                      <a:pt x="152" y="280"/>
                    </a:lnTo>
                    <a:lnTo>
                      <a:pt x="152" y="288"/>
                    </a:lnTo>
                    <a:lnTo>
                      <a:pt x="158" y="294"/>
                    </a:lnTo>
                    <a:lnTo>
                      <a:pt x="166" y="288"/>
                    </a:lnTo>
                    <a:lnTo>
                      <a:pt x="174" y="288"/>
                    </a:lnTo>
                    <a:lnTo>
                      <a:pt x="180" y="280"/>
                    </a:lnTo>
                    <a:lnTo>
                      <a:pt x="166" y="274"/>
                    </a:lnTo>
                    <a:lnTo>
                      <a:pt x="158" y="266"/>
                    </a:lnTo>
                    <a:lnTo>
                      <a:pt x="152" y="260"/>
                    </a:lnTo>
                    <a:lnTo>
                      <a:pt x="138" y="260"/>
                    </a:lnTo>
                    <a:lnTo>
                      <a:pt x="138" y="266"/>
                    </a:lnTo>
                    <a:lnTo>
                      <a:pt x="132" y="260"/>
                    </a:lnTo>
                    <a:lnTo>
                      <a:pt x="124" y="254"/>
                    </a:lnTo>
                    <a:lnTo>
                      <a:pt x="112" y="254"/>
                    </a:lnTo>
                    <a:lnTo>
                      <a:pt x="104" y="254"/>
                    </a:lnTo>
                    <a:lnTo>
                      <a:pt x="96" y="254"/>
                    </a:lnTo>
                    <a:lnTo>
                      <a:pt x="82" y="260"/>
                    </a:lnTo>
                    <a:lnTo>
                      <a:pt x="82" y="254"/>
                    </a:lnTo>
                    <a:lnTo>
                      <a:pt x="76" y="254"/>
                    </a:lnTo>
                    <a:lnTo>
                      <a:pt x="70" y="254"/>
                    </a:lnTo>
                    <a:lnTo>
                      <a:pt x="62" y="260"/>
                    </a:lnTo>
                    <a:lnTo>
                      <a:pt x="48" y="254"/>
                    </a:lnTo>
                    <a:lnTo>
                      <a:pt x="42" y="254"/>
                    </a:lnTo>
                    <a:lnTo>
                      <a:pt x="42" y="246"/>
                    </a:lnTo>
                    <a:lnTo>
                      <a:pt x="42" y="240"/>
                    </a:lnTo>
                    <a:lnTo>
                      <a:pt x="34" y="232"/>
                    </a:lnTo>
                    <a:lnTo>
                      <a:pt x="42" y="226"/>
                    </a:lnTo>
                    <a:lnTo>
                      <a:pt x="48" y="226"/>
                    </a:lnTo>
                    <a:lnTo>
                      <a:pt x="62" y="226"/>
                    </a:lnTo>
                    <a:lnTo>
                      <a:pt x="62" y="220"/>
                    </a:lnTo>
                    <a:lnTo>
                      <a:pt x="62" y="212"/>
                    </a:lnTo>
                    <a:lnTo>
                      <a:pt x="56" y="212"/>
                    </a:lnTo>
                    <a:lnTo>
                      <a:pt x="48" y="212"/>
                    </a:lnTo>
                    <a:lnTo>
                      <a:pt x="42" y="212"/>
                    </a:lnTo>
                    <a:lnTo>
                      <a:pt x="34" y="220"/>
                    </a:lnTo>
                    <a:lnTo>
                      <a:pt x="28" y="212"/>
                    </a:lnTo>
                    <a:lnTo>
                      <a:pt x="28" y="198"/>
                    </a:lnTo>
                    <a:lnTo>
                      <a:pt x="28" y="192"/>
                    </a:lnTo>
                    <a:lnTo>
                      <a:pt x="14" y="192"/>
                    </a:lnTo>
                    <a:lnTo>
                      <a:pt x="6" y="184"/>
                    </a:lnTo>
                    <a:lnTo>
                      <a:pt x="0" y="170"/>
                    </a:lnTo>
                    <a:lnTo>
                      <a:pt x="6" y="170"/>
                    </a:lnTo>
                    <a:lnTo>
                      <a:pt x="6" y="164"/>
                    </a:lnTo>
                    <a:lnTo>
                      <a:pt x="6" y="156"/>
                    </a:lnTo>
                    <a:lnTo>
                      <a:pt x="14" y="150"/>
                    </a:lnTo>
                    <a:lnTo>
                      <a:pt x="22" y="150"/>
                    </a:lnTo>
                    <a:lnTo>
                      <a:pt x="34" y="144"/>
                    </a:lnTo>
                    <a:lnTo>
                      <a:pt x="28" y="136"/>
                    </a:lnTo>
                    <a:lnTo>
                      <a:pt x="34" y="136"/>
                    </a:lnTo>
                    <a:lnTo>
                      <a:pt x="42" y="130"/>
                    </a:lnTo>
                    <a:lnTo>
                      <a:pt x="48" y="116"/>
                    </a:lnTo>
                    <a:lnTo>
                      <a:pt x="56" y="108"/>
                    </a:lnTo>
                    <a:lnTo>
                      <a:pt x="56" y="102"/>
                    </a:lnTo>
                    <a:lnTo>
                      <a:pt x="56" y="94"/>
                    </a:lnTo>
                    <a:lnTo>
                      <a:pt x="48" y="88"/>
                    </a:lnTo>
                    <a:lnTo>
                      <a:pt x="42" y="82"/>
                    </a:lnTo>
                    <a:lnTo>
                      <a:pt x="48" y="74"/>
                    </a:lnTo>
                    <a:lnTo>
                      <a:pt x="56" y="74"/>
                    </a:lnTo>
                    <a:lnTo>
                      <a:pt x="56" y="68"/>
                    </a:lnTo>
                    <a:lnTo>
                      <a:pt x="62" y="74"/>
                    </a:lnTo>
                    <a:lnTo>
                      <a:pt x="76" y="74"/>
                    </a:lnTo>
                    <a:lnTo>
                      <a:pt x="82" y="74"/>
                    </a:lnTo>
                    <a:lnTo>
                      <a:pt x="96" y="68"/>
                    </a:lnTo>
                    <a:lnTo>
                      <a:pt x="112" y="68"/>
                    </a:lnTo>
                    <a:lnTo>
                      <a:pt x="118" y="60"/>
                    </a:lnTo>
                    <a:lnTo>
                      <a:pt x="124" y="54"/>
                    </a:lnTo>
                    <a:lnTo>
                      <a:pt x="132" y="60"/>
                    </a:lnTo>
                    <a:lnTo>
                      <a:pt x="138" y="60"/>
                    </a:lnTo>
                    <a:lnTo>
                      <a:pt x="146" y="60"/>
                    </a:lnTo>
                    <a:lnTo>
                      <a:pt x="152" y="54"/>
                    </a:lnTo>
                    <a:lnTo>
                      <a:pt x="158" y="46"/>
                    </a:lnTo>
                    <a:lnTo>
                      <a:pt x="174" y="40"/>
                    </a:lnTo>
                    <a:lnTo>
                      <a:pt x="158" y="40"/>
                    </a:lnTo>
                    <a:lnTo>
                      <a:pt x="158" y="40"/>
                    </a:lnTo>
                    <a:lnTo>
                      <a:pt x="158" y="40"/>
                    </a:lnTo>
                    <a:close/>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3" name="Freeform 69"/>
              <p:cNvSpPr>
                <a:spLocks/>
              </p:cNvSpPr>
              <p:nvPr/>
            </p:nvSpPr>
            <p:spPr bwMode="gray">
              <a:xfrm>
                <a:off x="3629863" y="3990959"/>
                <a:ext cx="44460" cy="41284"/>
              </a:xfrm>
              <a:custGeom>
                <a:avLst/>
                <a:gdLst>
                  <a:gd name="T0" fmla="*/ 0 w 28"/>
                  <a:gd name="T1" fmla="*/ 10 h 26"/>
                  <a:gd name="T2" fmla="*/ 4 w 28"/>
                  <a:gd name="T3" fmla="*/ 4 h 26"/>
                  <a:gd name="T4" fmla="*/ 8 w 28"/>
                  <a:gd name="T5" fmla="*/ 2 h 26"/>
                  <a:gd name="T6" fmla="*/ 16 w 28"/>
                  <a:gd name="T7" fmla="*/ 0 h 26"/>
                  <a:gd name="T8" fmla="*/ 22 w 28"/>
                  <a:gd name="T9" fmla="*/ 0 h 26"/>
                  <a:gd name="T10" fmla="*/ 28 w 28"/>
                  <a:gd name="T11" fmla="*/ 10 h 26"/>
                  <a:gd name="T12" fmla="*/ 28 w 28"/>
                  <a:gd name="T13" fmla="*/ 20 h 26"/>
                  <a:gd name="T14" fmla="*/ 22 w 28"/>
                  <a:gd name="T15" fmla="*/ 26 h 26"/>
                  <a:gd name="T16" fmla="*/ 16 w 28"/>
                  <a:gd name="T17" fmla="*/ 26 h 26"/>
                  <a:gd name="T18" fmla="*/ 10 w 28"/>
                  <a:gd name="T19" fmla="*/ 26 h 26"/>
                  <a:gd name="T20" fmla="*/ 4 w 28"/>
                  <a:gd name="T21" fmla="*/ 22 h 26"/>
                  <a:gd name="T22" fmla="*/ 0 w 28"/>
                  <a:gd name="T23" fmla="*/ 10 h 26"/>
                  <a:gd name="T24" fmla="*/ 0 w 28"/>
                  <a:gd name="T25" fmla="*/ 10 h 26"/>
                  <a:gd name="T26" fmla="*/ 0 w 28"/>
                  <a:gd name="T27"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26">
                    <a:moveTo>
                      <a:pt x="0" y="10"/>
                    </a:moveTo>
                    <a:lnTo>
                      <a:pt x="4" y="4"/>
                    </a:lnTo>
                    <a:lnTo>
                      <a:pt x="8" y="2"/>
                    </a:lnTo>
                    <a:lnTo>
                      <a:pt x="16" y="0"/>
                    </a:lnTo>
                    <a:lnTo>
                      <a:pt x="22" y="0"/>
                    </a:lnTo>
                    <a:lnTo>
                      <a:pt x="28" y="10"/>
                    </a:lnTo>
                    <a:lnTo>
                      <a:pt x="28" y="20"/>
                    </a:lnTo>
                    <a:lnTo>
                      <a:pt x="22" y="26"/>
                    </a:lnTo>
                    <a:lnTo>
                      <a:pt x="16" y="26"/>
                    </a:lnTo>
                    <a:lnTo>
                      <a:pt x="10" y="26"/>
                    </a:lnTo>
                    <a:lnTo>
                      <a:pt x="4" y="22"/>
                    </a:lnTo>
                    <a:lnTo>
                      <a:pt x="0" y="10"/>
                    </a:lnTo>
                    <a:lnTo>
                      <a:pt x="0" y="10"/>
                    </a:lnTo>
                    <a:lnTo>
                      <a:pt x="0" y="10"/>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4" name="Freeform 70"/>
              <p:cNvSpPr>
                <a:spLocks/>
              </p:cNvSpPr>
              <p:nvPr/>
            </p:nvSpPr>
            <p:spPr bwMode="gray">
              <a:xfrm>
                <a:off x="4412675" y="3568591"/>
                <a:ext cx="31757" cy="34933"/>
              </a:xfrm>
              <a:custGeom>
                <a:avLst/>
                <a:gdLst>
                  <a:gd name="T0" fmla="*/ 10 w 20"/>
                  <a:gd name="T1" fmla="*/ 0 h 22"/>
                  <a:gd name="T2" fmla="*/ 20 w 20"/>
                  <a:gd name="T3" fmla="*/ 6 h 22"/>
                  <a:gd name="T4" fmla="*/ 20 w 20"/>
                  <a:gd name="T5" fmla="*/ 18 h 22"/>
                  <a:gd name="T6" fmla="*/ 16 w 20"/>
                  <a:gd name="T7" fmla="*/ 22 h 22"/>
                  <a:gd name="T8" fmla="*/ 10 w 20"/>
                  <a:gd name="T9" fmla="*/ 22 h 22"/>
                  <a:gd name="T10" fmla="*/ 4 w 20"/>
                  <a:gd name="T11" fmla="*/ 22 h 22"/>
                  <a:gd name="T12" fmla="*/ 0 w 20"/>
                  <a:gd name="T13" fmla="*/ 18 h 22"/>
                  <a:gd name="T14" fmla="*/ 0 w 20"/>
                  <a:gd name="T15" fmla="*/ 6 h 22"/>
                  <a:gd name="T16" fmla="*/ 8 w 20"/>
                  <a:gd name="T17" fmla="*/ 2 h 22"/>
                  <a:gd name="T18" fmla="*/ 10 w 20"/>
                  <a:gd name="T19" fmla="*/ 0 h 22"/>
                  <a:gd name="T20" fmla="*/ 10 w 20"/>
                  <a:gd name="T21" fmla="*/ 0 h 22"/>
                  <a:gd name="T22" fmla="*/ 10 w 20"/>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22">
                    <a:moveTo>
                      <a:pt x="10" y="0"/>
                    </a:moveTo>
                    <a:lnTo>
                      <a:pt x="20" y="6"/>
                    </a:lnTo>
                    <a:lnTo>
                      <a:pt x="20" y="18"/>
                    </a:lnTo>
                    <a:lnTo>
                      <a:pt x="16" y="22"/>
                    </a:lnTo>
                    <a:lnTo>
                      <a:pt x="10" y="22"/>
                    </a:lnTo>
                    <a:lnTo>
                      <a:pt x="4" y="22"/>
                    </a:lnTo>
                    <a:lnTo>
                      <a:pt x="0" y="18"/>
                    </a:lnTo>
                    <a:lnTo>
                      <a:pt x="0" y="6"/>
                    </a:lnTo>
                    <a:lnTo>
                      <a:pt x="8" y="2"/>
                    </a:lnTo>
                    <a:lnTo>
                      <a:pt x="10" y="0"/>
                    </a:lnTo>
                    <a:lnTo>
                      <a:pt x="10" y="0"/>
                    </a:lnTo>
                    <a:lnTo>
                      <a:pt x="10" y="0"/>
                    </a:lnTo>
                    <a:close/>
                  </a:path>
                </a:pathLst>
              </a:custGeom>
              <a:solidFill>
                <a:schemeClr val="bg2">
                  <a:lumMod val="40000"/>
                  <a:lumOff val="6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5" name="Line 71"/>
              <p:cNvSpPr>
                <a:spLocks noChangeShapeType="1"/>
              </p:cNvSpPr>
              <p:nvPr/>
            </p:nvSpPr>
            <p:spPr bwMode="gray">
              <a:xfrm>
                <a:off x="5039876" y="3295480"/>
                <a:ext cx="0" cy="0"/>
              </a:xfrm>
              <a:prstGeom prst="line">
                <a:avLst/>
              </a:prstGeom>
              <a:solidFill>
                <a:schemeClr val="bg2">
                  <a:lumMod val="40000"/>
                  <a:lumOff val="60000"/>
                </a:schemeClr>
              </a:solid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826" name="Line 72"/>
              <p:cNvSpPr>
                <a:spLocks noChangeShapeType="1"/>
              </p:cNvSpPr>
              <p:nvPr/>
            </p:nvSpPr>
            <p:spPr bwMode="gray">
              <a:xfrm>
                <a:off x="5039876" y="3295480"/>
                <a:ext cx="0" cy="0"/>
              </a:xfrm>
              <a:prstGeom prst="line">
                <a:avLst/>
              </a:prstGeom>
              <a:solidFill>
                <a:schemeClr val="bg2">
                  <a:lumMod val="40000"/>
                  <a:lumOff val="60000"/>
                </a:schemeClr>
              </a:solidFill>
              <a:ln w="9525">
                <a:solidFill>
                  <a:schemeClr val="bg1"/>
                </a:solidFill>
                <a:round/>
                <a:headEnd/>
                <a:tailEnd/>
              </a:ln>
            </p:spPr>
            <p:txBody>
              <a:bodyPr vert="horz" wrap="square" lIns="121920" tIns="60960" rIns="121920" bIns="60960" numCol="1" anchor="t" anchorCtr="0" compatLnSpc="1">
                <a:prstTxWarp prst="textNoShape">
                  <a:avLst/>
                </a:prstTxWarp>
              </a:bodyPr>
              <a:lstStyle/>
              <a:p>
                <a:endParaRPr lang="en-US" sz="2400" dirty="0"/>
              </a:p>
            </p:txBody>
          </p:sp>
          <p:sp>
            <p:nvSpPr>
              <p:cNvPr id="827" name="Freeform 73"/>
              <p:cNvSpPr>
                <a:spLocks/>
              </p:cNvSpPr>
              <p:nvPr>
                <p:custDataLst>
                  <p:tags r:id="rId149"/>
                </p:custDataLst>
              </p:nvPr>
            </p:nvSpPr>
            <p:spPr bwMode="gray">
              <a:xfrm>
                <a:off x="4669907" y="3158925"/>
                <a:ext cx="570039" cy="314395"/>
              </a:xfrm>
              <a:custGeom>
                <a:avLst/>
                <a:gdLst>
                  <a:gd name="T0" fmla="*/ 133 w 179"/>
                  <a:gd name="T1" fmla="*/ 19 h 99"/>
                  <a:gd name="T2" fmla="*/ 114 w 179"/>
                  <a:gd name="T3" fmla="*/ 13 h 99"/>
                  <a:gd name="T4" fmla="*/ 95 w 179"/>
                  <a:gd name="T5" fmla="*/ 5 h 99"/>
                  <a:gd name="T6" fmla="*/ 79 w 179"/>
                  <a:gd name="T7" fmla="*/ 2 h 99"/>
                  <a:gd name="T8" fmla="*/ 72 w 179"/>
                  <a:gd name="T9" fmla="*/ 6 h 99"/>
                  <a:gd name="T10" fmla="*/ 65 w 179"/>
                  <a:gd name="T11" fmla="*/ 9 h 99"/>
                  <a:gd name="T12" fmla="*/ 62 w 179"/>
                  <a:gd name="T13" fmla="*/ 2 h 99"/>
                  <a:gd name="T14" fmla="*/ 51 w 179"/>
                  <a:gd name="T15" fmla="*/ 9 h 99"/>
                  <a:gd name="T16" fmla="*/ 37 w 179"/>
                  <a:gd name="T17" fmla="*/ 19 h 99"/>
                  <a:gd name="T18" fmla="*/ 30 w 179"/>
                  <a:gd name="T19" fmla="*/ 23 h 99"/>
                  <a:gd name="T20" fmla="*/ 20 w 179"/>
                  <a:gd name="T21" fmla="*/ 26 h 99"/>
                  <a:gd name="T22" fmla="*/ 10 w 179"/>
                  <a:gd name="T23" fmla="*/ 23 h 99"/>
                  <a:gd name="T24" fmla="*/ 3 w 179"/>
                  <a:gd name="T25" fmla="*/ 23 h 99"/>
                  <a:gd name="T26" fmla="*/ 0 w 179"/>
                  <a:gd name="T27" fmla="*/ 26 h 99"/>
                  <a:gd name="T28" fmla="*/ 7 w 179"/>
                  <a:gd name="T29" fmla="*/ 33 h 99"/>
                  <a:gd name="T30" fmla="*/ 10 w 179"/>
                  <a:gd name="T31" fmla="*/ 43 h 99"/>
                  <a:gd name="T32" fmla="*/ 13 w 179"/>
                  <a:gd name="T33" fmla="*/ 54 h 99"/>
                  <a:gd name="T34" fmla="*/ 17 w 179"/>
                  <a:gd name="T35" fmla="*/ 60 h 99"/>
                  <a:gd name="T36" fmla="*/ 24 w 179"/>
                  <a:gd name="T37" fmla="*/ 74 h 99"/>
                  <a:gd name="T38" fmla="*/ 30 w 179"/>
                  <a:gd name="T39" fmla="*/ 78 h 99"/>
                  <a:gd name="T40" fmla="*/ 36 w 179"/>
                  <a:gd name="T41" fmla="*/ 84 h 99"/>
                  <a:gd name="T42" fmla="*/ 41 w 179"/>
                  <a:gd name="T43" fmla="*/ 91 h 99"/>
                  <a:gd name="T44" fmla="*/ 48 w 179"/>
                  <a:gd name="T45" fmla="*/ 95 h 99"/>
                  <a:gd name="T46" fmla="*/ 62 w 179"/>
                  <a:gd name="T47" fmla="*/ 95 h 99"/>
                  <a:gd name="T48" fmla="*/ 65 w 179"/>
                  <a:gd name="T49" fmla="*/ 88 h 99"/>
                  <a:gd name="T50" fmla="*/ 68 w 179"/>
                  <a:gd name="T51" fmla="*/ 84 h 99"/>
                  <a:gd name="T52" fmla="*/ 79 w 179"/>
                  <a:gd name="T53" fmla="*/ 84 h 99"/>
                  <a:gd name="T54" fmla="*/ 86 w 179"/>
                  <a:gd name="T55" fmla="*/ 88 h 99"/>
                  <a:gd name="T56" fmla="*/ 96 w 179"/>
                  <a:gd name="T57" fmla="*/ 88 h 99"/>
                  <a:gd name="T58" fmla="*/ 100 w 179"/>
                  <a:gd name="T59" fmla="*/ 93 h 99"/>
                  <a:gd name="T60" fmla="*/ 106 w 179"/>
                  <a:gd name="T61" fmla="*/ 98 h 99"/>
                  <a:gd name="T62" fmla="*/ 110 w 179"/>
                  <a:gd name="T63" fmla="*/ 99 h 99"/>
                  <a:gd name="T64" fmla="*/ 113 w 179"/>
                  <a:gd name="T65" fmla="*/ 99 h 99"/>
                  <a:gd name="T66" fmla="*/ 151 w 179"/>
                  <a:gd name="T67" fmla="*/ 71 h 99"/>
                  <a:gd name="T68" fmla="*/ 152 w 179"/>
                  <a:gd name="T69" fmla="*/ 66 h 99"/>
                  <a:gd name="T70" fmla="*/ 163 w 179"/>
                  <a:gd name="T71" fmla="*/ 66 h 99"/>
                  <a:gd name="T72" fmla="*/ 178 w 179"/>
                  <a:gd name="T73" fmla="*/ 60 h 99"/>
                  <a:gd name="T74" fmla="*/ 179 w 179"/>
                  <a:gd name="T75" fmla="*/ 52 h 99"/>
                  <a:gd name="T76" fmla="*/ 172 w 179"/>
                  <a:gd name="T77" fmla="*/ 44 h 99"/>
                  <a:gd name="T78" fmla="*/ 155 w 179"/>
                  <a:gd name="T79" fmla="*/ 39 h 99"/>
                  <a:gd name="T80" fmla="*/ 139 w 179"/>
                  <a:gd name="T81" fmla="*/ 28 h 99"/>
                  <a:gd name="T82" fmla="*/ 123 w 179"/>
                  <a:gd name="T83" fmla="*/ 33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9" h="99">
                    <a:moveTo>
                      <a:pt x="121" y="20"/>
                    </a:moveTo>
                    <a:cubicBezTo>
                      <a:pt x="133" y="19"/>
                      <a:pt x="133" y="19"/>
                      <a:pt x="133" y="19"/>
                    </a:cubicBezTo>
                    <a:cubicBezTo>
                      <a:pt x="121" y="17"/>
                      <a:pt x="121" y="17"/>
                      <a:pt x="121" y="17"/>
                    </a:cubicBezTo>
                    <a:cubicBezTo>
                      <a:pt x="114" y="13"/>
                      <a:pt x="114" y="13"/>
                      <a:pt x="114" y="13"/>
                    </a:cubicBezTo>
                    <a:cubicBezTo>
                      <a:pt x="106" y="10"/>
                      <a:pt x="106" y="10"/>
                      <a:pt x="106" y="10"/>
                    </a:cubicBezTo>
                    <a:cubicBezTo>
                      <a:pt x="95" y="5"/>
                      <a:pt x="95" y="5"/>
                      <a:pt x="95" y="5"/>
                    </a:cubicBezTo>
                    <a:cubicBezTo>
                      <a:pt x="89" y="0"/>
                      <a:pt x="89" y="0"/>
                      <a:pt x="89" y="0"/>
                    </a:cubicBezTo>
                    <a:cubicBezTo>
                      <a:pt x="79" y="2"/>
                      <a:pt x="79" y="2"/>
                      <a:pt x="79" y="2"/>
                    </a:cubicBezTo>
                    <a:cubicBezTo>
                      <a:pt x="72" y="2"/>
                      <a:pt x="72" y="2"/>
                      <a:pt x="72" y="2"/>
                    </a:cubicBezTo>
                    <a:cubicBezTo>
                      <a:pt x="72" y="6"/>
                      <a:pt x="72" y="6"/>
                      <a:pt x="72" y="6"/>
                    </a:cubicBezTo>
                    <a:cubicBezTo>
                      <a:pt x="68" y="9"/>
                      <a:pt x="68" y="9"/>
                      <a:pt x="68" y="9"/>
                    </a:cubicBezTo>
                    <a:cubicBezTo>
                      <a:pt x="65" y="9"/>
                      <a:pt x="65" y="9"/>
                      <a:pt x="65" y="9"/>
                    </a:cubicBezTo>
                    <a:cubicBezTo>
                      <a:pt x="65" y="6"/>
                      <a:pt x="65" y="6"/>
                      <a:pt x="65" y="6"/>
                    </a:cubicBezTo>
                    <a:cubicBezTo>
                      <a:pt x="62" y="2"/>
                      <a:pt x="62" y="2"/>
                      <a:pt x="62" y="2"/>
                    </a:cubicBezTo>
                    <a:cubicBezTo>
                      <a:pt x="55" y="6"/>
                      <a:pt x="55" y="6"/>
                      <a:pt x="55" y="6"/>
                    </a:cubicBezTo>
                    <a:cubicBezTo>
                      <a:pt x="51" y="9"/>
                      <a:pt x="51" y="9"/>
                      <a:pt x="51" y="9"/>
                    </a:cubicBezTo>
                    <a:cubicBezTo>
                      <a:pt x="48" y="13"/>
                      <a:pt x="48" y="13"/>
                      <a:pt x="48" y="13"/>
                    </a:cubicBezTo>
                    <a:cubicBezTo>
                      <a:pt x="37" y="19"/>
                      <a:pt x="37" y="19"/>
                      <a:pt x="37" y="19"/>
                    </a:cubicBezTo>
                    <a:cubicBezTo>
                      <a:pt x="34" y="19"/>
                      <a:pt x="34" y="19"/>
                      <a:pt x="34" y="19"/>
                    </a:cubicBezTo>
                    <a:cubicBezTo>
                      <a:pt x="30" y="23"/>
                      <a:pt x="30" y="23"/>
                      <a:pt x="30" y="23"/>
                    </a:cubicBezTo>
                    <a:cubicBezTo>
                      <a:pt x="27" y="23"/>
                      <a:pt x="27" y="23"/>
                      <a:pt x="27" y="23"/>
                    </a:cubicBezTo>
                    <a:cubicBezTo>
                      <a:pt x="20" y="26"/>
                      <a:pt x="20" y="26"/>
                      <a:pt x="20" y="26"/>
                    </a:cubicBezTo>
                    <a:cubicBezTo>
                      <a:pt x="13" y="26"/>
                      <a:pt x="13" y="26"/>
                      <a:pt x="13" y="26"/>
                    </a:cubicBezTo>
                    <a:cubicBezTo>
                      <a:pt x="10" y="23"/>
                      <a:pt x="10" y="23"/>
                      <a:pt x="10" y="23"/>
                    </a:cubicBezTo>
                    <a:cubicBezTo>
                      <a:pt x="3" y="26"/>
                      <a:pt x="3" y="26"/>
                      <a:pt x="3" y="26"/>
                    </a:cubicBezTo>
                    <a:cubicBezTo>
                      <a:pt x="3" y="23"/>
                      <a:pt x="3" y="23"/>
                      <a:pt x="3" y="23"/>
                    </a:cubicBezTo>
                    <a:cubicBezTo>
                      <a:pt x="0" y="19"/>
                      <a:pt x="0" y="19"/>
                      <a:pt x="0" y="19"/>
                    </a:cubicBezTo>
                    <a:cubicBezTo>
                      <a:pt x="0" y="26"/>
                      <a:pt x="0" y="26"/>
                      <a:pt x="0" y="26"/>
                    </a:cubicBezTo>
                    <a:cubicBezTo>
                      <a:pt x="3" y="33"/>
                      <a:pt x="3" y="33"/>
                      <a:pt x="3" y="33"/>
                    </a:cubicBezTo>
                    <a:cubicBezTo>
                      <a:pt x="7" y="33"/>
                      <a:pt x="7" y="33"/>
                      <a:pt x="7" y="33"/>
                    </a:cubicBezTo>
                    <a:cubicBezTo>
                      <a:pt x="7" y="40"/>
                      <a:pt x="7" y="40"/>
                      <a:pt x="7" y="40"/>
                    </a:cubicBezTo>
                    <a:cubicBezTo>
                      <a:pt x="10" y="43"/>
                      <a:pt x="10" y="43"/>
                      <a:pt x="10" y="43"/>
                    </a:cubicBezTo>
                    <a:cubicBezTo>
                      <a:pt x="13" y="47"/>
                      <a:pt x="13" y="47"/>
                      <a:pt x="13" y="47"/>
                    </a:cubicBezTo>
                    <a:cubicBezTo>
                      <a:pt x="13" y="54"/>
                      <a:pt x="13" y="54"/>
                      <a:pt x="13" y="54"/>
                    </a:cubicBezTo>
                    <a:cubicBezTo>
                      <a:pt x="13" y="57"/>
                      <a:pt x="13" y="57"/>
                      <a:pt x="13" y="57"/>
                    </a:cubicBezTo>
                    <a:cubicBezTo>
                      <a:pt x="17" y="60"/>
                      <a:pt x="17" y="60"/>
                      <a:pt x="17" y="60"/>
                    </a:cubicBezTo>
                    <a:cubicBezTo>
                      <a:pt x="20" y="67"/>
                      <a:pt x="20" y="67"/>
                      <a:pt x="20" y="67"/>
                    </a:cubicBezTo>
                    <a:cubicBezTo>
                      <a:pt x="24" y="74"/>
                      <a:pt x="24" y="74"/>
                      <a:pt x="24" y="74"/>
                    </a:cubicBezTo>
                    <a:cubicBezTo>
                      <a:pt x="27" y="78"/>
                      <a:pt x="27" y="78"/>
                      <a:pt x="27" y="78"/>
                    </a:cubicBezTo>
                    <a:cubicBezTo>
                      <a:pt x="30" y="78"/>
                      <a:pt x="30" y="78"/>
                      <a:pt x="30" y="78"/>
                    </a:cubicBezTo>
                    <a:cubicBezTo>
                      <a:pt x="33" y="81"/>
                      <a:pt x="33" y="81"/>
                      <a:pt x="33" y="81"/>
                    </a:cubicBezTo>
                    <a:cubicBezTo>
                      <a:pt x="36" y="84"/>
                      <a:pt x="36" y="84"/>
                      <a:pt x="36" y="84"/>
                    </a:cubicBezTo>
                    <a:cubicBezTo>
                      <a:pt x="39" y="88"/>
                      <a:pt x="39" y="88"/>
                      <a:pt x="39" y="88"/>
                    </a:cubicBezTo>
                    <a:cubicBezTo>
                      <a:pt x="41" y="91"/>
                      <a:pt x="41" y="91"/>
                      <a:pt x="41" y="91"/>
                    </a:cubicBezTo>
                    <a:cubicBezTo>
                      <a:pt x="44" y="91"/>
                      <a:pt x="44" y="91"/>
                      <a:pt x="44" y="91"/>
                    </a:cubicBezTo>
                    <a:cubicBezTo>
                      <a:pt x="48" y="95"/>
                      <a:pt x="48" y="95"/>
                      <a:pt x="48" y="95"/>
                    </a:cubicBezTo>
                    <a:cubicBezTo>
                      <a:pt x="55" y="95"/>
                      <a:pt x="55" y="95"/>
                      <a:pt x="55" y="95"/>
                    </a:cubicBezTo>
                    <a:cubicBezTo>
                      <a:pt x="62" y="95"/>
                      <a:pt x="62" y="95"/>
                      <a:pt x="62" y="95"/>
                    </a:cubicBezTo>
                    <a:cubicBezTo>
                      <a:pt x="65" y="91"/>
                      <a:pt x="65" y="91"/>
                      <a:pt x="65" y="91"/>
                    </a:cubicBezTo>
                    <a:cubicBezTo>
                      <a:pt x="65" y="88"/>
                      <a:pt x="65" y="88"/>
                      <a:pt x="65" y="88"/>
                    </a:cubicBezTo>
                    <a:cubicBezTo>
                      <a:pt x="66" y="86"/>
                      <a:pt x="66" y="86"/>
                      <a:pt x="66" y="86"/>
                    </a:cubicBezTo>
                    <a:cubicBezTo>
                      <a:pt x="68" y="84"/>
                      <a:pt x="68" y="84"/>
                      <a:pt x="68" y="84"/>
                    </a:cubicBezTo>
                    <a:cubicBezTo>
                      <a:pt x="75" y="84"/>
                      <a:pt x="75" y="84"/>
                      <a:pt x="75" y="84"/>
                    </a:cubicBezTo>
                    <a:cubicBezTo>
                      <a:pt x="79" y="84"/>
                      <a:pt x="79" y="84"/>
                      <a:pt x="79" y="84"/>
                    </a:cubicBezTo>
                    <a:cubicBezTo>
                      <a:pt x="82" y="84"/>
                      <a:pt x="82" y="84"/>
                      <a:pt x="82" y="84"/>
                    </a:cubicBezTo>
                    <a:cubicBezTo>
                      <a:pt x="86" y="88"/>
                      <a:pt x="86" y="88"/>
                      <a:pt x="86" y="88"/>
                    </a:cubicBezTo>
                    <a:cubicBezTo>
                      <a:pt x="89" y="88"/>
                      <a:pt x="89" y="88"/>
                      <a:pt x="89" y="88"/>
                    </a:cubicBezTo>
                    <a:cubicBezTo>
                      <a:pt x="96" y="88"/>
                      <a:pt x="96" y="88"/>
                      <a:pt x="96" y="88"/>
                    </a:cubicBezTo>
                    <a:cubicBezTo>
                      <a:pt x="97" y="91"/>
                      <a:pt x="97" y="91"/>
                      <a:pt x="97" y="91"/>
                    </a:cubicBezTo>
                    <a:cubicBezTo>
                      <a:pt x="100" y="93"/>
                      <a:pt x="100" y="93"/>
                      <a:pt x="100" y="93"/>
                    </a:cubicBezTo>
                    <a:cubicBezTo>
                      <a:pt x="101" y="95"/>
                      <a:pt x="101" y="95"/>
                      <a:pt x="101" y="95"/>
                    </a:cubicBezTo>
                    <a:cubicBezTo>
                      <a:pt x="106" y="98"/>
                      <a:pt x="106" y="98"/>
                      <a:pt x="106" y="98"/>
                    </a:cubicBezTo>
                    <a:cubicBezTo>
                      <a:pt x="109" y="99"/>
                      <a:pt x="109" y="99"/>
                      <a:pt x="109" y="99"/>
                    </a:cubicBezTo>
                    <a:cubicBezTo>
                      <a:pt x="110" y="99"/>
                      <a:pt x="110" y="99"/>
                      <a:pt x="110" y="99"/>
                    </a:cubicBezTo>
                    <a:cubicBezTo>
                      <a:pt x="110" y="98"/>
                      <a:pt x="110" y="98"/>
                      <a:pt x="110" y="98"/>
                    </a:cubicBezTo>
                    <a:cubicBezTo>
                      <a:pt x="110" y="98"/>
                      <a:pt x="111" y="99"/>
                      <a:pt x="113" y="99"/>
                    </a:cubicBezTo>
                    <a:cubicBezTo>
                      <a:pt x="121" y="95"/>
                      <a:pt x="140" y="93"/>
                      <a:pt x="145" y="77"/>
                    </a:cubicBezTo>
                    <a:cubicBezTo>
                      <a:pt x="147" y="75"/>
                      <a:pt x="148" y="73"/>
                      <a:pt x="151" y="71"/>
                    </a:cubicBezTo>
                    <a:cubicBezTo>
                      <a:pt x="152" y="67"/>
                      <a:pt x="150" y="69"/>
                      <a:pt x="152" y="66"/>
                    </a:cubicBezTo>
                    <a:cubicBezTo>
                      <a:pt x="152" y="64"/>
                      <a:pt x="152" y="66"/>
                      <a:pt x="152" y="66"/>
                    </a:cubicBezTo>
                    <a:cubicBezTo>
                      <a:pt x="154" y="66"/>
                      <a:pt x="154" y="66"/>
                      <a:pt x="156" y="66"/>
                    </a:cubicBezTo>
                    <a:cubicBezTo>
                      <a:pt x="158" y="66"/>
                      <a:pt x="162" y="66"/>
                      <a:pt x="163" y="66"/>
                    </a:cubicBezTo>
                    <a:cubicBezTo>
                      <a:pt x="163" y="62"/>
                      <a:pt x="165" y="60"/>
                      <a:pt x="167" y="60"/>
                    </a:cubicBezTo>
                    <a:cubicBezTo>
                      <a:pt x="169" y="60"/>
                      <a:pt x="177" y="60"/>
                      <a:pt x="178" y="60"/>
                    </a:cubicBezTo>
                    <a:cubicBezTo>
                      <a:pt x="176" y="56"/>
                      <a:pt x="176" y="56"/>
                      <a:pt x="176" y="56"/>
                    </a:cubicBezTo>
                    <a:cubicBezTo>
                      <a:pt x="179" y="52"/>
                      <a:pt x="179" y="52"/>
                      <a:pt x="179" y="52"/>
                    </a:cubicBezTo>
                    <a:cubicBezTo>
                      <a:pt x="170" y="50"/>
                      <a:pt x="170" y="50"/>
                      <a:pt x="170" y="50"/>
                    </a:cubicBezTo>
                    <a:cubicBezTo>
                      <a:pt x="172" y="44"/>
                      <a:pt x="172" y="44"/>
                      <a:pt x="172" y="44"/>
                    </a:cubicBezTo>
                    <a:cubicBezTo>
                      <a:pt x="165" y="40"/>
                      <a:pt x="165" y="40"/>
                      <a:pt x="165" y="40"/>
                    </a:cubicBezTo>
                    <a:cubicBezTo>
                      <a:pt x="155" y="39"/>
                      <a:pt x="155" y="39"/>
                      <a:pt x="155" y="39"/>
                    </a:cubicBezTo>
                    <a:cubicBezTo>
                      <a:pt x="146" y="29"/>
                      <a:pt x="146" y="29"/>
                      <a:pt x="146" y="29"/>
                    </a:cubicBezTo>
                    <a:cubicBezTo>
                      <a:pt x="139" y="28"/>
                      <a:pt x="139" y="28"/>
                      <a:pt x="139" y="28"/>
                    </a:cubicBezTo>
                    <a:cubicBezTo>
                      <a:pt x="135" y="26"/>
                      <a:pt x="135" y="26"/>
                      <a:pt x="135" y="26"/>
                    </a:cubicBezTo>
                    <a:cubicBezTo>
                      <a:pt x="123" y="33"/>
                      <a:pt x="123" y="33"/>
                      <a:pt x="123" y="33"/>
                    </a:cubicBezTo>
                  </a:path>
                </a:pathLst>
              </a:custGeom>
              <a:solidFill>
                <a:srgbClr val="9B0009"/>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8" name="Freeform 74"/>
              <p:cNvSpPr>
                <a:spLocks/>
              </p:cNvSpPr>
              <p:nvPr/>
            </p:nvSpPr>
            <p:spPr bwMode="gray">
              <a:xfrm>
                <a:off x="5281230" y="2666690"/>
                <a:ext cx="247705" cy="114326"/>
              </a:xfrm>
              <a:custGeom>
                <a:avLst/>
                <a:gdLst>
                  <a:gd name="T0" fmla="*/ 152 w 156"/>
                  <a:gd name="T1" fmla="*/ 30 h 72"/>
                  <a:gd name="T2" fmla="*/ 150 w 156"/>
                  <a:gd name="T3" fmla="*/ 26 h 72"/>
                  <a:gd name="T4" fmla="*/ 146 w 156"/>
                  <a:gd name="T5" fmla="*/ 26 h 72"/>
                  <a:gd name="T6" fmla="*/ 144 w 156"/>
                  <a:gd name="T7" fmla="*/ 20 h 72"/>
                  <a:gd name="T8" fmla="*/ 142 w 156"/>
                  <a:gd name="T9" fmla="*/ 16 h 72"/>
                  <a:gd name="T10" fmla="*/ 122 w 156"/>
                  <a:gd name="T11" fmla="*/ 18 h 72"/>
                  <a:gd name="T12" fmla="*/ 120 w 156"/>
                  <a:gd name="T13" fmla="*/ 20 h 72"/>
                  <a:gd name="T14" fmla="*/ 116 w 156"/>
                  <a:gd name="T15" fmla="*/ 16 h 72"/>
                  <a:gd name="T16" fmla="*/ 114 w 156"/>
                  <a:gd name="T17" fmla="*/ 16 h 72"/>
                  <a:gd name="T18" fmla="*/ 110 w 156"/>
                  <a:gd name="T19" fmla="*/ 14 h 72"/>
                  <a:gd name="T20" fmla="*/ 102 w 156"/>
                  <a:gd name="T21" fmla="*/ 12 h 72"/>
                  <a:gd name="T22" fmla="*/ 92 w 156"/>
                  <a:gd name="T23" fmla="*/ 8 h 72"/>
                  <a:gd name="T24" fmla="*/ 84 w 156"/>
                  <a:gd name="T25" fmla="*/ 0 h 72"/>
                  <a:gd name="T26" fmla="*/ 80 w 156"/>
                  <a:gd name="T27" fmla="*/ 4 h 72"/>
                  <a:gd name="T28" fmla="*/ 78 w 156"/>
                  <a:gd name="T29" fmla="*/ 6 h 72"/>
                  <a:gd name="T30" fmla="*/ 78 w 156"/>
                  <a:gd name="T31" fmla="*/ 6 h 72"/>
                  <a:gd name="T32" fmla="*/ 76 w 156"/>
                  <a:gd name="T33" fmla="*/ 8 h 72"/>
                  <a:gd name="T34" fmla="*/ 76 w 156"/>
                  <a:gd name="T35" fmla="*/ 12 h 72"/>
                  <a:gd name="T36" fmla="*/ 78 w 156"/>
                  <a:gd name="T37" fmla="*/ 26 h 72"/>
                  <a:gd name="T38" fmla="*/ 72 w 156"/>
                  <a:gd name="T39" fmla="*/ 30 h 72"/>
                  <a:gd name="T40" fmla="*/ 70 w 156"/>
                  <a:gd name="T41" fmla="*/ 30 h 72"/>
                  <a:gd name="T42" fmla="*/ 66 w 156"/>
                  <a:gd name="T43" fmla="*/ 30 h 72"/>
                  <a:gd name="T44" fmla="*/ 48 w 156"/>
                  <a:gd name="T45" fmla="*/ 26 h 72"/>
                  <a:gd name="T46" fmla="*/ 44 w 156"/>
                  <a:gd name="T47" fmla="*/ 26 h 72"/>
                  <a:gd name="T48" fmla="*/ 46 w 156"/>
                  <a:gd name="T49" fmla="*/ 24 h 72"/>
                  <a:gd name="T50" fmla="*/ 58 w 156"/>
                  <a:gd name="T51" fmla="*/ 10 h 72"/>
                  <a:gd name="T52" fmla="*/ 62 w 156"/>
                  <a:gd name="T53" fmla="*/ 8 h 72"/>
                  <a:gd name="T54" fmla="*/ 62 w 156"/>
                  <a:gd name="T55" fmla="*/ 6 h 72"/>
                  <a:gd name="T56" fmla="*/ 64 w 156"/>
                  <a:gd name="T57" fmla="*/ 4 h 72"/>
                  <a:gd name="T58" fmla="*/ 66 w 156"/>
                  <a:gd name="T59" fmla="*/ 2 h 72"/>
                  <a:gd name="T60" fmla="*/ 64 w 156"/>
                  <a:gd name="T61" fmla="*/ 0 h 72"/>
                  <a:gd name="T62" fmla="*/ 42 w 156"/>
                  <a:gd name="T63" fmla="*/ 24 h 72"/>
                  <a:gd name="T64" fmla="*/ 26 w 156"/>
                  <a:gd name="T65" fmla="*/ 26 h 72"/>
                  <a:gd name="T66" fmla="*/ 20 w 156"/>
                  <a:gd name="T67" fmla="*/ 24 h 72"/>
                  <a:gd name="T68" fmla="*/ 16 w 156"/>
                  <a:gd name="T69" fmla="*/ 28 h 72"/>
                  <a:gd name="T70" fmla="*/ 18 w 156"/>
                  <a:gd name="T71" fmla="*/ 36 h 72"/>
                  <a:gd name="T72" fmla="*/ 16 w 156"/>
                  <a:gd name="T73" fmla="*/ 44 h 72"/>
                  <a:gd name="T74" fmla="*/ 14 w 156"/>
                  <a:gd name="T75" fmla="*/ 46 h 72"/>
                  <a:gd name="T76" fmla="*/ 14 w 156"/>
                  <a:gd name="T77" fmla="*/ 48 h 72"/>
                  <a:gd name="T78" fmla="*/ 6 w 156"/>
                  <a:gd name="T79" fmla="*/ 60 h 72"/>
                  <a:gd name="T80" fmla="*/ 0 w 156"/>
                  <a:gd name="T81" fmla="*/ 64 h 72"/>
                  <a:gd name="T82" fmla="*/ 18 w 156"/>
                  <a:gd name="T83" fmla="*/ 66 h 72"/>
                  <a:gd name="T84" fmla="*/ 102 w 156"/>
                  <a:gd name="T85" fmla="*/ 70 h 72"/>
                  <a:gd name="T86" fmla="*/ 152 w 156"/>
                  <a:gd name="T87" fmla="*/ 72 h 72"/>
                  <a:gd name="T88" fmla="*/ 148 w 156"/>
                  <a:gd name="T89" fmla="*/ 56 h 72"/>
                  <a:gd name="T90" fmla="*/ 150 w 156"/>
                  <a:gd name="T91" fmla="*/ 48 h 72"/>
                  <a:gd name="T92" fmla="*/ 150 w 156"/>
                  <a:gd name="T93" fmla="*/ 44 h 72"/>
                  <a:gd name="T94" fmla="*/ 150 w 156"/>
                  <a:gd name="T95" fmla="*/ 44 h 72"/>
                  <a:gd name="T96" fmla="*/ 152 w 156"/>
                  <a:gd name="T97" fmla="*/ 42 h 72"/>
                  <a:gd name="T98" fmla="*/ 156 w 156"/>
                  <a:gd name="T99" fmla="*/ 38 h 72"/>
                  <a:gd name="T100" fmla="*/ 156 w 156"/>
                  <a:gd name="T101" fmla="*/ 3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6" h="72">
                    <a:moveTo>
                      <a:pt x="156" y="32"/>
                    </a:moveTo>
                    <a:lnTo>
                      <a:pt x="156" y="32"/>
                    </a:lnTo>
                    <a:lnTo>
                      <a:pt x="154" y="30"/>
                    </a:lnTo>
                    <a:lnTo>
                      <a:pt x="152" y="30"/>
                    </a:lnTo>
                    <a:lnTo>
                      <a:pt x="152" y="28"/>
                    </a:lnTo>
                    <a:lnTo>
                      <a:pt x="152" y="28"/>
                    </a:lnTo>
                    <a:lnTo>
                      <a:pt x="152" y="28"/>
                    </a:lnTo>
                    <a:lnTo>
                      <a:pt x="150" y="26"/>
                    </a:lnTo>
                    <a:lnTo>
                      <a:pt x="150" y="26"/>
                    </a:lnTo>
                    <a:lnTo>
                      <a:pt x="150" y="26"/>
                    </a:lnTo>
                    <a:lnTo>
                      <a:pt x="150" y="26"/>
                    </a:lnTo>
                    <a:lnTo>
                      <a:pt x="146" y="26"/>
                    </a:lnTo>
                    <a:lnTo>
                      <a:pt x="146" y="26"/>
                    </a:lnTo>
                    <a:lnTo>
                      <a:pt x="146" y="24"/>
                    </a:lnTo>
                    <a:lnTo>
                      <a:pt x="144" y="22"/>
                    </a:lnTo>
                    <a:lnTo>
                      <a:pt x="144" y="20"/>
                    </a:lnTo>
                    <a:lnTo>
                      <a:pt x="144" y="18"/>
                    </a:lnTo>
                    <a:lnTo>
                      <a:pt x="144" y="18"/>
                    </a:lnTo>
                    <a:lnTo>
                      <a:pt x="142" y="16"/>
                    </a:lnTo>
                    <a:lnTo>
                      <a:pt x="142" y="16"/>
                    </a:lnTo>
                    <a:lnTo>
                      <a:pt x="136" y="18"/>
                    </a:lnTo>
                    <a:lnTo>
                      <a:pt x="128" y="16"/>
                    </a:lnTo>
                    <a:lnTo>
                      <a:pt x="128" y="16"/>
                    </a:lnTo>
                    <a:lnTo>
                      <a:pt x="122" y="18"/>
                    </a:lnTo>
                    <a:lnTo>
                      <a:pt x="122" y="18"/>
                    </a:lnTo>
                    <a:lnTo>
                      <a:pt x="122" y="20"/>
                    </a:lnTo>
                    <a:lnTo>
                      <a:pt x="120" y="20"/>
                    </a:lnTo>
                    <a:lnTo>
                      <a:pt x="120" y="20"/>
                    </a:lnTo>
                    <a:lnTo>
                      <a:pt x="118" y="20"/>
                    </a:lnTo>
                    <a:lnTo>
                      <a:pt x="116" y="18"/>
                    </a:lnTo>
                    <a:lnTo>
                      <a:pt x="116" y="18"/>
                    </a:lnTo>
                    <a:lnTo>
                      <a:pt x="116" y="16"/>
                    </a:lnTo>
                    <a:lnTo>
                      <a:pt x="116" y="16"/>
                    </a:lnTo>
                    <a:lnTo>
                      <a:pt x="116" y="14"/>
                    </a:lnTo>
                    <a:lnTo>
                      <a:pt x="114" y="14"/>
                    </a:lnTo>
                    <a:lnTo>
                      <a:pt x="114" y="16"/>
                    </a:lnTo>
                    <a:lnTo>
                      <a:pt x="112" y="16"/>
                    </a:lnTo>
                    <a:lnTo>
                      <a:pt x="112" y="16"/>
                    </a:lnTo>
                    <a:lnTo>
                      <a:pt x="112" y="16"/>
                    </a:lnTo>
                    <a:lnTo>
                      <a:pt x="110" y="14"/>
                    </a:lnTo>
                    <a:lnTo>
                      <a:pt x="108" y="14"/>
                    </a:lnTo>
                    <a:lnTo>
                      <a:pt x="106" y="12"/>
                    </a:lnTo>
                    <a:lnTo>
                      <a:pt x="104" y="12"/>
                    </a:lnTo>
                    <a:lnTo>
                      <a:pt x="102" y="12"/>
                    </a:lnTo>
                    <a:lnTo>
                      <a:pt x="102" y="10"/>
                    </a:lnTo>
                    <a:lnTo>
                      <a:pt x="98" y="8"/>
                    </a:lnTo>
                    <a:lnTo>
                      <a:pt x="96" y="8"/>
                    </a:lnTo>
                    <a:lnTo>
                      <a:pt x="92" y="8"/>
                    </a:lnTo>
                    <a:lnTo>
                      <a:pt x="90" y="6"/>
                    </a:lnTo>
                    <a:lnTo>
                      <a:pt x="86" y="0"/>
                    </a:lnTo>
                    <a:lnTo>
                      <a:pt x="86" y="0"/>
                    </a:lnTo>
                    <a:lnTo>
                      <a:pt x="84" y="0"/>
                    </a:lnTo>
                    <a:lnTo>
                      <a:pt x="80" y="2"/>
                    </a:lnTo>
                    <a:lnTo>
                      <a:pt x="80" y="4"/>
                    </a:lnTo>
                    <a:lnTo>
                      <a:pt x="80" y="4"/>
                    </a:lnTo>
                    <a:lnTo>
                      <a:pt x="80" y="4"/>
                    </a:lnTo>
                    <a:lnTo>
                      <a:pt x="80" y="6"/>
                    </a:lnTo>
                    <a:lnTo>
                      <a:pt x="80" y="6"/>
                    </a:lnTo>
                    <a:lnTo>
                      <a:pt x="80" y="6"/>
                    </a:lnTo>
                    <a:lnTo>
                      <a:pt x="78" y="6"/>
                    </a:lnTo>
                    <a:lnTo>
                      <a:pt x="78" y="6"/>
                    </a:lnTo>
                    <a:lnTo>
                      <a:pt x="78" y="6"/>
                    </a:lnTo>
                    <a:lnTo>
                      <a:pt x="78" y="6"/>
                    </a:lnTo>
                    <a:lnTo>
                      <a:pt x="78" y="6"/>
                    </a:lnTo>
                    <a:lnTo>
                      <a:pt x="76" y="6"/>
                    </a:lnTo>
                    <a:lnTo>
                      <a:pt x="76" y="6"/>
                    </a:lnTo>
                    <a:lnTo>
                      <a:pt x="76" y="8"/>
                    </a:lnTo>
                    <a:lnTo>
                      <a:pt x="76" y="8"/>
                    </a:lnTo>
                    <a:lnTo>
                      <a:pt x="76" y="8"/>
                    </a:lnTo>
                    <a:lnTo>
                      <a:pt x="76" y="10"/>
                    </a:lnTo>
                    <a:lnTo>
                      <a:pt x="76" y="10"/>
                    </a:lnTo>
                    <a:lnTo>
                      <a:pt x="76" y="12"/>
                    </a:lnTo>
                    <a:lnTo>
                      <a:pt x="78" y="22"/>
                    </a:lnTo>
                    <a:lnTo>
                      <a:pt x="78" y="24"/>
                    </a:lnTo>
                    <a:lnTo>
                      <a:pt x="80" y="26"/>
                    </a:lnTo>
                    <a:lnTo>
                      <a:pt x="78" y="26"/>
                    </a:lnTo>
                    <a:lnTo>
                      <a:pt x="76" y="28"/>
                    </a:lnTo>
                    <a:lnTo>
                      <a:pt x="72" y="28"/>
                    </a:lnTo>
                    <a:lnTo>
                      <a:pt x="72" y="30"/>
                    </a:lnTo>
                    <a:lnTo>
                      <a:pt x="72" y="30"/>
                    </a:lnTo>
                    <a:lnTo>
                      <a:pt x="72" y="30"/>
                    </a:lnTo>
                    <a:lnTo>
                      <a:pt x="72" y="30"/>
                    </a:lnTo>
                    <a:lnTo>
                      <a:pt x="72" y="30"/>
                    </a:lnTo>
                    <a:lnTo>
                      <a:pt x="70" y="30"/>
                    </a:lnTo>
                    <a:lnTo>
                      <a:pt x="70" y="28"/>
                    </a:lnTo>
                    <a:lnTo>
                      <a:pt x="70" y="30"/>
                    </a:lnTo>
                    <a:lnTo>
                      <a:pt x="70" y="30"/>
                    </a:lnTo>
                    <a:lnTo>
                      <a:pt x="66" y="30"/>
                    </a:lnTo>
                    <a:lnTo>
                      <a:pt x="60" y="30"/>
                    </a:lnTo>
                    <a:lnTo>
                      <a:pt x="58" y="26"/>
                    </a:lnTo>
                    <a:lnTo>
                      <a:pt x="56" y="26"/>
                    </a:lnTo>
                    <a:lnTo>
                      <a:pt x="48" y="26"/>
                    </a:lnTo>
                    <a:lnTo>
                      <a:pt x="46" y="26"/>
                    </a:lnTo>
                    <a:lnTo>
                      <a:pt x="46" y="26"/>
                    </a:lnTo>
                    <a:lnTo>
                      <a:pt x="46" y="26"/>
                    </a:lnTo>
                    <a:lnTo>
                      <a:pt x="44" y="26"/>
                    </a:lnTo>
                    <a:lnTo>
                      <a:pt x="44" y="24"/>
                    </a:lnTo>
                    <a:lnTo>
                      <a:pt x="44" y="24"/>
                    </a:lnTo>
                    <a:lnTo>
                      <a:pt x="46" y="24"/>
                    </a:lnTo>
                    <a:lnTo>
                      <a:pt x="46" y="24"/>
                    </a:lnTo>
                    <a:lnTo>
                      <a:pt x="46" y="24"/>
                    </a:lnTo>
                    <a:lnTo>
                      <a:pt x="52" y="18"/>
                    </a:lnTo>
                    <a:lnTo>
                      <a:pt x="56" y="14"/>
                    </a:lnTo>
                    <a:lnTo>
                      <a:pt x="58" y="10"/>
                    </a:lnTo>
                    <a:lnTo>
                      <a:pt x="60" y="10"/>
                    </a:lnTo>
                    <a:lnTo>
                      <a:pt x="60" y="8"/>
                    </a:lnTo>
                    <a:lnTo>
                      <a:pt x="60" y="8"/>
                    </a:lnTo>
                    <a:lnTo>
                      <a:pt x="62" y="8"/>
                    </a:lnTo>
                    <a:lnTo>
                      <a:pt x="62" y="6"/>
                    </a:lnTo>
                    <a:lnTo>
                      <a:pt x="62" y="6"/>
                    </a:lnTo>
                    <a:lnTo>
                      <a:pt x="62" y="6"/>
                    </a:lnTo>
                    <a:lnTo>
                      <a:pt x="62" y="6"/>
                    </a:lnTo>
                    <a:lnTo>
                      <a:pt x="62" y="6"/>
                    </a:lnTo>
                    <a:lnTo>
                      <a:pt x="62" y="4"/>
                    </a:lnTo>
                    <a:lnTo>
                      <a:pt x="64" y="4"/>
                    </a:lnTo>
                    <a:lnTo>
                      <a:pt x="64" y="4"/>
                    </a:lnTo>
                    <a:lnTo>
                      <a:pt x="64" y="4"/>
                    </a:lnTo>
                    <a:lnTo>
                      <a:pt x="64" y="4"/>
                    </a:lnTo>
                    <a:lnTo>
                      <a:pt x="64" y="2"/>
                    </a:lnTo>
                    <a:lnTo>
                      <a:pt x="66" y="2"/>
                    </a:lnTo>
                    <a:lnTo>
                      <a:pt x="66" y="0"/>
                    </a:lnTo>
                    <a:lnTo>
                      <a:pt x="66" y="0"/>
                    </a:lnTo>
                    <a:lnTo>
                      <a:pt x="66" y="0"/>
                    </a:lnTo>
                    <a:lnTo>
                      <a:pt x="64" y="0"/>
                    </a:lnTo>
                    <a:lnTo>
                      <a:pt x="58" y="8"/>
                    </a:lnTo>
                    <a:lnTo>
                      <a:pt x="58" y="8"/>
                    </a:lnTo>
                    <a:lnTo>
                      <a:pt x="50" y="18"/>
                    </a:lnTo>
                    <a:lnTo>
                      <a:pt x="42" y="24"/>
                    </a:lnTo>
                    <a:lnTo>
                      <a:pt x="38" y="26"/>
                    </a:lnTo>
                    <a:lnTo>
                      <a:pt x="36" y="26"/>
                    </a:lnTo>
                    <a:lnTo>
                      <a:pt x="30" y="26"/>
                    </a:lnTo>
                    <a:lnTo>
                      <a:pt x="26" y="26"/>
                    </a:lnTo>
                    <a:lnTo>
                      <a:pt x="22" y="26"/>
                    </a:lnTo>
                    <a:lnTo>
                      <a:pt x="22" y="26"/>
                    </a:lnTo>
                    <a:lnTo>
                      <a:pt x="20" y="26"/>
                    </a:lnTo>
                    <a:lnTo>
                      <a:pt x="20" y="24"/>
                    </a:lnTo>
                    <a:lnTo>
                      <a:pt x="18" y="24"/>
                    </a:lnTo>
                    <a:lnTo>
                      <a:pt x="18" y="26"/>
                    </a:lnTo>
                    <a:lnTo>
                      <a:pt x="16" y="28"/>
                    </a:lnTo>
                    <a:lnTo>
                      <a:pt x="16" y="28"/>
                    </a:lnTo>
                    <a:lnTo>
                      <a:pt x="16" y="30"/>
                    </a:lnTo>
                    <a:lnTo>
                      <a:pt x="16" y="32"/>
                    </a:lnTo>
                    <a:lnTo>
                      <a:pt x="16" y="32"/>
                    </a:lnTo>
                    <a:lnTo>
                      <a:pt x="18" y="36"/>
                    </a:lnTo>
                    <a:lnTo>
                      <a:pt x="18" y="38"/>
                    </a:lnTo>
                    <a:lnTo>
                      <a:pt x="18" y="40"/>
                    </a:lnTo>
                    <a:lnTo>
                      <a:pt x="18" y="40"/>
                    </a:lnTo>
                    <a:lnTo>
                      <a:pt x="16" y="44"/>
                    </a:lnTo>
                    <a:lnTo>
                      <a:pt x="16" y="46"/>
                    </a:lnTo>
                    <a:lnTo>
                      <a:pt x="14" y="46"/>
                    </a:lnTo>
                    <a:lnTo>
                      <a:pt x="14" y="46"/>
                    </a:lnTo>
                    <a:lnTo>
                      <a:pt x="14" y="46"/>
                    </a:lnTo>
                    <a:lnTo>
                      <a:pt x="14" y="48"/>
                    </a:lnTo>
                    <a:lnTo>
                      <a:pt x="14" y="48"/>
                    </a:lnTo>
                    <a:lnTo>
                      <a:pt x="14" y="48"/>
                    </a:lnTo>
                    <a:lnTo>
                      <a:pt x="14" y="48"/>
                    </a:lnTo>
                    <a:lnTo>
                      <a:pt x="14" y="48"/>
                    </a:lnTo>
                    <a:lnTo>
                      <a:pt x="14" y="48"/>
                    </a:lnTo>
                    <a:lnTo>
                      <a:pt x="12" y="54"/>
                    </a:lnTo>
                    <a:lnTo>
                      <a:pt x="6" y="60"/>
                    </a:lnTo>
                    <a:lnTo>
                      <a:pt x="2" y="64"/>
                    </a:lnTo>
                    <a:lnTo>
                      <a:pt x="2" y="64"/>
                    </a:lnTo>
                    <a:lnTo>
                      <a:pt x="0" y="64"/>
                    </a:lnTo>
                    <a:lnTo>
                      <a:pt x="0" y="64"/>
                    </a:lnTo>
                    <a:lnTo>
                      <a:pt x="2" y="64"/>
                    </a:lnTo>
                    <a:lnTo>
                      <a:pt x="4" y="66"/>
                    </a:lnTo>
                    <a:lnTo>
                      <a:pt x="8" y="66"/>
                    </a:lnTo>
                    <a:lnTo>
                      <a:pt x="18" y="66"/>
                    </a:lnTo>
                    <a:lnTo>
                      <a:pt x="36" y="68"/>
                    </a:lnTo>
                    <a:lnTo>
                      <a:pt x="64" y="68"/>
                    </a:lnTo>
                    <a:lnTo>
                      <a:pt x="82" y="70"/>
                    </a:lnTo>
                    <a:lnTo>
                      <a:pt x="102" y="70"/>
                    </a:lnTo>
                    <a:lnTo>
                      <a:pt x="128" y="72"/>
                    </a:lnTo>
                    <a:lnTo>
                      <a:pt x="140" y="72"/>
                    </a:lnTo>
                    <a:lnTo>
                      <a:pt x="150" y="72"/>
                    </a:lnTo>
                    <a:lnTo>
                      <a:pt x="152" y="72"/>
                    </a:lnTo>
                    <a:lnTo>
                      <a:pt x="150" y="68"/>
                    </a:lnTo>
                    <a:lnTo>
                      <a:pt x="148" y="64"/>
                    </a:lnTo>
                    <a:lnTo>
                      <a:pt x="148" y="62"/>
                    </a:lnTo>
                    <a:lnTo>
                      <a:pt x="148" y="56"/>
                    </a:lnTo>
                    <a:lnTo>
                      <a:pt x="150" y="52"/>
                    </a:lnTo>
                    <a:lnTo>
                      <a:pt x="150" y="50"/>
                    </a:lnTo>
                    <a:lnTo>
                      <a:pt x="150" y="50"/>
                    </a:lnTo>
                    <a:lnTo>
                      <a:pt x="150" y="48"/>
                    </a:lnTo>
                    <a:lnTo>
                      <a:pt x="150" y="48"/>
                    </a:lnTo>
                    <a:lnTo>
                      <a:pt x="150" y="46"/>
                    </a:lnTo>
                    <a:lnTo>
                      <a:pt x="150" y="44"/>
                    </a:lnTo>
                    <a:lnTo>
                      <a:pt x="150" y="44"/>
                    </a:lnTo>
                    <a:lnTo>
                      <a:pt x="150" y="44"/>
                    </a:lnTo>
                    <a:lnTo>
                      <a:pt x="150" y="44"/>
                    </a:lnTo>
                    <a:lnTo>
                      <a:pt x="150" y="44"/>
                    </a:lnTo>
                    <a:lnTo>
                      <a:pt x="150" y="44"/>
                    </a:lnTo>
                    <a:lnTo>
                      <a:pt x="152" y="44"/>
                    </a:lnTo>
                    <a:lnTo>
                      <a:pt x="152" y="42"/>
                    </a:lnTo>
                    <a:lnTo>
                      <a:pt x="152" y="42"/>
                    </a:lnTo>
                    <a:lnTo>
                      <a:pt x="152" y="42"/>
                    </a:lnTo>
                    <a:lnTo>
                      <a:pt x="154" y="42"/>
                    </a:lnTo>
                    <a:lnTo>
                      <a:pt x="156" y="40"/>
                    </a:lnTo>
                    <a:lnTo>
                      <a:pt x="156" y="40"/>
                    </a:lnTo>
                    <a:lnTo>
                      <a:pt x="156" y="38"/>
                    </a:lnTo>
                    <a:lnTo>
                      <a:pt x="156" y="36"/>
                    </a:lnTo>
                    <a:lnTo>
                      <a:pt x="156" y="36"/>
                    </a:lnTo>
                    <a:lnTo>
                      <a:pt x="156" y="32"/>
                    </a:lnTo>
                    <a:lnTo>
                      <a:pt x="156" y="32"/>
                    </a:lnTo>
                    <a:lnTo>
                      <a:pt x="156" y="32"/>
                    </a:lnTo>
                    <a:close/>
                  </a:path>
                </a:pathLst>
              </a:custGeom>
              <a:solidFill>
                <a:schemeClr val="accent1">
                  <a:lumMod val="20000"/>
                  <a:lumOff val="80000"/>
                </a:schemeClr>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29" name="Freeform 75"/>
              <p:cNvSpPr>
                <a:spLocks/>
              </p:cNvSpPr>
              <p:nvPr>
                <p:custDataLst>
                  <p:tags r:id="rId150"/>
                </p:custDataLst>
              </p:nvPr>
            </p:nvSpPr>
            <p:spPr bwMode="gray">
              <a:xfrm>
                <a:off x="4860450" y="2720678"/>
                <a:ext cx="766933" cy="676425"/>
              </a:xfrm>
              <a:custGeom>
                <a:avLst/>
                <a:gdLst>
                  <a:gd name="T0" fmla="*/ 473 w 483"/>
                  <a:gd name="T1" fmla="*/ 284 h 426"/>
                  <a:gd name="T2" fmla="*/ 461 w 483"/>
                  <a:gd name="T3" fmla="*/ 258 h 426"/>
                  <a:gd name="T4" fmla="*/ 455 w 483"/>
                  <a:gd name="T5" fmla="*/ 240 h 426"/>
                  <a:gd name="T6" fmla="*/ 459 w 483"/>
                  <a:gd name="T7" fmla="*/ 228 h 426"/>
                  <a:gd name="T8" fmla="*/ 459 w 483"/>
                  <a:gd name="T9" fmla="*/ 208 h 426"/>
                  <a:gd name="T10" fmla="*/ 447 w 483"/>
                  <a:gd name="T11" fmla="*/ 200 h 426"/>
                  <a:gd name="T12" fmla="*/ 473 w 483"/>
                  <a:gd name="T13" fmla="*/ 162 h 426"/>
                  <a:gd name="T14" fmla="*/ 471 w 483"/>
                  <a:gd name="T15" fmla="*/ 132 h 426"/>
                  <a:gd name="T16" fmla="*/ 453 w 483"/>
                  <a:gd name="T17" fmla="*/ 74 h 426"/>
                  <a:gd name="T18" fmla="*/ 449 w 483"/>
                  <a:gd name="T19" fmla="*/ 52 h 426"/>
                  <a:gd name="T20" fmla="*/ 429 w 483"/>
                  <a:gd name="T21" fmla="*/ 38 h 426"/>
                  <a:gd name="T22" fmla="*/ 273 w 483"/>
                  <a:gd name="T23" fmla="*/ 32 h 426"/>
                  <a:gd name="T24" fmla="*/ 219 w 483"/>
                  <a:gd name="T25" fmla="*/ 34 h 426"/>
                  <a:gd name="T26" fmla="*/ 209 w 483"/>
                  <a:gd name="T27" fmla="*/ 10 h 426"/>
                  <a:gd name="T28" fmla="*/ 225 w 483"/>
                  <a:gd name="T29" fmla="*/ 18 h 426"/>
                  <a:gd name="T30" fmla="*/ 135 w 483"/>
                  <a:gd name="T31" fmla="*/ 20 h 426"/>
                  <a:gd name="T32" fmla="*/ 109 w 483"/>
                  <a:gd name="T33" fmla="*/ 38 h 426"/>
                  <a:gd name="T34" fmla="*/ 101 w 483"/>
                  <a:gd name="T35" fmla="*/ 46 h 426"/>
                  <a:gd name="T36" fmla="*/ 4 w 483"/>
                  <a:gd name="T37" fmla="*/ 72 h 426"/>
                  <a:gd name="T38" fmla="*/ 14 w 483"/>
                  <a:gd name="T39" fmla="*/ 76 h 426"/>
                  <a:gd name="T40" fmla="*/ 23 w 483"/>
                  <a:gd name="T41" fmla="*/ 78 h 426"/>
                  <a:gd name="T42" fmla="*/ 25 w 483"/>
                  <a:gd name="T43" fmla="*/ 92 h 426"/>
                  <a:gd name="T44" fmla="*/ 10 w 483"/>
                  <a:gd name="T45" fmla="*/ 84 h 426"/>
                  <a:gd name="T46" fmla="*/ 10 w 483"/>
                  <a:gd name="T47" fmla="*/ 104 h 426"/>
                  <a:gd name="T48" fmla="*/ 14 w 483"/>
                  <a:gd name="T49" fmla="*/ 130 h 426"/>
                  <a:gd name="T50" fmla="*/ 8 w 483"/>
                  <a:gd name="T51" fmla="*/ 156 h 426"/>
                  <a:gd name="T52" fmla="*/ 23 w 483"/>
                  <a:gd name="T53" fmla="*/ 192 h 426"/>
                  <a:gd name="T54" fmla="*/ 29 w 483"/>
                  <a:gd name="T55" fmla="*/ 214 h 426"/>
                  <a:gd name="T56" fmla="*/ 29 w 483"/>
                  <a:gd name="T57" fmla="*/ 248 h 426"/>
                  <a:gd name="T58" fmla="*/ 45 w 483"/>
                  <a:gd name="T59" fmla="*/ 268 h 426"/>
                  <a:gd name="T60" fmla="*/ 43 w 483"/>
                  <a:gd name="T61" fmla="*/ 292 h 426"/>
                  <a:gd name="T62" fmla="*/ 49 w 483"/>
                  <a:gd name="T63" fmla="*/ 288 h 426"/>
                  <a:gd name="T64" fmla="*/ 61 w 483"/>
                  <a:gd name="T65" fmla="*/ 300 h 426"/>
                  <a:gd name="T66" fmla="*/ 87 w 483"/>
                  <a:gd name="T67" fmla="*/ 310 h 426"/>
                  <a:gd name="T68" fmla="*/ 103 w 483"/>
                  <a:gd name="T69" fmla="*/ 310 h 426"/>
                  <a:gd name="T70" fmla="*/ 105 w 483"/>
                  <a:gd name="T71" fmla="*/ 324 h 426"/>
                  <a:gd name="T72" fmla="*/ 109 w 483"/>
                  <a:gd name="T73" fmla="*/ 332 h 426"/>
                  <a:gd name="T74" fmla="*/ 129 w 483"/>
                  <a:gd name="T75" fmla="*/ 346 h 426"/>
                  <a:gd name="T76" fmla="*/ 141 w 483"/>
                  <a:gd name="T77" fmla="*/ 340 h 426"/>
                  <a:gd name="T78" fmla="*/ 147 w 483"/>
                  <a:gd name="T79" fmla="*/ 330 h 426"/>
                  <a:gd name="T80" fmla="*/ 157 w 483"/>
                  <a:gd name="T81" fmla="*/ 338 h 426"/>
                  <a:gd name="T82" fmla="*/ 175 w 483"/>
                  <a:gd name="T83" fmla="*/ 336 h 426"/>
                  <a:gd name="T84" fmla="*/ 173 w 483"/>
                  <a:gd name="T85" fmla="*/ 348 h 426"/>
                  <a:gd name="T86" fmla="*/ 189 w 483"/>
                  <a:gd name="T87" fmla="*/ 354 h 426"/>
                  <a:gd name="T88" fmla="*/ 203 w 483"/>
                  <a:gd name="T89" fmla="*/ 362 h 426"/>
                  <a:gd name="T90" fmla="*/ 221 w 483"/>
                  <a:gd name="T91" fmla="*/ 378 h 426"/>
                  <a:gd name="T92" fmla="*/ 235 w 483"/>
                  <a:gd name="T93" fmla="*/ 396 h 426"/>
                  <a:gd name="T94" fmla="*/ 245 w 483"/>
                  <a:gd name="T95" fmla="*/ 394 h 426"/>
                  <a:gd name="T96" fmla="*/ 263 w 483"/>
                  <a:gd name="T97" fmla="*/ 394 h 426"/>
                  <a:gd name="T98" fmla="*/ 275 w 483"/>
                  <a:gd name="T99" fmla="*/ 406 h 426"/>
                  <a:gd name="T100" fmla="*/ 289 w 483"/>
                  <a:gd name="T101" fmla="*/ 410 h 426"/>
                  <a:gd name="T102" fmla="*/ 305 w 483"/>
                  <a:gd name="T103" fmla="*/ 398 h 426"/>
                  <a:gd name="T104" fmla="*/ 329 w 483"/>
                  <a:gd name="T105" fmla="*/ 404 h 426"/>
                  <a:gd name="T106" fmla="*/ 345 w 483"/>
                  <a:gd name="T107" fmla="*/ 394 h 426"/>
                  <a:gd name="T108" fmla="*/ 371 w 483"/>
                  <a:gd name="T109" fmla="*/ 400 h 426"/>
                  <a:gd name="T110" fmla="*/ 391 w 483"/>
                  <a:gd name="T111" fmla="*/ 416 h 426"/>
                  <a:gd name="T112" fmla="*/ 421 w 483"/>
                  <a:gd name="T113" fmla="*/ 426 h 426"/>
                  <a:gd name="T114" fmla="*/ 415 w 483"/>
                  <a:gd name="T115" fmla="*/ 408 h 426"/>
                  <a:gd name="T116" fmla="*/ 423 w 483"/>
                  <a:gd name="T117" fmla="*/ 372 h 426"/>
                  <a:gd name="T118" fmla="*/ 463 w 483"/>
                  <a:gd name="T119" fmla="*/ 330 h 426"/>
                  <a:gd name="T120" fmla="*/ 479 w 483"/>
                  <a:gd name="T121" fmla="*/ 306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83" h="426">
                    <a:moveTo>
                      <a:pt x="475" y="298"/>
                    </a:moveTo>
                    <a:lnTo>
                      <a:pt x="477" y="298"/>
                    </a:lnTo>
                    <a:lnTo>
                      <a:pt x="477" y="298"/>
                    </a:lnTo>
                    <a:lnTo>
                      <a:pt x="479" y="298"/>
                    </a:lnTo>
                    <a:lnTo>
                      <a:pt x="481" y="298"/>
                    </a:lnTo>
                    <a:lnTo>
                      <a:pt x="481" y="298"/>
                    </a:lnTo>
                    <a:lnTo>
                      <a:pt x="483" y="298"/>
                    </a:lnTo>
                    <a:lnTo>
                      <a:pt x="483" y="296"/>
                    </a:lnTo>
                    <a:lnTo>
                      <a:pt x="483" y="296"/>
                    </a:lnTo>
                    <a:lnTo>
                      <a:pt x="479" y="292"/>
                    </a:lnTo>
                    <a:lnTo>
                      <a:pt x="475" y="290"/>
                    </a:lnTo>
                    <a:lnTo>
                      <a:pt x="475" y="290"/>
                    </a:lnTo>
                    <a:lnTo>
                      <a:pt x="475" y="288"/>
                    </a:lnTo>
                    <a:lnTo>
                      <a:pt x="475" y="288"/>
                    </a:lnTo>
                    <a:lnTo>
                      <a:pt x="475" y="286"/>
                    </a:lnTo>
                    <a:lnTo>
                      <a:pt x="475" y="286"/>
                    </a:lnTo>
                    <a:lnTo>
                      <a:pt x="473" y="286"/>
                    </a:lnTo>
                    <a:lnTo>
                      <a:pt x="473" y="286"/>
                    </a:lnTo>
                    <a:lnTo>
                      <a:pt x="473" y="286"/>
                    </a:lnTo>
                    <a:lnTo>
                      <a:pt x="473" y="284"/>
                    </a:lnTo>
                    <a:lnTo>
                      <a:pt x="473" y="284"/>
                    </a:lnTo>
                    <a:lnTo>
                      <a:pt x="473" y="282"/>
                    </a:lnTo>
                    <a:lnTo>
                      <a:pt x="471" y="280"/>
                    </a:lnTo>
                    <a:lnTo>
                      <a:pt x="471" y="278"/>
                    </a:lnTo>
                    <a:lnTo>
                      <a:pt x="469" y="278"/>
                    </a:lnTo>
                    <a:lnTo>
                      <a:pt x="471" y="276"/>
                    </a:lnTo>
                    <a:lnTo>
                      <a:pt x="471" y="276"/>
                    </a:lnTo>
                    <a:lnTo>
                      <a:pt x="471" y="276"/>
                    </a:lnTo>
                    <a:lnTo>
                      <a:pt x="467" y="274"/>
                    </a:lnTo>
                    <a:lnTo>
                      <a:pt x="465" y="272"/>
                    </a:lnTo>
                    <a:lnTo>
                      <a:pt x="465" y="270"/>
                    </a:lnTo>
                    <a:lnTo>
                      <a:pt x="461" y="264"/>
                    </a:lnTo>
                    <a:lnTo>
                      <a:pt x="461" y="264"/>
                    </a:lnTo>
                    <a:lnTo>
                      <a:pt x="461" y="264"/>
                    </a:lnTo>
                    <a:lnTo>
                      <a:pt x="459" y="264"/>
                    </a:lnTo>
                    <a:lnTo>
                      <a:pt x="459" y="262"/>
                    </a:lnTo>
                    <a:lnTo>
                      <a:pt x="459" y="262"/>
                    </a:lnTo>
                    <a:lnTo>
                      <a:pt x="459" y="260"/>
                    </a:lnTo>
                    <a:lnTo>
                      <a:pt x="461" y="260"/>
                    </a:lnTo>
                    <a:lnTo>
                      <a:pt x="461" y="260"/>
                    </a:lnTo>
                    <a:lnTo>
                      <a:pt x="461" y="258"/>
                    </a:lnTo>
                    <a:lnTo>
                      <a:pt x="461" y="258"/>
                    </a:lnTo>
                    <a:lnTo>
                      <a:pt x="461" y="258"/>
                    </a:lnTo>
                    <a:lnTo>
                      <a:pt x="463" y="258"/>
                    </a:lnTo>
                    <a:lnTo>
                      <a:pt x="461" y="256"/>
                    </a:lnTo>
                    <a:lnTo>
                      <a:pt x="461" y="254"/>
                    </a:lnTo>
                    <a:lnTo>
                      <a:pt x="459" y="254"/>
                    </a:lnTo>
                    <a:lnTo>
                      <a:pt x="461" y="252"/>
                    </a:lnTo>
                    <a:lnTo>
                      <a:pt x="461" y="252"/>
                    </a:lnTo>
                    <a:lnTo>
                      <a:pt x="459" y="250"/>
                    </a:lnTo>
                    <a:lnTo>
                      <a:pt x="459" y="250"/>
                    </a:lnTo>
                    <a:lnTo>
                      <a:pt x="457" y="250"/>
                    </a:lnTo>
                    <a:lnTo>
                      <a:pt x="457" y="248"/>
                    </a:lnTo>
                    <a:lnTo>
                      <a:pt x="457" y="248"/>
                    </a:lnTo>
                    <a:lnTo>
                      <a:pt x="457" y="248"/>
                    </a:lnTo>
                    <a:lnTo>
                      <a:pt x="457" y="248"/>
                    </a:lnTo>
                    <a:lnTo>
                      <a:pt x="455" y="246"/>
                    </a:lnTo>
                    <a:lnTo>
                      <a:pt x="455" y="246"/>
                    </a:lnTo>
                    <a:lnTo>
                      <a:pt x="457" y="246"/>
                    </a:lnTo>
                    <a:lnTo>
                      <a:pt x="455" y="244"/>
                    </a:lnTo>
                    <a:lnTo>
                      <a:pt x="455" y="244"/>
                    </a:lnTo>
                    <a:lnTo>
                      <a:pt x="455" y="242"/>
                    </a:lnTo>
                    <a:lnTo>
                      <a:pt x="455" y="240"/>
                    </a:lnTo>
                    <a:lnTo>
                      <a:pt x="455" y="240"/>
                    </a:lnTo>
                    <a:lnTo>
                      <a:pt x="455" y="240"/>
                    </a:lnTo>
                    <a:lnTo>
                      <a:pt x="455" y="238"/>
                    </a:lnTo>
                    <a:lnTo>
                      <a:pt x="455" y="238"/>
                    </a:lnTo>
                    <a:lnTo>
                      <a:pt x="455" y="238"/>
                    </a:lnTo>
                    <a:lnTo>
                      <a:pt x="455" y="238"/>
                    </a:lnTo>
                    <a:lnTo>
                      <a:pt x="455" y="238"/>
                    </a:lnTo>
                    <a:lnTo>
                      <a:pt x="455" y="236"/>
                    </a:lnTo>
                    <a:lnTo>
                      <a:pt x="455" y="236"/>
                    </a:lnTo>
                    <a:lnTo>
                      <a:pt x="455" y="236"/>
                    </a:lnTo>
                    <a:lnTo>
                      <a:pt x="455" y="236"/>
                    </a:lnTo>
                    <a:lnTo>
                      <a:pt x="455" y="236"/>
                    </a:lnTo>
                    <a:lnTo>
                      <a:pt x="455" y="234"/>
                    </a:lnTo>
                    <a:lnTo>
                      <a:pt x="455" y="234"/>
                    </a:lnTo>
                    <a:lnTo>
                      <a:pt x="455" y="234"/>
                    </a:lnTo>
                    <a:lnTo>
                      <a:pt x="455" y="232"/>
                    </a:lnTo>
                    <a:lnTo>
                      <a:pt x="455" y="232"/>
                    </a:lnTo>
                    <a:lnTo>
                      <a:pt x="457" y="230"/>
                    </a:lnTo>
                    <a:lnTo>
                      <a:pt x="457" y="230"/>
                    </a:lnTo>
                    <a:lnTo>
                      <a:pt x="459" y="230"/>
                    </a:lnTo>
                    <a:lnTo>
                      <a:pt x="459" y="228"/>
                    </a:lnTo>
                    <a:lnTo>
                      <a:pt x="457" y="226"/>
                    </a:lnTo>
                    <a:lnTo>
                      <a:pt x="457" y="226"/>
                    </a:lnTo>
                    <a:lnTo>
                      <a:pt x="457" y="224"/>
                    </a:lnTo>
                    <a:lnTo>
                      <a:pt x="457" y="224"/>
                    </a:lnTo>
                    <a:lnTo>
                      <a:pt x="459" y="222"/>
                    </a:lnTo>
                    <a:lnTo>
                      <a:pt x="459" y="222"/>
                    </a:lnTo>
                    <a:lnTo>
                      <a:pt x="459" y="222"/>
                    </a:lnTo>
                    <a:lnTo>
                      <a:pt x="459" y="222"/>
                    </a:lnTo>
                    <a:lnTo>
                      <a:pt x="459" y="222"/>
                    </a:lnTo>
                    <a:lnTo>
                      <a:pt x="459" y="220"/>
                    </a:lnTo>
                    <a:lnTo>
                      <a:pt x="459" y="218"/>
                    </a:lnTo>
                    <a:lnTo>
                      <a:pt x="459" y="216"/>
                    </a:lnTo>
                    <a:lnTo>
                      <a:pt x="461" y="214"/>
                    </a:lnTo>
                    <a:lnTo>
                      <a:pt x="461" y="214"/>
                    </a:lnTo>
                    <a:lnTo>
                      <a:pt x="461" y="214"/>
                    </a:lnTo>
                    <a:lnTo>
                      <a:pt x="461" y="210"/>
                    </a:lnTo>
                    <a:lnTo>
                      <a:pt x="459" y="210"/>
                    </a:lnTo>
                    <a:lnTo>
                      <a:pt x="459" y="208"/>
                    </a:lnTo>
                    <a:lnTo>
                      <a:pt x="459" y="208"/>
                    </a:lnTo>
                    <a:lnTo>
                      <a:pt x="459" y="208"/>
                    </a:lnTo>
                    <a:lnTo>
                      <a:pt x="459" y="208"/>
                    </a:lnTo>
                    <a:lnTo>
                      <a:pt x="457" y="206"/>
                    </a:lnTo>
                    <a:lnTo>
                      <a:pt x="457" y="206"/>
                    </a:lnTo>
                    <a:lnTo>
                      <a:pt x="457" y="206"/>
                    </a:lnTo>
                    <a:lnTo>
                      <a:pt x="457" y="206"/>
                    </a:lnTo>
                    <a:lnTo>
                      <a:pt x="455" y="206"/>
                    </a:lnTo>
                    <a:lnTo>
                      <a:pt x="453" y="206"/>
                    </a:lnTo>
                    <a:lnTo>
                      <a:pt x="451" y="202"/>
                    </a:lnTo>
                    <a:lnTo>
                      <a:pt x="453" y="202"/>
                    </a:lnTo>
                    <a:lnTo>
                      <a:pt x="453" y="202"/>
                    </a:lnTo>
                    <a:lnTo>
                      <a:pt x="453" y="200"/>
                    </a:lnTo>
                    <a:lnTo>
                      <a:pt x="451" y="202"/>
                    </a:lnTo>
                    <a:lnTo>
                      <a:pt x="451" y="202"/>
                    </a:lnTo>
                    <a:lnTo>
                      <a:pt x="451" y="200"/>
                    </a:lnTo>
                    <a:lnTo>
                      <a:pt x="451" y="200"/>
                    </a:lnTo>
                    <a:lnTo>
                      <a:pt x="449" y="202"/>
                    </a:lnTo>
                    <a:lnTo>
                      <a:pt x="449" y="202"/>
                    </a:lnTo>
                    <a:lnTo>
                      <a:pt x="449" y="200"/>
                    </a:lnTo>
                    <a:lnTo>
                      <a:pt x="449" y="200"/>
                    </a:lnTo>
                    <a:lnTo>
                      <a:pt x="447" y="200"/>
                    </a:lnTo>
                    <a:lnTo>
                      <a:pt x="447" y="200"/>
                    </a:lnTo>
                    <a:lnTo>
                      <a:pt x="447" y="200"/>
                    </a:lnTo>
                    <a:lnTo>
                      <a:pt x="447" y="200"/>
                    </a:lnTo>
                    <a:lnTo>
                      <a:pt x="447" y="200"/>
                    </a:lnTo>
                    <a:lnTo>
                      <a:pt x="443" y="198"/>
                    </a:lnTo>
                    <a:lnTo>
                      <a:pt x="443" y="198"/>
                    </a:lnTo>
                    <a:lnTo>
                      <a:pt x="443" y="198"/>
                    </a:lnTo>
                    <a:lnTo>
                      <a:pt x="439" y="198"/>
                    </a:lnTo>
                    <a:lnTo>
                      <a:pt x="437" y="196"/>
                    </a:lnTo>
                    <a:lnTo>
                      <a:pt x="439" y="196"/>
                    </a:lnTo>
                    <a:lnTo>
                      <a:pt x="437" y="194"/>
                    </a:lnTo>
                    <a:lnTo>
                      <a:pt x="437" y="194"/>
                    </a:lnTo>
                    <a:lnTo>
                      <a:pt x="437" y="194"/>
                    </a:lnTo>
                    <a:lnTo>
                      <a:pt x="437" y="192"/>
                    </a:lnTo>
                    <a:lnTo>
                      <a:pt x="439" y="188"/>
                    </a:lnTo>
                    <a:lnTo>
                      <a:pt x="439" y="188"/>
                    </a:lnTo>
                    <a:lnTo>
                      <a:pt x="441" y="184"/>
                    </a:lnTo>
                    <a:lnTo>
                      <a:pt x="447" y="176"/>
                    </a:lnTo>
                    <a:lnTo>
                      <a:pt x="451" y="174"/>
                    </a:lnTo>
                    <a:lnTo>
                      <a:pt x="457" y="172"/>
                    </a:lnTo>
                    <a:lnTo>
                      <a:pt x="465" y="168"/>
                    </a:lnTo>
                    <a:lnTo>
                      <a:pt x="471" y="164"/>
                    </a:lnTo>
                    <a:lnTo>
                      <a:pt x="473" y="162"/>
                    </a:lnTo>
                    <a:lnTo>
                      <a:pt x="473" y="160"/>
                    </a:lnTo>
                    <a:lnTo>
                      <a:pt x="473" y="158"/>
                    </a:lnTo>
                    <a:lnTo>
                      <a:pt x="473" y="148"/>
                    </a:lnTo>
                    <a:lnTo>
                      <a:pt x="473" y="148"/>
                    </a:lnTo>
                    <a:lnTo>
                      <a:pt x="473" y="148"/>
                    </a:lnTo>
                    <a:lnTo>
                      <a:pt x="473" y="146"/>
                    </a:lnTo>
                    <a:lnTo>
                      <a:pt x="471" y="146"/>
                    </a:lnTo>
                    <a:lnTo>
                      <a:pt x="473" y="146"/>
                    </a:lnTo>
                    <a:lnTo>
                      <a:pt x="473" y="144"/>
                    </a:lnTo>
                    <a:lnTo>
                      <a:pt x="473" y="144"/>
                    </a:lnTo>
                    <a:lnTo>
                      <a:pt x="473" y="144"/>
                    </a:lnTo>
                    <a:lnTo>
                      <a:pt x="473" y="142"/>
                    </a:lnTo>
                    <a:lnTo>
                      <a:pt x="473" y="140"/>
                    </a:lnTo>
                    <a:lnTo>
                      <a:pt x="473" y="140"/>
                    </a:lnTo>
                    <a:lnTo>
                      <a:pt x="473" y="140"/>
                    </a:lnTo>
                    <a:lnTo>
                      <a:pt x="471" y="138"/>
                    </a:lnTo>
                    <a:lnTo>
                      <a:pt x="471" y="136"/>
                    </a:lnTo>
                    <a:lnTo>
                      <a:pt x="471" y="136"/>
                    </a:lnTo>
                    <a:lnTo>
                      <a:pt x="471" y="134"/>
                    </a:lnTo>
                    <a:lnTo>
                      <a:pt x="471" y="132"/>
                    </a:lnTo>
                    <a:lnTo>
                      <a:pt x="471" y="132"/>
                    </a:lnTo>
                    <a:lnTo>
                      <a:pt x="471" y="130"/>
                    </a:lnTo>
                    <a:lnTo>
                      <a:pt x="471" y="130"/>
                    </a:lnTo>
                    <a:lnTo>
                      <a:pt x="471" y="128"/>
                    </a:lnTo>
                    <a:lnTo>
                      <a:pt x="471" y="128"/>
                    </a:lnTo>
                    <a:lnTo>
                      <a:pt x="469" y="126"/>
                    </a:lnTo>
                    <a:lnTo>
                      <a:pt x="469" y="126"/>
                    </a:lnTo>
                    <a:lnTo>
                      <a:pt x="469" y="124"/>
                    </a:lnTo>
                    <a:lnTo>
                      <a:pt x="467" y="124"/>
                    </a:lnTo>
                    <a:lnTo>
                      <a:pt x="467" y="122"/>
                    </a:lnTo>
                    <a:lnTo>
                      <a:pt x="467" y="120"/>
                    </a:lnTo>
                    <a:lnTo>
                      <a:pt x="465" y="114"/>
                    </a:lnTo>
                    <a:lnTo>
                      <a:pt x="463" y="110"/>
                    </a:lnTo>
                    <a:lnTo>
                      <a:pt x="461" y="106"/>
                    </a:lnTo>
                    <a:lnTo>
                      <a:pt x="457" y="94"/>
                    </a:lnTo>
                    <a:lnTo>
                      <a:pt x="455" y="90"/>
                    </a:lnTo>
                    <a:lnTo>
                      <a:pt x="455" y="84"/>
                    </a:lnTo>
                    <a:lnTo>
                      <a:pt x="455" y="84"/>
                    </a:lnTo>
                    <a:lnTo>
                      <a:pt x="455" y="82"/>
                    </a:lnTo>
                    <a:lnTo>
                      <a:pt x="453" y="78"/>
                    </a:lnTo>
                    <a:lnTo>
                      <a:pt x="453" y="76"/>
                    </a:lnTo>
                    <a:lnTo>
                      <a:pt x="453" y="74"/>
                    </a:lnTo>
                    <a:lnTo>
                      <a:pt x="453" y="72"/>
                    </a:lnTo>
                    <a:lnTo>
                      <a:pt x="453" y="70"/>
                    </a:lnTo>
                    <a:lnTo>
                      <a:pt x="453" y="70"/>
                    </a:lnTo>
                    <a:lnTo>
                      <a:pt x="453" y="68"/>
                    </a:lnTo>
                    <a:lnTo>
                      <a:pt x="453" y="68"/>
                    </a:lnTo>
                    <a:lnTo>
                      <a:pt x="451" y="68"/>
                    </a:lnTo>
                    <a:lnTo>
                      <a:pt x="451" y="68"/>
                    </a:lnTo>
                    <a:lnTo>
                      <a:pt x="451" y="68"/>
                    </a:lnTo>
                    <a:lnTo>
                      <a:pt x="451" y="66"/>
                    </a:lnTo>
                    <a:lnTo>
                      <a:pt x="451" y="66"/>
                    </a:lnTo>
                    <a:lnTo>
                      <a:pt x="451" y="66"/>
                    </a:lnTo>
                    <a:lnTo>
                      <a:pt x="451" y="66"/>
                    </a:lnTo>
                    <a:lnTo>
                      <a:pt x="451" y="64"/>
                    </a:lnTo>
                    <a:lnTo>
                      <a:pt x="453" y="64"/>
                    </a:lnTo>
                    <a:lnTo>
                      <a:pt x="453" y="62"/>
                    </a:lnTo>
                    <a:lnTo>
                      <a:pt x="451" y="58"/>
                    </a:lnTo>
                    <a:lnTo>
                      <a:pt x="451" y="56"/>
                    </a:lnTo>
                    <a:lnTo>
                      <a:pt x="451" y="54"/>
                    </a:lnTo>
                    <a:lnTo>
                      <a:pt x="451" y="54"/>
                    </a:lnTo>
                    <a:lnTo>
                      <a:pt x="449" y="52"/>
                    </a:lnTo>
                    <a:lnTo>
                      <a:pt x="449" y="52"/>
                    </a:lnTo>
                    <a:lnTo>
                      <a:pt x="447" y="52"/>
                    </a:lnTo>
                    <a:lnTo>
                      <a:pt x="447" y="52"/>
                    </a:lnTo>
                    <a:lnTo>
                      <a:pt x="447" y="50"/>
                    </a:lnTo>
                    <a:lnTo>
                      <a:pt x="447" y="50"/>
                    </a:lnTo>
                    <a:lnTo>
                      <a:pt x="445" y="48"/>
                    </a:lnTo>
                    <a:lnTo>
                      <a:pt x="445" y="48"/>
                    </a:lnTo>
                    <a:lnTo>
                      <a:pt x="445" y="48"/>
                    </a:lnTo>
                    <a:lnTo>
                      <a:pt x="441" y="46"/>
                    </a:lnTo>
                    <a:lnTo>
                      <a:pt x="439" y="44"/>
                    </a:lnTo>
                    <a:lnTo>
                      <a:pt x="435" y="42"/>
                    </a:lnTo>
                    <a:lnTo>
                      <a:pt x="435" y="42"/>
                    </a:lnTo>
                    <a:lnTo>
                      <a:pt x="433" y="42"/>
                    </a:lnTo>
                    <a:lnTo>
                      <a:pt x="433" y="42"/>
                    </a:lnTo>
                    <a:lnTo>
                      <a:pt x="431" y="42"/>
                    </a:lnTo>
                    <a:lnTo>
                      <a:pt x="431" y="42"/>
                    </a:lnTo>
                    <a:lnTo>
                      <a:pt x="431" y="40"/>
                    </a:lnTo>
                    <a:lnTo>
                      <a:pt x="431" y="40"/>
                    </a:lnTo>
                    <a:lnTo>
                      <a:pt x="431" y="40"/>
                    </a:lnTo>
                    <a:lnTo>
                      <a:pt x="431" y="38"/>
                    </a:lnTo>
                    <a:lnTo>
                      <a:pt x="429" y="38"/>
                    </a:lnTo>
                    <a:lnTo>
                      <a:pt x="429" y="38"/>
                    </a:lnTo>
                    <a:lnTo>
                      <a:pt x="427" y="38"/>
                    </a:lnTo>
                    <a:lnTo>
                      <a:pt x="427" y="38"/>
                    </a:lnTo>
                    <a:lnTo>
                      <a:pt x="427" y="36"/>
                    </a:lnTo>
                    <a:lnTo>
                      <a:pt x="427" y="36"/>
                    </a:lnTo>
                    <a:lnTo>
                      <a:pt x="427" y="36"/>
                    </a:lnTo>
                    <a:lnTo>
                      <a:pt x="425" y="36"/>
                    </a:lnTo>
                    <a:lnTo>
                      <a:pt x="425" y="36"/>
                    </a:lnTo>
                    <a:lnTo>
                      <a:pt x="421" y="34"/>
                    </a:lnTo>
                    <a:lnTo>
                      <a:pt x="421" y="34"/>
                    </a:lnTo>
                    <a:lnTo>
                      <a:pt x="419" y="36"/>
                    </a:lnTo>
                    <a:lnTo>
                      <a:pt x="419" y="38"/>
                    </a:lnTo>
                    <a:lnTo>
                      <a:pt x="417" y="38"/>
                    </a:lnTo>
                    <a:lnTo>
                      <a:pt x="415" y="38"/>
                    </a:lnTo>
                    <a:lnTo>
                      <a:pt x="405" y="38"/>
                    </a:lnTo>
                    <a:lnTo>
                      <a:pt x="393" y="38"/>
                    </a:lnTo>
                    <a:lnTo>
                      <a:pt x="367" y="36"/>
                    </a:lnTo>
                    <a:lnTo>
                      <a:pt x="347" y="36"/>
                    </a:lnTo>
                    <a:lnTo>
                      <a:pt x="329" y="34"/>
                    </a:lnTo>
                    <a:lnTo>
                      <a:pt x="301" y="34"/>
                    </a:lnTo>
                    <a:lnTo>
                      <a:pt x="283" y="32"/>
                    </a:lnTo>
                    <a:lnTo>
                      <a:pt x="273" y="32"/>
                    </a:lnTo>
                    <a:lnTo>
                      <a:pt x="269" y="32"/>
                    </a:lnTo>
                    <a:lnTo>
                      <a:pt x="267" y="30"/>
                    </a:lnTo>
                    <a:lnTo>
                      <a:pt x="265" y="30"/>
                    </a:lnTo>
                    <a:lnTo>
                      <a:pt x="265" y="30"/>
                    </a:lnTo>
                    <a:lnTo>
                      <a:pt x="261" y="34"/>
                    </a:lnTo>
                    <a:lnTo>
                      <a:pt x="261" y="34"/>
                    </a:lnTo>
                    <a:lnTo>
                      <a:pt x="259" y="34"/>
                    </a:lnTo>
                    <a:lnTo>
                      <a:pt x="255" y="36"/>
                    </a:lnTo>
                    <a:lnTo>
                      <a:pt x="237" y="38"/>
                    </a:lnTo>
                    <a:lnTo>
                      <a:pt x="235" y="38"/>
                    </a:lnTo>
                    <a:lnTo>
                      <a:pt x="235" y="38"/>
                    </a:lnTo>
                    <a:lnTo>
                      <a:pt x="233" y="38"/>
                    </a:lnTo>
                    <a:lnTo>
                      <a:pt x="233" y="38"/>
                    </a:lnTo>
                    <a:lnTo>
                      <a:pt x="231" y="38"/>
                    </a:lnTo>
                    <a:lnTo>
                      <a:pt x="223" y="36"/>
                    </a:lnTo>
                    <a:lnTo>
                      <a:pt x="221" y="34"/>
                    </a:lnTo>
                    <a:lnTo>
                      <a:pt x="221" y="34"/>
                    </a:lnTo>
                    <a:lnTo>
                      <a:pt x="221" y="34"/>
                    </a:lnTo>
                    <a:lnTo>
                      <a:pt x="219" y="34"/>
                    </a:lnTo>
                    <a:lnTo>
                      <a:pt x="219" y="34"/>
                    </a:lnTo>
                    <a:lnTo>
                      <a:pt x="219" y="34"/>
                    </a:lnTo>
                    <a:lnTo>
                      <a:pt x="217" y="32"/>
                    </a:lnTo>
                    <a:lnTo>
                      <a:pt x="217" y="32"/>
                    </a:lnTo>
                    <a:lnTo>
                      <a:pt x="215" y="30"/>
                    </a:lnTo>
                    <a:lnTo>
                      <a:pt x="215" y="28"/>
                    </a:lnTo>
                    <a:lnTo>
                      <a:pt x="215" y="24"/>
                    </a:lnTo>
                    <a:lnTo>
                      <a:pt x="215" y="24"/>
                    </a:lnTo>
                    <a:lnTo>
                      <a:pt x="215" y="22"/>
                    </a:lnTo>
                    <a:lnTo>
                      <a:pt x="213" y="18"/>
                    </a:lnTo>
                    <a:lnTo>
                      <a:pt x="213" y="18"/>
                    </a:lnTo>
                    <a:lnTo>
                      <a:pt x="213" y="16"/>
                    </a:lnTo>
                    <a:lnTo>
                      <a:pt x="213" y="16"/>
                    </a:lnTo>
                    <a:lnTo>
                      <a:pt x="213" y="16"/>
                    </a:lnTo>
                    <a:lnTo>
                      <a:pt x="211" y="16"/>
                    </a:lnTo>
                    <a:lnTo>
                      <a:pt x="211" y="16"/>
                    </a:lnTo>
                    <a:lnTo>
                      <a:pt x="211" y="14"/>
                    </a:lnTo>
                    <a:lnTo>
                      <a:pt x="211" y="14"/>
                    </a:lnTo>
                    <a:lnTo>
                      <a:pt x="211" y="14"/>
                    </a:lnTo>
                    <a:lnTo>
                      <a:pt x="211" y="14"/>
                    </a:lnTo>
                    <a:lnTo>
                      <a:pt x="211" y="12"/>
                    </a:lnTo>
                    <a:lnTo>
                      <a:pt x="211" y="10"/>
                    </a:lnTo>
                    <a:lnTo>
                      <a:pt x="209" y="10"/>
                    </a:lnTo>
                    <a:lnTo>
                      <a:pt x="209" y="10"/>
                    </a:lnTo>
                    <a:lnTo>
                      <a:pt x="209" y="10"/>
                    </a:lnTo>
                    <a:lnTo>
                      <a:pt x="209" y="8"/>
                    </a:lnTo>
                    <a:lnTo>
                      <a:pt x="209" y="8"/>
                    </a:lnTo>
                    <a:lnTo>
                      <a:pt x="209" y="8"/>
                    </a:lnTo>
                    <a:lnTo>
                      <a:pt x="209" y="6"/>
                    </a:lnTo>
                    <a:lnTo>
                      <a:pt x="209" y="4"/>
                    </a:lnTo>
                    <a:lnTo>
                      <a:pt x="209" y="4"/>
                    </a:lnTo>
                    <a:lnTo>
                      <a:pt x="209" y="4"/>
                    </a:lnTo>
                    <a:lnTo>
                      <a:pt x="211" y="6"/>
                    </a:lnTo>
                    <a:lnTo>
                      <a:pt x="213" y="6"/>
                    </a:lnTo>
                    <a:lnTo>
                      <a:pt x="215" y="8"/>
                    </a:lnTo>
                    <a:lnTo>
                      <a:pt x="217" y="10"/>
                    </a:lnTo>
                    <a:lnTo>
                      <a:pt x="219" y="10"/>
                    </a:lnTo>
                    <a:lnTo>
                      <a:pt x="219" y="10"/>
                    </a:lnTo>
                    <a:lnTo>
                      <a:pt x="219" y="10"/>
                    </a:lnTo>
                    <a:lnTo>
                      <a:pt x="221" y="12"/>
                    </a:lnTo>
                    <a:lnTo>
                      <a:pt x="223" y="12"/>
                    </a:lnTo>
                    <a:lnTo>
                      <a:pt x="225" y="14"/>
                    </a:lnTo>
                    <a:lnTo>
                      <a:pt x="225" y="16"/>
                    </a:lnTo>
                    <a:lnTo>
                      <a:pt x="225" y="18"/>
                    </a:lnTo>
                    <a:lnTo>
                      <a:pt x="227" y="18"/>
                    </a:lnTo>
                    <a:lnTo>
                      <a:pt x="227" y="18"/>
                    </a:lnTo>
                    <a:lnTo>
                      <a:pt x="227" y="20"/>
                    </a:lnTo>
                    <a:lnTo>
                      <a:pt x="227" y="20"/>
                    </a:lnTo>
                    <a:lnTo>
                      <a:pt x="229" y="20"/>
                    </a:lnTo>
                    <a:lnTo>
                      <a:pt x="229" y="18"/>
                    </a:lnTo>
                    <a:lnTo>
                      <a:pt x="227" y="16"/>
                    </a:lnTo>
                    <a:lnTo>
                      <a:pt x="227" y="16"/>
                    </a:lnTo>
                    <a:lnTo>
                      <a:pt x="225" y="12"/>
                    </a:lnTo>
                    <a:lnTo>
                      <a:pt x="207" y="2"/>
                    </a:lnTo>
                    <a:lnTo>
                      <a:pt x="207" y="2"/>
                    </a:lnTo>
                    <a:lnTo>
                      <a:pt x="207" y="2"/>
                    </a:lnTo>
                    <a:lnTo>
                      <a:pt x="205" y="0"/>
                    </a:lnTo>
                    <a:lnTo>
                      <a:pt x="203" y="0"/>
                    </a:lnTo>
                    <a:lnTo>
                      <a:pt x="195" y="0"/>
                    </a:lnTo>
                    <a:lnTo>
                      <a:pt x="183" y="2"/>
                    </a:lnTo>
                    <a:lnTo>
                      <a:pt x="175" y="4"/>
                    </a:lnTo>
                    <a:lnTo>
                      <a:pt x="157" y="8"/>
                    </a:lnTo>
                    <a:lnTo>
                      <a:pt x="141" y="14"/>
                    </a:lnTo>
                    <a:lnTo>
                      <a:pt x="137" y="18"/>
                    </a:lnTo>
                    <a:lnTo>
                      <a:pt x="135" y="20"/>
                    </a:lnTo>
                    <a:lnTo>
                      <a:pt x="133" y="20"/>
                    </a:lnTo>
                    <a:lnTo>
                      <a:pt x="129" y="22"/>
                    </a:lnTo>
                    <a:lnTo>
                      <a:pt x="119" y="22"/>
                    </a:lnTo>
                    <a:lnTo>
                      <a:pt x="115" y="24"/>
                    </a:lnTo>
                    <a:lnTo>
                      <a:pt x="115" y="26"/>
                    </a:lnTo>
                    <a:lnTo>
                      <a:pt x="113" y="28"/>
                    </a:lnTo>
                    <a:lnTo>
                      <a:pt x="115" y="28"/>
                    </a:lnTo>
                    <a:lnTo>
                      <a:pt x="115" y="26"/>
                    </a:lnTo>
                    <a:lnTo>
                      <a:pt x="115" y="28"/>
                    </a:lnTo>
                    <a:lnTo>
                      <a:pt x="115" y="28"/>
                    </a:lnTo>
                    <a:lnTo>
                      <a:pt x="113" y="28"/>
                    </a:lnTo>
                    <a:lnTo>
                      <a:pt x="113" y="30"/>
                    </a:lnTo>
                    <a:lnTo>
                      <a:pt x="113" y="28"/>
                    </a:lnTo>
                    <a:lnTo>
                      <a:pt x="113" y="28"/>
                    </a:lnTo>
                    <a:lnTo>
                      <a:pt x="113" y="28"/>
                    </a:lnTo>
                    <a:lnTo>
                      <a:pt x="107" y="34"/>
                    </a:lnTo>
                    <a:lnTo>
                      <a:pt x="105" y="38"/>
                    </a:lnTo>
                    <a:lnTo>
                      <a:pt x="105" y="38"/>
                    </a:lnTo>
                    <a:lnTo>
                      <a:pt x="107" y="36"/>
                    </a:lnTo>
                    <a:lnTo>
                      <a:pt x="107" y="36"/>
                    </a:lnTo>
                    <a:lnTo>
                      <a:pt x="109" y="38"/>
                    </a:lnTo>
                    <a:lnTo>
                      <a:pt x="107" y="38"/>
                    </a:lnTo>
                    <a:lnTo>
                      <a:pt x="105" y="40"/>
                    </a:lnTo>
                    <a:lnTo>
                      <a:pt x="105" y="40"/>
                    </a:lnTo>
                    <a:lnTo>
                      <a:pt x="105" y="40"/>
                    </a:lnTo>
                    <a:lnTo>
                      <a:pt x="103" y="40"/>
                    </a:lnTo>
                    <a:lnTo>
                      <a:pt x="103" y="40"/>
                    </a:lnTo>
                    <a:lnTo>
                      <a:pt x="103" y="40"/>
                    </a:lnTo>
                    <a:lnTo>
                      <a:pt x="105" y="38"/>
                    </a:lnTo>
                    <a:lnTo>
                      <a:pt x="105" y="38"/>
                    </a:lnTo>
                    <a:lnTo>
                      <a:pt x="101" y="42"/>
                    </a:lnTo>
                    <a:lnTo>
                      <a:pt x="101" y="42"/>
                    </a:lnTo>
                    <a:lnTo>
                      <a:pt x="99" y="44"/>
                    </a:lnTo>
                    <a:lnTo>
                      <a:pt x="101" y="42"/>
                    </a:lnTo>
                    <a:lnTo>
                      <a:pt x="103" y="42"/>
                    </a:lnTo>
                    <a:lnTo>
                      <a:pt x="101" y="44"/>
                    </a:lnTo>
                    <a:lnTo>
                      <a:pt x="103" y="44"/>
                    </a:lnTo>
                    <a:lnTo>
                      <a:pt x="103" y="44"/>
                    </a:lnTo>
                    <a:lnTo>
                      <a:pt x="101" y="44"/>
                    </a:lnTo>
                    <a:lnTo>
                      <a:pt x="101" y="44"/>
                    </a:lnTo>
                    <a:lnTo>
                      <a:pt x="101" y="44"/>
                    </a:lnTo>
                    <a:lnTo>
                      <a:pt x="101" y="46"/>
                    </a:lnTo>
                    <a:lnTo>
                      <a:pt x="97" y="46"/>
                    </a:lnTo>
                    <a:lnTo>
                      <a:pt x="95" y="46"/>
                    </a:lnTo>
                    <a:lnTo>
                      <a:pt x="97" y="44"/>
                    </a:lnTo>
                    <a:lnTo>
                      <a:pt x="99" y="44"/>
                    </a:lnTo>
                    <a:lnTo>
                      <a:pt x="93" y="46"/>
                    </a:lnTo>
                    <a:lnTo>
                      <a:pt x="85" y="46"/>
                    </a:lnTo>
                    <a:lnTo>
                      <a:pt x="75" y="50"/>
                    </a:lnTo>
                    <a:lnTo>
                      <a:pt x="67" y="52"/>
                    </a:lnTo>
                    <a:lnTo>
                      <a:pt x="57" y="54"/>
                    </a:lnTo>
                    <a:lnTo>
                      <a:pt x="45" y="60"/>
                    </a:lnTo>
                    <a:lnTo>
                      <a:pt x="33" y="62"/>
                    </a:lnTo>
                    <a:lnTo>
                      <a:pt x="20" y="68"/>
                    </a:lnTo>
                    <a:lnTo>
                      <a:pt x="16" y="70"/>
                    </a:lnTo>
                    <a:lnTo>
                      <a:pt x="14" y="72"/>
                    </a:lnTo>
                    <a:lnTo>
                      <a:pt x="12" y="72"/>
                    </a:lnTo>
                    <a:lnTo>
                      <a:pt x="8" y="72"/>
                    </a:lnTo>
                    <a:lnTo>
                      <a:pt x="6" y="70"/>
                    </a:lnTo>
                    <a:lnTo>
                      <a:pt x="6" y="70"/>
                    </a:lnTo>
                    <a:lnTo>
                      <a:pt x="4" y="70"/>
                    </a:lnTo>
                    <a:lnTo>
                      <a:pt x="4" y="72"/>
                    </a:lnTo>
                    <a:lnTo>
                      <a:pt x="4" y="72"/>
                    </a:lnTo>
                    <a:lnTo>
                      <a:pt x="2" y="72"/>
                    </a:lnTo>
                    <a:lnTo>
                      <a:pt x="4" y="74"/>
                    </a:lnTo>
                    <a:lnTo>
                      <a:pt x="4" y="74"/>
                    </a:lnTo>
                    <a:lnTo>
                      <a:pt x="6" y="76"/>
                    </a:lnTo>
                    <a:lnTo>
                      <a:pt x="8" y="78"/>
                    </a:lnTo>
                    <a:lnTo>
                      <a:pt x="8" y="78"/>
                    </a:lnTo>
                    <a:lnTo>
                      <a:pt x="10" y="78"/>
                    </a:lnTo>
                    <a:lnTo>
                      <a:pt x="10" y="78"/>
                    </a:lnTo>
                    <a:lnTo>
                      <a:pt x="10" y="78"/>
                    </a:lnTo>
                    <a:lnTo>
                      <a:pt x="10" y="78"/>
                    </a:lnTo>
                    <a:lnTo>
                      <a:pt x="10" y="78"/>
                    </a:lnTo>
                    <a:lnTo>
                      <a:pt x="10" y="78"/>
                    </a:lnTo>
                    <a:lnTo>
                      <a:pt x="10" y="78"/>
                    </a:lnTo>
                    <a:lnTo>
                      <a:pt x="10" y="78"/>
                    </a:lnTo>
                    <a:lnTo>
                      <a:pt x="12" y="78"/>
                    </a:lnTo>
                    <a:lnTo>
                      <a:pt x="14" y="78"/>
                    </a:lnTo>
                    <a:lnTo>
                      <a:pt x="14" y="78"/>
                    </a:lnTo>
                    <a:lnTo>
                      <a:pt x="14" y="78"/>
                    </a:lnTo>
                    <a:lnTo>
                      <a:pt x="14" y="76"/>
                    </a:lnTo>
                    <a:lnTo>
                      <a:pt x="14" y="76"/>
                    </a:lnTo>
                    <a:lnTo>
                      <a:pt x="14" y="76"/>
                    </a:lnTo>
                    <a:lnTo>
                      <a:pt x="14" y="74"/>
                    </a:lnTo>
                    <a:lnTo>
                      <a:pt x="12" y="74"/>
                    </a:lnTo>
                    <a:lnTo>
                      <a:pt x="12" y="74"/>
                    </a:lnTo>
                    <a:lnTo>
                      <a:pt x="12" y="74"/>
                    </a:lnTo>
                    <a:lnTo>
                      <a:pt x="14" y="74"/>
                    </a:lnTo>
                    <a:lnTo>
                      <a:pt x="14" y="72"/>
                    </a:lnTo>
                    <a:lnTo>
                      <a:pt x="14" y="74"/>
                    </a:lnTo>
                    <a:lnTo>
                      <a:pt x="14" y="74"/>
                    </a:lnTo>
                    <a:lnTo>
                      <a:pt x="14" y="74"/>
                    </a:lnTo>
                    <a:lnTo>
                      <a:pt x="16" y="72"/>
                    </a:lnTo>
                    <a:lnTo>
                      <a:pt x="16" y="72"/>
                    </a:lnTo>
                    <a:lnTo>
                      <a:pt x="16" y="72"/>
                    </a:lnTo>
                    <a:lnTo>
                      <a:pt x="14" y="74"/>
                    </a:lnTo>
                    <a:lnTo>
                      <a:pt x="16" y="76"/>
                    </a:lnTo>
                    <a:lnTo>
                      <a:pt x="23" y="76"/>
                    </a:lnTo>
                    <a:lnTo>
                      <a:pt x="23" y="76"/>
                    </a:lnTo>
                    <a:lnTo>
                      <a:pt x="25" y="78"/>
                    </a:lnTo>
                    <a:lnTo>
                      <a:pt x="23" y="78"/>
                    </a:lnTo>
                    <a:lnTo>
                      <a:pt x="23" y="78"/>
                    </a:lnTo>
                    <a:lnTo>
                      <a:pt x="23" y="78"/>
                    </a:lnTo>
                    <a:lnTo>
                      <a:pt x="23" y="78"/>
                    </a:lnTo>
                    <a:lnTo>
                      <a:pt x="23" y="80"/>
                    </a:lnTo>
                    <a:lnTo>
                      <a:pt x="23" y="80"/>
                    </a:lnTo>
                    <a:lnTo>
                      <a:pt x="25" y="80"/>
                    </a:lnTo>
                    <a:lnTo>
                      <a:pt x="25" y="78"/>
                    </a:lnTo>
                    <a:lnTo>
                      <a:pt x="25" y="78"/>
                    </a:lnTo>
                    <a:lnTo>
                      <a:pt x="25" y="78"/>
                    </a:lnTo>
                    <a:lnTo>
                      <a:pt x="25" y="76"/>
                    </a:lnTo>
                    <a:lnTo>
                      <a:pt x="25" y="76"/>
                    </a:lnTo>
                    <a:lnTo>
                      <a:pt x="25" y="78"/>
                    </a:lnTo>
                    <a:lnTo>
                      <a:pt x="25" y="80"/>
                    </a:lnTo>
                    <a:lnTo>
                      <a:pt x="25" y="80"/>
                    </a:lnTo>
                    <a:lnTo>
                      <a:pt x="25" y="82"/>
                    </a:lnTo>
                    <a:lnTo>
                      <a:pt x="25" y="82"/>
                    </a:lnTo>
                    <a:lnTo>
                      <a:pt x="25" y="82"/>
                    </a:lnTo>
                    <a:lnTo>
                      <a:pt x="23" y="84"/>
                    </a:lnTo>
                    <a:lnTo>
                      <a:pt x="23" y="82"/>
                    </a:lnTo>
                    <a:lnTo>
                      <a:pt x="20" y="86"/>
                    </a:lnTo>
                    <a:lnTo>
                      <a:pt x="20" y="88"/>
                    </a:lnTo>
                    <a:lnTo>
                      <a:pt x="23" y="90"/>
                    </a:lnTo>
                    <a:lnTo>
                      <a:pt x="23" y="92"/>
                    </a:lnTo>
                    <a:lnTo>
                      <a:pt x="25" y="92"/>
                    </a:lnTo>
                    <a:lnTo>
                      <a:pt x="25" y="92"/>
                    </a:lnTo>
                    <a:lnTo>
                      <a:pt x="25" y="92"/>
                    </a:lnTo>
                    <a:lnTo>
                      <a:pt x="25" y="92"/>
                    </a:lnTo>
                    <a:lnTo>
                      <a:pt x="25" y="92"/>
                    </a:lnTo>
                    <a:lnTo>
                      <a:pt x="25" y="94"/>
                    </a:lnTo>
                    <a:lnTo>
                      <a:pt x="25" y="94"/>
                    </a:lnTo>
                    <a:lnTo>
                      <a:pt x="25" y="94"/>
                    </a:lnTo>
                    <a:lnTo>
                      <a:pt x="25" y="96"/>
                    </a:lnTo>
                    <a:lnTo>
                      <a:pt x="25" y="96"/>
                    </a:lnTo>
                    <a:lnTo>
                      <a:pt x="23" y="96"/>
                    </a:lnTo>
                    <a:lnTo>
                      <a:pt x="20" y="92"/>
                    </a:lnTo>
                    <a:lnTo>
                      <a:pt x="20" y="92"/>
                    </a:lnTo>
                    <a:lnTo>
                      <a:pt x="20" y="90"/>
                    </a:lnTo>
                    <a:lnTo>
                      <a:pt x="16" y="90"/>
                    </a:lnTo>
                    <a:lnTo>
                      <a:pt x="14" y="90"/>
                    </a:lnTo>
                    <a:lnTo>
                      <a:pt x="14" y="88"/>
                    </a:lnTo>
                    <a:lnTo>
                      <a:pt x="14" y="88"/>
                    </a:lnTo>
                    <a:lnTo>
                      <a:pt x="12" y="88"/>
                    </a:lnTo>
                    <a:lnTo>
                      <a:pt x="10" y="86"/>
                    </a:lnTo>
                    <a:lnTo>
                      <a:pt x="10" y="86"/>
                    </a:lnTo>
                    <a:lnTo>
                      <a:pt x="10" y="84"/>
                    </a:lnTo>
                    <a:lnTo>
                      <a:pt x="10" y="84"/>
                    </a:lnTo>
                    <a:lnTo>
                      <a:pt x="8" y="84"/>
                    </a:lnTo>
                    <a:lnTo>
                      <a:pt x="8" y="84"/>
                    </a:lnTo>
                    <a:lnTo>
                      <a:pt x="8" y="86"/>
                    </a:lnTo>
                    <a:lnTo>
                      <a:pt x="10" y="86"/>
                    </a:lnTo>
                    <a:lnTo>
                      <a:pt x="8" y="86"/>
                    </a:lnTo>
                    <a:lnTo>
                      <a:pt x="8" y="86"/>
                    </a:lnTo>
                    <a:lnTo>
                      <a:pt x="10" y="86"/>
                    </a:lnTo>
                    <a:lnTo>
                      <a:pt x="10" y="86"/>
                    </a:lnTo>
                    <a:lnTo>
                      <a:pt x="8" y="88"/>
                    </a:lnTo>
                    <a:lnTo>
                      <a:pt x="8" y="88"/>
                    </a:lnTo>
                    <a:lnTo>
                      <a:pt x="8" y="88"/>
                    </a:lnTo>
                    <a:lnTo>
                      <a:pt x="8" y="90"/>
                    </a:lnTo>
                    <a:lnTo>
                      <a:pt x="6" y="92"/>
                    </a:lnTo>
                    <a:lnTo>
                      <a:pt x="8" y="92"/>
                    </a:lnTo>
                    <a:lnTo>
                      <a:pt x="8" y="96"/>
                    </a:lnTo>
                    <a:lnTo>
                      <a:pt x="8" y="96"/>
                    </a:lnTo>
                    <a:lnTo>
                      <a:pt x="8" y="100"/>
                    </a:lnTo>
                    <a:lnTo>
                      <a:pt x="8" y="100"/>
                    </a:lnTo>
                    <a:lnTo>
                      <a:pt x="10" y="102"/>
                    </a:lnTo>
                    <a:lnTo>
                      <a:pt x="10" y="104"/>
                    </a:lnTo>
                    <a:lnTo>
                      <a:pt x="10" y="106"/>
                    </a:lnTo>
                    <a:lnTo>
                      <a:pt x="12" y="108"/>
                    </a:lnTo>
                    <a:lnTo>
                      <a:pt x="12" y="112"/>
                    </a:lnTo>
                    <a:lnTo>
                      <a:pt x="14" y="116"/>
                    </a:lnTo>
                    <a:lnTo>
                      <a:pt x="14" y="116"/>
                    </a:lnTo>
                    <a:lnTo>
                      <a:pt x="14" y="118"/>
                    </a:lnTo>
                    <a:lnTo>
                      <a:pt x="14" y="118"/>
                    </a:lnTo>
                    <a:lnTo>
                      <a:pt x="14" y="120"/>
                    </a:lnTo>
                    <a:lnTo>
                      <a:pt x="14" y="120"/>
                    </a:lnTo>
                    <a:lnTo>
                      <a:pt x="14" y="120"/>
                    </a:lnTo>
                    <a:lnTo>
                      <a:pt x="16" y="122"/>
                    </a:lnTo>
                    <a:lnTo>
                      <a:pt x="16" y="122"/>
                    </a:lnTo>
                    <a:lnTo>
                      <a:pt x="14" y="124"/>
                    </a:lnTo>
                    <a:lnTo>
                      <a:pt x="14" y="124"/>
                    </a:lnTo>
                    <a:lnTo>
                      <a:pt x="14" y="124"/>
                    </a:lnTo>
                    <a:lnTo>
                      <a:pt x="14" y="126"/>
                    </a:lnTo>
                    <a:lnTo>
                      <a:pt x="12" y="126"/>
                    </a:lnTo>
                    <a:lnTo>
                      <a:pt x="12" y="128"/>
                    </a:lnTo>
                    <a:lnTo>
                      <a:pt x="14" y="128"/>
                    </a:lnTo>
                    <a:lnTo>
                      <a:pt x="14" y="130"/>
                    </a:lnTo>
                    <a:lnTo>
                      <a:pt x="14" y="130"/>
                    </a:lnTo>
                    <a:lnTo>
                      <a:pt x="12" y="134"/>
                    </a:lnTo>
                    <a:lnTo>
                      <a:pt x="12" y="136"/>
                    </a:lnTo>
                    <a:lnTo>
                      <a:pt x="10" y="136"/>
                    </a:lnTo>
                    <a:lnTo>
                      <a:pt x="10" y="138"/>
                    </a:lnTo>
                    <a:lnTo>
                      <a:pt x="6" y="140"/>
                    </a:lnTo>
                    <a:lnTo>
                      <a:pt x="4" y="142"/>
                    </a:lnTo>
                    <a:lnTo>
                      <a:pt x="2" y="144"/>
                    </a:lnTo>
                    <a:lnTo>
                      <a:pt x="2" y="144"/>
                    </a:lnTo>
                    <a:lnTo>
                      <a:pt x="2" y="144"/>
                    </a:lnTo>
                    <a:lnTo>
                      <a:pt x="2" y="148"/>
                    </a:lnTo>
                    <a:lnTo>
                      <a:pt x="2" y="148"/>
                    </a:lnTo>
                    <a:lnTo>
                      <a:pt x="2" y="150"/>
                    </a:lnTo>
                    <a:lnTo>
                      <a:pt x="2" y="150"/>
                    </a:lnTo>
                    <a:lnTo>
                      <a:pt x="0" y="152"/>
                    </a:lnTo>
                    <a:lnTo>
                      <a:pt x="2" y="152"/>
                    </a:lnTo>
                    <a:lnTo>
                      <a:pt x="2" y="154"/>
                    </a:lnTo>
                    <a:lnTo>
                      <a:pt x="2" y="154"/>
                    </a:lnTo>
                    <a:lnTo>
                      <a:pt x="4" y="154"/>
                    </a:lnTo>
                    <a:lnTo>
                      <a:pt x="4" y="154"/>
                    </a:lnTo>
                    <a:lnTo>
                      <a:pt x="6" y="156"/>
                    </a:lnTo>
                    <a:lnTo>
                      <a:pt x="8" y="156"/>
                    </a:lnTo>
                    <a:lnTo>
                      <a:pt x="14" y="160"/>
                    </a:lnTo>
                    <a:lnTo>
                      <a:pt x="14" y="160"/>
                    </a:lnTo>
                    <a:lnTo>
                      <a:pt x="16" y="164"/>
                    </a:lnTo>
                    <a:lnTo>
                      <a:pt x="16" y="164"/>
                    </a:lnTo>
                    <a:lnTo>
                      <a:pt x="16" y="164"/>
                    </a:lnTo>
                    <a:lnTo>
                      <a:pt x="18" y="166"/>
                    </a:lnTo>
                    <a:lnTo>
                      <a:pt x="20" y="168"/>
                    </a:lnTo>
                    <a:lnTo>
                      <a:pt x="25" y="170"/>
                    </a:lnTo>
                    <a:lnTo>
                      <a:pt x="25" y="170"/>
                    </a:lnTo>
                    <a:lnTo>
                      <a:pt x="27" y="172"/>
                    </a:lnTo>
                    <a:lnTo>
                      <a:pt x="25" y="174"/>
                    </a:lnTo>
                    <a:lnTo>
                      <a:pt x="25" y="176"/>
                    </a:lnTo>
                    <a:lnTo>
                      <a:pt x="25" y="176"/>
                    </a:lnTo>
                    <a:lnTo>
                      <a:pt x="25" y="178"/>
                    </a:lnTo>
                    <a:lnTo>
                      <a:pt x="25" y="180"/>
                    </a:lnTo>
                    <a:lnTo>
                      <a:pt x="25" y="182"/>
                    </a:lnTo>
                    <a:lnTo>
                      <a:pt x="20" y="184"/>
                    </a:lnTo>
                    <a:lnTo>
                      <a:pt x="20" y="186"/>
                    </a:lnTo>
                    <a:lnTo>
                      <a:pt x="23" y="190"/>
                    </a:lnTo>
                    <a:lnTo>
                      <a:pt x="25" y="192"/>
                    </a:lnTo>
                    <a:lnTo>
                      <a:pt x="23" y="192"/>
                    </a:lnTo>
                    <a:lnTo>
                      <a:pt x="25" y="194"/>
                    </a:lnTo>
                    <a:lnTo>
                      <a:pt x="27" y="194"/>
                    </a:lnTo>
                    <a:lnTo>
                      <a:pt x="27" y="194"/>
                    </a:lnTo>
                    <a:lnTo>
                      <a:pt x="29" y="196"/>
                    </a:lnTo>
                    <a:lnTo>
                      <a:pt x="29" y="196"/>
                    </a:lnTo>
                    <a:lnTo>
                      <a:pt x="29" y="198"/>
                    </a:lnTo>
                    <a:lnTo>
                      <a:pt x="29" y="200"/>
                    </a:lnTo>
                    <a:lnTo>
                      <a:pt x="29" y="200"/>
                    </a:lnTo>
                    <a:lnTo>
                      <a:pt x="29" y="200"/>
                    </a:lnTo>
                    <a:lnTo>
                      <a:pt x="29" y="202"/>
                    </a:lnTo>
                    <a:lnTo>
                      <a:pt x="29" y="204"/>
                    </a:lnTo>
                    <a:lnTo>
                      <a:pt x="29" y="206"/>
                    </a:lnTo>
                    <a:lnTo>
                      <a:pt x="29" y="206"/>
                    </a:lnTo>
                    <a:lnTo>
                      <a:pt x="33" y="208"/>
                    </a:lnTo>
                    <a:lnTo>
                      <a:pt x="31" y="210"/>
                    </a:lnTo>
                    <a:lnTo>
                      <a:pt x="31" y="210"/>
                    </a:lnTo>
                    <a:lnTo>
                      <a:pt x="31" y="210"/>
                    </a:lnTo>
                    <a:lnTo>
                      <a:pt x="31" y="212"/>
                    </a:lnTo>
                    <a:lnTo>
                      <a:pt x="31" y="212"/>
                    </a:lnTo>
                    <a:lnTo>
                      <a:pt x="29" y="214"/>
                    </a:lnTo>
                    <a:lnTo>
                      <a:pt x="29" y="214"/>
                    </a:lnTo>
                    <a:lnTo>
                      <a:pt x="29" y="218"/>
                    </a:lnTo>
                    <a:lnTo>
                      <a:pt x="29" y="220"/>
                    </a:lnTo>
                    <a:lnTo>
                      <a:pt x="27" y="222"/>
                    </a:lnTo>
                    <a:lnTo>
                      <a:pt x="27" y="222"/>
                    </a:lnTo>
                    <a:lnTo>
                      <a:pt x="25" y="226"/>
                    </a:lnTo>
                    <a:lnTo>
                      <a:pt x="23" y="226"/>
                    </a:lnTo>
                    <a:lnTo>
                      <a:pt x="23" y="228"/>
                    </a:lnTo>
                    <a:lnTo>
                      <a:pt x="25" y="230"/>
                    </a:lnTo>
                    <a:lnTo>
                      <a:pt x="25" y="230"/>
                    </a:lnTo>
                    <a:lnTo>
                      <a:pt x="25" y="230"/>
                    </a:lnTo>
                    <a:lnTo>
                      <a:pt x="27" y="232"/>
                    </a:lnTo>
                    <a:lnTo>
                      <a:pt x="27" y="234"/>
                    </a:lnTo>
                    <a:lnTo>
                      <a:pt x="27" y="236"/>
                    </a:lnTo>
                    <a:lnTo>
                      <a:pt x="31" y="238"/>
                    </a:lnTo>
                    <a:lnTo>
                      <a:pt x="31" y="238"/>
                    </a:lnTo>
                    <a:lnTo>
                      <a:pt x="31" y="240"/>
                    </a:lnTo>
                    <a:lnTo>
                      <a:pt x="31" y="242"/>
                    </a:lnTo>
                    <a:lnTo>
                      <a:pt x="31" y="244"/>
                    </a:lnTo>
                    <a:lnTo>
                      <a:pt x="29" y="246"/>
                    </a:lnTo>
                    <a:lnTo>
                      <a:pt x="29" y="246"/>
                    </a:lnTo>
                    <a:lnTo>
                      <a:pt x="29" y="248"/>
                    </a:lnTo>
                    <a:lnTo>
                      <a:pt x="29" y="248"/>
                    </a:lnTo>
                    <a:lnTo>
                      <a:pt x="31" y="248"/>
                    </a:lnTo>
                    <a:lnTo>
                      <a:pt x="33" y="250"/>
                    </a:lnTo>
                    <a:lnTo>
                      <a:pt x="35" y="250"/>
                    </a:lnTo>
                    <a:lnTo>
                      <a:pt x="37" y="252"/>
                    </a:lnTo>
                    <a:lnTo>
                      <a:pt x="39" y="252"/>
                    </a:lnTo>
                    <a:lnTo>
                      <a:pt x="39" y="252"/>
                    </a:lnTo>
                    <a:lnTo>
                      <a:pt x="41" y="252"/>
                    </a:lnTo>
                    <a:lnTo>
                      <a:pt x="41" y="254"/>
                    </a:lnTo>
                    <a:lnTo>
                      <a:pt x="41" y="254"/>
                    </a:lnTo>
                    <a:lnTo>
                      <a:pt x="41" y="256"/>
                    </a:lnTo>
                    <a:lnTo>
                      <a:pt x="41" y="258"/>
                    </a:lnTo>
                    <a:lnTo>
                      <a:pt x="41" y="260"/>
                    </a:lnTo>
                    <a:lnTo>
                      <a:pt x="41" y="262"/>
                    </a:lnTo>
                    <a:lnTo>
                      <a:pt x="41" y="262"/>
                    </a:lnTo>
                    <a:lnTo>
                      <a:pt x="43" y="264"/>
                    </a:lnTo>
                    <a:lnTo>
                      <a:pt x="43" y="264"/>
                    </a:lnTo>
                    <a:lnTo>
                      <a:pt x="45" y="266"/>
                    </a:lnTo>
                    <a:lnTo>
                      <a:pt x="45" y="268"/>
                    </a:lnTo>
                    <a:lnTo>
                      <a:pt x="45" y="268"/>
                    </a:lnTo>
                    <a:lnTo>
                      <a:pt x="45" y="268"/>
                    </a:lnTo>
                    <a:lnTo>
                      <a:pt x="43" y="270"/>
                    </a:lnTo>
                    <a:lnTo>
                      <a:pt x="43" y="272"/>
                    </a:lnTo>
                    <a:lnTo>
                      <a:pt x="43" y="274"/>
                    </a:lnTo>
                    <a:lnTo>
                      <a:pt x="43" y="276"/>
                    </a:lnTo>
                    <a:lnTo>
                      <a:pt x="43" y="278"/>
                    </a:lnTo>
                    <a:lnTo>
                      <a:pt x="43" y="278"/>
                    </a:lnTo>
                    <a:lnTo>
                      <a:pt x="41" y="278"/>
                    </a:lnTo>
                    <a:lnTo>
                      <a:pt x="41" y="278"/>
                    </a:lnTo>
                    <a:lnTo>
                      <a:pt x="41" y="280"/>
                    </a:lnTo>
                    <a:lnTo>
                      <a:pt x="41" y="280"/>
                    </a:lnTo>
                    <a:lnTo>
                      <a:pt x="41" y="282"/>
                    </a:lnTo>
                    <a:lnTo>
                      <a:pt x="39" y="286"/>
                    </a:lnTo>
                    <a:lnTo>
                      <a:pt x="37" y="292"/>
                    </a:lnTo>
                    <a:lnTo>
                      <a:pt x="35" y="294"/>
                    </a:lnTo>
                    <a:lnTo>
                      <a:pt x="35" y="294"/>
                    </a:lnTo>
                    <a:lnTo>
                      <a:pt x="35" y="296"/>
                    </a:lnTo>
                    <a:lnTo>
                      <a:pt x="35" y="296"/>
                    </a:lnTo>
                    <a:lnTo>
                      <a:pt x="37" y="296"/>
                    </a:lnTo>
                    <a:lnTo>
                      <a:pt x="43" y="296"/>
                    </a:lnTo>
                    <a:lnTo>
                      <a:pt x="43" y="296"/>
                    </a:lnTo>
                    <a:lnTo>
                      <a:pt x="43" y="292"/>
                    </a:lnTo>
                    <a:lnTo>
                      <a:pt x="43" y="292"/>
                    </a:lnTo>
                    <a:lnTo>
                      <a:pt x="43" y="292"/>
                    </a:lnTo>
                    <a:lnTo>
                      <a:pt x="43" y="292"/>
                    </a:lnTo>
                    <a:lnTo>
                      <a:pt x="43" y="292"/>
                    </a:lnTo>
                    <a:lnTo>
                      <a:pt x="43" y="290"/>
                    </a:lnTo>
                    <a:lnTo>
                      <a:pt x="43" y="288"/>
                    </a:lnTo>
                    <a:lnTo>
                      <a:pt x="43" y="288"/>
                    </a:lnTo>
                    <a:lnTo>
                      <a:pt x="41" y="286"/>
                    </a:lnTo>
                    <a:lnTo>
                      <a:pt x="41" y="286"/>
                    </a:lnTo>
                    <a:lnTo>
                      <a:pt x="41" y="286"/>
                    </a:lnTo>
                    <a:lnTo>
                      <a:pt x="43" y="286"/>
                    </a:lnTo>
                    <a:lnTo>
                      <a:pt x="43" y="286"/>
                    </a:lnTo>
                    <a:lnTo>
                      <a:pt x="43" y="286"/>
                    </a:lnTo>
                    <a:lnTo>
                      <a:pt x="43" y="286"/>
                    </a:lnTo>
                    <a:lnTo>
                      <a:pt x="43" y="284"/>
                    </a:lnTo>
                    <a:lnTo>
                      <a:pt x="43" y="284"/>
                    </a:lnTo>
                    <a:lnTo>
                      <a:pt x="45" y="286"/>
                    </a:lnTo>
                    <a:lnTo>
                      <a:pt x="47" y="286"/>
                    </a:lnTo>
                    <a:lnTo>
                      <a:pt x="47" y="286"/>
                    </a:lnTo>
                    <a:lnTo>
                      <a:pt x="47" y="286"/>
                    </a:lnTo>
                    <a:lnTo>
                      <a:pt x="49" y="288"/>
                    </a:lnTo>
                    <a:lnTo>
                      <a:pt x="49" y="286"/>
                    </a:lnTo>
                    <a:lnTo>
                      <a:pt x="49" y="286"/>
                    </a:lnTo>
                    <a:lnTo>
                      <a:pt x="49" y="286"/>
                    </a:lnTo>
                    <a:lnTo>
                      <a:pt x="51" y="284"/>
                    </a:lnTo>
                    <a:lnTo>
                      <a:pt x="51" y="286"/>
                    </a:lnTo>
                    <a:lnTo>
                      <a:pt x="51" y="286"/>
                    </a:lnTo>
                    <a:lnTo>
                      <a:pt x="51" y="288"/>
                    </a:lnTo>
                    <a:lnTo>
                      <a:pt x="55" y="288"/>
                    </a:lnTo>
                    <a:lnTo>
                      <a:pt x="55" y="288"/>
                    </a:lnTo>
                    <a:lnTo>
                      <a:pt x="57" y="290"/>
                    </a:lnTo>
                    <a:lnTo>
                      <a:pt x="57" y="290"/>
                    </a:lnTo>
                    <a:lnTo>
                      <a:pt x="57" y="290"/>
                    </a:lnTo>
                    <a:lnTo>
                      <a:pt x="55" y="292"/>
                    </a:lnTo>
                    <a:lnTo>
                      <a:pt x="55" y="292"/>
                    </a:lnTo>
                    <a:lnTo>
                      <a:pt x="57" y="294"/>
                    </a:lnTo>
                    <a:lnTo>
                      <a:pt x="57" y="296"/>
                    </a:lnTo>
                    <a:lnTo>
                      <a:pt x="57" y="296"/>
                    </a:lnTo>
                    <a:lnTo>
                      <a:pt x="59" y="296"/>
                    </a:lnTo>
                    <a:lnTo>
                      <a:pt x="59" y="298"/>
                    </a:lnTo>
                    <a:lnTo>
                      <a:pt x="61" y="298"/>
                    </a:lnTo>
                    <a:lnTo>
                      <a:pt x="61" y="300"/>
                    </a:lnTo>
                    <a:lnTo>
                      <a:pt x="61" y="300"/>
                    </a:lnTo>
                    <a:lnTo>
                      <a:pt x="61" y="300"/>
                    </a:lnTo>
                    <a:lnTo>
                      <a:pt x="61" y="302"/>
                    </a:lnTo>
                    <a:lnTo>
                      <a:pt x="61" y="302"/>
                    </a:lnTo>
                    <a:lnTo>
                      <a:pt x="61" y="302"/>
                    </a:lnTo>
                    <a:lnTo>
                      <a:pt x="61" y="302"/>
                    </a:lnTo>
                    <a:lnTo>
                      <a:pt x="63" y="300"/>
                    </a:lnTo>
                    <a:lnTo>
                      <a:pt x="63" y="300"/>
                    </a:lnTo>
                    <a:lnTo>
                      <a:pt x="65" y="300"/>
                    </a:lnTo>
                    <a:lnTo>
                      <a:pt x="75" y="304"/>
                    </a:lnTo>
                    <a:lnTo>
                      <a:pt x="75" y="304"/>
                    </a:lnTo>
                    <a:lnTo>
                      <a:pt x="75" y="304"/>
                    </a:lnTo>
                    <a:lnTo>
                      <a:pt x="77" y="304"/>
                    </a:lnTo>
                    <a:lnTo>
                      <a:pt x="77" y="304"/>
                    </a:lnTo>
                    <a:lnTo>
                      <a:pt x="81" y="304"/>
                    </a:lnTo>
                    <a:lnTo>
                      <a:pt x="81" y="304"/>
                    </a:lnTo>
                    <a:lnTo>
                      <a:pt x="81" y="304"/>
                    </a:lnTo>
                    <a:lnTo>
                      <a:pt x="81" y="306"/>
                    </a:lnTo>
                    <a:lnTo>
                      <a:pt x="85" y="308"/>
                    </a:lnTo>
                    <a:lnTo>
                      <a:pt x="85" y="310"/>
                    </a:lnTo>
                    <a:lnTo>
                      <a:pt x="87" y="310"/>
                    </a:lnTo>
                    <a:lnTo>
                      <a:pt x="89" y="308"/>
                    </a:lnTo>
                    <a:lnTo>
                      <a:pt x="89" y="308"/>
                    </a:lnTo>
                    <a:lnTo>
                      <a:pt x="91" y="308"/>
                    </a:lnTo>
                    <a:lnTo>
                      <a:pt x="91" y="310"/>
                    </a:lnTo>
                    <a:lnTo>
                      <a:pt x="91" y="310"/>
                    </a:lnTo>
                    <a:lnTo>
                      <a:pt x="91" y="312"/>
                    </a:lnTo>
                    <a:lnTo>
                      <a:pt x="91" y="312"/>
                    </a:lnTo>
                    <a:lnTo>
                      <a:pt x="91" y="312"/>
                    </a:lnTo>
                    <a:lnTo>
                      <a:pt x="91" y="314"/>
                    </a:lnTo>
                    <a:lnTo>
                      <a:pt x="91" y="314"/>
                    </a:lnTo>
                    <a:lnTo>
                      <a:pt x="91" y="314"/>
                    </a:lnTo>
                    <a:lnTo>
                      <a:pt x="93" y="314"/>
                    </a:lnTo>
                    <a:lnTo>
                      <a:pt x="95" y="310"/>
                    </a:lnTo>
                    <a:lnTo>
                      <a:pt x="99" y="312"/>
                    </a:lnTo>
                    <a:lnTo>
                      <a:pt x="99" y="312"/>
                    </a:lnTo>
                    <a:lnTo>
                      <a:pt x="101" y="312"/>
                    </a:lnTo>
                    <a:lnTo>
                      <a:pt x="101" y="312"/>
                    </a:lnTo>
                    <a:lnTo>
                      <a:pt x="101" y="312"/>
                    </a:lnTo>
                    <a:lnTo>
                      <a:pt x="101" y="310"/>
                    </a:lnTo>
                    <a:lnTo>
                      <a:pt x="103" y="310"/>
                    </a:lnTo>
                    <a:lnTo>
                      <a:pt x="103" y="310"/>
                    </a:lnTo>
                    <a:lnTo>
                      <a:pt x="105" y="310"/>
                    </a:lnTo>
                    <a:lnTo>
                      <a:pt x="107" y="310"/>
                    </a:lnTo>
                    <a:lnTo>
                      <a:pt x="107" y="312"/>
                    </a:lnTo>
                    <a:lnTo>
                      <a:pt x="111" y="314"/>
                    </a:lnTo>
                    <a:lnTo>
                      <a:pt x="113" y="316"/>
                    </a:lnTo>
                    <a:lnTo>
                      <a:pt x="111" y="316"/>
                    </a:lnTo>
                    <a:lnTo>
                      <a:pt x="111" y="318"/>
                    </a:lnTo>
                    <a:lnTo>
                      <a:pt x="111" y="318"/>
                    </a:lnTo>
                    <a:lnTo>
                      <a:pt x="111" y="318"/>
                    </a:lnTo>
                    <a:lnTo>
                      <a:pt x="111" y="318"/>
                    </a:lnTo>
                    <a:lnTo>
                      <a:pt x="111" y="318"/>
                    </a:lnTo>
                    <a:lnTo>
                      <a:pt x="111" y="320"/>
                    </a:lnTo>
                    <a:lnTo>
                      <a:pt x="111" y="320"/>
                    </a:lnTo>
                    <a:lnTo>
                      <a:pt x="111" y="320"/>
                    </a:lnTo>
                    <a:lnTo>
                      <a:pt x="109" y="322"/>
                    </a:lnTo>
                    <a:lnTo>
                      <a:pt x="109" y="322"/>
                    </a:lnTo>
                    <a:lnTo>
                      <a:pt x="109" y="322"/>
                    </a:lnTo>
                    <a:lnTo>
                      <a:pt x="107" y="322"/>
                    </a:lnTo>
                    <a:lnTo>
                      <a:pt x="105" y="322"/>
                    </a:lnTo>
                    <a:lnTo>
                      <a:pt x="105" y="322"/>
                    </a:lnTo>
                    <a:lnTo>
                      <a:pt x="105" y="324"/>
                    </a:lnTo>
                    <a:lnTo>
                      <a:pt x="103" y="324"/>
                    </a:lnTo>
                    <a:lnTo>
                      <a:pt x="103" y="324"/>
                    </a:lnTo>
                    <a:lnTo>
                      <a:pt x="103" y="324"/>
                    </a:lnTo>
                    <a:lnTo>
                      <a:pt x="103" y="324"/>
                    </a:lnTo>
                    <a:lnTo>
                      <a:pt x="101" y="324"/>
                    </a:lnTo>
                    <a:lnTo>
                      <a:pt x="103" y="326"/>
                    </a:lnTo>
                    <a:lnTo>
                      <a:pt x="103" y="326"/>
                    </a:lnTo>
                    <a:lnTo>
                      <a:pt x="101" y="326"/>
                    </a:lnTo>
                    <a:lnTo>
                      <a:pt x="101" y="326"/>
                    </a:lnTo>
                    <a:lnTo>
                      <a:pt x="101" y="328"/>
                    </a:lnTo>
                    <a:lnTo>
                      <a:pt x="103" y="328"/>
                    </a:lnTo>
                    <a:lnTo>
                      <a:pt x="103" y="330"/>
                    </a:lnTo>
                    <a:lnTo>
                      <a:pt x="103" y="330"/>
                    </a:lnTo>
                    <a:lnTo>
                      <a:pt x="105" y="330"/>
                    </a:lnTo>
                    <a:lnTo>
                      <a:pt x="105" y="330"/>
                    </a:lnTo>
                    <a:lnTo>
                      <a:pt x="105" y="330"/>
                    </a:lnTo>
                    <a:lnTo>
                      <a:pt x="105" y="330"/>
                    </a:lnTo>
                    <a:lnTo>
                      <a:pt x="107" y="330"/>
                    </a:lnTo>
                    <a:lnTo>
                      <a:pt x="109" y="330"/>
                    </a:lnTo>
                    <a:lnTo>
                      <a:pt x="109" y="332"/>
                    </a:lnTo>
                    <a:lnTo>
                      <a:pt x="109" y="332"/>
                    </a:lnTo>
                    <a:lnTo>
                      <a:pt x="109" y="332"/>
                    </a:lnTo>
                    <a:lnTo>
                      <a:pt x="109" y="332"/>
                    </a:lnTo>
                    <a:lnTo>
                      <a:pt x="109" y="334"/>
                    </a:lnTo>
                    <a:lnTo>
                      <a:pt x="111" y="334"/>
                    </a:lnTo>
                    <a:lnTo>
                      <a:pt x="113" y="336"/>
                    </a:lnTo>
                    <a:lnTo>
                      <a:pt x="113" y="336"/>
                    </a:lnTo>
                    <a:lnTo>
                      <a:pt x="115" y="338"/>
                    </a:lnTo>
                    <a:lnTo>
                      <a:pt x="115" y="340"/>
                    </a:lnTo>
                    <a:lnTo>
                      <a:pt x="117" y="340"/>
                    </a:lnTo>
                    <a:lnTo>
                      <a:pt x="117" y="342"/>
                    </a:lnTo>
                    <a:lnTo>
                      <a:pt x="119" y="342"/>
                    </a:lnTo>
                    <a:lnTo>
                      <a:pt x="119" y="346"/>
                    </a:lnTo>
                    <a:lnTo>
                      <a:pt x="119" y="346"/>
                    </a:lnTo>
                    <a:lnTo>
                      <a:pt x="119" y="348"/>
                    </a:lnTo>
                    <a:lnTo>
                      <a:pt x="121" y="348"/>
                    </a:lnTo>
                    <a:lnTo>
                      <a:pt x="123" y="350"/>
                    </a:lnTo>
                    <a:lnTo>
                      <a:pt x="125" y="350"/>
                    </a:lnTo>
                    <a:lnTo>
                      <a:pt x="127" y="348"/>
                    </a:lnTo>
                    <a:lnTo>
                      <a:pt x="129" y="346"/>
                    </a:lnTo>
                    <a:lnTo>
                      <a:pt x="129" y="346"/>
                    </a:lnTo>
                    <a:lnTo>
                      <a:pt x="129" y="346"/>
                    </a:lnTo>
                    <a:lnTo>
                      <a:pt x="131" y="344"/>
                    </a:lnTo>
                    <a:lnTo>
                      <a:pt x="131" y="344"/>
                    </a:lnTo>
                    <a:lnTo>
                      <a:pt x="131" y="342"/>
                    </a:lnTo>
                    <a:lnTo>
                      <a:pt x="133" y="342"/>
                    </a:lnTo>
                    <a:lnTo>
                      <a:pt x="133" y="342"/>
                    </a:lnTo>
                    <a:lnTo>
                      <a:pt x="135" y="342"/>
                    </a:lnTo>
                    <a:lnTo>
                      <a:pt x="135" y="342"/>
                    </a:lnTo>
                    <a:lnTo>
                      <a:pt x="135" y="342"/>
                    </a:lnTo>
                    <a:lnTo>
                      <a:pt x="135" y="340"/>
                    </a:lnTo>
                    <a:lnTo>
                      <a:pt x="137" y="340"/>
                    </a:lnTo>
                    <a:lnTo>
                      <a:pt x="137" y="342"/>
                    </a:lnTo>
                    <a:lnTo>
                      <a:pt x="137" y="342"/>
                    </a:lnTo>
                    <a:lnTo>
                      <a:pt x="137" y="340"/>
                    </a:lnTo>
                    <a:lnTo>
                      <a:pt x="137" y="340"/>
                    </a:lnTo>
                    <a:lnTo>
                      <a:pt x="139" y="340"/>
                    </a:lnTo>
                    <a:lnTo>
                      <a:pt x="139" y="340"/>
                    </a:lnTo>
                    <a:lnTo>
                      <a:pt x="139" y="340"/>
                    </a:lnTo>
                    <a:lnTo>
                      <a:pt x="139" y="340"/>
                    </a:lnTo>
                    <a:lnTo>
                      <a:pt x="139" y="342"/>
                    </a:lnTo>
                    <a:lnTo>
                      <a:pt x="141" y="342"/>
                    </a:lnTo>
                    <a:lnTo>
                      <a:pt x="141" y="340"/>
                    </a:lnTo>
                    <a:lnTo>
                      <a:pt x="141" y="340"/>
                    </a:lnTo>
                    <a:lnTo>
                      <a:pt x="139" y="340"/>
                    </a:lnTo>
                    <a:lnTo>
                      <a:pt x="139" y="338"/>
                    </a:lnTo>
                    <a:lnTo>
                      <a:pt x="139" y="336"/>
                    </a:lnTo>
                    <a:lnTo>
                      <a:pt x="139" y="336"/>
                    </a:lnTo>
                    <a:lnTo>
                      <a:pt x="137" y="334"/>
                    </a:lnTo>
                    <a:lnTo>
                      <a:pt x="137" y="334"/>
                    </a:lnTo>
                    <a:lnTo>
                      <a:pt x="135" y="332"/>
                    </a:lnTo>
                    <a:lnTo>
                      <a:pt x="135" y="332"/>
                    </a:lnTo>
                    <a:lnTo>
                      <a:pt x="135" y="330"/>
                    </a:lnTo>
                    <a:lnTo>
                      <a:pt x="133" y="328"/>
                    </a:lnTo>
                    <a:lnTo>
                      <a:pt x="133" y="326"/>
                    </a:lnTo>
                    <a:lnTo>
                      <a:pt x="135" y="326"/>
                    </a:lnTo>
                    <a:lnTo>
                      <a:pt x="135" y="326"/>
                    </a:lnTo>
                    <a:lnTo>
                      <a:pt x="137" y="326"/>
                    </a:lnTo>
                    <a:lnTo>
                      <a:pt x="139" y="328"/>
                    </a:lnTo>
                    <a:lnTo>
                      <a:pt x="139" y="328"/>
                    </a:lnTo>
                    <a:lnTo>
                      <a:pt x="145" y="328"/>
                    </a:lnTo>
                    <a:lnTo>
                      <a:pt x="145" y="328"/>
                    </a:lnTo>
                    <a:lnTo>
                      <a:pt x="145" y="330"/>
                    </a:lnTo>
                    <a:lnTo>
                      <a:pt x="147" y="330"/>
                    </a:lnTo>
                    <a:lnTo>
                      <a:pt x="147" y="330"/>
                    </a:lnTo>
                    <a:lnTo>
                      <a:pt x="149" y="330"/>
                    </a:lnTo>
                    <a:lnTo>
                      <a:pt x="149" y="330"/>
                    </a:lnTo>
                    <a:lnTo>
                      <a:pt x="149" y="330"/>
                    </a:lnTo>
                    <a:lnTo>
                      <a:pt x="149" y="330"/>
                    </a:lnTo>
                    <a:lnTo>
                      <a:pt x="149" y="332"/>
                    </a:lnTo>
                    <a:lnTo>
                      <a:pt x="149" y="332"/>
                    </a:lnTo>
                    <a:lnTo>
                      <a:pt x="151" y="332"/>
                    </a:lnTo>
                    <a:lnTo>
                      <a:pt x="151" y="334"/>
                    </a:lnTo>
                    <a:lnTo>
                      <a:pt x="153" y="334"/>
                    </a:lnTo>
                    <a:lnTo>
                      <a:pt x="155" y="334"/>
                    </a:lnTo>
                    <a:lnTo>
                      <a:pt x="157" y="334"/>
                    </a:lnTo>
                    <a:lnTo>
                      <a:pt x="155" y="334"/>
                    </a:lnTo>
                    <a:lnTo>
                      <a:pt x="155" y="336"/>
                    </a:lnTo>
                    <a:lnTo>
                      <a:pt x="155" y="336"/>
                    </a:lnTo>
                    <a:lnTo>
                      <a:pt x="155" y="336"/>
                    </a:lnTo>
                    <a:lnTo>
                      <a:pt x="155" y="336"/>
                    </a:lnTo>
                    <a:lnTo>
                      <a:pt x="155" y="338"/>
                    </a:lnTo>
                    <a:lnTo>
                      <a:pt x="157" y="338"/>
                    </a:lnTo>
                    <a:lnTo>
                      <a:pt x="157" y="338"/>
                    </a:lnTo>
                    <a:lnTo>
                      <a:pt x="157" y="338"/>
                    </a:lnTo>
                    <a:lnTo>
                      <a:pt x="159" y="338"/>
                    </a:lnTo>
                    <a:lnTo>
                      <a:pt x="159" y="338"/>
                    </a:lnTo>
                    <a:lnTo>
                      <a:pt x="161" y="340"/>
                    </a:lnTo>
                    <a:lnTo>
                      <a:pt x="161" y="340"/>
                    </a:lnTo>
                    <a:lnTo>
                      <a:pt x="161" y="340"/>
                    </a:lnTo>
                    <a:lnTo>
                      <a:pt x="161" y="340"/>
                    </a:lnTo>
                    <a:lnTo>
                      <a:pt x="161" y="340"/>
                    </a:lnTo>
                    <a:lnTo>
                      <a:pt x="163" y="338"/>
                    </a:lnTo>
                    <a:lnTo>
                      <a:pt x="165" y="338"/>
                    </a:lnTo>
                    <a:lnTo>
                      <a:pt x="169" y="338"/>
                    </a:lnTo>
                    <a:lnTo>
                      <a:pt x="171" y="338"/>
                    </a:lnTo>
                    <a:lnTo>
                      <a:pt x="171" y="338"/>
                    </a:lnTo>
                    <a:lnTo>
                      <a:pt x="173" y="336"/>
                    </a:lnTo>
                    <a:lnTo>
                      <a:pt x="173" y="334"/>
                    </a:lnTo>
                    <a:lnTo>
                      <a:pt x="173" y="334"/>
                    </a:lnTo>
                    <a:lnTo>
                      <a:pt x="173" y="334"/>
                    </a:lnTo>
                    <a:lnTo>
                      <a:pt x="175" y="334"/>
                    </a:lnTo>
                    <a:lnTo>
                      <a:pt x="175" y="334"/>
                    </a:lnTo>
                    <a:lnTo>
                      <a:pt x="175" y="336"/>
                    </a:lnTo>
                    <a:lnTo>
                      <a:pt x="175" y="336"/>
                    </a:lnTo>
                    <a:lnTo>
                      <a:pt x="175" y="336"/>
                    </a:lnTo>
                    <a:lnTo>
                      <a:pt x="175" y="336"/>
                    </a:lnTo>
                    <a:lnTo>
                      <a:pt x="175" y="336"/>
                    </a:lnTo>
                    <a:lnTo>
                      <a:pt x="175" y="338"/>
                    </a:lnTo>
                    <a:lnTo>
                      <a:pt x="175" y="338"/>
                    </a:lnTo>
                    <a:lnTo>
                      <a:pt x="175" y="340"/>
                    </a:lnTo>
                    <a:lnTo>
                      <a:pt x="175" y="340"/>
                    </a:lnTo>
                    <a:lnTo>
                      <a:pt x="175" y="340"/>
                    </a:lnTo>
                    <a:lnTo>
                      <a:pt x="175" y="342"/>
                    </a:lnTo>
                    <a:lnTo>
                      <a:pt x="175" y="342"/>
                    </a:lnTo>
                    <a:lnTo>
                      <a:pt x="173" y="344"/>
                    </a:lnTo>
                    <a:lnTo>
                      <a:pt x="171" y="344"/>
                    </a:lnTo>
                    <a:lnTo>
                      <a:pt x="169" y="344"/>
                    </a:lnTo>
                    <a:lnTo>
                      <a:pt x="169" y="344"/>
                    </a:lnTo>
                    <a:lnTo>
                      <a:pt x="169" y="346"/>
                    </a:lnTo>
                    <a:lnTo>
                      <a:pt x="169" y="346"/>
                    </a:lnTo>
                    <a:lnTo>
                      <a:pt x="171" y="348"/>
                    </a:lnTo>
                    <a:lnTo>
                      <a:pt x="171" y="350"/>
                    </a:lnTo>
                    <a:lnTo>
                      <a:pt x="171" y="350"/>
                    </a:lnTo>
                    <a:lnTo>
                      <a:pt x="173" y="348"/>
                    </a:lnTo>
                    <a:lnTo>
                      <a:pt x="173" y="348"/>
                    </a:lnTo>
                    <a:lnTo>
                      <a:pt x="173" y="348"/>
                    </a:lnTo>
                    <a:lnTo>
                      <a:pt x="175" y="350"/>
                    </a:lnTo>
                    <a:lnTo>
                      <a:pt x="175" y="350"/>
                    </a:lnTo>
                    <a:lnTo>
                      <a:pt x="175" y="350"/>
                    </a:lnTo>
                    <a:lnTo>
                      <a:pt x="175" y="350"/>
                    </a:lnTo>
                    <a:lnTo>
                      <a:pt x="175" y="350"/>
                    </a:lnTo>
                    <a:lnTo>
                      <a:pt x="175" y="350"/>
                    </a:lnTo>
                    <a:lnTo>
                      <a:pt x="175" y="352"/>
                    </a:lnTo>
                    <a:lnTo>
                      <a:pt x="175" y="352"/>
                    </a:lnTo>
                    <a:lnTo>
                      <a:pt x="175" y="352"/>
                    </a:lnTo>
                    <a:lnTo>
                      <a:pt x="177" y="354"/>
                    </a:lnTo>
                    <a:lnTo>
                      <a:pt x="177" y="354"/>
                    </a:lnTo>
                    <a:lnTo>
                      <a:pt x="177" y="356"/>
                    </a:lnTo>
                    <a:lnTo>
                      <a:pt x="181" y="358"/>
                    </a:lnTo>
                    <a:lnTo>
                      <a:pt x="183" y="358"/>
                    </a:lnTo>
                    <a:lnTo>
                      <a:pt x="183" y="358"/>
                    </a:lnTo>
                    <a:lnTo>
                      <a:pt x="185" y="356"/>
                    </a:lnTo>
                    <a:lnTo>
                      <a:pt x="185" y="356"/>
                    </a:lnTo>
                    <a:lnTo>
                      <a:pt x="189" y="356"/>
                    </a:lnTo>
                    <a:lnTo>
                      <a:pt x="189" y="356"/>
                    </a:lnTo>
                    <a:lnTo>
                      <a:pt x="189" y="356"/>
                    </a:lnTo>
                    <a:lnTo>
                      <a:pt x="189" y="354"/>
                    </a:lnTo>
                    <a:lnTo>
                      <a:pt x="189" y="354"/>
                    </a:lnTo>
                    <a:lnTo>
                      <a:pt x="189" y="354"/>
                    </a:lnTo>
                    <a:lnTo>
                      <a:pt x="189" y="354"/>
                    </a:lnTo>
                    <a:lnTo>
                      <a:pt x="189" y="354"/>
                    </a:lnTo>
                    <a:lnTo>
                      <a:pt x="189" y="352"/>
                    </a:lnTo>
                    <a:lnTo>
                      <a:pt x="189" y="354"/>
                    </a:lnTo>
                    <a:lnTo>
                      <a:pt x="189" y="354"/>
                    </a:lnTo>
                    <a:lnTo>
                      <a:pt x="193" y="354"/>
                    </a:lnTo>
                    <a:lnTo>
                      <a:pt x="193" y="356"/>
                    </a:lnTo>
                    <a:lnTo>
                      <a:pt x="193" y="358"/>
                    </a:lnTo>
                    <a:lnTo>
                      <a:pt x="195" y="358"/>
                    </a:lnTo>
                    <a:lnTo>
                      <a:pt x="197" y="358"/>
                    </a:lnTo>
                    <a:lnTo>
                      <a:pt x="199" y="360"/>
                    </a:lnTo>
                    <a:lnTo>
                      <a:pt x="199" y="360"/>
                    </a:lnTo>
                    <a:lnTo>
                      <a:pt x="199" y="360"/>
                    </a:lnTo>
                    <a:lnTo>
                      <a:pt x="201" y="360"/>
                    </a:lnTo>
                    <a:lnTo>
                      <a:pt x="201" y="360"/>
                    </a:lnTo>
                    <a:lnTo>
                      <a:pt x="201" y="362"/>
                    </a:lnTo>
                    <a:lnTo>
                      <a:pt x="201" y="362"/>
                    </a:lnTo>
                    <a:lnTo>
                      <a:pt x="203" y="362"/>
                    </a:lnTo>
                    <a:lnTo>
                      <a:pt x="203" y="362"/>
                    </a:lnTo>
                    <a:lnTo>
                      <a:pt x="205" y="362"/>
                    </a:lnTo>
                    <a:lnTo>
                      <a:pt x="203" y="362"/>
                    </a:lnTo>
                    <a:lnTo>
                      <a:pt x="205" y="362"/>
                    </a:lnTo>
                    <a:lnTo>
                      <a:pt x="207" y="362"/>
                    </a:lnTo>
                    <a:lnTo>
                      <a:pt x="211" y="364"/>
                    </a:lnTo>
                    <a:lnTo>
                      <a:pt x="213" y="364"/>
                    </a:lnTo>
                    <a:lnTo>
                      <a:pt x="215" y="362"/>
                    </a:lnTo>
                    <a:lnTo>
                      <a:pt x="215" y="362"/>
                    </a:lnTo>
                    <a:lnTo>
                      <a:pt x="215" y="364"/>
                    </a:lnTo>
                    <a:lnTo>
                      <a:pt x="215" y="364"/>
                    </a:lnTo>
                    <a:lnTo>
                      <a:pt x="215" y="366"/>
                    </a:lnTo>
                    <a:lnTo>
                      <a:pt x="217" y="366"/>
                    </a:lnTo>
                    <a:lnTo>
                      <a:pt x="215" y="368"/>
                    </a:lnTo>
                    <a:lnTo>
                      <a:pt x="215" y="370"/>
                    </a:lnTo>
                    <a:lnTo>
                      <a:pt x="217" y="372"/>
                    </a:lnTo>
                    <a:lnTo>
                      <a:pt x="217" y="374"/>
                    </a:lnTo>
                    <a:lnTo>
                      <a:pt x="217" y="376"/>
                    </a:lnTo>
                    <a:lnTo>
                      <a:pt x="219" y="376"/>
                    </a:lnTo>
                    <a:lnTo>
                      <a:pt x="219" y="376"/>
                    </a:lnTo>
                    <a:lnTo>
                      <a:pt x="221" y="378"/>
                    </a:lnTo>
                    <a:lnTo>
                      <a:pt x="221" y="378"/>
                    </a:lnTo>
                    <a:lnTo>
                      <a:pt x="221" y="378"/>
                    </a:lnTo>
                    <a:lnTo>
                      <a:pt x="223" y="378"/>
                    </a:lnTo>
                    <a:lnTo>
                      <a:pt x="223" y="380"/>
                    </a:lnTo>
                    <a:lnTo>
                      <a:pt x="223" y="380"/>
                    </a:lnTo>
                    <a:lnTo>
                      <a:pt x="225" y="378"/>
                    </a:lnTo>
                    <a:lnTo>
                      <a:pt x="225" y="378"/>
                    </a:lnTo>
                    <a:lnTo>
                      <a:pt x="225" y="380"/>
                    </a:lnTo>
                    <a:lnTo>
                      <a:pt x="227" y="380"/>
                    </a:lnTo>
                    <a:lnTo>
                      <a:pt x="227" y="382"/>
                    </a:lnTo>
                    <a:lnTo>
                      <a:pt x="227" y="382"/>
                    </a:lnTo>
                    <a:lnTo>
                      <a:pt x="227" y="384"/>
                    </a:lnTo>
                    <a:lnTo>
                      <a:pt x="227" y="384"/>
                    </a:lnTo>
                    <a:lnTo>
                      <a:pt x="229" y="388"/>
                    </a:lnTo>
                    <a:lnTo>
                      <a:pt x="229" y="390"/>
                    </a:lnTo>
                    <a:lnTo>
                      <a:pt x="229" y="390"/>
                    </a:lnTo>
                    <a:lnTo>
                      <a:pt x="233" y="390"/>
                    </a:lnTo>
                    <a:lnTo>
                      <a:pt x="235" y="392"/>
                    </a:lnTo>
                    <a:lnTo>
                      <a:pt x="233" y="392"/>
                    </a:lnTo>
                    <a:lnTo>
                      <a:pt x="233" y="394"/>
                    </a:lnTo>
                    <a:lnTo>
                      <a:pt x="235" y="394"/>
                    </a:lnTo>
                    <a:lnTo>
                      <a:pt x="235" y="396"/>
                    </a:lnTo>
                    <a:lnTo>
                      <a:pt x="235" y="398"/>
                    </a:lnTo>
                    <a:lnTo>
                      <a:pt x="235" y="398"/>
                    </a:lnTo>
                    <a:lnTo>
                      <a:pt x="235" y="398"/>
                    </a:lnTo>
                    <a:lnTo>
                      <a:pt x="237" y="398"/>
                    </a:lnTo>
                    <a:lnTo>
                      <a:pt x="239" y="398"/>
                    </a:lnTo>
                    <a:lnTo>
                      <a:pt x="239" y="398"/>
                    </a:lnTo>
                    <a:lnTo>
                      <a:pt x="239" y="398"/>
                    </a:lnTo>
                    <a:lnTo>
                      <a:pt x="241" y="398"/>
                    </a:lnTo>
                    <a:lnTo>
                      <a:pt x="241" y="398"/>
                    </a:lnTo>
                    <a:lnTo>
                      <a:pt x="241" y="398"/>
                    </a:lnTo>
                    <a:lnTo>
                      <a:pt x="243" y="398"/>
                    </a:lnTo>
                    <a:lnTo>
                      <a:pt x="245" y="398"/>
                    </a:lnTo>
                    <a:lnTo>
                      <a:pt x="245" y="396"/>
                    </a:lnTo>
                    <a:lnTo>
                      <a:pt x="245" y="396"/>
                    </a:lnTo>
                    <a:lnTo>
                      <a:pt x="245" y="394"/>
                    </a:lnTo>
                    <a:lnTo>
                      <a:pt x="245" y="394"/>
                    </a:lnTo>
                    <a:lnTo>
                      <a:pt x="245" y="394"/>
                    </a:lnTo>
                    <a:lnTo>
                      <a:pt x="247" y="394"/>
                    </a:lnTo>
                    <a:lnTo>
                      <a:pt x="247" y="394"/>
                    </a:lnTo>
                    <a:lnTo>
                      <a:pt x="247" y="394"/>
                    </a:lnTo>
                    <a:lnTo>
                      <a:pt x="245" y="394"/>
                    </a:lnTo>
                    <a:lnTo>
                      <a:pt x="247" y="392"/>
                    </a:lnTo>
                    <a:lnTo>
                      <a:pt x="247" y="390"/>
                    </a:lnTo>
                    <a:lnTo>
                      <a:pt x="249" y="390"/>
                    </a:lnTo>
                    <a:lnTo>
                      <a:pt x="249" y="390"/>
                    </a:lnTo>
                    <a:lnTo>
                      <a:pt x="249" y="390"/>
                    </a:lnTo>
                    <a:lnTo>
                      <a:pt x="251" y="390"/>
                    </a:lnTo>
                    <a:lnTo>
                      <a:pt x="251" y="390"/>
                    </a:lnTo>
                    <a:lnTo>
                      <a:pt x="253" y="388"/>
                    </a:lnTo>
                    <a:lnTo>
                      <a:pt x="253" y="388"/>
                    </a:lnTo>
                    <a:lnTo>
                      <a:pt x="257" y="384"/>
                    </a:lnTo>
                    <a:lnTo>
                      <a:pt x="257" y="384"/>
                    </a:lnTo>
                    <a:lnTo>
                      <a:pt x="257" y="384"/>
                    </a:lnTo>
                    <a:lnTo>
                      <a:pt x="257" y="384"/>
                    </a:lnTo>
                    <a:lnTo>
                      <a:pt x="259" y="384"/>
                    </a:lnTo>
                    <a:lnTo>
                      <a:pt x="259" y="386"/>
                    </a:lnTo>
                    <a:lnTo>
                      <a:pt x="259" y="386"/>
                    </a:lnTo>
                    <a:lnTo>
                      <a:pt x="261" y="386"/>
                    </a:lnTo>
                    <a:lnTo>
                      <a:pt x="261" y="388"/>
                    </a:lnTo>
                    <a:lnTo>
                      <a:pt x="261" y="392"/>
                    </a:lnTo>
                    <a:lnTo>
                      <a:pt x="263" y="394"/>
                    </a:lnTo>
                    <a:lnTo>
                      <a:pt x="263" y="394"/>
                    </a:lnTo>
                    <a:lnTo>
                      <a:pt x="263" y="394"/>
                    </a:lnTo>
                    <a:lnTo>
                      <a:pt x="265" y="394"/>
                    </a:lnTo>
                    <a:lnTo>
                      <a:pt x="267" y="394"/>
                    </a:lnTo>
                    <a:lnTo>
                      <a:pt x="267" y="396"/>
                    </a:lnTo>
                    <a:lnTo>
                      <a:pt x="267" y="396"/>
                    </a:lnTo>
                    <a:lnTo>
                      <a:pt x="267" y="396"/>
                    </a:lnTo>
                    <a:lnTo>
                      <a:pt x="267" y="398"/>
                    </a:lnTo>
                    <a:lnTo>
                      <a:pt x="269" y="398"/>
                    </a:lnTo>
                    <a:lnTo>
                      <a:pt x="271" y="398"/>
                    </a:lnTo>
                    <a:lnTo>
                      <a:pt x="271" y="398"/>
                    </a:lnTo>
                    <a:lnTo>
                      <a:pt x="273" y="398"/>
                    </a:lnTo>
                    <a:lnTo>
                      <a:pt x="273" y="398"/>
                    </a:lnTo>
                    <a:lnTo>
                      <a:pt x="273" y="400"/>
                    </a:lnTo>
                    <a:lnTo>
                      <a:pt x="273" y="400"/>
                    </a:lnTo>
                    <a:lnTo>
                      <a:pt x="275" y="404"/>
                    </a:lnTo>
                    <a:lnTo>
                      <a:pt x="275" y="404"/>
                    </a:lnTo>
                    <a:lnTo>
                      <a:pt x="273" y="404"/>
                    </a:lnTo>
                    <a:lnTo>
                      <a:pt x="273" y="404"/>
                    </a:lnTo>
                    <a:lnTo>
                      <a:pt x="273" y="406"/>
                    </a:lnTo>
                    <a:lnTo>
                      <a:pt x="273" y="406"/>
                    </a:lnTo>
                    <a:lnTo>
                      <a:pt x="275" y="406"/>
                    </a:lnTo>
                    <a:lnTo>
                      <a:pt x="275" y="406"/>
                    </a:lnTo>
                    <a:lnTo>
                      <a:pt x="275" y="406"/>
                    </a:lnTo>
                    <a:lnTo>
                      <a:pt x="275" y="406"/>
                    </a:lnTo>
                    <a:lnTo>
                      <a:pt x="275" y="408"/>
                    </a:lnTo>
                    <a:lnTo>
                      <a:pt x="275" y="408"/>
                    </a:lnTo>
                    <a:lnTo>
                      <a:pt x="275" y="408"/>
                    </a:lnTo>
                    <a:lnTo>
                      <a:pt x="273" y="410"/>
                    </a:lnTo>
                    <a:lnTo>
                      <a:pt x="273" y="412"/>
                    </a:lnTo>
                    <a:lnTo>
                      <a:pt x="273" y="412"/>
                    </a:lnTo>
                    <a:lnTo>
                      <a:pt x="273" y="412"/>
                    </a:lnTo>
                    <a:lnTo>
                      <a:pt x="277" y="412"/>
                    </a:lnTo>
                    <a:lnTo>
                      <a:pt x="277" y="412"/>
                    </a:lnTo>
                    <a:lnTo>
                      <a:pt x="277" y="412"/>
                    </a:lnTo>
                    <a:lnTo>
                      <a:pt x="279" y="410"/>
                    </a:lnTo>
                    <a:lnTo>
                      <a:pt x="279" y="410"/>
                    </a:lnTo>
                    <a:lnTo>
                      <a:pt x="281" y="410"/>
                    </a:lnTo>
                    <a:lnTo>
                      <a:pt x="283" y="410"/>
                    </a:lnTo>
                    <a:lnTo>
                      <a:pt x="285" y="412"/>
                    </a:lnTo>
                    <a:lnTo>
                      <a:pt x="287" y="414"/>
                    </a:lnTo>
                    <a:lnTo>
                      <a:pt x="287" y="412"/>
                    </a:lnTo>
                    <a:lnTo>
                      <a:pt x="289" y="410"/>
                    </a:lnTo>
                    <a:lnTo>
                      <a:pt x="289" y="408"/>
                    </a:lnTo>
                    <a:lnTo>
                      <a:pt x="289" y="408"/>
                    </a:lnTo>
                    <a:lnTo>
                      <a:pt x="289" y="408"/>
                    </a:lnTo>
                    <a:lnTo>
                      <a:pt x="289" y="406"/>
                    </a:lnTo>
                    <a:lnTo>
                      <a:pt x="291" y="404"/>
                    </a:lnTo>
                    <a:lnTo>
                      <a:pt x="291" y="404"/>
                    </a:lnTo>
                    <a:lnTo>
                      <a:pt x="293" y="404"/>
                    </a:lnTo>
                    <a:lnTo>
                      <a:pt x="293" y="404"/>
                    </a:lnTo>
                    <a:lnTo>
                      <a:pt x="293" y="402"/>
                    </a:lnTo>
                    <a:lnTo>
                      <a:pt x="295" y="402"/>
                    </a:lnTo>
                    <a:lnTo>
                      <a:pt x="297" y="402"/>
                    </a:lnTo>
                    <a:lnTo>
                      <a:pt x="299" y="402"/>
                    </a:lnTo>
                    <a:lnTo>
                      <a:pt x="299" y="400"/>
                    </a:lnTo>
                    <a:lnTo>
                      <a:pt x="299" y="400"/>
                    </a:lnTo>
                    <a:lnTo>
                      <a:pt x="299" y="398"/>
                    </a:lnTo>
                    <a:lnTo>
                      <a:pt x="299" y="398"/>
                    </a:lnTo>
                    <a:lnTo>
                      <a:pt x="299" y="398"/>
                    </a:lnTo>
                    <a:lnTo>
                      <a:pt x="299" y="398"/>
                    </a:lnTo>
                    <a:lnTo>
                      <a:pt x="303" y="398"/>
                    </a:lnTo>
                    <a:lnTo>
                      <a:pt x="305" y="398"/>
                    </a:lnTo>
                    <a:lnTo>
                      <a:pt x="305" y="398"/>
                    </a:lnTo>
                    <a:lnTo>
                      <a:pt x="305" y="398"/>
                    </a:lnTo>
                    <a:lnTo>
                      <a:pt x="309" y="400"/>
                    </a:lnTo>
                    <a:lnTo>
                      <a:pt x="311" y="400"/>
                    </a:lnTo>
                    <a:lnTo>
                      <a:pt x="311" y="400"/>
                    </a:lnTo>
                    <a:lnTo>
                      <a:pt x="313" y="398"/>
                    </a:lnTo>
                    <a:lnTo>
                      <a:pt x="313" y="398"/>
                    </a:lnTo>
                    <a:lnTo>
                      <a:pt x="313" y="398"/>
                    </a:lnTo>
                    <a:lnTo>
                      <a:pt x="313" y="398"/>
                    </a:lnTo>
                    <a:lnTo>
                      <a:pt x="315" y="398"/>
                    </a:lnTo>
                    <a:lnTo>
                      <a:pt x="317" y="398"/>
                    </a:lnTo>
                    <a:lnTo>
                      <a:pt x="317" y="398"/>
                    </a:lnTo>
                    <a:lnTo>
                      <a:pt x="321" y="402"/>
                    </a:lnTo>
                    <a:lnTo>
                      <a:pt x="323" y="402"/>
                    </a:lnTo>
                    <a:lnTo>
                      <a:pt x="323" y="404"/>
                    </a:lnTo>
                    <a:lnTo>
                      <a:pt x="325" y="404"/>
                    </a:lnTo>
                    <a:lnTo>
                      <a:pt x="325" y="404"/>
                    </a:lnTo>
                    <a:lnTo>
                      <a:pt x="327" y="404"/>
                    </a:lnTo>
                    <a:lnTo>
                      <a:pt x="327" y="404"/>
                    </a:lnTo>
                    <a:lnTo>
                      <a:pt x="327" y="406"/>
                    </a:lnTo>
                    <a:lnTo>
                      <a:pt x="329" y="406"/>
                    </a:lnTo>
                    <a:lnTo>
                      <a:pt x="329" y="404"/>
                    </a:lnTo>
                    <a:lnTo>
                      <a:pt x="331" y="404"/>
                    </a:lnTo>
                    <a:lnTo>
                      <a:pt x="333" y="402"/>
                    </a:lnTo>
                    <a:lnTo>
                      <a:pt x="333" y="400"/>
                    </a:lnTo>
                    <a:lnTo>
                      <a:pt x="333" y="400"/>
                    </a:lnTo>
                    <a:lnTo>
                      <a:pt x="335" y="400"/>
                    </a:lnTo>
                    <a:lnTo>
                      <a:pt x="335" y="400"/>
                    </a:lnTo>
                    <a:lnTo>
                      <a:pt x="337" y="400"/>
                    </a:lnTo>
                    <a:lnTo>
                      <a:pt x="335" y="398"/>
                    </a:lnTo>
                    <a:lnTo>
                      <a:pt x="335" y="398"/>
                    </a:lnTo>
                    <a:lnTo>
                      <a:pt x="333" y="398"/>
                    </a:lnTo>
                    <a:lnTo>
                      <a:pt x="335" y="396"/>
                    </a:lnTo>
                    <a:lnTo>
                      <a:pt x="335" y="396"/>
                    </a:lnTo>
                    <a:lnTo>
                      <a:pt x="337" y="396"/>
                    </a:lnTo>
                    <a:lnTo>
                      <a:pt x="339" y="396"/>
                    </a:lnTo>
                    <a:lnTo>
                      <a:pt x="339" y="396"/>
                    </a:lnTo>
                    <a:lnTo>
                      <a:pt x="341" y="398"/>
                    </a:lnTo>
                    <a:lnTo>
                      <a:pt x="341" y="398"/>
                    </a:lnTo>
                    <a:lnTo>
                      <a:pt x="341" y="398"/>
                    </a:lnTo>
                    <a:lnTo>
                      <a:pt x="343" y="396"/>
                    </a:lnTo>
                    <a:lnTo>
                      <a:pt x="345" y="394"/>
                    </a:lnTo>
                    <a:lnTo>
                      <a:pt x="345" y="394"/>
                    </a:lnTo>
                    <a:lnTo>
                      <a:pt x="345" y="394"/>
                    </a:lnTo>
                    <a:lnTo>
                      <a:pt x="349" y="396"/>
                    </a:lnTo>
                    <a:lnTo>
                      <a:pt x="353" y="396"/>
                    </a:lnTo>
                    <a:lnTo>
                      <a:pt x="353" y="396"/>
                    </a:lnTo>
                    <a:lnTo>
                      <a:pt x="355" y="396"/>
                    </a:lnTo>
                    <a:lnTo>
                      <a:pt x="357" y="396"/>
                    </a:lnTo>
                    <a:lnTo>
                      <a:pt x="357" y="396"/>
                    </a:lnTo>
                    <a:lnTo>
                      <a:pt x="357" y="396"/>
                    </a:lnTo>
                    <a:lnTo>
                      <a:pt x="361" y="396"/>
                    </a:lnTo>
                    <a:lnTo>
                      <a:pt x="363" y="396"/>
                    </a:lnTo>
                    <a:lnTo>
                      <a:pt x="363" y="396"/>
                    </a:lnTo>
                    <a:lnTo>
                      <a:pt x="363" y="398"/>
                    </a:lnTo>
                    <a:lnTo>
                      <a:pt x="365" y="398"/>
                    </a:lnTo>
                    <a:lnTo>
                      <a:pt x="365" y="398"/>
                    </a:lnTo>
                    <a:lnTo>
                      <a:pt x="365" y="398"/>
                    </a:lnTo>
                    <a:lnTo>
                      <a:pt x="365" y="398"/>
                    </a:lnTo>
                    <a:lnTo>
                      <a:pt x="367" y="398"/>
                    </a:lnTo>
                    <a:lnTo>
                      <a:pt x="369" y="400"/>
                    </a:lnTo>
                    <a:lnTo>
                      <a:pt x="369" y="402"/>
                    </a:lnTo>
                    <a:lnTo>
                      <a:pt x="369" y="400"/>
                    </a:lnTo>
                    <a:lnTo>
                      <a:pt x="371" y="400"/>
                    </a:lnTo>
                    <a:lnTo>
                      <a:pt x="371" y="400"/>
                    </a:lnTo>
                    <a:lnTo>
                      <a:pt x="371" y="400"/>
                    </a:lnTo>
                    <a:lnTo>
                      <a:pt x="373" y="400"/>
                    </a:lnTo>
                    <a:lnTo>
                      <a:pt x="375" y="402"/>
                    </a:lnTo>
                    <a:lnTo>
                      <a:pt x="377" y="402"/>
                    </a:lnTo>
                    <a:lnTo>
                      <a:pt x="379" y="404"/>
                    </a:lnTo>
                    <a:lnTo>
                      <a:pt x="381" y="406"/>
                    </a:lnTo>
                    <a:lnTo>
                      <a:pt x="381" y="408"/>
                    </a:lnTo>
                    <a:lnTo>
                      <a:pt x="381" y="410"/>
                    </a:lnTo>
                    <a:lnTo>
                      <a:pt x="383" y="412"/>
                    </a:lnTo>
                    <a:lnTo>
                      <a:pt x="385" y="412"/>
                    </a:lnTo>
                    <a:lnTo>
                      <a:pt x="387" y="414"/>
                    </a:lnTo>
                    <a:lnTo>
                      <a:pt x="387" y="414"/>
                    </a:lnTo>
                    <a:lnTo>
                      <a:pt x="389" y="414"/>
                    </a:lnTo>
                    <a:lnTo>
                      <a:pt x="389" y="414"/>
                    </a:lnTo>
                    <a:lnTo>
                      <a:pt x="391" y="414"/>
                    </a:lnTo>
                    <a:lnTo>
                      <a:pt x="391" y="414"/>
                    </a:lnTo>
                    <a:lnTo>
                      <a:pt x="391" y="414"/>
                    </a:lnTo>
                    <a:lnTo>
                      <a:pt x="391" y="414"/>
                    </a:lnTo>
                    <a:lnTo>
                      <a:pt x="391" y="416"/>
                    </a:lnTo>
                    <a:lnTo>
                      <a:pt x="391" y="416"/>
                    </a:lnTo>
                    <a:lnTo>
                      <a:pt x="393" y="416"/>
                    </a:lnTo>
                    <a:lnTo>
                      <a:pt x="395" y="416"/>
                    </a:lnTo>
                    <a:lnTo>
                      <a:pt x="397" y="416"/>
                    </a:lnTo>
                    <a:lnTo>
                      <a:pt x="399" y="418"/>
                    </a:lnTo>
                    <a:lnTo>
                      <a:pt x="401" y="420"/>
                    </a:lnTo>
                    <a:lnTo>
                      <a:pt x="405" y="420"/>
                    </a:lnTo>
                    <a:lnTo>
                      <a:pt x="407" y="420"/>
                    </a:lnTo>
                    <a:lnTo>
                      <a:pt x="407" y="420"/>
                    </a:lnTo>
                    <a:lnTo>
                      <a:pt x="409" y="420"/>
                    </a:lnTo>
                    <a:lnTo>
                      <a:pt x="411" y="422"/>
                    </a:lnTo>
                    <a:lnTo>
                      <a:pt x="411" y="422"/>
                    </a:lnTo>
                    <a:lnTo>
                      <a:pt x="413" y="422"/>
                    </a:lnTo>
                    <a:lnTo>
                      <a:pt x="413" y="422"/>
                    </a:lnTo>
                    <a:lnTo>
                      <a:pt x="415" y="422"/>
                    </a:lnTo>
                    <a:lnTo>
                      <a:pt x="417" y="422"/>
                    </a:lnTo>
                    <a:lnTo>
                      <a:pt x="417" y="422"/>
                    </a:lnTo>
                    <a:lnTo>
                      <a:pt x="417" y="422"/>
                    </a:lnTo>
                    <a:lnTo>
                      <a:pt x="419" y="424"/>
                    </a:lnTo>
                    <a:lnTo>
                      <a:pt x="419" y="424"/>
                    </a:lnTo>
                    <a:lnTo>
                      <a:pt x="419" y="424"/>
                    </a:lnTo>
                    <a:lnTo>
                      <a:pt x="421" y="426"/>
                    </a:lnTo>
                    <a:lnTo>
                      <a:pt x="421" y="426"/>
                    </a:lnTo>
                    <a:lnTo>
                      <a:pt x="423" y="424"/>
                    </a:lnTo>
                    <a:lnTo>
                      <a:pt x="423" y="424"/>
                    </a:lnTo>
                    <a:lnTo>
                      <a:pt x="421" y="422"/>
                    </a:lnTo>
                    <a:lnTo>
                      <a:pt x="421" y="422"/>
                    </a:lnTo>
                    <a:lnTo>
                      <a:pt x="421" y="422"/>
                    </a:lnTo>
                    <a:lnTo>
                      <a:pt x="421" y="420"/>
                    </a:lnTo>
                    <a:lnTo>
                      <a:pt x="421" y="420"/>
                    </a:lnTo>
                    <a:lnTo>
                      <a:pt x="421" y="418"/>
                    </a:lnTo>
                    <a:lnTo>
                      <a:pt x="419" y="418"/>
                    </a:lnTo>
                    <a:lnTo>
                      <a:pt x="417" y="416"/>
                    </a:lnTo>
                    <a:lnTo>
                      <a:pt x="417" y="416"/>
                    </a:lnTo>
                    <a:lnTo>
                      <a:pt x="415" y="414"/>
                    </a:lnTo>
                    <a:lnTo>
                      <a:pt x="415" y="414"/>
                    </a:lnTo>
                    <a:lnTo>
                      <a:pt x="415" y="414"/>
                    </a:lnTo>
                    <a:lnTo>
                      <a:pt x="413" y="414"/>
                    </a:lnTo>
                    <a:lnTo>
                      <a:pt x="413" y="414"/>
                    </a:lnTo>
                    <a:lnTo>
                      <a:pt x="413" y="414"/>
                    </a:lnTo>
                    <a:lnTo>
                      <a:pt x="415" y="412"/>
                    </a:lnTo>
                    <a:lnTo>
                      <a:pt x="415" y="410"/>
                    </a:lnTo>
                    <a:lnTo>
                      <a:pt x="415" y="408"/>
                    </a:lnTo>
                    <a:lnTo>
                      <a:pt x="417" y="406"/>
                    </a:lnTo>
                    <a:lnTo>
                      <a:pt x="415" y="400"/>
                    </a:lnTo>
                    <a:lnTo>
                      <a:pt x="415" y="398"/>
                    </a:lnTo>
                    <a:lnTo>
                      <a:pt x="415" y="398"/>
                    </a:lnTo>
                    <a:lnTo>
                      <a:pt x="415" y="398"/>
                    </a:lnTo>
                    <a:lnTo>
                      <a:pt x="413" y="396"/>
                    </a:lnTo>
                    <a:lnTo>
                      <a:pt x="413" y="396"/>
                    </a:lnTo>
                    <a:lnTo>
                      <a:pt x="413" y="396"/>
                    </a:lnTo>
                    <a:lnTo>
                      <a:pt x="413" y="392"/>
                    </a:lnTo>
                    <a:lnTo>
                      <a:pt x="413" y="392"/>
                    </a:lnTo>
                    <a:lnTo>
                      <a:pt x="411" y="388"/>
                    </a:lnTo>
                    <a:lnTo>
                      <a:pt x="413" y="386"/>
                    </a:lnTo>
                    <a:lnTo>
                      <a:pt x="417" y="382"/>
                    </a:lnTo>
                    <a:lnTo>
                      <a:pt x="417" y="380"/>
                    </a:lnTo>
                    <a:lnTo>
                      <a:pt x="417" y="378"/>
                    </a:lnTo>
                    <a:lnTo>
                      <a:pt x="417" y="378"/>
                    </a:lnTo>
                    <a:lnTo>
                      <a:pt x="419" y="378"/>
                    </a:lnTo>
                    <a:lnTo>
                      <a:pt x="419" y="378"/>
                    </a:lnTo>
                    <a:lnTo>
                      <a:pt x="421" y="378"/>
                    </a:lnTo>
                    <a:lnTo>
                      <a:pt x="423" y="372"/>
                    </a:lnTo>
                    <a:lnTo>
                      <a:pt x="423" y="372"/>
                    </a:lnTo>
                    <a:lnTo>
                      <a:pt x="425" y="372"/>
                    </a:lnTo>
                    <a:lnTo>
                      <a:pt x="425" y="372"/>
                    </a:lnTo>
                    <a:lnTo>
                      <a:pt x="425" y="370"/>
                    </a:lnTo>
                    <a:lnTo>
                      <a:pt x="425" y="370"/>
                    </a:lnTo>
                    <a:lnTo>
                      <a:pt x="427" y="368"/>
                    </a:lnTo>
                    <a:lnTo>
                      <a:pt x="427" y="368"/>
                    </a:lnTo>
                    <a:lnTo>
                      <a:pt x="429" y="366"/>
                    </a:lnTo>
                    <a:lnTo>
                      <a:pt x="433" y="360"/>
                    </a:lnTo>
                    <a:lnTo>
                      <a:pt x="435" y="358"/>
                    </a:lnTo>
                    <a:lnTo>
                      <a:pt x="437" y="356"/>
                    </a:lnTo>
                    <a:lnTo>
                      <a:pt x="439" y="354"/>
                    </a:lnTo>
                    <a:lnTo>
                      <a:pt x="449" y="342"/>
                    </a:lnTo>
                    <a:lnTo>
                      <a:pt x="451" y="340"/>
                    </a:lnTo>
                    <a:lnTo>
                      <a:pt x="455" y="340"/>
                    </a:lnTo>
                    <a:lnTo>
                      <a:pt x="455" y="340"/>
                    </a:lnTo>
                    <a:lnTo>
                      <a:pt x="455" y="338"/>
                    </a:lnTo>
                    <a:lnTo>
                      <a:pt x="459" y="334"/>
                    </a:lnTo>
                    <a:lnTo>
                      <a:pt x="461" y="334"/>
                    </a:lnTo>
                    <a:lnTo>
                      <a:pt x="461" y="332"/>
                    </a:lnTo>
                    <a:lnTo>
                      <a:pt x="461" y="330"/>
                    </a:lnTo>
                    <a:lnTo>
                      <a:pt x="463" y="330"/>
                    </a:lnTo>
                    <a:lnTo>
                      <a:pt x="463" y="330"/>
                    </a:lnTo>
                    <a:lnTo>
                      <a:pt x="465" y="328"/>
                    </a:lnTo>
                    <a:lnTo>
                      <a:pt x="473" y="328"/>
                    </a:lnTo>
                    <a:lnTo>
                      <a:pt x="475" y="328"/>
                    </a:lnTo>
                    <a:lnTo>
                      <a:pt x="477" y="326"/>
                    </a:lnTo>
                    <a:lnTo>
                      <a:pt x="477" y="324"/>
                    </a:lnTo>
                    <a:lnTo>
                      <a:pt x="477" y="324"/>
                    </a:lnTo>
                    <a:lnTo>
                      <a:pt x="477" y="322"/>
                    </a:lnTo>
                    <a:lnTo>
                      <a:pt x="477" y="322"/>
                    </a:lnTo>
                    <a:lnTo>
                      <a:pt x="481" y="320"/>
                    </a:lnTo>
                    <a:lnTo>
                      <a:pt x="481" y="320"/>
                    </a:lnTo>
                    <a:lnTo>
                      <a:pt x="481" y="318"/>
                    </a:lnTo>
                    <a:lnTo>
                      <a:pt x="481" y="318"/>
                    </a:lnTo>
                    <a:lnTo>
                      <a:pt x="481" y="318"/>
                    </a:lnTo>
                    <a:lnTo>
                      <a:pt x="481" y="314"/>
                    </a:lnTo>
                    <a:lnTo>
                      <a:pt x="483" y="312"/>
                    </a:lnTo>
                    <a:lnTo>
                      <a:pt x="481" y="312"/>
                    </a:lnTo>
                    <a:lnTo>
                      <a:pt x="481" y="310"/>
                    </a:lnTo>
                    <a:lnTo>
                      <a:pt x="481" y="308"/>
                    </a:lnTo>
                    <a:lnTo>
                      <a:pt x="481" y="306"/>
                    </a:lnTo>
                    <a:lnTo>
                      <a:pt x="479" y="306"/>
                    </a:lnTo>
                    <a:lnTo>
                      <a:pt x="477" y="306"/>
                    </a:lnTo>
                    <a:lnTo>
                      <a:pt x="477" y="304"/>
                    </a:lnTo>
                    <a:lnTo>
                      <a:pt x="477" y="302"/>
                    </a:lnTo>
                    <a:lnTo>
                      <a:pt x="477" y="302"/>
                    </a:lnTo>
                    <a:lnTo>
                      <a:pt x="477" y="302"/>
                    </a:lnTo>
                    <a:lnTo>
                      <a:pt x="475" y="302"/>
                    </a:lnTo>
                    <a:lnTo>
                      <a:pt x="475" y="300"/>
                    </a:lnTo>
                    <a:lnTo>
                      <a:pt x="475" y="300"/>
                    </a:lnTo>
                    <a:lnTo>
                      <a:pt x="475" y="298"/>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sp>
            <p:nvSpPr>
              <p:cNvPr id="830" name="Freeform 76"/>
              <p:cNvSpPr>
                <a:spLocks/>
              </p:cNvSpPr>
              <p:nvPr>
                <p:custDataLst>
                  <p:tags r:id="rId151"/>
                </p:custDataLst>
              </p:nvPr>
            </p:nvSpPr>
            <p:spPr bwMode="gray">
              <a:xfrm>
                <a:off x="5030349" y="3330413"/>
                <a:ext cx="476356" cy="241353"/>
              </a:xfrm>
              <a:custGeom>
                <a:avLst/>
                <a:gdLst>
                  <a:gd name="T0" fmla="*/ 149 w 150"/>
                  <a:gd name="T1" fmla="*/ 20 h 76"/>
                  <a:gd name="T2" fmla="*/ 144 w 150"/>
                  <a:gd name="T3" fmla="*/ 16 h 76"/>
                  <a:gd name="T4" fmla="*/ 138 w 150"/>
                  <a:gd name="T5" fmla="*/ 14 h 76"/>
                  <a:gd name="T6" fmla="*/ 130 w 150"/>
                  <a:gd name="T7" fmla="*/ 7 h 76"/>
                  <a:gd name="T8" fmla="*/ 119 w 150"/>
                  <a:gd name="T9" fmla="*/ 6 h 76"/>
                  <a:gd name="T10" fmla="*/ 113 w 150"/>
                  <a:gd name="T11" fmla="*/ 10 h 76"/>
                  <a:gd name="T12" fmla="*/ 105 w 150"/>
                  <a:gd name="T13" fmla="*/ 6 h 76"/>
                  <a:gd name="T14" fmla="*/ 99 w 150"/>
                  <a:gd name="T15" fmla="*/ 5 h 76"/>
                  <a:gd name="T16" fmla="*/ 92 w 150"/>
                  <a:gd name="T17" fmla="*/ 3 h 76"/>
                  <a:gd name="T18" fmla="*/ 85 w 150"/>
                  <a:gd name="T19" fmla="*/ 10 h 76"/>
                  <a:gd name="T20" fmla="*/ 82 w 150"/>
                  <a:gd name="T21" fmla="*/ 6 h 76"/>
                  <a:gd name="T22" fmla="*/ 76 w 150"/>
                  <a:gd name="T23" fmla="*/ 0 h 76"/>
                  <a:gd name="T24" fmla="*/ 67 w 150"/>
                  <a:gd name="T25" fmla="*/ 7 h 76"/>
                  <a:gd name="T26" fmla="*/ 58 w 150"/>
                  <a:gd name="T27" fmla="*/ 6 h 76"/>
                  <a:gd name="T28" fmla="*/ 54 w 150"/>
                  <a:gd name="T29" fmla="*/ 6 h 76"/>
                  <a:gd name="T30" fmla="*/ 50 w 150"/>
                  <a:gd name="T31" fmla="*/ 12 h 76"/>
                  <a:gd name="T32" fmla="*/ 41 w 150"/>
                  <a:gd name="T33" fmla="*/ 12 h 76"/>
                  <a:gd name="T34" fmla="*/ 35 w 150"/>
                  <a:gd name="T35" fmla="*/ 19 h 76"/>
                  <a:gd name="T36" fmla="*/ 0 w 150"/>
                  <a:gd name="T37" fmla="*/ 45 h 76"/>
                  <a:gd name="T38" fmla="*/ 1 w 150"/>
                  <a:gd name="T39" fmla="*/ 51 h 76"/>
                  <a:gd name="T40" fmla="*/ 0 w 150"/>
                  <a:gd name="T41" fmla="*/ 58 h 76"/>
                  <a:gd name="T42" fmla="*/ 10 w 150"/>
                  <a:gd name="T43" fmla="*/ 65 h 76"/>
                  <a:gd name="T44" fmla="*/ 17 w 150"/>
                  <a:gd name="T45" fmla="*/ 71 h 76"/>
                  <a:gd name="T46" fmla="*/ 23 w 150"/>
                  <a:gd name="T47" fmla="*/ 75 h 76"/>
                  <a:gd name="T48" fmla="*/ 34 w 150"/>
                  <a:gd name="T49" fmla="*/ 75 h 76"/>
                  <a:gd name="T50" fmla="*/ 38 w 150"/>
                  <a:gd name="T51" fmla="*/ 75 h 76"/>
                  <a:gd name="T52" fmla="*/ 47 w 150"/>
                  <a:gd name="T53" fmla="*/ 72 h 76"/>
                  <a:gd name="T54" fmla="*/ 51 w 150"/>
                  <a:gd name="T55" fmla="*/ 68 h 76"/>
                  <a:gd name="T56" fmla="*/ 54 w 150"/>
                  <a:gd name="T57" fmla="*/ 65 h 76"/>
                  <a:gd name="T58" fmla="*/ 65 w 150"/>
                  <a:gd name="T59" fmla="*/ 65 h 76"/>
                  <a:gd name="T60" fmla="*/ 75 w 150"/>
                  <a:gd name="T61" fmla="*/ 61 h 76"/>
                  <a:gd name="T62" fmla="*/ 85 w 150"/>
                  <a:gd name="T63" fmla="*/ 54 h 76"/>
                  <a:gd name="T64" fmla="*/ 92 w 150"/>
                  <a:gd name="T65" fmla="*/ 47 h 76"/>
                  <a:gd name="T66" fmla="*/ 96 w 150"/>
                  <a:gd name="T67" fmla="*/ 41 h 76"/>
                  <a:gd name="T68" fmla="*/ 102 w 150"/>
                  <a:gd name="T69" fmla="*/ 41 h 76"/>
                  <a:gd name="T70" fmla="*/ 113 w 150"/>
                  <a:gd name="T71" fmla="*/ 41 h 76"/>
                  <a:gd name="T72" fmla="*/ 119 w 150"/>
                  <a:gd name="T73" fmla="*/ 41 h 76"/>
                  <a:gd name="T74" fmla="*/ 124 w 150"/>
                  <a:gd name="T75" fmla="*/ 45 h 76"/>
                  <a:gd name="T76" fmla="*/ 134 w 150"/>
                  <a:gd name="T77" fmla="*/ 45 h 76"/>
                  <a:gd name="T78" fmla="*/ 140 w 150"/>
                  <a:gd name="T79" fmla="*/ 44 h 76"/>
                  <a:gd name="T80" fmla="*/ 140 w 150"/>
                  <a:gd name="T81" fmla="*/ 37 h 76"/>
                  <a:gd name="T82" fmla="*/ 145 w 150"/>
                  <a:gd name="T83" fmla="*/ 34 h 76"/>
                  <a:gd name="T84" fmla="*/ 146 w 150"/>
                  <a:gd name="T85" fmla="*/ 28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0" h="76">
                    <a:moveTo>
                      <a:pt x="150" y="25"/>
                    </a:moveTo>
                    <a:cubicBezTo>
                      <a:pt x="149" y="20"/>
                      <a:pt x="149" y="20"/>
                      <a:pt x="149" y="20"/>
                    </a:cubicBezTo>
                    <a:cubicBezTo>
                      <a:pt x="146" y="17"/>
                      <a:pt x="146" y="17"/>
                      <a:pt x="146" y="17"/>
                    </a:cubicBezTo>
                    <a:cubicBezTo>
                      <a:pt x="144" y="16"/>
                      <a:pt x="144" y="16"/>
                      <a:pt x="144" y="16"/>
                    </a:cubicBezTo>
                    <a:cubicBezTo>
                      <a:pt x="142" y="16"/>
                      <a:pt x="142" y="16"/>
                      <a:pt x="142" y="16"/>
                    </a:cubicBezTo>
                    <a:cubicBezTo>
                      <a:pt x="138" y="14"/>
                      <a:pt x="138" y="14"/>
                      <a:pt x="138" y="14"/>
                    </a:cubicBezTo>
                    <a:cubicBezTo>
                      <a:pt x="135" y="9"/>
                      <a:pt x="135" y="9"/>
                      <a:pt x="135" y="9"/>
                    </a:cubicBezTo>
                    <a:cubicBezTo>
                      <a:pt x="130" y="7"/>
                      <a:pt x="130" y="7"/>
                      <a:pt x="130" y="7"/>
                    </a:cubicBezTo>
                    <a:cubicBezTo>
                      <a:pt x="124" y="6"/>
                      <a:pt x="124" y="6"/>
                      <a:pt x="124" y="6"/>
                    </a:cubicBezTo>
                    <a:cubicBezTo>
                      <a:pt x="119" y="6"/>
                      <a:pt x="119" y="6"/>
                      <a:pt x="119" y="6"/>
                    </a:cubicBezTo>
                    <a:cubicBezTo>
                      <a:pt x="115" y="7"/>
                      <a:pt x="115" y="7"/>
                      <a:pt x="115" y="7"/>
                    </a:cubicBezTo>
                    <a:cubicBezTo>
                      <a:pt x="113" y="10"/>
                      <a:pt x="113" y="10"/>
                      <a:pt x="113" y="10"/>
                    </a:cubicBezTo>
                    <a:cubicBezTo>
                      <a:pt x="107" y="8"/>
                      <a:pt x="107" y="8"/>
                      <a:pt x="107" y="8"/>
                    </a:cubicBezTo>
                    <a:cubicBezTo>
                      <a:pt x="105" y="6"/>
                      <a:pt x="105" y="6"/>
                      <a:pt x="105" y="6"/>
                    </a:cubicBezTo>
                    <a:cubicBezTo>
                      <a:pt x="102" y="2"/>
                      <a:pt x="102" y="2"/>
                      <a:pt x="102" y="2"/>
                    </a:cubicBezTo>
                    <a:cubicBezTo>
                      <a:pt x="99" y="5"/>
                      <a:pt x="99" y="5"/>
                      <a:pt x="99" y="5"/>
                    </a:cubicBezTo>
                    <a:cubicBezTo>
                      <a:pt x="96" y="6"/>
                      <a:pt x="96" y="6"/>
                      <a:pt x="96" y="6"/>
                    </a:cubicBezTo>
                    <a:cubicBezTo>
                      <a:pt x="92" y="3"/>
                      <a:pt x="92" y="3"/>
                      <a:pt x="92" y="3"/>
                    </a:cubicBezTo>
                    <a:cubicBezTo>
                      <a:pt x="85" y="6"/>
                      <a:pt x="85" y="6"/>
                      <a:pt x="85" y="6"/>
                    </a:cubicBezTo>
                    <a:cubicBezTo>
                      <a:pt x="85" y="10"/>
                      <a:pt x="85" y="10"/>
                      <a:pt x="85" y="10"/>
                    </a:cubicBezTo>
                    <a:cubicBezTo>
                      <a:pt x="83" y="7"/>
                      <a:pt x="83" y="7"/>
                      <a:pt x="83" y="7"/>
                    </a:cubicBezTo>
                    <a:cubicBezTo>
                      <a:pt x="82" y="6"/>
                      <a:pt x="82" y="6"/>
                      <a:pt x="82" y="6"/>
                    </a:cubicBezTo>
                    <a:cubicBezTo>
                      <a:pt x="78" y="3"/>
                      <a:pt x="78" y="3"/>
                      <a:pt x="78" y="3"/>
                    </a:cubicBezTo>
                    <a:cubicBezTo>
                      <a:pt x="76" y="0"/>
                      <a:pt x="76" y="0"/>
                      <a:pt x="76" y="0"/>
                    </a:cubicBezTo>
                    <a:cubicBezTo>
                      <a:pt x="70" y="4"/>
                      <a:pt x="70" y="4"/>
                      <a:pt x="70" y="4"/>
                    </a:cubicBezTo>
                    <a:cubicBezTo>
                      <a:pt x="67" y="7"/>
                      <a:pt x="67" y="7"/>
                      <a:pt x="67" y="7"/>
                    </a:cubicBezTo>
                    <a:cubicBezTo>
                      <a:pt x="65" y="6"/>
                      <a:pt x="65" y="6"/>
                      <a:pt x="65" y="6"/>
                    </a:cubicBezTo>
                    <a:cubicBezTo>
                      <a:pt x="58" y="6"/>
                      <a:pt x="58" y="6"/>
                      <a:pt x="58" y="6"/>
                    </a:cubicBezTo>
                    <a:cubicBezTo>
                      <a:pt x="57" y="6"/>
                      <a:pt x="57" y="6"/>
                      <a:pt x="57" y="6"/>
                    </a:cubicBezTo>
                    <a:cubicBezTo>
                      <a:pt x="56" y="6"/>
                      <a:pt x="54" y="6"/>
                      <a:pt x="54" y="6"/>
                    </a:cubicBezTo>
                    <a:cubicBezTo>
                      <a:pt x="52" y="6"/>
                      <a:pt x="50" y="8"/>
                      <a:pt x="50" y="10"/>
                    </a:cubicBezTo>
                    <a:cubicBezTo>
                      <a:pt x="50" y="12"/>
                      <a:pt x="50" y="12"/>
                      <a:pt x="50" y="12"/>
                    </a:cubicBezTo>
                    <a:cubicBezTo>
                      <a:pt x="50" y="12"/>
                      <a:pt x="50" y="12"/>
                      <a:pt x="49" y="12"/>
                    </a:cubicBezTo>
                    <a:cubicBezTo>
                      <a:pt x="47" y="12"/>
                      <a:pt x="45" y="12"/>
                      <a:pt x="41" y="12"/>
                    </a:cubicBezTo>
                    <a:cubicBezTo>
                      <a:pt x="39" y="12"/>
                      <a:pt x="39" y="12"/>
                      <a:pt x="39" y="12"/>
                    </a:cubicBezTo>
                    <a:cubicBezTo>
                      <a:pt x="37" y="17"/>
                      <a:pt x="35" y="19"/>
                      <a:pt x="35" y="19"/>
                    </a:cubicBezTo>
                    <a:cubicBezTo>
                      <a:pt x="34" y="21"/>
                      <a:pt x="34" y="21"/>
                      <a:pt x="32" y="23"/>
                    </a:cubicBezTo>
                    <a:cubicBezTo>
                      <a:pt x="30" y="37"/>
                      <a:pt x="9" y="42"/>
                      <a:pt x="0" y="45"/>
                    </a:cubicBezTo>
                    <a:cubicBezTo>
                      <a:pt x="2" y="48"/>
                      <a:pt x="2" y="48"/>
                      <a:pt x="2" y="48"/>
                    </a:cubicBezTo>
                    <a:cubicBezTo>
                      <a:pt x="1" y="51"/>
                      <a:pt x="1" y="51"/>
                      <a:pt x="1" y="51"/>
                    </a:cubicBezTo>
                    <a:cubicBezTo>
                      <a:pt x="5" y="56"/>
                      <a:pt x="5" y="56"/>
                      <a:pt x="5" y="56"/>
                    </a:cubicBezTo>
                    <a:cubicBezTo>
                      <a:pt x="0" y="58"/>
                      <a:pt x="0" y="58"/>
                      <a:pt x="0" y="58"/>
                    </a:cubicBezTo>
                    <a:cubicBezTo>
                      <a:pt x="4" y="65"/>
                      <a:pt x="4" y="65"/>
                      <a:pt x="4" y="65"/>
                    </a:cubicBezTo>
                    <a:cubicBezTo>
                      <a:pt x="10" y="65"/>
                      <a:pt x="10" y="65"/>
                      <a:pt x="10" y="65"/>
                    </a:cubicBezTo>
                    <a:cubicBezTo>
                      <a:pt x="13" y="68"/>
                      <a:pt x="13" y="68"/>
                      <a:pt x="13" y="68"/>
                    </a:cubicBezTo>
                    <a:cubicBezTo>
                      <a:pt x="17" y="71"/>
                      <a:pt x="17" y="71"/>
                      <a:pt x="17" y="71"/>
                    </a:cubicBezTo>
                    <a:cubicBezTo>
                      <a:pt x="20" y="73"/>
                      <a:pt x="20" y="73"/>
                      <a:pt x="20" y="73"/>
                    </a:cubicBezTo>
                    <a:cubicBezTo>
                      <a:pt x="23" y="75"/>
                      <a:pt x="23" y="75"/>
                      <a:pt x="23" y="75"/>
                    </a:cubicBezTo>
                    <a:cubicBezTo>
                      <a:pt x="30" y="76"/>
                      <a:pt x="30" y="76"/>
                      <a:pt x="30" y="76"/>
                    </a:cubicBezTo>
                    <a:cubicBezTo>
                      <a:pt x="34" y="75"/>
                      <a:pt x="34" y="75"/>
                      <a:pt x="34" y="75"/>
                    </a:cubicBezTo>
                    <a:cubicBezTo>
                      <a:pt x="37" y="75"/>
                      <a:pt x="37" y="75"/>
                      <a:pt x="37" y="75"/>
                    </a:cubicBezTo>
                    <a:cubicBezTo>
                      <a:pt x="38" y="75"/>
                      <a:pt x="38" y="75"/>
                      <a:pt x="38" y="75"/>
                    </a:cubicBezTo>
                    <a:cubicBezTo>
                      <a:pt x="44" y="72"/>
                      <a:pt x="44" y="72"/>
                      <a:pt x="44" y="72"/>
                    </a:cubicBezTo>
                    <a:cubicBezTo>
                      <a:pt x="47" y="72"/>
                      <a:pt x="47" y="72"/>
                      <a:pt x="47" y="72"/>
                    </a:cubicBezTo>
                    <a:cubicBezTo>
                      <a:pt x="50" y="71"/>
                      <a:pt x="50" y="71"/>
                      <a:pt x="50" y="71"/>
                    </a:cubicBezTo>
                    <a:cubicBezTo>
                      <a:pt x="51" y="68"/>
                      <a:pt x="51" y="68"/>
                      <a:pt x="51" y="68"/>
                    </a:cubicBezTo>
                    <a:cubicBezTo>
                      <a:pt x="53" y="65"/>
                      <a:pt x="53" y="65"/>
                      <a:pt x="53" y="65"/>
                    </a:cubicBezTo>
                    <a:cubicBezTo>
                      <a:pt x="54" y="65"/>
                      <a:pt x="54" y="65"/>
                      <a:pt x="54" y="65"/>
                    </a:cubicBezTo>
                    <a:cubicBezTo>
                      <a:pt x="61" y="65"/>
                      <a:pt x="61" y="65"/>
                      <a:pt x="61" y="65"/>
                    </a:cubicBezTo>
                    <a:cubicBezTo>
                      <a:pt x="65" y="65"/>
                      <a:pt x="65" y="65"/>
                      <a:pt x="65" y="65"/>
                    </a:cubicBezTo>
                    <a:cubicBezTo>
                      <a:pt x="68" y="65"/>
                      <a:pt x="68" y="65"/>
                      <a:pt x="68" y="65"/>
                    </a:cubicBezTo>
                    <a:cubicBezTo>
                      <a:pt x="75" y="61"/>
                      <a:pt x="75" y="61"/>
                      <a:pt x="75" y="61"/>
                    </a:cubicBezTo>
                    <a:cubicBezTo>
                      <a:pt x="78" y="58"/>
                      <a:pt x="78" y="58"/>
                      <a:pt x="78" y="58"/>
                    </a:cubicBezTo>
                    <a:cubicBezTo>
                      <a:pt x="85" y="54"/>
                      <a:pt x="85" y="54"/>
                      <a:pt x="85" y="54"/>
                    </a:cubicBezTo>
                    <a:cubicBezTo>
                      <a:pt x="89" y="51"/>
                      <a:pt x="89" y="51"/>
                      <a:pt x="89" y="51"/>
                    </a:cubicBezTo>
                    <a:cubicBezTo>
                      <a:pt x="92" y="47"/>
                      <a:pt x="92" y="47"/>
                      <a:pt x="92" y="47"/>
                    </a:cubicBezTo>
                    <a:cubicBezTo>
                      <a:pt x="92" y="44"/>
                      <a:pt x="92" y="44"/>
                      <a:pt x="92" y="44"/>
                    </a:cubicBezTo>
                    <a:cubicBezTo>
                      <a:pt x="96" y="41"/>
                      <a:pt x="96" y="41"/>
                      <a:pt x="96" y="41"/>
                    </a:cubicBezTo>
                    <a:cubicBezTo>
                      <a:pt x="99" y="41"/>
                      <a:pt x="99" y="41"/>
                      <a:pt x="99" y="41"/>
                    </a:cubicBezTo>
                    <a:cubicBezTo>
                      <a:pt x="102" y="41"/>
                      <a:pt x="102" y="41"/>
                      <a:pt x="102" y="41"/>
                    </a:cubicBezTo>
                    <a:cubicBezTo>
                      <a:pt x="109" y="41"/>
                      <a:pt x="109" y="41"/>
                      <a:pt x="109" y="41"/>
                    </a:cubicBezTo>
                    <a:cubicBezTo>
                      <a:pt x="113" y="41"/>
                      <a:pt x="113" y="41"/>
                      <a:pt x="113" y="41"/>
                    </a:cubicBezTo>
                    <a:cubicBezTo>
                      <a:pt x="114" y="41"/>
                      <a:pt x="114" y="41"/>
                      <a:pt x="114" y="41"/>
                    </a:cubicBezTo>
                    <a:cubicBezTo>
                      <a:pt x="119" y="41"/>
                      <a:pt x="119" y="41"/>
                      <a:pt x="119" y="41"/>
                    </a:cubicBezTo>
                    <a:cubicBezTo>
                      <a:pt x="119" y="46"/>
                      <a:pt x="119" y="46"/>
                      <a:pt x="119" y="46"/>
                    </a:cubicBezTo>
                    <a:cubicBezTo>
                      <a:pt x="124" y="45"/>
                      <a:pt x="124" y="45"/>
                      <a:pt x="124" y="45"/>
                    </a:cubicBezTo>
                    <a:cubicBezTo>
                      <a:pt x="128" y="49"/>
                      <a:pt x="128" y="49"/>
                      <a:pt x="128" y="49"/>
                    </a:cubicBezTo>
                    <a:cubicBezTo>
                      <a:pt x="134" y="45"/>
                      <a:pt x="134" y="45"/>
                      <a:pt x="134" y="45"/>
                    </a:cubicBezTo>
                    <a:cubicBezTo>
                      <a:pt x="140" y="48"/>
                      <a:pt x="140" y="48"/>
                      <a:pt x="140" y="48"/>
                    </a:cubicBezTo>
                    <a:cubicBezTo>
                      <a:pt x="140" y="44"/>
                      <a:pt x="140" y="44"/>
                      <a:pt x="140" y="44"/>
                    </a:cubicBezTo>
                    <a:cubicBezTo>
                      <a:pt x="139" y="41"/>
                      <a:pt x="139" y="41"/>
                      <a:pt x="139" y="41"/>
                    </a:cubicBezTo>
                    <a:cubicBezTo>
                      <a:pt x="140" y="37"/>
                      <a:pt x="140" y="37"/>
                      <a:pt x="140" y="37"/>
                    </a:cubicBezTo>
                    <a:cubicBezTo>
                      <a:pt x="142" y="34"/>
                      <a:pt x="142" y="34"/>
                      <a:pt x="142" y="34"/>
                    </a:cubicBezTo>
                    <a:cubicBezTo>
                      <a:pt x="145" y="34"/>
                      <a:pt x="145" y="34"/>
                      <a:pt x="145" y="34"/>
                    </a:cubicBezTo>
                    <a:cubicBezTo>
                      <a:pt x="144" y="30"/>
                      <a:pt x="144" y="30"/>
                      <a:pt x="144" y="30"/>
                    </a:cubicBezTo>
                    <a:cubicBezTo>
                      <a:pt x="146" y="28"/>
                      <a:pt x="146" y="28"/>
                      <a:pt x="146" y="28"/>
                    </a:cubicBezTo>
                    <a:lnTo>
                      <a:pt x="150" y="25"/>
                    </a:lnTo>
                    <a:close/>
                  </a:path>
                </a:pathLst>
              </a:custGeom>
              <a:solidFill>
                <a:srgbClr val="CBA6AB"/>
              </a:solidFill>
              <a:ln w="9525">
                <a:solidFill>
                  <a:schemeClr val="bg1"/>
                </a:solidFill>
              </a:ln>
            </p:spPr>
            <p:txBody>
              <a:bodyPr vert="horz" wrap="square" lIns="121920" tIns="60960" rIns="121920" bIns="60960" numCol="1" anchor="t" anchorCtr="0" compatLnSpc="1">
                <a:prstTxWarp prst="textNoShape">
                  <a:avLst/>
                </a:prstTxWarp>
              </a:bodyPr>
              <a:lstStyle/>
              <a:p>
                <a:endParaRPr lang="en-US" sz="2400" dirty="0"/>
              </a:p>
            </p:txBody>
          </p:sp>
        </p:grpSp>
        <p:sp>
          <p:nvSpPr>
            <p:cNvPr id="910" name="Rechteck 909"/>
            <p:cNvSpPr/>
            <p:nvPr>
              <p:custDataLst>
                <p:tags r:id="rId84"/>
              </p:custDataLst>
            </p:nvPr>
          </p:nvSpPr>
          <p:spPr bwMode="gray">
            <a:xfrm>
              <a:off x="2915820" y="397590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bg1"/>
                  </a:solidFill>
                </a:rPr>
                <a:t>-22</a:t>
              </a:r>
            </a:p>
          </p:txBody>
        </p:sp>
        <p:sp>
          <p:nvSpPr>
            <p:cNvPr id="911" name="Rechteck 910"/>
            <p:cNvSpPr/>
            <p:nvPr>
              <p:custDataLst>
                <p:tags r:id="rId85"/>
              </p:custDataLst>
            </p:nvPr>
          </p:nvSpPr>
          <p:spPr bwMode="gray">
            <a:xfrm>
              <a:off x="2876836" y="4119938"/>
              <a:ext cx="182964"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bg1"/>
                  </a:solidFill>
                </a:rPr>
                <a:t>+1</a:t>
              </a:r>
            </a:p>
          </p:txBody>
        </p:sp>
        <p:sp>
          <p:nvSpPr>
            <p:cNvPr id="916" name="Rechteck 915"/>
            <p:cNvSpPr/>
            <p:nvPr>
              <p:custDataLst>
                <p:tags r:id="rId86"/>
              </p:custDataLst>
            </p:nvPr>
          </p:nvSpPr>
          <p:spPr bwMode="gray">
            <a:xfrm>
              <a:off x="2303752" y="368787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35</a:t>
              </a:r>
            </a:p>
          </p:txBody>
        </p:sp>
        <p:sp>
          <p:nvSpPr>
            <p:cNvPr id="917" name="Rechteck 916"/>
            <p:cNvSpPr/>
            <p:nvPr>
              <p:custDataLst>
                <p:tags r:id="rId87"/>
              </p:custDataLst>
            </p:nvPr>
          </p:nvSpPr>
          <p:spPr bwMode="gray">
            <a:xfrm>
              <a:off x="2159732" y="383190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1</a:t>
              </a:r>
            </a:p>
          </p:txBody>
        </p:sp>
        <p:sp>
          <p:nvSpPr>
            <p:cNvPr id="921" name="Rechteck 920"/>
            <p:cNvSpPr/>
            <p:nvPr>
              <p:custDataLst>
                <p:tags r:id="rId88"/>
              </p:custDataLst>
            </p:nvPr>
          </p:nvSpPr>
          <p:spPr bwMode="gray">
            <a:xfrm>
              <a:off x="3671932" y="3399838"/>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bg1"/>
                  </a:solidFill>
                </a:rPr>
                <a:t>-41</a:t>
              </a:r>
            </a:p>
          </p:txBody>
        </p:sp>
        <p:sp>
          <p:nvSpPr>
            <p:cNvPr id="922" name="Rechteck 921"/>
            <p:cNvSpPr/>
            <p:nvPr>
              <p:custDataLst>
                <p:tags r:id="rId89"/>
              </p:custDataLst>
            </p:nvPr>
          </p:nvSpPr>
          <p:spPr bwMode="gray">
            <a:xfrm>
              <a:off x="3527912" y="3543870"/>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bg1"/>
                  </a:solidFill>
                </a:rPr>
                <a:t>+7</a:t>
              </a:r>
            </a:p>
          </p:txBody>
        </p:sp>
        <p:sp>
          <p:nvSpPr>
            <p:cNvPr id="932" name="Rechteck 931"/>
            <p:cNvSpPr/>
            <p:nvPr>
              <p:custDataLst>
                <p:tags r:id="rId90"/>
              </p:custDataLst>
            </p:nvPr>
          </p:nvSpPr>
          <p:spPr bwMode="gray">
            <a:xfrm>
              <a:off x="2627816" y="2823790"/>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21</a:t>
              </a:r>
            </a:p>
          </p:txBody>
        </p:sp>
        <p:sp>
          <p:nvSpPr>
            <p:cNvPr id="933" name="Rechteck 932"/>
            <p:cNvSpPr/>
            <p:nvPr>
              <p:custDataLst>
                <p:tags r:id="rId91"/>
              </p:custDataLst>
            </p:nvPr>
          </p:nvSpPr>
          <p:spPr bwMode="gray">
            <a:xfrm>
              <a:off x="2483796" y="295293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13</a:t>
              </a:r>
            </a:p>
          </p:txBody>
        </p:sp>
        <p:sp>
          <p:nvSpPr>
            <p:cNvPr id="935" name="Ellipse 934"/>
            <p:cNvSpPr/>
            <p:nvPr>
              <p:custDataLst>
                <p:tags r:id="rId92"/>
              </p:custDataLst>
            </p:nvPr>
          </p:nvSpPr>
          <p:spPr bwMode="gray">
            <a:xfrm>
              <a:off x="2807816" y="2952928"/>
              <a:ext cx="108000" cy="108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endParaRPr lang="en-US" sz="1067" dirty="0">
                <a:solidFill>
                  <a:schemeClr val="bg1"/>
                </a:solidFill>
              </a:endParaRPr>
            </a:p>
          </p:txBody>
        </p:sp>
        <p:sp>
          <p:nvSpPr>
            <p:cNvPr id="937" name="Rechteck 936"/>
            <p:cNvSpPr/>
            <p:nvPr>
              <p:custDataLst>
                <p:tags r:id="rId93"/>
              </p:custDataLst>
            </p:nvPr>
          </p:nvSpPr>
          <p:spPr bwMode="gray">
            <a:xfrm>
              <a:off x="4064686" y="2643758"/>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33</a:t>
              </a:r>
            </a:p>
          </p:txBody>
        </p:sp>
        <p:sp>
          <p:nvSpPr>
            <p:cNvPr id="938" name="Rechteck 937"/>
            <p:cNvSpPr/>
            <p:nvPr>
              <p:custDataLst>
                <p:tags r:id="rId94"/>
              </p:custDataLst>
            </p:nvPr>
          </p:nvSpPr>
          <p:spPr bwMode="gray">
            <a:xfrm>
              <a:off x="3938704" y="2787790"/>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5</a:t>
              </a:r>
            </a:p>
          </p:txBody>
        </p:sp>
        <p:sp>
          <p:nvSpPr>
            <p:cNvPr id="942" name="Rechteck 941"/>
            <p:cNvSpPr/>
            <p:nvPr>
              <p:custDataLst>
                <p:tags r:id="rId95"/>
              </p:custDataLst>
            </p:nvPr>
          </p:nvSpPr>
          <p:spPr bwMode="gray">
            <a:xfrm>
              <a:off x="4283972" y="3039798"/>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5</a:t>
              </a:r>
            </a:p>
          </p:txBody>
        </p:sp>
        <p:sp>
          <p:nvSpPr>
            <p:cNvPr id="943" name="Rechteck 942"/>
            <p:cNvSpPr/>
            <p:nvPr>
              <p:custDataLst>
                <p:tags r:id="rId96"/>
              </p:custDataLst>
            </p:nvPr>
          </p:nvSpPr>
          <p:spPr bwMode="gray">
            <a:xfrm>
              <a:off x="4139952" y="3183830"/>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1</a:t>
              </a:r>
            </a:p>
          </p:txBody>
        </p:sp>
        <p:sp>
          <p:nvSpPr>
            <p:cNvPr id="947" name="Rechteck 946"/>
            <p:cNvSpPr/>
            <p:nvPr>
              <p:custDataLst>
                <p:tags r:id="rId97"/>
              </p:custDataLst>
            </p:nvPr>
          </p:nvSpPr>
          <p:spPr bwMode="gray">
            <a:xfrm>
              <a:off x="5112064" y="289578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8</a:t>
              </a:r>
            </a:p>
          </p:txBody>
        </p:sp>
        <p:sp>
          <p:nvSpPr>
            <p:cNvPr id="948" name="Rechteck 947"/>
            <p:cNvSpPr/>
            <p:nvPr>
              <p:custDataLst>
                <p:tags r:id="rId98"/>
              </p:custDataLst>
            </p:nvPr>
          </p:nvSpPr>
          <p:spPr bwMode="gray">
            <a:xfrm>
              <a:off x="4968044" y="303981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5</a:t>
              </a:r>
            </a:p>
          </p:txBody>
        </p:sp>
        <p:sp>
          <p:nvSpPr>
            <p:cNvPr id="957" name="Rechteck 956"/>
            <p:cNvSpPr/>
            <p:nvPr>
              <p:custDataLst>
                <p:tags r:id="rId99"/>
              </p:custDataLst>
            </p:nvPr>
          </p:nvSpPr>
          <p:spPr bwMode="gray">
            <a:xfrm>
              <a:off x="6146773" y="301357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40</a:t>
              </a:r>
            </a:p>
          </p:txBody>
        </p:sp>
        <p:sp>
          <p:nvSpPr>
            <p:cNvPr id="958" name="Rechteck 957"/>
            <p:cNvSpPr/>
            <p:nvPr>
              <p:custDataLst>
                <p:tags r:id="rId100"/>
              </p:custDataLst>
            </p:nvPr>
          </p:nvSpPr>
          <p:spPr bwMode="gray">
            <a:xfrm>
              <a:off x="6002755" y="3157609"/>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GB" sz="1200" dirty="0">
                  <a:solidFill>
                    <a:schemeClr val="tx1"/>
                  </a:solidFill>
                </a:rPr>
                <a:t>-1</a:t>
              </a:r>
              <a:endParaRPr lang="en-US" sz="1200" dirty="0">
                <a:solidFill>
                  <a:schemeClr val="tx1"/>
                </a:solidFill>
              </a:endParaRPr>
            </a:p>
          </p:txBody>
        </p:sp>
        <p:sp>
          <p:nvSpPr>
            <p:cNvPr id="963" name="Rechteck 962"/>
            <p:cNvSpPr/>
            <p:nvPr>
              <p:custDataLst>
                <p:tags r:id="rId101"/>
              </p:custDataLst>
            </p:nvPr>
          </p:nvSpPr>
          <p:spPr bwMode="gray">
            <a:xfrm>
              <a:off x="5492002" y="3690841"/>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err="1">
                  <a:solidFill>
                    <a:schemeClr val="tx1"/>
                  </a:solidFill>
                </a:rPr>
                <a:t>na</a:t>
              </a:r>
              <a:endParaRPr lang="en-US" sz="1200" b="1" dirty="0">
                <a:solidFill>
                  <a:schemeClr val="tx1"/>
                </a:solidFill>
              </a:endParaRPr>
            </a:p>
          </p:txBody>
        </p:sp>
        <p:sp>
          <p:nvSpPr>
            <p:cNvPr id="968" name="Rechteck 967"/>
            <p:cNvSpPr/>
            <p:nvPr>
              <p:custDataLst>
                <p:tags r:id="rId102"/>
              </p:custDataLst>
            </p:nvPr>
          </p:nvSpPr>
          <p:spPr bwMode="gray">
            <a:xfrm>
              <a:off x="5686146" y="4021441"/>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bg1"/>
                  </a:solidFill>
                </a:rPr>
                <a:t>+21</a:t>
              </a:r>
            </a:p>
          </p:txBody>
        </p:sp>
        <p:sp>
          <p:nvSpPr>
            <p:cNvPr id="969" name="Rechteck 968"/>
            <p:cNvSpPr/>
            <p:nvPr>
              <p:custDataLst>
                <p:tags r:id="rId103"/>
              </p:custDataLst>
            </p:nvPr>
          </p:nvSpPr>
          <p:spPr bwMode="gray">
            <a:xfrm>
              <a:off x="5542125" y="4134011"/>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GB" sz="1200" dirty="0">
                  <a:solidFill>
                    <a:schemeClr val="bg1"/>
                  </a:solidFill>
                </a:rPr>
                <a:t>+1</a:t>
              </a:r>
              <a:endParaRPr lang="en-US" sz="1200" dirty="0">
                <a:solidFill>
                  <a:schemeClr val="bg1"/>
                </a:solidFill>
              </a:endParaRPr>
            </a:p>
          </p:txBody>
        </p:sp>
        <p:sp>
          <p:nvSpPr>
            <p:cNvPr id="971" name="Ellipse 970"/>
            <p:cNvSpPr/>
            <p:nvPr>
              <p:custDataLst>
                <p:tags r:id="rId104"/>
              </p:custDataLst>
            </p:nvPr>
          </p:nvSpPr>
          <p:spPr bwMode="gray">
            <a:xfrm>
              <a:off x="6660244" y="3953550"/>
              <a:ext cx="108000" cy="108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endParaRPr lang="en-US" sz="1067" dirty="0">
                <a:solidFill>
                  <a:schemeClr val="bg1"/>
                </a:solidFill>
              </a:endParaRPr>
            </a:p>
          </p:txBody>
        </p:sp>
        <p:grpSp>
          <p:nvGrpSpPr>
            <p:cNvPr id="979" name="Gruppieren 978"/>
            <p:cNvGrpSpPr/>
            <p:nvPr/>
          </p:nvGrpSpPr>
          <p:grpSpPr bwMode="gray">
            <a:xfrm>
              <a:off x="2627944" y="3075806"/>
              <a:ext cx="1440000" cy="0"/>
              <a:chOff x="2627944" y="3075806"/>
              <a:chExt cx="1440000" cy="0"/>
            </a:xfrm>
          </p:grpSpPr>
          <p:cxnSp>
            <p:nvCxnSpPr>
              <p:cNvPr id="931" name="Gerade Verbindung 930"/>
              <p:cNvCxnSpPr/>
              <p:nvPr>
                <p:custDataLst>
                  <p:tags r:id="rId119"/>
                </p:custDataLst>
              </p:nvPr>
            </p:nvCxnSpPr>
            <p:spPr bwMode="gray">
              <a:xfrm>
                <a:off x="2627944" y="3075806"/>
                <a:ext cx="1440000" cy="0"/>
              </a:xfrm>
              <a:prstGeom prst="line">
                <a:avLst/>
              </a:prstGeom>
              <a:ln w="38100" cap="rnd">
                <a:solidFill>
                  <a:schemeClr val="bg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cxnSp>
            <p:nvCxnSpPr>
              <p:cNvPr id="978" name="Gerade Verbindung 977"/>
              <p:cNvCxnSpPr/>
              <p:nvPr>
                <p:custDataLst>
                  <p:tags r:id="rId120"/>
                </p:custDataLst>
              </p:nvPr>
            </p:nvCxnSpPr>
            <p:spPr bwMode="gray">
              <a:xfrm>
                <a:off x="2627944" y="3075806"/>
                <a:ext cx="1440000" cy="0"/>
              </a:xfrm>
              <a:prstGeom prst="line">
                <a:avLst/>
              </a:prstGeom>
              <a:ln cap="rnd">
                <a:solidFill>
                  <a:schemeClr val="tx1"/>
                </a:solidFill>
                <a:headEnd type="none" w="sm" len="sm"/>
                <a:tailEnd type="oval" w="sm" len="sm"/>
              </a:ln>
            </p:spPr>
            <p:style>
              <a:lnRef idx="1">
                <a:schemeClr val="accent1"/>
              </a:lnRef>
              <a:fillRef idx="0">
                <a:schemeClr val="accent1"/>
              </a:fillRef>
              <a:effectRef idx="0">
                <a:schemeClr val="accent1"/>
              </a:effectRef>
              <a:fontRef idx="minor">
                <a:schemeClr val="tx1"/>
              </a:fontRef>
            </p:style>
          </p:cxnSp>
        </p:grpSp>
        <p:sp>
          <p:nvSpPr>
            <p:cNvPr id="980" name="Rechteck 979"/>
            <p:cNvSpPr/>
            <p:nvPr>
              <p:custDataLst>
                <p:tags r:id="rId105"/>
              </p:custDataLst>
            </p:nvPr>
          </p:nvSpPr>
          <p:spPr bwMode="gray">
            <a:xfrm>
              <a:off x="5704198" y="441601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21</a:t>
              </a:r>
            </a:p>
          </p:txBody>
        </p:sp>
        <p:sp>
          <p:nvSpPr>
            <p:cNvPr id="981" name="Rechteck 980"/>
            <p:cNvSpPr/>
            <p:nvPr>
              <p:custDataLst>
                <p:tags r:id="rId106"/>
              </p:custDataLst>
            </p:nvPr>
          </p:nvSpPr>
          <p:spPr bwMode="gray">
            <a:xfrm>
              <a:off x="5560177" y="456004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3</a:t>
              </a:r>
            </a:p>
          </p:txBody>
        </p:sp>
        <p:sp>
          <p:nvSpPr>
            <p:cNvPr id="989" name="Freihandform 988"/>
            <p:cNvSpPr/>
            <p:nvPr>
              <p:custDataLst>
                <p:tags r:id="rId107"/>
              </p:custDataLst>
            </p:nvPr>
          </p:nvSpPr>
          <p:spPr bwMode="gray">
            <a:xfrm flipV="1">
              <a:off x="4853758" y="3777134"/>
              <a:ext cx="1908002" cy="1152000"/>
            </a:xfrm>
            <a:custGeom>
              <a:avLst/>
              <a:gdLst>
                <a:gd name="connsiteX0" fmla="*/ 0 w 1574800"/>
                <a:gd name="connsiteY0" fmla="*/ 654050 h 654050"/>
                <a:gd name="connsiteX1" fmla="*/ 0 w 1574800"/>
                <a:gd name="connsiteY1" fmla="*/ 0 h 654050"/>
                <a:gd name="connsiteX2" fmla="*/ 1574800 w 1574800"/>
                <a:gd name="connsiteY2" fmla="*/ 0 h 654050"/>
              </a:gdLst>
              <a:ahLst/>
              <a:cxnLst>
                <a:cxn ang="0">
                  <a:pos x="connsiteX0" y="connsiteY0"/>
                </a:cxn>
                <a:cxn ang="0">
                  <a:pos x="connsiteX1" y="connsiteY1"/>
                </a:cxn>
                <a:cxn ang="0">
                  <a:pos x="connsiteX2" y="connsiteY2"/>
                </a:cxn>
              </a:cxnLst>
              <a:rect l="l" t="t" r="r" b="b"/>
              <a:pathLst>
                <a:path w="1574800" h="654050">
                  <a:moveTo>
                    <a:pt x="0" y="654050"/>
                  </a:moveTo>
                  <a:lnTo>
                    <a:pt x="0" y="0"/>
                  </a:lnTo>
                  <a:lnTo>
                    <a:pt x="1574800" y="0"/>
                  </a:lnTo>
                </a:path>
              </a:pathLst>
            </a:custGeom>
            <a:noFill/>
            <a:ln w="9525" cap="rnd">
              <a:solidFill>
                <a:schemeClr val="bg2"/>
              </a:solidFill>
              <a:head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991" name="Rechteck 990"/>
            <p:cNvSpPr/>
            <p:nvPr>
              <p:custDataLst>
                <p:tags r:id="rId108"/>
              </p:custDataLst>
            </p:nvPr>
          </p:nvSpPr>
          <p:spPr bwMode="gray">
            <a:xfrm>
              <a:off x="6939532" y="313872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5</a:t>
              </a:r>
            </a:p>
          </p:txBody>
        </p:sp>
        <p:sp>
          <p:nvSpPr>
            <p:cNvPr id="992" name="Rechteck 991"/>
            <p:cNvSpPr/>
            <p:nvPr>
              <p:custDataLst>
                <p:tags r:id="rId109"/>
              </p:custDataLst>
            </p:nvPr>
          </p:nvSpPr>
          <p:spPr bwMode="gray">
            <a:xfrm>
              <a:off x="6795511" y="328275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GB" sz="1200" dirty="0">
                  <a:solidFill>
                    <a:schemeClr val="tx1"/>
                  </a:solidFill>
                </a:rPr>
                <a:t>+6</a:t>
              </a:r>
              <a:endParaRPr lang="en-US" sz="1200" dirty="0">
                <a:solidFill>
                  <a:schemeClr val="tx1"/>
                </a:solidFill>
              </a:endParaRPr>
            </a:p>
          </p:txBody>
        </p:sp>
        <p:sp>
          <p:nvSpPr>
            <p:cNvPr id="994" name="Ellipse 993"/>
            <p:cNvSpPr/>
            <p:nvPr>
              <p:custDataLst>
                <p:tags r:id="rId110"/>
              </p:custDataLst>
            </p:nvPr>
          </p:nvSpPr>
          <p:spPr bwMode="gray">
            <a:xfrm>
              <a:off x="7695737" y="2977892"/>
              <a:ext cx="108000" cy="108000"/>
            </a:xfrm>
            <a:prstGeom prst="ellipse">
              <a:avLst/>
            </a:prstGeom>
            <a:solidFill>
              <a:schemeClr val="bg1"/>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endParaRPr lang="en-US" sz="1067" dirty="0">
                <a:solidFill>
                  <a:schemeClr val="bg1"/>
                </a:solidFill>
              </a:endParaRPr>
            </a:p>
          </p:txBody>
        </p:sp>
        <p:cxnSp>
          <p:nvCxnSpPr>
            <p:cNvPr id="998" name="Gerade Verbindung 997"/>
            <p:cNvCxnSpPr/>
            <p:nvPr>
              <p:custDataLst>
                <p:tags r:id="rId111"/>
              </p:custDataLst>
            </p:nvPr>
          </p:nvCxnSpPr>
          <p:spPr bwMode="gray">
            <a:xfrm>
              <a:off x="5266211" y="3399842"/>
              <a:ext cx="1980005" cy="0"/>
            </a:xfrm>
            <a:prstGeom prst="line">
              <a:avLst/>
            </a:prstGeom>
            <a:ln cap="rnd">
              <a:solidFill>
                <a:schemeClr val="bg2"/>
              </a:solidFill>
              <a:headEnd type="oval" w="sm" len="sm"/>
              <a:tailEnd type="none"/>
            </a:ln>
            <a:effectLst/>
          </p:spPr>
          <p:style>
            <a:lnRef idx="1">
              <a:schemeClr val="accent1"/>
            </a:lnRef>
            <a:fillRef idx="0">
              <a:schemeClr val="accent1"/>
            </a:fillRef>
            <a:effectRef idx="0">
              <a:schemeClr val="accent1"/>
            </a:effectRef>
            <a:fontRef idx="minor">
              <a:schemeClr val="tx1"/>
            </a:fontRef>
          </p:style>
        </p:cxnSp>
        <p:sp>
          <p:nvSpPr>
            <p:cNvPr id="1016" name="Rechteck 1015"/>
            <p:cNvSpPr/>
            <p:nvPr>
              <p:custDataLst>
                <p:tags r:id="rId112"/>
              </p:custDataLst>
            </p:nvPr>
          </p:nvSpPr>
          <p:spPr bwMode="gray">
            <a:xfrm>
              <a:off x="6480244" y="467361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20</a:t>
              </a:r>
            </a:p>
          </p:txBody>
        </p:sp>
        <p:sp>
          <p:nvSpPr>
            <p:cNvPr id="1017" name="Rechteck 1016"/>
            <p:cNvSpPr/>
            <p:nvPr>
              <p:custDataLst>
                <p:tags r:id="rId113"/>
              </p:custDataLst>
            </p:nvPr>
          </p:nvSpPr>
          <p:spPr bwMode="gray">
            <a:xfrm>
              <a:off x="6336224" y="4817646"/>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2</a:t>
              </a:r>
            </a:p>
          </p:txBody>
        </p:sp>
        <p:sp>
          <p:nvSpPr>
            <p:cNvPr id="1025" name="Rechteck 1024"/>
            <p:cNvSpPr/>
            <p:nvPr>
              <p:custDataLst>
                <p:tags r:id="rId114"/>
              </p:custDataLst>
            </p:nvPr>
          </p:nvSpPr>
          <p:spPr bwMode="gray">
            <a:xfrm>
              <a:off x="4717543" y="3456873"/>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bg1"/>
                  </a:solidFill>
                </a:rPr>
                <a:t>-59</a:t>
              </a:r>
            </a:p>
          </p:txBody>
        </p:sp>
        <p:sp>
          <p:nvSpPr>
            <p:cNvPr id="1026" name="Rechteck 1025"/>
            <p:cNvSpPr/>
            <p:nvPr>
              <p:custDataLst>
                <p:tags r:id="rId115"/>
              </p:custDataLst>
            </p:nvPr>
          </p:nvSpPr>
          <p:spPr bwMode="gray">
            <a:xfrm>
              <a:off x="4572028" y="357987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bg1"/>
                  </a:solidFill>
                </a:rPr>
                <a:t>+5</a:t>
              </a:r>
            </a:p>
          </p:txBody>
        </p:sp>
        <p:sp>
          <p:nvSpPr>
            <p:cNvPr id="1034" name="Rechteck 1033"/>
            <p:cNvSpPr/>
            <p:nvPr>
              <p:custDataLst>
                <p:tags r:id="rId116"/>
              </p:custDataLst>
            </p:nvPr>
          </p:nvSpPr>
          <p:spPr bwMode="gray">
            <a:xfrm>
              <a:off x="4391984" y="4335942"/>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1</a:t>
              </a:r>
            </a:p>
          </p:txBody>
        </p:sp>
        <p:sp>
          <p:nvSpPr>
            <p:cNvPr id="1035" name="Rechteck 1034"/>
            <p:cNvSpPr/>
            <p:nvPr>
              <p:custDataLst>
                <p:tags r:id="rId117"/>
              </p:custDataLst>
            </p:nvPr>
          </p:nvSpPr>
          <p:spPr bwMode="gray">
            <a:xfrm>
              <a:off x="4266859" y="4479974"/>
              <a:ext cx="288000" cy="108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de-DE" sz="1200" dirty="0">
                  <a:solidFill>
                    <a:schemeClr val="tx1"/>
                  </a:solidFill>
                </a:rPr>
                <a:t>+11</a:t>
              </a:r>
              <a:endParaRPr lang="en-US" sz="1200" dirty="0">
                <a:solidFill>
                  <a:schemeClr val="tx1"/>
                </a:solidFill>
              </a:endParaRPr>
            </a:p>
          </p:txBody>
        </p:sp>
        <p:cxnSp>
          <p:nvCxnSpPr>
            <p:cNvPr id="974" name="Gerade Verbindung 973"/>
            <p:cNvCxnSpPr>
              <a:cxnSpLocks/>
            </p:cNvCxnSpPr>
            <p:nvPr>
              <p:custDataLst>
                <p:tags r:id="rId118"/>
              </p:custDataLst>
            </p:nvPr>
          </p:nvCxnSpPr>
          <p:spPr bwMode="gray">
            <a:xfrm>
              <a:off x="4924012" y="3299863"/>
              <a:ext cx="1527078" cy="0"/>
            </a:xfrm>
            <a:prstGeom prst="line">
              <a:avLst/>
            </a:prstGeom>
            <a:ln cap="rnd">
              <a:solidFill>
                <a:schemeClr val="bg2"/>
              </a:solidFill>
              <a:headEnd type="oval" w="sm" len="sm"/>
              <a:tailEnd type="none"/>
            </a:ln>
          </p:spPr>
          <p:style>
            <a:lnRef idx="1">
              <a:schemeClr val="accent1"/>
            </a:lnRef>
            <a:fillRef idx="0">
              <a:schemeClr val="accent1"/>
            </a:fillRef>
            <a:effectRef idx="0">
              <a:schemeClr val="accent1"/>
            </a:effectRef>
            <a:fontRef idx="minor">
              <a:schemeClr val="tx1"/>
            </a:fontRef>
          </p:style>
        </p:cxnSp>
      </p:grpSp>
      <p:sp>
        <p:nvSpPr>
          <p:cNvPr id="192" name="Rechteck 191">
            <a:extLst>
              <a:ext uri="{FF2B5EF4-FFF2-40B4-BE49-F238E27FC236}">
                <a16:creationId xmlns:a16="http://schemas.microsoft.com/office/drawing/2014/main" id="{8CDEF71B-AD69-46E5-A52F-6DA82D02DF0F}"/>
              </a:ext>
            </a:extLst>
          </p:cNvPr>
          <p:cNvSpPr/>
          <p:nvPr>
            <p:custDataLst>
              <p:tags r:id="rId4"/>
            </p:custDataLst>
          </p:nvPr>
        </p:nvSpPr>
        <p:spPr bwMode="gray">
          <a:xfrm>
            <a:off x="6468433" y="2674706"/>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bg1"/>
                </a:solidFill>
              </a:rPr>
              <a:t>-62</a:t>
            </a:r>
          </a:p>
        </p:txBody>
      </p:sp>
      <p:sp>
        <p:nvSpPr>
          <p:cNvPr id="198" name="Rechteck 197">
            <a:extLst>
              <a:ext uri="{FF2B5EF4-FFF2-40B4-BE49-F238E27FC236}">
                <a16:creationId xmlns:a16="http://schemas.microsoft.com/office/drawing/2014/main" id="{364FA076-8CFE-44C3-BE26-B8E411532D31}"/>
              </a:ext>
            </a:extLst>
          </p:cNvPr>
          <p:cNvSpPr/>
          <p:nvPr>
            <p:custDataLst>
              <p:tags r:id="rId5"/>
            </p:custDataLst>
          </p:nvPr>
        </p:nvSpPr>
        <p:spPr bwMode="gray">
          <a:xfrm>
            <a:off x="6294604" y="2866749"/>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de-DE" sz="1200" dirty="0">
                <a:solidFill>
                  <a:schemeClr val="bg1"/>
                </a:solidFill>
              </a:rPr>
              <a:t>+3</a:t>
            </a:r>
            <a:endParaRPr lang="en-US" sz="1200" dirty="0">
              <a:solidFill>
                <a:schemeClr val="bg1"/>
              </a:solidFill>
            </a:endParaRPr>
          </a:p>
        </p:txBody>
      </p:sp>
      <p:sp>
        <p:nvSpPr>
          <p:cNvPr id="206" name="Rechteck 205">
            <a:extLst>
              <a:ext uri="{FF2B5EF4-FFF2-40B4-BE49-F238E27FC236}">
                <a16:creationId xmlns:a16="http://schemas.microsoft.com/office/drawing/2014/main" id="{1C8E8956-A32F-4F91-A6EF-7B6C5D7CE4B5}"/>
              </a:ext>
            </a:extLst>
          </p:cNvPr>
          <p:cNvSpPr/>
          <p:nvPr>
            <p:custDataLst>
              <p:tags r:id="rId6"/>
            </p:custDataLst>
          </p:nvPr>
        </p:nvSpPr>
        <p:spPr bwMode="gray">
          <a:xfrm>
            <a:off x="7277884" y="2214709"/>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bg1"/>
                </a:solidFill>
              </a:rPr>
              <a:t>-45</a:t>
            </a:r>
          </a:p>
        </p:txBody>
      </p:sp>
      <p:sp>
        <p:nvSpPr>
          <p:cNvPr id="216" name="Rechteck 215">
            <a:extLst>
              <a:ext uri="{FF2B5EF4-FFF2-40B4-BE49-F238E27FC236}">
                <a16:creationId xmlns:a16="http://schemas.microsoft.com/office/drawing/2014/main" id="{367D58A3-BB20-46FD-93D5-54C5192760E8}"/>
              </a:ext>
            </a:extLst>
          </p:cNvPr>
          <p:cNvSpPr/>
          <p:nvPr>
            <p:custDataLst>
              <p:tags r:id="rId7"/>
            </p:custDataLst>
          </p:nvPr>
        </p:nvSpPr>
        <p:spPr bwMode="gray">
          <a:xfrm>
            <a:off x="7104055" y="2406752"/>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de-DE" sz="1200" dirty="0">
                <a:solidFill>
                  <a:schemeClr val="bg1"/>
                </a:solidFill>
              </a:rPr>
              <a:t>+5</a:t>
            </a:r>
            <a:endParaRPr lang="en-US" sz="1200" dirty="0">
              <a:solidFill>
                <a:schemeClr val="bg1"/>
              </a:solidFill>
            </a:endParaRPr>
          </a:p>
        </p:txBody>
      </p:sp>
      <p:sp>
        <p:nvSpPr>
          <p:cNvPr id="225" name="Rechteck 224">
            <a:extLst>
              <a:ext uri="{FF2B5EF4-FFF2-40B4-BE49-F238E27FC236}">
                <a16:creationId xmlns:a16="http://schemas.microsoft.com/office/drawing/2014/main" id="{09F6619A-2C01-4531-8440-206D08DE91FD}"/>
              </a:ext>
            </a:extLst>
          </p:cNvPr>
          <p:cNvSpPr/>
          <p:nvPr>
            <p:custDataLst>
              <p:tags r:id="rId8"/>
            </p:custDataLst>
          </p:nvPr>
        </p:nvSpPr>
        <p:spPr bwMode="gray">
          <a:xfrm>
            <a:off x="7863716" y="2691484"/>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35</a:t>
            </a:r>
          </a:p>
        </p:txBody>
      </p:sp>
      <p:sp>
        <p:nvSpPr>
          <p:cNvPr id="226" name="Rechteck 225">
            <a:extLst>
              <a:ext uri="{FF2B5EF4-FFF2-40B4-BE49-F238E27FC236}">
                <a16:creationId xmlns:a16="http://schemas.microsoft.com/office/drawing/2014/main" id="{4175E6EE-B99F-418B-87E4-73DBB925D2FA}"/>
              </a:ext>
            </a:extLst>
          </p:cNvPr>
          <p:cNvSpPr/>
          <p:nvPr>
            <p:custDataLst>
              <p:tags r:id="rId9"/>
            </p:custDataLst>
          </p:nvPr>
        </p:nvSpPr>
        <p:spPr bwMode="gray">
          <a:xfrm>
            <a:off x="7673109" y="2849971"/>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4</a:t>
            </a:r>
          </a:p>
        </p:txBody>
      </p:sp>
      <p:sp>
        <p:nvSpPr>
          <p:cNvPr id="228" name="Rechteck 227">
            <a:extLst>
              <a:ext uri="{FF2B5EF4-FFF2-40B4-BE49-F238E27FC236}">
                <a16:creationId xmlns:a16="http://schemas.microsoft.com/office/drawing/2014/main" id="{DE748FB1-2376-429B-A6BD-F786DAB5C008}"/>
              </a:ext>
            </a:extLst>
          </p:cNvPr>
          <p:cNvSpPr/>
          <p:nvPr>
            <p:custDataLst>
              <p:tags r:id="rId10"/>
            </p:custDataLst>
          </p:nvPr>
        </p:nvSpPr>
        <p:spPr bwMode="gray">
          <a:xfrm>
            <a:off x="8922128" y="3313668"/>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23</a:t>
            </a:r>
          </a:p>
        </p:txBody>
      </p:sp>
      <p:sp>
        <p:nvSpPr>
          <p:cNvPr id="229" name="Rechteck 228">
            <a:extLst>
              <a:ext uri="{FF2B5EF4-FFF2-40B4-BE49-F238E27FC236}">
                <a16:creationId xmlns:a16="http://schemas.microsoft.com/office/drawing/2014/main" id="{CFB87258-F801-48BA-B193-4053837C75F3}"/>
              </a:ext>
            </a:extLst>
          </p:cNvPr>
          <p:cNvSpPr/>
          <p:nvPr>
            <p:custDataLst>
              <p:tags r:id="rId11"/>
            </p:custDataLst>
          </p:nvPr>
        </p:nvSpPr>
        <p:spPr bwMode="gray">
          <a:xfrm>
            <a:off x="8748299" y="348893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de-DE" sz="1200" dirty="0">
                <a:solidFill>
                  <a:schemeClr val="tx1"/>
                </a:solidFill>
              </a:rPr>
              <a:t>-3</a:t>
            </a:r>
            <a:endParaRPr lang="en-US" sz="1200" dirty="0">
              <a:solidFill>
                <a:schemeClr val="tx1"/>
              </a:solidFill>
            </a:endParaRPr>
          </a:p>
        </p:txBody>
      </p:sp>
      <p:sp>
        <p:nvSpPr>
          <p:cNvPr id="231" name="Rechteck 230">
            <a:extLst>
              <a:ext uri="{FF2B5EF4-FFF2-40B4-BE49-F238E27FC236}">
                <a16:creationId xmlns:a16="http://schemas.microsoft.com/office/drawing/2014/main" id="{4A824B33-3B0E-4E11-AD9A-B602B283BBF1}"/>
              </a:ext>
            </a:extLst>
          </p:cNvPr>
          <p:cNvSpPr/>
          <p:nvPr>
            <p:custDataLst>
              <p:tags r:id="rId12"/>
            </p:custDataLst>
          </p:nvPr>
        </p:nvSpPr>
        <p:spPr bwMode="gray">
          <a:xfrm>
            <a:off x="8251008" y="3045220"/>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5</a:t>
            </a:r>
          </a:p>
        </p:txBody>
      </p:sp>
      <p:sp>
        <p:nvSpPr>
          <p:cNvPr id="232" name="Rechteck 231">
            <a:extLst>
              <a:ext uri="{FF2B5EF4-FFF2-40B4-BE49-F238E27FC236}">
                <a16:creationId xmlns:a16="http://schemas.microsoft.com/office/drawing/2014/main" id="{2C697118-C9F2-4B6C-A7E4-EBA18D078C0B}"/>
              </a:ext>
            </a:extLst>
          </p:cNvPr>
          <p:cNvSpPr/>
          <p:nvPr>
            <p:custDataLst>
              <p:tags r:id="rId13"/>
            </p:custDataLst>
          </p:nvPr>
        </p:nvSpPr>
        <p:spPr bwMode="gray">
          <a:xfrm>
            <a:off x="8077179" y="3203707"/>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de-DE" sz="1200" dirty="0">
                <a:solidFill>
                  <a:schemeClr val="tx1"/>
                </a:solidFill>
              </a:rPr>
              <a:t>+17</a:t>
            </a:r>
            <a:endParaRPr lang="en-US" sz="1200" dirty="0">
              <a:solidFill>
                <a:schemeClr val="tx1"/>
              </a:solidFill>
            </a:endParaRPr>
          </a:p>
        </p:txBody>
      </p:sp>
      <p:cxnSp>
        <p:nvCxnSpPr>
          <p:cNvPr id="234" name="Gerade Verbindung 997">
            <a:extLst>
              <a:ext uri="{FF2B5EF4-FFF2-40B4-BE49-F238E27FC236}">
                <a16:creationId xmlns:a16="http://schemas.microsoft.com/office/drawing/2014/main" id="{8EE88C56-6909-49FC-BBED-DB298FDD9DAE}"/>
              </a:ext>
            </a:extLst>
          </p:cNvPr>
          <p:cNvCxnSpPr>
            <a:cxnSpLocks/>
          </p:cNvCxnSpPr>
          <p:nvPr>
            <p:custDataLst>
              <p:tags r:id="rId14"/>
            </p:custDataLst>
          </p:nvPr>
        </p:nvCxnSpPr>
        <p:spPr bwMode="gray">
          <a:xfrm flipV="1">
            <a:off x="7661884" y="3011687"/>
            <a:ext cx="501800" cy="6148"/>
          </a:xfrm>
          <a:prstGeom prst="line">
            <a:avLst/>
          </a:prstGeom>
          <a:ln cap="rnd">
            <a:solidFill>
              <a:schemeClr val="tx1"/>
            </a:solidFill>
            <a:headEnd type="oval" w="sm" len="sm"/>
            <a:tailEnd type="none"/>
          </a:ln>
        </p:spPr>
        <p:style>
          <a:lnRef idx="1">
            <a:schemeClr val="accent1"/>
          </a:lnRef>
          <a:fillRef idx="0">
            <a:schemeClr val="accent1"/>
          </a:fillRef>
          <a:effectRef idx="0">
            <a:schemeClr val="accent1"/>
          </a:effectRef>
          <a:fontRef idx="minor">
            <a:schemeClr val="tx1"/>
          </a:fontRef>
        </p:style>
      </p:cxnSp>
      <p:cxnSp>
        <p:nvCxnSpPr>
          <p:cNvPr id="236" name="Gerade Verbindung 997">
            <a:extLst>
              <a:ext uri="{FF2B5EF4-FFF2-40B4-BE49-F238E27FC236}">
                <a16:creationId xmlns:a16="http://schemas.microsoft.com/office/drawing/2014/main" id="{C6C32F3A-6671-4349-A6A1-CC38BECDC670}"/>
              </a:ext>
            </a:extLst>
          </p:cNvPr>
          <p:cNvCxnSpPr>
            <a:cxnSpLocks/>
          </p:cNvCxnSpPr>
          <p:nvPr>
            <p:custDataLst>
              <p:tags r:id="rId15"/>
            </p:custDataLst>
          </p:nvPr>
        </p:nvCxnSpPr>
        <p:spPr bwMode="gray">
          <a:xfrm>
            <a:off x="7570665" y="3624157"/>
            <a:ext cx="1734013" cy="21582"/>
          </a:xfrm>
          <a:prstGeom prst="line">
            <a:avLst/>
          </a:prstGeom>
          <a:ln cap="rnd">
            <a:solidFill>
              <a:schemeClr val="tx1"/>
            </a:solidFill>
            <a:headEnd type="oval" w="sm" len="sm"/>
            <a:tailEnd type="none"/>
          </a:ln>
        </p:spPr>
        <p:style>
          <a:lnRef idx="1">
            <a:schemeClr val="accent1"/>
          </a:lnRef>
          <a:fillRef idx="0">
            <a:schemeClr val="accent1"/>
          </a:fillRef>
          <a:effectRef idx="0">
            <a:schemeClr val="accent1"/>
          </a:effectRef>
          <a:fontRef idx="minor">
            <a:schemeClr val="tx1"/>
          </a:fontRef>
        </p:style>
      </p:cxnSp>
      <p:cxnSp>
        <p:nvCxnSpPr>
          <p:cNvPr id="237" name="Gerade Verbindung 997">
            <a:extLst>
              <a:ext uri="{FF2B5EF4-FFF2-40B4-BE49-F238E27FC236}">
                <a16:creationId xmlns:a16="http://schemas.microsoft.com/office/drawing/2014/main" id="{CD2B5108-3EF0-4A96-B43A-7F85682C3B3E}"/>
              </a:ext>
            </a:extLst>
          </p:cNvPr>
          <p:cNvCxnSpPr>
            <a:cxnSpLocks/>
          </p:cNvCxnSpPr>
          <p:nvPr>
            <p:custDataLst>
              <p:tags r:id="rId16"/>
            </p:custDataLst>
          </p:nvPr>
        </p:nvCxnSpPr>
        <p:spPr bwMode="gray">
          <a:xfrm>
            <a:off x="7688405" y="3355417"/>
            <a:ext cx="932277" cy="10593"/>
          </a:xfrm>
          <a:prstGeom prst="line">
            <a:avLst/>
          </a:prstGeom>
          <a:ln cap="rnd">
            <a:solidFill>
              <a:schemeClr val="tx1"/>
            </a:solidFill>
            <a:headEnd type="oval" w="sm" len="sm"/>
            <a:tailEnd type="none"/>
          </a:ln>
        </p:spPr>
        <p:style>
          <a:lnRef idx="1">
            <a:schemeClr val="accent1"/>
          </a:lnRef>
          <a:fillRef idx="0">
            <a:schemeClr val="accent1"/>
          </a:fillRef>
          <a:effectRef idx="0">
            <a:schemeClr val="accent1"/>
          </a:effectRef>
          <a:fontRef idx="minor">
            <a:schemeClr val="tx1"/>
          </a:fontRef>
        </p:style>
      </p:cxnSp>
      <p:sp>
        <p:nvSpPr>
          <p:cNvPr id="238" name="Rechteck 237">
            <a:extLst>
              <a:ext uri="{FF2B5EF4-FFF2-40B4-BE49-F238E27FC236}">
                <a16:creationId xmlns:a16="http://schemas.microsoft.com/office/drawing/2014/main" id="{A3D78A8D-084A-433B-BE49-0148CE372A67}"/>
              </a:ext>
            </a:extLst>
          </p:cNvPr>
          <p:cNvSpPr/>
          <p:nvPr>
            <p:custDataLst>
              <p:tags r:id="rId17"/>
            </p:custDataLst>
          </p:nvPr>
        </p:nvSpPr>
        <p:spPr bwMode="gray">
          <a:xfrm>
            <a:off x="5802818" y="2962728"/>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25</a:t>
            </a:r>
          </a:p>
        </p:txBody>
      </p:sp>
      <p:sp>
        <p:nvSpPr>
          <p:cNvPr id="239" name="Rechteck 238">
            <a:extLst>
              <a:ext uri="{FF2B5EF4-FFF2-40B4-BE49-F238E27FC236}">
                <a16:creationId xmlns:a16="http://schemas.microsoft.com/office/drawing/2014/main" id="{3A57E9E1-33CA-4D58-B82D-FC112D49872B}"/>
              </a:ext>
            </a:extLst>
          </p:cNvPr>
          <p:cNvSpPr/>
          <p:nvPr>
            <p:custDataLst>
              <p:tags r:id="rId18"/>
            </p:custDataLst>
          </p:nvPr>
        </p:nvSpPr>
        <p:spPr bwMode="gray">
          <a:xfrm>
            <a:off x="5628989" y="313799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1</a:t>
            </a:r>
          </a:p>
        </p:txBody>
      </p:sp>
      <p:sp>
        <p:nvSpPr>
          <p:cNvPr id="241" name="Rechteck 240">
            <a:extLst>
              <a:ext uri="{FF2B5EF4-FFF2-40B4-BE49-F238E27FC236}">
                <a16:creationId xmlns:a16="http://schemas.microsoft.com/office/drawing/2014/main" id="{78886C40-9725-46FE-A31F-00AC3D709778}"/>
              </a:ext>
            </a:extLst>
          </p:cNvPr>
          <p:cNvSpPr/>
          <p:nvPr>
            <p:custDataLst>
              <p:tags r:id="rId19"/>
            </p:custDataLst>
          </p:nvPr>
        </p:nvSpPr>
        <p:spPr bwMode="gray">
          <a:xfrm>
            <a:off x="10920635" y="559842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23</a:t>
            </a:r>
          </a:p>
        </p:txBody>
      </p:sp>
      <p:sp>
        <p:nvSpPr>
          <p:cNvPr id="242" name="Rechteck 241">
            <a:extLst>
              <a:ext uri="{FF2B5EF4-FFF2-40B4-BE49-F238E27FC236}">
                <a16:creationId xmlns:a16="http://schemas.microsoft.com/office/drawing/2014/main" id="{EE1671ED-38D7-475B-B5F3-473E3CE3A83B}"/>
              </a:ext>
            </a:extLst>
          </p:cNvPr>
          <p:cNvSpPr/>
          <p:nvPr>
            <p:custDataLst>
              <p:tags r:id="rId20"/>
            </p:custDataLst>
          </p:nvPr>
        </p:nvSpPr>
        <p:spPr bwMode="gray">
          <a:xfrm>
            <a:off x="10728607" y="579046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GB" sz="1200" dirty="0">
                <a:solidFill>
                  <a:schemeClr val="tx1"/>
                </a:solidFill>
              </a:rPr>
              <a:t>+4</a:t>
            </a:r>
            <a:endParaRPr lang="en-US" sz="1200" dirty="0">
              <a:solidFill>
                <a:schemeClr val="tx1"/>
              </a:solidFill>
            </a:endParaRPr>
          </a:p>
        </p:txBody>
      </p:sp>
      <p:sp>
        <p:nvSpPr>
          <p:cNvPr id="244" name="Rechteck 243">
            <a:extLst>
              <a:ext uri="{FF2B5EF4-FFF2-40B4-BE49-F238E27FC236}">
                <a16:creationId xmlns:a16="http://schemas.microsoft.com/office/drawing/2014/main" id="{F9061F18-33CD-4043-9AC6-AD32872EF77B}"/>
              </a:ext>
            </a:extLst>
          </p:cNvPr>
          <p:cNvSpPr/>
          <p:nvPr>
            <p:custDataLst>
              <p:tags r:id="rId21"/>
            </p:custDataLst>
          </p:nvPr>
        </p:nvSpPr>
        <p:spPr bwMode="gray">
          <a:xfrm>
            <a:off x="6517523" y="5166072"/>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2</a:t>
            </a:r>
          </a:p>
        </p:txBody>
      </p:sp>
      <p:sp>
        <p:nvSpPr>
          <p:cNvPr id="245" name="Rechteck 244">
            <a:extLst>
              <a:ext uri="{FF2B5EF4-FFF2-40B4-BE49-F238E27FC236}">
                <a16:creationId xmlns:a16="http://schemas.microsoft.com/office/drawing/2014/main" id="{4BFA3DBF-115D-4292-8D6D-0967618A0F6E}"/>
              </a:ext>
            </a:extLst>
          </p:cNvPr>
          <p:cNvSpPr/>
          <p:nvPr>
            <p:custDataLst>
              <p:tags r:id="rId22"/>
            </p:custDataLst>
          </p:nvPr>
        </p:nvSpPr>
        <p:spPr bwMode="gray">
          <a:xfrm>
            <a:off x="6275878" y="5330073"/>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5</a:t>
            </a:r>
          </a:p>
        </p:txBody>
      </p:sp>
      <p:sp>
        <p:nvSpPr>
          <p:cNvPr id="199" name="Rechteck 198">
            <a:extLst>
              <a:ext uri="{FF2B5EF4-FFF2-40B4-BE49-F238E27FC236}">
                <a16:creationId xmlns:a16="http://schemas.microsoft.com/office/drawing/2014/main" id="{5692468B-5AE5-44B1-9602-5DCC96B7252C}"/>
              </a:ext>
            </a:extLst>
          </p:cNvPr>
          <p:cNvSpPr/>
          <p:nvPr>
            <p:custDataLst>
              <p:tags r:id="rId23"/>
            </p:custDataLst>
          </p:nvPr>
        </p:nvSpPr>
        <p:spPr bwMode="gray">
          <a:xfrm>
            <a:off x="6745209" y="4717194"/>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14</a:t>
            </a:r>
          </a:p>
        </p:txBody>
      </p:sp>
      <p:sp>
        <p:nvSpPr>
          <p:cNvPr id="235" name="Rechteck 234">
            <a:extLst>
              <a:ext uri="{FF2B5EF4-FFF2-40B4-BE49-F238E27FC236}">
                <a16:creationId xmlns:a16="http://schemas.microsoft.com/office/drawing/2014/main" id="{3319CFAF-F4F9-4734-9518-F8CF7329DD23}"/>
              </a:ext>
            </a:extLst>
          </p:cNvPr>
          <p:cNvSpPr/>
          <p:nvPr>
            <p:custDataLst>
              <p:tags r:id="rId24"/>
            </p:custDataLst>
          </p:nvPr>
        </p:nvSpPr>
        <p:spPr bwMode="gray">
          <a:xfrm>
            <a:off x="6553182" y="4867292"/>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tx1"/>
                </a:solidFill>
              </a:rPr>
              <a:t>+2</a:t>
            </a:r>
          </a:p>
        </p:txBody>
      </p:sp>
      <p:sp>
        <p:nvSpPr>
          <p:cNvPr id="247" name="Ellipse 983">
            <a:extLst>
              <a:ext uri="{FF2B5EF4-FFF2-40B4-BE49-F238E27FC236}">
                <a16:creationId xmlns:a16="http://schemas.microsoft.com/office/drawing/2014/main" id="{4F7A1E43-92F2-45B1-8F80-DE3B0A015965}"/>
              </a:ext>
            </a:extLst>
          </p:cNvPr>
          <p:cNvSpPr/>
          <p:nvPr>
            <p:custDataLst>
              <p:tags r:id="rId25"/>
            </p:custDataLst>
          </p:nvPr>
        </p:nvSpPr>
        <p:spPr bwMode="gray">
          <a:xfrm rot="14176236">
            <a:off x="7507299" y="2398181"/>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197" name="Ellipse 1037">
            <a:extLst>
              <a:ext uri="{FF2B5EF4-FFF2-40B4-BE49-F238E27FC236}">
                <a16:creationId xmlns:a16="http://schemas.microsoft.com/office/drawing/2014/main" id="{00AD6703-6703-4931-BDD3-8432574D788D}"/>
              </a:ext>
            </a:extLst>
          </p:cNvPr>
          <p:cNvSpPr/>
          <p:nvPr>
            <p:custDataLst>
              <p:tags r:id="rId26"/>
            </p:custDataLst>
          </p:nvPr>
        </p:nvSpPr>
        <p:spPr bwMode="gray">
          <a:xfrm rot="16200000">
            <a:off x="6020304" y="3132352"/>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03" name="Ellipse 983">
            <a:extLst>
              <a:ext uri="{FF2B5EF4-FFF2-40B4-BE49-F238E27FC236}">
                <a16:creationId xmlns:a16="http://schemas.microsoft.com/office/drawing/2014/main" id="{FF7A8453-6473-4E1A-8E18-525E30CC1591}"/>
              </a:ext>
            </a:extLst>
          </p:cNvPr>
          <p:cNvSpPr/>
          <p:nvPr>
            <p:custDataLst>
              <p:tags r:id="rId27"/>
            </p:custDataLst>
          </p:nvPr>
        </p:nvSpPr>
        <p:spPr bwMode="gray">
          <a:xfrm rot="13710878">
            <a:off x="8084552" y="2857497"/>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48" name="Ellipse 247">
            <a:extLst>
              <a:ext uri="{FF2B5EF4-FFF2-40B4-BE49-F238E27FC236}">
                <a16:creationId xmlns:a16="http://schemas.microsoft.com/office/drawing/2014/main" id="{B3518BC9-6319-4795-A6EB-54C9E9FECA39}"/>
              </a:ext>
            </a:extLst>
          </p:cNvPr>
          <p:cNvSpPr/>
          <p:nvPr>
            <p:custDataLst>
              <p:tags r:id="rId28"/>
            </p:custDataLst>
          </p:nvPr>
        </p:nvSpPr>
        <p:spPr bwMode="gray">
          <a:xfrm rot="16200000">
            <a:off x="6105318" y="5976817"/>
            <a:ext cx="143999"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52" name="Ellipse 1037">
            <a:extLst>
              <a:ext uri="{FF2B5EF4-FFF2-40B4-BE49-F238E27FC236}">
                <a16:creationId xmlns:a16="http://schemas.microsoft.com/office/drawing/2014/main" id="{3F49FC77-CB36-497E-B5CD-F9DDBE9CB85C}"/>
              </a:ext>
            </a:extLst>
          </p:cNvPr>
          <p:cNvSpPr/>
          <p:nvPr>
            <p:custDataLst>
              <p:tags r:id="rId29"/>
            </p:custDataLst>
          </p:nvPr>
        </p:nvSpPr>
        <p:spPr bwMode="gray">
          <a:xfrm rot="14323258">
            <a:off x="5686335" y="3717606"/>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53" name="Ellipse 1037">
            <a:extLst>
              <a:ext uri="{FF2B5EF4-FFF2-40B4-BE49-F238E27FC236}">
                <a16:creationId xmlns:a16="http://schemas.microsoft.com/office/drawing/2014/main" id="{3C6371B3-ADB2-407E-9FDF-CEFB4D7C98B2}"/>
              </a:ext>
            </a:extLst>
          </p:cNvPr>
          <p:cNvSpPr/>
          <p:nvPr>
            <p:custDataLst>
              <p:tags r:id="rId30"/>
            </p:custDataLst>
          </p:nvPr>
        </p:nvSpPr>
        <p:spPr bwMode="gray">
          <a:xfrm rot="10800000">
            <a:off x="8489455" y="3210373"/>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56" name="Ellipse 255">
            <a:extLst>
              <a:ext uri="{FF2B5EF4-FFF2-40B4-BE49-F238E27FC236}">
                <a16:creationId xmlns:a16="http://schemas.microsoft.com/office/drawing/2014/main" id="{1A364D83-6835-425A-8665-7478278E65AF}"/>
              </a:ext>
            </a:extLst>
          </p:cNvPr>
          <p:cNvSpPr/>
          <p:nvPr>
            <p:custDataLst>
              <p:tags r:id="rId31"/>
            </p:custDataLst>
          </p:nvPr>
        </p:nvSpPr>
        <p:spPr bwMode="gray">
          <a:xfrm rot="7770193">
            <a:off x="9152409" y="3479010"/>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57" name="Ellipse 256">
            <a:extLst>
              <a:ext uri="{FF2B5EF4-FFF2-40B4-BE49-F238E27FC236}">
                <a16:creationId xmlns:a16="http://schemas.microsoft.com/office/drawing/2014/main" id="{7B40A972-EE85-47D5-8087-96DDCF167DBE}"/>
              </a:ext>
            </a:extLst>
          </p:cNvPr>
          <p:cNvSpPr/>
          <p:nvPr>
            <p:custDataLst>
              <p:tags r:id="rId32"/>
            </p:custDataLst>
          </p:nvPr>
        </p:nvSpPr>
        <p:spPr bwMode="gray">
          <a:xfrm rot="5400000">
            <a:off x="8433968" y="4219030"/>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58" name="Ellipse 929">
            <a:extLst>
              <a:ext uri="{FF2B5EF4-FFF2-40B4-BE49-F238E27FC236}">
                <a16:creationId xmlns:a16="http://schemas.microsoft.com/office/drawing/2014/main" id="{7CDC56D2-A9CE-46F5-9AC7-41A69CB30A9F}"/>
              </a:ext>
            </a:extLst>
          </p:cNvPr>
          <p:cNvSpPr/>
          <p:nvPr>
            <p:custDataLst>
              <p:tags r:id="rId33"/>
            </p:custDataLst>
          </p:nvPr>
        </p:nvSpPr>
        <p:spPr bwMode="gray">
          <a:xfrm rot="16773635">
            <a:off x="7044673" y="4044587"/>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72" name="Ellipse 929">
            <a:extLst>
              <a:ext uri="{FF2B5EF4-FFF2-40B4-BE49-F238E27FC236}">
                <a16:creationId xmlns:a16="http://schemas.microsoft.com/office/drawing/2014/main" id="{D90A9905-F209-4541-AB37-AFA1F3FC6FB2}"/>
              </a:ext>
            </a:extLst>
          </p:cNvPr>
          <p:cNvSpPr/>
          <p:nvPr>
            <p:custDataLst>
              <p:tags r:id="rId34"/>
            </p:custDataLst>
          </p:nvPr>
        </p:nvSpPr>
        <p:spPr bwMode="gray">
          <a:xfrm rot="17014031">
            <a:off x="7001305" y="4884465"/>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75" name="Ellipse 1037">
            <a:extLst>
              <a:ext uri="{FF2B5EF4-FFF2-40B4-BE49-F238E27FC236}">
                <a16:creationId xmlns:a16="http://schemas.microsoft.com/office/drawing/2014/main" id="{7E51DF7D-5112-4C97-A5BB-640234EE475C}"/>
              </a:ext>
            </a:extLst>
          </p:cNvPr>
          <p:cNvSpPr/>
          <p:nvPr>
            <p:custDataLst>
              <p:tags r:id="rId35"/>
            </p:custDataLst>
          </p:nvPr>
        </p:nvSpPr>
        <p:spPr bwMode="gray">
          <a:xfrm rot="16200000">
            <a:off x="3340544" y="5112388"/>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77" name="Ellipse 1037">
            <a:extLst>
              <a:ext uri="{FF2B5EF4-FFF2-40B4-BE49-F238E27FC236}">
                <a16:creationId xmlns:a16="http://schemas.microsoft.com/office/drawing/2014/main" id="{86F6BF1B-9DB4-4697-A11A-5EC6BC8B65D9}"/>
              </a:ext>
            </a:extLst>
          </p:cNvPr>
          <p:cNvSpPr/>
          <p:nvPr>
            <p:custDataLst>
              <p:tags r:id="rId36"/>
            </p:custDataLst>
          </p:nvPr>
        </p:nvSpPr>
        <p:spPr bwMode="gray">
          <a:xfrm rot="13831120">
            <a:off x="6701254" y="2895374"/>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83" name="Ellipse 282">
            <a:extLst>
              <a:ext uri="{FF2B5EF4-FFF2-40B4-BE49-F238E27FC236}">
                <a16:creationId xmlns:a16="http://schemas.microsoft.com/office/drawing/2014/main" id="{646EE146-ED70-45EE-84CF-2B56CE0F53E2}"/>
              </a:ext>
            </a:extLst>
          </p:cNvPr>
          <p:cNvSpPr/>
          <p:nvPr>
            <p:custDataLst>
              <p:tags r:id="rId37"/>
            </p:custDataLst>
          </p:nvPr>
        </p:nvSpPr>
        <p:spPr bwMode="gray">
          <a:xfrm rot="16200000">
            <a:off x="9519752" y="4377004"/>
            <a:ext cx="143999"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00" name="Ellipse 1037">
            <a:extLst>
              <a:ext uri="{FF2B5EF4-FFF2-40B4-BE49-F238E27FC236}">
                <a16:creationId xmlns:a16="http://schemas.microsoft.com/office/drawing/2014/main" id="{70BA98B1-BD09-43AF-96E3-7C241894B5CE}"/>
              </a:ext>
            </a:extLst>
          </p:cNvPr>
          <p:cNvSpPr/>
          <p:nvPr>
            <p:custDataLst>
              <p:tags r:id="rId38"/>
            </p:custDataLst>
          </p:nvPr>
        </p:nvSpPr>
        <p:spPr bwMode="gray">
          <a:xfrm rot="16388138">
            <a:off x="4145864" y="5483739"/>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19" name="Ellipse 1037">
            <a:extLst>
              <a:ext uri="{FF2B5EF4-FFF2-40B4-BE49-F238E27FC236}">
                <a16:creationId xmlns:a16="http://schemas.microsoft.com/office/drawing/2014/main" id="{C4679675-C011-4241-98A8-8ECE8A8265D8}"/>
              </a:ext>
            </a:extLst>
          </p:cNvPr>
          <p:cNvSpPr/>
          <p:nvPr>
            <p:custDataLst>
              <p:tags r:id="rId39"/>
            </p:custDataLst>
          </p:nvPr>
        </p:nvSpPr>
        <p:spPr bwMode="gray">
          <a:xfrm rot="14281100">
            <a:off x="2378791" y="3318205"/>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30" name="Ellipse 229">
            <a:extLst>
              <a:ext uri="{FF2B5EF4-FFF2-40B4-BE49-F238E27FC236}">
                <a16:creationId xmlns:a16="http://schemas.microsoft.com/office/drawing/2014/main" id="{6E92C420-88E1-4B6A-B04B-75733AF6607F}"/>
              </a:ext>
            </a:extLst>
          </p:cNvPr>
          <p:cNvSpPr/>
          <p:nvPr>
            <p:custDataLst>
              <p:tags r:id="rId40"/>
            </p:custDataLst>
          </p:nvPr>
        </p:nvSpPr>
        <p:spPr bwMode="gray">
          <a:xfrm rot="3126506">
            <a:off x="11160635" y="5775646"/>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1" name="Ellipse 983">
            <a:extLst>
              <a:ext uri="{FF2B5EF4-FFF2-40B4-BE49-F238E27FC236}">
                <a16:creationId xmlns:a16="http://schemas.microsoft.com/office/drawing/2014/main" id="{CD4B43B4-1080-4BB7-B8EA-5BC0E253B180}"/>
              </a:ext>
            </a:extLst>
          </p:cNvPr>
          <p:cNvSpPr/>
          <p:nvPr>
            <p:custDataLst>
              <p:tags r:id="rId41"/>
            </p:custDataLst>
          </p:nvPr>
        </p:nvSpPr>
        <p:spPr bwMode="gray">
          <a:xfrm rot="16200000">
            <a:off x="7837472" y="5512909"/>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2" name="Ellipse 983">
            <a:extLst>
              <a:ext uri="{FF2B5EF4-FFF2-40B4-BE49-F238E27FC236}">
                <a16:creationId xmlns:a16="http://schemas.microsoft.com/office/drawing/2014/main" id="{DCEADA96-90C7-4B8B-8348-D03A626B94F0}"/>
              </a:ext>
            </a:extLst>
          </p:cNvPr>
          <p:cNvSpPr/>
          <p:nvPr>
            <p:custDataLst>
              <p:tags r:id="rId42"/>
            </p:custDataLst>
          </p:nvPr>
        </p:nvSpPr>
        <p:spPr bwMode="gray">
          <a:xfrm rot="18435791">
            <a:off x="8880550" y="6400185"/>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4" name="Ellipse 263">
            <a:extLst>
              <a:ext uri="{FF2B5EF4-FFF2-40B4-BE49-F238E27FC236}">
                <a16:creationId xmlns:a16="http://schemas.microsoft.com/office/drawing/2014/main" id="{D57D3A4F-A11A-47B7-9B33-828340BC9803}"/>
              </a:ext>
            </a:extLst>
          </p:cNvPr>
          <p:cNvSpPr/>
          <p:nvPr>
            <p:custDataLst>
              <p:tags r:id="rId43"/>
            </p:custDataLst>
          </p:nvPr>
        </p:nvSpPr>
        <p:spPr bwMode="gray">
          <a:xfrm rot="7939071">
            <a:off x="7849459" y="6088201"/>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5" name="Ellipse 264">
            <a:extLst>
              <a:ext uri="{FF2B5EF4-FFF2-40B4-BE49-F238E27FC236}">
                <a16:creationId xmlns:a16="http://schemas.microsoft.com/office/drawing/2014/main" id="{153D4671-88B9-4A16-9433-C05D560E2397}"/>
              </a:ext>
            </a:extLst>
          </p:cNvPr>
          <p:cNvSpPr/>
          <p:nvPr>
            <p:custDataLst>
              <p:tags r:id="rId44"/>
            </p:custDataLst>
          </p:nvPr>
        </p:nvSpPr>
        <p:spPr bwMode="gray">
          <a:xfrm rot="7630480">
            <a:off x="6725523" y="5341770"/>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6" name="Ellipse 265">
            <a:extLst>
              <a:ext uri="{FF2B5EF4-FFF2-40B4-BE49-F238E27FC236}">
                <a16:creationId xmlns:a16="http://schemas.microsoft.com/office/drawing/2014/main" id="{5CE75EC8-722A-46DB-AD0D-1AFF9D24DB36}"/>
              </a:ext>
            </a:extLst>
          </p:cNvPr>
          <p:cNvSpPr/>
          <p:nvPr>
            <p:custDataLst>
              <p:tags r:id="rId45"/>
            </p:custDataLst>
          </p:nvPr>
        </p:nvSpPr>
        <p:spPr bwMode="gray">
          <a:xfrm>
            <a:off x="5125405" y="4736934"/>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69" name="Ellipse 983">
            <a:extLst>
              <a:ext uri="{FF2B5EF4-FFF2-40B4-BE49-F238E27FC236}">
                <a16:creationId xmlns:a16="http://schemas.microsoft.com/office/drawing/2014/main" id="{387BF722-17BF-4D11-9DE8-1E96431FFAE3}"/>
              </a:ext>
            </a:extLst>
          </p:cNvPr>
          <p:cNvSpPr/>
          <p:nvPr>
            <p:custDataLst>
              <p:tags r:id="rId46"/>
            </p:custDataLst>
          </p:nvPr>
        </p:nvSpPr>
        <p:spPr bwMode="gray">
          <a:xfrm rot="11016274">
            <a:off x="3740538" y="3941569"/>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74" name="Ellipse 983">
            <a:extLst>
              <a:ext uri="{FF2B5EF4-FFF2-40B4-BE49-F238E27FC236}">
                <a16:creationId xmlns:a16="http://schemas.microsoft.com/office/drawing/2014/main" id="{0F934287-CEEE-4C13-B9E4-360597676409}"/>
              </a:ext>
            </a:extLst>
          </p:cNvPr>
          <p:cNvSpPr/>
          <p:nvPr>
            <p:custDataLst>
              <p:tags r:id="rId47"/>
            </p:custDataLst>
          </p:nvPr>
        </p:nvSpPr>
        <p:spPr bwMode="gray">
          <a:xfrm rot="16011059">
            <a:off x="5941035" y="4243527"/>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80" name="Ellipse 983">
            <a:extLst>
              <a:ext uri="{FF2B5EF4-FFF2-40B4-BE49-F238E27FC236}">
                <a16:creationId xmlns:a16="http://schemas.microsoft.com/office/drawing/2014/main" id="{B626215B-4B47-43A4-94AD-069438AEF149}"/>
              </a:ext>
            </a:extLst>
          </p:cNvPr>
          <p:cNvSpPr/>
          <p:nvPr>
            <p:custDataLst>
              <p:tags r:id="rId48"/>
            </p:custDataLst>
          </p:nvPr>
        </p:nvSpPr>
        <p:spPr bwMode="gray">
          <a:xfrm rot="14047044">
            <a:off x="6521861" y="4770239"/>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86" name="Rechteck 285">
            <a:extLst>
              <a:ext uri="{FF2B5EF4-FFF2-40B4-BE49-F238E27FC236}">
                <a16:creationId xmlns:a16="http://schemas.microsoft.com/office/drawing/2014/main" id="{85F1FDF1-0DE0-4264-96EE-31C1EF97EA68}"/>
              </a:ext>
            </a:extLst>
          </p:cNvPr>
          <p:cNvSpPr/>
          <p:nvPr>
            <p:custDataLst>
              <p:tags r:id="rId49"/>
            </p:custDataLst>
          </p:nvPr>
        </p:nvSpPr>
        <p:spPr bwMode="gray">
          <a:xfrm>
            <a:off x="8844185" y="4922148"/>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tx1"/>
                </a:solidFill>
              </a:rPr>
              <a:t>+3</a:t>
            </a:r>
          </a:p>
        </p:txBody>
      </p:sp>
      <p:sp>
        <p:nvSpPr>
          <p:cNvPr id="288" name="Rechteck 287">
            <a:extLst>
              <a:ext uri="{FF2B5EF4-FFF2-40B4-BE49-F238E27FC236}">
                <a16:creationId xmlns:a16="http://schemas.microsoft.com/office/drawing/2014/main" id="{1FA3A32E-AAE2-4346-A12E-E4F6E04849F8}"/>
              </a:ext>
            </a:extLst>
          </p:cNvPr>
          <p:cNvSpPr/>
          <p:nvPr>
            <p:custDataLst>
              <p:tags r:id="rId50"/>
            </p:custDataLst>
          </p:nvPr>
        </p:nvSpPr>
        <p:spPr bwMode="gray">
          <a:xfrm>
            <a:off x="8652157" y="5114188"/>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GB" sz="1200" dirty="0">
                <a:solidFill>
                  <a:schemeClr val="tx1"/>
                </a:solidFill>
              </a:rPr>
              <a:t>+4</a:t>
            </a:r>
            <a:endParaRPr lang="en-US" sz="1200" dirty="0">
              <a:solidFill>
                <a:schemeClr val="tx1"/>
              </a:solidFill>
            </a:endParaRPr>
          </a:p>
        </p:txBody>
      </p:sp>
      <p:sp>
        <p:nvSpPr>
          <p:cNvPr id="291" name="Ellipse 290">
            <a:extLst>
              <a:ext uri="{FF2B5EF4-FFF2-40B4-BE49-F238E27FC236}">
                <a16:creationId xmlns:a16="http://schemas.microsoft.com/office/drawing/2014/main" id="{81E7F255-0AA2-43C9-823B-FC42056D4F36}"/>
              </a:ext>
            </a:extLst>
          </p:cNvPr>
          <p:cNvSpPr/>
          <p:nvPr>
            <p:custDataLst>
              <p:tags r:id="rId51"/>
            </p:custDataLst>
          </p:nvPr>
        </p:nvSpPr>
        <p:spPr bwMode="gray">
          <a:xfrm rot="3370282">
            <a:off x="9084185" y="5122481"/>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cxnSp>
        <p:nvCxnSpPr>
          <p:cNvPr id="292" name="Gerade Verbindung 997">
            <a:extLst>
              <a:ext uri="{FF2B5EF4-FFF2-40B4-BE49-F238E27FC236}">
                <a16:creationId xmlns:a16="http://schemas.microsoft.com/office/drawing/2014/main" id="{46F48061-5832-4BC9-87E6-AC454AA9B5DD}"/>
              </a:ext>
            </a:extLst>
          </p:cNvPr>
          <p:cNvCxnSpPr>
            <a:cxnSpLocks/>
          </p:cNvCxnSpPr>
          <p:nvPr>
            <p:custDataLst>
              <p:tags r:id="rId52"/>
            </p:custDataLst>
          </p:nvPr>
        </p:nvCxnSpPr>
        <p:spPr bwMode="gray">
          <a:xfrm>
            <a:off x="7145441" y="5276074"/>
            <a:ext cx="2081084" cy="18116"/>
          </a:xfrm>
          <a:prstGeom prst="line">
            <a:avLst/>
          </a:prstGeom>
          <a:ln cap="rnd">
            <a:solidFill>
              <a:schemeClr val="bg2"/>
            </a:solidFill>
            <a:headEnd type="oval" w="sm" len="sm"/>
            <a:tailEnd type="none"/>
          </a:ln>
          <a:effectLst/>
        </p:spPr>
        <p:style>
          <a:lnRef idx="1">
            <a:schemeClr val="accent1"/>
          </a:lnRef>
          <a:fillRef idx="0">
            <a:schemeClr val="accent1"/>
          </a:fillRef>
          <a:effectRef idx="0">
            <a:schemeClr val="accent1"/>
          </a:effectRef>
          <a:fontRef idx="minor">
            <a:schemeClr val="tx1"/>
          </a:fontRef>
        </p:style>
      </p:cxnSp>
      <p:sp>
        <p:nvSpPr>
          <p:cNvPr id="205" name="Rechteck 204">
            <a:extLst>
              <a:ext uri="{FF2B5EF4-FFF2-40B4-BE49-F238E27FC236}">
                <a16:creationId xmlns:a16="http://schemas.microsoft.com/office/drawing/2014/main" id="{8CB3F6E9-4BC6-4F36-9F8A-24D536E842D8}"/>
              </a:ext>
            </a:extLst>
          </p:cNvPr>
          <p:cNvSpPr/>
          <p:nvPr>
            <p:custDataLst>
              <p:tags r:id="rId53"/>
            </p:custDataLst>
          </p:nvPr>
        </p:nvSpPr>
        <p:spPr bwMode="gray">
          <a:xfrm>
            <a:off x="4714125" y="3543607"/>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b="1" dirty="0">
                <a:solidFill>
                  <a:schemeClr val="bg1"/>
                </a:solidFill>
              </a:rPr>
              <a:t>-34</a:t>
            </a:r>
          </a:p>
        </p:txBody>
      </p:sp>
      <p:sp>
        <p:nvSpPr>
          <p:cNvPr id="215" name="Rechteck 214">
            <a:extLst>
              <a:ext uri="{FF2B5EF4-FFF2-40B4-BE49-F238E27FC236}">
                <a16:creationId xmlns:a16="http://schemas.microsoft.com/office/drawing/2014/main" id="{B161EFFD-1AFA-4252-9B32-D955759E73C9}"/>
              </a:ext>
            </a:extLst>
          </p:cNvPr>
          <p:cNvSpPr/>
          <p:nvPr>
            <p:custDataLst>
              <p:tags r:id="rId54"/>
            </p:custDataLst>
          </p:nvPr>
        </p:nvSpPr>
        <p:spPr bwMode="gray">
          <a:xfrm>
            <a:off x="4750388" y="3735650"/>
            <a:ext cx="384000" cy="144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r>
              <a:rPr lang="en-US" sz="1200" dirty="0">
                <a:solidFill>
                  <a:schemeClr val="bg1"/>
                </a:solidFill>
              </a:rPr>
              <a:t>+14</a:t>
            </a:r>
          </a:p>
        </p:txBody>
      </p:sp>
      <p:sp>
        <p:nvSpPr>
          <p:cNvPr id="218" name="Ellipse 983">
            <a:extLst>
              <a:ext uri="{FF2B5EF4-FFF2-40B4-BE49-F238E27FC236}">
                <a16:creationId xmlns:a16="http://schemas.microsoft.com/office/drawing/2014/main" id="{DE73F314-F3F1-44D4-91FA-9CE226817C82}"/>
              </a:ext>
            </a:extLst>
          </p:cNvPr>
          <p:cNvSpPr/>
          <p:nvPr>
            <p:custDataLst>
              <p:tags r:id="rId55"/>
            </p:custDataLst>
          </p:nvPr>
        </p:nvSpPr>
        <p:spPr bwMode="gray">
          <a:xfrm rot="10800000">
            <a:off x="5155837" y="3720475"/>
            <a:ext cx="144000" cy="144000"/>
          </a:xfrm>
          <a:prstGeom prst="ellipse">
            <a:avLst/>
          </a:prstGeom>
          <a:solidFill>
            <a:schemeClr val="bg2">
              <a:lumMod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48000" rtlCol="0" anchor="ctr"/>
          <a:lstStyle/>
          <a:p>
            <a:pPr algn="ctr"/>
            <a:r>
              <a:rPr lang="en-US" sz="1067" dirty="0">
                <a:solidFill>
                  <a:schemeClr val="bg1"/>
                </a:solidFill>
                <a:sym typeface="Wingdings"/>
              </a:rPr>
              <a:t></a:t>
            </a:r>
            <a:endParaRPr lang="en-US" sz="1067" dirty="0">
              <a:solidFill>
                <a:schemeClr val="bg1"/>
              </a:solidFill>
            </a:endParaRPr>
          </a:p>
        </p:txBody>
      </p:sp>
      <p:sp>
        <p:nvSpPr>
          <p:cNvPr id="202" name="Freihandform: Form 201">
            <a:extLst>
              <a:ext uri="{FF2B5EF4-FFF2-40B4-BE49-F238E27FC236}">
                <a16:creationId xmlns:a16="http://schemas.microsoft.com/office/drawing/2014/main" id="{3974CF93-A7A8-4F7A-BA4C-297C417C3EB0}"/>
              </a:ext>
            </a:extLst>
          </p:cNvPr>
          <p:cNvSpPr/>
          <p:nvPr/>
        </p:nvSpPr>
        <p:spPr>
          <a:xfrm>
            <a:off x="8018304" y="4848334"/>
            <a:ext cx="196724" cy="128042"/>
          </a:xfrm>
          <a:custGeom>
            <a:avLst/>
            <a:gdLst>
              <a:gd name="connsiteX0" fmla="*/ 0 w 196724"/>
              <a:gd name="connsiteY0" fmla="*/ 128042 h 128042"/>
              <a:gd name="connsiteX1" fmla="*/ 3643 w 196724"/>
              <a:gd name="connsiteY1" fmla="*/ 109827 h 128042"/>
              <a:gd name="connsiteX2" fmla="*/ 14572 w 196724"/>
              <a:gd name="connsiteY2" fmla="*/ 102541 h 128042"/>
              <a:gd name="connsiteX3" fmla="*/ 21859 w 196724"/>
              <a:gd name="connsiteY3" fmla="*/ 91612 h 128042"/>
              <a:gd name="connsiteX4" fmla="*/ 32788 w 196724"/>
              <a:gd name="connsiteY4" fmla="*/ 87969 h 128042"/>
              <a:gd name="connsiteX5" fmla="*/ 76504 w 196724"/>
              <a:gd name="connsiteY5" fmla="*/ 84326 h 128042"/>
              <a:gd name="connsiteX6" fmla="*/ 54646 w 196724"/>
              <a:gd name="connsiteY6" fmla="*/ 51539 h 128042"/>
              <a:gd name="connsiteX7" fmla="*/ 58289 w 196724"/>
              <a:gd name="connsiteY7" fmla="*/ 26037 h 128042"/>
              <a:gd name="connsiteX8" fmla="*/ 69218 w 196724"/>
              <a:gd name="connsiteY8" fmla="*/ 22394 h 128042"/>
              <a:gd name="connsiteX9" fmla="*/ 80147 w 196724"/>
              <a:gd name="connsiteY9" fmla="*/ 11465 h 128042"/>
              <a:gd name="connsiteX10" fmla="*/ 87433 w 196724"/>
              <a:gd name="connsiteY10" fmla="*/ 536 h 128042"/>
              <a:gd name="connsiteX11" fmla="*/ 131149 w 196724"/>
              <a:gd name="connsiteY11" fmla="*/ 4179 h 128042"/>
              <a:gd name="connsiteX12" fmla="*/ 196724 w 196724"/>
              <a:gd name="connsiteY12" fmla="*/ 11465 h 128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724" h="128042">
                <a:moveTo>
                  <a:pt x="0" y="128042"/>
                </a:moveTo>
                <a:cubicBezTo>
                  <a:pt x="1214" y="121970"/>
                  <a:pt x="571" y="115203"/>
                  <a:pt x="3643" y="109827"/>
                </a:cubicBezTo>
                <a:cubicBezTo>
                  <a:pt x="5815" y="106026"/>
                  <a:pt x="11476" y="105637"/>
                  <a:pt x="14572" y="102541"/>
                </a:cubicBezTo>
                <a:cubicBezTo>
                  <a:pt x="17668" y="99445"/>
                  <a:pt x="18440" y="94347"/>
                  <a:pt x="21859" y="91612"/>
                </a:cubicBezTo>
                <a:cubicBezTo>
                  <a:pt x="24858" y="89213"/>
                  <a:pt x="28982" y="88477"/>
                  <a:pt x="32788" y="87969"/>
                </a:cubicBezTo>
                <a:cubicBezTo>
                  <a:pt x="47282" y="86036"/>
                  <a:pt x="61932" y="85540"/>
                  <a:pt x="76504" y="84326"/>
                </a:cubicBezTo>
                <a:cubicBezTo>
                  <a:pt x="72765" y="79652"/>
                  <a:pt x="55474" y="60646"/>
                  <a:pt x="54646" y="51539"/>
                </a:cubicBezTo>
                <a:cubicBezTo>
                  <a:pt x="53869" y="42987"/>
                  <a:pt x="54449" y="33717"/>
                  <a:pt x="58289" y="26037"/>
                </a:cubicBezTo>
                <a:cubicBezTo>
                  <a:pt x="60006" y="22602"/>
                  <a:pt x="65575" y="23608"/>
                  <a:pt x="69218" y="22394"/>
                </a:cubicBezTo>
                <a:cubicBezTo>
                  <a:pt x="72861" y="18751"/>
                  <a:pt x="76849" y="15423"/>
                  <a:pt x="80147" y="11465"/>
                </a:cubicBezTo>
                <a:cubicBezTo>
                  <a:pt x="82950" y="8101"/>
                  <a:pt x="83099" y="1155"/>
                  <a:pt x="87433" y="536"/>
                </a:cubicBezTo>
                <a:cubicBezTo>
                  <a:pt x="101909" y="-1532"/>
                  <a:pt x="116577" y="2965"/>
                  <a:pt x="131149" y="4179"/>
                </a:cubicBezTo>
                <a:cubicBezTo>
                  <a:pt x="172075" y="14410"/>
                  <a:pt x="150280" y="11465"/>
                  <a:pt x="196724" y="11465"/>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feld 13">
            <a:extLst>
              <a:ext uri="{FF2B5EF4-FFF2-40B4-BE49-F238E27FC236}">
                <a16:creationId xmlns:a16="http://schemas.microsoft.com/office/drawing/2014/main" id="{F6E5A4DF-4330-D03B-F886-C941F6BD065D}"/>
              </a:ext>
            </a:extLst>
          </p:cNvPr>
          <p:cNvSpPr txBox="1"/>
          <p:nvPr/>
        </p:nvSpPr>
        <p:spPr>
          <a:xfrm>
            <a:off x="10089917" y="5605750"/>
            <a:ext cx="712855" cy="328418"/>
          </a:xfrm>
          <a:prstGeom prst="rect">
            <a:avLst/>
          </a:prstGeom>
          <a:solidFill>
            <a:srgbClr val="9B0009"/>
          </a:solidFill>
        </p:spPr>
        <p:txBody>
          <a:bodyPr wrap="none" lIns="0" tIns="0" rIns="0" bIns="0" rtlCol="0">
            <a:noAutofit/>
          </a:bodyPr>
          <a:lstStyle/>
          <a:p>
            <a:pPr>
              <a:lnSpc>
                <a:spcPct val="125000"/>
              </a:lnSpc>
              <a:buClr>
                <a:schemeClr val="tx2"/>
              </a:buClr>
            </a:pPr>
            <a:r>
              <a:rPr lang="es-ES_tradnl" sz="1600" dirty="0">
                <a:solidFill>
                  <a:schemeClr val="bg1"/>
                </a:solidFill>
              </a:rPr>
              <a:t>Turquía</a:t>
            </a:r>
          </a:p>
        </p:txBody>
      </p:sp>
      <p:sp>
        <p:nvSpPr>
          <p:cNvPr id="6" name="Subtitle 19">
            <a:extLst>
              <a:ext uri="{FF2B5EF4-FFF2-40B4-BE49-F238E27FC236}">
                <a16:creationId xmlns:a16="http://schemas.microsoft.com/office/drawing/2014/main" id="{EF988864-6330-46E2-7C98-79DA81EA3FD0}"/>
              </a:ext>
            </a:extLst>
          </p:cNvPr>
          <p:cNvSpPr txBox="1">
            <a:spLocks/>
          </p:cNvSpPr>
          <p:nvPr/>
        </p:nvSpPr>
        <p:spPr>
          <a:xfrm>
            <a:off x="280771" y="980728"/>
            <a:ext cx="8641357" cy="360040"/>
          </a:xfrm>
          <a:prstGeom prst="rect">
            <a:avLst/>
          </a:prstGeom>
        </p:spPr>
        <p:txBody>
          <a:bodyPr/>
          <a:lstStyle>
            <a:lvl1pPr marL="266700" indent="-266700" algn="l" defTabSz="914400" rtl="0" eaLnBrk="1" latinLnBrk="0" hangingPunct="1">
              <a:lnSpc>
                <a:spcPct val="100000"/>
              </a:lnSpc>
              <a:spcBef>
                <a:spcPts val="1000"/>
              </a:spcBef>
              <a:buClrTx/>
              <a:buSzPct val="80000"/>
              <a:buFont typeface="Wingdings" panose="05000000000000000000" pitchFamily="2" charset="2"/>
              <a:buChar char="n"/>
              <a:defRPr sz="1600" kern="1200">
                <a:solidFill>
                  <a:schemeClr val="tx1"/>
                </a:solidFill>
                <a:latin typeface="+mn-lt"/>
                <a:ea typeface="+mn-ea"/>
                <a:cs typeface="+mn-cs"/>
              </a:defRPr>
            </a:lvl1pPr>
            <a:lvl2pPr marL="542925" indent="-276225" algn="l" defTabSz="914400" rtl="0" eaLnBrk="1" latinLnBrk="0" hangingPunct="1">
              <a:lnSpc>
                <a:spcPct val="100000"/>
              </a:lnSpc>
              <a:spcBef>
                <a:spcPts val="1000"/>
              </a:spcBef>
              <a:buClrTx/>
              <a:buSzPct val="80000"/>
              <a:buFont typeface="Wingdings" panose="05000000000000000000" pitchFamily="2" charset="2"/>
              <a:buChar char=""/>
              <a:defRPr sz="1600" kern="1200">
                <a:solidFill>
                  <a:schemeClr val="tx1"/>
                </a:solidFill>
                <a:latin typeface="+mn-lt"/>
                <a:ea typeface="+mn-ea"/>
                <a:cs typeface="+mn-cs"/>
              </a:defRPr>
            </a:lvl2pPr>
            <a:lvl3pPr marL="809625" indent="-266700" algn="l" defTabSz="914400" rtl="0" eaLnBrk="1" latinLnBrk="0" hangingPunct="1">
              <a:lnSpc>
                <a:spcPct val="100000"/>
              </a:lnSpc>
              <a:spcBef>
                <a:spcPts val="1000"/>
              </a:spcBef>
              <a:buClrTx/>
              <a:buSzPct val="100000"/>
              <a:buFont typeface="Courier New" panose="02070309020205020404" pitchFamily="49" charset="0"/>
              <a:buChar char="o"/>
              <a:defRPr sz="1600" kern="1200">
                <a:solidFill>
                  <a:schemeClr val="tx1"/>
                </a:solidFill>
                <a:latin typeface="+mn-lt"/>
                <a:ea typeface="+mn-ea"/>
                <a:cs typeface="+mn-cs"/>
              </a:defRPr>
            </a:lvl3pPr>
            <a:lvl4pPr marL="0" indent="0" algn="l" defTabSz="914400" rtl="0" eaLnBrk="1" latinLnBrk="0" hangingPunct="1">
              <a:lnSpc>
                <a:spcPct val="100000"/>
              </a:lnSpc>
              <a:spcBef>
                <a:spcPts val="1000"/>
              </a:spcBef>
              <a:buClrTx/>
              <a:buSzPct val="80000"/>
              <a:buFont typeface="Wingdings" panose="05000000000000000000" pitchFamily="2" charset="2"/>
              <a:buNone/>
              <a:defRPr sz="1600" kern="1200">
                <a:solidFill>
                  <a:schemeClr val="tx1"/>
                </a:solidFill>
                <a:latin typeface="+mn-lt"/>
                <a:ea typeface="+mn-ea"/>
                <a:cs typeface="+mn-cs"/>
              </a:defRPr>
            </a:lvl4pPr>
            <a:lvl5pPr marL="0" indent="0" algn="l" defTabSz="914400" rtl="0" eaLnBrk="1" latinLnBrk="0" hangingPunct="1">
              <a:lnSpc>
                <a:spcPct val="100000"/>
              </a:lnSpc>
              <a:spcBef>
                <a:spcPts val="1000"/>
              </a:spcBef>
              <a:buClrTx/>
              <a:buFont typeface="Wingdings 2" panose="05020102010507070707" pitchFamily="18" charset="2"/>
              <a:buNone/>
              <a:defRPr sz="1200" b="0" kern="1200">
                <a:solidFill>
                  <a:schemeClr val="tx1"/>
                </a:solidFill>
                <a:latin typeface="+mn-lt"/>
                <a:ea typeface="+mn-ea"/>
                <a:cs typeface="+mn-cs"/>
              </a:defRPr>
            </a:lvl5pPr>
            <a:lvl6pPr marL="266700" indent="-266700" algn="l" defTabSz="914400" rtl="0" eaLnBrk="1" latinLnBrk="0" hangingPunct="1">
              <a:lnSpc>
                <a:spcPct val="100000"/>
              </a:lnSpc>
              <a:spcBef>
                <a:spcPts val="600"/>
              </a:spcBef>
              <a:buClrTx/>
              <a:buSzPct val="80000"/>
              <a:buFont typeface="Wingdings" panose="05000000000000000000" pitchFamily="2" charset="2"/>
              <a:buChar char="n"/>
              <a:defRPr sz="1200" b="0" kern="1200">
                <a:solidFill>
                  <a:schemeClr val="tx1"/>
                </a:solidFill>
                <a:latin typeface="+mn-lt"/>
                <a:ea typeface="+mn-ea"/>
                <a:cs typeface="+mn-cs"/>
              </a:defRPr>
            </a:lvl6pPr>
            <a:lvl7pPr marL="542925" indent="-276225" algn="l" defTabSz="914400" rtl="0" eaLnBrk="1" latinLnBrk="0" hangingPunct="1">
              <a:lnSpc>
                <a:spcPct val="100000"/>
              </a:lnSpc>
              <a:spcBef>
                <a:spcPts val="600"/>
              </a:spcBef>
              <a:buClrTx/>
              <a:buSzPct val="80000"/>
              <a:buFont typeface="Wingdings" panose="05000000000000000000" pitchFamily="2" charset="2"/>
              <a:buChar char="o"/>
              <a:defRPr sz="1200" b="0" kern="1200">
                <a:solidFill>
                  <a:schemeClr val="tx1"/>
                </a:solidFill>
                <a:latin typeface="+mn-lt"/>
                <a:ea typeface="+mn-ea"/>
                <a:cs typeface="+mn-cs"/>
              </a:defRPr>
            </a:lvl7pPr>
            <a:lvl8pPr marL="809625" indent="-266700" algn="l" defTabSz="914400" rtl="0" eaLnBrk="1" latinLnBrk="0" hangingPunct="1">
              <a:lnSpc>
                <a:spcPct val="100000"/>
              </a:lnSpc>
              <a:spcBef>
                <a:spcPts val="600"/>
              </a:spcBef>
              <a:buClrTx/>
              <a:buSzPct val="100000"/>
              <a:buFont typeface="Courier New" panose="02070309020205020404" pitchFamily="49" charset="0"/>
              <a:buChar char="o"/>
              <a:defRPr sz="1200" b="0" kern="1200">
                <a:solidFill>
                  <a:schemeClr val="tx1"/>
                </a:solidFill>
                <a:latin typeface="+mn-lt"/>
                <a:ea typeface="+mn-ea"/>
                <a:cs typeface="+mn-cs"/>
              </a:defRPr>
            </a:lvl8pPr>
            <a:lvl9pPr marL="803275" indent="-268288" algn="l" defTabSz="914400" rtl="0" eaLnBrk="1" latinLnBrk="0" hangingPunct="1">
              <a:lnSpc>
                <a:spcPct val="100000"/>
              </a:lnSpc>
              <a:spcBef>
                <a:spcPts val="600"/>
              </a:spcBef>
              <a:buClrTx/>
              <a:buSzPct val="100000"/>
              <a:buFont typeface="Courier New" panose="02070309020205020404" pitchFamily="49" charset="0"/>
              <a:buChar char="o"/>
              <a:defRPr sz="1200" b="0" kern="1200">
                <a:solidFill>
                  <a:schemeClr val="tx1"/>
                </a:solidFill>
                <a:latin typeface="+mn-lt"/>
                <a:ea typeface="+mn-ea"/>
                <a:cs typeface="+mn-cs"/>
              </a:defRPr>
            </a:lvl9pPr>
          </a:lstStyle>
          <a:p>
            <a:pPr marL="0" indent="0">
              <a:buNone/>
            </a:pPr>
            <a:r>
              <a:rPr lang="es-ES_tradnl" sz="2000">
                <a:latin typeface="Lato Light" panose="020F0502020204030203" pitchFamily="34" charset="0"/>
                <a:ea typeface="Lato Light" panose="020F0502020204030203" pitchFamily="34" charset="0"/>
                <a:cs typeface="Lato Light" panose="020F0502020204030203" pitchFamily="34" charset="0"/>
              </a:rPr>
              <a:t>Noviembre 2023</a:t>
            </a:r>
          </a:p>
        </p:txBody>
      </p:sp>
      <p:sp>
        <p:nvSpPr>
          <p:cNvPr id="10" name="Titel 1">
            <a:extLst>
              <a:ext uri="{FF2B5EF4-FFF2-40B4-BE49-F238E27FC236}">
                <a16:creationId xmlns:a16="http://schemas.microsoft.com/office/drawing/2014/main" id="{C272F0B1-D8C7-5E98-00CE-CBDE28B572F2}"/>
              </a:ext>
            </a:extLst>
          </p:cNvPr>
          <p:cNvSpPr txBox="1">
            <a:spLocks/>
          </p:cNvSpPr>
          <p:nvPr>
            <p:custDataLst>
              <p:tags r:id="rId56"/>
            </p:custDataLst>
          </p:nvPr>
        </p:nvSpPr>
        <p:spPr bwMode="gray">
          <a:xfrm>
            <a:off x="263352" y="260648"/>
            <a:ext cx="9226674" cy="369332"/>
          </a:xfrm>
          <a:prstGeom prst="rect">
            <a:avLst/>
          </a:prstGeom>
        </p:spPr>
        <p:txBody>
          <a:bodyPr vert="horz" wrap="square" lIns="0" tIns="0" rIns="0" bIns="0" rtlCol="0" anchor="t">
            <a:spAutoFit/>
          </a:bodyPr>
          <a:lstStyle>
            <a:lvl1pPr algn="l" defTabSz="914400" rtl="0" eaLnBrk="1" latinLnBrk="0" hangingPunct="1">
              <a:lnSpc>
                <a:spcPct val="100000"/>
              </a:lnSpc>
              <a:spcBef>
                <a:spcPct val="0"/>
              </a:spcBef>
              <a:buNone/>
              <a:defRPr sz="2400" b="0" kern="1200">
                <a:solidFill>
                  <a:schemeClr val="tx1"/>
                </a:solidFill>
                <a:latin typeface="+mj-lt"/>
                <a:ea typeface="+mj-ea"/>
                <a:cs typeface="+mj-cs"/>
              </a:defRPr>
            </a:lvl1pPr>
          </a:lstStyle>
          <a:p>
            <a:r>
              <a:rPr lang="es-ES_tradnl" b="1" dirty="0"/>
              <a:t>Disposición a comprar | Crece ligeramente en niveles muy bajos</a:t>
            </a:r>
          </a:p>
        </p:txBody>
      </p:sp>
      <p:cxnSp>
        <p:nvCxnSpPr>
          <p:cNvPr id="11" name="Gerade Verbindung 907">
            <a:extLst>
              <a:ext uri="{FF2B5EF4-FFF2-40B4-BE49-F238E27FC236}">
                <a16:creationId xmlns:a16="http://schemas.microsoft.com/office/drawing/2014/main" id="{25A51444-2C0A-704E-5C3E-F302C186A796}"/>
              </a:ext>
            </a:extLst>
          </p:cNvPr>
          <p:cNvCxnSpPr>
            <a:cxnSpLocks/>
          </p:cNvCxnSpPr>
          <p:nvPr>
            <p:custDataLst>
              <p:tags r:id="rId57"/>
            </p:custDataLst>
          </p:nvPr>
        </p:nvCxnSpPr>
        <p:spPr bwMode="gray">
          <a:xfrm>
            <a:off x="1025138" y="3140968"/>
            <a:ext cx="1486335" cy="0"/>
          </a:xfrm>
          <a:prstGeom prst="line">
            <a:avLst/>
          </a:prstGeom>
          <a:ln>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12" name="Rechteck 465">
            <a:extLst>
              <a:ext uri="{FF2B5EF4-FFF2-40B4-BE49-F238E27FC236}">
                <a16:creationId xmlns:a16="http://schemas.microsoft.com/office/drawing/2014/main" id="{C32BAC0E-0E32-A4AE-3A92-6BCEBE916D50}"/>
              </a:ext>
            </a:extLst>
          </p:cNvPr>
          <p:cNvSpPr/>
          <p:nvPr>
            <p:custDataLst>
              <p:tags r:id="rId58"/>
            </p:custDataLst>
          </p:nvPr>
        </p:nvSpPr>
        <p:spPr bwMode="gray">
          <a:xfrm>
            <a:off x="1024935" y="2180872"/>
            <a:ext cx="74317" cy="96000"/>
          </a:xfrm>
          <a:prstGeom prst="rect">
            <a:avLst/>
          </a:prstGeom>
          <a:solidFill>
            <a:srgbClr val="24892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88000" tIns="60960" rIns="0" bIns="60960" numCol="1" spcCol="0" rtlCol="0" fromWordArt="0" anchor="ctr" anchorCtr="0" forceAA="0" compatLnSpc="1">
            <a:prstTxWarp prst="textNoShape">
              <a:avLst/>
            </a:prstTxWarp>
            <a:noAutofit/>
          </a:bodyPr>
          <a:lstStyle/>
          <a:p>
            <a:pPr>
              <a:spcBef>
                <a:spcPts val="400"/>
              </a:spcBef>
            </a:pPr>
            <a:r>
              <a:rPr lang="es-ES_tradnl" sz="1100" dirty="0">
                <a:solidFill>
                  <a:schemeClr val="tx1"/>
                </a:solidFill>
                <a:cs typeface="Arial" pitchFamily="34" charset="0"/>
              </a:rPr>
              <a:t>Indicador &gt; +20</a:t>
            </a:r>
          </a:p>
        </p:txBody>
      </p:sp>
      <p:sp>
        <p:nvSpPr>
          <p:cNvPr id="13" name="Rechteck 466">
            <a:extLst>
              <a:ext uri="{FF2B5EF4-FFF2-40B4-BE49-F238E27FC236}">
                <a16:creationId xmlns:a16="http://schemas.microsoft.com/office/drawing/2014/main" id="{F7789E33-96A9-AD2A-E1D0-7424FF82517E}"/>
              </a:ext>
            </a:extLst>
          </p:cNvPr>
          <p:cNvSpPr/>
          <p:nvPr>
            <p:custDataLst>
              <p:tags r:id="rId59"/>
            </p:custDataLst>
          </p:nvPr>
        </p:nvSpPr>
        <p:spPr bwMode="gray">
          <a:xfrm>
            <a:off x="1024935" y="2420899"/>
            <a:ext cx="74317" cy="96000"/>
          </a:xfrm>
          <a:prstGeom prst="rect">
            <a:avLst/>
          </a:prstGeom>
          <a:solidFill>
            <a:srgbClr val="73C375"/>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88000" tIns="60960" rIns="0" bIns="60960" numCol="1" spcCol="0" rtlCol="0" fromWordArt="0" anchor="ctr" anchorCtr="0" forceAA="0" compatLnSpc="1">
            <a:prstTxWarp prst="textNoShape">
              <a:avLst/>
            </a:prstTxWarp>
            <a:noAutofit/>
          </a:bodyPr>
          <a:lstStyle/>
          <a:p>
            <a:pPr>
              <a:spcBef>
                <a:spcPts val="400"/>
              </a:spcBef>
            </a:pPr>
            <a:r>
              <a:rPr lang="es-ES_tradnl" sz="1100" dirty="0">
                <a:solidFill>
                  <a:schemeClr val="tx1"/>
                </a:solidFill>
                <a:cs typeface="Arial" pitchFamily="34" charset="0"/>
              </a:rPr>
              <a:t>Indicador 0 a +20</a:t>
            </a:r>
          </a:p>
        </p:txBody>
      </p:sp>
      <p:sp>
        <p:nvSpPr>
          <p:cNvPr id="15" name="Rechteck 467">
            <a:extLst>
              <a:ext uri="{FF2B5EF4-FFF2-40B4-BE49-F238E27FC236}">
                <a16:creationId xmlns:a16="http://schemas.microsoft.com/office/drawing/2014/main" id="{6113625E-E1D5-4655-BBCC-2C3AB8307382}"/>
              </a:ext>
            </a:extLst>
          </p:cNvPr>
          <p:cNvSpPr/>
          <p:nvPr>
            <p:custDataLst>
              <p:tags r:id="rId60"/>
            </p:custDataLst>
          </p:nvPr>
        </p:nvSpPr>
        <p:spPr bwMode="gray">
          <a:xfrm>
            <a:off x="1024935" y="2660925"/>
            <a:ext cx="74317" cy="96000"/>
          </a:xfrm>
          <a:prstGeom prst="rect">
            <a:avLst/>
          </a:prstGeom>
          <a:solidFill>
            <a:srgbClr val="CBA6AB"/>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88000" tIns="60960" rIns="0" bIns="60960" numCol="1" spcCol="0" rtlCol="0" fromWordArt="0" anchor="ctr" anchorCtr="0" forceAA="0" compatLnSpc="1">
            <a:prstTxWarp prst="textNoShape">
              <a:avLst/>
            </a:prstTxWarp>
            <a:noAutofit/>
          </a:bodyPr>
          <a:lstStyle/>
          <a:p>
            <a:pPr>
              <a:spcBef>
                <a:spcPts val="400"/>
              </a:spcBef>
            </a:pPr>
            <a:r>
              <a:rPr lang="es-ES_tradnl" sz="1100">
                <a:solidFill>
                  <a:schemeClr val="tx1"/>
                </a:solidFill>
                <a:cs typeface="Arial" pitchFamily="34" charset="0"/>
              </a:rPr>
              <a:t>Indicador 0 a -20</a:t>
            </a:r>
          </a:p>
        </p:txBody>
      </p:sp>
      <p:sp>
        <p:nvSpPr>
          <p:cNvPr id="16" name="Rechteck 468">
            <a:extLst>
              <a:ext uri="{FF2B5EF4-FFF2-40B4-BE49-F238E27FC236}">
                <a16:creationId xmlns:a16="http://schemas.microsoft.com/office/drawing/2014/main" id="{DA3D3A23-1467-6F69-4D1D-2AEB1B16A169}"/>
              </a:ext>
            </a:extLst>
          </p:cNvPr>
          <p:cNvSpPr/>
          <p:nvPr>
            <p:custDataLst>
              <p:tags r:id="rId61"/>
            </p:custDataLst>
          </p:nvPr>
        </p:nvSpPr>
        <p:spPr bwMode="gray">
          <a:xfrm>
            <a:off x="1025229" y="2900941"/>
            <a:ext cx="74317" cy="96000"/>
          </a:xfrm>
          <a:prstGeom prst="rect">
            <a:avLst/>
          </a:prstGeom>
          <a:solidFill>
            <a:srgbClr val="9B0009"/>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288000" tIns="60960" rIns="0" bIns="60960" numCol="1" spcCol="0" rtlCol="0" fromWordArt="0" anchor="ctr" anchorCtr="0" forceAA="0" compatLnSpc="1">
            <a:prstTxWarp prst="textNoShape">
              <a:avLst/>
            </a:prstTxWarp>
            <a:noAutofit/>
          </a:bodyPr>
          <a:lstStyle/>
          <a:p>
            <a:pPr>
              <a:spcBef>
                <a:spcPts val="400"/>
              </a:spcBef>
            </a:pPr>
            <a:r>
              <a:rPr lang="es-ES_tradnl" sz="1100">
                <a:solidFill>
                  <a:schemeClr val="tx1"/>
                </a:solidFill>
                <a:cs typeface="Arial" pitchFamily="34" charset="0"/>
              </a:rPr>
              <a:t>Indicador &lt; -20</a:t>
            </a:r>
          </a:p>
        </p:txBody>
      </p:sp>
      <p:sp>
        <p:nvSpPr>
          <p:cNvPr id="17" name="Textfeld 201">
            <a:extLst>
              <a:ext uri="{FF2B5EF4-FFF2-40B4-BE49-F238E27FC236}">
                <a16:creationId xmlns:a16="http://schemas.microsoft.com/office/drawing/2014/main" id="{2C105B90-B48C-CE26-C0A7-88CF2FDE0378}"/>
              </a:ext>
            </a:extLst>
          </p:cNvPr>
          <p:cNvSpPr txBox="1"/>
          <p:nvPr/>
        </p:nvSpPr>
        <p:spPr>
          <a:xfrm>
            <a:off x="1022457" y="1810352"/>
            <a:ext cx="914400" cy="284281"/>
          </a:xfrm>
          <a:prstGeom prst="rect">
            <a:avLst/>
          </a:prstGeom>
          <a:noFill/>
        </p:spPr>
        <p:txBody>
          <a:bodyPr wrap="none" lIns="0" tIns="0" rIns="0" bIns="0" rtlCol="0">
            <a:noAutofit/>
          </a:bodyPr>
          <a:lstStyle/>
          <a:p>
            <a:pPr>
              <a:lnSpc>
                <a:spcPct val="125000"/>
              </a:lnSpc>
              <a:buClr>
                <a:schemeClr val="tx2"/>
              </a:buClr>
            </a:pPr>
            <a:r>
              <a:rPr lang="es-ES_tradnl" sz="1100" dirty="0"/>
              <a:t>Nivel del indicador:</a:t>
            </a:r>
          </a:p>
        </p:txBody>
      </p:sp>
      <p:sp>
        <p:nvSpPr>
          <p:cNvPr id="18" name="Rechteck 388">
            <a:extLst>
              <a:ext uri="{FF2B5EF4-FFF2-40B4-BE49-F238E27FC236}">
                <a16:creationId xmlns:a16="http://schemas.microsoft.com/office/drawing/2014/main" id="{761BBE87-9C94-18A7-8497-38B619B3BDFA}"/>
              </a:ext>
            </a:extLst>
          </p:cNvPr>
          <p:cNvSpPr/>
          <p:nvPr>
            <p:custDataLst>
              <p:tags r:id="rId62"/>
            </p:custDataLst>
          </p:nvPr>
        </p:nvSpPr>
        <p:spPr bwMode="gray">
          <a:xfrm>
            <a:off x="1313127" y="4677133"/>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en-US" sz="1100" dirty="0">
                <a:solidFill>
                  <a:schemeClr val="tx1">
                    <a:lumMod val="65000"/>
                    <a:lumOff val="35000"/>
                  </a:schemeClr>
                </a:solidFill>
                <a:cs typeface="Arial" pitchFamily="34" charset="0"/>
                <a:sym typeface="Wingdings"/>
              </a:rPr>
              <a:t>&gt; +5</a:t>
            </a:r>
            <a:endParaRPr lang="en-US" sz="1100" dirty="0">
              <a:solidFill>
                <a:schemeClr val="tx1">
                  <a:lumMod val="65000"/>
                  <a:lumOff val="35000"/>
                </a:schemeClr>
              </a:solidFill>
              <a:cs typeface="Arial" pitchFamily="34" charset="0"/>
            </a:endParaRPr>
          </a:p>
        </p:txBody>
      </p:sp>
      <p:sp>
        <p:nvSpPr>
          <p:cNvPr id="19" name="Rechteck 176">
            <a:extLst>
              <a:ext uri="{FF2B5EF4-FFF2-40B4-BE49-F238E27FC236}">
                <a16:creationId xmlns:a16="http://schemas.microsoft.com/office/drawing/2014/main" id="{B0689924-DA97-EAE1-CC72-D85AECF13189}"/>
              </a:ext>
            </a:extLst>
          </p:cNvPr>
          <p:cNvSpPr/>
          <p:nvPr>
            <p:custDataLst>
              <p:tags r:id="rId63"/>
            </p:custDataLst>
          </p:nvPr>
        </p:nvSpPr>
        <p:spPr bwMode="gray">
          <a:xfrm>
            <a:off x="1313127" y="4965165"/>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de-DE" sz="1100" dirty="0">
                <a:solidFill>
                  <a:schemeClr val="tx1">
                    <a:lumMod val="65000"/>
                    <a:lumOff val="35000"/>
                  </a:schemeClr>
                </a:solidFill>
                <a:cs typeface="Arial" pitchFamily="34" charset="0"/>
                <a:sym typeface="Wingdings"/>
              </a:rPr>
              <a:t>+1 a +5</a:t>
            </a:r>
            <a:endParaRPr lang="de-DE" sz="1100" dirty="0">
              <a:solidFill>
                <a:schemeClr val="tx1">
                  <a:lumMod val="65000"/>
                  <a:lumOff val="35000"/>
                </a:schemeClr>
              </a:solidFill>
              <a:cs typeface="Arial" pitchFamily="34" charset="0"/>
            </a:endParaRPr>
          </a:p>
        </p:txBody>
      </p:sp>
      <p:sp>
        <p:nvSpPr>
          <p:cNvPr id="20" name="Rechteck 177">
            <a:extLst>
              <a:ext uri="{FF2B5EF4-FFF2-40B4-BE49-F238E27FC236}">
                <a16:creationId xmlns:a16="http://schemas.microsoft.com/office/drawing/2014/main" id="{A234CFA6-3787-6900-9A1D-F840575A03EC}"/>
              </a:ext>
            </a:extLst>
          </p:cNvPr>
          <p:cNvSpPr/>
          <p:nvPr>
            <p:custDataLst>
              <p:tags r:id="rId64"/>
            </p:custDataLst>
          </p:nvPr>
        </p:nvSpPr>
        <p:spPr bwMode="gray">
          <a:xfrm>
            <a:off x="1313127" y="5253229"/>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de-DE" sz="1100" dirty="0">
                <a:solidFill>
                  <a:schemeClr val="tx1">
                    <a:lumMod val="65000"/>
                    <a:lumOff val="35000"/>
                  </a:schemeClr>
                </a:solidFill>
                <a:cs typeface="Arial" pitchFamily="34" charset="0"/>
                <a:sym typeface="Wingdings"/>
              </a:rPr>
              <a:t>-1 a +1</a:t>
            </a:r>
            <a:endParaRPr lang="de-DE" sz="1100" dirty="0">
              <a:solidFill>
                <a:schemeClr val="tx1">
                  <a:lumMod val="65000"/>
                  <a:lumOff val="35000"/>
                </a:schemeClr>
              </a:solidFill>
              <a:cs typeface="Arial" pitchFamily="34" charset="0"/>
            </a:endParaRPr>
          </a:p>
        </p:txBody>
      </p:sp>
      <p:sp>
        <p:nvSpPr>
          <p:cNvPr id="21" name="Rechteck 178">
            <a:extLst>
              <a:ext uri="{FF2B5EF4-FFF2-40B4-BE49-F238E27FC236}">
                <a16:creationId xmlns:a16="http://schemas.microsoft.com/office/drawing/2014/main" id="{0F6F113E-FF98-4E48-2716-35B434506622}"/>
              </a:ext>
            </a:extLst>
          </p:cNvPr>
          <p:cNvSpPr/>
          <p:nvPr>
            <p:custDataLst>
              <p:tags r:id="rId65"/>
            </p:custDataLst>
          </p:nvPr>
        </p:nvSpPr>
        <p:spPr bwMode="gray">
          <a:xfrm>
            <a:off x="1313127" y="5541229"/>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de-DE" sz="1100" dirty="0">
                <a:solidFill>
                  <a:schemeClr val="tx1">
                    <a:lumMod val="65000"/>
                    <a:lumOff val="35000"/>
                  </a:schemeClr>
                </a:solidFill>
                <a:cs typeface="Arial" pitchFamily="34" charset="0"/>
                <a:sym typeface="Wingdings"/>
              </a:rPr>
              <a:t>-5 a -1</a:t>
            </a:r>
            <a:endParaRPr lang="de-DE" sz="1100" dirty="0">
              <a:solidFill>
                <a:schemeClr val="tx1">
                  <a:lumMod val="65000"/>
                  <a:lumOff val="35000"/>
                </a:schemeClr>
              </a:solidFill>
              <a:cs typeface="Arial" pitchFamily="34" charset="0"/>
            </a:endParaRPr>
          </a:p>
        </p:txBody>
      </p:sp>
      <p:sp>
        <p:nvSpPr>
          <p:cNvPr id="22" name="Rechteck 179">
            <a:extLst>
              <a:ext uri="{FF2B5EF4-FFF2-40B4-BE49-F238E27FC236}">
                <a16:creationId xmlns:a16="http://schemas.microsoft.com/office/drawing/2014/main" id="{35464902-5FCA-E671-C620-3557D921C2E6}"/>
              </a:ext>
            </a:extLst>
          </p:cNvPr>
          <p:cNvSpPr/>
          <p:nvPr>
            <p:custDataLst>
              <p:tags r:id="rId66"/>
            </p:custDataLst>
          </p:nvPr>
        </p:nvSpPr>
        <p:spPr bwMode="gray">
          <a:xfrm>
            <a:off x="1313127" y="5829261"/>
            <a:ext cx="1189068" cy="192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60960" rIns="0" bIns="60960" numCol="1" spcCol="0" rtlCol="0" fromWordArt="0" anchor="ctr" anchorCtr="0" forceAA="0" compatLnSpc="1">
            <a:prstTxWarp prst="textNoShape">
              <a:avLst/>
            </a:prstTxWarp>
            <a:noAutofit/>
          </a:bodyPr>
          <a:lstStyle/>
          <a:p>
            <a:pPr>
              <a:spcBef>
                <a:spcPts val="400"/>
              </a:spcBef>
            </a:pPr>
            <a:r>
              <a:rPr lang="en-US" sz="1100" dirty="0">
                <a:solidFill>
                  <a:schemeClr val="tx1">
                    <a:lumMod val="65000"/>
                    <a:lumOff val="35000"/>
                  </a:schemeClr>
                </a:solidFill>
                <a:cs typeface="Arial" pitchFamily="34" charset="0"/>
                <a:sym typeface="Wingdings"/>
              </a:rPr>
              <a:t>&lt; -5</a:t>
            </a:r>
            <a:endParaRPr lang="en-US" sz="1100" dirty="0">
              <a:solidFill>
                <a:schemeClr val="tx1">
                  <a:lumMod val="65000"/>
                  <a:lumOff val="35000"/>
                </a:schemeClr>
              </a:solidFill>
              <a:cs typeface="Arial" pitchFamily="34" charset="0"/>
            </a:endParaRPr>
          </a:p>
        </p:txBody>
      </p:sp>
      <p:grpSp>
        <p:nvGrpSpPr>
          <p:cNvPr id="23" name="Gruppieren 184">
            <a:extLst>
              <a:ext uri="{FF2B5EF4-FFF2-40B4-BE49-F238E27FC236}">
                <a16:creationId xmlns:a16="http://schemas.microsoft.com/office/drawing/2014/main" id="{D6CD84C6-EFF4-1B5D-E24B-DCF0DCF873FC}"/>
              </a:ext>
            </a:extLst>
          </p:cNvPr>
          <p:cNvGrpSpPr/>
          <p:nvPr>
            <p:custDataLst>
              <p:tags r:id="rId67"/>
            </p:custDataLst>
          </p:nvPr>
        </p:nvGrpSpPr>
        <p:grpSpPr bwMode="gray">
          <a:xfrm>
            <a:off x="1037417" y="4694964"/>
            <a:ext cx="144000" cy="144000"/>
            <a:chOff x="323548" y="3507850"/>
            <a:chExt cx="144000" cy="144000"/>
          </a:xfrm>
          <a:solidFill>
            <a:schemeClr val="bg2">
              <a:lumMod val="90000"/>
            </a:schemeClr>
          </a:solidFill>
        </p:grpSpPr>
        <p:sp>
          <p:nvSpPr>
            <p:cNvPr id="24" name="Ellipse 188">
              <a:extLst>
                <a:ext uri="{FF2B5EF4-FFF2-40B4-BE49-F238E27FC236}">
                  <a16:creationId xmlns:a16="http://schemas.microsoft.com/office/drawing/2014/main" id="{CF8CA0C4-C75C-9594-639B-DBD604EF820A}"/>
                </a:ext>
              </a:extLst>
            </p:cNvPr>
            <p:cNvSpPr/>
            <p:nvPr>
              <p:custDataLst>
                <p:tags r:id="rId81"/>
              </p:custDataLst>
            </p:nvPr>
          </p:nvSpPr>
          <p:spPr bwMode="gray">
            <a:xfrm>
              <a:off x="323548" y="3507850"/>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25" name="Ellipse 189">
              <a:extLst>
                <a:ext uri="{FF2B5EF4-FFF2-40B4-BE49-F238E27FC236}">
                  <a16:creationId xmlns:a16="http://schemas.microsoft.com/office/drawing/2014/main" id="{6822627B-5314-134C-2C1D-C4DC4C6A3689}"/>
                </a:ext>
              </a:extLst>
            </p:cNvPr>
            <p:cNvSpPr/>
            <p:nvPr>
              <p:custDataLst>
                <p:tags r:id="rId82"/>
              </p:custDataLst>
            </p:nvPr>
          </p:nvSpPr>
          <p:spPr bwMode="gray">
            <a:xfrm>
              <a:off x="323548" y="3507850"/>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grpSp>
        <p:nvGrpSpPr>
          <p:cNvPr id="26" name="Gruppieren 190">
            <a:extLst>
              <a:ext uri="{FF2B5EF4-FFF2-40B4-BE49-F238E27FC236}">
                <a16:creationId xmlns:a16="http://schemas.microsoft.com/office/drawing/2014/main" id="{57BF6159-1752-C903-6DE3-07D56E90FCC6}"/>
              </a:ext>
            </a:extLst>
          </p:cNvPr>
          <p:cNvGrpSpPr/>
          <p:nvPr>
            <p:custDataLst>
              <p:tags r:id="rId68"/>
            </p:custDataLst>
          </p:nvPr>
        </p:nvGrpSpPr>
        <p:grpSpPr bwMode="gray">
          <a:xfrm>
            <a:off x="1037417" y="5855837"/>
            <a:ext cx="144000" cy="144000"/>
            <a:chOff x="323548" y="4371946"/>
            <a:chExt cx="144000" cy="144000"/>
          </a:xfrm>
          <a:solidFill>
            <a:schemeClr val="bg2">
              <a:lumMod val="90000"/>
            </a:schemeClr>
          </a:solidFill>
        </p:grpSpPr>
        <p:sp>
          <p:nvSpPr>
            <p:cNvPr id="27" name="Ellipse 192">
              <a:extLst>
                <a:ext uri="{FF2B5EF4-FFF2-40B4-BE49-F238E27FC236}">
                  <a16:creationId xmlns:a16="http://schemas.microsoft.com/office/drawing/2014/main" id="{75C2C62D-B7E4-285E-7F97-FA194A9C83B0}"/>
                </a:ext>
              </a:extLst>
            </p:cNvPr>
            <p:cNvSpPr/>
            <p:nvPr>
              <p:custDataLst>
                <p:tags r:id="rId79"/>
              </p:custDataLst>
            </p:nvPr>
          </p:nvSpPr>
          <p:spPr bwMode="gray">
            <a:xfrm>
              <a:off x="323548" y="4371946"/>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28" name="Ellipse 194">
              <a:extLst>
                <a:ext uri="{FF2B5EF4-FFF2-40B4-BE49-F238E27FC236}">
                  <a16:creationId xmlns:a16="http://schemas.microsoft.com/office/drawing/2014/main" id="{97722D80-FDD2-2130-39FA-331ED6754FDA}"/>
                </a:ext>
              </a:extLst>
            </p:cNvPr>
            <p:cNvSpPr/>
            <p:nvPr>
              <p:custDataLst>
                <p:tags r:id="rId80"/>
              </p:custDataLst>
            </p:nvPr>
          </p:nvSpPr>
          <p:spPr bwMode="gray">
            <a:xfrm>
              <a:off x="323548" y="4371946"/>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grpSp>
        <p:nvGrpSpPr>
          <p:cNvPr id="29" name="Gruppieren 195">
            <a:extLst>
              <a:ext uri="{FF2B5EF4-FFF2-40B4-BE49-F238E27FC236}">
                <a16:creationId xmlns:a16="http://schemas.microsoft.com/office/drawing/2014/main" id="{5644ED0B-F0C9-7D5B-8E20-19A96FB5BC35}"/>
              </a:ext>
            </a:extLst>
          </p:cNvPr>
          <p:cNvGrpSpPr/>
          <p:nvPr>
            <p:custDataLst>
              <p:tags r:id="rId69"/>
            </p:custDataLst>
          </p:nvPr>
        </p:nvGrpSpPr>
        <p:grpSpPr bwMode="gray">
          <a:xfrm>
            <a:off x="1037417" y="5565618"/>
            <a:ext cx="144000" cy="144000"/>
            <a:chOff x="323548" y="4155922"/>
            <a:chExt cx="144000" cy="144000"/>
          </a:xfrm>
          <a:solidFill>
            <a:schemeClr val="bg2">
              <a:lumMod val="90000"/>
            </a:schemeClr>
          </a:solidFill>
        </p:grpSpPr>
        <p:sp>
          <p:nvSpPr>
            <p:cNvPr id="30" name="Ellipse 206">
              <a:extLst>
                <a:ext uri="{FF2B5EF4-FFF2-40B4-BE49-F238E27FC236}">
                  <a16:creationId xmlns:a16="http://schemas.microsoft.com/office/drawing/2014/main" id="{93576E23-C3E0-F725-9BD6-A7CFE7AA3EF0}"/>
                </a:ext>
              </a:extLst>
            </p:cNvPr>
            <p:cNvSpPr/>
            <p:nvPr>
              <p:custDataLst>
                <p:tags r:id="rId77"/>
              </p:custDataLst>
            </p:nvPr>
          </p:nvSpPr>
          <p:spPr bwMode="gray">
            <a:xfrm>
              <a:off x="323548" y="4155922"/>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31" name="Ellipse 207">
              <a:extLst>
                <a:ext uri="{FF2B5EF4-FFF2-40B4-BE49-F238E27FC236}">
                  <a16:creationId xmlns:a16="http://schemas.microsoft.com/office/drawing/2014/main" id="{9FF4A24C-F2F3-5A3C-631A-FAAA6157822F}"/>
                </a:ext>
              </a:extLst>
            </p:cNvPr>
            <p:cNvSpPr/>
            <p:nvPr>
              <p:custDataLst>
                <p:tags r:id="rId78"/>
              </p:custDataLst>
            </p:nvPr>
          </p:nvSpPr>
          <p:spPr bwMode="gray">
            <a:xfrm>
              <a:off x="323548" y="4155922"/>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grpSp>
        <p:nvGrpSpPr>
          <p:cNvPr id="32" name="Gruppieren 208">
            <a:extLst>
              <a:ext uri="{FF2B5EF4-FFF2-40B4-BE49-F238E27FC236}">
                <a16:creationId xmlns:a16="http://schemas.microsoft.com/office/drawing/2014/main" id="{FBF0331F-6EE0-277C-BE76-F740AF2AC43D}"/>
              </a:ext>
            </a:extLst>
          </p:cNvPr>
          <p:cNvGrpSpPr/>
          <p:nvPr>
            <p:custDataLst>
              <p:tags r:id="rId70"/>
            </p:custDataLst>
          </p:nvPr>
        </p:nvGrpSpPr>
        <p:grpSpPr bwMode="gray">
          <a:xfrm>
            <a:off x="1037417" y="5275400"/>
            <a:ext cx="144000" cy="144000"/>
            <a:chOff x="323548" y="3939922"/>
            <a:chExt cx="144000" cy="144000"/>
          </a:xfrm>
          <a:solidFill>
            <a:schemeClr val="bg2">
              <a:lumMod val="90000"/>
            </a:schemeClr>
          </a:solidFill>
        </p:grpSpPr>
        <p:sp>
          <p:nvSpPr>
            <p:cNvPr id="33" name="Ellipse 209">
              <a:extLst>
                <a:ext uri="{FF2B5EF4-FFF2-40B4-BE49-F238E27FC236}">
                  <a16:creationId xmlns:a16="http://schemas.microsoft.com/office/drawing/2014/main" id="{C20F8783-9F8C-4311-39E4-8D57CB5310A6}"/>
                </a:ext>
              </a:extLst>
            </p:cNvPr>
            <p:cNvSpPr/>
            <p:nvPr>
              <p:custDataLst>
                <p:tags r:id="rId75"/>
              </p:custDataLst>
            </p:nvPr>
          </p:nvSpPr>
          <p:spPr bwMode="gray">
            <a:xfrm>
              <a:off x="323548" y="3939922"/>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34" name="Ellipse 210">
              <a:extLst>
                <a:ext uri="{FF2B5EF4-FFF2-40B4-BE49-F238E27FC236}">
                  <a16:creationId xmlns:a16="http://schemas.microsoft.com/office/drawing/2014/main" id="{C7BCB3D9-2069-1D90-47DD-6819FAE7BFBB}"/>
                </a:ext>
              </a:extLst>
            </p:cNvPr>
            <p:cNvSpPr/>
            <p:nvPr>
              <p:custDataLst>
                <p:tags r:id="rId76"/>
              </p:custDataLst>
            </p:nvPr>
          </p:nvSpPr>
          <p:spPr bwMode="gray">
            <a:xfrm>
              <a:off x="323548" y="3939922"/>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grpSp>
        <p:nvGrpSpPr>
          <p:cNvPr id="35" name="Gruppieren 211">
            <a:extLst>
              <a:ext uri="{FF2B5EF4-FFF2-40B4-BE49-F238E27FC236}">
                <a16:creationId xmlns:a16="http://schemas.microsoft.com/office/drawing/2014/main" id="{780ADF75-7E74-29B8-CCBD-798101CAF4CC}"/>
              </a:ext>
            </a:extLst>
          </p:cNvPr>
          <p:cNvGrpSpPr/>
          <p:nvPr>
            <p:custDataLst>
              <p:tags r:id="rId71"/>
            </p:custDataLst>
          </p:nvPr>
        </p:nvGrpSpPr>
        <p:grpSpPr bwMode="gray">
          <a:xfrm>
            <a:off x="1037417" y="4985182"/>
            <a:ext cx="144000" cy="144000"/>
            <a:chOff x="323548" y="3723874"/>
            <a:chExt cx="144000" cy="144000"/>
          </a:xfrm>
          <a:solidFill>
            <a:schemeClr val="bg2">
              <a:lumMod val="90000"/>
            </a:schemeClr>
          </a:solidFill>
        </p:grpSpPr>
        <p:sp>
          <p:nvSpPr>
            <p:cNvPr id="36" name="Ellipse 212">
              <a:extLst>
                <a:ext uri="{FF2B5EF4-FFF2-40B4-BE49-F238E27FC236}">
                  <a16:creationId xmlns:a16="http://schemas.microsoft.com/office/drawing/2014/main" id="{E5D0F5CA-0E8B-CAA5-B393-EDB4B04A6B37}"/>
                </a:ext>
              </a:extLst>
            </p:cNvPr>
            <p:cNvSpPr/>
            <p:nvPr>
              <p:custDataLst>
                <p:tags r:id="rId73"/>
              </p:custDataLst>
            </p:nvPr>
          </p:nvSpPr>
          <p:spPr bwMode="gray">
            <a:xfrm>
              <a:off x="323548" y="3723874"/>
              <a:ext cx="144000" cy="144000"/>
            </a:xfrm>
            <a:prstGeom prst="ellipse">
              <a:avLst/>
            </a:prstGeom>
            <a:grp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endParaRPr lang="en-US" sz="1000" dirty="0">
                <a:solidFill>
                  <a:schemeClr val="bg1"/>
                </a:solidFill>
              </a:endParaRPr>
            </a:p>
          </p:txBody>
        </p:sp>
        <p:sp>
          <p:nvSpPr>
            <p:cNvPr id="37" name="Ellipse 213">
              <a:extLst>
                <a:ext uri="{FF2B5EF4-FFF2-40B4-BE49-F238E27FC236}">
                  <a16:creationId xmlns:a16="http://schemas.microsoft.com/office/drawing/2014/main" id="{E5D5A19B-033A-6B15-C206-066B11234E7B}"/>
                </a:ext>
              </a:extLst>
            </p:cNvPr>
            <p:cNvSpPr/>
            <p:nvPr>
              <p:custDataLst>
                <p:tags r:id="rId74"/>
              </p:custDataLst>
            </p:nvPr>
          </p:nvSpPr>
          <p:spPr bwMode="gray">
            <a:xfrm>
              <a:off x="323548" y="3723874"/>
              <a:ext cx="144000" cy="144000"/>
            </a:xfrm>
            <a:prstGeom prst="ellipse">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ctr"/>
            <a:lstStyle/>
            <a:p>
              <a:pPr algn="ctr"/>
              <a:r>
                <a:rPr lang="en-US" sz="1000" dirty="0">
                  <a:solidFill>
                    <a:schemeClr val="bg1"/>
                  </a:solidFill>
                  <a:sym typeface="Wingdings"/>
                </a:rPr>
                <a:t></a:t>
              </a:r>
              <a:endParaRPr lang="en-US" sz="1000" dirty="0">
                <a:solidFill>
                  <a:schemeClr val="bg1"/>
                </a:solidFill>
              </a:endParaRPr>
            </a:p>
          </p:txBody>
        </p:sp>
      </p:grpSp>
      <p:sp>
        <p:nvSpPr>
          <p:cNvPr id="38" name="Rechteck 236">
            <a:extLst>
              <a:ext uri="{FF2B5EF4-FFF2-40B4-BE49-F238E27FC236}">
                <a16:creationId xmlns:a16="http://schemas.microsoft.com/office/drawing/2014/main" id="{4145E84A-1F0A-0E75-886B-BBFE1F25F2CE}"/>
              </a:ext>
            </a:extLst>
          </p:cNvPr>
          <p:cNvSpPr/>
          <p:nvPr>
            <p:custDataLst>
              <p:tags r:id="rId72"/>
            </p:custDataLst>
          </p:nvPr>
        </p:nvSpPr>
        <p:spPr bwMode="gray">
          <a:xfrm>
            <a:off x="984612" y="4118266"/>
            <a:ext cx="1759701" cy="4800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r>
              <a:rPr lang="es-ES_tradnl" sz="1100" dirty="0">
                <a:solidFill>
                  <a:schemeClr val="tx1"/>
                </a:solidFill>
                <a:cs typeface="Arial" pitchFamily="34" charset="0"/>
                <a:sym typeface="Wingdings"/>
              </a:rPr>
              <a:t>Variación:</a:t>
            </a:r>
          </a:p>
          <a:p>
            <a:r>
              <a:rPr lang="es-ES_tradnl" sz="1100" dirty="0">
                <a:solidFill>
                  <a:schemeClr val="tx1"/>
                </a:solidFill>
                <a:cs typeface="Arial" pitchFamily="34" charset="0"/>
                <a:sym typeface="Wingdings"/>
              </a:rPr>
              <a:t>Noviembre 2023 vs. Octubre 2023  </a:t>
            </a:r>
            <a:endParaRPr lang="es-ES_tradnl" sz="1100" dirty="0">
              <a:solidFill>
                <a:schemeClr val="tx1"/>
              </a:solidFill>
              <a:cs typeface="Arial" pitchFamily="34" charset="0"/>
            </a:endParaRPr>
          </a:p>
        </p:txBody>
      </p:sp>
      <p:sp>
        <p:nvSpPr>
          <p:cNvPr id="39" name="Rechteck 13">
            <a:extLst>
              <a:ext uri="{FF2B5EF4-FFF2-40B4-BE49-F238E27FC236}">
                <a16:creationId xmlns:a16="http://schemas.microsoft.com/office/drawing/2014/main" id="{FB93AE88-E2AA-EB83-5AAE-599D6DC94E62}"/>
              </a:ext>
            </a:extLst>
          </p:cNvPr>
          <p:cNvSpPr/>
          <p:nvPr/>
        </p:nvSpPr>
        <p:spPr bwMode="gray">
          <a:xfrm>
            <a:off x="1023888" y="6597368"/>
            <a:ext cx="7056000" cy="144000"/>
          </a:xfrm>
          <a:prstGeom prst="rect">
            <a:avLst/>
          </a:prstGeom>
          <a:no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s-ES_tradnl" sz="800" dirty="0">
                <a:solidFill>
                  <a:srgbClr val="8E8581"/>
                </a:solidFill>
                <a:latin typeface="Arial" pitchFamily="34" charset="0"/>
                <a:cs typeface="Arial" pitchFamily="34" charset="0"/>
              </a:rPr>
              <a:t>Fuente</a:t>
            </a:r>
            <a:r>
              <a:rPr kumimoji="0" lang="es-ES_tradnl" sz="800" b="0" i="0" u="none" strike="noStrike" kern="1200" cap="none" spc="0" normalizeH="0" baseline="0" noProof="0" dirty="0">
                <a:ln>
                  <a:noFill/>
                </a:ln>
                <a:solidFill>
                  <a:srgbClr val="8E8581"/>
                </a:solidFill>
                <a:effectLst/>
                <a:uLnTx/>
                <a:uFillTx/>
                <a:latin typeface="Arial" pitchFamily="34" charset="0"/>
                <a:ea typeface="+mn-ea"/>
                <a:cs typeface="Arial" pitchFamily="34" charset="0"/>
              </a:rPr>
              <a:t>: GfK Euro Clima </a:t>
            </a:r>
            <a:r>
              <a:rPr kumimoji="0" lang="es-ES_tradnl" sz="800" b="0" i="1" u="none" strike="noStrike" kern="1200" cap="none" spc="0" normalizeH="0" baseline="0" noProof="0" dirty="0" err="1">
                <a:ln>
                  <a:noFill/>
                </a:ln>
                <a:solidFill>
                  <a:srgbClr val="8E8581"/>
                </a:solidFill>
                <a:effectLst/>
                <a:uLnTx/>
                <a:uFillTx/>
                <a:latin typeface="Arial" pitchFamily="34" charset="0"/>
                <a:ea typeface="+mn-ea"/>
                <a:cs typeface="Arial" pitchFamily="34" charset="0"/>
              </a:rPr>
              <a:t>powered</a:t>
            </a:r>
            <a:r>
              <a:rPr kumimoji="0" lang="es-ES_tradnl" sz="800" b="0" i="1" u="none" strike="noStrike" kern="1200" cap="none" spc="0" normalizeH="0" baseline="0" noProof="0" dirty="0">
                <a:ln>
                  <a:noFill/>
                </a:ln>
                <a:solidFill>
                  <a:srgbClr val="8E8581"/>
                </a:solidFill>
                <a:effectLst/>
                <a:uLnTx/>
                <a:uFillTx/>
                <a:latin typeface="Arial" pitchFamily="34" charset="0"/>
                <a:ea typeface="+mn-ea"/>
                <a:cs typeface="Arial" pitchFamily="34" charset="0"/>
              </a:rPr>
              <a:t> </a:t>
            </a:r>
            <a:r>
              <a:rPr kumimoji="0" lang="es-ES_tradnl" sz="800" b="0" i="1" u="none" strike="noStrike" kern="1200" cap="none" spc="0" normalizeH="0" baseline="0" noProof="0" dirty="0" err="1">
                <a:ln>
                  <a:noFill/>
                </a:ln>
                <a:solidFill>
                  <a:srgbClr val="8E8581"/>
                </a:solidFill>
                <a:effectLst/>
                <a:uLnTx/>
                <a:uFillTx/>
                <a:latin typeface="Arial" pitchFamily="34" charset="0"/>
                <a:ea typeface="+mn-ea"/>
                <a:cs typeface="Arial" pitchFamily="34" charset="0"/>
              </a:rPr>
              <a:t>by</a:t>
            </a:r>
            <a:r>
              <a:rPr kumimoji="0" lang="es-ES_tradnl" sz="800" b="0" i="0" u="none" strike="noStrike" kern="1200" cap="none" spc="0" normalizeH="0" baseline="0" noProof="0" dirty="0">
                <a:ln>
                  <a:noFill/>
                </a:ln>
                <a:solidFill>
                  <a:srgbClr val="8E8581"/>
                </a:solidFill>
                <a:effectLst/>
                <a:uLnTx/>
                <a:uFillTx/>
                <a:latin typeface="Arial" pitchFamily="34" charset="0"/>
                <a:ea typeface="+mn-ea"/>
                <a:cs typeface="Arial" pitchFamily="34" charset="0"/>
              </a:rPr>
              <a:t> NIM, estudio por encargo de la Comisión EU | Diciembre 2023 | valores redondeados</a:t>
            </a:r>
          </a:p>
        </p:txBody>
      </p:sp>
    </p:spTree>
    <p:custDataLst>
      <p:tags r:id="rId1"/>
    </p:custDataLst>
    <p:extLst>
      <p:ext uri="{BB962C8B-B14F-4D97-AF65-F5344CB8AC3E}">
        <p14:creationId xmlns:p14="http://schemas.microsoft.com/office/powerpoint/2010/main" val="37556691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Marcador de texto 9">
            <a:extLst>
              <a:ext uri="{FF2B5EF4-FFF2-40B4-BE49-F238E27FC236}">
                <a16:creationId xmlns:a16="http://schemas.microsoft.com/office/drawing/2014/main" id="{E18DA0F2-872E-E2E2-74D6-6215B714EA16}"/>
              </a:ext>
            </a:extLst>
          </p:cNvPr>
          <p:cNvSpPr>
            <a:spLocks noGrp="1"/>
          </p:cNvSpPr>
          <p:nvPr>
            <p:ph type="body" sz="quarter" idx="22"/>
          </p:nvPr>
        </p:nvSpPr>
        <p:spPr/>
        <p:txBody>
          <a:bodyPr/>
          <a:lstStyle/>
          <a:p>
            <a:r>
              <a:rPr lang="es-ES" dirty="0"/>
              <a:t>02</a:t>
            </a:r>
          </a:p>
        </p:txBody>
      </p:sp>
      <p:sp>
        <p:nvSpPr>
          <p:cNvPr id="6" name="Título 5">
            <a:extLst>
              <a:ext uri="{FF2B5EF4-FFF2-40B4-BE49-F238E27FC236}">
                <a16:creationId xmlns:a16="http://schemas.microsoft.com/office/drawing/2014/main" id="{92814E4D-377E-7C91-3B04-0082AEC1B65D}"/>
              </a:ext>
            </a:extLst>
          </p:cNvPr>
          <p:cNvSpPr>
            <a:spLocks noGrp="1"/>
          </p:cNvSpPr>
          <p:nvPr>
            <p:ph type="title"/>
          </p:nvPr>
        </p:nvSpPr>
        <p:spPr/>
        <p:txBody>
          <a:bodyPr/>
          <a:lstStyle/>
          <a:p>
            <a:r>
              <a:rPr lang="es-ES" dirty="0"/>
              <a:t>Gráficos Diciembre</a:t>
            </a:r>
            <a:br>
              <a:rPr lang="es-ES" dirty="0"/>
            </a:br>
            <a:endParaRPr lang="es-ES" dirty="0"/>
          </a:p>
        </p:txBody>
      </p:sp>
      <p:sp>
        <p:nvSpPr>
          <p:cNvPr id="7" name="Subtítulo 6">
            <a:extLst>
              <a:ext uri="{FF2B5EF4-FFF2-40B4-BE49-F238E27FC236}">
                <a16:creationId xmlns:a16="http://schemas.microsoft.com/office/drawing/2014/main" id="{C9932D9C-4F66-B1B5-1B40-B780C642B31C}"/>
              </a:ext>
            </a:extLst>
          </p:cNvPr>
          <p:cNvSpPr>
            <a:spLocks noGrp="1"/>
          </p:cNvSpPr>
          <p:nvPr>
            <p:ph type="subTitle" idx="1"/>
          </p:nvPr>
        </p:nvSpPr>
        <p:spPr/>
        <p:txBody>
          <a:bodyPr/>
          <a:lstStyle/>
          <a:p>
            <a:r>
              <a:rPr lang="es-ES" dirty="0">
                <a:latin typeface="+mn-lt"/>
              </a:rPr>
              <a:t>Expectativas económicas, ingresos, disposición a comprar, expectativas de ahorro y precios</a:t>
            </a:r>
            <a:endParaRPr lang="es-ES" dirty="0"/>
          </a:p>
        </p:txBody>
      </p:sp>
      <p:sp>
        <p:nvSpPr>
          <p:cNvPr id="3" name="Marcador de texto 2">
            <a:extLst>
              <a:ext uri="{FF2B5EF4-FFF2-40B4-BE49-F238E27FC236}">
                <a16:creationId xmlns:a16="http://schemas.microsoft.com/office/drawing/2014/main" id="{178450AE-52A8-185E-92D4-23B45936AD7B}"/>
              </a:ext>
            </a:extLst>
          </p:cNvPr>
          <p:cNvSpPr>
            <a:spLocks noGrp="1"/>
          </p:cNvSpPr>
          <p:nvPr>
            <p:ph type="body" sz="quarter" idx="21"/>
          </p:nvPr>
        </p:nvSpPr>
        <p:spPr/>
        <p:txBody>
          <a:bodyPr/>
          <a:lstStyle/>
          <a:p>
            <a:endParaRPr lang="es-ES"/>
          </a:p>
        </p:txBody>
      </p:sp>
    </p:spTree>
    <p:extLst>
      <p:ext uri="{BB962C8B-B14F-4D97-AF65-F5344CB8AC3E}">
        <p14:creationId xmlns:p14="http://schemas.microsoft.com/office/powerpoint/2010/main" val="24830600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_SHOW_CA" val="Fals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00.xml><?xml version="1.0" encoding="utf-8"?>
<p:tagLst xmlns:a="http://schemas.openxmlformats.org/drawingml/2006/main" xmlns:r="http://schemas.openxmlformats.org/officeDocument/2006/relationships" xmlns:p="http://schemas.openxmlformats.org/presentationml/2006/main">
  <p:tag name="VCTCREATESHAPEHANDLED" val="0"/>
  <p:tag name="VCT_BODYSTYLE" val="0.777777777777778"/>
</p:tagLst>
</file>

<file path=ppt/tags/tag100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00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003.xml><?xml version="1.0" encoding="utf-8"?>
<p:tagLst xmlns:a="http://schemas.openxmlformats.org/drawingml/2006/main" xmlns:r="http://schemas.openxmlformats.org/officeDocument/2006/relationships" xmlns:p="http://schemas.openxmlformats.org/presentationml/2006/main">
  <p:tag name="VCTCREATESHAPEHANDLED" val="0"/>
  <p:tag name="VCT_BODYSTYLE" val="0.777777777777778"/>
</p:tagLst>
</file>

<file path=ppt/tags/tag100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005.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006.xml><?xml version="1.0" encoding="utf-8"?>
<p:tagLst xmlns:a="http://schemas.openxmlformats.org/drawingml/2006/main" xmlns:r="http://schemas.openxmlformats.org/officeDocument/2006/relationships" xmlns:p="http://schemas.openxmlformats.org/presentationml/2006/main">
  <p:tag name="VCTCREATESHAPEHANDLED" val="0"/>
  <p:tag name="VCT_BODYSTYLE" val="0.777777777777778"/>
</p:tagLst>
</file>

<file path=ppt/tags/tag1007.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008.xml><?xml version="1.0" encoding="utf-8"?>
<p:tagLst xmlns:a="http://schemas.openxmlformats.org/drawingml/2006/main" xmlns:r="http://schemas.openxmlformats.org/officeDocument/2006/relationships" xmlns:p="http://schemas.openxmlformats.org/presentationml/2006/main">
  <p:tag name="VCTCREATESHAPEHANDLED" val="0"/>
  <p:tag name="VCT_BODYSTYLE" val="0.777777777777778"/>
</p:tagLst>
</file>

<file path=ppt/tags/tag1009.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10.xml><?xml version="1.0" encoding="utf-8"?>
<p:tagLst xmlns:a="http://schemas.openxmlformats.org/drawingml/2006/main" xmlns:r="http://schemas.openxmlformats.org/officeDocument/2006/relationships" xmlns:p="http://schemas.openxmlformats.org/presentationml/2006/main">
  <p:tag name="VCTCREATESHAPEHANDLED" val="0"/>
  <p:tag name="VCT_BODYSTYLE" val="0.777777777777778"/>
</p:tagLst>
</file>

<file path=ppt/tags/tag1011.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012.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013.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014.xml><?xml version="1.0" encoding="utf-8"?>
<p:tagLst xmlns:a="http://schemas.openxmlformats.org/drawingml/2006/main" xmlns:r="http://schemas.openxmlformats.org/officeDocument/2006/relationships" xmlns:p="http://schemas.openxmlformats.org/presentationml/2006/main">
  <p:tag name="VCT-BODYINDENTATION" val="0;0;0;0;0;14.25;14.09646;28.34646;28.25;42.5;28.25;42.5;28.25;42.5;28.25;42.5;28.25;42.5;"/>
  <p:tag name="VCT-BULLETVISIBILITY" val="G  *******"/>
  <p:tag name="VCTCREATESHAPEHANDLED" val="0"/>
</p:tagLst>
</file>

<file path=ppt/tags/tag10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fK">
  <a:themeElements>
    <a:clrScheme name="GfK">
      <a:dk1>
        <a:srgbClr val="3B4145"/>
      </a:dk1>
      <a:lt1>
        <a:srgbClr val="FFFFFF"/>
      </a:lt1>
      <a:dk2>
        <a:srgbClr val="EA5B0C"/>
      </a:dk2>
      <a:lt2>
        <a:srgbClr val="D6D9DC"/>
      </a:lt2>
      <a:accent1>
        <a:srgbClr val="6A757C"/>
      </a:accent1>
      <a:accent2>
        <a:srgbClr val="4368BD"/>
      </a:accent2>
      <a:accent3>
        <a:srgbClr val="54B9B1"/>
      </a:accent3>
      <a:accent4>
        <a:srgbClr val="FFA52F"/>
      </a:accent4>
      <a:accent5>
        <a:srgbClr val="D2335F"/>
      </a:accent5>
      <a:accent6>
        <a:srgbClr val="7B4DB3"/>
      </a:accent6>
      <a:hlink>
        <a:srgbClr val="EA5B0C"/>
      </a:hlink>
      <a:folHlink>
        <a:srgbClr val="6A757C"/>
      </a:folHlink>
    </a:clrScheme>
    <a:fontScheme name="GfK">
      <a:majorFont>
        <a:latin typeface="Lato Heavy"/>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66700" indent="-266700" algn="l">
          <a:buSzPct val="80000"/>
          <a:buFont typeface="Wingdings" panose="05000000000000000000" pitchFamily="2" charset="2"/>
          <a:buChar char="n"/>
          <a:defRPr sz="1600" dirty="0" err="1" smtClean="0"/>
        </a:defPPr>
      </a:lstStyle>
    </a:txDef>
  </a:objectDefaults>
  <a:extraClrSchemeLst/>
  <a:custClrLst>
    <a:custClr name="GfK Gray 700">
      <a:srgbClr val="3B4145"/>
    </a:custClr>
    <a:custClr name="GfK Blue 700">
      <a:srgbClr val="3456A6"/>
    </a:custClr>
    <a:custClr name="GfK Turquoise 700">
      <a:srgbClr val="4B9A91"/>
    </a:custClr>
    <a:custClr name="GfK Yellow 700">
      <a:srgbClr val="F58A27"/>
    </a:custClr>
    <a:custClr name="GfK Magenta 700">
      <a:srgbClr val="AC2B55"/>
    </a:custClr>
    <a:custClr name="GfK Purple 700">
      <a:srgbClr val="673FA2"/>
    </a:custClr>
    <a:custClr name="GfK Sand 700">
      <a:srgbClr val="C56227"/>
    </a:custClr>
    <a:custClr name="GfK Petrol 700">
      <a:srgbClr val="327890"/>
    </a:custClr>
    <a:custClr name="GfK Red 700">
      <a:srgbClr val="9B0009"/>
    </a:custClr>
    <a:custClr name="GfK Green 700">
      <a:srgbClr val="24892C"/>
    </a:custClr>
    <a:custClr name="GfK Gray 500">
      <a:srgbClr val="6A757C"/>
    </a:custClr>
    <a:custClr name="GfK Blue 500">
      <a:srgbClr val="4368BD"/>
    </a:custClr>
    <a:custClr name="GfK Turquoise 500">
      <a:srgbClr val="54B9B1"/>
    </a:custClr>
    <a:custClr name="GfK Yellow 500">
      <a:srgbClr val="FFA52F"/>
    </a:custClr>
    <a:custClr name="GfK Magenta 500">
      <a:srgbClr val="D2335F"/>
    </a:custClr>
    <a:custClr name="GfK Purple 500">
      <a:srgbClr val="7B4DB3"/>
    </a:custClr>
    <a:custClr name="GfK Sand 500">
      <a:srgbClr val="D27A2E"/>
    </a:custClr>
    <a:custClr name="GfK Petrol 500">
      <a:srgbClr val="519FBC"/>
    </a:custClr>
    <a:custClr name="GfK Red 500">
      <a:srgbClr val="BC1C0E"/>
    </a:custClr>
    <a:custClr name="GfK Green 500">
      <a:srgbClr val="3DAD42"/>
    </a:custClr>
    <a:custClr name="GfK Gray 300">
      <a:srgbClr val="9FA7AD"/>
    </a:custClr>
    <a:custClr name="GfK Blue 300">
      <a:srgbClr val="879BCC"/>
    </a:custClr>
    <a:custClr name="GfK Turquoise 300">
      <a:srgbClr val="81D7D3"/>
    </a:custClr>
    <a:custClr name="GfK Yellow 300">
      <a:srgbClr val="FDC166"/>
    </a:custClr>
    <a:custClr name="GfK Magenta 300">
      <a:srgbClr val="D76789"/>
    </a:custClr>
    <a:custClr name="GfK Purple 300">
      <a:srgbClr val="A387CB"/>
    </a:custClr>
    <a:custClr name="GfK Sand 300">
      <a:srgbClr val="D0965C"/>
    </a:custClr>
    <a:custClr name="GfK Petrol 300">
      <a:srgbClr val="87C5DE"/>
    </a:custClr>
    <a:custClr name="GfK Red 300">
      <a:srgbClr val="B0504C"/>
    </a:custClr>
    <a:custClr name="GfK Green 300">
      <a:srgbClr val="73C375"/>
    </a:custClr>
    <a:custClr name="GfK Gray 100">
      <a:srgbClr val="D6D9DC"/>
    </a:custClr>
    <a:custClr name="GfK Blue 100">
      <a:srgbClr val="DBE0EB"/>
    </a:custClr>
    <a:custClr name="GfK Turquoise 100">
      <a:srgbClr val="E2FFFF"/>
    </a:custClr>
    <a:custClr name="GfK Yellow 100">
      <a:srgbClr val="FFEBCC"/>
    </a:custClr>
    <a:custClr name="GfK Magenta 100">
      <a:srgbClr val="DDBBC5"/>
    </a:custClr>
    <a:custClr name="GfK Purple 100">
      <a:srgbClr val="DDD8E4"/>
    </a:custClr>
    <a:custClr name="GfK Sand 100">
      <a:srgbClr val="C9C1BA"/>
    </a:custClr>
    <a:custClr name="GfK Petrol 100">
      <a:srgbClr val="CBFCFF"/>
    </a:custClr>
    <a:custClr name="GfK Red 100">
      <a:srgbClr val="CBA6AB"/>
    </a:custClr>
    <a:custClr name="GfK Green 100">
      <a:srgbClr val="BDE5BD"/>
    </a:custClr>
  </a:custClrLst>
  <a:extLst>
    <a:ext uri="{05A4C25C-085E-4340-85A3-A5531E510DB2}">
      <thm15:themeFamily xmlns:thm15="http://schemas.microsoft.com/office/thememl/2012/main" name="GfK Master_Lato_(August 2022).potx" id="{5D2636B9-689F-4A09-83A5-7D4C49FE5508}" vid="{1843979C-433B-40F6-9D0B-1579D72E6A44}"/>
    </a:ext>
  </a:extLst>
</a:theme>
</file>

<file path=ppt/theme/theme2.xml><?xml version="1.0" encoding="utf-8"?>
<a:theme xmlns:a="http://schemas.openxmlformats.org/drawingml/2006/main" name="Office Theme">
  <a:themeElements>
    <a:clrScheme name="GfK">
      <a:dk1>
        <a:srgbClr val="3B4145"/>
      </a:dk1>
      <a:lt1>
        <a:srgbClr val="FFFFFF"/>
      </a:lt1>
      <a:dk2>
        <a:srgbClr val="EA5B0C"/>
      </a:dk2>
      <a:lt2>
        <a:srgbClr val="D6D9DC"/>
      </a:lt2>
      <a:accent1>
        <a:srgbClr val="6A757C"/>
      </a:accent1>
      <a:accent2>
        <a:srgbClr val="4368BD"/>
      </a:accent2>
      <a:accent3>
        <a:srgbClr val="54B9B1"/>
      </a:accent3>
      <a:accent4>
        <a:srgbClr val="FFA52F"/>
      </a:accent4>
      <a:accent5>
        <a:srgbClr val="D2335F"/>
      </a:accent5>
      <a:accent6>
        <a:srgbClr val="7B4DB3"/>
      </a:accent6>
      <a:hlink>
        <a:srgbClr val="EA5B0C"/>
      </a:hlink>
      <a:folHlink>
        <a:srgbClr val="6A757C"/>
      </a:folHlink>
    </a:clrScheme>
    <a:fontScheme name="GfK">
      <a:majorFont>
        <a:latin typeface="Lato Heavy"/>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GfK">
      <a:dk1>
        <a:srgbClr val="3B4145"/>
      </a:dk1>
      <a:lt1>
        <a:srgbClr val="FFFFFF"/>
      </a:lt1>
      <a:dk2>
        <a:srgbClr val="EA5B0C"/>
      </a:dk2>
      <a:lt2>
        <a:srgbClr val="D6D9DC"/>
      </a:lt2>
      <a:accent1>
        <a:srgbClr val="6A757C"/>
      </a:accent1>
      <a:accent2>
        <a:srgbClr val="4368BD"/>
      </a:accent2>
      <a:accent3>
        <a:srgbClr val="54B9B1"/>
      </a:accent3>
      <a:accent4>
        <a:srgbClr val="FFA52F"/>
      </a:accent4>
      <a:accent5>
        <a:srgbClr val="D2335F"/>
      </a:accent5>
      <a:accent6>
        <a:srgbClr val="7B4DB3"/>
      </a:accent6>
      <a:hlink>
        <a:srgbClr val="EA5B0C"/>
      </a:hlink>
      <a:folHlink>
        <a:srgbClr val="6A757C"/>
      </a:folHlink>
    </a:clrScheme>
    <a:fontScheme name="GfK">
      <a:majorFont>
        <a:latin typeface="Lato Heavy"/>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d9903008-9a40-4fde-96a4-31b8a63f0d88" ContentTypeId="0x010100EFEF47A42C334DFA8C1D98444E81A419" PreviousValue="false" LastSyncTimeStamp="2022-01-27T12:33:15.76Z"/>
</file>

<file path=customXml/item2.xml><?xml version="1.0" encoding="utf-8"?>
<ct:contentTypeSchema xmlns:ct="http://schemas.microsoft.com/office/2006/metadata/contentType" xmlns:ma="http://schemas.microsoft.com/office/2006/metadata/properties/metaAttributes" ct:_="" ma:_="" ma:contentTypeName="GfK Document" ma:contentTypeID="0x010100EFEF47A42C334DFA8C1D98444E81A41900F0C1B4EAA142C245A16A4D9042581849" ma:contentTypeVersion="4" ma:contentTypeDescription="ContentType for Documents" ma:contentTypeScope="" ma:versionID="e5012754dbe633a51513681dd1fe3094">
  <xsd:schema xmlns:xsd="http://www.w3.org/2001/XMLSchema" xmlns:xs="http://www.w3.org/2001/XMLSchema" xmlns:p="http://schemas.microsoft.com/office/2006/metadata/properties" xmlns:ns1="http://schemas.microsoft.com/sharepoint/v3" xmlns:ns2="81b38fb9-e320-4340-bf00-f3cdbc5a50f8" targetNamespace="http://schemas.microsoft.com/office/2006/metadata/properties" ma:root="true" ma:fieldsID="970b20a5a0033ba487a88c2f64b73d59" ns1:_="" ns2:_="">
    <xsd:import namespace="http://schemas.microsoft.com/sharepoint/v3"/>
    <xsd:import namespace="81b38fb9-e320-4340-bf00-f3cdbc5a50f8"/>
    <xsd:element name="properties">
      <xsd:complexType>
        <xsd:sequence>
          <xsd:element name="documentManagement">
            <xsd:complexType>
              <xsd:all>
                <xsd:element ref="ns2:k68a63dfa3ae4907aec6f653f4fc663d" minOccurs="0"/>
                <xsd:element ref="ns2:TaxCatchAll" minOccurs="0"/>
                <xsd:element ref="ns2:TaxCatchAllLabel" minOccurs="0"/>
                <xsd:element ref="ns2:g8470a1c27f548d78c85049d5333fb81" minOccurs="0"/>
                <xsd:element ref="ns2:eaeb766fb8d4422bb88dcae18bc3a1a6" minOccurs="0"/>
                <xsd:element ref="ns2:a2e875846d7d4ea288303e74ad433b1a" minOccurs="0"/>
                <xsd:element ref="ns2:f0660a7a03df4844b1a026213e43c197" minOccurs="0"/>
                <xsd:element ref="ns1:GfKKeyDocument"/>
                <xsd:element ref="ns2:TaxKeywordTaxHTFiel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GfKKeyDocument" ma:index="20" ma:displayName="Key Document" ma:default="No" ma:description="Documents that are of high importance" ma:internalName="GfKKeyDocument">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81b38fb9-e320-4340-bf00-f3cdbc5a50f8" elementFormDefault="qualified">
    <xsd:import namespace="http://schemas.microsoft.com/office/2006/documentManagement/types"/>
    <xsd:import namespace="http://schemas.microsoft.com/office/infopath/2007/PartnerControls"/>
    <xsd:element name="k68a63dfa3ae4907aec6f653f4fc663d" ma:index="8" nillable="true" ma:taxonomy="true" ma:internalName="k68a63dfa3ae4907aec6f653f4fc663d" ma:taxonomyFieldName="Products" ma:displayName="Products" ma:fieldId="{468a63df-a3ae-4907-aec6-f653f4fc663d}" ma:sspId="d9903008-9a40-4fde-96a4-31b8a63f0d88" ma:termSetId="cbb9bdaf-82c2-446c-b699-94acba818cb2"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3dd8725d-de5b-4265-bcf3-157e0023b161}" ma:internalName="TaxCatchAll" ma:showField="CatchAllData" ma:web="a4d05e82-5f3a-44ea-a06d-5720d8e201e4">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3dd8725d-de5b-4265-bcf3-157e0023b161}" ma:internalName="TaxCatchAllLabel" ma:readOnly="true" ma:showField="CatchAllDataLabel" ma:web="a4d05e82-5f3a-44ea-a06d-5720d8e201e4">
      <xsd:complexType>
        <xsd:complexContent>
          <xsd:extension base="dms:MultiChoiceLookup">
            <xsd:sequence>
              <xsd:element name="Value" type="dms:Lookup" maxOccurs="unbounded" minOccurs="0" nillable="true"/>
            </xsd:sequence>
          </xsd:extension>
        </xsd:complexContent>
      </xsd:complexType>
    </xsd:element>
    <xsd:element name="g8470a1c27f548d78c85049d5333fb81" ma:index="12" nillable="true" ma:taxonomy="true" ma:internalName="g8470a1c27f548d78c85049d5333fb81" ma:taxonomyFieldName="Industries" ma:displayName="Industries" ma:fieldId="{08470a1c-27f5-48d7-8c85-049d5333fb81}" ma:sspId="d9903008-9a40-4fde-96a4-31b8a63f0d88" ma:termSetId="5a885248-49da-421b-8a8b-00dd6ab23a4c" ma:anchorId="00000000-0000-0000-0000-000000000000" ma:open="false" ma:isKeyword="false">
      <xsd:complexType>
        <xsd:sequence>
          <xsd:element ref="pc:Terms" minOccurs="0" maxOccurs="1"/>
        </xsd:sequence>
      </xsd:complexType>
    </xsd:element>
    <xsd:element name="eaeb766fb8d4422bb88dcae18bc3a1a6" ma:index="14" nillable="true" ma:taxonomy="true" ma:internalName="eaeb766fb8d4422bb88dcae18bc3a1a6" ma:taxonomyFieldName="Countries" ma:displayName="Countries" ma:fieldId="{eaeb766f-b8d4-422b-b88d-cae18bc3a1a6}" ma:taxonomyMulti="true" ma:sspId="d9903008-9a40-4fde-96a4-31b8a63f0d88" ma:termSetId="17f85a7b-bb8b-458a-ba28-17ef49c29ac6" ma:anchorId="00000000-0000-0000-0000-000000000000" ma:open="false" ma:isKeyword="false">
      <xsd:complexType>
        <xsd:sequence>
          <xsd:element ref="pc:Terms" minOccurs="0" maxOccurs="1"/>
        </xsd:sequence>
      </xsd:complexType>
    </xsd:element>
    <xsd:element name="a2e875846d7d4ea288303e74ad433b1a" ma:index="16" nillable="true" ma:taxonomy="true" ma:internalName="a2e875846d7d4ea288303e74ad433b1a" ma:taxonomyFieldName="Clients" ma:displayName="Clients" ma:fieldId="{a2e87584-6d7d-4ea2-8830-3e74ad433b1a}" ma:sspId="d9903008-9a40-4fde-96a4-31b8a63f0d88" ma:termSetId="7d4bc5b7-a2e0-4278-8bd4-f6b755a7f79f" ma:anchorId="00000000-0000-0000-0000-000000000000" ma:open="false" ma:isKeyword="false">
      <xsd:complexType>
        <xsd:sequence>
          <xsd:element ref="pc:Terms" minOccurs="0" maxOccurs="1"/>
        </xsd:sequence>
      </xsd:complexType>
    </xsd:element>
    <xsd:element name="f0660a7a03df4844b1a026213e43c197" ma:index="18" nillable="true" ma:taxonomy="true" ma:internalName="f0660a7a03df4844b1a026213e43c197" ma:taxonomyFieldName="FunctionalArea" ma:displayName="Functional Area" ma:fieldId="{f0660a7a-03df-4844-b1a0-26213e43c197}" ma:sspId="d9903008-9a40-4fde-96a4-31b8a63f0d88" ma:termSetId="034b5738-649c-45b4-805f-e334dfe59365" ma:anchorId="00000000-0000-0000-0000-000000000000" ma:open="false" ma:isKeyword="false">
      <xsd:complexType>
        <xsd:sequence>
          <xsd:element ref="pc:Terms" minOccurs="0" maxOccurs="1"/>
        </xsd:sequence>
      </xsd:complexType>
    </xsd:element>
    <xsd:element name="TaxKeywordTaxHTField" ma:index="21" nillable="true" ma:taxonomy="true" ma:internalName="TaxKeywordTaxHTField" ma:taxonomyFieldName="TaxKeyword" ma:displayName="Tags" ma:fieldId="{23f27201-bee3-471e-b2e7-b64fd8b7ca38}" ma:taxonomyMulti="true" ma:sspId="d9903008-9a40-4fde-96a4-31b8a63f0d88"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TaxCatchAll xmlns="81b38fb9-e320-4340-bf00-f3cdbc5a50f8" xsi:nil="true"/>
    <TaxKeywordTaxHTField xmlns="81b38fb9-e320-4340-bf00-f3cdbc5a50f8">
      <Terms xmlns="http://schemas.microsoft.com/office/infopath/2007/PartnerControls"/>
    </TaxKeywordTaxHTField>
    <eaeb766fb8d4422bb88dcae18bc3a1a6 xmlns="81b38fb9-e320-4340-bf00-f3cdbc5a50f8">
      <Terms xmlns="http://schemas.microsoft.com/office/infopath/2007/PartnerControls"/>
    </eaeb766fb8d4422bb88dcae18bc3a1a6>
    <g8470a1c27f548d78c85049d5333fb81 xmlns="81b38fb9-e320-4340-bf00-f3cdbc5a50f8">
      <Terms xmlns="http://schemas.microsoft.com/office/infopath/2007/PartnerControls"/>
    </g8470a1c27f548d78c85049d5333fb81>
    <a2e875846d7d4ea288303e74ad433b1a xmlns="81b38fb9-e320-4340-bf00-f3cdbc5a50f8">
      <Terms xmlns="http://schemas.microsoft.com/office/infopath/2007/PartnerControls"/>
    </a2e875846d7d4ea288303e74ad433b1a>
    <GfKKeyDocument xmlns="http://schemas.microsoft.com/sharepoint/v3">No</GfKKeyDocument>
    <k68a63dfa3ae4907aec6f653f4fc663d xmlns="81b38fb9-e320-4340-bf00-f3cdbc5a50f8">
      <Terms xmlns="http://schemas.microsoft.com/office/infopath/2007/PartnerControls"/>
    </k68a63dfa3ae4907aec6f653f4fc663d>
    <f0660a7a03df4844b1a026213e43c197 xmlns="81b38fb9-e320-4340-bf00-f3cdbc5a50f8">
      <Terms xmlns="http://schemas.microsoft.com/office/infopath/2007/PartnerControls"/>
    </f0660a7a03df4844b1a026213e43c197>
  </documentManagement>
</p:properties>
</file>

<file path=customXml/itemProps1.xml><?xml version="1.0" encoding="utf-8"?>
<ds:datastoreItem xmlns:ds="http://schemas.openxmlformats.org/officeDocument/2006/customXml" ds:itemID="{39BAACEF-A5A6-4325-8F7C-0015A707D85D}">
  <ds:schemaRefs>
    <ds:schemaRef ds:uri="Microsoft.SharePoint.Taxonomy.ContentTypeSync"/>
  </ds:schemaRefs>
</ds:datastoreItem>
</file>

<file path=customXml/itemProps2.xml><?xml version="1.0" encoding="utf-8"?>
<ds:datastoreItem xmlns:ds="http://schemas.openxmlformats.org/officeDocument/2006/customXml" ds:itemID="{FD9B4F46-7611-4DA7-B1FD-1C28EC93C23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1b38fb9-e320-4340-bf00-f3cdbc5a50f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E9FCD3F-1914-4849-9DEE-834581D6D52D}">
  <ds:schemaRefs>
    <ds:schemaRef ds:uri="http://schemas.microsoft.com/sharepoint/v3/contenttype/forms"/>
  </ds:schemaRefs>
</ds:datastoreItem>
</file>

<file path=customXml/itemProps4.xml><?xml version="1.0" encoding="utf-8"?>
<ds:datastoreItem xmlns:ds="http://schemas.openxmlformats.org/officeDocument/2006/customXml" ds:itemID="{2445D28E-30F8-47EA-BD86-12898576E78D}">
  <ds:schemaRefs>
    <ds:schemaRef ds:uri="http://purl.org/dc/elements/1.1/"/>
    <ds:schemaRef ds:uri="http://schemas.microsoft.com/office/2006/metadata/properties"/>
    <ds:schemaRef ds:uri="8082585f-f167-47bd-9781-29a2579df839"/>
    <ds:schemaRef ds:uri="234ac7f7-39ba-4f47-b3f5-0fccc2156d0f"/>
    <ds:schemaRef ds:uri="http://purl.org/dc/terms/"/>
    <ds:schemaRef ds:uri="http://purl.org/dc/dcmitype/"/>
    <ds:schemaRef ds:uri="http://schemas.microsoft.com/office/2006/documentManagement/types"/>
    <ds:schemaRef ds:uri="http://schemas.microsoft.com/office/infopath/2007/PartnerControls"/>
    <ds:schemaRef ds:uri="http://schemas.openxmlformats.org/package/2006/metadata/core-properties"/>
    <ds:schemaRef ds:uri="http://www.w3.org/XML/1998/namespace"/>
    <ds:schemaRef ds:uri="81b38fb9-e320-4340-bf00-f3cdbc5a50f8"/>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GfK_Master_Lato_(August_2022)</Template>
  <TotalTime>451</TotalTime>
  <Words>2444</Words>
  <Application>Microsoft Office PowerPoint</Application>
  <PresentationFormat>Panorámica</PresentationFormat>
  <Paragraphs>698</Paragraphs>
  <Slides>16</Slides>
  <Notes>8</Notes>
  <HiddenSlides>0</HiddenSlides>
  <MMClips>0</MMClips>
  <ScaleCrop>false</ScaleCrop>
  <HeadingPairs>
    <vt:vector size="8" baseType="variant">
      <vt:variant>
        <vt:lpstr>Fuentes usadas</vt:lpstr>
      </vt:variant>
      <vt:variant>
        <vt:i4>8</vt:i4>
      </vt:variant>
      <vt:variant>
        <vt:lpstr>Tema</vt:lpstr>
      </vt:variant>
      <vt:variant>
        <vt:i4>1</vt:i4>
      </vt:variant>
      <vt:variant>
        <vt:lpstr>Servidores OLE incrustados</vt:lpstr>
      </vt:variant>
      <vt:variant>
        <vt:i4>1</vt:i4>
      </vt:variant>
      <vt:variant>
        <vt:lpstr>Títulos de diapositiva</vt:lpstr>
      </vt:variant>
      <vt:variant>
        <vt:i4>16</vt:i4>
      </vt:variant>
    </vt:vector>
  </HeadingPairs>
  <TitlesOfParts>
    <vt:vector size="26" baseType="lpstr">
      <vt:lpstr>Arial</vt:lpstr>
      <vt:lpstr>Courier New</vt:lpstr>
      <vt:lpstr>Lato</vt:lpstr>
      <vt:lpstr>Lato Heavy</vt:lpstr>
      <vt:lpstr>Lato Light</vt:lpstr>
      <vt:lpstr>Lato Semibold</vt:lpstr>
      <vt:lpstr>Wingdings</vt:lpstr>
      <vt:lpstr>Wingdings 2</vt:lpstr>
      <vt:lpstr>GfK</vt:lpstr>
      <vt:lpstr>think-cell Folie</vt:lpstr>
      <vt:lpstr>GfK Euro Clima powered by NIM</vt:lpstr>
      <vt:lpstr>Población europea | La confianza continua su tendencia al alza</vt:lpstr>
      <vt:lpstr>Euro Clima de Consumo | El mejor nivel desde mayo 2022</vt:lpstr>
      <vt:lpstr>España | Las dudas ante la economía del país impactan en ingresos y gasto  </vt:lpstr>
      <vt:lpstr>Gráficos Noviembre </vt:lpstr>
      <vt:lpstr>Presentación de PowerPoint</vt:lpstr>
      <vt:lpstr>Expectativas de ingresos | Frena su crecimiento</vt:lpstr>
      <vt:lpstr>Presentación de PowerPoint</vt:lpstr>
      <vt:lpstr>Gráficos Diciembre </vt:lpstr>
      <vt:lpstr>Presentación de PowerPoint</vt:lpstr>
      <vt:lpstr>Expectativas de ingresos | Poco a poco al alza</vt:lpstr>
      <vt:lpstr>Presentación de PowerPoint</vt:lpstr>
      <vt:lpstr>Metodología</vt:lpstr>
      <vt:lpstr>Presentación de PowerPoint</vt:lpstr>
      <vt:lpstr>Cómo se calculan los indicadores</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oehm, Eva (GfK)</dc:creator>
  <cp:keywords/>
  <cp:lastModifiedBy>Martin, Antonieta (GfK)</cp:lastModifiedBy>
  <cp:revision>280</cp:revision>
  <dcterms:created xsi:type="dcterms:W3CDTF">2022-09-01T12:52:36Z</dcterms:created>
  <dcterms:modified xsi:type="dcterms:W3CDTF">2024-01-25T16:51: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FEF47A42C334DFA8C1D98444E81A41900F0C1B4EAA142C245A16A4D9042581849</vt:lpwstr>
  </property>
  <property fmtid="{D5CDD505-2E9C-101B-9397-08002B2CF9AE}" pid="3" name="Countries">
    <vt:lpwstr/>
  </property>
  <property fmtid="{D5CDD505-2E9C-101B-9397-08002B2CF9AE}" pid="4" name="TaxKeyword">
    <vt:lpwstr/>
  </property>
  <property fmtid="{D5CDD505-2E9C-101B-9397-08002B2CF9AE}" pid="5" name="Solutions">
    <vt:lpwstr/>
  </property>
  <property fmtid="{D5CDD505-2E9C-101B-9397-08002B2CF9AE}" pid="6" name="Methodologies">
    <vt:lpwstr/>
  </property>
  <property fmtid="{D5CDD505-2E9C-101B-9397-08002B2CF9AE}" pid="7" name="Industries">
    <vt:lpwstr/>
  </property>
</Properties>
</file>